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1.xml" ContentType="application/vnd.openxmlformats-officedocument.drawingml.chart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6"/>
  </p:notesMasterIdLst>
  <p:sldIdLst>
    <p:sldId id="528" r:id="rId2"/>
    <p:sldId id="529" r:id="rId3"/>
    <p:sldId id="535" r:id="rId4"/>
    <p:sldId id="917" r:id="rId5"/>
    <p:sldId id="722" r:id="rId6"/>
    <p:sldId id="918" r:id="rId7"/>
    <p:sldId id="793" r:id="rId8"/>
    <p:sldId id="919" r:id="rId9"/>
    <p:sldId id="920" r:id="rId10"/>
    <p:sldId id="921" r:id="rId11"/>
    <p:sldId id="922" r:id="rId12"/>
    <p:sldId id="923" r:id="rId13"/>
    <p:sldId id="880" r:id="rId14"/>
    <p:sldId id="881" r:id="rId15"/>
    <p:sldId id="882" r:id="rId16"/>
    <p:sldId id="924" r:id="rId17"/>
    <p:sldId id="767" r:id="rId18"/>
    <p:sldId id="785" r:id="rId19"/>
    <p:sldId id="416" r:id="rId20"/>
    <p:sldId id="491" r:id="rId21"/>
    <p:sldId id="405" r:id="rId22"/>
    <p:sldId id="925" r:id="rId23"/>
    <p:sldId id="610" r:id="rId24"/>
    <p:sldId id="768" r:id="rId25"/>
    <p:sldId id="648" r:id="rId26"/>
    <p:sldId id="649" r:id="rId27"/>
    <p:sldId id="791" r:id="rId28"/>
    <p:sldId id="797" r:id="rId29"/>
    <p:sldId id="531" r:id="rId30"/>
    <p:sldId id="777" r:id="rId31"/>
    <p:sldId id="728" r:id="rId32"/>
    <p:sldId id="454" r:id="rId33"/>
    <p:sldId id="624" r:id="rId34"/>
    <p:sldId id="625" r:id="rId35"/>
    <p:sldId id="626" r:id="rId36"/>
    <p:sldId id="628" r:id="rId37"/>
    <p:sldId id="627" r:id="rId38"/>
    <p:sldId id="629" r:id="rId39"/>
    <p:sldId id="633" r:id="rId40"/>
    <p:sldId id="700" r:id="rId41"/>
    <p:sldId id="926" r:id="rId42"/>
    <p:sldId id="764" r:id="rId43"/>
    <p:sldId id="927" r:id="rId44"/>
    <p:sldId id="928" r:id="rId45"/>
    <p:sldId id="565" r:id="rId46"/>
    <p:sldId id="567" r:id="rId47"/>
    <p:sldId id="566" r:id="rId48"/>
    <p:sldId id="859" r:id="rId49"/>
    <p:sldId id="762" r:id="rId50"/>
    <p:sldId id="763" r:id="rId51"/>
    <p:sldId id="929" r:id="rId52"/>
    <p:sldId id="794" r:id="rId53"/>
    <p:sldId id="930" r:id="rId54"/>
    <p:sldId id="774" r:id="rId55"/>
    <p:sldId id="916" r:id="rId56"/>
    <p:sldId id="915" r:id="rId57"/>
    <p:sldId id="914" r:id="rId58"/>
    <p:sldId id="913" r:id="rId59"/>
    <p:sldId id="756" r:id="rId60"/>
    <p:sldId id="778" r:id="rId61"/>
    <p:sldId id="860" r:id="rId62"/>
    <p:sldId id="740" r:id="rId63"/>
    <p:sldId id="451" r:id="rId64"/>
    <p:sldId id="702" r:id="rId65"/>
    <p:sldId id="703" r:id="rId66"/>
    <p:sldId id="704" r:id="rId67"/>
    <p:sldId id="862" r:id="rId68"/>
    <p:sldId id="798" r:id="rId69"/>
    <p:sldId id="383" r:id="rId70"/>
    <p:sldId id="779" r:id="rId71"/>
    <p:sldId id="931" r:id="rId72"/>
    <p:sldId id="932" r:id="rId73"/>
    <p:sldId id="760" r:id="rId74"/>
    <p:sldId id="799" r:id="rId75"/>
    <p:sldId id="459" r:id="rId76"/>
    <p:sldId id="523" r:id="rId77"/>
    <p:sldId id="746" r:id="rId78"/>
    <p:sldId id="757" r:id="rId79"/>
    <p:sldId id="540" r:id="rId80"/>
    <p:sldId id="800" r:id="rId81"/>
    <p:sldId id="863" r:id="rId82"/>
    <p:sldId id="530" r:id="rId83"/>
    <p:sldId id="801" r:id="rId84"/>
    <p:sldId id="749" r:id="rId85"/>
    <p:sldId id="869" r:id="rId86"/>
    <p:sldId id="751" r:id="rId87"/>
    <p:sldId id="870" r:id="rId88"/>
    <p:sldId id="896" r:id="rId89"/>
    <p:sldId id="802" r:id="rId90"/>
    <p:sldId id="705" r:id="rId91"/>
    <p:sldId id="780" r:id="rId92"/>
    <p:sldId id="729" r:id="rId93"/>
    <p:sldId id="730" r:id="rId94"/>
    <p:sldId id="387" r:id="rId95"/>
    <p:sldId id="803" r:id="rId96"/>
    <p:sldId id="519" r:id="rId97"/>
    <p:sldId id="805" r:id="rId98"/>
    <p:sldId id="482" r:id="rId99"/>
    <p:sldId id="806" r:id="rId100"/>
    <p:sldId id="933" r:id="rId101"/>
    <p:sldId id="934" r:id="rId102"/>
    <p:sldId id="485" r:id="rId103"/>
    <p:sldId id="545" r:id="rId104"/>
    <p:sldId id="781" r:id="rId105"/>
    <p:sldId id="792" r:id="rId106"/>
    <p:sldId id="807" r:id="rId107"/>
    <p:sldId id="571" r:id="rId108"/>
    <p:sldId id="533" r:id="rId109"/>
    <p:sldId id="808" r:id="rId110"/>
    <p:sldId id="522" r:id="rId111"/>
    <p:sldId id="514" r:id="rId112"/>
    <p:sldId id="766" r:id="rId113"/>
    <p:sldId id="759" r:id="rId114"/>
    <p:sldId id="508" r:id="rId115"/>
    <p:sldId id="864" r:id="rId116"/>
    <p:sldId id="775" r:id="rId117"/>
    <p:sldId id="809" r:id="rId118"/>
    <p:sldId id="748" r:id="rId119"/>
    <p:sldId id="783" r:id="rId120"/>
    <p:sldId id="810" r:id="rId121"/>
    <p:sldId id="811" r:id="rId122"/>
    <p:sldId id="812" r:id="rId123"/>
    <p:sldId id="450" r:id="rId124"/>
    <p:sldId id="813" r:id="rId125"/>
    <p:sldId id="814" r:id="rId126"/>
    <p:sldId id="815" r:id="rId127"/>
    <p:sldId id="816" r:id="rId128"/>
    <p:sldId id="817" r:id="rId129"/>
    <p:sldId id="769" r:id="rId130"/>
    <p:sldId id="394" r:id="rId131"/>
    <p:sldId id="818" r:id="rId132"/>
    <p:sldId id="819" r:id="rId133"/>
    <p:sldId id="456" r:id="rId134"/>
    <p:sldId id="754" r:id="rId135"/>
    <p:sldId id="753" r:id="rId136"/>
    <p:sldId id="742" r:id="rId137"/>
    <p:sldId id="546" r:id="rId138"/>
    <p:sldId id="820" r:id="rId139"/>
    <p:sldId id="658" r:id="rId140"/>
    <p:sldId id="821" r:id="rId141"/>
    <p:sldId id="868" r:id="rId142"/>
    <p:sldId id="771" r:id="rId143"/>
    <p:sldId id="822" r:id="rId144"/>
    <p:sldId id="823" r:id="rId145"/>
    <p:sldId id="758" r:id="rId146"/>
    <p:sldId id="824" r:id="rId147"/>
    <p:sldId id="547" r:id="rId148"/>
    <p:sldId id="772" r:id="rId149"/>
    <p:sldId id="773" r:id="rId150"/>
    <p:sldId id="556" r:id="rId151"/>
    <p:sldId id="706" r:id="rId152"/>
    <p:sldId id="577" r:id="rId153"/>
    <p:sldId id="557" r:id="rId154"/>
    <p:sldId id="825" r:id="rId155"/>
    <p:sldId id="826" r:id="rId156"/>
    <p:sldId id="827" r:id="rId157"/>
    <p:sldId id="561" r:id="rId158"/>
    <p:sldId id="562" r:id="rId159"/>
    <p:sldId id="563" r:id="rId160"/>
    <p:sldId id="865" r:id="rId161"/>
    <p:sldId id="573" r:id="rId162"/>
    <p:sldId id="788" r:id="rId163"/>
    <p:sldId id="574" r:id="rId164"/>
    <p:sldId id="829" r:id="rId165"/>
    <p:sldId id="830" r:id="rId166"/>
    <p:sldId id="745" r:id="rId167"/>
    <p:sldId id="747" r:id="rId168"/>
    <p:sldId id="548" r:id="rId169"/>
    <p:sldId id="831" r:id="rId170"/>
    <p:sldId id="832" r:id="rId171"/>
    <p:sldId id="833" r:id="rId172"/>
    <p:sldId id="834" r:id="rId173"/>
    <p:sldId id="835" r:id="rId174"/>
    <p:sldId id="707" r:id="rId175"/>
    <p:sldId id="708" r:id="rId176"/>
    <p:sldId id="549" r:id="rId177"/>
    <p:sldId id="709" r:id="rId178"/>
    <p:sldId id="836" r:id="rId179"/>
    <p:sldId id="837" r:id="rId180"/>
    <p:sldId id="786" r:id="rId181"/>
    <p:sldId id="838" r:id="rId182"/>
    <p:sldId id="839" r:id="rId183"/>
    <p:sldId id="710" r:id="rId184"/>
    <p:sldId id="594" r:id="rId185"/>
    <p:sldId id="550" r:id="rId186"/>
    <p:sldId id="840" r:id="rId187"/>
    <p:sldId id="795" r:id="rId188"/>
    <p:sldId id="841" r:id="rId189"/>
    <p:sldId id="842" r:id="rId190"/>
    <p:sldId id="711" r:id="rId191"/>
    <p:sldId id="712" r:id="rId192"/>
    <p:sldId id="713" r:id="rId193"/>
    <p:sldId id="736" r:id="rId194"/>
    <p:sldId id="739" r:id="rId195"/>
    <p:sldId id="551" r:id="rId196"/>
    <p:sldId id="714" r:id="rId197"/>
    <p:sldId id="843" r:id="rId198"/>
    <p:sldId id="844" r:id="rId199"/>
    <p:sldId id="845" r:id="rId200"/>
    <p:sldId id="846" r:id="rId201"/>
    <p:sldId id="847" r:id="rId202"/>
    <p:sldId id="899" r:id="rId203"/>
    <p:sldId id="848" r:id="rId204"/>
    <p:sldId id="849" r:id="rId205"/>
    <p:sldId id="737" r:id="rId206"/>
    <p:sldId id="866" r:id="rId207"/>
    <p:sldId id="850" r:id="rId208"/>
    <p:sldId id="851" r:id="rId209"/>
    <p:sldId id="852" r:id="rId210"/>
    <p:sldId id="438" r:id="rId211"/>
    <p:sldId id="853" r:id="rId212"/>
    <p:sldId id="854" r:id="rId213"/>
    <p:sldId id="855" r:id="rId214"/>
    <p:sldId id="735" r:id="rId215"/>
    <p:sldId id="871" r:id="rId216"/>
    <p:sldId id="856" r:id="rId217"/>
    <p:sldId id="857" r:id="rId218"/>
    <p:sldId id="552" r:id="rId219"/>
    <p:sldId id="734" r:id="rId220"/>
    <p:sldId id="935" r:id="rId221"/>
    <p:sldId id="776" r:id="rId222"/>
    <p:sldId id="716" r:id="rId223"/>
    <p:sldId id="423" r:id="rId224"/>
    <p:sldId id="861" r:id="rId225"/>
    <p:sldId id="553" r:id="rId226"/>
    <p:sldId id="858" r:id="rId227"/>
    <p:sldId id="396" r:id="rId228"/>
    <p:sldId id="901" r:id="rId229"/>
    <p:sldId id="406" r:id="rId230"/>
    <p:sldId id="902" r:id="rId231"/>
    <p:sldId id="398" r:id="rId232"/>
    <p:sldId id="903" r:id="rId233"/>
    <p:sldId id="904" r:id="rId234"/>
    <p:sldId id="905" r:id="rId235"/>
    <p:sldId id="906" r:id="rId236"/>
    <p:sldId id="401" r:id="rId237"/>
    <p:sldId id="907" r:id="rId238"/>
    <p:sldId id="872" r:id="rId239"/>
    <p:sldId id="908" r:id="rId240"/>
    <p:sldId id="733" r:id="rId241"/>
    <p:sldId id="936" r:id="rId242"/>
    <p:sldId id="937" r:id="rId243"/>
    <p:sldId id="938" r:id="rId244"/>
    <p:sldId id="939" r:id="rId245"/>
  </p:sldIdLst>
  <p:sldSz cx="9144000" cy="6858000" type="screen4x3"/>
  <p:notesSz cx="6669088" cy="9926638"/>
  <p:custDataLst>
    <p:tags r:id="rId2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0808"/>
    <a:srgbClr val="E509BB"/>
    <a:srgbClr val="FFFFFF"/>
    <a:srgbClr val="CBCBCB"/>
    <a:srgbClr val="CDCDCD"/>
    <a:srgbClr val="969696"/>
    <a:srgbClr val="7D7D7D"/>
    <a:srgbClr val="000000"/>
    <a:srgbClr val="C0C0C0"/>
    <a:srgbClr val="6397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8" autoAdjust="0"/>
    <p:restoredTop sz="90651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-570" y="-90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9774"/>
    </p:cViewPr>
  </p:sorterViewPr>
  <p:notesViewPr>
    <p:cSldViewPr snapToGrid="0" snapToObjects="1">
      <p:cViewPr varScale="1">
        <p:scale>
          <a:sx n="86" d="100"/>
          <a:sy n="86" d="100"/>
        </p:scale>
        <p:origin x="-2250" y="-7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226" Type="http://schemas.openxmlformats.org/officeDocument/2006/relationships/slide" Target="slides/slide225.xml"/><Relationship Id="rId247" Type="http://schemas.openxmlformats.org/officeDocument/2006/relationships/tags" Target="tags/tag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slide" Target="slides/slide215.xml"/><Relationship Id="rId237" Type="http://schemas.openxmlformats.org/officeDocument/2006/relationships/slide" Target="slides/slide236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227" Type="http://schemas.openxmlformats.org/officeDocument/2006/relationships/slide" Target="slides/slide226.xml"/><Relationship Id="rId248" Type="http://schemas.openxmlformats.org/officeDocument/2006/relationships/presProps" Target="presProp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82" Type="http://schemas.openxmlformats.org/officeDocument/2006/relationships/slide" Target="slides/slide181.xml"/><Relationship Id="rId187" Type="http://schemas.openxmlformats.org/officeDocument/2006/relationships/slide" Target="slides/slide186.xml"/><Relationship Id="rId217" Type="http://schemas.openxmlformats.org/officeDocument/2006/relationships/slide" Target="slides/slide2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12" Type="http://schemas.openxmlformats.org/officeDocument/2006/relationships/slide" Target="slides/slide211.xml"/><Relationship Id="rId233" Type="http://schemas.openxmlformats.org/officeDocument/2006/relationships/slide" Target="slides/slide232.xml"/><Relationship Id="rId238" Type="http://schemas.openxmlformats.org/officeDocument/2006/relationships/slide" Target="slides/slide237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2" Type="http://schemas.openxmlformats.org/officeDocument/2006/relationships/slide" Target="slides/slide201.xml"/><Relationship Id="rId207" Type="http://schemas.openxmlformats.org/officeDocument/2006/relationships/slide" Target="slides/slide206.xml"/><Relationship Id="rId223" Type="http://schemas.openxmlformats.org/officeDocument/2006/relationships/slide" Target="slides/slide222.xml"/><Relationship Id="rId228" Type="http://schemas.openxmlformats.org/officeDocument/2006/relationships/slide" Target="slides/slide227.xml"/><Relationship Id="rId244" Type="http://schemas.openxmlformats.org/officeDocument/2006/relationships/slide" Target="slides/slide243.xml"/><Relationship Id="rId249" Type="http://schemas.openxmlformats.org/officeDocument/2006/relationships/viewProps" Target="view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3" Type="http://schemas.openxmlformats.org/officeDocument/2006/relationships/slide" Target="slides/slide212.xml"/><Relationship Id="rId218" Type="http://schemas.openxmlformats.org/officeDocument/2006/relationships/slide" Target="slides/slide217.xml"/><Relationship Id="rId234" Type="http://schemas.openxmlformats.org/officeDocument/2006/relationships/slide" Target="slides/slide233.xml"/><Relationship Id="rId239" Type="http://schemas.openxmlformats.org/officeDocument/2006/relationships/slide" Target="slides/slide238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50" Type="http://schemas.openxmlformats.org/officeDocument/2006/relationships/theme" Target="theme/theme1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208" Type="http://schemas.openxmlformats.org/officeDocument/2006/relationships/slide" Target="slides/slide207.xml"/><Relationship Id="rId229" Type="http://schemas.openxmlformats.org/officeDocument/2006/relationships/slide" Target="slides/slide228.xml"/><Relationship Id="rId19" Type="http://schemas.openxmlformats.org/officeDocument/2006/relationships/slide" Target="slides/slide18.xml"/><Relationship Id="rId224" Type="http://schemas.openxmlformats.org/officeDocument/2006/relationships/slide" Target="slides/slide223.xml"/><Relationship Id="rId240" Type="http://schemas.openxmlformats.org/officeDocument/2006/relationships/slide" Target="slides/slide239.xml"/><Relationship Id="rId245" Type="http://schemas.openxmlformats.org/officeDocument/2006/relationships/slide" Target="slides/slide244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219" Type="http://schemas.openxmlformats.org/officeDocument/2006/relationships/slide" Target="slides/slide218.xml"/><Relationship Id="rId3" Type="http://schemas.openxmlformats.org/officeDocument/2006/relationships/slide" Target="slides/slide2.xml"/><Relationship Id="rId214" Type="http://schemas.openxmlformats.org/officeDocument/2006/relationships/slide" Target="slides/slide213.xml"/><Relationship Id="rId230" Type="http://schemas.openxmlformats.org/officeDocument/2006/relationships/slide" Target="slides/slide229.xml"/><Relationship Id="rId235" Type="http://schemas.openxmlformats.org/officeDocument/2006/relationships/slide" Target="slides/slide234.xml"/><Relationship Id="rId251" Type="http://schemas.openxmlformats.org/officeDocument/2006/relationships/tableStyles" Target="tableStyles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220" Type="http://schemas.openxmlformats.org/officeDocument/2006/relationships/slide" Target="slides/slide219.xml"/><Relationship Id="rId225" Type="http://schemas.openxmlformats.org/officeDocument/2006/relationships/slide" Target="slides/slide224.xml"/><Relationship Id="rId241" Type="http://schemas.openxmlformats.org/officeDocument/2006/relationships/slide" Target="slides/slide240.xml"/><Relationship Id="rId246" Type="http://schemas.openxmlformats.org/officeDocument/2006/relationships/notesMaster" Target="notesMasters/notesMaster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slide" Target="slides/slide209.xml"/><Relationship Id="rId215" Type="http://schemas.openxmlformats.org/officeDocument/2006/relationships/slide" Target="slides/slide214.xml"/><Relationship Id="rId236" Type="http://schemas.openxmlformats.org/officeDocument/2006/relationships/slide" Target="slides/slide235.xml"/><Relationship Id="rId26" Type="http://schemas.openxmlformats.org/officeDocument/2006/relationships/slide" Target="slides/slide25.xml"/><Relationship Id="rId231" Type="http://schemas.openxmlformats.org/officeDocument/2006/relationships/slide" Target="slides/slide230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221" Type="http://schemas.openxmlformats.org/officeDocument/2006/relationships/slide" Target="slides/slide220.xml"/><Relationship Id="rId242" Type="http://schemas.openxmlformats.org/officeDocument/2006/relationships/slide" Target="slides/slide241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32" Type="http://schemas.openxmlformats.org/officeDocument/2006/relationships/slide" Target="slides/slide231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Relationship Id="rId201" Type="http://schemas.openxmlformats.org/officeDocument/2006/relationships/slide" Target="slides/slide200.xml"/><Relationship Id="rId222" Type="http://schemas.openxmlformats.org/officeDocument/2006/relationships/slide" Target="slides/slide221.xml"/><Relationship Id="rId243" Type="http://schemas.openxmlformats.org/officeDocument/2006/relationships/slide" Target="slides/slide24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6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effectLst>
              <a:outerShdw blurRad="114300" sx="103000" sy="103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0" h="254000"/>
            </a:sp3d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1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2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3"/>
            <c:bubble3D val="0"/>
            <c:spPr>
              <a:solidFill>
                <a:srgbClr val="C0C0C0"/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4"/>
            <c:bubble3D val="0"/>
            <c:spPr>
              <a:solidFill>
                <a:srgbClr val="AFAFAF"/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5"/>
            <c:bubble3D val="0"/>
            <c:spPr>
              <a:solidFill>
                <a:srgbClr val="7D7D7D"/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dPt>
            <c:idx val="6"/>
            <c:bubble3D val="0"/>
            <c:spPr>
              <a:solidFill>
                <a:schemeClr val="accent1"/>
              </a:solidFill>
              <a:effectLst>
                <a:outerShdw blurRad="114300" sx="103000" sy="103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254000" h="254000"/>
              </a:sp3d>
            </c:spPr>
          </c:dPt>
          <c:cat>
            <c:strRef>
              <c:f>Tabelle1!$A$2:$A$8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scene3d>
      <a:camera prst="orthographicFront"/>
      <a:lightRig rig="threePt" dir="t"/>
    </a:scene3d>
    <a:sp3d>
      <a:bevelT/>
    </a:sp3d>
  </c:spPr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laceholder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belle1!$A$2:$A$7</c:f>
              <c:strCache>
                <c:ptCount val="6"/>
                <c:pt idx="0">
                  <c:v>Range</c:v>
                </c:pt>
                <c:pt idx="1">
                  <c:v>Contacts</c:v>
                </c:pt>
                <c:pt idx="2">
                  <c:v>Intensity</c:v>
                </c:pt>
                <c:pt idx="3">
                  <c:v>Repetition</c:v>
                </c:pt>
                <c:pt idx="4">
                  <c:v>Dominance </c:v>
                </c:pt>
                <c:pt idx="5">
                  <c:v>Impact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5</c:v>
                </c:pt>
                <c:pt idx="1">
                  <c:v>7.5</c:v>
                </c:pt>
                <c:pt idx="2">
                  <c:v>3.8</c:v>
                </c:pt>
                <c:pt idx="3">
                  <c:v>2.7</c:v>
                </c:pt>
                <c:pt idx="4">
                  <c:v>2.7</c:v>
                </c:pt>
                <c:pt idx="5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0796160"/>
        <c:axId val="320797696"/>
      </c:radarChart>
      <c:catAx>
        <c:axId val="320796160"/>
        <c:scaling>
          <c:orientation val="minMax"/>
        </c:scaling>
        <c:delete val="0"/>
        <c:axPos val="b"/>
        <c:majorGridlines/>
        <c:numFmt formatCode="dd/mm/yyyy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de-DE"/>
          </a:p>
        </c:txPr>
        <c:crossAx val="320797696"/>
        <c:crosses val="autoZero"/>
        <c:auto val="1"/>
        <c:lblAlgn val="ctr"/>
        <c:lblOffset val="100"/>
        <c:noMultiLvlLbl val="0"/>
      </c:catAx>
      <c:valAx>
        <c:axId val="320797696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noFill/>
          <a:ln w="12700">
            <a:solidFill>
              <a:srgbClr val="969696"/>
            </a:solidFill>
          </a:ln>
        </c:spPr>
        <c:crossAx val="320796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les Volume Provider A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belle1!$A$2:$A$6</c:f>
              <c:strCache>
                <c:ptCount val="5"/>
                <c:pt idx="0">
                  <c:v>Beginn Periode 1</c:v>
                </c:pt>
                <c:pt idx="1">
                  <c:v>Beginn Periode 2</c:v>
                </c:pt>
                <c:pt idx="2">
                  <c:v>Beginn Periode 3</c:v>
                </c:pt>
                <c:pt idx="3">
                  <c:v>Beginn Periode 4</c:v>
                </c:pt>
                <c:pt idx="4">
                  <c:v>Beginn Periode 5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1.5</c:v>
                </c:pt>
                <c:pt idx="3">
                  <c:v>2</c:v>
                </c:pt>
                <c:pt idx="4">
                  <c:v>2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 Volume Provider B</c:v>
                </c:pt>
              </c:strCache>
            </c:strRef>
          </c:tx>
          <c:spPr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strRef>
              <c:f>Tabelle1!$A$2:$A$6</c:f>
              <c:strCache>
                <c:ptCount val="5"/>
                <c:pt idx="0">
                  <c:v>Beginn Periode 1</c:v>
                </c:pt>
                <c:pt idx="1">
                  <c:v>Beginn Periode 2</c:v>
                </c:pt>
                <c:pt idx="2">
                  <c:v>Beginn Periode 3</c:v>
                </c:pt>
                <c:pt idx="3">
                  <c:v>Beginn Periode 4</c:v>
                </c:pt>
                <c:pt idx="4">
                  <c:v>Beginn Periode 5</c:v>
                </c:pt>
              </c:strCache>
            </c:str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0</c:v>
                </c:pt>
                <c:pt idx="1">
                  <c:v>1.5</c:v>
                </c:pt>
                <c:pt idx="2">
                  <c:v>2</c:v>
                </c:pt>
                <c:pt idx="3">
                  <c:v>2.2999999999999998</c:v>
                </c:pt>
                <c:pt idx="4">
                  <c:v>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ales Volume Provider C</c:v>
                </c:pt>
              </c:strCache>
            </c:strRef>
          </c:tx>
          <c:marker>
            <c:symbol val="none"/>
          </c:marker>
          <c:cat>
            <c:strRef>
              <c:f>Tabelle1!$A$2:$A$6</c:f>
              <c:strCache>
                <c:ptCount val="5"/>
                <c:pt idx="0">
                  <c:v>Beginn Periode 1</c:v>
                </c:pt>
                <c:pt idx="1">
                  <c:v>Beginn Periode 2</c:v>
                </c:pt>
                <c:pt idx="2">
                  <c:v>Beginn Periode 3</c:v>
                </c:pt>
                <c:pt idx="3">
                  <c:v>Beginn Periode 4</c:v>
                </c:pt>
                <c:pt idx="4">
                  <c:v>Beginn Periode 5</c:v>
                </c:pt>
              </c:strCache>
            </c:str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0</c:v>
                </c:pt>
                <c:pt idx="1">
                  <c:v>3</c:v>
                </c:pt>
                <c:pt idx="2">
                  <c:v>3.5</c:v>
                </c:pt>
                <c:pt idx="3">
                  <c:v>3.5</c:v>
                </c:pt>
                <c:pt idx="4">
                  <c:v>4.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ales Volume Provider D</c:v>
                </c:pt>
              </c:strCache>
            </c:strRef>
          </c:tx>
          <c:spPr>
            <a:ln>
              <a:solidFill>
                <a:srgbClr val="D7D7D7"/>
              </a:solidFill>
            </a:ln>
          </c:spPr>
          <c:marker>
            <c:symbol val="none"/>
          </c:marker>
          <c:cat>
            <c:strRef>
              <c:f>Tabelle1!$A$2:$A$6</c:f>
              <c:strCache>
                <c:ptCount val="5"/>
                <c:pt idx="0">
                  <c:v>Beginn Periode 1</c:v>
                </c:pt>
                <c:pt idx="1">
                  <c:v>Beginn Periode 2</c:v>
                </c:pt>
                <c:pt idx="2">
                  <c:v>Beginn Periode 3</c:v>
                </c:pt>
                <c:pt idx="3">
                  <c:v>Beginn Periode 4</c:v>
                </c:pt>
                <c:pt idx="4">
                  <c:v>Beginn Periode 5</c:v>
                </c:pt>
              </c:strCache>
            </c:strRef>
          </c:cat>
          <c:val>
            <c:numRef>
              <c:f>Tabelle1!$E$2:$E$6</c:f>
              <c:numCache>
                <c:formatCode>General</c:formatCode>
                <c:ptCount val="5"/>
                <c:pt idx="0">
                  <c:v>0</c:v>
                </c:pt>
                <c:pt idx="1">
                  <c:v>3.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6011904"/>
        <c:axId val="366013440"/>
      </c:lineChart>
      <c:catAx>
        <c:axId val="366011904"/>
        <c:scaling>
          <c:orientation val="minMax"/>
        </c:scaling>
        <c:delete val="0"/>
        <c:axPos val="b"/>
        <c:majorGridlines>
          <c:spPr>
            <a:ln w="12700"/>
          </c:spPr>
        </c:majorGridlines>
        <c:majorTickMark val="out"/>
        <c:minorTickMark val="none"/>
        <c:tickLblPos val="none"/>
        <c:spPr>
          <a:ln w="12700"/>
        </c:spPr>
        <c:crossAx val="366013440"/>
        <c:crosses val="autoZero"/>
        <c:auto val="1"/>
        <c:lblAlgn val="ctr"/>
        <c:lblOffset val="100"/>
        <c:tickMarkSkip val="1"/>
        <c:noMultiLvlLbl val="0"/>
      </c:catAx>
      <c:valAx>
        <c:axId val="366013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700"/>
        </c:spPr>
        <c:crossAx val="366011904"/>
        <c:crossesAt val="1"/>
        <c:crossBetween val="midCat"/>
      </c:valAx>
    </c:plotArea>
    <c:legend>
      <c:legendPos val="tr"/>
      <c:layout/>
      <c:overlay val="0"/>
      <c:txPr>
        <a:bodyPr/>
        <a:lstStyle/>
        <a:p>
          <a:pPr>
            <a:defRPr lang="de-DE" noProof="1" dirty="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lang="de-DE" sz="1800" noProof="1" dirty="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0"/>
      <c:rotY val="0"/>
      <c:rAngAx val="0"/>
      <c:perspective val="30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3.2891027106491402E-2"/>
          <c:w val="0.9995776985275947"/>
          <c:h val="0.8627497699158466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les</c:v>
                </c:pt>
              </c:strCache>
            </c:strRef>
          </c:tx>
          <c:spPr>
            <a:gradFill>
              <a:gsLst>
                <a:gs pos="0">
                  <a:prstClr val="white">
                    <a:lumMod val="85000"/>
                  </a:prst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</a:sp3d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Product 1</c:v>
                </c:pt>
                <c:pt idx="1">
                  <c:v>Product 2</c:v>
                </c:pt>
                <c:pt idx="2">
                  <c:v>Product 3</c:v>
                </c:pt>
                <c:pt idx="3">
                  <c:v>Product 4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2</c:v>
                </c:pt>
                <c:pt idx="1">
                  <c:v>0.5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rofit</c:v>
                </c:pt>
              </c:strCache>
            </c:strRef>
          </c:tx>
          <c:spPr>
            <a:gradFill>
              <a:gsLst>
                <a:gs pos="0">
                  <a:srgbClr val="2A79FF">
                    <a:lumMod val="60000"/>
                    <a:lumOff val="40000"/>
                  </a:srgbClr>
                </a:gs>
                <a:gs pos="100000">
                  <a:schemeClr val="accent1"/>
                </a:gs>
              </a:gsLst>
              <a:lin ang="5400000" scaled="1"/>
            </a:gra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</a:sp3d>
          </c:spPr>
          <c:invertIfNegative val="0"/>
          <c:dLbls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5</c:f>
              <c:strCache>
                <c:ptCount val="4"/>
                <c:pt idx="0">
                  <c:v>Product 1</c:v>
                </c:pt>
                <c:pt idx="1">
                  <c:v>Product 2</c:v>
                </c:pt>
                <c:pt idx="2">
                  <c:v>Product 3</c:v>
                </c:pt>
                <c:pt idx="3">
                  <c:v>Product 4</c:v>
                </c:pt>
              </c:strCache>
            </c:strRef>
          </c:cat>
          <c:val>
            <c:numRef>
              <c:f>Tabelle1!$C$2:$C$5</c:f>
              <c:numCache>
                <c:formatCode>0%</c:formatCode>
                <c:ptCount val="4"/>
                <c:pt idx="0">
                  <c:v>0.18000000000000024</c:v>
                </c:pt>
                <c:pt idx="1">
                  <c:v>0.42000000000000032</c:v>
                </c:pt>
                <c:pt idx="2">
                  <c:v>0.25</c:v>
                </c:pt>
                <c:pt idx="3">
                  <c:v>0.150000000000000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gapDepth val="134"/>
        <c:shape val="box"/>
        <c:axId val="297031936"/>
        <c:axId val="297046016"/>
        <c:axId val="0"/>
      </c:bar3DChart>
      <c:catAx>
        <c:axId val="297031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800" b="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de-DE"/>
          </a:p>
        </c:txPr>
        <c:crossAx val="297046016"/>
        <c:crosses val="autoZero"/>
        <c:auto val="1"/>
        <c:lblAlgn val="ctr"/>
        <c:lblOffset val="100"/>
        <c:noMultiLvlLbl val="0"/>
      </c:catAx>
      <c:valAx>
        <c:axId val="29704601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970319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670774337064465"/>
          <c:y val="4.3763665845058539E-3"/>
          <c:w val="0.32179748831844635"/>
          <c:h val="7.9268552528759639E-2"/>
        </c:manualLayout>
      </c:layout>
      <c:overlay val="0"/>
      <c:txPr>
        <a:bodyPr/>
        <a:lstStyle/>
        <a:p>
          <a:pPr>
            <a:defRPr sz="18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strRef>
              <c:f>Tabelle1!$A$2:$A$8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5</c:v>
                </c:pt>
                <c:pt idx="1">
                  <c:v>2.2000000000000002</c:v>
                </c:pt>
                <c:pt idx="2">
                  <c:v>1</c:v>
                </c:pt>
                <c:pt idx="3">
                  <c:v>0.60000000000000064</c:v>
                </c:pt>
                <c:pt idx="4">
                  <c:v>0.5</c:v>
                </c:pt>
                <c:pt idx="5">
                  <c:v>0.4</c:v>
                </c:pt>
                <c:pt idx="6">
                  <c:v>0.30000000000000032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>
              <a:solidFill>
                <a:schemeClr val="accent1">
                  <a:lumMod val="40000"/>
                  <a:lumOff val="60000"/>
                </a:schemeClr>
              </a:solidFill>
            </a:ln>
          </c:spPr>
          <c:marker>
            <c:symbol val="none"/>
          </c:marker>
          <c:cat>
            <c:strRef>
              <c:f>Tabelle1!$A$2:$A$8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5</c:v>
                </c:pt>
                <c:pt idx="1">
                  <c:v>3.2</c:v>
                </c:pt>
                <c:pt idx="2">
                  <c:v>2</c:v>
                </c:pt>
                <c:pt idx="3">
                  <c:v>1.6</c:v>
                </c:pt>
                <c:pt idx="4">
                  <c:v>1.5</c:v>
                </c:pt>
                <c:pt idx="5">
                  <c:v>1.4</c:v>
                </c:pt>
                <c:pt idx="6">
                  <c:v>1.3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belle1!$A$2:$A$8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4</c:v>
                </c:pt>
                <c:pt idx="1">
                  <c:v>4</c:v>
                </c:pt>
                <c:pt idx="2">
                  <c:v>3.5</c:v>
                </c:pt>
                <c:pt idx="3">
                  <c:v>3.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9090304"/>
        <c:axId val="299091840"/>
      </c:lineChart>
      <c:catAx>
        <c:axId val="299090304"/>
        <c:scaling>
          <c:orientation val="minMax"/>
        </c:scaling>
        <c:delete val="1"/>
        <c:axPos val="b"/>
        <c:majorTickMark val="none"/>
        <c:minorTickMark val="none"/>
        <c:tickLblPos val="none"/>
        <c:crossAx val="299091840"/>
        <c:crosses val="autoZero"/>
        <c:auto val="1"/>
        <c:lblAlgn val="ctr"/>
        <c:lblOffset val="100"/>
        <c:noMultiLvlLbl val="0"/>
      </c:catAx>
      <c:valAx>
        <c:axId val="299091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29909030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lang="de-DE" sz="1800" noProof="1" dirty="0"/>
      </a:pPr>
      <a:endParaRPr lang="de-DE"/>
    </a:p>
  </c:txPr>
  <c:externalData r:id="rId1">
    <c:autoUpdate val="0"/>
  </c:externalData>
</c:chartSpac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1647" units="in"/>
          <inkml:channel name="Y" type="integer" max="13699" units="in"/>
          <inkml:channel name="F" type="integer" max="32767" units="dev"/>
        </inkml:traceFormat>
        <inkml:channelProperties>
          <inkml:channelProperty channel="X" name="resolution" value="2540.13135" units="1/in"/>
          <inkml:channelProperty channel="Y" name="resolution" value="2540.14453" units="1/in"/>
          <inkml:channelProperty channel="F" name="resolution" value="0" units="1/dev"/>
        </inkml:channelProperties>
      </inkml:inkSource>
      <inkml:timestamp xml:id="ts0" timeString="2011-09-30T09:15:39.589"/>
    </inkml:context>
    <inkml:brush xml:id="br0">
      <inkml:brushProperty name="width" value="0.06667" units="cm"/>
      <inkml:brushProperty name="height" value="0.06667" units="cm"/>
      <inkml:brushProperty name="color" value="#ED1C24"/>
      <inkml:brushProperty name="fitToCurve" value="1"/>
    </inkml:brush>
  </inkml:definitions>
  <inkml:trace contextRef="#ctx0" brushRef="#br0">34 0 7751,'0'0'3043,"0"0"-2114,0 0-257,0 0-351,-34 0-321,34 0-2307,0 0-704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21647" units="in"/>
          <inkml:channel name="Y" type="integer" max="13699" units="in"/>
          <inkml:channel name="F" type="integer" max="32767" units="dev"/>
        </inkml:traceFormat>
        <inkml:channelProperties>
          <inkml:channelProperty channel="X" name="resolution" value="2540.13135" units="1/in"/>
          <inkml:channelProperty channel="Y" name="resolution" value="2540.14453" units="1/in"/>
          <inkml:channelProperty channel="F" name="resolution" value="0" units="1/dev"/>
        </inkml:channelProperties>
      </inkml:inkSource>
      <inkml:timestamp xml:id="ts0" timeString="2011-09-30T09:15:40.561"/>
    </inkml:context>
    <inkml:brush xml:id="br0">
      <inkml:brushProperty name="width" value="0.06667" units="cm"/>
      <inkml:brushProperty name="height" value="0.06667" units="cm"/>
      <inkml:brushProperty name="color" value="#ED1C24"/>
      <inkml:brushProperty name="fitToCurve" value="1"/>
    </inkml:brush>
  </inkml:definitions>
  <inkml:trace contextRef="#ctx0" brushRef="#br0">0 0 7399,'0'0'2081,"0"0"-1376,0 0-192,0 0-609,0 0-673,0 0-278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18.06.20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4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9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4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5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6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7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0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1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2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3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4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6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7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9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F91127B-0D0F-478C-895C-D0281059FCA1}" type="slidenum">
              <a:rPr lang="de-DE"/>
              <a:pPr/>
              <a:t>6</a:t>
            </a:fld>
            <a:endParaRPr lang="de-DE"/>
          </a:p>
        </p:txBody>
      </p:sp>
      <p:sp>
        <p:nvSpPr>
          <p:cNvPr id="419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6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6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21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21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8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8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3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3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43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43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44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44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D68B06-9C6D-4C0B-A04B-DE2EE842F4E5}" type="slidenum">
              <a:rPr>
                <a:cs typeface="Arial" charset="0"/>
              </a:rPr>
              <a:pPr/>
              <a:t>54</a:t>
            </a:fld>
            <a:endParaRPr lang="en-GB">
              <a:cs typeface="Arial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5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5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8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8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6246216-1426-42A1-8EBF-4E853E7D73E8}" type="slidenum">
              <a:rPr sz="1200" noProof="1"/>
              <a:pPr algn="r"/>
              <a:t>56</a:t>
            </a:fld>
            <a:endParaRPr lang="en-GB" sz="1200" noProof="1"/>
          </a:p>
        </p:txBody>
      </p:sp>
      <p:sp>
        <p:nvSpPr>
          <p:cNvPr id="83971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2921DFE-1FDE-4D06-8880-854DB2C4EFF5}" type="slidenum">
              <a:rPr lang="en-GB" sz="1300"/>
              <a:pPr algn="r" defTabSz="947738"/>
              <a:t>56</a:t>
            </a:fld>
            <a:endParaRPr lang="en-GB" sz="1300"/>
          </a:p>
        </p:txBody>
      </p:sp>
      <p:sp>
        <p:nvSpPr>
          <p:cNvPr id="839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839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GB" noProof="1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B8B18C-7E4A-4861-900C-6036D23EEB8E}" type="slidenum">
              <a:rPr>
                <a:cs typeface="Arial" charset="0"/>
              </a:rPr>
              <a:pPr/>
              <a:t>57</a:t>
            </a:fld>
            <a:endParaRPr lang="en-GB">
              <a:cs typeface="Arial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D68B06-9C6D-4C0B-A04B-DE2EE842F4E5}" type="slidenum">
              <a:rPr>
                <a:cs typeface="Arial" charset="0"/>
              </a:rPr>
              <a:pPr/>
              <a:t>58</a:t>
            </a:fld>
            <a:endParaRPr lang="en-GB">
              <a:cs typeface="Arial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6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49802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6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49802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7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7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394D3BE8-4C04-48A7-B3AE-302DB47EDB27}" type="slidenum">
              <a:rPr lang="de-DE"/>
              <a:pPr/>
              <a:t>76</a:t>
            </a:fld>
            <a:endParaRPr lang="de-DE"/>
          </a:p>
        </p:txBody>
      </p:sp>
      <p:sp>
        <p:nvSpPr>
          <p:cNvPr id="460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81</a:t>
            </a:fld>
            <a:endParaRPr 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145D40-280E-46AE-A797-CC7D4C24A99E}" type="slidenum">
              <a:rPr/>
              <a:pPr/>
              <a:t>84</a:t>
            </a:fld>
            <a:endParaRPr lang="en-GB" dirty="0"/>
          </a:p>
        </p:txBody>
      </p:sp>
      <p:sp>
        <p:nvSpPr>
          <p:cNvPr id="257026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B0EFFBBF-DB23-4823-9FC2-FD2C3EFF4B91}" type="slidenum">
              <a:rPr lang="en-GB" sz="1300"/>
              <a:pPr algn="r" defTabSz="947738"/>
              <a:t>84</a:t>
            </a:fld>
            <a:endParaRPr lang="en-GB" sz="1300" dirty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6877"/>
            <a:ext cx="4890665" cy="4465263"/>
          </a:xfrm>
        </p:spPr>
        <p:txBody>
          <a:bodyPr lIns="94824" tIns="47416" rIns="94824" bIns="47416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145D40-280E-46AE-A797-CC7D4C24A99E}" type="slidenum">
              <a:rPr/>
              <a:pPr/>
              <a:t>85</a:t>
            </a:fld>
            <a:endParaRPr lang="en-GB" dirty="0"/>
          </a:p>
        </p:txBody>
      </p:sp>
      <p:sp>
        <p:nvSpPr>
          <p:cNvPr id="257026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B0EFFBBF-DB23-4823-9FC2-FD2C3EFF4B91}" type="slidenum">
              <a:rPr lang="en-GB" sz="1300"/>
              <a:pPr algn="r" defTabSz="947738"/>
              <a:t>85</a:t>
            </a:fld>
            <a:endParaRPr lang="en-GB" sz="1300" dirty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6877"/>
            <a:ext cx="4890665" cy="4465263"/>
          </a:xfrm>
        </p:spPr>
        <p:txBody>
          <a:bodyPr lIns="94824" tIns="47416" rIns="94824" bIns="47416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145D40-280E-46AE-A797-CC7D4C24A99E}" type="slidenum">
              <a:rPr/>
              <a:pPr/>
              <a:t>86</a:t>
            </a:fld>
            <a:endParaRPr lang="en-GB" dirty="0"/>
          </a:p>
        </p:txBody>
      </p:sp>
      <p:sp>
        <p:nvSpPr>
          <p:cNvPr id="257026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B0EFFBBF-DB23-4823-9FC2-FD2C3EFF4B91}" type="slidenum">
              <a:rPr lang="en-GB" sz="1300"/>
              <a:pPr algn="r" defTabSz="947738"/>
              <a:t>86</a:t>
            </a:fld>
            <a:endParaRPr lang="en-GB" sz="1300" dirty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6877"/>
            <a:ext cx="4890665" cy="4465263"/>
          </a:xfrm>
        </p:spPr>
        <p:txBody>
          <a:bodyPr lIns="94824" tIns="47416" rIns="94824" bIns="47416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145D40-280E-46AE-A797-CC7D4C24A99E}" type="slidenum">
              <a:rPr/>
              <a:pPr/>
              <a:t>87</a:t>
            </a:fld>
            <a:endParaRPr lang="en-GB" dirty="0"/>
          </a:p>
        </p:txBody>
      </p:sp>
      <p:sp>
        <p:nvSpPr>
          <p:cNvPr id="257026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B0EFFBBF-DB23-4823-9FC2-FD2C3EFF4B91}" type="slidenum">
              <a:rPr lang="en-GB" sz="1300"/>
              <a:pPr algn="r" defTabSz="947738"/>
              <a:t>87</a:t>
            </a:fld>
            <a:endParaRPr lang="en-GB" sz="1300" dirty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6877"/>
            <a:ext cx="4890665" cy="4465263"/>
          </a:xfrm>
        </p:spPr>
        <p:txBody>
          <a:bodyPr lIns="94824" tIns="47416" rIns="94824" bIns="47416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8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8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91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91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94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94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9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9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6270CE87-972A-4925-A8F6-30C4F64AC6E5}" type="slidenum">
              <a:rPr lang="de-DE"/>
              <a:pPr/>
              <a:t>99</a:t>
            </a:fld>
            <a:endParaRPr lang="de-DE" dirty="0"/>
          </a:p>
        </p:txBody>
      </p:sp>
      <p:sp>
        <p:nvSpPr>
          <p:cNvPr id="5017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0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0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0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0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0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0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28A4D88D-79CF-4B0C-BF75-F71AD4C5FFC2}" type="slidenum">
              <a:rPr lang="de-DE"/>
              <a:pPr/>
              <a:t>105</a:t>
            </a:fld>
            <a:endParaRPr lang="de-DE"/>
          </a:p>
        </p:txBody>
      </p:sp>
      <p:sp>
        <p:nvSpPr>
          <p:cNvPr id="4915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08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08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A5A4CF32-E554-4EEB-BE44-7B22DE9F7602}" type="slidenum">
              <a:rPr lang="de-DE"/>
              <a:pPr/>
              <a:t>110</a:t>
            </a:fld>
            <a:endParaRPr lang="de-DE"/>
          </a:p>
        </p:txBody>
      </p:sp>
      <p:sp>
        <p:nvSpPr>
          <p:cNvPr id="440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1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1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1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796518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75391C9E-1137-4E59-A475-66EEA0560D31}" type="slidenum">
              <a:rPr lang="de-DE"/>
              <a:pPr/>
              <a:t>143</a:t>
            </a:fld>
            <a:endParaRPr lang="de-DE" dirty="0"/>
          </a:p>
        </p:txBody>
      </p:sp>
      <p:sp>
        <p:nvSpPr>
          <p:cNvPr id="5222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657B61C3-7ECB-4CC5-B4D2-4006FE2D3B6D}" type="slidenum">
              <a:rPr lang="de-DE"/>
              <a:pPr/>
              <a:t>144</a:t>
            </a:fld>
            <a:endParaRPr lang="de-DE" dirty="0"/>
          </a:p>
        </p:txBody>
      </p:sp>
      <p:sp>
        <p:nvSpPr>
          <p:cNvPr id="583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46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46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48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48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4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4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5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5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53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53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6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6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63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63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B4CDAD93-6398-45E0-8396-4C82A1B7B1FE}" type="slidenum">
              <a:rPr lang="de-DE"/>
              <a:pPr/>
              <a:t>164</a:t>
            </a:fld>
            <a:endParaRPr lang="de-DE" dirty="0"/>
          </a:p>
        </p:txBody>
      </p:sp>
      <p:sp>
        <p:nvSpPr>
          <p:cNvPr id="5324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6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6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6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6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74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74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7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7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86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86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88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88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97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97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99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199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0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0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0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0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82DEAAF9-0D07-4F84-9615-7F78C98B48FC}" type="slidenum">
              <a:rPr lang="de-DE"/>
              <a:pPr/>
              <a:t>204</a:t>
            </a:fld>
            <a:endParaRPr lang="de-DE" dirty="0"/>
          </a:p>
        </p:txBody>
      </p:sp>
      <p:sp>
        <p:nvSpPr>
          <p:cNvPr id="4300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20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14145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1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1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1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1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72539F7E-E393-4CA7-8DBE-8A70F4FC4D27}" type="slidenum">
              <a:rPr lang="de-DE"/>
              <a:pPr/>
              <a:t>213</a:t>
            </a:fld>
            <a:endParaRPr lang="de-DE" dirty="0"/>
          </a:p>
        </p:txBody>
      </p:sp>
      <p:sp>
        <p:nvSpPr>
          <p:cNvPr id="573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3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3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9D3643F0-E576-43EC-A76C-9D9A9EF9B525}" type="slidenum">
              <a:rPr lang="de-DE"/>
              <a:pPr/>
              <a:t>215</a:t>
            </a:fld>
            <a:endParaRPr lang="de-DE" dirty="0"/>
          </a:p>
        </p:txBody>
      </p:sp>
      <p:sp>
        <p:nvSpPr>
          <p:cNvPr id="5427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9AE88F81-93D2-4D4C-BE8C-CBFEE8CDFB8B}" type="slidenum">
              <a:rPr lang="de-DE"/>
              <a:pPr/>
              <a:t>216</a:t>
            </a:fld>
            <a:endParaRPr lang="de-DE" dirty="0"/>
          </a:p>
        </p:txBody>
      </p:sp>
      <p:sp>
        <p:nvSpPr>
          <p:cNvPr id="5529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BF5FFB38-DB90-490B-8B65-0F64E83F5747}" type="slidenum">
              <a:rPr lang="de-DE"/>
              <a:pPr/>
              <a:t>217</a:t>
            </a:fld>
            <a:endParaRPr lang="de-DE" dirty="0"/>
          </a:p>
        </p:txBody>
      </p:sp>
      <p:sp>
        <p:nvSpPr>
          <p:cNvPr id="5632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852488" y="754063"/>
            <a:ext cx="4962525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66629" y="4714969"/>
            <a:ext cx="5335831" cy="4383344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27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27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3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3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31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31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32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32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33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33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234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234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235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235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4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4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36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36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237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237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7607" y="9428583"/>
            <a:ext cx="288993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BE2B1E8-8677-483B-AABE-31FE0A2C53EF}" type="slidenum">
              <a:rPr sz="1200" noProof="1"/>
              <a:pPr algn="r"/>
              <a:t>239</a:t>
            </a:fld>
            <a:endParaRPr lang="de-DE" sz="1200" noProof="1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5B6D3EA-E3E5-4324-98EB-7942EF86D685}" type="slidenum">
              <a:rPr lang="en-GB" sz="1300"/>
              <a:pPr algn="r" defTabSz="947738"/>
              <a:t>239</a:t>
            </a:fld>
            <a:endParaRPr lang="en-GB" sz="1300" dirty="0"/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40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240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1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4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5" tIns="47411" rIns="94815" bIns="47411" anchor="b"/>
          <a:lstStyle/>
          <a:p>
            <a:pPr algn="r" defTabSz="947652"/>
            <a:fld id="{0C7B8A1B-A169-42ED-96E3-CF5B68CF2C7A}" type="slidenum">
              <a:rPr lang="en-GB" sz="1300"/>
              <a:pPr algn="r" defTabSz="947652"/>
              <a:t>1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4"/>
            <a:ext cx="4890665" cy="4466987"/>
          </a:xfrm>
          <a:noFill/>
          <a:ln/>
        </p:spPr>
        <p:txBody>
          <a:bodyPr lIns="94815" tIns="47411" rIns="94815" bIns="47411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144000" cy="388620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algn="ctr" defTabSz="914400" rtl="0" eaLnBrk="1" latinLnBrk="0" hangingPunct="1"/>
            <a:endParaRPr lang="de-DE" sz="80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5560" y="1998133"/>
            <a:ext cx="6217640" cy="1416050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7171" y="4037202"/>
            <a:ext cx="6226029" cy="1271398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18.06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1" y="2126512"/>
            <a:ext cx="9144000" cy="473148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/>
          <a:p>
            <a:pPr marL="190500" indent="-1905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18.06.201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18.06.201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charteo.com / Desig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287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- charteo.com / Desig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539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3851" y="-1"/>
            <a:ext cx="8497092" cy="109081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849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73F149-83C4-4179-9681-702531CCFDAC}" type="datetimeFigureOut">
              <a:rPr lang="de-DE" smtClean="0"/>
              <a:pPr/>
              <a:t>18.06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42298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87343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1E638-3F78-4E0D-883A-B278700C48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914400" rtl="0" eaLnBrk="1" latinLnBrk="0" hangingPunct="1">
        <a:spcBef>
          <a:spcPct val="2000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eg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4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8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4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.xml"/></Relationships>
</file>

<file path=ppt/slides/_rels/slide1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jpeg"/><Relationship Id="rId4" Type="http://schemas.microsoft.com/office/2007/relationships/hdphoto" Target="../media/hdphoto1.wdp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customXml" Target="../ink/ink2.xml"/><Relationship Id="rId4" Type="http://schemas.openxmlformats.org/officeDocument/2006/relationships/image" Target="../media/image4.emf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2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2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2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2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/Relationships>
</file>

<file path=ppt/slides/_rels/slide2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/Relationships>
</file>

<file path=ppt/slides/_rels/slide2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/Relationships>
</file>

<file path=ppt/slides/_rels/slide2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2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2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/Relationships>
</file>

<file path=ppt/slides/_rels/slide2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/Relationships>
</file>

<file path=ppt/slides/_rels/slide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2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slideLayout" Target="../slideLayouts/slideLayout2.xml"/></Relationships>
</file>

<file path=ppt/slides/_rels/slide2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dirty="0">
              <a:solidFill>
                <a:srgbClr val="F8F8F8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 bwMode="gray">
          <a:xfrm>
            <a:off x="-1" y="-8826"/>
            <a:ext cx="9144001" cy="4572001"/>
            <a:chOff x="-1" y="-8826"/>
            <a:chExt cx="9144001" cy="4572001"/>
          </a:xfr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</p:grpSpPr>
        <p:pic>
          <p:nvPicPr>
            <p:cNvPr id="8" name="Picture 6" descr="\\NAS\CH_Produktion\05_Vorlagen_und_Designs\zur_Veröffentlichung\Nach Thema\Strategie - Ziele\T0344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-1" y="-8826"/>
              <a:ext cx="9144001" cy="4572001"/>
            </a:xfrm>
            <a:prstGeom prst="rect">
              <a:avLst/>
            </a:prstGeom>
            <a:grpFill/>
          </p:spPr>
        </p:pic>
        <p:sp>
          <p:nvSpPr>
            <p:cNvPr id="10" name="Rechteck 9"/>
            <p:cNvSpPr/>
            <p:nvPr/>
          </p:nvSpPr>
          <p:spPr bwMode="gray">
            <a:xfrm rot="10800000" flipH="1" flipV="1">
              <a:off x="-1" y="4383174"/>
              <a:ext cx="9144000" cy="180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Titel 1"/>
          <p:cNvSpPr txBox="1">
            <a:spLocks/>
          </p:cNvSpPr>
          <p:nvPr/>
        </p:nvSpPr>
        <p:spPr bwMode="gray">
          <a:xfrm>
            <a:off x="643891" y="4756388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54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ing Toolbox</a:t>
            </a:r>
            <a:endParaRPr lang="en-US" sz="54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Untertitel 2"/>
          <p:cNvSpPr txBox="1">
            <a:spLocks/>
          </p:cNvSpPr>
          <p:nvPr/>
        </p:nvSpPr>
        <p:spPr bwMode="gray">
          <a:xfrm>
            <a:off x="643891" y="5359863"/>
            <a:ext cx="7856218" cy="938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itle, Autor or Date</a:t>
            </a:r>
          </a:p>
        </p:txBody>
      </p:sp>
    </p:spTree>
    <p:extLst>
      <p:ext uri="{BB962C8B-B14F-4D97-AF65-F5344CB8AC3E}">
        <p14:creationId xmlns:p14="http://schemas.microsoft.com/office/powerpoint/2010/main" val="391655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Marketing Research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72326" y="2564718"/>
            <a:ext cx="6981572" cy="1885210"/>
            <a:chOff x="1172326" y="2564718"/>
            <a:chExt cx="6981572" cy="1885210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785746"/>
              <a:ext cx="6799349" cy="140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/>
                <a:t>Marketing research involves the collection, </a:t>
              </a:r>
              <a:br>
                <a:rPr lang="en-US" sz="2400" i="1" noProof="1" smtClean="0"/>
              </a:br>
              <a:r>
                <a:rPr lang="en-US" sz="2400" i="1" noProof="1" smtClean="0"/>
                <a:t>analysis and interpretation of information about </a:t>
              </a:r>
              <a:br>
                <a:rPr lang="en-US" sz="2400" i="1" noProof="1" smtClean="0"/>
              </a:br>
              <a:r>
                <a:rPr lang="en-US" sz="2400" i="1" noProof="1" smtClean="0"/>
                <a:t>the marketing situation and the effectiveness of marketing tools to support marketing decisions.</a:t>
              </a:r>
              <a:endParaRPr lang="en-US" sz="2400" i="1" noProof="1" smtClean="0">
                <a:latin typeface="+mj-lt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269918" y="2564718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7592482" y="3962530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Coherence </a:t>
            </a:r>
            <a:r>
              <a:rPr lang="en-US" noProof="1" smtClean="0"/>
              <a:t>between profitability and market share (according to Porter)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U- Curve Concept </a:t>
            </a:r>
            <a:r>
              <a:rPr lang="en-US" b="0" noProof="1" smtClean="0"/>
              <a:t>- Stuck in the Middle</a:t>
            </a:r>
          </a:p>
        </p:txBody>
      </p:sp>
      <p:sp>
        <p:nvSpPr>
          <p:cNvPr id="19" name="Halbbogen 18"/>
          <p:cNvSpPr/>
          <p:nvPr/>
        </p:nvSpPr>
        <p:spPr bwMode="gray">
          <a:xfrm rot="10800000">
            <a:off x="2959247" y="987550"/>
            <a:ext cx="3246655" cy="3322492"/>
          </a:xfrm>
          <a:prstGeom prst="blockArc">
            <a:avLst>
              <a:gd name="adj1" fmla="val 10821635"/>
              <a:gd name="adj2" fmla="val 21587455"/>
              <a:gd name="adj3" fmla="val 1793"/>
            </a:avLst>
          </a:prstGeom>
          <a:solidFill>
            <a:schemeClr val="accent1"/>
          </a:solidFill>
          <a:ln w="0" cap="flat">
            <a:noFill/>
            <a:prstDash val="solid"/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1" smtClean="0"/>
          </a:p>
        </p:txBody>
      </p:sp>
      <p:grpSp>
        <p:nvGrpSpPr>
          <p:cNvPr id="20" name="Gruppieren 19"/>
          <p:cNvGrpSpPr/>
          <p:nvPr/>
        </p:nvGrpSpPr>
        <p:grpSpPr>
          <a:xfrm>
            <a:off x="323850" y="1535654"/>
            <a:ext cx="8496301" cy="3906297"/>
            <a:chOff x="323850" y="1535654"/>
            <a:chExt cx="8496301" cy="3906297"/>
          </a:xfrm>
        </p:grpSpPr>
        <p:cxnSp>
          <p:nvCxnSpPr>
            <p:cNvPr id="4" name="Gerade Verbindung mit Pfeil 3"/>
            <p:cNvCxnSpPr/>
            <p:nvPr/>
          </p:nvCxnSpPr>
          <p:spPr bwMode="gray">
            <a:xfrm flipV="1">
              <a:off x="323850" y="1555751"/>
              <a:ext cx="0" cy="3886200"/>
            </a:xfrm>
            <a:prstGeom prst="straightConnector1">
              <a:avLst/>
            </a:prstGeom>
            <a:noFill/>
            <a:ln w="12700" cap="flat">
              <a:solidFill>
                <a:srgbClr val="7D7D7D"/>
              </a:solidFill>
              <a:prstDash val="solid"/>
              <a:miter lim="800000"/>
              <a:headEnd/>
              <a:tailEnd type="triangle"/>
            </a:ln>
          </p:spPr>
        </p:cxnSp>
        <p:cxnSp>
          <p:nvCxnSpPr>
            <p:cNvPr id="7" name="Gerade Verbindung mit Pfeil 6"/>
            <p:cNvCxnSpPr>
              <a:stCxn id="40968" idx="1"/>
              <a:endCxn id="40968" idx="0"/>
            </p:cNvCxnSpPr>
            <p:nvPr/>
          </p:nvCxnSpPr>
          <p:spPr bwMode="gray">
            <a:xfrm flipV="1">
              <a:off x="323850" y="5441950"/>
              <a:ext cx="8496300" cy="1"/>
            </a:xfrm>
            <a:prstGeom prst="straightConnector1">
              <a:avLst/>
            </a:prstGeom>
            <a:noFill/>
            <a:ln w="12700" cap="flat">
              <a:solidFill>
                <a:srgbClr val="7D7D7D"/>
              </a:solidFill>
              <a:prstDash val="solid"/>
              <a:miter lim="800000"/>
              <a:headEnd/>
              <a:tailEnd type="triangle"/>
            </a:ln>
          </p:spPr>
        </p:cxnSp>
        <p:sp>
          <p:nvSpPr>
            <p:cNvPr id="8" name="Textfeld 7"/>
            <p:cNvSpPr txBox="1"/>
            <p:nvPr/>
          </p:nvSpPr>
          <p:spPr bwMode="gray">
            <a:xfrm>
              <a:off x="442128" y="1535654"/>
              <a:ext cx="177202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ROI </a:t>
              </a:r>
              <a:r>
                <a:rPr lang="en-US" sz="1400" noProof="1" smtClean="0"/>
                <a:t>(in %)</a:t>
              </a:r>
            </a:p>
            <a:p>
              <a:r>
                <a:rPr lang="en-US" sz="1400" noProof="1" smtClean="0"/>
                <a:t>Return on Investment</a:t>
              </a:r>
              <a:endParaRPr lang="en-US" sz="1400" noProof="1"/>
            </a:p>
          </p:txBody>
        </p:sp>
        <p:cxnSp>
          <p:nvCxnSpPr>
            <p:cNvPr id="11" name="Gerade Verbindung 10"/>
            <p:cNvCxnSpPr/>
            <p:nvPr/>
          </p:nvCxnSpPr>
          <p:spPr bwMode="gray">
            <a:xfrm>
              <a:off x="323850" y="3526972"/>
              <a:ext cx="8496300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>
              <a:off x="3215476" y="3526972"/>
              <a:ext cx="0" cy="1445759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>
              <a:off x="5940152" y="3526972"/>
              <a:ext cx="0" cy="1445759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/>
            <p:cNvSpPr txBox="1"/>
            <p:nvPr/>
          </p:nvSpPr>
          <p:spPr bwMode="gray">
            <a:xfrm>
              <a:off x="468555" y="3789113"/>
              <a:ext cx="254223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noProof="1" smtClean="0"/>
                <a:t>Concentration on covering market niches through cost leadership or quality leadership</a:t>
              </a:r>
              <a:br>
                <a:rPr lang="en-US" sz="1400" noProof="1" smtClean="0"/>
              </a:br>
              <a:endParaRPr lang="en-US" sz="1400" noProof="1"/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5940152" y="3789113"/>
              <a:ext cx="2840553" cy="738664"/>
            </a:xfrm>
            <a:prstGeom prst="rect">
              <a:avLst/>
            </a:prstGeom>
            <a:ln w="12700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>
              <a:spAutoFit/>
            </a:bodyPr>
            <a:lstStyle/>
            <a:p>
              <a:pPr algn="r"/>
              <a:r>
                <a:rPr lang="en-US" sz="1400" noProof="1" smtClean="0"/>
                <a:t>Overall market coverage</a:t>
              </a:r>
              <a:br>
                <a:rPr lang="en-US" sz="1400" noProof="1" smtClean="0"/>
              </a:br>
              <a:r>
                <a:rPr lang="en-US" sz="1400" noProof="1" smtClean="0"/>
                <a:t>through cost leadership or quality leadership (differentiation)</a:t>
              </a:r>
              <a:endParaRPr lang="en-US" sz="1400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3318727" y="4669622"/>
              <a:ext cx="25422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1" smtClean="0"/>
                <a:t>„Stuck in the middle“</a:t>
              </a:r>
              <a:endParaRPr lang="en-US" sz="1600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450267" y="2797615"/>
              <a:ext cx="254223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noProof="1" smtClean="0"/>
                <a:t>Market segment</a:t>
              </a:r>
              <a:br>
                <a:rPr lang="en-US" b="1" noProof="1" smtClean="0"/>
              </a:br>
              <a:r>
                <a:rPr lang="en-US" b="1" noProof="1" smtClean="0"/>
                <a:t>Market niche</a:t>
              </a:r>
              <a:endParaRPr lang="en-US" b="1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6167803" y="2797615"/>
              <a:ext cx="265234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 noProof="1" smtClean="0"/>
                <a:t>Relative </a:t>
              </a:r>
              <a:br>
                <a:rPr lang="en-US" b="1" noProof="1" smtClean="0"/>
              </a:br>
              <a:r>
                <a:rPr lang="en-US" b="1" noProof="1" smtClean="0"/>
                <a:t>market share</a:t>
              </a:r>
              <a:endParaRPr lang="en-US" b="1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3318346" y="4350249"/>
              <a:ext cx="25422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noProof="1" smtClean="0"/>
                <a:t>Critical range</a:t>
              </a:r>
              <a:endParaRPr lang="en-US" b="1" noProof="1"/>
            </a:p>
          </p:txBody>
        </p:sp>
        <p:cxnSp>
          <p:nvCxnSpPr>
            <p:cNvPr id="45" name="Gerade Verbindung mit Pfeil 44"/>
            <p:cNvCxnSpPr/>
            <p:nvPr/>
          </p:nvCxnSpPr>
          <p:spPr bwMode="gray">
            <a:xfrm flipH="1">
              <a:off x="3215476" y="4525742"/>
              <a:ext cx="414692" cy="0"/>
            </a:xfrm>
            <a:prstGeom prst="straightConnector1">
              <a:avLst/>
            </a:prstGeom>
            <a:noFill/>
            <a:ln w="12700" cap="flat">
              <a:solidFill>
                <a:srgbClr val="7D7D7D"/>
              </a:solidFill>
              <a:prstDash val="solid"/>
              <a:miter lim="800000"/>
              <a:headEnd/>
              <a:tailEnd type="triangle"/>
            </a:ln>
          </p:spPr>
        </p:cxnSp>
        <p:cxnSp>
          <p:nvCxnSpPr>
            <p:cNvPr id="48" name="Gerade Verbindung mit Pfeil 47"/>
            <p:cNvCxnSpPr/>
            <p:nvPr/>
          </p:nvCxnSpPr>
          <p:spPr bwMode="gray">
            <a:xfrm>
              <a:off x="5529707" y="4525742"/>
              <a:ext cx="414692" cy="0"/>
            </a:xfrm>
            <a:prstGeom prst="straightConnector1">
              <a:avLst/>
            </a:prstGeom>
            <a:noFill/>
            <a:ln w="12700" cap="flat">
              <a:solidFill>
                <a:srgbClr val="7D7D7D"/>
              </a:solidFill>
              <a:prstDash val="solid"/>
              <a:miter lim="800000"/>
              <a:headEnd/>
              <a:tailEnd type="triangle"/>
            </a:ln>
          </p:spPr>
        </p:cxnSp>
      </p:grpSp>
    </p:spTree>
    <p:extLst>
      <p:ext uri="{BB962C8B-B14F-4D97-AF65-F5344CB8AC3E}">
        <p14:creationId xmlns:p14="http://schemas.microsoft.com/office/powerpoint/2010/main" val="28242956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performance efficiency of competing technologies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- Curve Concept </a:t>
            </a:r>
            <a:endParaRPr lang="de-DE" noProof="1" smtClean="0"/>
          </a:p>
        </p:txBody>
      </p:sp>
      <p:cxnSp>
        <p:nvCxnSpPr>
          <p:cNvPr id="17" name="Gerade Verbindung mit Pfeil 16"/>
          <p:cNvCxnSpPr/>
          <p:nvPr/>
        </p:nvCxnSpPr>
        <p:spPr bwMode="gray">
          <a:xfrm flipV="1">
            <a:off x="712611" y="1555751"/>
            <a:ext cx="0" cy="3886200"/>
          </a:xfrm>
          <a:prstGeom prst="straightConnector1">
            <a:avLst/>
          </a:prstGeom>
          <a:noFill/>
          <a:ln w="12700" cap="flat">
            <a:solidFill>
              <a:srgbClr val="7D7D7D"/>
            </a:solidFill>
            <a:prstDash val="solid"/>
            <a:miter lim="800000"/>
            <a:headEnd/>
            <a:tailEnd type="triangle"/>
          </a:ln>
        </p:spPr>
      </p:cxnSp>
      <p:cxnSp>
        <p:nvCxnSpPr>
          <p:cNvPr id="18" name="Gerade Verbindung mit Pfeil 17"/>
          <p:cNvCxnSpPr/>
          <p:nvPr/>
        </p:nvCxnSpPr>
        <p:spPr bwMode="gray">
          <a:xfrm>
            <a:off x="712611" y="5441950"/>
            <a:ext cx="8117065" cy="1"/>
          </a:xfrm>
          <a:prstGeom prst="straightConnector1">
            <a:avLst/>
          </a:prstGeom>
          <a:noFill/>
          <a:ln w="12700" cap="flat">
            <a:solidFill>
              <a:srgbClr val="7D7D7D"/>
            </a:solidFill>
            <a:prstDash val="solid"/>
            <a:miter lim="800000"/>
            <a:headEnd/>
            <a:tailEnd type="triangle"/>
          </a:ln>
        </p:spPr>
      </p:cxnSp>
      <p:cxnSp>
        <p:nvCxnSpPr>
          <p:cNvPr id="20" name="Gerade Verbindung mit Pfeil 19"/>
          <p:cNvCxnSpPr/>
          <p:nvPr/>
        </p:nvCxnSpPr>
        <p:spPr bwMode="gray">
          <a:xfrm>
            <a:off x="712611" y="2945423"/>
            <a:ext cx="811706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 bwMode="gray">
          <a:xfrm>
            <a:off x="712611" y="2074985"/>
            <a:ext cx="8117065" cy="1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 bwMode="gray">
          <a:xfrm rot="16200000">
            <a:off x="-617193" y="3196038"/>
            <a:ext cx="21776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noProof="1" smtClean="0"/>
              <a:t>performance</a:t>
            </a:r>
            <a:endParaRPr lang="en-US" sz="2000" b="1" noProof="1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4988935" y="1736431"/>
            <a:ext cx="3840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performance limit technology 2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828723" y="2577841"/>
            <a:ext cx="3840741" cy="369332"/>
          </a:xfrm>
          <a:prstGeom prst="rect">
            <a:avLst/>
          </a:prstGeom>
          <a:ln w="12700">
            <a:noFill/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/>
          <a:p>
            <a:r>
              <a:rPr lang="de-DE" noProof="1" smtClean="0"/>
              <a:t>performance limit technology 1</a:t>
            </a:r>
          </a:p>
        </p:txBody>
      </p:sp>
      <p:sp>
        <p:nvSpPr>
          <p:cNvPr id="1030" name="Freeform 6"/>
          <p:cNvSpPr>
            <a:spLocks/>
          </p:cNvSpPr>
          <p:nvPr/>
        </p:nvSpPr>
        <p:spPr bwMode="gray">
          <a:xfrm>
            <a:off x="1157579" y="3011488"/>
            <a:ext cx="6557884" cy="2147887"/>
          </a:xfrm>
          <a:custGeom>
            <a:avLst/>
            <a:gdLst/>
            <a:ahLst/>
            <a:cxnLst>
              <a:cxn ang="0">
                <a:pos x="0" y="897"/>
              </a:cxn>
              <a:cxn ang="0">
                <a:pos x="983" y="421"/>
              </a:cxn>
              <a:cxn ang="0">
                <a:pos x="2445" y="22"/>
              </a:cxn>
            </a:cxnLst>
            <a:rect l="0" t="0" r="r" b="b"/>
            <a:pathLst>
              <a:path w="2445" h="905">
                <a:moveTo>
                  <a:pt x="0" y="897"/>
                </a:moveTo>
                <a:cubicBezTo>
                  <a:pt x="382" y="905"/>
                  <a:pt x="795" y="844"/>
                  <a:pt x="983" y="421"/>
                </a:cubicBezTo>
                <a:cubicBezTo>
                  <a:pt x="1170" y="2"/>
                  <a:pt x="2107" y="0"/>
                  <a:pt x="2445" y="22"/>
                </a:cubicBezTo>
              </a:path>
            </a:pathLst>
          </a:custGeom>
          <a:noFill/>
          <a:ln w="38100" cap="flat">
            <a:solidFill>
              <a:schemeClr val="accent1"/>
            </a:solidFill>
            <a:prstDash val="solid"/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2000" noProof="1"/>
          </a:p>
        </p:txBody>
      </p:sp>
      <p:sp>
        <p:nvSpPr>
          <p:cNvPr id="1031" name="Freeform 7"/>
          <p:cNvSpPr>
            <a:spLocks/>
          </p:cNvSpPr>
          <p:nvPr/>
        </p:nvSpPr>
        <p:spPr bwMode="gray">
          <a:xfrm>
            <a:off x="4799851" y="2125663"/>
            <a:ext cx="3444908" cy="1841500"/>
          </a:xfrm>
          <a:custGeom>
            <a:avLst/>
            <a:gdLst/>
            <a:ahLst/>
            <a:cxnLst>
              <a:cxn ang="0">
                <a:pos x="0" y="776"/>
              </a:cxn>
              <a:cxn ang="0">
                <a:pos x="561" y="315"/>
              </a:cxn>
              <a:cxn ang="0">
                <a:pos x="1284" y="13"/>
              </a:cxn>
            </a:cxnLst>
            <a:rect l="0" t="0" r="r" b="b"/>
            <a:pathLst>
              <a:path w="1284" h="776">
                <a:moveTo>
                  <a:pt x="0" y="776"/>
                </a:moveTo>
                <a:cubicBezTo>
                  <a:pt x="452" y="738"/>
                  <a:pt x="470" y="473"/>
                  <a:pt x="561" y="315"/>
                </a:cubicBezTo>
                <a:cubicBezTo>
                  <a:pt x="717" y="43"/>
                  <a:pt x="1064" y="0"/>
                  <a:pt x="1284" y="13"/>
                </a:cubicBezTo>
              </a:path>
            </a:pathLst>
          </a:custGeom>
          <a:noFill/>
          <a:ln w="38100" cap="flat">
            <a:solidFill>
              <a:schemeClr val="accent1"/>
            </a:solidFill>
            <a:prstDash val="sysDot"/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2000" noProof="1"/>
          </a:p>
        </p:txBody>
      </p:sp>
      <p:cxnSp>
        <p:nvCxnSpPr>
          <p:cNvPr id="36" name="Gerade Verbindung 35"/>
          <p:cNvCxnSpPr/>
          <p:nvPr/>
        </p:nvCxnSpPr>
        <p:spPr bwMode="gray">
          <a:xfrm>
            <a:off x="5212521" y="3200400"/>
            <a:ext cx="1098066" cy="5909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 bwMode="gray">
          <a:xfrm rot="10800000" flipV="1">
            <a:off x="5212522" y="3791317"/>
            <a:ext cx="1098065" cy="1234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lipse 32"/>
          <p:cNvSpPr/>
          <p:nvPr/>
        </p:nvSpPr>
        <p:spPr bwMode="gray">
          <a:xfrm>
            <a:off x="5061807" y="3054447"/>
            <a:ext cx="278244" cy="277200"/>
          </a:xfrm>
          <a:prstGeom prst="ellipse">
            <a:avLst/>
          </a:prstGeom>
          <a:solidFill>
            <a:srgbClr val="D7D7D7"/>
          </a:solidFill>
          <a:ln w="12700">
            <a:noFill/>
            <a:round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de-DE" sz="2000" noProof="1" smtClean="0"/>
          </a:p>
        </p:txBody>
      </p:sp>
      <p:sp>
        <p:nvSpPr>
          <p:cNvPr id="34" name="Ellipse 33"/>
          <p:cNvSpPr/>
          <p:nvPr/>
        </p:nvSpPr>
        <p:spPr bwMode="gray">
          <a:xfrm>
            <a:off x="5071744" y="3768458"/>
            <a:ext cx="278244" cy="277200"/>
          </a:xfrm>
          <a:prstGeom prst="ellipse">
            <a:avLst/>
          </a:prstGeom>
          <a:solidFill>
            <a:srgbClr val="D7D7D7"/>
          </a:solidFill>
          <a:ln w="12700">
            <a:noFill/>
            <a:round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de-DE" sz="2000" noProof="1" smtClean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6310587" y="3498930"/>
            <a:ext cx="2140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noProof="1" smtClean="0"/>
              <a:t>current status of</a:t>
            </a:r>
            <a:br>
              <a:rPr lang="de-DE" noProof="1" smtClean="0"/>
            </a:br>
            <a:r>
              <a:rPr lang="de-DE" noProof="1" smtClean="0"/>
              <a:t>technology 1 and 2</a:t>
            </a:r>
          </a:p>
        </p:txBody>
      </p:sp>
      <p:sp>
        <p:nvSpPr>
          <p:cNvPr id="42" name="Textfeld 41"/>
          <p:cNvSpPr txBox="1"/>
          <p:nvPr/>
        </p:nvSpPr>
        <p:spPr bwMode="gray">
          <a:xfrm>
            <a:off x="7526782" y="5470978"/>
            <a:ext cx="1114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noProof="1" smtClean="0"/>
              <a:t>time</a:t>
            </a:r>
            <a:endParaRPr lang="en-US" sz="2000" b="1" noProof="1"/>
          </a:p>
        </p:txBody>
      </p:sp>
    </p:spTree>
    <p:extLst>
      <p:ext uri="{BB962C8B-B14F-4D97-AF65-F5344CB8AC3E}">
        <p14:creationId xmlns:p14="http://schemas.microsoft.com/office/powerpoint/2010/main" val="262183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the life cycle of technology in the course of tim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- Curve Concept </a:t>
            </a:r>
            <a:r>
              <a:rPr lang="en-US" b="0" noProof="1" smtClean="0"/>
              <a:t>- Life Cycle 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323850" y="1550286"/>
            <a:ext cx="8496300" cy="4228081"/>
            <a:chOff x="323850" y="1550286"/>
            <a:chExt cx="8496300" cy="4228081"/>
          </a:xfrm>
        </p:grpSpPr>
        <p:sp>
          <p:nvSpPr>
            <p:cNvPr id="30" name="Textfeld 29"/>
            <p:cNvSpPr txBox="1"/>
            <p:nvPr/>
          </p:nvSpPr>
          <p:spPr bwMode="gray">
            <a:xfrm>
              <a:off x="323850" y="5156886"/>
              <a:ext cx="192450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1" smtClean="0"/>
                <a:t>development phase</a:t>
              </a:r>
              <a:endParaRPr lang="en-US" sz="1600" noProof="1"/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2247188" y="5156886"/>
              <a:ext cx="192450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1" smtClean="0"/>
                <a:t>growth</a:t>
              </a:r>
              <a:endParaRPr lang="en-US" sz="16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4188032" y="5156886"/>
              <a:ext cx="192450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1" smtClean="0"/>
                <a:t>maturity</a:t>
              </a:r>
              <a:endParaRPr lang="en-US" sz="16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6142882" y="5156886"/>
              <a:ext cx="192450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1" smtClean="0"/>
                <a:t>age phases</a:t>
              </a:r>
              <a:endParaRPr lang="en-US" sz="1600" noProof="1"/>
            </a:p>
          </p:txBody>
        </p:sp>
        <p:grpSp>
          <p:nvGrpSpPr>
            <p:cNvPr id="3" name="Gruppieren 25"/>
            <p:cNvGrpSpPr/>
            <p:nvPr/>
          </p:nvGrpSpPr>
          <p:grpSpPr bwMode="gray">
            <a:xfrm>
              <a:off x="323850" y="1742324"/>
              <a:ext cx="8496300" cy="3699625"/>
              <a:chOff x="-1204912" y="914400"/>
              <a:chExt cx="11557000" cy="5032375"/>
            </a:xfrm>
          </p:grpSpPr>
          <p:sp>
            <p:nvSpPr>
              <p:cNvPr id="1030" name="Line 6"/>
              <p:cNvSpPr>
                <a:spLocks noChangeShapeType="1"/>
              </p:cNvSpPr>
              <p:nvPr/>
            </p:nvSpPr>
            <p:spPr bwMode="gray">
              <a:xfrm flipV="1">
                <a:off x="-1204912" y="914400"/>
                <a:ext cx="1588" cy="5032375"/>
              </a:xfrm>
              <a:prstGeom prst="line">
                <a:avLst/>
              </a:prstGeom>
              <a:noFill/>
              <a:ln w="12700" cap="flat">
                <a:solidFill>
                  <a:srgbClr val="7D7D7D"/>
                </a:solidFill>
                <a:prstDash val="solid"/>
                <a:miter lim="800000"/>
                <a:headEnd/>
                <a:tailEnd type="triangle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noProof="1"/>
              </a:p>
            </p:txBody>
          </p:sp>
          <p:sp>
            <p:nvSpPr>
              <p:cNvPr id="1031" name="Line 7"/>
              <p:cNvSpPr>
                <a:spLocks noChangeShapeType="1"/>
              </p:cNvSpPr>
              <p:nvPr/>
            </p:nvSpPr>
            <p:spPr bwMode="gray">
              <a:xfrm>
                <a:off x="-1204912" y="5478463"/>
                <a:ext cx="11557000" cy="0"/>
              </a:xfrm>
              <a:prstGeom prst="line">
                <a:avLst/>
              </a:prstGeom>
              <a:noFill/>
              <a:ln w="12700" cap="flat">
                <a:solidFill>
                  <a:srgbClr val="7D7D7D"/>
                </a:solidFill>
                <a:prstDash val="solid"/>
                <a:miter lim="800000"/>
                <a:headEnd/>
                <a:tailEnd type="triangle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noProof="1"/>
              </a:p>
            </p:txBody>
          </p:sp>
          <p:sp>
            <p:nvSpPr>
              <p:cNvPr id="1036" name="Freeform 12"/>
              <p:cNvSpPr>
                <a:spLocks/>
              </p:cNvSpPr>
              <p:nvPr/>
            </p:nvSpPr>
            <p:spPr bwMode="gray">
              <a:xfrm>
                <a:off x="-725488" y="1333501"/>
                <a:ext cx="8132762" cy="3983039"/>
              </a:xfrm>
              <a:custGeom>
                <a:avLst/>
                <a:gdLst/>
                <a:ahLst/>
                <a:cxnLst>
                  <a:cxn ang="0">
                    <a:pos x="0" y="1016"/>
                  </a:cxn>
                  <a:cxn ang="0">
                    <a:pos x="1005" y="614"/>
                  </a:cxn>
                  <a:cxn ang="0">
                    <a:pos x="2169" y="0"/>
                  </a:cxn>
                </a:cxnLst>
                <a:rect l="0" t="0" r="r" b="b"/>
                <a:pathLst>
                  <a:path w="2169" h="1062">
                    <a:moveTo>
                      <a:pt x="0" y="1016"/>
                    </a:moveTo>
                    <a:cubicBezTo>
                      <a:pt x="105" y="1003"/>
                      <a:pt x="637" y="1062"/>
                      <a:pt x="1005" y="614"/>
                    </a:cubicBezTo>
                    <a:cubicBezTo>
                      <a:pt x="1374" y="166"/>
                      <a:pt x="1640" y="26"/>
                      <a:pt x="2169" y="0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noProof="1"/>
              </a:p>
            </p:txBody>
          </p:sp>
        </p:grpSp>
        <p:sp>
          <p:nvSpPr>
            <p:cNvPr id="35" name="Textfeld 34"/>
            <p:cNvSpPr txBox="1"/>
            <p:nvPr/>
          </p:nvSpPr>
          <p:spPr bwMode="gray">
            <a:xfrm>
              <a:off x="603736" y="3974649"/>
              <a:ext cx="19507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/>
                <a:t>Pace setting</a:t>
              </a:r>
            </a:p>
            <a:p>
              <a:r>
                <a:rPr lang="en-US" noProof="1" smtClean="0"/>
                <a:t>technology</a:t>
              </a:r>
              <a:endParaRPr lang="en-US" noProof="1"/>
            </a:p>
          </p:txBody>
        </p:sp>
        <p:sp>
          <p:nvSpPr>
            <p:cNvPr id="36" name="Textfeld 35"/>
            <p:cNvSpPr txBox="1"/>
            <p:nvPr/>
          </p:nvSpPr>
          <p:spPr bwMode="gray">
            <a:xfrm rot="19334529">
              <a:off x="3162009" y="2545809"/>
              <a:ext cx="2467902" cy="605614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448702"/>
                </a:avLst>
              </a:prstTxWarp>
              <a:spAutoFit/>
            </a:bodyPr>
            <a:lstStyle/>
            <a:p>
              <a:r>
                <a:rPr lang="en-US" noProof="1" smtClean="0"/>
                <a:t>Key technology</a:t>
              </a:r>
              <a:endParaRPr lang="en-US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6186407" y="1550286"/>
              <a:ext cx="19663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/>
                <a:t>Basic technology</a:t>
              </a:r>
              <a:endParaRPr lang="en-US" noProof="1"/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325018" y="5470590"/>
              <a:ext cx="7743540" cy="307777"/>
            </a:xfrm>
            <a:prstGeom prst="rect">
              <a:avLst/>
            </a:prstGeom>
            <a:noFill/>
          </p:spPr>
          <p:txBody>
            <a:bodyPr wrap="square" tIns="0" bIns="0" rtlCol="0">
              <a:spAutoFit/>
            </a:bodyPr>
            <a:lstStyle/>
            <a:p>
              <a:pPr algn="ctr"/>
              <a:r>
                <a:rPr lang="en-US" sz="2000" b="1" noProof="1" smtClean="0"/>
                <a:t>Life cycle of a technology</a:t>
              </a:r>
              <a:endParaRPr lang="en-US" sz="2000" b="1" noProof="1"/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8181748" y="4789885"/>
              <a:ext cx="6372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noProof="1" smtClean="0"/>
                <a:t>time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417382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ing Strategy /</a:t>
            </a:r>
            <a:b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</a:b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Concept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1" name="Untertitel 2"/>
          <p:cNvSpPr txBox="1">
            <a:spLocks/>
          </p:cNvSpPr>
          <p:nvPr/>
        </p:nvSpPr>
        <p:spPr bwMode="gray">
          <a:xfrm>
            <a:off x="647702" y="5217774"/>
            <a:ext cx="7856218" cy="938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sz="2800" noProof="1" smtClean="0">
                <a:solidFill>
                  <a:schemeClr val="bg1"/>
                </a:solidFill>
              </a:rPr>
              <a:t>Strategic marketing / concepts</a:t>
            </a:r>
            <a:endParaRPr lang="en-US" sz="28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21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11"/>
          <p:cNvGrpSpPr/>
          <p:nvPr/>
        </p:nvGrpSpPr>
        <p:grpSpPr bwMode="gray">
          <a:xfrm>
            <a:off x="0" y="2561134"/>
            <a:ext cx="9144000" cy="1278534"/>
            <a:chOff x="0" y="2579091"/>
            <a:chExt cx="9144000" cy="1278534"/>
          </a:xfrm>
        </p:grpSpPr>
        <p:sp>
          <p:nvSpPr>
            <p:cNvPr id="10" name="Rechteck 9"/>
            <p:cNvSpPr/>
            <p:nvPr/>
          </p:nvSpPr>
          <p:spPr bwMode="gray">
            <a:xfrm flipV="1">
              <a:off x="0" y="2579091"/>
              <a:ext cx="9144000" cy="107070"/>
            </a:xfrm>
            <a:prstGeom prst="rect">
              <a:avLst/>
            </a:prstGeom>
            <a:gradFill flip="none" rotWithShape="1">
              <a:gsLst>
                <a:gs pos="0">
                  <a:srgbClr val="262626">
                    <a:alpha val="20000"/>
                  </a:srgbClr>
                </a:gs>
                <a:gs pos="100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0" y="2686163"/>
              <a:ext cx="9144000" cy="1171462"/>
            </a:xfrm>
            <a:prstGeom prst="rect">
              <a:avLst/>
            </a:prstGeom>
            <a:gradFill flip="none" rotWithShape="1">
              <a:gsLst>
                <a:gs pos="0">
                  <a:srgbClr val="262626">
                    <a:alpha val="20000"/>
                  </a:srgbClr>
                </a:gs>
                <a:gs pos="100000">
                  <a:srgbClr val="C00000">
                    <a:alpha val="0"/>
                  </a:srgb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ifferentiation </a:t>
            </a:r>
            <a:r>
              <a:rPr lang="en-US" b="0" noProof="1" smtClean="0"/>
              <a:t>- Strategic Marketing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osition of the strategic marketing between strategic management and marketing management</a:t>
            </a:r>
            <a:endParaRPr lang="en-US" noProof="1"/>
          </a:p>
        </p:txBody>
      </p:sp>
      <p:grpSp>
        <p:nvGrpSpPr>
          <p:cNvPr id="32" name="Gruppieren 31"/>
          <p:cNvGrpSpPr/>
          <p:nvPr/>
        </p:nvGrpSpPr>
        <p:grpSpPr bwMode="gray">
          <a:xfrm>
            <a:off x="875513" y="2205327"/>
            <a:ext cx="7263404" cy="3365524"/>
            <a:chOff x="323850" y="1949712"/>
            <a:chExt cx="8366729" cy="3876754"/>
          </a:xfrm>
          <a:effectLst>
            <a:outerShdw blurRad="114300" sx="101000" sy="101000" algn="ctr" rotWithShape="0">
              <a:prstClr val="black">
                <a:alpha val="67000"/>
              </a:prstClr>
            </a:outerShdw>
          </a:effectLst>
          <a:scene3d>
            <a:camera prst="perspectiveRelaxed">
              <a:rot lat="18273603" lon="0" rev="0"/>
            </a:camera>
            <a:lightRig rig="balanced" dir="t"/>
          </a:scene3d>
        </p:grpSpPr>
        <p:sp>
          <p:nvSpPr>
            <p:cNvPr id="29" name="Rechteck 28"/>
            <p:cNvSpPr/>
            <p:nvPr/>
          </p:nvSpPr>
          <p:spPr bwMode="gray">
            <a:xfrm>
              <a:off x="323850" y="1949712"/>
              <a:ext cx="2502477" cy="3876754"/>
            </a:xfrm>
            <a:prstGeom prst="rect">
              <a:avLst/>
            </a:prstGeom>
            <a:gradFill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3500000" scaled="1"/>
            </a:gradFill>
            <a:ln w="9525">
              <a:noFill/>
              <a:round/>
              <a:headEnd type="triangle" w="med" len="med"/>
              <a:tailEnd type="triangle" w="med" len="med"/>
            </a:ln>
            <a:effectLst/>
            <a:sp3d extrusionH="419100">
              <a:bevelT w="25400" h="25400"/>
            </a:sp3d>
          </p:spPr>
          <p:txBody>
            <a:bodyPr vert="vert270" wrap="none" lIns="82945" tIns="41473" rIns="82945" bIns="41473" anchor="ctr"/>
            <a:lstStyle/>
            <a:p>
              <a:pPr algn="ctr"/>
              <a:r>
                <a:rPr lang="en-US" sz="2800" b="1" noProof="1" smtClean="0"/>
                <a:t>Strategic </a:t>
              </a:r>
              <a:br>
                <a:rPr lang="en-US" sz="2800" b="1" noProof="1" smtClean="0"/>
              </a:br>
              <a:r>
                <a:rPr lang="en-US" sz="2800" b="1" noProof="1" smtClean="0"/>
                <a:t>Management</a:t>
              </a:r>
              <a:endParaRPr lang="en-US" sz="2800" b="1" noProof="1"/>
            </a:p>
          </p:txBody>
        </p:sp>
        <p:sp>
          <p:nvSpPr>
            <p:cNvPr id="30" name="Rechteck 29"/>
            <p:cNvSpPr/>
            <p:nvPr/>
          </p:nvSpPr>
          <p:spPr bwMode="gray">
            <a:xfrm>
              <a:off x="2826327" y="1949712"/>
              <a:ext cx="1420721" cy="387675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miter lim="800000"/>
              <a:headEnd/>
              <a:tailEnd/>
            </a:ln>
            <a:effectLst/>
            <a:sp3d extrusionH="419100">
              <a:bevelT w="25400" h="25400"/>
            </a:sp3d>
          </p:spPr>
          <p:txBody>
            <a:bodyPr vert="vert270"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cs typeface="Arial" charset="0"/>
                </a:rPr>
                <a:t>Strategic</a:t>
              </a:r>
              <a:br>
                <a:rPr lang="en-US" sz="28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800" b="1" noProof="1" smtClean="0">
                  <a:solidFill>
                    <a:srgbClr val="FFFFFF"/>
                  </a:solidFill>
                  <a:cs typeface="Arial" charset="0"/>
                </a:rPr>
                <a:t> Marketing</a:t>
              </a:r>
              <a:endParaRPr lang="en-US" sz="28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4247048" y="1949712"/>
              <a:ext cx="4443531" cy="3876754"/>
            </a:xfrm>
            <a:prstGeom prst="rect">
              <a:avLst/>
            </a:prstGeom>
            <a:gradFill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3500000" scaled="1"/>
            </a:gradFill>
            <a:ln w="9525">
              <a:noFill/>
              <a:round/>
              <a:headEnd type="triangle" w="med" len="med"/>
              <a:tailEnd type="triangle" w="med" len="med"/>
            </a:ln>
            <a:effectLst/>
            <a:sp3d extrusionH="419100">
              <a:bevelT w="25400" h="25400"/>
            </a:sp3d>
          </p:spPr>
          <p:txBody>
            <a:bodyPr vert="vert270" wrap="none" lIns="82945" tIns="41473" rIns="82945" bIns="41473" anchor="ctr"/>
            <a:lstStyle/>
            <a:p>
              <a:pPr algn="ctr"/>
              <a:r>
                <a:rPr lang="en-US" sz="2800" b="1" noProof="1" smtClean="0"/>
                <a:t>Marketing</a:t>
              </a:r>
              <a:br>
                <a:rPr lang="en-US" sz="2800" b="1" noProof="1" smtClean="0"/>
              </a:br>
              <a:r>
                <a:rPr lang="en-US" sz="2800" b="1" noProof="1" smtClean="0"/>
                <a:t>Management</a:t>
              </a:r>
              <a:endParaRPr lang="en-US" sz="28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272624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grpSp>
        <p:nvGrpSpPr>
          <p:cNvPr id="47" name="Gruppieren 46"/>
          <p:cNvGrpSpPr/>
          <p:nvPr/>
        </p:nvGrpSpPr>
        <p:grpSpPr>
          <a:xfrm>
            <a:off x="241302" y="1539467"/>
            <a:ext cx="8649489" cy="4097683"/>
            <a:chOff x="241302" y="1539467"/>
            <a:chExt cx="8649489" cy="4097683"/>
          </a:xfrm>
        </p:grpSpPr>
        <p:grpSp>
          <p:nvGrpSpPr>
            <p:cNvPr id="65" name="Gruppieren 64"/>
            <p:cNvGrpSpPr/>
            <p:nvPr/>
          </p:nvGrpSpPr>
          <p:grpSpPr>
            <a:xfrm>
              <a:off x="2727216" y="1799853"/>
              <a:ext cx="3622192" cy="3663876"/>
              <a:chOff x="2727216" y="1814967"/>
              <a:chExt cx="3644984" cy="3686930"/>
            </a:xfrm>
          </p:grpSpPr>
          <p:sp>
            <p:nvSpPr>
              <p:cNvPr id="42" name="Halbbogen 41"/>
              <p:cNvSpPr/>
              <p:nvPr/>
            </p:nvSpPr>
            <p:spPr bwMode="gray">
              <a:xfrm rot="5400000">
                <a:off x="2727216" y="1856913"/>
                <a:ext cx="3644984" cy="3644984"/>
              </a:xfrm>
              <a:prstGeom prst="blockArc">
                <a:avLst>
                  <a:gd name="adj1" fmla="val 10800000"/>
                  <a:gd name="adj2" fmla="val 9313339"/>
                  <a:gd name="adj3" fmla="val 3033"/>
                </a:avLst>
              </a:prstGeom>
              <a:gradFill flip="none" rotWithShape="1">
                <a:gsLst>
                  <a:gs pos="0">
                    <a:srgbClr val="E6E6E6">
                      <a:shade val="30000"/>
                      <a:satMod val="115000"/>
                    </a:srgbClr>
                  </a:gs>
                  <a:gs pos="50000">
                    <a:srgbClr val="E6E6E6">
                      <a:shade val="67500"/>
                      <a:satMod val="115000"/>
                    </a:srgbClr>
                  </a:gs>
                  <a:gs pos="100000">
                    <a:srgbClr val="E6E6E6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43" name="Gleichschenkliges Dreieck 42"/>
              <p:cNvSpPr/>
              <p:nvPr/>
            </p:nvSpPr>
            <p:spPr bwMode="gray">
              <a:xfrm rot="3600000">
                <a:off x="3608030" y="1846781"/>
                <a:ext cx="461303" cy="397675"/>
              </a:xfrm>
              <a:prstGeom prst="triangle">
                <a:avLst/>
              </a:prstGeom>
              <a:solidFill>
                <a:srgbClr val="CBCBCB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sp>
          <p:nvSpPr>
            <p:cNvPr id="12290" name="Oval 2"/>
            <p:cNvSpPr>
              <a:spLocks/>
            </p:cNvSpPr>
            <p:nvPr/>
          </p:nvSpPr>
          <p:spPr bwMode="gray">
            <a:xfrm>
              <a:off x="3316687" y="2417272"/>
              <a:ext cx="2465284" cy="24655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  <a:headEnd type="triangle" w="med" len="med"/>
              <a:tailEnd type="triangle" w="med" len="med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7200000"/>
              </a:lightRig>
            </a:scene3d>
            <a:sp3d prstMaterial="metal">
              <a:bevelT w="1270000" h="1270000"/>
            </a:sp3d>
          </p:spPr>
          <p:txBody>
            <a:bodyPr lIns="81639" tIns="252000" rIns="81639" bIns="40820" anchor="ctr" anchorCtr="1"/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sz="28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/>
              </a:r>
              <a:br>
                <a:rPr lang="en-US" sz="28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</a:br>
              <a:r>
                <a:rPr lang="en-US" sz="28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Customer</a:t>
              </a:r>
            </a:p>
          </p:txBody>
        </p:sp>
        <p:sp>
          <p:nvSpPr>
            <p:cNvPr id="12291" name="AutoShape 3"/>
            <p:cNvSpPr>
              <a:spLocks noChangeArrowheads="1"/>
            </p:cNvSpPr>
            <p:nvPr/>
          </p:nvSpPr>
          <p:spPr bwMode="gray">
            <a:xfrm>
              <a:off x="4873625" y="1539467"/>
              <a:ext cx="4010024" cy="276999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Situation Analysis</a:t>
              </a:r>
              <a:endParaRPr lang="en-US" noProof="1"/>
            </a:p>
          </p:txBody>
        </p:sp>
        <p:sp>
          <p:nvSpPr>
            <p:cNvPr id="12292" name="AutoShape 4"/>
            <p:cNvSpPr>
              <a:spLocks noChangeArrowheads="1"/>
            </p:cNvSpPr>
            <p:nvPr/>
          </p:nvSpPr>
          <p:spPr bwMode="gray">
            <a:xfrm>
              <a:off x="5807520" y="2439616"/>
              <a:ext cx="2273760" cy="456528"/>
            </a:xfrm>
            <a:prstGeom prst="roundRect">
              <a:avLst>
                <a:gd name="adj" fmla="val 315"/>
              </a:avLst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none" lIns="82945" tIns="41473" rIns="82945" bIns="41473" anchor="ctr"/>
            <a:lstStyle/>
            <a:p>
              <a:endParaRPr lang="en-US" noProof="1"/>
            </a:p>
          </p:txBody>
        </p:sp>
        <p:sp>
          <p:nvSpPr>
            <p:cNvPr id="12293" name="AutoShape 5"/>
            <p:cNvSpPr>
              <a:spLocks noChangeArrowheads="1"/>
            </p:cNvSpPr>
            <p:nvPr/>
          </p:nvSpPr>
          <p:spPr bwMode="gray">
            <a:xfrm>
              <a:off x="6588598" y="3930420"/>
              <a:ext cx="2302193" cy="276999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Marketing Strategy</a:t>
              </a:r>
              <a:endParaRPr lang="en-US" noProof="1"/>
            </a:p>
          </p:txBody>
        </p:sp>
        <p:sp>
          <p:nvSpPr>
            <p:cNvPr id="12294" name="AutoShape 6"/>
            <p:cNvSpPr>
              <a:spLocks noChangeArrowheads="1"/>
            </p:cNvSpPr>
            <p:nvPr/>
          </p:nvSpPr>
          <p:spPr bwMode="gray">
            <a:xfrm>
              <a:off x="5718175" y="5083152"/>
              <a:ext cx="3131342" cy="55399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SBU-Planning </a:t>
              </a:r>
              <a:br>
                <a:rPr lang="en-US" noProof="1" smtClean="0"/>
              </a:br>
              <a:r>
                <a:rPr lang="en-US" noProof="1" smtClean="0"/>
                <a:t>(Strategic Business Units)</a:t>
              </a:r>
              <a:endParaRPr lang="en-US" noProof="1"/>
            </a:p>
          </p:txBody>
        </p:sp>
        <p:sp>
          <p:nvSpPr>
            <p:cNvPr id="12295" name="AutoShape 7"/>
            <p:cNvSpPr>
              <a:spLocks noChangeArrowheads="1"/>
            </p:cNvSpPr>
            <p:nvPr/>
          </p:nvSpPr>
          <p:spPr bwMode="gray">
            <a:xfrm>
              <a:off x="457201" y="5083152"/>
              <a:ext cx="2874830" cy="55399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Marketing Instruments/</a:t>
              </a:r>
              <a:br>
                <a:rPr lang="en-US" noProof="1" smtClean="0"/>
              </a:br>
              <a:r>
                <a:rPr lang="en-US" noProof="1" smtClean="0"/>
                <a:t>Marketing-Mix</a:t>
              </a:r>
              <a:endParaRPr lang="en-US" noProof="1"/>
            </a:p>
          </p:txBody>
        </p:sp>
        <p:sp>
          <p:nvSpPr>
            <p:cNvPr id="12296" name="AutoShape 8"/>
            <p:cNvSpPr>
              <a:spLocks noChangeArrowheads="1"/>
            </p:cNvSpPr>
            <p:nvPr/>
          </p:nvSpPr>
          <p:spPr bwMode="gray">
            <a:xfrm>
              <a:off x="6250224" y="2367454"/>
              <a:ext cx="2564367" cy="276999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Marketing Objectives</a:t>
              </a:r>
              <a:endParaRPr lang="en-US" noProof="1"/>
            </a:p>
          </p:txBody>
        </p:sp>
        <p:sp>
          <p:nvSpPr>
            <p:cNvPr id="12297" name="AutoShape 9"/>
            <p:cNvSpPr>
              <a:spLocks noChangeArrowheads="1"/>
            </p:cNvSpPr>
            <p:nvPr/>
          </p:nvSpPr>
          <p:spPr bwMode="gray">
            <a:xfrm>
              <a:off x="241302" y="3791920"/>
              <a:ext cx="2243936" cy="55399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Implementation /</a:t>
              </a:r>
              <a:br>
                <a:rPr lang="en-US" noProof="1" smtClean="0"/>
              </a:br>
              <a:r>
                <a:rPr lang="en-US" noProof="1" smtClean="0"/>
                <a:t>Realization</a:t>
              </a:r>
              <a:endParaRPr lang="en-US" noProof="1"/>
            </a:p>
          </p:txBody>
        </p:sp>
        <p:sp>
          <p:nvSpPr>
            <p:cNvPr id="12298" name="AutoShape 10"/>
            <p:cNvSpPr>
              <a:spLocks noChangeArrowheads="1"/>
            </p:cNvSpPr>
            <p:nvPr/>
          </p:nvSpPr>
          <p:spPr bwMode="gray">
            <a:xfrm>
              <a:off x="406401" y="2367454"/>
              <a:ext cx="2403366" cy="276999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Marketing Control</a:t>
              </a:r>
              <a:endParaRPr lang="en-US" noProof="1"/>
            </a:p>
          </p:txBody>
        </p:sp>
        <p:grpSp>
          <p:nvGrpSpPr>
            <p:cNvPr id="5" name="Gruppieren 46"/>
            <p:cNvGrpSpPr/>
            <p:nvPr/>
          </p:nvGrpSpPr>
          <p:grpSpPr bwMode="gray">
            <a:xfrm>
              <a:off x="4045228" y="3000069"/>
              <a:ext cx="518766" cy="542609"/>
              <a:chOff x="8250238" y="1282700"/>
              <a:chExt cx="1139825" cy="1192212"/>
            </a:xfrm>
          </p:grpSpPr>
          <p:sp>
            <p:nvSpPr>
              <p:cNvPr id="48" name="Freeform 6"/>
              <p:cNvSpPr>
                <a:spLocks/>
              </p:cNvSpPr>
              <p:nvPr/>
            </p:nvSpPr>
            <p:spPr bwMode="gray">
              <a:xfrm>
                <a:off x="8250238" y="1282700"/>
                <a:ext cx="1139825" cy="1192212"/>
              </a:xfrm>
              <a:custGeom>
                <a:avLst/>
                <a:gdLst/>
                <a:ahLst/>
                <a:cxnLst>
                  <a:cxn ang="0">
                    <a:pos x="242" y="155"/>
                  </a:cxn>
                  <a:cxn ang="0">
                    <a:pos x="190" y="128"/>
                  </a:cxn>
                  <a:cxn ang="0">
                    <a:pos x="222" y="70"/>
                  </a:cxn>
                  <a:cxn ang="0">
                    <a:pos x="152" y="0"/>
                  </a:cxn>
                  <a:cxn ang="0">
                    <a:pos x="82" y="70"/>
                  </a:cxn>
                  <a:cxn ang="0">
                    <a:pos x="114" y="128"/>
                  </a:cxn>
                  <a:cxn ang="0">
                    <a:pos x="62" y="155"/>
                  </a:cxn>
                  <a:cxn ang="0">
                    <a:pos x="37" y="274"/>
                  </a:cxn>
                  <a:cxn ang="0">
                    <a:pos x="37" y="274"/>
                  </a:cxn>
                  <a:cxn ang="0">
                    <a:pos x="152" y="318"/>
                  </a:cxn>
                  <a:cxn ang="0">
                    <a:pos x="267" y="274"/>
                  </a:cxn>
                  <a:cxn ang="0">
                    <a:pos x="242" y="155"/>
                  </a:cxn>
                </a:cxnLst>
                <a:rect l="0" t="0" r="r" b="b"/>
                <a:pathLst>
                  <a:path w="304" h="318">
                    <a:moveTo>
                      <a:pt x="242" y="155"/>
                    </a:moveTo>
                    <a:cubicBezTo>
                      <a:pt x="226" y="140"/>
                      <a:pt x="208" y="132"/>
                      <a:pt x="190" y="128"/>
                    </a:cubicBezTo>
                    <a:cubicBezTo>
                      <a:pt x="209" y="116"/>
                      <a:pt x="222" y="94"/>
                      <a:pt x="222" y="70"/>
                    </a:cubicBezTo>
                    <a:cubicBezTo>
                      <a:pt x="222" y="31"/>
                      <a:pt x="190" y="0"/>
                      <a:pt x="152" y="0"/>
                    </a:cubicBezTo>
                    <a:cubicBezTo>
                      <a:pt x="113" y="0"/>
                      <a:pt x="82" y="31"/>
                      <a:pt x="82" y="70"/>
                    </a:cubicBezTo>
                    <a:cubicBezTo>
                      <a:pt x="82" y="94"/>
                      <a:pt x="95" y="116"/>
                      <a:pt x="114" y="128"/>
                    </a:cubicBezTo>
                    <a:cubicBezTo>
                      <a:pt x="96" y="132"/>
                      <a:pt x="78" y="140"/>
                      <a:pt x="62" y="155"/>
                    </a:cubicBezTo>
                    <a:cubicBezTo>
                      <a:pt x="36" y="181"/>
                      <a:pt x="0" y="252"/>
                      <a:pt x="37" y="274"/>
                    </a:cubicBezTo>
                    <a:cubicBezTo>
                      <a:pt x="37" y="274"/>
                      <a:pt x="37" y="274"/>
                      <a:pt x="37" y="274"/>
                    </a:cubicBezTo>
                    <a:cubicBezTo>
                      <a:pt x="55" y="300"/>
                      <a:pt x="100" y="318"/>
                      <a:pt x="152" y="318"/>
                    </a:cubicBezTo>
                    <a:cubicBezTo>
                      <a:pt x="204" y="318"/>
                      <a:pt x="249" y="300"/>
                      <a:pt x="267" y="274"/>
                    </a:cubicBezTo>
                    <a:cubicBezTo>
                      <a:pt x="304" y="252"/>
                      <a:pt x="268" y="181"/>
                      <a:pt x="242" y="15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49" name="Oval 7"/>
              <p:cNvSpPr>
                <a:spLocks noChangeArrowheads="1"/>
              </p:cNvSpPr>
              <p:nvPr/>
            </p:nvSpPr>
            <p:spPr bwMode="gray">
              <a:xfrm>
                <a:off x="8666163" y="1282700"/>
                <a:ext cx="307975" cy="2032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0" name="Oval 8"/>
              <p:cNvSpPr>
                <a:spLocks noChangeArrowheads="1"/>
              </p:cNvSpPr>
              <p:nvPr/>
            </p:nvSpPr>
            <p:spPr bwMode="gray">
              <a:xfrm>
                <a:off x="8613775" y="1563688"/>
                <a:ext cx="412750" cy="2206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1" name="Oval 9"/>
              <p:cNvSpPr>
                <a:spLocks noChangeArrowheads="1"/>
              </p:cNvSpPr>
              <p:nvPr/>
            </p:nvSpPr>
            <p:spPr bwMode="gray">
              <a:xfrm>
                <a:off x="8613775" y="1766888"/>
                <a:ext cx="412750" cy="2206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2" name="Oval 10"/>
              <p:cNvSpPr>
                <a:spLocks noChangeArrowheads="1"/>
              </p:cNvSpPr>
              <p:nvPr/>
            </p:nvSpPr>
            <p:spPr bwMode="gray">
              <a:xfrm>
                <a:off x="8369300" y="1987550"/>
                <a:ext cx="896938" cy="4873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3" name="Freeform 11"/>
              <p:cNvSpPr>
                <a:spLocks/>
              </p:cNvSpPr>
              <p:nvPr/>
            </p:nvSpPr>
            <p:spPr bwMode="gray">
              <a:xfrm>
                <a:off x="8963025" y="1762125"/>
                <a:ext cx="427038" cy="547687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0" y="0"/>
                  </a:cxn>
                  <a:cxn ang="0">
                    <a:pos x="77" y="146"/>
                  </a:cxn>
                  <a:cxn ang="0">
                    <a:pos x="52" y="27"/>
                  </a:cxn>
                </a:cxnLst>
                <a:rect l="0" t="0" r="r" b="b"/>
                <a:pathLst>
                  <a:path w="114" h="146">
                    <a:moveTo>
                      <a:pt x="52" y="27"/>
                    </a:moveTo>
                    <a:cubicBezTo>
                      <a:pt x="36" y="12"/>
                      <a:pt x="18" y="4"/>
                      <a:pt x="0" y="0"/>
                    </a:cubicBezTo>
                    <a:cubicBezTo>
                      <a:pt x="42" y="34"/>
                      <a:pt x="69" y="104"/>
                      <a:pt x="77" y="146"/>
                    </a:cubicBezTo>
                    <a:cubicBezTo>
                      <a:pt x="114" y="124"/>
                      <a:pt x="78" y="53"/>
                      <a:pt x="52" y="2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4" name="Freeform 12"/>
              <p:cNvSpPr>
                <a:spLocks/>
              </p:cNvSpPr>
              <p:nvPr/>
            </p:nvSpPr>
            <p:spPr bwMode="gray">
              <a:xfrm>
                <a:off x="8250238" y="1762125"/>
                <a:ext cx="427038" cy="547687"/>
              </a:xfrm>
              <a:custGeom>
                <a:avLst/>
                <a:gdLst/>
                <a:ahLst/>
                <a:cxnLst>
                  <a:cxn ang="0">
                    <a:pos x="62" y="27"/>
                  </a:cxn>
                  <a:cxn ang="0">
                    <a:pos x="114" y="0"/>
                  </a:cxn>
                  <a:cxn ang="0">
                    <a:pos x="37" y="146"/>
                  </a:cxn>
                  <a:cxn ang="0">
                    <a:pos x="62" y="27"/>
                  </a:cxn>
                </a:cxnLst>
                <a:rect l="0" t="0" r="r" b="b"/>
                <a:pathLst>
                  <a:path w="114" h="146">
                    <a:moveTo>
                      <a:pt x="62" y="27"/>
                    </a:moveTo>
                    <a:cubicBezTo>
                      <a:pt x="78" y="12"/>
                      <a:pt x="96" y="4"/>
                      <a:pt x="114" y="0"/>
                    </a:cubicBezTo>
                    <a:cubicBezTo>
                      <a:pt x="72" y="34"/>
                      <a:pt x="44" y="104"/>
                      <a:pt x="37" y="146"/>
                    </a:cubicBezTo>
                    <a:cubicBezTo>
                      <a:pt x="0" y="124"/>
                      <a:pt x="36" y="53"/>
                      <a:pt x="62" y="2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45"/>
            <p:cNvGrpSpPr/>
            <p:nvPr/>
          </p:nvGrpSpPr>
          <p:grpSpPr bwMode="gray">
            <a:xfrm>
              <a:off x="4176758" y="2864394"/>
              <a:ext cx="829565" cy="867691"/>
              <a:chOff x="8250237" y="1282700"/>
              <a:chExt cx="1139826" cy="1192212"/>
            </a:xfrm>
          </p:grpSpPr>
          <p:sp>
            <p:nvSpPr>
              <p:cNvPr id="3078" name="Freeform 6"/>
              <p:cNvSpPr>
                <a:spLocks/>
              </p:cNvSpPr>
              <p:nvPr/>
            </p:nvSpPr>
            <p:spPr bwMode="gray">
              <a:xfrm>
                <a:off x="8250237" y="1282700"/>
                <a:ext cx="1139825" cy="1192212"/>
              </a:xfrm>
              <a:custGeom>
                <a:avLst/>
                <a:gdLst/>
                <a:ahLst/>
                <a:cxnLst>
                  <a:cxn ang="0">
                    <a:pos x="242" y="155"/>
                  </a:cxn>
                  <a:cxn ang="0">
                    <a:pos x="190" y="128"/>
                  </a:cxn>
                  <a:cxn ang="0">
                    <a:pos x="222" y="70"/>
                  </a:cxn>
                  <a:cxn ang="0">
                    <a:pos x="152" y="0"/>
                  </a:cxn>
                  <a:cxn ang="0">
                    <a:pos x="82" y="70"/>
                  </a:cxn>
                  <a:cxn ang="0">
                    <a:pos x="114" y="128"/>
                  </a:cxn>
                  <a:cxn ang="0">
                    <a:pos x="62" y="155"/>
                  </a:cxn>
                  <a:cxn ang="0">
                    <a:pos x="37" y="274"/>
                  </a:cxn>
                  <a:cxn ang="0">
                    <a:pos x="37" y="274"/>
                  </a:cxn>
                  <a:cxn ang="0">
                    <a:pos x="152" y="318"/>
                  </a:cxn>
                  <a:cxn ang="0">
                    <a:pos x="267" y="274"/>
                  </a:cxn>
                  <a:cxn ang="0">
                    <a:pos x="242" y="155"/>
                  </a:cxn>
                </a:cxnLst>
                <a:rect l="0" t="0" r="r" b="b"/>
                <a:pathLst>
                  <a:path w="304" h="318">
                    <a:moveTo>
                      <a:pt x="242" y="155"/>
                    </a:moveTo>
                    <a:cubicBezTo>
                      <a:pt x="226" y="140"/>
                      <a:pt x="208" y="132"/>
                      <a:pt x="190" y="128"/>
                    </a:cubicBezTo>
                    <a:cubicBezTo>
                      <a:pt x="209" y="116"/>
                      <a:pt x="222" y="94"/>
                      <a:pt x="222" y="70"/>
                    </a:cubicBezTo>
                    <a:cubicBezTo>
                      <a:pt x="222" y="31"/>
                      <a:pt x="190" y="0"/>
                      <a:pt x="152" y="0"/>
                    </a:cubicBezTo>
                    <a:cubicBezTo>
                      <a:pt x="113" y="0"/>
                      <a:pt x="82" y="31"/>
                      <a:pt x="82" y="70"/>
                    </a:cubicBezTo>
                    <a:cubicBezTo>
                      <a:pt x="82" y="94"/>
                      <a:pt x="95" y="116"/>
                      <a:pt x="114" y="128"/>
                    </a:cubicBezTo>
                    <a:cubicBezTo>
                      <a:pt x="96" y="132"/>
                      <a:pt x="78" y="140"/>
                      <a:pt x="62" y="155"/>
                    </a:cubicBezTo>
                    <a:cubicBezTo>
                      <a:pt x="36" y="181"/>
                      <a:pt x="0" y="252"/>
                      <a:pt x="37" y="274"/>
                    </a:cubicBezTo>
                    <a:cubicBezTo>
                      <a:pt x="37" y="274"/>
                      <a:pt x="37" y="274"/>
                      <a:pt x="37" y="274"/>
                    </a:cubicBezTo>
                    <a:cubicBezTo>
                      <a:pt x="55" y="300"/>
                      <a:pt x="100" y="318"/>
                      <a:pt x="152" y="318"/>
                    </a:cubicBezTo>
                    <a:cubicBezTo>
                      <a:pt x="204" y="318"/>
                      <a:pt x="249" y="300"/>
                      <a:pt x="267" y="274"/>
                    </a:cubicBezTo>
                    <a:cubicBezTo>
                      <a:pt x="304" y="252"/>
                      <a:pt x="268" y="181"/>
                      <a:pt x="242" y="15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noFill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79" name="Oval 7"/>
              <p:cNvSpPr>
                <a:spLocks noChangeArrowheads="1"/>
              </p:cNvSpPr>
              <p:nvPr/>
            </p:nvSpPr>
            <p:spPr bwMode="gray">
              <a:xfrm>
                <a:off x="8666163" y="1282700"/>
                <a:ext cx="307975" cy="2032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80" name="Oval 8"/>
              <p:cNvSpPr>
                <a:spLocks noChangeArrowheads="1"/>
              </p:cNvSpPr>
              <p:nvPr/>
            </p:nvSpPr>
            <p:spPr bwMode="gray">
              <a:xfrm>
                <a:off x="8613775" y="1563688"/>
                <a:ext cx="412750" cy="2206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81" name="Oval 9"/>
              <p:cNvSpPr>
                <a:spLocks noChangeArrowheads="1"/>
              </p:cNvSpPr>
              <p:nvPr/>
            </p:nvSpPr>
            <p:spPr bwMode="gray">
              <a:xfrm>
                <a:off x="8613775" y="1766888"/>
                <a:ext cx="412750" cy="2206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82" name="Oval 10"/>
              <p:cNvSpPr>
                <a:spLocks noChangeArrowheads="1"/>
              </p:cNvSpPr>
              <p:nvPr/>
            </p:nvSpPr>
            <p:spPr bwMode="gray">
              <a:xfrm>
                <a:off x="8369296" y="1987549"/>
                <a:ext cx="896938" cy="48736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83" name="Freeform 11"/>
              <p:cNvSpPr>
                <a:spLocks/>
              </p:cNvSpPr>
              <p:nvPr/>
            </p:nvSpPr>
            <p:spPr bwMode="gray">
              <a:xfrm>
                <a:off x="8963025" y="1762125"/>
                <a:ext cx="427038" cy="547687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0" y="0"/>
                  </a:cxn>
                  <a:cxn ang="0">
                    <a:pos x="77" y="146"/>
                  </a:cxn>
                  <a:cxn ang="0">
                    <a:pos x="52" y="27"/>
                  </a:cxn>
                </a:cxnLst>
                <a:rect l="0" t="0" r="r" b="b"/>
                <a:pathLst>
                  <a:path w="114" h="146">
                    <a:moveTo>
                      <a:pt x="52" y="27"/>
                    </a:moveTo>
                    <a:cubicBezTo>
                      <a:pt x="36" y="12"/>
                      <a:pt x="18" y="4"/>
                      <a:pt x="0" y="0"/>
                    </a:cubicBezTo>
                    <a:cubicBezTo>
                      <a:pt x="42" y="34"/>
                      <a:pt x="69" y="104"/>
                      <a:pt x="77" y="146"/>
                    </a:cubicBezTo>
                    <a:cubicBezTo>
                      <a:pt x="114" y="124"/>
                      <a:pt x="78" y="53"/>
                      <a:pt x="52" y="2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84" name="Freeform 12"/>
              <p:cNvSpPr>
                <a:spLocks/>
              </p:cNvSpPr>
              <p:nvPr/>
            </p:nvSpPr>
            <p:spPr bwMode="gray">
              <a:xfrm>
                <a:off x="8250238" y="1762125"/>
                <a:ext cx="427038" cy="547687"/>
              </a:xfrm>
              <a:custGeom>
                <a:avLst/>
                <a:gdLst/>
                <a:ahLst/>
                <a:cxnLst>
                  <a:cxn ang="0">
                    <a:pos x="62" y="27"/>
                  </a:cxn>
                  <a:cxn ang="0">
                    <a:pos x="114" y="0"/>
                  </a:cxn>
                  <a:cxn ang="0">
                    <a:pos x="37" y="146"/>
                  </a:cxn>
                  <a:cxn ang="0">
                    <a:pos x="62" y="27"/>
                  </a:cxn>
                </a:cxnLst>
                <a:rect l="0" t="0" r="r" b="b"/>
                <a:pathLst>
                  <a:path w="114" h="146">
                    <a:moveTo>
                      <a:pt x="62" y="27"/>
                    </a:moveTo>
                    <a:cubicBezTo>
                      <a:pt x="78" y="12"/>
                      <a:pt x="96" y="4"/>
                      <a:pt x="114" y="0"/>
                    </a:cubicBezTo>
                    <a:cubicBezTo>
                      <a:pt x="72" y="34"/>
                      <a:pt x="44" y="104"/>
                      <a:pt x="37" y="146"/>
                    </a:cubicBezTo>
                    <a:cubicBezTo>
                      <a:pt x="0" y="124"/>
                      <a:pt x="36" y="53"/>
                      <a:pt x="62" y="2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73" name="Pfeil nach oben 72"/>
            <p:cNvSpPr/>
            <p:nvPr/>
          </p:nvSpPr>
          <p:spPr bwMode="gray">
            <a:xfrm rot="1523691">
              <a:off x="3891742" y="4446469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4" name="Pfeil nach oben 73"/>
            <p:cNvSpPr/>
            <p:nvPr/>
          </p:nvSpPr>
          <p:spPr bwMode="gray">
            <a:xfrm rot="16979128">
              <a:off x="5744912" y="3533478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5" name="Pfeil nach oben 74"/>
            <p:cNvSpPr/>
            <p:nvPr/>
          </p:nvSpPr>
          <p:spPr bwMode="gray">
            <a:xfrm rot="13852717">
              <a:off x="5491817" y="2393383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6" name="Pfeil nach oben 75"/>
            <p:cNvSpPr/>
            <p:nvPr/>
          </p:nvSpPr>
          <p:spPr bwMode="gray">
            <a:xfrm rot="7745283">
              <a:off x="3446868" y="2386960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7" name="Pfeil nach oben 76"/>
            <p:cNvSpPr/>
            <p:nvPr/>
          </p:nvSpPr>
          <p:spPr bwMode="gray">
            <a:xfrm rot="4579844">
              <a:off x="3196049" y="3527854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8" name="Pfeil nach oben 77"/>
            <p:cNvSpPr/>
            <p:nvPr/>
          </p:nvSpPr>
          <p:spPr bwMode="gray">
            <a:xfrm rot="20086029">
              <a:off x="5038814" y="4441817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9" name="Pfeil nach oben 78"/>
            <p:cNvSpPr/>
            <p:nvPr/>
          </p:nvSpPr>
          <p:spPr bwMode="gray">
            <a:xfrm rot="10800000">
              <a:off x="4466873" y="1898716"/>
              <a:ext cx="160742" cy="854010"/>
            </a:xfrm>
            <a:prstGeom prst="upArrow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4" name="Ellipse 13"/>
            <p:cNvSpPr/>
            <p:nvPr/>
          </p:nvSpPr>
          <p:spPr bwMode="gray">
            <a:xfrm>
              <a:off x="4358775" y="1698390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1</a:t>
              </a:r>
            </a:p>
          </p:txBody>
        </p:sp>
        <p:sp>
          <p:nvSpPr>
            <p:cNvPr id="15" name="Ellipse 14"/>
            <p:cNvSpPr/>
            <p:nvPr/>
          </p:nvSpPr>
          <p:spPr bwMode="gray">
            <a:xfrm>
              <a:off x="5706965" y="2355742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2</a:t>
              </a:r>
            </a:p>
          </p:txBody>
        </p:sp>
        <p:sp>
          <p:nvSpPr>
            <p:cNvPr id="16" name="Ellipse 15"/>
            <p:cNvSpPr/>
            <p:nvPr/>
          </p:nvSpPr>
          <p:spPr bwMode="gray">
            <a:xfrm>
              <a:off x="6047247" y="3861048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</a:t>
              </a:r>
            </a:p>
          </p:txBody>
        </p:sp>
        <p:sp>
          <p:nvSpPr>
            <p:cNvPr id="17" name="Ellipse 16"/>
            <p:cNvSpPr/>
            <p:nvPr/>
          </p:nvSpPr>
          <p:spPr bwMode="gray">
            <a:xfrm>
              <a:off x="5114702" y="5076602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4</a:t>
              </a:r>
            </a:p>
          </p:txBody>
        </p:sp>
        <p:sp>
          <p:nvSpPr>
            <p:cNvPr id="19" name="Ellipse 18"/>
            <p:cNvSpPr/>
            <p:nvPr/>
          </p:nvSpPr>
          <p:spPr bwMode="gray">
            <a:xfrm>
              <a:off x="3601815" y="5076602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5</a:t>
              </a:r>
            </a:p>
          </p:txBody>
        </p:sp>
        <p:sp>
          <p:nvSpPr>
            <p:cNvPr id="20" name="Ellipse 19"/>
            <p:cNvSpPr/>
            <p:nvPr/>
          </p:nvSpPr>
          <p:spPr bwMode="gray">
            <a:xfrm>
              <a:off x="2663602" y="3866927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6</a:t>
              </a:r>
            </a:p>
          </p:txBody>
        </p:sp>
        <p:sp>
          <p:nvSpPr>
            <p:cNvPr id="21" name="Ellipse 20"/>
            <p:cNvSpPr/>
            <p:nvPr/>
          </p:nvSpPr>
          <p:spPr bwMode="gray">
            <a:xfrm>
              <a:off x="3002947" y="2355627"/>
              <a:ext cx="372681" cy="372681"/>
            </a:xfrm>
            <a:prstGeom prst="ellipse">
              <a:avLst/>
            </a:prstGeom>
            <a:solidFill>
              <a:srgbClr val="C0C0C0"/>
            </a:solidFill>
            <a:ln w="12700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4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7</a:t>
              </a:r>
            </a:p>
          </p:txBody>
        </p:sp>
      </p:grpSp>
      <p:sp>
        <p:nvSpPr>
          <p:cNvPr id="58" name="Titel 5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nception Phases of Marketing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64554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Communication Policy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en-step model of marketing communication</a:t>
            </a:r>
            <a:endParaRPr lang="en-US" noProof="1"/>
          </a:p>
        </p:txBody>
      </p:sp>
      <p:grpSp>
        <p:nvGrpSpPr>
          <p:cNvPr id="4" name="Gruppieren 45"/>
          <p:cNvGrpSpPr/>
          <p:nvPr/>
        </p:nvGrpSpPr>
        <p:grpSpPr>
          <a:xfrm>
            <a:off x="257517" y="1353312"/>
            <a:ext cx="8562633" cy="4449002"/>
            <a:chOff x="257517" y="1353312"/>
            <a:chExt cx="8562633" cy="4449002"/>
          </a:xfrm>
        </p:grpSpPr>
        <p:grpSp>
          <p:nvGrpSpPr>
            <p:cNvPr id="5" name="Gruppieren 44"/>
            <p:cNvGrpSpPr/>
            <p:nvPr/>
          </p:nvGrpSpPr>
          <p:grpSpPr bwMode="gray">
            <a:xfrm>
              <a:off x="323850" y="1353312"/>
              <a:ext cx="8496300" cy="4449002"/>
              <a:chOff x="323850" y="1353312"/>
              <a:chExt cx="8564118" cy="4449002"/>
            </a:xfrm>
          </p:grpSpPr>
          <p:sp>
            <p:nvSpPr>
              <p:cNvPr id="43" name="Pfeil nach rechts 42"/>
              <p:cNvSpPr/>
              <p:nvPr/>
            </p:nvSpPr>
            <p:spPr bwMode="gray">
              <a:xfrm>
                <a:off x="7987721" y="1353312"/>
                <a:ext cx="900247" cy="841248"/>
              </a:xfrm>
              <a:prstGeom prst="rightArrow">
                <a:avLst/>
              </a:prstGeom>
              <a:solidFill>
                <a:srgbClr val="E6E6E6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323850" y="5377658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rgbClr val="E6E6E6"/>
                  </a:gs>
                  <a:gs pos="100000">
                    <a:srgbClr val="969696"/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1</a:t>
                </a:r>
              </a:p>
            </p:txBody>
          </p:sp>
          <p:sp>
            <p:nvSpPr>
              <p:cNvPr id="13" name="Rechteck 12"/>
              <p:cNvSpPr/>
              <p:nvPr/>
            </p:nvSpPr>
            <p:spPr bwMode="gray">
              <a:xfrm>
                <a:off x="1102085" y="4953002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rgbClr val="E6E6E6"/>
                  </a:gs>
                  <a:gs pos="100000">
                    <a:srgbClr val="969696"/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2</a:t>
                </a:r>
              </a:p>
            </p:txBody>
          </p:sp>
          <p:sp>
            <p:nvSpPr>
              <p:cNvPr id="12" name="Rechtwinkliges Dreieck 11"/>
              <p:cNvSpPr/>
              <p:nvPr/>
            </p:nvSpPr>
            <p:spPr bwMode="gray">
              <a:xfrm>
                <a:off x="1102085" y="4953001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rgbClr val="969696">
                      <a:shade val="30000"/>
                      <a:satMod val="115000"/>
                    </a:srgbClr>
                  </a:gs>
                  <a:gs pos="50000">
                    <a:srgbClr val="969696">
                      <a:shade val="67500"/>
                      <a:satMod val="115000"/>
                    </a:srgbClr>
                  </a:gs>
                  <a:gs pos="100000">
                    <a:srgbClr val="96969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lIns="252000" rIns="0"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1866114" y="4528345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rgbClr val="E6E6E6"/>
                  </a:gs>
                  <a:gs pos="100000">
                    <a:srgbClr val="969696"/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3</a:t>
                </a:r>
              </a:p>
            </p:txBody>
          </p:sp>
          <p:sp>
            <p:nvSpPr>
              <p:cNvPr id="18" name="Rechtwinkliges Dreieck 17"/>
              <p:cNvSpPr/>
              <p:nvPr/>
            </p:nvSpPr>
            <p:spPr bwMode="gray">
              <a:xfrm>
                <a:off x="1866114" y="4528344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rgbClr val="969696">
                      <a:shade val="30000"/>
                      <a:satMod val="115000"/>
                    </a:srgbClr>
                  </a:gs>
                  <a:gs pos="50000">
                    <a:srgbClr val="969696">
                      <a:shade val="67500"/>
                      <a:satMod val="115000"/>
                    </a:srgbClr>
                  </a:gs>
                  <a:gs pos="100000">
                    <a:srgbClr val="96969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lIns="252000" rIns="0"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2644429" y="4103689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rgbClr val="E6E6E6"/>
                  </a:gs>
                  <a:gs pos="100000">
                    <a:srgbClr val="969696"/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4</a:t>
                </a:r>
              </a:p>
            </p:txBody>
          </p:sp>
          <p:sp>
            <p:nvSpPr>
              <p:cNvPr id="24" name="Rechtwinkliges Dreieck 23"/>
              <p:cNvSpPr/>
              <p:nvPr/>
            </p:nvSpPr>
            <p:spPr bwMode="gray">
              <a:xfrm>
                <a:off x="2644429" y="4103688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rgbClr val="969696">
                      <a:shade val="30000"/>
                      <a:satMod val="115000"/>
                    </a:srgbClr>
                  </a:gs>
                  <a:gs pos="50000">
                    <a:srgbClr val="969696">
                      <a:shade val="67500"/>
                      <a:satMod val="115000"/>
                    </a:srgbClr>
                  </a:gs>
                  <a:gs pos="100000">
                    <a:srgbClr val="96969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3414425" y="3679032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5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htwinkliges Dreieck 26"/>
              <p:cNvSpPr/>
              <p:nvPr/>
            </p:nvSpPr>
            <p:spPr bwMode="gray">
              <a:xfrm>
                <a:off x="3414425" y="3679031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rgbClr val="969696">
                      <a:shade val="30000"/>
                      <a:satMod val="115000"/>
                    </a:srgbClr>
                  </a:gs>
                  <a:gs pos="50000">
                    <a:srgbClr val="969696">
                      <a:shade val="67500"/>
                      <a:satMod val="115000"/>
                    </a:srgbClr>
                  </a:gs>
                  <a:gs pos="100000">
                    <a:srgbClr val="96969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29" name="Rechteck 28"/>
              <p:cNvSpPr/>
              <p:nvPr/>
            </p:nvSpPr>
            <p:spPr bwMode="gray">
              <a:xfrm>
                <a:off x="4200980" y="3254375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6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htwinkliges Dreieck 29"/>
              <p:cNvSpPr/>
              <p:nvPr/>
            </p:nvSpPr>
            <p:spPr bwMode="gray">
              <a:xfrm>
                <a:off x="4200980" y="3254374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32" name="Rechteck 31"/>
              <p:cNvSpPr/>
              <p:nvPr/>
            </p:nvSpPr>
            <p:spPr bwMode="gray">
              <a:xfrm>
                <a:off x="4987535" y="2829719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7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htwinkliges Dreieck 32"/>
              <p:cNvSpPr/>
              <p:nvPr/>
            </p:nvSpPr>
            <p:spPr bwMode="gray">
              <a:xfrm>
                <a:off x="4987535" y="2829718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35" name="Rechteck 34"/>
              <p:cNvSpPr/>
              <p:nvPr/>
            </p:nvSpPr>
            <p:spPr bwMode="gray">
              <a:xfrm>
                <a:off x="5790649" y="2405063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8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htwinkliges Dreieck 35"/>
              <p:cNvSpPr/>
              <p:nvPr/>
            </p:nvSpPr>
            <p:spPr bwMode="gray">
              <a:xfrm>
                <a:off x="5790649" y="2405062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38" name="Rechteck 37"/>
              <p:cNvSpPr/>
              <p:nvPr/>
            </p:nvSpPr>
            <p:spPr bwMode="gray">
              <a:xfrm>
                <a:off x="6568924" y="1980406"/>
                <a:ext cx="1208446" cy="424656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252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noProof="1" smtClean="0">
                    <a:solidFill>
                      <a:srgbClr val="000000"/>
                    </a:solidFill>
                  </a:rPr>
                  <a:t>Step 9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htwinkliges Dreieck 38"/>
              <p:cNvSpPr/>
              <p:nvPr/>
            </p:nvSpPr>
            <p:spPr bwMode="gray">
              <a:xfrm>
                <a:off x="6568924" y="1980405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41" name="Rechteck 40"/>
              <p:cNvSpPr/>
              <p:nvPr/>
            </p:nvSpPr>
            <p:spPr bwMode="gray">
              <a:xfrm>
                <a:off x="7347199" y="1555750"/>
                <a:ext cx="1121524" cy="424656"/>
              </a:xfrm>
              <a:prstGeom prst="rect">
                <a:avLst/>
              </a:prstGeom>
              <a:gradFill flip="none" rotWithShape="1">
                <a:gsLst>
                  <a:gs pos="0">
                    <a:srgbClr val="E6E6E6"/>
                  </a:gs>
                  <a:gs pos="100000">
                    <a:srgbClr val="969696"/>
                  </a:gs>
                </a:gsLst>
                <a:lin ang="108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ot="0" spcFirstLastPara="0" vertOverflow="overflow" horzOverflow="overflow" vert="horz" wrap="none" lIns="39600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600" noProof="1" smtClean="0">
                    <a:solidFill>
                      <a:srgbClr val="000000"/>
                    </a:solidFill>
                  </a:rPr>
                  <a:t>Step 10</a:t>
                </a:r>
                <a:endParaRPr lang="en-US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htwinkliges Dreieck 41"/>
              <p:cNvSpPr/>
              <p:nvPr/>
            </p:nvSpPr>
            <p:spPr bwMode="gray">
              <a:xfrm>
                <a:off x="7347199" y="1555749"/>
                <a:ext cx="430210" cy="424656"/>
              </a:xfrm>
              <a:prstGeom prst="rtTriangle">
                <a:avLst/>
              </a:prstGeom>
              <a:gradFill flip="none" rotWithShape="1">
                <a:gsLst>
                  <a:gs pos="0">
                    <a:srgbClr val="969696">
                      <a:shade val="30000"/>
                      <a:satMod val="115000"/>
                    </a:srgbClr>
                  </a:gs>
                  <a:gs pos="50000">
                    <a:srgbClr val="969696">
                      <a:shade val="67500"/>
                      <a:satMod val="115000"/>
                    </a:srgbClr>
                  </a:gs>
                  <a:gs pos="100000">
                    <a:srgbClr val="96969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</p:grpSp>
        <p:sp>
          <p:nvSpPr>
            <p:cNvPr id="54" name="Rechteck 53"/>
            <p:cNvSpPr/>
            <p:nvPr/>
          </p:nvSpPr>
          <p:spPr bwMode="gray">
            <a:xfrm>
              <a:off x="1522726" y="5542228"/>
              <a:ext cx="5899841" cy="184666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r>
                <a:rPr lang="en-US" sz="1200" noProof="1" smtClean="0"/>
                <a:t>Situation analysis and prognosis for the company</a:t>
              </a:r>
              <a:endParaRPr lang="en-US" sz="1200" noProof="1"/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2294798" y="5084342"/>
              <a:ext cx="2510028" cy="184666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r>
                <a:rPr lang="en-US" sz="1200" noProof="1" smtClean="0"/>
                <a:t>Agree on company objectives</a:t>
              </a:r>
              <a:endParaRPr lang="en-US" sz="1200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3052777" y="4650541"/>
              <a:ext cx="1508760" cy="369332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r>
                <a:rPr lang="en-US" sz="1200" noProof="1" smtClean="0"/>
                <a:t>Derive marketing targets</a:t>
              </a:r>
              <a:endParaRPr lang="en-US" sz="1200" noProof="1"/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3816754" y="4205625"/>
              <a:ext cx="4499009" cy="184666"/>
            </a:xfrm>
            <a:prstGeom prst="rect">
              <a:avLst/>
            </a:prstGeom>
          </p:spPr>
          <p:txBody>
            <a:bodyPr wrap="square" lIns="108000" tIns="0" rIns="0" bIns="0">
              <a:spAutoFit/>
            </a:bodyPr>
            <a:lstStyle/>
            <a:p>
              <a:r>
                <a:rPr lang="en-US" sz="1200" noProof="1" smtClean="0"/>
                <a:t>Define communication targets and target groups</a:t>
              </a:r>
              <a:endParaRPr lang="en-US" sz="1200" noProof="1"/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4597081" y="3715606"/>
              <a:ext cx="2258297" cy="276999"/>
            </a:xfrm>
            <a:prstGeom prst="rect">
              <a:avLst/>
            </a:prstGeom>
          </p:spPr>
          <p:txBody>
            <a:bodyPr wrap="none" lIns="108000">
              <a:spAutoFit/>
            </a:bodyPr>
            <a:lstStyle/>
            <a:p>
              <a:r>
                <a:rPr lang="en-US" sz="1200" noProof="1" smtClean="0"/>
                <a:t>Develop communication strategy</a:t>
              </a:r>
              <a:endParaRPr lang="en-US" sz="1200" noProof="1"/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257517" y="3329409"/>
              <a:ext cx="3999603" cy="276999"/>
            </a:xfrm>
            <a:prstGeom prst="rect">
              <a:avLst/>
            </a:prstGeom>
          </p:spPr>
          <p:txBody>
            <a:bodyPr wrap="none" rIns="144000">
              <a:spAutoFit/>
            </a:bodyPr>
            <a:lstStyle/>
            <a:p>
              <a:pPr algn="r"/>
              <a:r>
                <a:rPr lang="en-US" sz="1200" noProof="1" smtClean="0"/>
                <a:t>Budgeting and media selection (selecting advertising media)</a:t>
              </a:r>
              <a:endParaRPr lang="en-US" sz="1200" noProof="1"/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299940" y="2873685"/>
              <a:ext cx="4650664" cy="276999"/>
            </a:xfrm>
            <a:prstGeom prst="rect">
              <a:avLst/>
            </a:prstGeom>
          </p:spPr>
          <p:txBody>
            <a:bodyPr wrap="square" rIns="144000">
              <a:spAutoFit/>
            </a:bodyPr>
            <a:lstStyle/>
            <a:p>
              <a:pPr algn="r"/>
              <a:r>
                <a:rPr lang="en-US" sz="1200" noProof="1" smtClean="0"/>
                <a:t>Plan separate communication measures</a:t>
              </a:r>
              <a:endParaRPr lang="en-US" sz="1200" noProof="1"/>
            </a:p>
          </p:txBody>
        </p:sp>
        <p:sp>
          <p:nvSpPr>
            <p:cNvPr id="61" name="Rechteck 60"/>
            <p:cNvSpPr/>
            <p:nvPr/>
          </p:nvSpPr>
          <p:spPr bwMode="gray">
            <a:xfrm>
              <a:off x="1175358" y="2345300"/>
              <a:ext cx="4572000" cy="461665"/>
            </a:xfrm>
            <a:prstGeom prst="rect">
              <a:avLst/>
            </a:prstGeom>
          </p:spPr>
          <p:txBody>
            <a:bodyPr rIns="144000">
              <a:spAutoFit/>
            </a:bodyPr>
            <a:lstStyle/>
            <a:p>
              <a:pPr algn="r"/>
              <a:r>
                <a:rPr lang="en-US" sz="1200" noProof="1" smtClean="0"/>
                <a:t>Pre- test, Control of effect, return result to step 7, to apply improvements</a:t>
              </a:r>
              <a:endParaRPr lang="en-US" sz="1200" noProof="1"/>
            </a:p>
          </p:txBody>
        </p:sp>
        <p:sp>
          <p:nvSpPr>
            <p:cNvPr id="62" name="Rechteck 61"/>
            <p:cNvSpPr/>
            <p:nvPr/>
          </p:nvSpPr>
          <p:spPr bwMode="gray">
            <a:xfrm>
              <a:off x="4279196" y="1980406"/>
              <a:ext cx="2240274" cy="276999"/>
            </a:xfrm>
            <a:prstGeom prst="rect">
              <a:avLst/>
            </a:prstGeom>
          </p:spPr>
          <p:txBody>
            <a:bodyPr wrap="none" rIns="144000">
              <a:spAutoFit/>
            </a:bodyPr>
            <a:lstStyle/>
            <a:p>
              <a:pPr algn="r"/>
              <a:r>
                <a:rPr lang="en-US" sz="1200" noProof="1" smtClean="0"/>
                <a:t>Apply communication measures</a:t>
              </a:r>
              <a:endParaRPr lang="en-US" sz="1200" noProof="1"/>
            </a:p>
          </p:txBody>
        </p:sp>
        <p:sp>
          <p:nvSpPr>
            <p:cNvPr id="64" name="Rechteck 63"/>
            <p:cNvSpPr/>
            <p:nvPr/>
          </p:nvSpPr>
          <p:spPr bwMode="gray">
            <a:xfrm>
              <a:off x="6110379" y="1604078"/>
              <a:ext cx="1181203" cy="276999"/>
            </a:xfrm>
            <a:prstGeom prst="rect">
              <a:avLst/>
            </a:prstGeom>
          </p:spPr>
          <p:txBody>
            <a:bodyPr wrap="none" rIns="144000">
              <a:spAutoFit/>
            </a:bodyPr>
            <a:lstStyle/>
            <a:p>
              <a:pPr algn="r"/>
              <a:r>
                <a:rPr lang="en-US" sz="1200" noProof="1" smtClean="0"/>
                <a:t>Measure effect</a:t>
              </a:r>
              <a:endParaRPr lang="en-US" sz="1200" noProof="1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>
              <a:off x="8503919" y="2194560"/>
              <a:ext cx="0" cy="179804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/>
            <p:cNvCxnSpPr/>
            <p:nvPr/>
          </p:nvCxnSpPr>
          <p:spPr bwMode="gray">
            <a:xfrm flipH="1">
              <a:off x="7416165" y="3992605"/>
              <a:ext cx="108381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/>
            <p:cNvCxnSpPr/>
            <p:nvPr/>
          </p:nvCxnSpPr>
          <p:spPr bwMode="gray">
            <a:xfrm flipH="1">
              <a:off x="7727910" y="3501008"/>
              <a:ext cx="772073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/>
            <p:cNvCxnSpPr/>
            <p:nvPr/>
          </p:nvCxnSpPr>
          <p:spPr bwMode="gray">
            <a:xfrm flipH="1">
              <a:off x="7936557" y="3068960"/>
              <a:ext cx="563426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/>
            <p:cNvCxnSpPr/>
            <p:nvPr/>
          </p:nvCxnSpPr>
          <p:spPr bwMode="gray">
            <a:xfrm flipH="1">
              <a:off x="8037957" y="2636912"/>
              <a:ext cx="462026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/>
            <p:cNvCxnSpPr/>
            <p:nvPr/>
          </p:nvCxnSpPr>
          <p:spPr bwMode="gray">
            <a:xfrm flipH="1">
              <a:off x="8175117" y="2276872"/>
              <a:ext cx="324866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hteck 80"/>
            <p:cNvSpPr/>
            <p:nvPr/>
          </p:nvSpPr>
          <p:spPr bwMode="gray">
            <a:xfrm rot="16200000">
              <a:off x="7977461" y="3007203"/>
              <a:ext cx="13943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noProof="1" smtClean="0"/>
                <a:t>Return result at 5-9</a:t>
              </a:r>
              <a:endParaRPr lang="en-US" sz="1200" noProof="1"/>
            </a:p>
          </p:txBody>
        </p:sp>
        <p:sp>
          <p:nvSpPr>
            <p:cNvPr id="82" name="Rechteck 81"/>
            <p:cNvSpPr/>
            <p:nvPr/>
          </p:nvSpPr>
          <p:spPr bwMode="gray">
            <a:xfrm>
              <a:off x="6149480" y="2842652"/>
              <a:ext cx="1172679" cy="461665"/>
            </a:xfrm>
            <a:prstGeom prst="rect">
              <a:avLst/>
            </a:prstGeom>
          </p:spPr>
          <p:txBody>
            <a:bodyPr wrap="none" lIns="108000">
              <a:spAutoFit/>
            </a:bodyPr>
            <a:lstStyle/>
            <a:p>
              <a:r>
                <a:rPr lang="en-US" sz="1200" noProof="1" smtClean="0"/>
                <a:t>Improvements </a:t>
              </a:r>
              <a:br>
                <a:rPr lang="en-US" sz="1200" noProof="1" smtClean="0"/>
              </a:br>
              <a:r>
                <a:rPr lang="en-US" sz="1200" noProof="1" smtClean="0"/>
                <a:t>and corrections</a:t>
              </a:r>
              <a:endParaRPr lang="en-US" sz="12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4966563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Four Codes of Brand Communic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mmunication model that implies that there are three more codes next to language responsible for concrete meaning</a:t>
            </a:r>
            <a:endParaRPr lang="en-US" noProof="1"/>
          </a:p>
        </p:txBody>
      </p:sp>
      <p:grpSp>
        <p:nvGrpSpPr>
          <p:cNvPr id="73" name="Gruppieren 72"/>
          <p:cNvGrpSpPr/>
          <p:nvPr/>
        </p:nvGrpSpPr>
        <p:grpSpPr>
          <a:xfrm>
            <a:off x="323852" y="1916113"/>
            <a:ext cx="8494710" cy="4051956"/>
            <a:chOff x="323852" y="1916113"/>
            <a:chExt cx="8494710" cy="4051956"/>
          </a:xfrm>
        </p:grpSpPr>
        <p:sp>
          <p:nvSpPr>
            <p:cNvPr id="59" name="Rechteck 58"/>
            <p:cNvSpPr/>
            <p:nvPr/>
          </p:nvSpPr>
          <p:spPr bwMode="gray">
            <a:xfrm>
              <a:off x="323852" y="5068806"/>
              <a:ext cx="8494710" cy="74629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Only the interaction of these four Codes makes the brand </a:t>
              </a:r>
              <a:b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communication sustainably successful</a:t>
              </a:r>
            </a:p>
          </p:txBody>
        </p:sp>
        <p:sp>
          <p:nvSpPr>
            <p:cNvPr id="14350" name="Textfeld 14349"/>
            <p:cNvSpPr txBox="1"/>
            <p:nvPr/>
          </p:nvSpPr>
          <p:spPr bwMode="gray">
            <a:xfrm>
              <a:off x="379745" y="4952406"/>
              <a:ext cx="44114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>
                      <a:lumMod val="85000"/>
                    </a:schemeClr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 Black" pitchFamily="34" charset="0"/>
                </a:rPr>
                <a:t>!</a:t>
              </a:r>
              <a:endParaRPr lang="en-US" sz="6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>
                    <a:lumMod val="85000"/>
                  </a:scheme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itchFamily="34" charset="0"/>
              </a:endParaRPr>
            </a:p>
          </p:txBody>
        </p:sp>
        <p:grpSp>
          <p:nvGrpSpPr>
            <p:cNvPr id="35" name="Gruppieren 34"/>
            <p:cNvGrpSpPr/>
            <p:nvPr/>
          </p:nvGrpSpPr>
          <p:grpSpPr>
            <a:xfrm>
              <a:off x="323852" y="1916113"/>
              <a:ext cx="8494710" cy="2871374"/>
              <a:chOff x="323852" y="1916113"/>
              <a:chExt cx="8494710" cy="2871374"/>
            </a:xfrm>
          </p:grpSpPr>
          <p:sp>
            <p:nvSpPr>
              <p:cNvPr id="36" name="Rechteck 35"/>
              <p:cNvSpPr/>
              <p:nvPr/>
            </p:nvSpPr>
            <p:spPr bwMode="gray">
              <a:xfrm>
                <a:off x="3487270" y="1916113"/>
                <a:ext cx="2187390" cy="49539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Meaning</a:t>
                </a:r>
              </a:p>
            </p:txBody>
          </p:sp>
          <p:sp>
            <p:nvSpPr>
              <p:cNvPr id="37" name="Rechteck 36"/>
              <p:cNvSpPr/>
              <p:nvPr/>
            </p:nvSpPr>
            <p:spPr bwMode="gray">
              <a:xfrm>
                <a:off x="323852" y="2985672"/>
                <a:ext cx="2038557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Language</a:t>
                </a:r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323852" y="3346035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tyle</a:t>
                </a:r>
              </a:p>
            </p:txBody>
          </p:sp>
          <p:sp>
            <p:nvSpPr>
              <p:cNvPr id="47" name="Rechteck 46"/>
              <p:cNvSpPr/>
              <p:nvPr/>
            </p:nvSpPr>
            <p:spPr bwMode="gray">
              <a:xfrm>
                <a:off x="323852" y="3706398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hetoric</a:t>
                </a:r>
              </a:p>
            </p:txBody>
          </p:sp>
          <p:sp>
            <p:nvSpPr>
              <p:cNvPr id="49" name="Rechteck 48"/>
              <p:cNvSpPr/>
              <p:nvPr/>
            </p:nvSpPr>
            <p:spPr bwMode="gray">
              <a:xfrm>
                <a:off x="323852" y="4066761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Wording</a:t>
                </a:r>
              </a:p>
            </p:txBody>
          </p:sp>
          <p:sp>
            <p:nvSpPr>
              <p:cNvPr id="50" name="Rechteck 49"/>
              <p:cNvSpPr/>
              <p:nvPr/>
            </p:nvSpPr>
            <p:spPr bwMode="gray">
              <a:xfrm>
                <a:off x="2475903" y="2985672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646464"/>
                  </a:gs>
                  <a:gs pos="100000">
                    <a:srgbClr val="969696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History</a:t>
                </a:r>
              </a:p>
            </p:txBody>
          </p:sp>
          <p:sp>
            <p:nvSpPr>
              <p:cNvPr id="51" name="Rechteck 50"/>
              <p:cNvSpPr/>
              <p:nvPr/>
            </p:nvSpPr>
            <p:spPr bwMode="gray">
              <a:xfrm>
                <a:off x="2475903" y="3346035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Tell stories</a:t>
                </a:r>
              </a:p>
            </p:txBody>
          </p:sp>
          <p:sp>
            <p:nvSpPr>
              <p:cNvPr id="54" name="Rechteck 53"/>
              <p:cNvSpPr/>
              <p:nvPr/>
            </p:nvSpPr>
            <p:spPr bwMode="gray">
              <a:xfrm>
                <a:off x="2475903" y="3706398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how episodes</a:t>
                </a:r>
              </a:p>
            </p:txBody>
          </p:sp>
          <p:sp>
            <p:nvSpPr>
              <p:cNvPr id="55" name="Rechteck 54"/>
              <p:cNvSpPr/>
              <p:nvPr/>
            </p:nvSpPr>
            <p:spPr bwMode="gray">
              <a:xfrm>
                <a:off x="4627954" y="2985672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646464"/>
                  </a:gs>
                  <a:gs pos="100000">
                    <a:srgbClr val="969696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Symbols</a:t>
                </a:r>
              </a:p>
            </p:txBody>
          </p:sp>
          <p:sp>
            <p:nvSpPr>
              <p:cNvPr id="56" name="Rechteck 55"/>
              <p:cNvSpPr/>
              <p:nvPr/>
            </p:nvSpPr>
            <p:spPr bwMode="gray">
              <a:xfrm>
                <a:off x="4627954" y="3346035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tagonists</a:t>
                </a:r>
              </a:p>
            </p:txBody>
          </p:sp>
          <p:sp>
            <p:nvSpPr>
              <p:cNvPr id="60" name="Rechteck 59"/>
              <p:cNvSpPr/>
              <p:nvPr/>
            </p:nvSpPr>
            <p:spPr bwMode="gray">
              <a:xfrm>
                <a:off x="4627954" y="3706398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Figures</a:t>
                </a:r>
              </a:p>
            </p:txBody>
          </p:sp>
          <p:sp>
            <p:nvSpPr>
              <p:cNvPr id="61" name="Rechteck 60"/>
              <p:cNvSpPr/>
              <p:nvPr/>
            </p:nvSpPr>
            <p:spPr bwMode="gray">
              <a:xfrm>
                <a:off x="4627954" y="4066761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laces of action</a:t>
                </a:r>
              </a:p>
            </p:txBody>
          </p:sp>
          <p:sp>
            <p:nvSpPr>
              <p:cNvPr id="62" name="Rechteck 61"/>
              <p:cNvSpPr/>
              <p:nvPr/>
            </p:nvSpPr>
            <p:spPr bwMode="gray">
              <a:xfrm>
                <a:off x="6780005" y="2985672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646464"/>
                  </a:gs>
                  <a:gs pos="100000">
                    <a:srgbClr val="969696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Sensorics</a:t>
                </a:r>
              </a:p>
            </p:txBody>
          </p:sp>
          <p:sp>
            <p:nvSpPr>
              <p:cNvPr id="63" name="Rechteck 62"/>
              <p:cNvSpPr/>
              <p:nvPr/>
            </p:nvSpPr>
            <p:spPr bwMode="gray">
              <a:xfrm>
                <a:off x="6780005" y="3346035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ensorial experience</a:t>
                </a:r>
              </a:p>
            </p:txBody>
          </p:sp>
          <p:sp>
            <p:nvSpPr>
              <p:cNvPr id="64" name="Rechteck 63"/>
              <p:cNvSpPr/>
              <p:nvPr/>
            </p:nvSpPr>
            <p:spPr bwMode="gray">
              <a:xfrm>
                <a:off x="6780005" y="3706398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timulation of senses</a:t>
                </a:r>
              </a:p>
            </p:txBody>
          </p:sp>
          <p:sp>
            <p:nvSpPr>
              <p:cNvPr id="65" name="Rechteck 64"/>
              <p:cNvSpPr/>
              <p:nvPr/>
            </p:nvSpPr>
            <p:spPr bwMode="gray">
              <a:xfrm>
                <a:off x="6780005" y="4066761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Noises / colors</a:t>
                </a:r>
              </a:p>
            </p:txBody>
          </p:sp>
          <p:cxnSp>
            <p:nvCxnSpPr>
              <p:cNvPr id="66" name="Gerade Verbindung 65"/>
              <p:cNvCxnSpPr/>
              <p:nvPr/>
            </p:nvCxnSpPr>
            <p:spPr bwMode="gray">
              <a:xfrm flipH="1">
                <a:off x="4575323" y="2411506"/>
                <a:ext cx="0" cy="153398"/>
              </a:xfrm>
              <a:prstGeom prst="line">
                <a:avLst/>
              </a:prstGeom>
              <a:ln w="19050" cap="rnd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7" name="Gruppieren 14344"/>
              <p:cNvGrpSpPr/>
              <p:nvPr/>
            </p:nvGrpSpPr>
            <p:grpSpPr bwMode="gray">
              <a:xfrm>
                <a:off x="2052920" y="2555940"/>
                <a:ext cx="5035840" cy="306144"/>
                <a:chOff x="2052920" y="2564904"/>
                <a:chExt cx="5035840" cy="315249"/>
              </a:xfrm>
            </p:grpSpPr>
            <p:cxnSp>
              <p:nvCxnSpPr>
                <p:cNvPr id="69" name="Gerade Verbindung 68"/>
                <p:cNvCxnSpPr/>
                <p:nvPr/>
              </p:nvCxnSpPr>
              <p:spPr bwMode="gray">
                <a:xfrm flipH="1">
                  <a:off x="2052920" y="2564904"/>
                  <a:ext cx="2522404" cy="315249"/>
                </a:xfrm>
                <a:prstGeom prst="line">
                  <a:avLst/>
                </a:prstGeom>
                <a:ln w="19050" cap="rnd">
                  <a:solidFill>
                    <a:srgbClr val="969696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Gerade Verbindung 69"/>
                <p:cNvCxnSpPr/>
                <p:nvPr/>
              </p:nvCxnSpPr>
              <p:spPr bwMode="gray">
                <a:xfrm>
                  <a:off x="4566356" y="2564904"/>
                  <a:ext cx="2522404" cy="315249"/>
                </a:xfrm>
                <a:prstGeom prst="line">
                  <a:avLst/>
                </a:prstGeom>
                <a:ln w="19050" cap="rnd">
                  <a:solidFill>
                    <a:srgbClr val="969696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Gerade Verbindung 70"/>
                <p:cNvCxnSpPr/>
                <p:nvPr/>
              </p:nvCxnSpPr>
              <p:spPr bwMode="gray">
                <a:xfrm>
                  <a:off x="4566356" y="2564904"/>
                  <a:ext cx="821432" cy="306144"/>
                </a:xfrm>
                <a:prstGeom prst="line">
                  <a:avLst/>
                </a:prstGeom>
                <a:ln w="19050" cap="rnd">
                  <a:solidFill>
                    <a:srgbClr val="969696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 Verbindung 71"/>
                <p:cNvCxnSpPr/>
                <p:nvPr/>
              </p:nvCxnSpPr>
              <p:spPr bwMode="gray">
                <a:xfrm flipH="1">
                  <a:off x="3753891" y="2564904"/>
                  <a:ext cx="821432" cy="306144"/>
                </a:xfrm>
                <a:prstGeom prst="line">
                  <a:avLst/>
                </a:prstGeom>
                <a:ln w="19050" cap="rnd">
                  <a:solidFill>
                    <a:srgbClr val="969696"/>
                  </a:solidFill>
                  <a:headEnd type="non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8" name="Rechteck 67"/>
              <p:cNvSpPr/>
              <p:nvPr/>
            </p:nvSpPr>
            <p:spPr bwMode="gray">
              <a:xfrm>
                <a:off x="6780005" y="4427124"/>
                <a:ext cx="203855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hapes / haptic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246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re competences as a base of the product pyramid, which are not easily adapted by other companies and therefor improve the benefit of the end product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3200" noProof="1" smtClean="0"/>
              <a:t>Core Competences </a:t>
            </a:r>
            <a:r>
              <a:rPr lang="en-US" noProof="1" smtClean="0"/>
              <a:t>/ Product Pyramid</a:t>
            </a:r>
          </a:p>
        </p:txBody>
      </p:sp>
      <p:grpSp>
        <p:nvGrpSpPr>
          <p:cNvPr id="24" name="Gruppieren 23"/>
          <p:cNvGrpSpPr/>
          <p:nvPr/>
        </p:nvGrpSpPr>
        <p:grpSpPr>
          <a:xfrm>
            <a:off x="444843" y="1562101"/>
            <a:ext cx="8279027" cy="4243171"/>
            <a:chOff x="444843" y="1562101"/>
            <a:chExt cx="8279027" cy="4243171"/>
          </a:xfrm>
        </p:grpSpPr>
        <p:sp>
          <p:nvSpPr>
            <p:cNvPr id="26" name="Freeform 6"/>
            <p:cNvSpPr>
              <a:spLocks/>
            </p:cNvSpPr>
            <p:nvPr/>
          </p:nvSpPr>
          <p:spPr bwMode="gray">
            <a:xfrm>
              <a:off x="3820594" y="1562101"/>
              <a:ext cx="1504849" cy="1019426"/>
            </a:xfrm>
            <a:custGeom>
              <a:avLst/>
              <a:gdLst/>
              <a:ahLst/>
              <a:cxnLst>
                <a:cxn ang="0">
                  <a:pos x="740" y="0"/>
                </a:cxn>
                <a:cxn ang="0">
                  <a:pos x="0" y="966"/>
                </a:cxn>
                <a:cxn ang="0">
                  <a:pos x="1479" y="966"/>
                </a:cxn>
                <a:cxn ang="0">
                  <a:pos x="740" y="0"/>
                </a:cxn>
              </a:cxnLst>
              <a:rect l="0" t="0" r="r" b="b"/>
              <a:pathLst>
                <a:path w="1479" h="966">
                  <a:moveTo>
                    <a:pt x="740" y="0"/>
                  </a:moveTo>
                  <a:lnTo>
                    <a:pt x="0" y="966"/>
                  </a:lnTo>
                  <a:lnTo>
                    <a:pt x="1479" y="966"/>
                  </a:lnTo>
                  <a:lnTo>
                    <a:pt x="7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gray">
            <a:xfrm>
              <a:off x="2962860" y="2581527"/>
              <a:ext cx="3220315" cy="1156616"/>
            </a:xfrm>
            <a:custGeom>
              <a:avLst/>
              <a:gdLst/>
              <a:ahLst/>
              <a:cxnLst>
                <a:cxn ang="0">
                  <a:pos x="2322" y="0"/>
                </a:cxn>
                <a:cxn ang="0">
                  <a:pos x="843" y="0"/>
                </a:cxn>
                <a:cxn ang="0">
                  <a:pos x="0" y="1096"/>
                </a:cxn>
                <a:cxn ang="0">
                  <a:pos x="3165" y="1096"/>
                </a:cxn>
                <a:cxn ang="0">
                  <a:pos x="2322" y="0"/>
                </a:cxn>
              </a:cxnLst>
              <a:rect l="0" t="0" r="r" b="b"/>
              <a:pathLst>
                <a:path w="3165" h="1096">
                  <a:moveTo>
                    <a:pt x="2322" y="0"/>
                  </a:moveTo>
                  <a:lnTo>
                    <a:pt x="843" y="0"/>
                  </a:lnTo>
                  <a:lnTo>
                    <a:pt x="0" y="1096"/>
                  </a:lnTo>
                  <a:lnTo>
                    <a:pt x="3165" y="1096"/>
                  </a:lnTo>
                  <a:lnTo>
                    <a:pt x="2322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gray">
            <a:xfrm>
              <a:off x="1434610" y="3738143"/>
              <a:ext cx="6274781" cy="2064180"/>
            </a:xfrm>
            <a:custGeom>
              <a:avLst/>
              <a:gdLst/>
              <a:ahLst/>
              <a:cxnLst>
                <a:cxn ang="0">
                  <a:pos x="6167" y="1956"/>
                </a:cxn>
                <a:cxn ang="0">
                  <a:pos x="4667" y="0"/>
                </a:cxn>
                <a:cxn ang="0">
                  <a:pos x="1502" y="0"/>
                </a:cxn>
                <a:cxn ang="0">
                  <a:pos x="0" y="1956"/>
                </a:cxn>
                <a:cxn ang="0">
                  <a:pos x="6167" y="1956"/>
                </a:cxn>
              </a:cxnLst>
              <a:rect l="0" t="0" r="r" b="b"/>
              <a:pathLst>
                <a:path w="6167" h="1956">
                  <a:moveTo>
                    <a:pt x="6167" y="1956"/>
                  </a:moveTo>
                  <a:lnTo>
                    <a:pt x="4667" y="0"/>
                  </a:lnTo>
                  <a:lnTo>
                    <a:pt x="1502" y="0"/>
                  </a:lnTo>
                  <a:lnTo>
                    <a:pt x="0" y="1956"/>
                  </a:lnTo>
                  <a:lnTo>
                    <a:pt x="6167" y="195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</a:pPr>
              <a:endParaRPr lang="en-US" sz="140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3084263" y="4022839"/>
              <a:ext cx="292766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b="1" noProof="1" smtClean="0">
                  <a:solidFill>
                    <a:srgbClr val="FFFFFF"/>
                  </a:solidFill>
                </a:rPr>
                <a:t>Core competences</a:t>
              </a:r>
            </a:p>
          </p:txBody>
        </p:sp>
        <p:cxnSp>
          <p:nvCxnSpPr>
            <p:cNvPr id="36" name="Gerade Verbindung 35"/>
            <p:cNvCxnSpPr/>
            <p:nvPr/>
          </p:nvCxnSpPr>
          <p:spPr bwMode="gray">
            <a:xfrm rot="5400000">
              <a:off x="2390344" y="5025754"/>
              <a:ext cx="1122448" cy="428261"/>
            </a:xfrm>
            <a:prstGeom prst="line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16200000" flipH="1">
              <a:off x="5568928" y="5025754"/>
              <a:ext cx="1122448" cy="428261"/>
            </a:xfrm>
            <a:prstGeom prst="line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 bwMode="gray">
            <a:xfrm>
              <a:off x="2175870" y="4930492"/>
              <a:ext cx="7066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valuable</a:t>
              </a:r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3301751" y="4930492"/>
              <a:ext cx="4712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rare </a:t>
              </a:r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4184429" y="4930492"/>
              <a:ext cx="86139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difficult to </a:t>
              </a:r>
              <a:br>
                <a:rPr lang="en-US" sz="1200" noProof="1" smtClean="0">
                  <a:solidFill>
                    <a:srgbClr val="000000"/>
                  </a:solidFill>
                </a:rPr>
              </a:br>
              <a:r>
                <a:rPr lang="en-US" sz="1200" noProof="1" smtClean="0">
                  <a:solidFill>
                    <a:srgbClr val="000000"/>
                  </a:solidFill>
                </a:rPr>
                <a:t>immitate</a:t>
              </a:r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5208482" y="4930492"/>
              <a:ext cx="77739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not sub-</a:t>
              </a:r>
              <a:br>
                <a:rPr lang="en-US" sz="1200" noProof="1" smtClean="0">
                  <a:solidFill>
                    <a:srgbClr val="000000"/>
                  </a:solidFill>
                </a:rPr>
              </a:br>
              <a:r>
                <a:rPr lang="en-US" sz="1200" noProof="1" smtClean="0">
                  <a:solidFill>
                    <a:srgbClr val="000000"/>
                  </a:solidFill>
                </a:rPr>
                <a:t>stitutable</a:t>
              </a:r>
            </a:p>
          </p:txBody>
        </p:sp>
        <p:cxnSp>
          <p:nvCxnSpPr>
            <p:cNvPr id="45" name="Gerade Verbindung 44"/>
            <p:cNvCxnSpPr/>
            <p:nvPr/>
          </p:nvCxnSpPr>
          <p:spPr bwMode="gray">
            <a:xfrm flipH="1">
              <a:off x="3995936" y="4655802"/>
              <a:ext cx="106498" cy="1149470"/>
            </a:xfrm>
            <a:prstGeom prst="line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/>
            <p:cNvSpPr txBox="1"/>
            <p:nvPr/>
          </p:nvSpPr>
          <p:spPr bwMode="gray">
            <a:xfrm>
              <a:off x="4479636" y="3016645"/>
              <a:ext cx="184731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en-US" sz="1600" b="1" noProof="1">
                <a:solidFill>
                  <a:srgbClr val="000000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4479635" y="2073157"/>
              <a:ext cx="184730" cy="2770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en-US" sz="1200" b="1" noProof="1">
                <a:solidFill>
                  <a:srgbClr val="FFFFFF"/>
                </a:solidFill>
              </a:endParaRPr>
            </a:p>
          </p:txBody>
        </p:sp>
        <p:cxnSp>
          <p:nvCxnSpPr>
            <p:cNvPr id="50" name="Gerade Verbindung 49"/>
            <p:cNvCxnSpPr/>
            <p:nvPr/>
          </p:nvCxnSpPr>
          <p:spPr bwMode="gray">
            <a:xfrm>
              <a:off x="5125484" y="4655802"/>
              <a:ext cx="94588" cy="1149470"/>
            </a:xfrm>
            <a:prstGeom prst="line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feld 50"/>
            <p:cNvSpPr txBox="1"/>
            <p:nvPr/>
          </p:nvSpPr>
          <p:spPr bwMode="gray">
            <a:xfrm>
              <a:off x="6274304" y="4752468"/>
              <a:ext cx="96469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noProof="1" smtClean="0"/>
                <a:t>are strength-ened the </a:t>
              </a:r>
              <a:br>
                <a:rPr lang="en-US" sz="1200" noProof="1" smtClean="0"/>
              </a:br>
              <a:r>
                <a:rPr lang="en-US" sz="1200" noProof="1" smtClean="0"/>
                <a:t>more they are used</a:t>
              </a:r>
              <a:endParaRPr lang="en-US" sz="1200" noProof="1"/>
            </a:p>
          </p:txBody>
        </p:sp>
        <p:sp>
          <p:nvSpPr>
            <p:cNvPr id="3" name="Rechteck 2"/>
            <p:cNvSpPr/>
            <p:nvPr/>
          </p:nvSpPr>
          <p:spPr bwMode="gray">
            <a:xfrm>
              <a:off x="5531934" y="2181955"/>
              <a:ext cx="134562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noProof="1" smtClean="0"/>
                <a:t>End product</a:t>
              </a:r>
              <a:endParaRPr lang="en-US" b="1" noProof="1"/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6275704" y="3260022"/>
              <a:ext cx="142641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noProof="1" smtClean="0"/>
                <a:t>Core product</a:t>
              </a:r>
              <a:endParaRPr lang="en-US" b="1" noProof="1"/>
            </a:p>
          </p:txBody>
        </p:sp>
        <p:cxnSp>
          <p:nvCxnSpPr>
            <p:cNvPr id="48" name="Gerade Verbindung 47"/>
            <p:cNvCxnSpPr/>
            <p:nvPr/>
          </p:nvCxnSpPr>
          <p:spPr bwMode="gray">
            <a:xfrm>
              <a:off x="444843" y="3748140"/>
              <a:ext cx="8279027" cy="0"/>
            </a:xfrm>
            <a:prstGeom prst="line">
              <a:avLst/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/>
            <p:cNvSpPr txBox="1"/>
            <p:nvPr/>
          </p:nvSpPr>
          <p:spPr bwMode="gray">
            <a:xfrm rot="16200000">
              <a:off x="252735" y="4497364"/>
              <a:ext cx="94577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noProof="1" smtClean="0"/>
                <a:t>BASE</a:t>
              </a:r>
              <a:endParaRPr lang="en-US" sz="28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247238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y </a:t>
            </a:r>
            <a:r>
              <a:rPr lang="en-US" b="0" noProof="1" smtClean="0"/>
              <a:t>- Influencial Factor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fluencial factors</a:t>
            </a:r>
            <a:endParaRPr lang="en-US" noProof="1"/>
          </a:p>
        </p:txBody>
      </p:sp>
      <p:grpSp>
        <p:nvGrpSpPr>
          <p:cNvPr id="20" name="Gruppieren 19"/>
          <p:cNvGrpSpPr/>
          <p:nvPr/>
        </p:nvGrpSpPr>
        <p:grpSpPr>
          <a:xfrm>
            <a:off x="323849" y="1525484"/>
            <a:ext cx="8497093" cy="4334360"/>
            <a:chOff x="323849" y="1525484"/>
            <a:chExt cx="8497093" cy="4334360"/>
          </a:xfrm>
        </p:grpSpPr>
        <p:sp>
          <p:nvSpPr>
            <p:cNvPr id="27" name="Textfeld 26"/>
            <p:cNvSpPr txBox="1"/>
            <p:nvPr/>
          </p:nvSpPr>
          <p:spPr bwMode="gray">
            <a:xfrm>
              <a:off x="323849" y="1887263"/>
              <a:ext cx="235267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/>
                <a:t>Organizational </a:t>
              </a:r>
              <a:br>
                <a:rPr lang="en-US" noProof="1" smtClean="0"/>
              </a:br>
              <a:r>
                <a:rPr lang="en-US" noProof="1" smtClean="0"/>
                <a:t>objectives and </a:t>
              </a:r>
              <a:br>
                <a:rPr lang="en-US" noProof="1" smtClean="0"/>
              </a:br>
              <a:r>
                <a:rPr lang="en-US" noProof="1" smtClean="0"/>
                <a:t>resources</a:t>
              </a:r>
              <a:endParaRPr lang="en-US" noProof="1"/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6519506" y="1887263"/>
              <a:ext cx="230143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noProof="1" smtClean="0"/>
                <a:t>Attitude to</a:t>
              </a:r>
            </a:p>
            <a:p>
              <a:pPr algn="r"/>
              <a:r>
                <a:rPr lang="en-US" noProof="1" smtClean="0"/>
                <a:t>change and risk</a:t>
              </a:r>
              <a:endParaRPr lang="en-US" noProof="1"/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400552" y="4509120"/>
              <a:ext cx="21616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/>
                <a:t>Competitor</a:t>
              </a:r>
              <a:br>
                <a:rPr lang="en-US" noProof="1" smtClean="0"/>
              </a:br>
              <a:r>
                <a:rPr lang="en-US" noProof="1" smtClean="0"/>
                <a:t>strategies </a:t>
              </a:r>
              <a:endParaRPr lang="en-US" noProof="1"/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6519505" y="4509120"/>
              <a:ext cx="23006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noProof="1" smtClean="0"/>
                <a:t>Market structure </a:t>
              </a:r>
              <a:br>
                <a:rPr lang="en-US" noProof="1" smtClean="0"/>
              </a:br>
              <a:r>
                <a:rPr lang="en-US" noProof="1" smtClean="0"/>
                <a:t>and opportunities</a:t>
              </a:r>
              <a:endParaRPr lang="en-US" noProof="1"/>
            </a:p>
          </p:txBody>
        </p:sp>
        <p:grpSp>
          <p:nvGrpSpPr>
            <p:cNvPr id="4" name="Gruppieren 48"/>
            <p:cNvGrpSpPr/>
            <p:nvPr/>
          </p:nvGrpSpPr>
          <p:grpSpPr>
            <a:xfrm>
              <a:off x="2397880" y="1525484"/>
              <a:ext cx="4334360" cy="4334360"/>
              <a:chOff x="2397880" y="1525484"/>
              <a:chExt cx="4334360" cy="4334360"/>
            </a:xfrm>
          </p:grpSpPr>
          <p:grpSp>
            <p:nvGrpSpPr>
              <p:cNvPr id="5" name="Gruppieren 35"/>
              <p:cNvGrpSpPr/>
              <p:nvPr/>
            </p:nvGrpSpPr>
            <p:grpSpPr bwMode="gray">
              <a:xfrm>
                <a:off x="2397880" y="1525484"/>
                <a:ext cx="4334360" cy="4334360"/>
                <a:chOff x="-4921251" y="1101725"/>
                <a:chExt cx="4440238" cy="4440238"/>
              </a:xfr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2054" name="Freeform 6"/>
                <p:cNvSpPr>
                  <a:spLocks/>
                </p:cNvSpPr>
                <p:nvPr/>
              </p:nvSpPr>
              <p:spPr bwMode="gray">
                <a:xfrm>
                  <a:off x="-4921251" y="1101725"/>
                  <a:ext cx="2219325" cy="2220913"/>
                </a:xfrm>
                <a:custGeom>
                  <a:avLst/>
                  <a:gdLst/>
                  <a:ahLst/>
                  <a:cxnLst>
                    <a:cxn ang="0">
                      <a:pos x="592" y="0"/>
                    </a:cxn>
                    <a:cxn ang="0">
                      <a:pos x="0" y="592"/>
                    </a:cxn>
                    <a:cxn ang="0">
                      <a:pos x="0" y="592"/>
                    </a:cxn>
                    <a:cxn ang="0">
                      <a:pos x="592" y="592"/>
                    </a:cxn>
                    <a:cxn ang="0">
                      <a:pos x="592" y="0"/>
                    </a:cxn>
                  </a:cxnLst>
                  <a:rect l="0" t="0" r="r" b="b"/>
                  <a:pathLst>
                    <a:path w="592" h="592">
                      <a:moveTo>
                        <a:pt x="592" y="0"/>
                      </a:moveTo>
                      <a:cubicBezTo>
                        <a:pt x="265" y="0"/>
                        <a:pt x="0" y="265"/>
                        <a:pt x="0" y="592"/>
                      </a:cubicBezTo>
                      <a:cubicBezTo>
                        <a:pt x="0" y="592"/>
                        <a:pt x="0" y="592"/>
                        <a:pt x="0" y="592"/>
                      </a:cubicBezTo>
                      <a:cubicBezTo>
                        <a:pt x="592" y="592"/>
                        <a:pt x="592" y="592"/>
                        <a:pt x="592" y="592"/>
                      </a:cubicBezTo>
                      <a:lnTo>
                        <a:pt x="592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055" name="Freeform 7"/>
                <p:cNvSpPr>
                  <a:spLocks/>
                </p:cNvSpPr>
                <p:nvPr/>
              </p:nvSpPr>
              <p:spPr bwMode="gray">
                <a:xfrm>
                  <a:off x="-2701926" y="1101725"/>
                  <a:ext cx="2220913" cy="2220913"/>
                </a:xfrm>
                <a:custGeom>
                  <a:avLst/>
                  <a:gdLst/>
                  <a:ahLst/>
                  <a:cxnLst>
                    <a:cxn ang="0">
                      <a:pos x="592" y="592"/>
                    </a:cxn>
                    <a:cxn ang="0">
                      <a:pos x="592" y="592"/>
                    </a:cxn>
                    <a:cxn ang="0">
                      <a:pos x="0" y="0"/>
                    </a:cxn>
                    <a:cxn ang="0">
                      <a:pos x="0" y="592"/>
                    </a:cxn>
                    <a:cxn ang="0">
                      <a:pos x="592" y="592"/>
                    </a:cxn>
                  </a:cxnLst>
                  <a:rect l="0" t="0" r="r" b="b"/>
                  <a:pathLst>
                    <a:path w="592" h="592">
                      <a:moveTo>
                        <a:pt x="592" y="592"/>
                      </a:moveTo>
                      <a:cubicBezTo>
                        <a:pt x="592" y="592"/>
                        <a:pt x="592" y="592"/>
                        <a:pt x="592" y="592"/>
                      </a:cubicBezTo>
                      <a:cubicBezTo>
                        <a:pt x="592" y="265"/>
                        <a:pt x="327" y="0"/>
                        <a:pt x="0" y="0"/>
                      </a:cubicBezTo>
                      <a:cubicBezTo>
                        <a:pt x="0" y="592"/>
                        <a:pt x="0" y="592"/>
                        <a:pt x="0" y="592"/>
                      </a:cubicBezTo>
                      <a:lnTo>
                        <a:pt x="592" y="592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056" name="Freeform 8"/>
                <p:cNvSpPr>
                  <a:spLocks/>
                </p:cNvSpPr>
                <p:nvPr/>
              </p:nvSpPr>
              <p:spPr bwMode="gray">
                <a:xfrm>
                  <a:off x="-2701926" y="3322638"/>
                  <a:ext cx="2220913" cy="22193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592"/>
                    </a:cxn>
                    <a:cxn ang="0">
                      <a:pos x="59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92" h="592">
                      <a:moveTo>
                        <a:pt x="0" y="0"/>
                      </a:moveTo>
                      <a:cubicBezTo>
                        <a:pt x="0" y="592"/>
                        <a:pt x="0" y="592"/>
                        <a:pt x="0" y="592"/>
                      </a:cubicBezTo>
                      <a:cubicBezTo>
                        <a:pt x="327" y="592"/>
                        <a:pt x="592" y="327"/>
                        <a:pt x="59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057" name="Freeform 9"/>
                <p:cNvSpPr>
                  <a:spLocks/>
                </p:cNvSpPr>
                <p:nvPr/>
              </p:nvSpPr>
              <p:spPr bwMode="gray">
                <a:xfrm>
                  <a:off x="-4921251" y="3322638"/>
                  <a:ext cx="2219325" cy="22193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92" y="592"/>
                    </a:cxn>
                    <a:cxn ang="0">
                      <a:pos x="59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92" h="592">
                      <a:moveTo>
                        <a:pt x="0" y="0"/>
                      </a:moveTo>
                      <a:cubicBezTo>
                        <a:pt x="0" y="327"/>
                        <a:pt x="265" y="592"/>
                        <a:pt x="592" y="592"/>
                      </a:cubicBezTo>
                      <a:cubicBezTo>
                        <a:pt x="592" y="0"/>
                        <a:pt x="592" y="0"/>
                        <a:pt x="592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37" name="Ellipse 36"/>
              <p:cNvSpPr/>
              <p:nvPr/>
            </p:nvSpPr>
            <p:spPr bwMode="gray">
              <a:xfrm>
                <a:off x="3414171" y="2519576"/>
                <a:ext cx="2315660" cy="2315658"/>
              </a:xfrm>
              <a:prstGeom prst="ellipse">
                <a:avLst/>
              </a:pr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2400" b="1" noProof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Ellipse 37"/>
              <p:cNvSpPr/>
              <p:nvPr/>
            </p:nvSpPr>
            <p:spPr bwMode="gray">
              <a:xfrm>
                <a:off x="3728484" y="2833890"/>
                <a:ext cx="1687034" cy="1687030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b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Strategy</a:t>
                </a:r>
              </a:p>
            </p:txBody>
          </p:sp>
          <p:sp>
            <p:nvSpPr>
              <p:cNvPr id="31" name="Pfeil nach rechts 30"/>
              <p:cNvSpPr/>
              <p:nvPr/>
            </p:nvSpPr>
            <p:spPr bwMode="gray">
              <a:xfrm rot="2700000">
                <a:off x="3534121" y="2569195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2" name="Pfeil nach rechts 31"/>
              <p:cNvSpPr/>
              <p:nvPr/>
            </p:nvSpPr>
            <p:spPr bwMode="gray">
              <a:xfrm rot="18900000" flipH="1">
                <a:off x="5126844" y="2569195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3" name="Pfeil nach rechts 32"/>
              <p:cNvSpPr/>
              <p:nvPr/>
            </p:nvSpPr>
            <p:spPr bwMode="gray">
              <a:xfrm rot="2700000" flipH="1" flipV="1">
                <a:off x="5114850" y="4278226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4" name="Pfeil nach rechts 33"/>
              <p:cNvSpPr/>
              <p:nvPr/>
            </p:nvSpPr>
            <p:spPr bwMode="gray">
              <a:xfrm rot="18900000" flipV="1">
                <a:off x="3534121" y="4278226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</a:t>
            </a:r>
            <a:r>
              <a:rPr lang="en-US" smtClean="0"/>
              <a:t>Marketing Research</a:t>
            </a:r>
            <a:endParaRPr lang="en-US" noProof="1" smtClean="0"/>
          </a:p>
        </p:txBody>
      </p:sp>
      <p:grpSp>
        <p:nvGrpSpPr>
          <p:cNvPr id="2" name="Gruppieren 4"/>
          <p:cNvGrpSpPr/>
          <p:nvPr/>
        </p:nvGrpSpPr>
        <p:grpSpPr>
          <a:xfrm>
            <a:off x="1172326" y="2731767"/>
            <a:ext cx="6799349" cy="1525706"/>
            <a:chOff x="1172326" y="2731767"/>
            <a:chExt cx="6799349" cy="1525706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961178"/>
              <a:ext cx="6799349" cy="10525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>
                  <a:latin typeface="+mj-lt"/>
                </a:rPr>
                <a:t>A market consists of all actual and potential </a:t>
              </a:r>
              <a:r>
                <a:rPr lang="en-US" sz="2400" i="1" noProof="1" smtClean="0">
                  <a:latin typeface="+mj-lt"/>
                </a:rPr>
                <a:t/>
              </a:r>
              <a:br>
                <a:rPr lang="en-US" sz="2400" i="1" noProof="1" smtClean="0">
                  <a:latin typeface="+mj-lt"/>
                </a:rPr>
              </a:br>
              <a:r>
                <a:rPr lang="en-US" sz="2400" i="1" noProof="1" smtClean="0">
                  <a:latin typeface="+mj-lt"/>
                </a:rPr>
                <a:t>customers </a:t>
              </a:r>
              <a:r>
                <a:rPr lang="en-US" sz="2400" i="1" noProof="1">
                  <a:latin typeface="+mj-lt"/>
                </a:rPr>
                <a:t>with a specific need, which the company tries to satisfy with their product</a:t>
              </a:r>
              <a:r>
                <a:rPr lang="en-US" sz="2400" i="1" noProof="1" smtClean="0">
                  <a:latin typeface="+mj-lt"/>
                </a:rPr>
                <a:t>.</a:t>
              </a: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172326" y="2731767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6699888" y="3770075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3154680" y="4290457"/>
            <a:ext cx="28346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noProof="1" smtClean="0">
                <a:solidFill>
                  <a:schemeClr val="bg1">
                    <a:lumMod val="50000"/>
                  </a:schemeClr>
                </a:solidFill>
              </a:rPr>
              <a:t>Scharf / Schubert (1995)</a:t>
            </a:r>
          </a:p>
        </p:txBody>
      </p: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rketing as market-oriented business management / business strategy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335725" y="1603732"/>
            <a:ext cx="8472549" cy="4357682"/>
            <a:chOff x="335725" y="1603732"/>
            <a:chExt cx="8472549" cy="4357682"/>
          </a:xfrm>
        </p:grpSpPr>
        <p:grpSp>
          <p:nvGrpSpPr>
            <p:cNvPr id="26" name="Gruppieren 25"/>
            <p:cNvGrpSpPr/>
            <p:nvPr/>
          </p:nvGrpSpPr>
          <p:grpSpPr bwMode="gray">
            <a:xfrm>
              <a:off x="335725" y="1626919"/>
              <a:ext cx="8472549" cy="4096987"/>
              <a:chOff x="335725" y="1626919"/>
              <a:chExt cx="8472549" cy="4096987"/>
            </a:xfrm>
          </p:grpSpPr>
          <p:sp>
            <p:nvSpPr>
              <p:cNvPr id="2" name="Freihandform 1"/>
              <p:cNvSpPr/>
              <p:nvPr/>
            </p:nvSpPr>
            <p:spPr bwMode="gray">
              <a:xfrm>
                <a:off x="5614011" y="1626919"/>
                <a:ext cx="3194263" cy="4096987"/>
              </a:xfrm>
              <a:custGeom>
                <a:avLst/>
                <a:gdLst>
                  <a:gd name="connsiteX0" fmla="*/ 35626 w 3325091"/>
                  <a:gd name="connsiteY0" fmla="*/ 1258785 h 4096987"/>
                  <a:gd name="connsiteX1" fmla="*/ 1294411 w 3325091"/>
                  <a:gd name="connsiteY1" fmla="*/ 0 h 4096987"/>
                  <a:gd name="connsiteX2" fmla="*/ 3325091 w 3325091"/>
                  <a:gd name="connsiteY2" fmla="*/ 0 h 4096987"/>
                  <a:gd name="connsiteX3" fmla="*/ 3325091 w 3325091"/>
                  <a:gd name="connsiteY3" fmla="*/ 4096987 h 4096987"/>
                  <a:gd name="connsiteX4" fmla="*/ 1294410 w 3325091"/>
                  <a:gd name="connsiteY4" fmla="*/ 4096987 h 4096987"/>
                  <a:gd name="connsiteX5" fmla="*/ 0 w 3325091"/>
                  <a:gd name="connsiteY5" fmla="*/ 2802577 h 4096987"/>
                  <a:gd name="connsiteX6" fmla="*/ 35626 w 3325091"/>
                  <a:gd name="connsiteY6" fmla="*/ 1258785 h 4096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25091" h="4096987">
                    <a:moveTo>
                      <a:pt x="35626" y="1258785"/>
                    </a:moveTo>
                    <a:lnTo>
                      <a:pt x="1294411" y="0"/>
                    </a:lnTo>
                    <a:lnTo>
                      <a:pt x="3325091" y="0"/>
                    </a:lnTo>
                    <a:lnTo>
                      <a:pt x="3325091" y="4096987"/>
                    </a:lnTo>
                    <a:lnTo>
                      <a:pt x="1294410" y="4096987"/>
                    </a:lnTo>
                    <a:lnTo>
                      <a:pt x="0" y="2802577"/>
                    </a:lnTo>
                    <a:lnTo>
                      <a:pt x="35626" y="125878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Freihandform 22"/>
              <p:cNvSpPr/>
              <p:nvPr/>
            </p:nvSpPr>
            <p:spPr bwMode="gray">
              <a:xfrm flipH="1">
                <a:off x="335725" y="1626919"/>
                <a:ext cx="3325091" cy="4096987"/>
              </a:xfrm>
              <a:custGeom>
                <a:avLst/>
                <a:gdLst>
                  <a:gd name="connsiteX0" fmla="*/ 35626 w 3325091"/>
                  <a:gd name="connsiteY0" fmla="*/ 1258785 h 4096987"/>
                  <a:gd name="connsiteX1" fmla="*/ 1294411 w 3325091"/>
                  <a:gd name="connsiteY1" fmla="*/ 0 h 4096987"/>
                  <a:gd name="connsiteX2" fmla="*/ 3325091 w 3325091"/>
                  <a:gd name="connsiteY2" fmla="*/ 0 h 4096987"/>
                  <a:gd name="connsiteX3" fmla="*/ 3325091 w 3325091"/>
                  <a:gd name="connsiteY3" fmla="*/ 4096987 h 4096987"/>
                  <a:gd name="connsiteX4" fmla="*/ 1294410 w 3325091"/>
                  <a:gd name="connsiteY4" fmla="*/ 4096987 h 4096987"/>
                  <a:gd name="connsiteX5" fmla="*/ 0 w 3325091"/>
                  <a:gd name="connsiteY5" fmla="*/ 2802577 h 4096987"/>
                  <a:gd name="connsiteX6" fmla="*/ 35626 w 3325091"/>
                  <a:gd name="connsiteY6" fmla="*/ 1258785 h 4096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25091" h="4096987">
                    <a:moveTo>
                      <a:pt x="35626" y="1258785"/>
                    </a:moveTo>
                    <a:lnTo>
                      <a:pt x="1294411" y="0"/>
                    </a:lnTo>
                    <a:lnTo>
                      <a:pt x="3325091" y="0"/>
                    </a:lnTo>
                    <a:lnTo>
                      <a:pt x="3325091" y="4096987"/>
                    </a:lnTo>
                    <a:lnTo>
                      <a:pt x="1294410" y="4096987"/>
                    </a:lnTo>
                    <a:lnTo>
                      <a:pt x="0" y="2802577"/>
                    </a:lnTo>
                    <a:lnTo>
                      <a:pt x="35626" y="125878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27" name="Gruppieren 26"/>
            <p:cNvGrpSpPr/>
            <p:nvPr/>
          </p:nvGrpSpPr>
          <p:grpSpPr bwMode="gray">
            <a:xfrm>
              <a:off x="2510544" y="1603732"/>
              <a:ext cx="4176250" cy="4170007"/>
              <a:chOff x="2553374" y="1603732"/>
              <a:chExt cx="4176250" cy="4170007"/>
            </a:xfrm>
          </p:grpSpPr>
          <p:sp>
            <p:nvSpPr>
              <p:cNvPr id="7171" name="Line 3"/>
              <p:cNvSpPr>
                <a:spLocks noChangeShapeType="1"/>
              </p:cNvSpPr>
              <p:nvPr/>
            </p:nvSpPr>
            <p:spPr bwMode="gray">
              <a:xfrm>
                <a:off x="2560055" y="1603732"/>
                <a:ext cx="4169569" cy="4170007"/>
              </a:xfrm>
              <a:prstGeom prst="line">
                <a:avLst/>
              </a:prstGeom>
              <a:noFill/>
              <a:ln w="38100">
                <a:solidFill>
                  <a:srgbClr val="969696"/>
                </a:solidFill>
                <a:round/>
                <a:headEnd type="triangle" w="lg" len="lg"/>
                <a:tailEnd type="triangle" w="lg" len="lg"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  <p:sp>
            <p:nvSpPr>
              <p:cNvPr id="7172" name="Line 4"/>
              <p:cNvSpPr>
                <a:spLocks noChangeShapeType="1"/>
              </p:cNvSpPr>
              <p:nvPr/>
            </p:nvSpPr>
            <p:spPr bwMode="gray">
              <a:xfrm flipV="1">
                <a:off x="2553374" y="1609208"/>
                <a:ext cx="4161328" cy="4164531"/>
              </a:xfrm>
              <a:prstGeom prst="line">
                <a:avLst/>
              </a:prstGeom>
              <a:noFill/>
              <a:ln w="38100">
                <a:solidFill>
                  <a:srgbClr val="969696"/>
                </a:solidFill>
                <a:round/>
                <a:headEnd type="triangle" w="lg" len="lg"/>
                <a:tailEnd type="triangle" w="lg" len="lg"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</p:grpSp>
        <p:sp>
          <p:nvSpPr>
            <p:cNvPr id="7175" name="Text Box 7"/>
            <p:cNvSpPr txBox="1">
              <a:spLocks noChangeArrowheads="1"/>
            </p:cNvSpPr>
            <p:nvPr/>
          </p:nvSpPr>
          <p:spPr bwMode="gray">
            <a:xfrm>
              <a:off x="467544" y="3405403"/>
              <a:ext cx="2508011" cy="54725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Research and</a:t>
              </a:r>
              <a:br>
                <a:rPr lang="en-US" noProof="1" smtClean="0"/>
              </a:br>
              <a:r>
                <a:rPr lang="en-US" noProof="1" smtClean="0"/>
                <a:t>Development Strategy</a:t>
              </a:r>
            </a:p>
          </p:txBody>
        </p:sp>
        <p:sp>
          <p:nvSpPr>
            <p:cNvPr id="18" name="Text Box 6"/>
            <p:cNvSpPr txBox="1">
              <a:spLocks noChangeArrowheads="1"/>
            </p:cNvSpPr>
            <p:nvPr/>
          </p:nvSpPr>
          <p:spPr bwMode="gray">
            <a:xfrm>
              <a:off x="6241031" y="3401784"/>
              <a:ext cx="2415289" cy="54725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Production Strategy</a:t>
              </a:r>
            </a:p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noProof="1" smtClean="0"/>
                <a:t>Quality Strategy</a:t>
              </a:r>
            </a:p>
          </p:txBody>
        </p:sp>
        <p:grpSp>
          <p:nvGrpSpPr>
            <p:cNvPr id="21" name="Gruppieren 20"/>
            <p:cNvGrpSpPr/>
            <p:nvPr/>
          </p:nvGrpSpPr>
          <p:grpSpPr bwMode="gray">
            <a:xfrm>
              <a:off x="2753212" y="1626919"/>
              <a:ext cx="3637575" cy="4334495"/>
              <a:chOff x="2803017" y="1626919"/>
              <a:chExt cx="3637575" cy="4334495"/>
            </a:xfrm>
          </p:grpSpPr>
          <p:sp>
            <p:nvSpPr>
              <p:cNvPr id="4" name="Trapezoid 3"/>
              <p:cNvSpPr/>
              <p:nvPr/>
            </p:nvSpPr>
            <p:spPr bwMode="gray">
              <a:xfrm>
                <a:off x="2803017" y="4640179"/>
                <a:ext cx="3637575" cy="1085719"/>
              </a:xfrm>
              <a:prstGeom prst="trapezoid">
                <a:avLst>
                  <a:gd name="adj" fmla="val 96225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4" name="Trapezoid 23"/>
              <p:cNvSpPr/>
              <p:nvPr/>
            </p:nvSpPr>
            <p:spPr bwMode="gray">
              <a:xfrm flipV="1">
                <a:off x="2803017" y="1626919"/>
                <a:ext cx="3637575" cy="1085719"/>
              </a:xfrm>
              <a:prstGeom prst="trapezoid">
                <a:avLst>
                  <a:gd name="adj" fmla="val 96225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176" name="Text Box 8"/>
              <p:cNvSpPr txBox="1">
                <a:spLocks noChangeArrowheads="1"/>
              </p:cNvSpPr>
              <p:nvPr/>
            </p:nvSpPr>
            <p:spPr bwMode="gray">
              <a:xfrm>
                <a:off x="3066254" y="5331434"/>
                <a:ext cx="3111100" cy="313920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 anchor="b" anchorCtr="0"/>
              <a:lstStyle/>
              <a:p>
                <a:pPr algn="ctr">
                  <a:tabLst>
                    <a:tab pos="656650" algn="l"/>
                    <a:tab pos="1313299" algn="l"/>
                    <a:tab pos="1969949" algn="l"/>
                  </a:tabLst>
                </a:pPr>
                <a:r>
                  <a:rPr lang="en-US" noProof="1" smtClean="0"/>
                  <a:t>Human Resources Strategy</a:t>
                </a:r>
                <a:endParaRPr lang="en-US" noProof="1"/>
              </a:p>
            </p:txBody>
          </p:sp>
          <p:sp>
            <p:nvSpPr>
              <p:cNvPr id="7177" name="Text Box 9"/>
              <p:cNvSpPr txBox="1">
                <a:spLocks noChangeArrowheads="1"/>
              </p:cNvSpPr>
              <p:nvPr/>
            </p:nvSpPr>
            <p:spPr bwMode="gray">
              <a:xfrm>
                <a:off x="3461042" y="1638874"/>
                <a:ext cx="2321524" cy="313920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 anchor="t" anchorCtr="0"/>
              <a:lstStyle/>
              <a:p>
                <a:pPr algn="ctr">
                  <a:tabLst>
                    <a:tab pos="656650" algn="l"/>
                    <a:tab pos="1313299" algn="l"/>
                    <a:tab pos="1969949" algn="l"/>
                  </a:tabLst>
                </a:pPr>
                <a:r>
                  <a:rPr lang="en-US" noProof="1" smtClean="0"/>
                  <a:t>Procurement Strategy</a:t>
                </a:r>
                <a:endParaRPr lang="en-US" noProof="1"/>
              </a:p>
            </p:txBody>
          </p:sp>
          <p:grpSp>
            <p:nvGrpSpPr>
              <p:cNvPr id="17" name="Gruppieren 16"/>
              <p:cNvGrpSpPr/>
              <p:nvPr/>
            </p:nvGrpSpPr>
            <p:grpSpPr bwMode="gray">
              <a:xfrm>
                <a:off x="3066254" y="2062958"/>
                <a:ext cx="3111100" cy="3111422"/>
                <a:chOff x="3071202" y="2405247"/>
                <a:chExt cx="2482784" cy="2483044"/>
              </a:xfrm>
            </p:grpSpPr>
            <p:sp>
              <p:nvSpPr>
                <p:cNvPr id="14" name="Oval 2"/>
                <p:cNvSpPr>
                  <a:spLocks/>
                </p:cNvSpPr>
                <p:nvPr/>
              </p:nvSpPr>
              <p:spPr bwMode="gray">
                <a:xfrm>
                  <a:off x="3071202" y="2405247"/>
                  <a:ext cx="2482784" cy="2483044"/>
                </a:xfrm>
                <a:prstGeom prst="ellipse">
                  <a:avLst/>
                </a:prstGeom>
                <a:gradFill>
                  <a:gsLst>
                    <a:gs pos="0">
                      <a:srgbClr val="D7D7D7">
                        <a:alpha val="85000"/>
                      </a:srgbClr>
                    </a:gs>
                    <a:gs pos="100000">
                      <a:srgbClr val="FFFFFF"/>
                    </a:gs>
                  </a:gsLst>
                  <a:lin ang="13500000" scaled="1"/>
                </a:gradFill>
                <a:ln w="9525">
                  <a:solidFill>
                    <a:srgbClr val="C0C0C0"/>
                  </a:solidFill>
                  <a:round/>
                  <a:headEnd type="triangle" w="med" len="med"/>
                  <a:tailEnd type="triangle" w="med" len="med"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82945" tIns="41473" rIns="82945" bIns="41473" anchor="ctr"/>
                <a:lstStyle/>
                <a:p>
                  <a:endParaRPr lang="en-US" noProof="1"/>
                </a:p>
              </p:txBody>
            </p:sp>
            <p:sp>
              <p:nvSpPr>
                <p:cNvPr id="15" name="Oval 5"/>
                <p:cNvSpPr>
                  <a:spLocks/>
                </p:cNvSpPr>
                <p:nvPr/>
              </p:nvSpPr>
              <p:spPr bwMode="gray">
                <a:xfrm>
                  <a:off x="3418560" y="2745234"/>
                  <a:ext cx="1791360" cy="1791548"/>
                </a:xfrm>
                <a:prstGeom prst="ellipse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noFill/>
                  <a:miter lim="800000"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tIns="0" rIns="0" bIns="0" anchor="ctr" anchorCtr="0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Business</a:t>
                  </a:r>
                  <a:b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</a:b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Strategy</a:t>
                  </a:r>
                  <a:endParaRPr lang="en-US" sz="2400" b="1" noProof="1" smtClean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25" name="Text Box 10"/>
              <p:cNvSpPr txBox="1">
                <a:spLocks noChangeArrowheads="1"/>
              </p:cNvSpPr>
              <p:nvPr/>
            </p:nvSpPr>
            <p:spPr bwMode="gray">
              <a:xfrm>
                <a:off x="3103660" y="2339435"/>
                <a:ext cx="3036289" cy="3621979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wrap="none" lIns="81639" tIns="55221" rIns="81639" bIns="40820">
                <a:prstTxWarp prst="textArchUp">
                  <a:avLst/>
                </a:prstTxWarp>
              </a:bodyPr>
              <a:lstStyle/>
              <a:p>
                <a:pPr algn="ctr">
                  <a:tabLst>
                    <a:tab pos="656650" algn="l"/>
                    <a:tab pos="1313299" algn="l"/>
                  </a:tabLst>
                </a:pPr>
                <a:r>
                  <a:rPr lang="en-US" sz="2000" noProof="1" smtClean="0">
                    <a:solidFill>
                      <a:srgbClr val="000000"/>
                    </a:solidFill>
                  </a:rPr>
                  <a:t>Marketing Strategy</a:t>
                </a:r>
                <a:endParaRPr lang="en-US" sz="2000" noProof="1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2" name="Titel 2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y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90329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nnection between the separate elements and their logical process structu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Elements of Marketing Concept</a:t>
            </a:r>
            <a:endParaRPr lang="en-US" b="0" noProof="1" smtClean="0"/>
          </a:p>
        </p:txBody>
      </p:sp>
      <p:grpSp>
        <p:nvGrpSpPr>
          <p:cNvPr id="18" name="Gruppieren 17"/>
          <p:cNvGrpSpPr/>
          <p:nvPr/>
        </p:nvGrpSpPr>
        <p:grpSpPr>
          <a:xfrm>
            <a:off x="769971" y="1916112"/>
            <a:ext cx="7742918" cy="4253879"/>
            <a:chOff x="769971" y="1916112"/>
            <a:chExt cx="7742918" cy="4253879"/>
          </a:xfrm>
        </p:grpSpPr>
        <p:sp>
          <p:nvSpPr>
            <p:cNvPr id="3" name="Ellipse 2"/>
            <p:cNvSpPr/>
            <p:nvPr/>
          </p:nvSpPr>
          <p:spPr bwMode="gray">
            <a:xfrm>
              <a:off x="3563888" y="2670919"/>
              <a:ext cx="2016224" cy="2016224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Marketing Concept Elements </a:t>
              </a:r>
            </a:p>
          </p:txBody>
        </p:sp>
        <p:sp>
          <p:nvSpPr>
            <p:cNvPr id="5" name="Rechteck 4"/>
            <p:cNvSpPr/>
            <p:nvPr/>
          </p:nvSpPr>
          <p:spPr bwMode="gray">
            <a:xfrm>
              <a:off x="6237446" y="1953500"/>
              <a:ext cx="2024743" cy="62970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r>
                <a:rPr lang="en-US" sz="1600" noProof="1" smtClean="0"/>
                <a:t>Offer of products </a:t>
              </a:r>
              <a:br>
                <a:rPr lang="en-US" sz="1600" noProof="1" smtClean="0"/>
              </a:br>
              <a:r>
                <a:rPr lang="en-US" sz="1600" noProof="1" smtClean="0"/>
                <a:t>and services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6488146" y="4066295"/>
              <a:ext cx="2024743" cy="64008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r>
                <a:rPr lang="en-US" sz="1600" noProof="1" smtClean="0"/>
                <a:t>Customer benefit and customer satisfaction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2898796" y="5529911"/>
              <a:ext cx="3313094" cy="64008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1600" noProof="1" smtClean="0"/>
                <a:t>Exchange, transactions and relations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769971" y="4014682"/>
              <a:ext cx="1911927" cy="36036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r"/>
              <a:r>
                <a:rPr lang="en-US" sz="1600" noProof="1" smtClean="0"/>
                <a:t>Markets </a:t>
              </a: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876846" y="1953500"/>
              <a:ext cx="2024743" cy="64008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ctr"/>
            <a:lstStyle/>
            <a:p>
              <a:pPr algn="r"/>
              <a:r>
                <a:rPr lang="en-US" sz="1600" noProof="1" smtClean="0"/>
                <a:t>Wishes, requirements </a:t>
              </a:r>
              <a:br>
                <a:rPr lang="en-US" sz="1600" noProof="1" smtClean="0"/>
              </a:br>
              <a:r>
                <a:rPr lang="en-US" sz="1600" noProof="1" smtClean="0"/>
                <a:t>and demands</a:t>
              </a:r>
            </a:p>
          </p:txBody>
        </p:sp>
        <p:grpSp>
          <p:nvGrpSpPr>
            <p:cNvPr id="39" name="Gruppieren 38"/>
            <p:cNvGrpSpPr/>
            <p:nvPr/>
          </p:nvGrpSpPr>
          <p:grpSpPr bwMode="gray">
            <a:xfrm>
              <a:off x="2823393" y="1916112"/>
              <a:ext cx="3523836" cy="3525840"/>
              <a:chOff x="-6234113" y="638175"/>
              <a:chExt cx="5580063" cy="5583237"/>
            </a:xfrm>
          </p:grpSpPr>
          <p:sp>
            <p:nvSpPr>
              <p:cNvPr id="42" name="Freeform 8"/>
              <p:cNvSpPr>
                <a:spLocks/>
              </p:cNvSpPr>
              <p:nvPr/>
            </p:nvSpPr>
            <p:spPr bwMode="gray">
              <a:xfrm>
                <a:off x="-6110288" y="649288"/>
                <a:ext cx="2849563" cy="2216150"/>
              </a:xfrm>
              <a:custGeom>
                <a:avLst/>
                <a:gdLst/>
                <a:ahLst/>
                <a:cxnLst>
                  <a:cxn ang="0">
                    <a:pos x="225" y="591"/>
                  </a:cxn>
                  <a:cxn ang="0">
                    <a:pos x="658" y="241"/>
                  </a:cxn>
                  <a:cxn ang="0">
                    <a:pos x="760" y="124"/>
                  </a:cxn>
                  <a:cxn ang="0">
                    <a:pos x="652" y="0"/>
                  </a:cxn>
                  <a:cxn ang="0">
                    <a:pos x="0" y="521"/>
                  </a:cxn>
                  <a:cxn ang="0">
                    <a:pos x="146" y="459"/>
                  </a:cxn>
                  <a:cxn ang="0">
                    <a:pos x="225" y="591"/>
                  </a:cxn>
                </a:cxnLst>
                <a:rect l="0" t="0" r="r" b="b"/>
                <a:pathLst>
                  <a:path w="760" h="591">
                    <a:moveTo>
                      <a:pt x="225" y="591"/>
                    </a:moveTo>
                    <a:cubicBezTo>
                      <a:pt x="284" y="401"/>
                      <a:pt x="454" y="260"/>
                      <a:pt x="658" y="241"/>
                    </a:cubicBezTo>
                    <a:cubicBezTo>
                      <a:pt x="760" y="124"/>
                      <a:pt x="760" y="124"/>
                      <a:pt x="760" y="124"/>
                    </a:cubicBezTo>
                    <a:cubicBezTo>
                      <a:pt x="652" y="0"/>
                      <a:pt x="652" y="0"/>
                      <a:pt x="652" y="0"/>
                    </a:cubicBezTo>
                    <a:cubicBezTo>
                      <a:pt x="343" y="24"/>
                      <a:pt x="88" y="236"/>
                      <a:pt x="0" y="521"/>
                    </a:cubicBezTo>
                    <a:cubicBezTo>
                      <a:pt x="146" y="459"/>
                      <a:pt x="146" y="459"/>
                      <a:pt x="146" y="459"/>
                    </a:cubicBezTo>
                    <a:lnTo>
                      <a:pt x="225" y="59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" name="Freeform 6"/>
              <p:cNvSpPr>
                <a:spLocks/>
              </p:cNvSpPr>
              <p:nvPr/>
            </p:nvSpPr>
            <p:spPr bwMode="gray">
              <a:xfrm>
                <a:off x="-3519488" y="638175"/>
                <a:ext cx="2651125" cy="2276475"/>
              </a:xfrm>
              <a:custGeom>
                <a:avLst/>
                <a:gdLst/>
                <a:ahLst/>
                <a:cxnLst>
                  <a:cxn ang="0">
                    <a:pos x="8" y="242"/>
                  </a:cxn>
                  <a:cxn ang="0">
                    <a:pos x="13" y="242"/>
                  </a:cxn>
                  <a:cxn ang="0">
                    <a:pos x="475" y="546"/>
                  </a:cxn>
                  <a:cxn ang="0">
                    <a:pos x="618" y="607"/>
                  </a:cxn>
                  <a:cxn ang="0">
                    <a:pos x="707" y="458"/>
                  </a:cxn>
                  <a:cxn ang="0">
                    <a:pos x="20" y="0"/>
                  </a:cxn>
                  <a:cxn ang="0">
                    <a:pos x="0" y="1"/>
                  </a:cxn>
                  <a:cxn ang="0">
                    <a:pos x="109" y="126"/>
                  </a:cxn>
                  <a:cxn ang="0">
                    <a:pos x="8" y="242"/>
                  </a:cxn>
                </a:cxnLst>
                <a:rect l="0" t="0" r="r" b="b"/>
                <a:pathLst>
                  <a:path w="707" h="607">
                    <a:moveTo>
                      <a:pt x="8" y="242"/>
                    </a:moveTo>
                    <a:cubicBezTo>
                      <a:pt x="10" y="242"/>
                      <a:pt x="11" y="242"/>
                      <a:pt x="13" y="242"/>
                    </a:cubicBezTo>
                    <a:cubicBezTo>
                      <a:pt x="220" y="242"/>
                      <a:pt x="398" y="367"/>
                      <a:pt x="475" y="546"/>
                    </a:cubicBezTo>
                    <a:cubicBezTo>
                      <a:pt x="618" y="607"/>
                      <a:pt x="618" y="607"/>
                      <a:pt x="618" y="607"/>
                    </a:cubicBezTo>
                    <a:cubicBezTo>
                      <a:pt x="707" y="458"/>
                      <a:pt x="707" y="458"/>
                      <a:pt x="707" y="458"/>
                    </a:cubicBezTo>
                    <a:cubicBezTo>
                      <a:pt x="595" y="189"/>
                      <a:pt x="329" y="0"/>
                      <a:pt x="20" y="0"/>
                    </a:cubicBezTo>
                    <a:cubicBezTo>
                      <a:pt x="13" y="0"/>
                      <a:pt x="6" y="1"/>
                      <a:pt x="0" y="1"/>
                    </a:cubicBezTo>
                    <a:cubicBezTo>
                      <a:pt x="109" y="126"/>
                      <a:pt x="109" y="126"/>
                      <a:pt x="109" y="126"/>
                    </a:cubicBezTo>
                    <a:lnTo>
                      <a:pt x="8" y="2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3240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Freeform 10"/>
              <p:cNvSpPr>
                <a:spLocks/>
              </p:cNvSpPr>
              <p:nvPr/>
            </p:nvSpPr>
            <p:spPr bwMode="gray">
              <a:xfrm>
                <a:off x="-6234113" y="2513013"/>
                <a:ext cx="1671638" cy="3184525"/>
              </a:xfrm>
              <a:custGeom>
                <a:avLst/>
                <a:gdLst/>
                <a:ahLst/>
                <a:cxnLst>
                  <a:cxn ang="0">
                    <a:pos x="446" y="654"/>
                  </a:cxn>
                  <a:cxn ang="0">
                    <a:pos x="235" y="244"/>
                  </a:cxn>
                  <a:cxn ang="0">
                    <a:pos x="247" y="133"/>
                  </a:cxn>
                  <a:cxn ang="0">
                    <a:pos x="167" y="0"/>
                  </a:cxn>
                  <a:cxn ang="0">
                    <a:pos x="22" y="62"/>
                  </a:cxn>
                  <a:cxn ang="0">
                    <a:pos x="0" y="244"/>
                  </a:cxn>
                  <a:cxn ang="0">
                    <a:pos x="310" y="849"/>
                  </a:cxn>
                  <a:cxn ang="0">
                    <a:pos x="296" y="688"/>
                  </a:cxn>
                  <a:cxn ang="0">
                    <a:pos x="446" y="654"/>
                  </a:cxn>
                </a:cxnLst>
                <a:rect l="0" t="0" r="r" b="b"/>
                <a:pathLst>
                  <a:path w="446" h="849">
                    <a:moveTo>
                      <a:pt x="446" y="654"/>
                    </a:moveTo>
                    <a:cubicBezTo>
                      <a:pt x="318" y="563"/>
                      <a:pt x="235" y="413"/>
                      <a:pt x="235" y="244"/>
                    </a:cubicBezTo>
                    <a:cubicBezTo>
                      <a:pt x="235" y="206"/>
                      <a:pt x="239" y="169"/>
                      <a:pt x="247" y="133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7" y="121"/>
                      <a:pt x="0" y="182"/>
                      <a:pt x="0" y="244"/>
                    </a:cubicBezTo>
                    <a:cubicBezTo>
                      <a:pt x="0" y="494"/>
                      <a:pt x="122" y="714"/>
                      <a:pt x="310" y="849"/>
                    </a:cubicBezTo>
                    <a:cubicBezTo>
                      <a:pt x="296" y="688"/>
                      <a:pt x="296" y="688"/>
                      <a:pt x="296" y="688"/>
                    </a:cubicBezTo>
                    <a:lnTo>
                      <a:pt x="446" y="65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36000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Freeform 9"/>
              <p:cNvSpPr>
                <a:spLocks/>
              </p:cNvSpPr>
              <p:nvPr/>
            </p:nvSpPr>
            <p:spPr bwMode="gray">
              <a:xfrm>
                <a:off x="-5000625" y="4943475"/>
                <a:ext cx="3228975" cy="1277937"/>
              </a:xfrm>
              <a:custGeom>
                <a:avLst/>
                <a:gdLst/>
                <a:ahLst/>
                <a:cxnLst>
                  <a:cxn ang="0">
                    <a:pos x="707" y="0"/>
                  </a:cxn>
                  <a:cxn ang="0">
                    <a:pos x="408" y="99"/>
                  </a:cxn>
                  <a:cxn ang="0">
                    <a:pos x="151" y="28"/>
                  </a:cxn>
                  <a:cxn ang="0">
                    <a:pos x="0" y="63"/>
                  </a:cxn>
                  <a:cxn ang="0">
                    <a:pos x="14" y="224"/>
                  </a:cxn>
                  <a:cxn ang="0">
                    <a:pos x="415" y="341"/>
                  </a:cxn>
                  <a:cxn ang="0">
                    <a:pos x="861" y="192"/>
                  </a:cxn>
                  <a:cxn ang="0">
                    <a:pos x="694" y="153"/>
                  </a:cxn>
                  <a:cxn ang="0">
                    <a:pos x="707" y="0"/>
                  </a:cxn>
                </a:cxnLst>
                <a:rect l="0" t="0" r="r" b="b"/>
                <a:pathLst>
                  <a:path w="861" h="341">
                    <a:moveTo>
                      <a:pt x="707" y="0"/>
                    </a:moveTo>
                    <a:cubicBezTo>
                      <a:pt x="624" y="62"/>
                      <a:pt x="520" y="99"/>
                      <a:pt x="408" y="99"/>
                    </a:cubicBezTo>
                    <a:cubicBezTo>
                      <a:pt x="314" y="99"/>
                      <a:pt x="226" y="73"/>
                      <a:pt x="151" y="28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14" y="224"/>
                      <a:pt x="14" y="224"/>
                      <a:pt x="14" y="224"/>
                    </a:cubicBezTo>
                    <a:cubicBezTo>
                      <a:pt x="130" y="298"/>
                      <a:pt x="267" y="341"/>
                      <a:pt x="415" y="341"/>
                    </a:cubicBezTo>
                    <a:cubicBezTo>
                      <a:pt x="582" y="341"/>
                      <a:pt x="737" y="285"/>
                      <a:pt x="861" y="192"/>
                    </a:cubicBezTo>
                    <a:cubicBezTo>
                      <a:pt x="694" y="153"/>
                      <a:pt x="694" y="153"/>
                      <a:pt x="694" y="153"/>
                    </a:cubicBezTo>
                    <a:lnTo>
                      <a:pt x="707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25200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" name="Freeform 7"/>
              <p:cNvSpPr>
                <a:spLocks/>
              </p:cNvSpPr>
              <p:nvPr/>
            </p:nvSpPr>
            <p:spPr bwMode="gray">
              <a:xfrm>
                <a:off x="-2278063" y="2493963"/>
                <a:ext cx="1624013" cy="3074987"/>
              </a:xfrm>
              <a:custGeom>
                <a:avLst/>
                <a:gdLst/>
                <a:ahLst/>
                <a:cxnLst>
                  <a:cxn ang="0">
                    <a:pos x="158" y="90"/>
                  </a:cxn>
                  <a:cxn ang="0">
                    <a:pos x="184" y="249"/>
                  </a:cxn>
                  <a:cxn ang="0">
                    <a:pos x="13" y="627"/>
                  </a:cxn>
                  <a:cxn ang="0">
                    <a:pos x="0" y="782"/>
                  </a:cxn>
                  <a:cxn ang="0">
                    <a:pos x="166" y="820"/>
                  </a:cxn>
                  <a:cxn ang="0">
                    <a:pos x="433" y="249"/>
                  </a:cxn>
                  <a:cxn ang="0">
                    <a:pos x="390" y="0"/>
                  </a:cxn>
                  <a:cxn ang="0">
                    <a:pos x="300" y="150"/>
                  </a:cxn>
                  <a:cxn ang="0">
                    <a:pos x="158" y="90"/>
                  </a:cxn>
                </a:cxnLst>
                <a:rect l="0" t="0" r="r" b="b"/>
                <a:pathLst>
                  <a:path w="433" h="820">
                    <a:moveTo>
                      <a:pt x="158" y="90"/>
                    </a:moveTo>
                    <a:cubicBezTo>
                      <a:pt x="175" y="140"/>
                      <a:pt x="184" y="194"/>
                      <a:pt x="184" y="249"/>
                    </a:cubicBezTo>
                    <a:cubicBezTo>
                      <a:pt x="184" y="400"/>
                      <a:pt x="118" y="535"/>
                      <a:pt x="13" y="627"/>
                    </a:cubicBezTo>
                    <a:cubicBezTo>
                      <a:pt x="0" y="782"/>
                      <a:pt x="0" y="782"/>
                      <a:pt x="0" y="782"/>
                    </a:cubicBezTo>
                    <a:cubicBezTo>
                      <a:pt x="166" y="820"/>
                      <a:pt x="166" y="820"/>
                      <a:pt x="166" y="820"/>
                    </a:cubicBezTo>
                    <a:cubicBezTo>
                      <a:pt x="329" y="684"/>
                      <a:pt x="433" y="479"/>
                      <a:pt x="433" y="249"/>
                    </a:cubicBezTo>
                    <a:cubicBezTo>
                      <a:pt x="433" y="162"/>
                      <a:pt x="418" y="78"/>
                      <a:pt x="390" y="0"/>
                    </a:cubicBezTo>
                    <a:cubicBezTo>
                      <a:pt x="300" y="150"/>
                      <a:pt x="300" y="150"/>
                      <a:pt x="300" y="150"/>
                    </a:cubicBezTo>
                    <a:lnTo>
                      <a:pt x="158" y="9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647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Areal Strategy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etermination of geographic coverage</a:t>
            </a:r>
            <a:endParaRPr lang="en-US" noProof="1"/>
          </a:p>
        </p:txBody>
      </p:sp>
      <p:grpSp>
        <p:nvGrpSpPr>
          <p:cNvPr id="226" name="Gruppieren 225"/>
          <p:cNvGrpSpPr/>
          <p:nvPr/>
        </p:nvGrpSpPr>
        <p:grpSpPr>
          <a:xfrm>
            <a:off x="323853" y="1555750"/>
            <a:ext cx="8496298" cy="4356455"/>
            <a:chOff x="323853" y="1555750"/>
            <a:chExt cx="8496298" cy="4356455"/>
          </a:xfrm>
        </p:grpSpPr>
        <p:sp>
          <p:nvSpPr>
            <p:cNvPr id="60" name="Rechteck 59"/>
            <p:cNvSpPr/>
            <p:nvPr/>
          </p:nvSpPr>
          <p:spPr bwMode="gray">
            <a:xfrm>
              <a:off x="4645366" y="3473792"/>
              <a:ext cx="1293777" cy="14989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6085870" y="3473792"/>
              <a:ext cx="2734280" cy="14989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hteck 5"/>
            <p:cNvSpPr/>
            <p:nvPr/>
          </p:nvSpPr>
          <p:spPr bwMode="gray">
            <a:xfrm>
              <a:off x="3204861" y="1555750"/>
              <a:ext cx="2734282" cy="621062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Market areal strategies</a:t>
              </a: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323853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/>
                <a:t>Loc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1764357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Region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3204861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Nation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4645366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Inter-</a:t>
              </a:r>
              <a:b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nation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6085870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Multi-</a:t>
              </a:r>
              <a:b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nation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7526375" y="2768606"/>
              <a:ext cx="1293776" cy="58838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Global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9" name="Gruppieren 18"/>
            <p:cNvGrpSpPr/>
            <p:nvPr/>
          </p:nvGrpSpPr>
          <p:grpSpPr bwMode="gray">
            <a:xfrm>
              <a:off x="323853" y="5085184"/>
              <a:ext cx="8496297" cy="490829"/>
              <a:chOff x="340840" y="4972692"/>
              <a:chExt cx="8310000" cy="359596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7" name="Rechtwinkliges Dreieck 16"/>
              <p:cNvSpPr/>
              <p:nvPr/>
            </p:nvSpPr>
            <p:spPr bwMode="gray">
              <a:xfrm flipH="1">
                <a:off x="340840" y="4972692"/>
                <a:ext cx="8041446" cy="359596"/>
              </a:xfrm>
              <a:prstGeom prst="rtTriangle">
                <a:avLst/>
              </a:prstGeom>
              <a:solidFill>
                <a:srgbClr val="D7D7D7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18" name="Gleichschenkliges Dreieck 17"/>
              <p:cNvSpPr/>
              <p:nvPr/>
            </p:nvSpPr>
            <p:spPr bwMode="gray">
              <a:xfrm rot="5400000">
                <a:off x="8336766" y="5018215"/>
                <a:ext cx="359595" cy="268552"/>
              </a:xfrm>
              <a:prstGeom prst="triangle">
                <a:avLst/>
              </a:prstGeom>
              <a:solidFill>
                <a:srgbClr val="D7D7D7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</p:grpSp>
        <p:sp>
          <p:nvSpPr>
            <p:cNvPr id="21" name="Rechteck 20"/>
            <p:cNvSpPr/>
            <p:nvPr/>
          </p:nvSpPr>
          <p:spPr bwMode="gray">
            <a:xfrm>
              <a:off x="2195738" y="5541012"/>
              <a:ext cx="4752524" cy="37119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600" b="1" noProof="1" smtClean="0">
                  <a:cs typeface="Arial" charset="0"/>
                </a:rPr>
                <a:t>Process of geographic expansion</a:t>
              </a:r>
            </a:p>
          </p:txBody>
        </p:sp>
        <p:cxnSp>
          <p:nvCxnSpPr>
            <p:cNvPr id="22" name="Gewinkelte Verbindung 21"/>
            <p:cNvCxnSpPr>
              <a:stCxn id="6" idx="2"/>
              <a:endCxn id="7" idx="0"/>
            </p:cNvCxnSpPr>
            <p:nvPr/>
          </p:nvCxnSpPr>
          <p:spPr bwMode="gray">
            <a:xfrm rot="5400000">
              <a:off x="2475475" y="672079"/>
              <a:ext cx="591794" cy="3601261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6" idx="2"/>
              <a:endCxn id="12" idx="0"/>
            </p:cNvCxnSpPr>
            <p:nvPr/>
          </p:nvCxnSpPr>
          <p:spPr bwMode="gray">
            <a:xfrm rot="5400000">
              <a:off x="3195727" y="1392331"/>
              <a:ext cx="591794" cy="2160757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6" idx="2"/>
              <a:endCxn id="13" idx="0"/>
            </p:cNvCxnSpPr>
            <p:nvPr/>
          </p:nvCxnSpPr>
          <p:spPr bwMode="gray">
            <a:xfrm rot="5400000">
              <a:off x="3915979" y="2112583"/>
              <a:ext cx="591794" cy="720253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winkelte Verbindung 27"/>
            <p:cNvCxnSpPr>
              <a:stCxn id="6" idx="2"/>
              <a:endCxn id="14" idx="0"/>
            </p:cNvCxnSpPr>
            <p:nvPr/>
          </p:nvCxnSpPr>
          <p:spPr bwMode="gray">
            <a:xfrm rot="16200000" flipH="1">
              <a:off x="4636231" y="2112583"/>
              <a:ext cx="591794" cy="720252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winkelte Verbindung 29"/>
            <p:cNvCxnSpPr>
              <a:stCxn id="6" idx="2"/>
              <a:endCxn id="15" idx="0"/>
            </p:cNvCxnSpPr>
            <p:nvPr/>
          </p:nvCxnSpPr>
          <p:spPr bwMode="gray">
            <a:xfrm rot="16200000" flipH="1">
              <a:off x="5356483" y="1392331"/>
              <a:ext cx="591794" cy="2160756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44" name="Gewinkelte Verbindung 6143"/>
            <p:cNvCxnSpPr>
              <a:stCxn id="6" idx="2"/>
              <a:endCxn id="16" idx="0"/>
            </p:cNvCxnSpPr>
            <p:nvPr/>
          </p:nvCxnSpPr>
          <p:spPr bwMode="gray">
            <a:xfrm rot="16200000" flipH="1">
              <a:off x="6076735" y="672078"/>
              <a:ext cx="591794" cy="3601261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Freeform 25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251957" y="3637893"/>
              <a:ext cx="2402106" cy="1170699"/>
            </a:xfrm>
            <a:custGeom>
              <a:avLst/>
              <a:gdLst/>
              <a:ahLst/>
              <a:cxnLst>
                <a:cxn ang="0">
                  <a:pos x="12567" y="4507"/>
                </a:cxn>
                <a:cxn ang="0">
                  <a:pos x="12615" y="3599"/>
                </a:cxn>
                <a:cxn ang="0">
                  <a:pos x="12955" y="4387"/>
                </a:cxn>
                <a:cxn ang="0">
                  <a:pos x="14370" y="4743"/>
                </a:cxn>
                <a:cxn ang="0">
                  <a:pos x="11595" y="4123"/>
                </a:cxn>
                <a:cxn ang="0">
                  <a:pos x="13115" y="4845"/>
                </a:cxn>
                <a:cxn ang="0">
                  <a:pos x="12813" y="5921"/>
                </a:cxn>
                <a:cxn ang="0">
                  <a:pos x="13808" y="4702"/>
                </a:cxn>
                <a:cxn ang="0">
                  <a:pos x="14204" y="6531"/>
                </a:cxn>
                <a:cxn ang="0">
                  <a:pos x="6579" y="1308"/>
                </a:cxn>
                <a:cxn ang="0">
                  <a:pos x="7277" y="156"/>
                </a:cxn>
                <a:cxn ang="0">
                  <a:pos x="6766" y="1129"/>
                </a:cxn>
                <a:cxn ang="0">
                  <a:pos x="8669" y="354"/>
                </a:cxn>
                <a:cxn ang="0">
                  <a:pos x="6919" y="2081"/>
                </a:cxn>
                <a:cxn ang="0">
                  <a:pos x="3201" y="260"/>
                </a:cxn>
                <a:cxn ang="0">
                  <a:pos x="3918" y="266"/>
                </a:cxn>
                <a:cxn ang="0">
                  <a:pos x="3704" y="3212"/>
                </a:cxn>
                <a:cxn ang="0">
                  <a:pos x="4506" y="577"/>
                </a:cxn>
                <a:cxn ang="0">
                  <a:pos x="4479" y="849"/>
                </a:cxn>
                <a:cxn ang="0">
                  <a:pos x="4935" y="28"/>
                </a:cxn>
                <a:cxn ang="0">
                  <a:pos x="6231" y="323"/>
                </a:cxn>
                <a:cxn ang="0">
                  <a:pos x="4952" y="273"/>
                </a:cxn>
                <a:cxn ang="0">
                  <a:pos x="5238" y="964"/>
                </a:cxn>
                <a:cxn ang="0">
                  <a:pos x="1633" y="1135"/>
                </a:cxn>
                <a:cxn ang="0">
                  <a:pos x="3763" y="6942"/>
                </a:cxn>
                <a:cxn ang="0">
                  <a:pos x="4601" y="4273"/>
                </a:cxn>
                <a:cxn ang="0">
                  <a:pos x="2802" y="3614"/>
                </a:cxn>
                <a:cxn ang="0">
                  <a:pos x="2976" y="2751"/>
                </a:cxn>
                <a:cxn ang="0">
                  <a:pos x="4101" y="1735"/>
                </a:cxn>
                <a:cxn ang="0">
                  <a:pos x="3952" y="934"/>
                </a:cxn>
                <a:cxn ang="0">
                  <a:pos x="3542" y="625"/>
                </a:cxn>
                <a:cxn ang="0">
                  <a:pos x="920" y="841"/>
                </a:cxn>
                <a:cxn ang="0">
                  <a:pos x="1594" y="1085"/>
                </a:cxn>
                <a:cxn ang="0">
                  <a:pos x="1517" y="2702"/>
                </a:cxn>
                <a:cxn ang="0">
                  <a:pos x="3084" y="3997"/>
                </a:cxn>
                <a:cxn ang="0">
                  <a:pos x="3629" y="6707"/>
                </a:cxn>
                <a:cxn ang="0">
                  <a:pos x="4235" y="6222"/>
                </a:cxn>
                <a:cxn ang="0">
                  <a:pos x="3029" y="1846"/>
                </a:cxn>
                <a:cxn ang="0">
                  <a:pos x="2864" y="1316"/>
                </a:cxn>
                <a:cxn ang="0">
                  <a:pos x="3603" y="6577"/>
                </a:cxn>
                <a:cxn ang="0">
                  <a:pos x="9474" y="423"/>
                </a:cxn>
                <a:cxn ang="0">
                  <a:pos x="7946" y="2117"/>
                </a:cxn>
                <a:cxn ang="0">
                  <a:pos x="12856" y="1722"/>
                </a:cxn>
                <a:cxn ang="0">
                  <a:pos x="11889" y="3476"/>
                </a:cxn>
                <a:cxn ang="0">
                  <a:pos x="12287" y="2121"/>
                </a:cxn>
                <a:cxn ang="0">
                  <a:pos x="12718" y="949"/>
                </a:cxn>
                <a:cxn ang="0">
                  <a:pos x="13020" y="569"/>
                </a:cxn>
                <a:cxn ang="0">
                  <a:pos x="10366" y="417"/>
                </a:cxn>
                <a:cxn ang="0">
                  <a:pos x="9233" y="610"/>
                </a:cxn>
                <a:cxn ang="0">
                  <a:pos x="7484" y="592"/>
                </a:cxn>
                <a:cxn ang="0">
                  <a:pos x="7477" y="1130"/>
                </a:cxn>
                <a:cxn ang="0">
                  <a:pos x="7148" y="1232"/>
                </a:cxn>
                <a:cxn ang="0">
                  <a:pos x="7072" y="1879"/>
                </a:cxn>
                <a:cxn ang="0">
                  <a:pos x="8129" y="2238"/>
                </a:cxn>
                <a:cxn ang="0">
                  <a:pos x="6068" y="2828"/>
                </a:cxn>
                <a:cxn ang="0">
                  <a:pos x="7212" y="4048"/>
                </a:cxn>
                <a:cxn ang="0">
                  <a:pos x="8660" y="5019"/>
                </a:cxn>
                <a:cxn ang="0">
                  <a:pos x="8760" y="3314"/>
                </a:cxn>
                <a:cxn ang="0">
                  <a:pos x="10182" y="3284"/>
                </a:cxn>
                <a:cxn ang="0">
                  <a:pos x="8386" y="4771"/>
                </a:cxn>
                <a:cxn ang="0">
                  <a:pos x="8380" y="1764"/>
                </a:cxn>
                <a:cxn ang="0">
                  <a:pos x="9070" y="1793"/>
                </a:cxn>
                <a:cxn ang="0">
                  <a:pos x="11176" y="1331"/>
                </a:cxn>
              </a:cxnLst>
              <a:rect l="0" t="0" r="r" b="b"/>
              <a:pathLst>
                <a:path w="14677" h="7159">
                  <a:moveTo>
                    <a:pt x="12864" y="4079"/>
                  </a:moveTo>
                  <a:cubicBezTo>
                    <a:pt x="12879" y="4067"/>
                    <a:pt x="12873" y="4060"/>
                    <a:pt x="12860" y="4056"/>
                  </a:cubicBezTo>
                  <a:cubicBezTo>
                    <a:pt x="12847" y="4052"/>
                    <a:pt x="12841" y="4057"/>
                    <a:pt x="12841" y="4057"/>
                  </a:cubicBezTo>
                  <a:cubicBezTo>
                    <a:pt x="12841" y="4057"/>
                    <a:pt x="12856" y="4087"/>
                    <a:pt x="12864" y="4079"/>
                  </a:cubicBezTo>
                  <a:close/>
                  <a:moveTo>
                    <a:pt x="12798" y="4178"/>
                  </a:moveTo>
                  <a:cubicBezTo>
                    <a:pt x="12801" y="4187"/>
                    <a:pt x="12790" y="4195"/>
                    <a:pt x="12798" y="4203"/>
                  </a:cubicBezTo>
                  <a:cubicBezTo>
                    <a:pt x="12807" y="4210"/>
                    <a:pt x="12845" y="4244"/>
                    <a:pt x="12854" y="4241"/>
                  </a:cubicBezTo>
                  <a:cubicBezTo>
                    <a:pt x="12863" y="4238"/>
                    <a:pt x="12853" y="4225"/>
                    <a:pt x="12842" y="4219"/>
                  </a:cubicBezTo>
                  <a:cubicBezTo>
                    <a:pt x="12832" y="4213"/>
                    <a:pt x="12826" y="4201"/>
                    <a:pt x="12836" y="4191"/>
                  </a:cubicBezTo>
                  <a:cubicBezTo>
                    <a:pt x="12847" y="4181"/>
                    <a:pt x="12866" y="4191"/>
                    <a:pt x="12866" y="4191"/>
                  </a:cubicBezTo>
                  <a:cubicBezTo>
                    <a:pt x="12875" y="4184"/>
                    <a:pt x="12875" y="4184"/>
                    <a:pt x="12875" y="4184"/>
                  </a:cubicBezTo>
                  <a:cubicBezTo>
                    <a:pt x="12858" y="4173"/>
                    <a:pt x="12858" y="4173"/>
                    <a:pt x="12858" y="4173"/>
                  </a:cubicBezTo>
                  <a:cubicBezTo>
                    <a:pt x="12858" y="4173"/>
                    <a:pt x="12872" y="4166"/>
                    <a:pt x="12875" y="4154"/>
                  </a:cubicBezTo>
                  <a:cubicBezTo>
                    <a:pt x="12878" y="4143"/>
                    <a:pt x="12863" y="4135"/>
                    <a:pt x="12853" y="4134"/>
                  </a:cubicBezTo>
                  <a:cubicBezTo>
                    <a:pt x="12842" y="4132"/>
                    <a:pt x="12832" y="4159"/>
                    <a:pt x="12820" y="4160"/>
                  </a:cubicBezTo>
                  <a:cubicBezTo>
                    <a:pt x="12809" y="4162"/>
                    <a:pt x="12812" y="4135"/>
                    <a:pt x="12812" y="4135"/>
                  </a:cubicBezTo>
                  <a:cubicBezTo>
                    <a:pt x="12812" y="4135"/>
                    <a:pt x="12822" y="4122"/>
                    <a:pt x="12825" y="4112"/>
                  </a:cubicBezTo>
                  <a:cubicBezTo>
                    <a:pt x="12828" y="4101"/>
                    <a:pt x="12822" y="4096"/>
                    <a:pt x="12822" y="4096"/>
                  </a:cubicBezTo>
                  <a:cubicBezTo>
                    <a:pt x="12831" y="4069"/>
                    <a:pt x="12831" y="4069"/>
                    <a:pt x="12831" y="4069"/>
                  </a:cubicBezTo>
                  <a:cubicBezTo>
                    <a:pt x="12803" y="4096"/>
                    <a:pt x="12803" y="4096"/>
                    <a:pt x="12803" y="4096"/>
                  </a:cubicBezTo>
                  <a:cubicBezTo>
                    <a:pt x="12803" y="4115"/>
                    <a:pt x="12803" y="4115"/>
                    <a:pt x="12803" y="4115"/>
                  </a:cubicBezTo>
                  <a:cubicBezTo>
                    <a:pt x="12803" y="4115"/>
                    <a:pt x="12780" y="4125"/>
                    <a:pt x="12782" y="4150"/>
                  </a:cubicBezTo>
                  <a:cubicBezTo>
                    <a:pt x="12784" y="4166"/>
                    <a:pt x="12795" y="4169"/>
                    <a:pt x="12798" y="4178"/>
                  </a:cubicBezTo>
                  <a:close/>
                  <a:moveTo>
                    <a:pt x="12824" y="4278"/>
                  </a:moveTo>
                  <a:cubicBezTo>
                    <a:pt x="12816" y="4268"/>
                    <a:pt x="12797" y="4255"/>
                    <a:pt x="12797" y="4255"/>
                  </a:cubicBezTo>
                  <a:cubicBezTo>
                    <a:pt x="12795" y="4285"/>
                    <a:pt x="12795" y="4285"/>
                    <a:pt x="12795" y="4285"/>
                  </a:cubicBezTo>
                  <a:cubicBezTo>
                    <a:pt x="12807" y="4293"/>
                    <a:pt x="12833" y="4289"/>
                    <a:pt x="12824" y="4278"/>
                  </a:cubicBezTo>
                  <a:close/>
                  <a:moveTo>
                    <a:pt x="12907" y="4323"/>
                  </a:moveTo>
                  <a:cubicBezTo>
                    <a:pt x="12929" y="4314"/>
                    <a:pt x="12927" y="4298"/>
                    <a:pt x="12927" y="4298"/>
                  </a:cubicBezTo>
                  <a:cubicBezTo>
                    <a:pt x="12882" y="4297"/>
                    <a:pt x="12882" y="4297"/>
                    <a:pt x="12882" y="4297"/>
                  </a:cubicBezTo>
                  <a:cubicBezTo>
                    <a:pt x="12882" y="4297"/>
                    <a:pt x="12885" y="4332"/>
                    <a:pt x="12907" y="4323"/>
                  </a:cubicBezTo>
                  <a:close/>
                  <a:moveTo>
                    <a:pt x="12597" y="4755"/>
                  </a:moveTo>
                  <a:cubicBezTo>
                    <a:pt x="12608" y="4764"/>
                    <a:pt x="12648" y="4727"/>
                    <a:pt x="12663" y="4713"/>
                  </a:cubicBezTo>
                  <a:cubicBezTo>
                    <a:pt x="12666" y="4710"/>
                    <a:pt x="12668" y="4708"/>
                    <a:pt x="12668" y="4708"/>
                  </a:cubicBezTo>
                  <a:cubicBezTo>
                    <a:pt x="12678" y="4705"/>
                    <a:pt x="12678" y="4705"/>
                    <a:pt x="12678" y="4705"/>
                  </a:cubicBezTo>
                  <a:cubicBezTo>
                    <a:pt x="12700" y="4689"/>
                    <a:pt x="12700" y="4689"/>
                    <a:pt x="12700" y="4689"/>
                  </a:cubicBezTo>
                  <a:cubicBezTo>
                    <a:pt x="12700" y="4689"/>
                    <a:pt x="12709" y="4698"/>
                    <a:pt x="12722" y="4695"/>
                  </a:cubicBezTo>
                  <a:cubicBezTo>
                    <a:pt x="12735" y="4692"/>
                    <a:pt x="12779" y="4645"/>
                    <a:pt x="12779" y="4645"/>
                  </a:cubicBezTo>
                  <a:cubicBezTo>
                    <a:pt x="12763" y="4636"/>
                    <a:pt x="12763" y="4636"/>
                    <a:pt x="12763" y="4636"/>
                  </a:cubicBezTo>
                  <a:cubicBezTo>
                    <a:pt x="12750" y="4650"/>
                    <a:pt x="12750" y="4650"/>
                    <a:pt x="12750" y="4650"/>
                  </a:cubicBezTo>
                  <a:cubicBezTo>
                    <a:pt x="12750" y="4650"/>
                    <a:pt x="12707" y="4651"/>
                    <a:pt x="12695" y="4651"/>
                  </a:cubicBezTo>
                  <a:cubicBezTo>
                    <a:pt x="12684" y="4651"/>
                    <a:pt x="12678" y="4669"/>
                    <a:pt x="12678" y="4669"/>
                  </a:cubicBezTo>
                  <a:cubicBezTo>
                    <a:pt x="12678" y="4669"/>
                    <a:pt x="12672" y="4668"/>
                    <a:pt x="12664" y="4669"/>
                  </a:cubicBezTo>
                  <a:cubicBezTo>
                    <a:pt x="12664" y="4669"/>
                    <a:pt x="12664" y="4669"/>
                    <a:pt x="12664" y="4669"/>
                  </a:cubicBezTo>
                  <a:cubicBezTo>
                    <a:pt x="12659" y="4670"/>
                    <a:pt x="12652" y="4671"/>
                    <a:pt x="12647" y="4675"/>
                  </a:cubicBezTo>
                  <a:cubicBezTo>
                    <a:pt x="12643" y="4677"/>
                    <a:pt x="12640" y="4681"/>
                    <a:pt x="12639" y="4684"/>
                  </a:cubicBezTo>
                  <a:cubicBezTo>
                    <a:pt x="12639" y="4684"/>
                    <a:pt x="12639" y="4684"/>
                    <a:pt x="12639" y="4684"/>
                  </a:cubicBezTo>
                  <a:cubicBezTo>
                    <a:pt x="12622" y="4683"/>
                    <a:pt x="12622" y="4683"/>
                    <a:pt x="12622" y="4683"/>
                  </a:cubicBezTo>
                  <a:cubicBezTo>
                    <a:pt x="12611" y="4694"/>
                    <a:pt x="12611" y="4694"/>
                    <a:pt x="12611" y="4694"/>
                  </a:cubicBezTo>
                  <a:cubicBezTo>
                    <a:pt x="12615" y="4703"/>
                    <a:pt x="12615" y="4703"/>
                    <a:pt x="12615" y="4703"/>
                  </a:cubicBezTo>
                  <a:cubicBezTo>
                    <a:pt x="12614" y="4703"/>
                    <a:pt x="12613" y="4704"/>
                    <a:pt x="12612" y="4705"/>
                  </a:cubicBezTo>
                  <a:cubicBezTo>
                    <a:pt x="12600" y="4717"/>
                    <a:pt x="12577" y="4740"/>
                    <a:pt x="12597" y="4755"/>
                  </a:cubicBezTo>
                  <a:close/>
                  <a:moveTo>
                    <a:pt x="12470" y="4507"/>
                  </a:moveTo>
                  <a:cubicBezTo>
                    <a:pt x="12451" y="4541"/>
                    <a:pt x="12451" y="4541"/>
                    <a:pt x="12451" y="4541"/>
                  </a:cubicBezTo>
                  <a:cubicBezTo>
                    <a:pt x="12465" y="4540"/>
                    <a:pt x="12465" y="4540"/>
                    <a:pt x="12465" y="4540"/>
                  </a:cubicBezTo>
                  <a:cubicBezTo>
                    <a:pt x="12473" y="4522"/>
                    <a:pt x="12473" y="4522"/>
                    <a:pt x="12473" y="4522"/>
                  </a:cubicBezTo>
                  <a:lnTo>
                    <a:pt x="12470" y="4507"/>
                  </a:lnTo>
                  <a:close/>
                  <a:moveTo>
                    <a:pt x="12469" y="4666"/>
                  </a:moveTo>
                  <a:cubicBezTo>
                    <a:pt x="12531" y="4665"/>
                    <a:pt x="12531" y="4665"/>
                    <a:pt x="12531" y="4665"/>
                  </a:cubicBezTo>
                  <a:cubicBezTo>
                    <a:pt x="12563" y="4660"/>
                    <a:pt x="12563" y="4660"/>
                    <a:pt x="12563" y="4660"/>
                  </a:cubicBezTo>
                  <a:cubicBezTo>
                    <a:pt x="12589" y="4637"/>
                    <a:pt x="12589" y="4637"/>
                    <a:pt x="12589" y="4637"/>
                  </a:cubicBezTo>
                  <a:cubicBezTo>
                    <a:pt x="12588" y="4627"/>
                    <a:pt x="12588" y="4627"/>
                    <a:pt x="12588" y="4627"/>
                  </a:cubicBezTo>
                  <a:cubicBezTo>
                    <a:pt x="12567" y="4636"/>
                    <a:pt x="12567" y="4636"/>
                    <a:pt x="12567" y="4636"/>
                  </a:cubicBezTo>
                  <a:cubicBezTo>
                    <a:pt x="12548" y="4652"/>
                    <a:pt x="12548" y="4652"/>
                    <a:pt x="12548" y="4652"/>
                  </a:cubicBezTo>
                  <a:cubicBezTo>
                    <a:pt x="12548" y="4652"/>
                    <a:pt x="12537" y="4640"/>
                    <a:pt x="12526" y="4641"/>
                  </a:cubicBezTo>
                  <a:cubicBezTo>
                    <a:pt x="12516" y="4643"/>
                    <a:pt x="12504" y="4656"/>
                    <a:pt x="12504" y="4656"/>
                  </a:cubicBezTo>
                  <a:cubicBezTo>
                    <a:pt x="12504" y="4656"/>
                    <a:pt x="12494" y="4630"/>
                    <a:pt x="12476" y="4633"/>
                  </a:cubicBezTo>
                  <a:cubicBezTo>
                    <a:pt x="12459" y="4636"/>
                    <a:pt x="12437" y="4662"/>
                    <a:pt x="12437" y="4662"/>
                  </a:cubicBezTo>
                  <a:cubicBezTo>
                    <a:pt x="12413" y="4660"/>
                    <a:pt x="12413" y="4660"/>
                    <a:pt x="12413" y="4660"/>
                  </a:cubicBezTo>
                  <a:cubicBezTo>
                    <a:pt x="12406" y="4672"/>
                    <a:pt x="12406" y="4672"/>
                    <a:pt x="12406" y="4672"/>
                  </a:cubicBezTo>
                  <a:cubicBezTo>
                    <a:pt x="12422" y="4669"/>
                    <a:pt x="12422" y="4669"/>
                    <a:pt x="12422" y="4669"/>
                  </a:cubicBezTo>
                  <a:cubicBezTo>
                    <a:pt x="12422" y="4669"/>
                    <a:pt x="12434" y="4675"/>
                    <a:pt x="12446" y="4680"/>
                  </a:cubicBezTo>
                  <a:cubicBezTo>
                    <a:pt x="12457" y="4684"/>
                    <a:pt x="12469" y="4666"/>
                    <a:pt x="12469" y="4666"/>
                  </a:cubicBezTo>
                  <a:close/>
                  <a:moveTo>
                    <a:pt x="12599" y="4459"/>
                  </a:moveTo>
                  <a:cubicBezTo>
                    <a:pt x="12600" y="4443"/>
                    <a:pt x="12596" y="4431"/>
                    <a:pt x="12596" y="4431"/>
                  </a:cubicBezTo>
                  <a:cubicBezTo>
                    <a:pt x="12596" y="4431"/>
                    <a:pt x="12556" y="4399"/>
                    <a:pt x="12558" y="4387"/>
                  </a:cubicBezTo>
                  <a:cubicBezTo>
                    <a:pt x="12560" y="4375"/>
                    <a:pt x="12579" y="4362"/>
                    <a:pt x="12568" y="4352"/>
                  </a:cubicBezTo>
                  <a:cubicBezTo>
                    <a:pt x="12556" y="4342"/>
                    <a:pt x="12547" y="4339"/>
                    <a:pt x="12546" y="4331"/>
                  </a:cubicBezTo>
                  <a:cubicBezTo>
                    <a:pt x="12546" y="4322"/>
                    <a:pt x="12559" y="4303"/>
                    <a:pt x="12545" y="4297"/>
                  </a:cubicBezTo>
                  <a:cubicBezTo>
                    <a:pt x="12532" y="4292"/>
                    <a:pt x="12512" y="4275"/>
                    <a:pt x="12512" y="4275"/>
                  </a:cubicBezTo>
                  <a:cubicBezTo>
                    <a:pt x="12512" y="4275"/>
                    <a:pt x="12534" y="4280"/>
                    <a:pt x="12544" y="4270"/>
                  </a:cubicBezTo>
                  <a:cubicBezTo>
                    <a:pt x="12553" y="4261"/>
                    <a:pt x="12563" y="4239"/>
                    <a:pt x="12563" y="4239"/>
                  </a:cubicBezTo>
                  <a:cubicBezTo>
                    <a:pt x="12563" y="4239"/>
                    <a:pt x="12602" y="4241"/>
                    <a:pt x="12603" y="4233"/>
                  </a:cubicBezTo>
                  <a:cubicBezTo>
                    <a:pt x="12604" y="4224"/>
                    <a:pt x="12593" y="4209"/>
                    <a:pt x="12583" y="4208"/>
                  </a:cubicBezTo>
                  <a:cubicBezTo>
                    <a:pt x="12572" y="4208"/>
                    <a:pt x="12565" y="4226"/>
                    <a:pt x="12565" y="4226"/>
                  </a:cubicBezTo>
                  <a:cubicBezTo>
                    <a:pt x="12565" y="4226"/>
                    <a:pt x="12536" y="4218"/>
                    <a:pt x="12524" y="4222"/>
                  </a:cubicBezTo>
                  <a:cubicBezTo>
                    <a:pt x="12513" y="4225"/>
                    <a:pt x="12507" y="4254"/>
                    <a:pt x="12495" y="4255"/>
                  </a:cubicBezTo>
                  <a:cubicBezTo>
                    <a:pt x="12484" y="4255"/>
                    <a:pt x="12485" y="4235"/>
                    <a:pt x="12468" y="4225"/>
                  </a:cubicBezTo>
                  <a:cubicBezTo>
                    <a:pt x="12451" y="4215"/>
                    <a:pt x="12443" y="4218"/>
                    <a:pt x="12443" y="4218"/>
                  </a:cubicBezTo>
                  <a:cubicBezTo>
                    <a:pt x="12443" y="4218"/>
                    <a:pt x="12448" y="4159"/>
                    <a:pt x="12464" y="4158"/>
                  </a:cubicBezTo>
                  <a:cubicBezTo>
                    <a:pt x="12480" y="4157"/>
                    <a:pt x="12510" y="4168"/>
                    <a:pt x="12524" y="4164"/>
                  </a:cubicBezTo>
                  <a:cubicBezTo>
                    <a:pt x="12537" y="4161"/>
                    <a:pt x="12528" y="4149"/>
                    <a:pt x="12539" y="4151"/>
                  </a:cubicBezTo>
                  <a:cubicBezTo>
                    <a:pt x="12551" y="4152"/>
                    <a:pt x="12604" y="4178"/>
                    <a:pt x="12614" y="4179"/>
                  </a:cubicBezTo>
                  <a:cubicBezTo>
                    <a:pt x="12625" y="4179"/>
                    <a:pt x="12627" y="4170"/>
                    <a:pt x="12634" y="4166"/>
                  </a:cubicBezTo>
                  <a:cubicBezTo>
                    <a:pt x="12641" y="4162"/>
                    <a:pt x="12654" y="4168"/>
                    <a:pt x="12663" y="4163"/>
                  </a:cubicBezTo>
                  <a:cubicBezTo>
                    <a:pt x="12672" y="4157"/>
                    <a:pt x="12661" y="4152"/>
                    <a:pt x="12670" y="4143"/>
                  </a:cubicBezTo>
                  <a:cubicBezTo>
                    <a:pt x="12678" y="4134"/>
                    <a:pt x="12698" y="4125"/>
                    <a:pt x="12698" y="4125"/>
                  </a:cubicBezTo>
                  <a:cubicBezTo>
                    <a:pt x="12691" y="4105"/>
                    <a:pt x="12691" y="4105"/>
                    <a:pt x="12691" y="4105"/>
                  </a:cubicBezTo>
                  <a:cubicBezTo>
                    <a:pt x="12639" y="4127"/>
                    <a:pt x="12639" y="4127"/>
                    <a:pt x="12639" y="4127"/>
                  </a:cubicBezTo>
                  <a:cubicBezTo>
                    <a:pt x="12639" y="4127"/>
                    <a:pt x="12651" y="4140"/>
                    <a:pt x="12636" y="4141"/>
                  </a:cubicBezTo>
                  <a:cubicBezTo>
                    <a:pt x="12621" y="4142"/>
                    <a:pt x="12608" y="4133"/>
                    <a:pt x="12599" y="4133"/>
                  </a:cubicBezTo>
                  <a:cubicBezTo>
                    <a:pt x="12591" y="4133"/>
                    <a:pt x="12576" y="4146"/>
                    <a:pt x="12566" y="4144"/>
                  </a:cubicBezTo>
                  <a:cubicBezTo>
                    <a:pt x="12555" y="4141"/>
                    <a:pt x="12530" y="4129"/>
                    <a:pt x="12523" y="4129"/>
                  </a:cubicBezTo>
                  <a:cubicBezTo>
                    <a:pt x="12516" y="4129"/>
                    <a:pt x="12500" y="4129"/>
                    <a:pt x="12500" y="4129"/>
                  </a:cubicBezTo>
                  <a:cubicBezTo>
                    <a:pt x="12508" y="4117"/>
                    <a:pt x="12508" y="4117"/>
                    <a:pt x="12508" y="4117"/>
                  </a:cubicBezTo>
                  <a:cubicBezTo>
                    <a:pt x="12508" y="4117"/>
                    <a:pt x="12481" y="4110"/>
                    <a:pt x="12478" y="4113"/>
                  </a:cubicBezTo>
                  <a:cubicBezTo>
                    <a:pt x="12474" y="4117"/>
                    <a:pt x="12479" y="4134"/>
                    <a:pt x="12467" y="4141"/>
                  </a:cubicBezTo>
                  <a:cubicBezTo>
                    <a:pt x="12456" y="4148"/>
                    <a:pt x="12434" y="4146"/>
                    <a:pt x="12434" y="4152"/>
                  </a:cubicBezTo>
                  <a:cubicBezTo>
                    <a:pt x="12434" y="4158"/>
                    <a:pt x="12433" y="4172"/>
                    <a:pt x="12433" y="4172"/>
                  </a:cubicBezTo>
                  <a:cubicBezTo>
                    <a:pt x="12419" y="4174"/>
                    <a:pt x="12419" y="4174"/>
                    <a:pt x="12419" y="4174"/>
                  </a:cubicBezTo>
                  <a:cubicBezTo>
                    <a:pt x="12429" y="4221"/>
                    <a:pt x="12429" y="4221"/>
                    <a:pt x="12429" y="4221"/>
                  </a:cubicBezTo>
                  <a:cubicBezTo>
                    <a:pt x="12419" y="4220"/>
                    <a:pt x="12419" y="4220"/>
                    <a:pt x="12419" y="4220"/>
                  </a:cubicBezTo>
                  <a:cubicBezTo>
                    <a:pt x="12419" y="4220"/>
                    <a:pt x="12402" y="4245"/>
                    <a:pt x="12400" y="4255"/>
                  </a:cubicBezTo>
                  <a:cubicBezTo>
                    <a:pt x="12397" y="4265"/>
                    <a:pt x="12416" y="4285"/>
                    <a:pt x="12408" y="4294"/>
                  </a:cubicBezTo>
                  <a:cubicBezTo>
                    <a:pt x="12400" y="4303"/>
                    <a:pt x="12377" y="4309"/>
                    <a:pt x="12375" y="4322"/>
                  </a:cubicBezTo>
                  <a:cubicBezTo>
                    <a:pt x="12374" y="4336"/>
                    <a:pt x="12385" y="4349"/>
                    <a:pt x="12385" y="4349"/>
                  </a:cubicBezTo>
                  <a:cubicBezTo>
                    <a:pt x="12385" y="4349"/>
                    <a:pt x="12369" y="4363"/>
                    <a:pt x="12379" y="4370"/>
                  </a:cubicBezTo>
                  <a:cubicBezTo>
                    <a:pt x="12390" y="4377"/>
                    <a:pt x="12408" y="4362"/>
                    <a:pt x="12412" y="4374"/>
                  </a:cubicBezTo>
                  <a:cubicBezTo>
                    <a:pt x="12416" y="4386"/>
                    <a:pt x="12408" y="4395"/>
                    <a:pt x="12408" y="4395"/>
                  </a:cubicBezTo>
                  <a:cubicBezTo>
                    <a:pt x="12419" y="4409"/>
                    <a:pt x="12419" y="4409"/>
                    <a:pt x="12419" y="4409"/>
                  </a:cubicBezTo>
                  <a:cubicBezTo>
                    <a:pt x="12413" y="4453"/>
                    <a:pt x="12413" y="4453"/>
                    <a:pt x="12413" y="4453"/>
                  </a:cubicBezTo>
                  <a:cubicBezTo>
                    <a:pt x="12413" y="4453"/>
                    <a:pt x="12389" y="4467"/>
                    <a:pt x="12401" y="4491"/>
                  </a:cubicBezTo>
                  <a:cubicBezTo>
                    <a:pt x="12412" y="4515"/>
                    <a:pt x="12428" y="4515"/>
                    <a:pt x="12446" y="4497"/>
                  </a:cubicBezTo>
                  <a:cubicBezTo>
                    <a:pt x="12463" y="4480"/>
                    <a:pt x="12443" y="4451"/>
                    <a:pt x="12443" y="4451"/>
                  </a:cubicBezTo>
                  <a:cubicBezTo>
                    <a:pt x="12443" y="4451"/>
                    <a:pt x="12464" y="4436"/>
                    <a:pt x="12464" y="4415"/>
                  </a:cubicBezTo>
                  <a:cubicBezTo>
                    <a:pt x="12463" y="4393"/>
                    <a:pt x="12472" y="4374"/>
                    <a:pt x="12465" y="4361"/>
                  </a:cubicBezTo>
                  <a:cubicBezTo>
                    <a:pt x="12457" y="4349"/>
                    <a:pt x="12453" y="4324"/>
                    <a:pt x="12455" y="4319"/>
                  </a:cubicBezTo>
                  <a:cubicBezTo>
                    <a:pt x="12456" y="4314"/>
                    <a:pt x="12462" y="4286"/>
                    <a:pt x="12472" y="4304"/>
                  </a:cubicBezTo>
                  <a:cubicBezTo>
                    <a:pt x="12483" y="4322"/>
                    <a:pt x="12483" y="4353"/>
                    <a:pt x="12483" y="4353"/>
                  </a:cubicBezTo>
                  <a:cubicBezTo>
                    <a:pt x="12506" y="4379"/>
                    <a:pt x="12506" y="4379"/>
                    <a:pt x="12506" y="4379"/>
                  </a:cubicBezTo>
                  <a:cubicBezTo>
                    <a:pt x="12503" y="4414"/>
                    <a:pt x="12503" y="4414"/>
                    <a:pt x="12503" y="4414"/>
                  </a:cubicBezTo>
                  <a:cubicBezTo>
                    <a:pt x="12520" y="4436"/>
                    <a:pt x="12520" y="4436"/>
                    <a:pt x="12520" y="4436"/>
                  </a:cubicBezTo>
                  <a:cubicBezTo>
                    <a:pt x="12521" y="4460"/>
                    <a:pt x="12521" y="4460"/>
                    <a:pt x="12521" y="4460"/>
                  </a:cubicBezTo>
                  <a:cubicBezTo>
                    <a:pt x="12530" y="4509"/>
                    <a:pt x="12530" y="4509"/>
                    <a:pt x="12530" y="4509"/>
                  </a:cubicBezTo>
                  <a:cubicBezTo>
                    <a:pt x="12540" y="4499"/>
                    <a:pt x="12540" y="4499"/>
                    <a:pt x="12540" y="4499"/>
                  </a:cubicBezTo>
                  <a:cubicBezTo>
                    <a:pt x="12567" y="4507"/>
                    <a:pt x="12567" y="4507"/>
                    <a:pt x="12567" y="4507"/>
                  </a:cubicBezTo>
                  <a:cubicBezTo>
                    <a:pt x="12567" y="4507"/>
                    <a:pt x="12569" y="4490"/>
                    <a:pt x="12568" y="4477"/>
                  </a:cubicBezTo>
                  <a:cubicBezTo>
                    <a:pt x="12567" y="4464"/>
                    <a:pt x="12574" y="4457"/>
                    <a:pt x="12574" y="4457"/>
                  </a:cubicBezTo>
                  <a:cubicBezTo>
                    <a:pt x="12580" y="4473"/>
                    <a:pt x="12580" y="4473"/>
                    <a:pt x="12580" y="4473"/>
                  </a:cubicBezTo>
                  <a:cubicBezTo>
                    <a:pt x="12580" y="4473"/>
                    <a:pt x="12597" y="4475"/>
                    <a:pt x="12599" y="4459"/>
                  </a:cubicBezTo>
                  <a:close/>
                  <a:moveTo>
                    <a:pt x="12583" y="4272"/>
                  </a:moveTo>
                  <a:cubicBezTo>
                    <a:pt x="12583" y="4285"/>
                    <a:pt x="12583" y="4285"/>
                    <a:pt x="12583" y="4285"/>
                  </a:cubicBezTo>
                  <a:cubicBezTo>
                    <a:pt x="12583" y="4285"/>
                    <a:pt x="12598" y="4297"/>
                    <a:pt x="12605" y="4280"/>
                  </a:cubicBezTo>
                  <a:cubicBezTo>
                    <a:pt x="12613" y="4264"/>
                    <a:pt x="12583" y="4272"/>
                    <a:pt x="12583" y="4272"/>
                  </a:cubicBezTo>
                  <a:close/>
                  <a:moveTo>
                    <a:pt x="13088" y="6319"/>
                  </a:moveTo>
                  <a:cubicBezTo>
                    <a:pt x="13081" y="6346"/>
                    <a:pt x="13081" y="6346"/>
                    <a:pt x="13081" y="6346"/>
                  </a:cubicBezTo>
                  <a:cubicBezTo>
                    <a:pt x="13115" y="6314"/>
                    <a:pt x="13115" y="6314"/>
                    <a:pt x="13115" y="6314"/>
                  </a:cubicBezTo>
                  <a:lnTo>
                    <a:pt x="13088" y="6319"/>
                  </a:lnTo>
                  <a:close/>
                  <a:moveTo>
                    <a:pt x="11727" y="4185"/>
                  </a:moveTo>
                  <a:cubicBezTo>
                    <a:pt x="11710" y="4172"/>
                    <a:pt x="11710" y="4172"/>
                    <a:pt x="11710" y="4172"/>
                  </a:cubicBezTo>
                  <a:cubicBezTo>
                    <a:pt x="11708" y="4195"/>
                    <a:pt x="11708" y="4195"/>
                    <a:pt x="11708" y="4195"/>
                  </a:cubicBezTo>
                  <a:cubicBezTo>
                    <a:pt x="11727" y="4206"/>
                    <a:pt x="11727" y="4206"/>
                    <a:pt x="11727" y="4206"/>
                  </a:cubicBezTo>
                  <a:lnTo>
                    <a:pt x="11727" y="4185"/>
                  </a:lnTo>
                  <a:close/>
                  <a:moveTo>
                    <a:pt x="11714" y="4134"/>
                  </a:moveTo>
                  <a:cubicBezTo>
                    <a:pt x="11709" y="4122"/>
                    <a:pt x="11695" y="4129"/>
                    <a:pt x="11705" y="4145"/>
                  </a:cubicBezTo>
                  <a:cubicBezTo>
                    <a:pt x="11716" y="4164"/>
                    <a:pt x="11719" y="4146"/>
                    <a:pt x="11714" y="4134"/>
                  </a:cubicBezTo>
                  <a:close/>
                  <a:moveTo>
                    <a:pt x="11565" y="4097"/>
                  </a:moveTo>
                  <a:cubicBezTo>
                    <a:pt x="11569" y="4111"/>
                    <a:pt x="11594" y="4094"/>
                    <a:pt x="11582" y="4085"/>
                  </a:cubicBezTo>
                  <a:cubicBezTo>
                    <a:pt x="11570" y="4075"/>
                    <a:pt x="11559" y="4081"/>
                    <a:pt x="11565" y="4097"/>
                  </a:cubicBezTo>
                  <a:close/>
                  <a:moveTo>
                    <a:pt x="11290" y="4037"/>
                  </a:moveTo>
                  <a:cubicBezTo>
                    <a:pt x="11285" y="4042"/>
                    <a:pt x="11283" y="4058"/>
                    <a:pt x="11295" y="4059"/>
                  </a:cubicBezTo>
                  <a:cubicBezTo>
                    <a:pt x="11307" y="4061"/>
                    <a:pt x="11310" y="4074"/>
                    <a:pt x="11321" y="4066"/>
                  </a:cubicBezTo>
                  <a:cubicBezTo>
                    <a:pt x="11328" y="4060"/>
                    <a:pt x="11295" y="4031"/>
                    <a:pt x="11290" y="4037"/>
                  </a:cubicBezTo>
                  <a:close/>
                  <a:moveTo>
                    <a:pt x="12963" y="4199"/>
                  </a:moveTo>
                  <a:cubicBezTo>
                    <a:pt x="12946" y="4196"/>
                    <a:pt x="12935" y="4201"/>
                    <a:pt x="12935" y="4201"/>
                  </a:cubicBezTo>
                  <a:cubicBezTo>
                    <a:pt x="12939" y="4219"/>
                    <a:pt x="12939" y="4219"/>
                    <a:pt x="12939" y="4219"/>
                  </a:cubicBezTo>
                  <a:cubicBezTo>
                    <a:pt x="12948" y="4218"/>
                    <a:pt x="12976" y="4213"/>
                    <a:pt x="12976" y="4213"/>
                  </a:cubicBezTo>
                  <a:cubicBezTo>
                    <a:pt x="12976" y="4213"/>
                    <a:pt x="12980" y="4201"/>
                    <a:pt x="12963" y="4199"/>
                  </a:cubicBezTo>
                  <a:close/>
                  <a:moveTo>
                    <a:pt x="11713" y="4250"/>
                  </a:moveTo>
                  <a:cubicBezTo>
                    <a:pt x="11710" y="4216"/>
                    <a:pt x="11710" y="4216"/>
                    <a:pt x="11710" y="4216"/>
                  </a:cubicBezTo>
                  <a:cubicBezTo>
                    <a:pt x="11696" y="4229"/>
                    <a:pt x="11696" y="4229"/>
                    <a:pt x="11696" y="4229"/>
                  </a:cubicBezTo>
                  <a:lnTo>
                    <a:pt x="11713" y="4250"/>
                  </a:lnTo>
                  <a:close/>
                  <a:moveTo>
                    <a:pt x="12415" y="4728"/>
                  </a:moveTo>
                  <a:cubicBezTo>
                    <a:pt x="12428" y="4728"/>
                    <a:pt x="12418" y="4737"/>
                    <a:pt x="12428" y="4747"/>
                  </a:cubicBezTo>
                  <a:cubicBezTo>
                    <a:pt x="12439" y="4757"/>
                    <a:pt x="12459" y="4748"/>
                    <a:pt x="12459" y="4748"/>
                  </a:cubicBezTo>
                  <a:cubicBezTo>
                    <a:pt x="12459" y="4748"/>
                    <a:pt x="12455" y="4729"/>
                    <a:pt x="12442" y="4712"/>
                  </a:cubicBezTo>
                  <a:cubicBezTo>
                    <a:pt x="12428" y="4694"/>
                    <a:pt x="12403" y="4707"/>
                    <a:pt x="12403" y="4707"/>
                  </a:cubicBezTo>
                  <a:cubicBezTo>
                    <a:pt x="12380" y="4700"/>
                    <a:pt x="12380" y="4700"/>
                    <a:pt x="12380" y="4700"/>
                  </a:cubicBezTo>
                  <a:cubicBezTo>
                    <a:pt x="12373" y="4706"/>
                    <a:pt x="12374" y="4707"/>
                    <a:pt x="12384" y="4723"/>
                  </a:cubicBezTo>
                  <a:cubicBezTo>
                    <a:pt x="12395" y="4739"/>
                    <a:pt x="12402" y="4728"/>
                    <a:pt x="12415" y="4728"/>
                  </a:cubicBezTo>
                  <a:close/>
                  <a:moveTo>
                    <a:pt x="11858" y="4331"/>
                  </a:moveTo>
                  <a:cubicBezTo>
                    <a:pt x="11839" y="4332"/>
                    <a:pt x="11845" y="4351"/>
                    <a:pt x="11851" y="4369"/>
                  </a:cubicBezTo>
                  <a:cubicBezTo>
                    <a:pt x="11866" y="4363"/>
                    <a:pt x="11866" y="4363"/>
                    <a:pt x="11866" y="4363"/>
                  </a:cubicBezTo>
                  <a:cubicBezTo>
                    <a:pt x="11879" y="4376"/>
                    <a:pt x="11879" y="4376"/>
                    <a:pt x="11879" y="4376"/>
                  </a:cubicBezTo>
                  <a:cubicBezTo>
                    <a:pt x="11885" y="4359"/>
                    <a:pt x="11885" y="4359"/>
                    <a:pt x="11885" y="4359"/>
                  </a:cubicBezTo>
                  <a:cubicBezTo>
                    <a:pt x="11885" y="4359"/>
                    <a:pt x="11877" y="4329"/>
                    <a:pt x="11858" y="4331"/>
                  </a:cubicBezTo>
                  <a:close/>
                  <a:moveTo>
                    <a:pt x="11735" y="4304"/>
                  </a:moveTo>
                  <a:cubicBezTo>
                    <a:pt x="11762" y="4303"/>
                    <a:pt x="11762" y="4303"/>
                    <a:pt x="11762" y="4303"/>
                  </a:cubicBezTo>
                  <a:cubicBezTo>
                    <a:pt x="11762" y="4303"/>
                    <a:pt x="11767" y="4332"/>
                    <a:pt x="11778" y="4344"/>
                  </a:cubicBezTo>
                  <a:cubicBezTo>
                    <a:pt x="11788" y="4356"/>
                    <a:pt x="11814" y="4356"/>
                    <a:pt x="11814" y="4356"/>
                  </a:cubicBezTo>
                  <a:cubicBezTo>
                    <a:pt x="11813" y="4328"/>
                    <a:pt x="11813" y="4328"/>
                    <a:pt x="11813" y="4328"/>
                  </a:cubicBezTo>
                  <a:cubicBezTo>
                    <a:pt x="11801" y="4320"/>
                    <a:pt x="11801" y="4320"/>
                    <a:pt x="11801" y="4320"/>
                  </a:cubicBezTo>
                  <a:cubicBezTo>
                    <a:pt x="11800" y="4300"/>
                    <a:pt x="11800" y="4300"/>
                    <a:pt x="11800" y="4300"/>
                  </a:cubicBezTo>
                  <a:cubicBezTo>
                    <a:pt x="11800" y="4300"/>
                    <a:pt x="11785" y="4275"/>
                    <a:pt x="11763" y="4269"/>
                  </a:cubicBezTo>
                  <a:cubicBezTo>
                    <a:pt x="11741" y="4263"/>
                    <a:pt x="11742" y="4288"/>
                    <a:pt x="11742" y="4288"/>
                  </a:cubicBezTo>
                  <a:cubicBezTo>
                    <a:pt x="11742" y="4288"/>
                    <a:pt x="11728" y="4284"/>
                    <a:pt x="11735" y="4304"/>
                  </a:cubicBezTo>
                  <a:close/>
                  <a:moveTo>
                    <a:pt x="12723" y="3710"/>
                  </a:moveTo>
                  <a:cubicBezTo>
                    <a:pt x="12712" y="3705"/>
                    <a:pt x="12687" y="3669"/>
                    <a:pt x="12678" y="3677"/>
                  </a:cubicBezTo>
                  <a:cubicBezTo>
                    <a:pt x="12670" y="3685"/>
                    <a:pt x="12702" y="3708"/>
                    <a:pt x="12695" y="3712"/>
                  </a:cubicBezTo>
                  <a:cubicBezTo>
                    <a:pt x="12688" y="3715"/>
                    <a:pt x="12658" y="3718"/>
                    <a:pt x="12658" y="3718"/>
                  </a:cubicBezTo>
                  <a:cubicBezTo>
                    <a:pt x="12658" y="3739"/>
                    <a:pt x="12658" y="3739"/>
                    <a:pt x="12658" y="3739"/>
                  </a:cubicBezTo>
                  <a:cubicBezTo>
                    <a:pt x="12644" y="3738"/>
                    <a:pt x="12644" y="3738"/>
                    <a:pt x="12644" y="3738"/>
                  </a:cubicBezTo>
                  <a:cubicBezTo>
                    <a:pt x="12640" y="3753"/>
                    <a:pt x="12640" y="3753"/>
                    <a:pt x="12640" y="3753"/>
                  </a:cubicBezTo>
                  <a:cubicBezTo>
                    <a:pt x="12623" y="3762"/>
                    <a:pt x="12623" y="3762"/>
                    <a:pt x="12623" y="3762"/>
                  </a:cubicBezTo>
                  <a:cubicBezTo>
                    <a:pt x="12623" y="3762"/>
                    <a:pt x="12598" y="3746"/>
                    <a:pt x="12589" y="3754"/>
                  </a:cubicBezTo>
                  <a:cubicBezTo>
                    <a:pt x="12581" y="3762"/>
                    <a:pt x="12565" y="3790"/>
                    <a:pt x="12565" y="3790"/>
                  </a:cubicBezTo>
                  <a:cubicBezTo>
                    <a:pt x="12565" y="3790"/>
                    <a:pt x="12555" y="3771"/>
                    <a:pt x="12550" y="3780"/>
                  </a:cubicBezTo>
                  <a:cubicBezTo>
                    <a:pt x="12545" y="3790"/>
                    <a:pt x="12533" y="3813"/>
                    <a:pt x="12533" y="3813"/>
                  </a:cubicBezTo>
                  <a:cubicBezTo>
                    <a:pt x="12546" y="3826"/>
                    <a:pt x="12546" y="3826"/>
                    <a:pt x="12546" y="3826"/>
                  </a:cubicBezTo>
                  <a:cubicBezTo>
                    <a:pt x="12560" y="3813"/>
                    <a:pt x="12560" y="3813"/>
                    <a:pt x="12560" y="3813"/>
                  </a:cubicBezTo>
                  <a:cubicBezTo>
                    <a:pt x="12569" y="3829"/>
                    <a:pt x="12569" y="3829"/>
                    <a:pt x="12569" y="3829"/>
                  </a:cubicBezTo>
                  <a:cubicBezTo>
                    <a:pt x="12569" y="3829"/>
                    <a:pt x="12596" y="3807"/>
                    <a:pt x="12603" y="3807"/>
                  </a:cubicBezTo>
                  <a:cubicBezTo>
                    <a:pt x="12610" y="3807"/>
                    <a:pt x="12632" y="3828"/>
                    <a:pt x="12632" y="3828"/>
                  </a:cubicBezTo>
                  <a:cubicBezTo>
                    <a:pt x="12632" y="3828"/>
                    <a:pt x="12622" y="3834"/>
                    <a:pt x="12622" y="3843"/>
                  </a:cubicBezTo>
                  <a:cubicBezTo>
                    <a:pt x="12622" y="3851"/>
                    <a:pt x="12640" y="3887"/>
                    <a:pt x="12649" y="3890"/>
                  </a:cubicBezTo>
                  <a:cubicBezTo>
                    <a:pt x="12658" y="3893"/>
                    <a:pt x="12682" y="3900"/>
                    <a:pt x="12682" y="3900"/>
                  </a:cubicBezTo>
                  <a:cubicBezTo>
                    <a:pt x="12695" y="3887"/>
                    <a:pt x="12695" y="3887"/>
                    <a:pt x="12695" y="3887"/>
                  </a:cubicBezTo>
                  <a:cubicBezTo>
                    <a:pt x="12697" y="3903"/>
                    <a:pt x="12697" y="3903"/>
                    <a:pt x="12697" y="3903"/>
                  </a:cubicBezTo>
                  <a:cubicBezTo>
                    <a:pt x="12711" y="3905"/>
                    <a:pt x="12711" y="3905"/>
                    <a:pt x="12711" y="3905"/>
                  </a:cubicBezTo>
                  <a:cubicBezTo>
                    <a:pt x="12712" y="3879"/>
                    <a:pt x="12712" y="3879"/>
                    <a:pt x="12712" y="3879"/>
                  </a:cubicBezTo>
                  <a:cubicBezTo>
                    <a:pt x="12712" y="3879"/>
                    <a:pt x="12692" y="3857"/>
                    <a:pt x="12697" y="3844"/>
                  </a:cubicBezTo>
                  <a:cubicBezTo>
                    <a:pt x="12702" y="3831"/>
                    <a:pt x="12709" y="3828"/>
                    <a:pt x="12709" y="3828"/>
                  </a:cubicBezTo>
                  <a:cubicBezTo>
                    <a:pt x="12726" y="3862"/>
                    <a:pt x="12726" y="3862"/>
                    <a:pt x="12726" y="3862"/>
                  </a:cubicBezTo>
                  <a:cubicBezTo>
                    <a:pt x="12726" y="3862"/>
                    <a:pt x="12745" y="3836"/>
                    <a:pt x="12745" y="3820"/>
                  </a:cubicBezTo>
                  <a:cubicBezTo>
                    <a:pt x="12745" y="3803"/>
                    <a:pt x="12733" y="3785"/>
                    <a:pt x="12733" y="3785"/>
                  </a:cubicBezTo>
                  <a:cubicBezTo>
                    <a:pt x="12733" y="3746"/>
                    <a:pt x="12733" y="3746"/>
                    <a:pt x="12733" y="3746"/>
                  </a:cubicBezTo>
                  <a:cubicBezTo>
                    <a:pt x="12733" y="3746"/>
                    <a:pt x="12733" y="3715"/>
                    <a:pt x="12723" y="3710"/>
                  </a:cubicBezTo>
                  <a:close/>
                  <a:moveTo>
                    <a:pt x="12682" y="4300"/>
                  </a:moveTo>
                  <a:cubicBezTo>
                    <a:pt x="12735" y="4290"/>
                    <a:pt x="12735" y="4290"/>
                    <a:pt x="12735" y="4290"/>
                  </a:cubicBezTo>
                  <a:cubicBezTo>
                    <a:pt x="12682" y="4288"/>
                    <a:pt x="12682" y="4288"/>
                    <a:pt x="12682" y="4288"/>
                  </a:cubicBezTo>
                  <a:cubicBezTo>
                    <a:pt x="12682" y="4288"/>
                    <a:pt x="12660" y="4276"/>
                    <a:pt x="12653" y="4279"/>
                  </a:cubicBezTo>
                  <a:cubicBezTo>
                    <a:pt x="12647" y="4282"/>
                    <a:pt x="12644" y="4291"/>
                    <a:pt x="12644" y="4291"/>
                  </a:cubicBezTo>
                  <a:cubicBezTo>
                    <a:pt x="12651" y="4305"/>
                    <a:pt x="12682" y="4300"/>
                    <a:pt x="12682" y="4300"/>
                  </a:cubicBezTo>
                  <a:close/>
                  <a:moveTo>
                    <a:pt x="12655" y="4644"/>
                  </a:moveTo>
                  <a:cubicBezTo>
                    <a:pt x="12655" y="4625"/>
                    <a:pt x="12655" y="4625"/>
                    <a:pt x="12655" y="4625"/>
                  </a:cubicBezTo>
                  <a:cubicBezTo>
                    <a:pt x="12634" y="4639"/>
                    <a:pt x="12634" y="4639"/>
                    <a:pt x="12634" y="4639"/>
                  </a:cubicBezTo>
                  <a:lnTo>
                    <a:pt x="12655" y="4644"/>
                  </a:lnTo>
                  <a:close/>
                  <a:moveTo>
                    <a:pt x="12704" y="4603"/>
                  </a:moveTo>
                  <a:cubicBezTo>
                    <a:pt x="12692" y="4625"/>
                    <a:pt x="12692" y="4625"/>
                    <a:pt x="12692" y="4625"/>
                  </a:cubicBezTo>
                  <a:cubicBezTo>
                    <a:pt x="12742" y="4613"/>
                    <a:pt x="12742" y="4613"/>
                    <a:pt x="12742" y="4613"/>
                  </a:cubicBezTo>
                  <a:lnTo>
                    <a:pt x="12704" y="4603"/>
                  </a:lnTo>
                  <a:close/>
                  <a:moveTo>
                    <a:pt x="12769" y="3949"/>
                  </a:moveTo>
                  <a:cubicBezTo>
                    <a:pt x="12758" y="3949"/>
                    <a:pt x="12758" y="3949"/>
                    <a:pt x="12758" y="3949"/>
                  </a:cubicBezTo>
                  <a:cubicBezTo>
                    <a:pt x="12754" y="3968"/>
                    <a:pt x="12754" y="3968"/>
                    <a:pt x="12754" y="3968"/>
                  </a:cubicBezTo>
                  <a:cubicBezTo>
                    <a:pt x="12757" y="3987"/>
                    <a:pt x="12757" y="3987"/>
                    <a:pt x="12757" y="3987"/>
                  </a:cubicBezTo>
                  <a:cubicBezTo>
                    <a:pt x="12769" y="3977"/>
                    <a:pt x="12769" y="3977"/>
                    <a:pt x="12769" y="3977"/>
                  </a:cubicBezTo>
                  <a:lnTo>
                    <a:pt x="12769" y="3949"/>
                  </a:lnTo>
                  <a:close/>
                  <a:moveTo>
                    <a:pt x="12514" y="3620"/>
                  </a:moveTo>
                  <a:cubicBezTo>
                    <a:pt x="12519" y="3630"/>
                    <a:pt x="12527" y="3640"/>
                    <a:pt x="12527" y="3640"/>
                  </a:cubicBezTo>
                  <a:cubicBezTo>
                    <a:pt x="12527" y="3640"/>
                    <a:pt x="12543" y="3623"/>
                    <a:pt x="12548" y="3627"/>
                  </a:cubicBezTo>
                  <a:cubicBezTo>
                    <a:pt x="12553" y="3630"/>
                    <a:pt x="12553" y="3649"/>
                    <a:pt x="12553" y="3649"/>
                  </a:cubicBezTo>
                  <a:cubicBezTo>
                    <a:pt x="12562" y="3658"/>
                    <a:pt x="12562" y="3658"/>
                    <a:pt x="12562" y="3658"/>
                  </a:cubicBezTo>
                  <a:cubicBezTo>
                    <a:pt x="12562" y="3658"/>
                    <a:pt x="12539" y="3692"/>
                    <a:pt x="12539" y="3699"/>
                  </a:cubicBezTo>
                  <a:cubicBezTo>
                    <a:pt x="12539" y="3705"/>
                    <a:pt x="12539" y="3725"/>
                    <a:pt x="12555" y="3721"/>
                  </a:cubicBezTo>
                  <a:cubicBezTo>
                    <a:pt x="12570" y="3718"/>
                    <a:pt x="12593" y="3713"/>
                    <a:pt x="12584" y="3699"/>
                  </a:cubicBezTo>
                  <a:cubicBezTo>
                    <a:pt x="12575" y="3684"/>
                    <a:pt x="12574" y="3672"/>
                    <a:pt x="12582" y="3649"/>
                  </a:cubicBezTo>
                  <a:cubicBezTo>
                    <a:pt x="12591" y="3627"/>
                    <a:pt x="12584" y="3610"/>
                    <a:pt x="12577" y="3617"/>
                  </a:cubicBezTo>
                  <a:cubicBezTo>
                    <a:pt x="12570" y="3623"/>
                    <a:pt x="12557" y="3631"/>
                    <a:pt x="12557" y="3623"/>
                  </a:cubicBezTo>
                  <a:cubicBezTo>
                    <a:pt x="12557" y="3615"/>
                    <a:pt x="12577" y="3584"/>
                    <a:pt x="12565" y="3581"/>
                  </a:cubicBezTo>
                  <a:cubicBezTo>
                    <a:pt x="12553" y="3577"/>
                    <a:pt x="12531" y="3564"/>
                    <a:pt x="12531" y="3564"/>
                  </a:cubicBezTo>
                  <a:cubicBezTo>
                    <a:pt x="12531" y="3564"/>
                    <a:pt x="12510" y="3559"/>
                    <a:pt x="12509" y="3566"/>
                  </a:cubicBezTo>
                  <a:cubicBezTo>
                    <a:pt x="12507" y="3573"/>
                    <a:pt x="12521" y="3584"/>
                    <a:pt x="12521" y="3584"/>
                  </a:cubicBezTo>
                  <a:cubicBezTo>
                    <a:pt x="12521" y="3584"/>
                    <a:pt x="12509" y="3610"/>
                    <a:pt x="12514" y="3620"/>
                  </a:cubicBezTo>
                  <a:close/>
                  <a:moveTo>
                    <a:pt x="12541" y="3865"/>
                  </a:moveTo>
                  <a:cubicBezTo>
                    <a:pt x="12526" y="3854"/>
                    <a:pt x="12526" y="3854"/>
                    <a:pt x="12526" y="3854"/>
                  </a:cubicBezTo>
                  <a:cubicBezTo>
                    <a:pt x="12514" y="3870"/>
                    <a:pt x="12514" y="3870"/>
                    <a:pt x="12514" y="3870"/>
                  </a:cubicBezTo>
                  <a:cubicBezTo>
                    <a:pt x="12539" y="3892"/>
                    <a:pt x="12539" y="3892"/>
                    <a:pt x="12539" y="3892"/>
                  </a:cubicBezTo>
                  <a:lnTo>
                    <a:pt x="12541" y="3865"/>
                  </a:lnTo>
                  <a:close/>
                  <a:moveTo>
                    <a:pt x="12673" y="3627"/>
                  </a:moveTo>
                  <a:cubicBezTo>
                    <a:pt x="12654" y="3620"/>
                    <a:pt x="12654" y="3620"/>
                    <a:pt x="12654" y="3620"/>
                  </a:cubicBezTo>
                  <a:cubicBezTo>
                    <a:pt x="12654" y="3620"/>
                    <a:pt x="12646" y="3610"/>
                    <a:pt x="12642" y="3602"/>
                  </a:cubicBezTo>
                  <a:cubicBezTo>
                    <a:pt x="12639" y="3594"/>
                    <a:pt x="12615" y="3599"/>
                    <a:pt x="12615" y="3599"/>
                  </a:cubicBezTo>
                  <a:cubicBezTo>
                    <a:pt x="12618" y="3628"/>
                    <a:pt x="12618" y="3628"/>
                    <a:pt x="12618" y="3628"/>
                  </a:cubicBezTo>
                  <a:cubicBezTo>
                    <a:pt x="12634" y="3622"/>
                    <a:pt x="12634" y="3622"/>
                    <a:pt x="12634" y="3622"/>
                  </a:cubicBezTo>
                  <a:cubicBezTo>
                    <a:pt x="12640" y="3638"/>
                    <a:pt x="12640" y="3638"/>
                    <a:pt x="12640" y="3638"/>
                  </a:cubicBezTo>
                  <a:cubicBezTo>
                    <a:pt x="12673" y="3663"/>
                    <a:pt x="12673" y="3663"/>
                    <a:pt x="12673" y="3663"/>
                  </a:cubicBezTo>
                  <a:lnTo>
                    <a:pt x="12673" y="3627"/>
                  </a:lnTo>
                  <a:close/>
                  <a:moveTo>
                    <a:pt x="12737" y="4360"/>
                  </a:moveTo>
                  <a:cubicBezTo>
                    <a:pt x="12737" y="4360"/>
                    <a:pt x="12730" y="4379"/>
                    <a:pt x="12744" y="4388"/>
                  </a:cubicBezTo>
                  <a:cubicBezTo>
                    <a:pt x="12757" y="4398"/>
                    <a:pt x="12776" y="4394"/>
                    <a:pt x="12776" y="4394"/>
                  </a:cubicBezTo>
                  <a:cubicBezTo>
                    <a:pt x="12784" y="4383"/>
                    <a:pt x="12772" y="4356"/>
                    <a:pt x="12772" y="4356"/>
                  </a:cubicBezTo>
                  <a:cubicBezTo>
                    <a:pt x="12760" y="4359"/>
                    <a:pt x="12760" y="4359"/>
                    <a:pt x="12760" y="4359"/>
                  </a:cubicBezTo>
                  <a:cubicBezTo>
                    <a:pt x="12751" y="4349"/>
                    <a:pt x="12751" y="4349"/>
                    <a:pt x="12751" y="4349"/>
                  </a:cubicBezTo>
                  <a:lnTo>
                    <a:pt x="12737" y="4360"/>
                  </a:lnTo>
                  <a:close/>
                  <a:moveTo>
                    <a:pt x="12681" y="3971"/>
                  </a:moveTo>
                  <a:cubicBezTo>
                    <a:pt x="12692" y="3949"/>
                    <a:pt x="12692" y="3949"/>
                    <a:pt x="12692" y="3949"/>
                  </a:cubicBezTo>
                  <a:cubicBezTo>
                    <a:pt x="12677" y="3944"/>
                    <a:pt x="12677" y="3944"/>
                    <a:pt x="12677" y="3944"/>
                  </a:cubicBezTo>
                  <a:lnTo>
                    <a:pt x="12681" y="3971"/>
                  </a:lnTo>
                  <a:close/>
                  <a:moveTo>
                    <a:pt x="12619" y="3680"/>
                  </a:moveTo>
                  <a:cubicBezTo>
                    <a:pt x="12640" y="3678"/>
                    <a:pt x="12640" y="3678"/>
                    <a:pt x="12640" y="3678"/>
                  </a:cubicBezTo>
                  <a:cubicBezTo>
                    <a:pt x="12643" y="3661"/>
                    <a:pt x="12643" y="3661"/>
                    <a:pt x="12643" y="3661"/>
                  </a:cubicBezTo>
                  <a:cubicBezTo>
                    <a:pt x="12625" y="3655"/>
                    <a:pt x="12625" y="3655"/>
                    <a:pt x="12625" y="3655"/>
                  </a:cubicBezTo>
                  <a:lnTo>
                    <a:pt x="12619" y="3680"/>
                  </a:lnTo>
                  <a:close/>
                  <a:moveTo>
                    <a:pt x="12387" y="4660"/>
                  </a:moveTo>
                  <a:cubicBezTo>
                    <a:pt x="12392" y="4643"/>
                    <a:pt x="12391" y="4631"/>
                    <a:pt x="12382" y="4628"/>
                  </a:cubicBezTo>
                  <a:cubicBezTo>
                    <a:pt x="12373" y="4625"/>
                    <a:pt x="12366" y="4631"/>
                    <a:pt x="12366" y="4631"/>
                  </a:cubicBezTo>
                  <a:cubicBezTo>
                    <a:pt x="12335" y="4624"/>
                    <a:pt x="12335" y="4624"/>
                    <a:pt x="12335" y="4624"/>
                  </a:cubicBezTo>
                  <a:cubicBezTo>
                    <a:pt x="12354" y="4651"/>
                    <a:pt x="12354" y="4651"/>
                    <a:pt x="12354" y="4651"/>
                  </a:cubicBezTo>
                  <a:cubicBezTo>
                    <a:pt x="12354" y="4651"/>
                    <a:pt x="12381" y="4678"/>
                    <a:pt x="12387" y="4660"/>
                  </a:cubicBezTo>
                  <a:close/>
                  <a:moveTo>
                    <a:pt x="12297" y="4695"/>
                  </a:moveTo>
                  <a:cubicBezTo>
                    <a:pt x="12312" y="4693"/>
                    <a:pt x="12312" y="4693"/>
                    <a:pt x="12312" y="4693"/>
                  </a:cubicBezTo>
                  <a:cubicBezTo>
                    <a:pt x="12318" y="4679"/>
                    <a:pt x="12318" y="4679"/>
                    <a:pt x="12318" y="4679"/>
                  </a:cubicBezTo>
                  <a:cubicBezTo>
                    <a:pt x="12337" y="4690"/>
                    <a:pt x="12337" y="4690"/>
                    <a:pt x="12337" y="4690"/>
                  </a:cubicBezTo>
                  <a:cubicBezTo>
                    <a:pt x="12356" y="4668"/>
                    <a:pt x="12356" y="4668"/>
                    <a:pt x="12356" y="4668"/>
                  </a:cubicBezTo>
                  <a:cubicBezTo>
                    <a:pt x="12322" y="4656"/>
                    <a:pt x="12322" y="4656"/>
                    <a:pt x="12322" y="4656"/>
                  </a:cubicBezTo>
                  <a:cubicBezTo>
                    <a:pt x="12311" y="4659"/>
                    <a:pt x="12311" y="4659"/>
                    <a:pt x="12311" y="4659"/>
                  </a:cubicBezTo>
                  <a:cubicBezTo>
                    <a:pt x="12311" y="4659"/>
                    <a:pt x="12297" y="4644"/>
                    <a:pt x="12289" y="4646"/>
                  </a:cubicBezTo>
                  <a:cubicBezTo>
                    <a:pt x="12280" y="4647"/>
                    <a:pt x="12261" y="4676"/>
                    <a:pt x="12261" y="4676"/>
                  </a:cubicBezTo>
                  <a:cubicBezTo>
                    <a:pt x="12296" y="4681"/>
                    <a:pt x="12296" y="4681"/>
                    <a:pt x="12296" y="4681"/>
                  </a:cubicBezTo>
                  <a:lnTo>
                    <a:pt x="12297" y="4695"/>
                  </a:lnTo>
                  <a:close/>
                  <a:moveTo>
                    <a:pt x="12293" y="3762"/>
                  </a:moveTo>
                  <a:cubicBezTo>
                    <a:pt x="12313" y="3743"/>
                    <a:pt x="12313" y="3743"/>
                    <a:pt x="12313" y="3743"/>
                  </a:cubicBezTo>
                  <a:cubicBezTo>
                    <a:pt x="12313" y="3743"/>
                    <a:pt x="12310" y="3728"/>
                    <a:pt x="12318" y="3728"/>
                  </a:cubicBezTo>
                  <a:cubicBezTo>
                    <a:pt x="12327" y="3728"/>
                    <a:pt x="12337" y="3725"/>
                    <a:pt x="12344" y="3720"/>
                  </a:cubicBezTo>
                  <a:cubicBezTo>
                    <a:pt x="12351" y="3715"/>
                    <a:pt x="12344" y="3699"/>
                    <a:pt x="12353" y="3689"/>
                  </a:cubicBezTo>
                  <a:cubicBezTo>
                    <a:pt x="12361" y="3679"/>
                    <a:pt x="12409" y="3664"/>
                    <a:pt x="12409" y="3653"/>
                  </a:cubicBezTo>
                  <a:cubicBezTo>
                    <a:pt x="12409" y="3641"/>
                    <a:pt x="12399" y="3630"/>
                    <a:pt x="12397" y="3620"/>
                  </a:cubicBezTo>
                  <a:cubicBezTo>
                    <a:pt x="12396" y="3610"/>
                    <a:pt x="12399" y="3589"/>
                    <a:pt x="12399" y="3589"/>
                  </a:cubicBezTo>
                  <a:cubicBezTo>
                    <a:pt x="12389" y="3574"/>
                    <a:pt x="12389" y="3574"/>
                    <a:pt x="12389" y="3574"/>
                  </a:cubicBezTo>
                  <a:cubicBezTo>
                    <a:pt x="12385" y="3591"/>
                    <a:pt x="12385" y="3591"/>
                    <a:pt x="12385" y="3591"/>
                  </a:cubicBezTo>
                  <a:cubicBezTo>
                    <a:pt x="12385" y="3591"/>
                    <a:pt x="12366" y="3607"/>
                    <a:pt x="12373" y="3622"/>
                  </a:cubicBezTo>
                  <a:cubicBezTo>
                    <a:pt x="12380" y="3636"/>
                    <a:pt x="12397" y="3636"/>
                    <a:pt x="12387" y="3643"/>
                  </a:cubicBezTo>
                  <a:cubicBezTo>
                    <a:pt x="12377" y="3649"/>
                    <a:pt x="12361" y="3658"/>
                    <a:pt x="12361" y="3658"/>
                  </a:cubicBezTo>
                  <a:cubicBezTo>
                    <a:pt x="12354" y="3676"/>
                    <a:pt x="12354" y="3676"/>
                    <a:pt x="12354" y="3676"/>
                  </a:cubicBezTo>
                  <a:cubicBezTo>
                    <a:pt x="12339" y="3685"/>
                    <a:pt x="12339" y="3685"/>
                    <a:pt x="12339" y="3685"/>
                  </a:cubicBezTo>
                  <a:cubicBezTo>
                    <a:pt x="12339" y="3685"/>
                    <a:pt x="12344" y="3694"/>
                    <a:pt x="12337" y="3700"/>
                  </a:cubicBezTo>
                  <a:cubicBezTo>
                    <a:pt x="12330" y="3707"/>
                    <a:pt x="12305" y="3718"/>
                    <a:pt x="12305" y="3718"/>
                  </a:cubicBezTo>
                  <a:cubicBezTo>
                    <a:pt x="12305" y="3718"/>
                    <a:pt x="12282" y="3754"/>
                    <a:pt x="12293" y="3762"/>
                  </a:cubicBezTo>
                  <a:close/>
                  <a:moveTo>
                    <a:pt x="12382" y="3239"/>
                  </a:moveTo>
                  <a:cubicBezTo>
                    <a:pt x="12374" y="3251"/>
                    <a:pt x="12376" y="3243"/>
                    <a:pt x="12383" y="3255"/>
                  </a:cubicBezTo>
                  <a:cubicBezTo>
                    <a:pt x="12386" y="3260"/>
                    <a:pt x="12390" y="3269"/>
                    <a:pt x="12392" y="3275"/>
                  </a:cubicBezTo>
                  <a:cubicBezTo>
                    <a:pt x="12394" y="3281"/>
                    <a:pt x="12395" y="3288"/>
                    <a:pt x="12394" y="3295"/>
                  </a:cubicBezTo>
                  <a:cubicBezTo>
                    <a:pt x="12393" y="3302"/>
                    <a:pt x="12385" y="3308"/>
                    <a:pt x="12385" y="3313"/>
                  </a:cubicBezTo>
                  <a:cubicBezTo>
                    <a:pt x="12385" y="3321"/>
                    <a:pt x="12396" y="3323"/>
                    <a:pt x="12392" y="3331"/>
                  </a:cubicBezTo>
                  <a:cubicBezTo>
                    <a:pt x="12390" y="3336"/>
                    <a:pt x="12378" y="3339"/>
                    <a:pt x="12374" y="3338"/>
                  </a:cubicBezTo>
                  <a:cubicBezTo>
                    <a:pt x="12374" y="3332"/>
                    <a:pt x="12372" y="3326"/>
                    <a:pt x="12367" y="3324"/>
                  </a:cubicBezTo>
                  <a:cubicBezTo>
                    <a:pt x="12366" y="3347"/>
                    <a:pt x="12369" y="3361"/>
                    <a:pt x="12385" y="3380"/>
                  </a:cubicBezTo>
                  <a:cubicBezTo>
                    <a:pt x="12397" y="3393"/>
                    <a:pt x="12409" y="3403"/>
                    <a:pt x="12417" y="3419"/>
                  </a:cubicBezTo>
                  <a:cubicBezTo>
                    <a:pt x="12422" y="3431"/>
                    <a:pt x="12438" y="3461"/>
                    <a:pt x="12453" y="3460"/>
                  </a:cubicBezTo>
                  <a:cubicBezTo>
                    <a:pt x="12463" y="3459"/>
                    <a:pt x="12467" y="3446"/>
                    <a:pt x="12478" y="3445"/>
                  </a:cubicBezTo>
                  <a:cubicBezTo>
                    <a:pt x="12489" y="3444"/>
                    <a:pt x="12494" y="3454"/>
                    <a:pt x="12501" y="3460"/>
                  </a:cubicBezTo>
                  <a:cubicBezTo>
                    <a:pt x="12523" y="3479"/>
                    <a:pt x="12522" y="3461"/>
                    <a:pt x="12512" y="3444"/>
                  </a:cubicBezTo>
                  <a:cubicBezTo>
                    <a:pt x="12530" y="3442"/>
                    <a:pt x="12537" y="3451"/>
                    <a:pt x="12541" y="3465"/>
                  </a:cubicBezTo>
                  <a:cubicBezTo>
                    <a:pt x="12544" y="3477"/>
                    <a:pt x="12554" y="3489"/>
                    <a:pt x="12568" y="3495"/>
                  </a:cubicBezTo>
                  <a:cubicBezTo>
                    <a:pt x="12593" y="3508"/>
                    <a:pt x="12595" y="3447"/>
                    <a:pt x="12564" y="3450"/>
                  </a:cubicBezTo>
                  <a:cubicBezTo>
                    <a:pt x="12563" y="3444"/>
                    <a:pt x="12568" y="3442"/>
                    <a:pt x="12570" y="3437"/>
                  </a:cubicBezTo>
                  <a:cubicBezTo>
                    <a:pt x="12558" y="3436"/>
                    <a:pt x="12554" y="3422"/>
                    <a:pt x="12541" y="3426"/>
                  </a:cubicBezTo>
                  <a:cubicBezTo>
                    <a:pt x="12533" y="3443"/>
                    <a:pt x="12518" y="3422"/>
                    <a:pt x="12506" y="3422"/>
                  </a:cubicBezTo>
                  <a:cubicBezTo>
                    <a:pt x="12490" y="3421"/>
                    <a:pt x="12483" y="3445"/>
                    <a:pt x="12470" y="3425"/>
                  </a:cubicBezTo>
                  <a:cubicBezTo>
                    <a:pt x="12463" y="3414"/>
                    <a:pt x="12466" y="3399"/>
                    <a:pt x="12466" y="3387"/>
                  </a:cubicBezTo>
                  <a:cubicBezTo>
                    <a:pt x="12466" y="3375"/>
                    <a:pt x="12462" y="3356"/>
                    <a:pt x="12467" y="3345"/>
                  </a:cubicBezTo>
                  <a:cubicBezTo>
                    <a:pt x="12474" y="3329"/>
                    <a:pt x="12485" y="3334"/>
                    <a:pt x="12484" y="3314"/>
                  </a:cubicBezTo>
                  <a:cubicBezTo>
                    <a:pt x="12484" y="3300"/>
                    <a:pt x="12473" y="3291"/>
                    <a:pt x="12475" y="3279"/>
                  </a:cubicBezTo>
                  <a:cubicBezTo>
                    <a:pt x="12476" y="3266"/>
                    <a:pt x="12484" y="3250"/>
                    <a:pt x="12480" y="3236"/>
                  </a:cubicBezTo>
                  <a:cubicBezTo>
                    <a:pt x="12477" y="3230"/>
                    <a:pt x="12470" y="3227"/>
                    <a:pt x="12467" y="3221"/>
                  </a:cubicBezTo>
                  <a:cubicBezTo>
                    <a:pt x="12464" y="3215"/>
                    <a:pt x="12467" y="3208"/>
                    <a:pt x="12466" y="3202"/>
                  </a:cubicBezTo>
                  <a:cubicBezTo>
                    <a:pt x="12465" y="3197"/>
                    <a:pt x="12463" y="3186"/>
                    <a:pt x="12454" y="3186"/>
                  </a:cubicBezTo>
                  <a:cubicBezTo>
                    <a:pt x="12449" y="3187"/>
                    <a:pt x="12447" y="3195"/>
                    <a:pt x="12444" y="3198"/>
                  </a:cubicBezTo>
                  <a:cubicBezTo>
                    <a:pt x="12427" y="3212"/>
                    <a:pt x="12424" y="3195"/>
                    <a:pt x="12408" y="3196"/>
                  </a:cubicBezTo>
                  <a:cubicBezTo>
                    <a:pt x="12399" y="3199"/>
                    <a:pt x="12399" y="3199"/>
                    <a:pt x="12399" y="3199"/>
                  </a:cubicBezTo>
                  <a:cubicBezTo>
                    <a:pt x="12396" y="3206"/>
                    <a:pt x="12399" y="3213"/>
                    <a:pt x="12397" y="3220"/>
                  </a:cubicBezTo>
                  <a:cubicBezTo>
                    <a:pt x="12395" y="3227"/>
                    <a:pt x="12386" y="3233"/>
                    <a:pt x="12382" y="3239"/>
                  </a:cubicBezTo>
                  <a:close/>
                  <a:moveTo>
                    <a:pt x="12457" y="3879"/>
                  </a:moveTo>
                  <a:cubicBezTo>
                    <a:pt x="12469" y="3886"/>
                    <a:pt x="12469" y="3886"/>
                    <a:pt x="12469" y="3886"/>
                  </a:cubicBezTo>
                  <a:cubicBezTo>
                    <a:pt x="12481" y="3868"/>
                    <a:pt x="12481" y="3868"/>
                    <a:pt x="12481" y="3868"/>
                  </a:cubicBezTo>
                  <a:cubicBezTo>
                    <a:pt x="12464" y="3858"/>
                    <a:pt x="12464" y="3858"/>
                    <a:pt x="12464" y="3858"/>
                  </a:cubicBezTo>
                  <a:lnTo>
                    <a:pt x="12457" y="3879"/>
                  </a:lnTo>
                  <a:close/>
                  <a:moveTo>
                    <a:pt x="12603" y="3523"/>
                  </a:moveTo>
                  <a:cubicBezTo>
                    <a:pt x="12594" y="3543"/>
                    <a:pt x="12627" y="3558"/>
                    <a:pt x="12627" y="3558"/>
                  </a:cubicBezTo>
                  <a:cubicBezTo>
                    <a:pt x="12652" y="3571"/>
                    <a:pt x="12652" y="3571"/>
                    <a:pt x="12652" y="3571"/>
                  </a:cubicBezTo>
                  <a:cubicBezTo>
                    <a:pt x="12652" y="3587"/>
                    <a:pt x="12628" y="3579"/>
                    <a:pt x="12628" y="3579"/>
                  </a:cubicBezTo>
                  <a:cubicBezTo>
                    <a:pt x="12671" y="3613"/>
                    <a:pt x="12671" y="3613"/>
                    <a:pt x="12671" y="3613"/>
                  </a:cubicBezTo>
                  <a:cubicBezTo>
                    <a:pt x="12673" y="3599"/>
                    <a:pt x="12673" y="3599"/>
                    <a:pt x="12673" y="3599"/>
                  </a:cubicBezTo>
                  <a:cubicBezTo>
                    <a:pt x="12690" y="3604"/>
                    <a:pt x="12690" y="3604"/>
                    <a:pt x="12690" y="3604"/>
                  </a:cubicBezTo>
                  <a:cubicBezTo>
                    <a:pt x="12676" y="3581"/>
                    <a:pt x="12676" y="3581"/>
                    <a:pt x="12676" y="3581"/>
                  </a:cubicBezTo>
                  <a:cubicBezTo>
                    <a:pt x="12676" y="3581"/>
                    <a:pt x="12673" y="3556"/>
                    <a:pt x="12661" y="3543"/>
                  </a:cubicBezTo>
                  <a:cubicBezTo>
                    <a:pt x="12649" y="3530"/>
                    <a:pt x="12610" y="3507"/>
                    <a:pt x="12603" y="3523"/>
                  </a:cubicBezTo>
                  <a:close/>
                  <a:moveTo>
                    <a:pt x="12473" y="3501"/>
                  </a:moveTo>
                  <a:cubicBezTo>
                    <a:pt x="12473" y="3501"/>
                    <a:pt x="12471" y="3481"/>
                    <a:pt x="12464" y="3474"/>
                  </a:cubicBezTo>
                  <a:cubicBezTo>
                    <a:pt x="12457" y="3468"/>
                    <a:pt x="12428" y="3471"/>
                    <a:pt x="12428" y="3471"/>
                  </a:cubicBezTo>
                  <a:cubicBezTo>
                    <a:pt x="12449" y="3499"/>
                    <a:pt x="12449" y="3499"/>
                    <a:pt x="12449" y="3499"/>
                  </a:cubicBezTo>
                  <a:cubicBezTo>
                    <a:pt x="12462" y="3543"/>
                    <a:pt x="12462" y="3543"/>
                    <a:pt x="12462" y="3543"/>
                  </a:cubicBezTo>
                  <a:cubicBezTo>
                    <a:pt x="12462" y="3543"/>
                    <a:pt x="12474" y="3533"/>
                    <a:pt x="12479" y="3525"/>
                  </a:cubicBezTo>
                  <a:cubicBezTo>
                    <a:pt x="12485" y="3517"/>
                    <a:pt x="12473" y="3501"/>
                    <a:pt x="12473" y="3501"/>
                  </a:cubicBezTo>
                  <a:close/>
                  <a:moveTo>
                    <a:pt x="12600" y="3631"/>
                  </a:moveTo>
                  <a:cubicBezTo>
                    <a:pt x="12607" y="3685"/>
                    <a:pt x="12607" y="3685"/>
                    <a:pt x="12607" y="3685"/>
                  </a:cubicBezTo>
                  <a:cubicBezTo>
                    <a:pt x="12615" y="3635"/>
                    <a:pt x="12615" y="3635"/>
                    <a:pt x="12615" y="3635"/>
                  </a:cubicBezTo>
                  <a:cubicBezTo>
                    <a:pt x="12598" y="3600"/>
                    <a:pt x="12598" y="3600"/>
                    <a:pt x="12598" y="3600"/>
                  </a:cubicBezTo>
                  <a:cubicBezTo>
                    <a:pt x="12583" y="3600"/>
                    <a:pt x="12583" y="3600"/>
                    <a:pt x="12583" y="3600"/>
                  </a:cubicBezTo>
                  <a:lnTo>
                    <a:pt x="12600" y="3631"/>
                  </a:lnTo>
                  <a:close/>
                  <a:moveTo>
                    <a:pt x="11367" y="4106"/>
                  </a:moveTo>
                  <a:cubicBezTo>
                    <a:pt x="11359" y="4106"/>
                    <a:pt x="11349" y="4119"/>
                    <a:pt x="11361" y="4127"/>
                  </a:cubicBezTo>
                  <a:cubicBezTo>
                    <a:pt x="11373" y="4135"/>
                    <a:pt x="11377" y="4165"/>
                    <a:pt x="11389" y="4165"/>
                  </a:cubicBezTo>
                  <a:cubicBezTo>
                    <a:pt x="11396" y="4165"/>
                    <a:pt x="11397" y="4134"/>
                    <a:pt x="11393" y="4130"/>
                  </a:cubicBezTo>
                  <a:cubicBezTo>
                    <a:pt x="11389" y="4126"/>
                    <a:pt x="11375" y="4106"/>
                    <a:pt x="11367" y="4106"/>
                  </a:cubicBezTo>
                  <a:close/>
                  <a:moveTo>
                    <a:pt x="12889" y="4333"/>
                  </a:moveTo>
                  <a:cubicBezTo>
                    <a:pt x="12873" y="4329"/>
                    <a:pt x="12863" y="4339"/>
                    <a:pt x="12852" y="4344"/>
                  </a:cubicBezTo>
                  <a:cubicBezTo>
                    <a:pt x="12846" y="4346"/>
                    <a:pt x="12838" y="4342"/>
                    <a:pt x="12834" y="4345"/>
                  </a:cubicBezTo>
                  <a:cubicBezTo>
                    <a:pt x="12821" y="4353"/>
                    <a:pt x="12817" y="4369"/>
                    <a:pt x="12821" y="4372"/>
                  </a:cubicBezTo>
                  <a:cubicBezTo>
                    <a:pt x="12828" y="4378"/>
                    <a:pt x="12835" y="4364"/>
                    <a:pt x="12835" y="4364"/>
                  </a:cubicBezTo>
                  <a:cubicBezTo>
                    <a:pt x="12835" y="4364"/>
                    <a:pt x="12835" y="4380"/>
                    <a:pt x="12846" y="4382"/>
                  </a:cubicBezTo>
                  <a:cubicBezTo>
                    <a:pt x="12857" y="4383"/>
                    <a:pt x="12859" y="4363"/>
                    <a:pt x="12859" y="4363"/>
                  </a:cubicBezTo>
                  <a:cubicBezTo>
                    <a:pt x="12859" y="4363"/>
                    <a:pt x="12867" y="4374"/>
                    <a:pt x="12874" y="4374"/>
                  </a:cubicBezTo>
                  <a:cubicBezTo>
                    <a:pt x="12881" y="4374"/>
                    <a:pt x="12899" y="4359"/>
                    <a:pt x="12899" y="4359"/>
                  </a:cubicBezTo>
                  <a:cubicBezTo>
                    <a:pt x="12909" y="4394"/>
                    <a:pt x="12909" y="4394"/>
                    <a:pt x="12909" y="4394"/>
                  </a:cubicBezTo>
                  <a:cubicBezTo>
                    <a:pt x="12928" y="4380"/>
                    <a:pt x="12928" y="4380"/>
                    <a:pt x="12928" y="4380"/>
                  </a:cubicBezTo>
                  <a:cubicBezTo>
                    <a:pt x="12950" y="4404"/>
                    <a:pt x="12950" y="4404"/>
                    <a:pt x="12950" y="4404"/>
                  </a:cubicBezTo>
                  <a:cubicBezTo>
                    <a:pt x="12955" y="4387"/>
                    <a:pt x="12955" y="4387"/>
                    <a:pt x="12955" y="4387"/>
                  </a:cubicBezTo>
                  <a:cubicBezTo>
                    <a:pt x="12941" y="4375"/>
                    <a:pt x="12941" y="4375"/>
                    <a:pt x="12941" y="4375"/>
                  </a:cubicBezTo>
                  <a:cubicBezTo>
                    <a:pt x="12942" y="4364"/>
                    <a:pt x="12942" y="4364"/>
                    <a:pt x="12942" y="4364"/>
                  </a:cubicBezTo>
                  <a:cubicBezTo>
                    <a:pt x="12942" y="4364"/>
                    <a:pt x="12936" y="4343"/>
                    <a:pt x="12889" y="4333"/>
                  </a:cubicBezTo>
                  <a:close/>
                  <a:moveTo>
                    <a:pt x="14187" y="4617"/>
                  </a:moveTo>
                  <a:cubicBezTo>
                    <a:pt x="14165" y="4620"/>
                    <a:pt x="14165" y="4620"/>
                    <a:pt x="14165" y="4620"/>
                  </a:cubicBezTo>
                  <a:cubicBezTo>
                    <a:pt x="14165" y="4634"/>
                    <a:pt x="14165" y="4634"/>
                    <a:pt x="14165" y="4634"/>
                  </a:cubicBezTo>
                  <a:cubicBezTo>
                    <a:pt x="14178" y="4639"/>
                    <a:pt x="14178" y="4639"/>
                    <a:pt x="14178" y="4639"/>
                  </a:cubicBezTo>
                  <a:lnTo>
                    <a:pt x="14187" y="4617"/>
                  </a:lnTo>
                  <a:close/>
                  <a:moveTo>
                    <a:pt x="13173" y="4238"/>
                  </a:moveTo>
                  <a:cubicBezTo>
                    <a:pt x="13192" y="4247"/>
                    <a:pt x="13200" y="4238"/>
                    <a:pt x="13185" y="4231"/>
                  </a:cubicBezTo>
                  <a:cubicBezTo>
                    <a:pt x="13171" y="4225"/>
                    <a:pt x="13165" y="4234"/>
                    <a:pt x="13173" y="4238"/>
                  </a:cubicBezTo>
                  <a:close/>
                  <a:moveTo>
                    <a:pt x="14186" y="4564"/>
                  </a:moveTo>
                  <a:cubicBezTo>
                    <a:pt x="14174" y="4550"/>
                    <a:pt x="14174" y="4550"/>
                    <a:pt x="14174" y="4550"/>
                  </a:cubicBezTo>
                  <a:cubicBezTo>
                    <a:pt x="14167" y="4566"/>
                    <a:pt x="14167" y="4566"/>
                    <a:pt x="14167" y="4566"/>
                  </a:cubicBezTo>
                  <a:cubicBezTo>
                    <a:pt x="14180" y="4582"/>
                    <a:pt x="14180" y="4582"/>
                    <a:pt x="14180" y="4582"/>
                  </a:cubicBezTo>
                  <a:lnTo>
                    <a:pt x="14186" y="4564"/>
                  </a:lnTo>
                  <a:close/>
                  <a:moveTo>
                    <a:pt x="13241" y="4291"/>
                  </a:moveTo>
                  <a:cubicBezTo>
                    <a:pt x="13241" y="4291"/>
                    <a:pt x="13217" y="4281"/>
                    <a:pt x="13212" y="4280"/>
                  </a:cubicBezTo>
                  <a:cubicBezTo>
                    <a:pt x="13208" y="4279"/>
                    <a:pt x="13179" y="4285"/>
                    <a:pt x="13179" y="4285"/>
                  </a:cubicBezTo>
                  <a:cubicBezTo>
                    <a:pt x="13179" y="4285"/>
                    <a:pt x="13195" y="4298"/>
                    <a:pt x="13205" y="4298"/>
                  </a:cubicBezTo>
                  <a:cubicBezTo>
                    <a:pt x="13214" y="4298"/>
                    <a:pt x="13241" y="4291"/>
                    <a:pt x="13241" y="4291"/>
                  </a:cubicBezTo>
                  <a:close/>
                  <a:moveTo>
                    <a:pt x="14072" y="4509"/>
                  </a:moveTo>
                  <a:cubicBezTo>
                    <a:pt x="14089" y="4541"/>
                    <a:pt x="14089" y="4541"/>
                    <a:pt x="14089" y="4541"/>
                  </a:cubicBezTo>
                  <a:cubicBezTo>
                    <a:pt x="14132" y="4584"/>
                    <a:pt x="14132" y="4584"/>
                    <a:pt x="14132" y="4584"/>
                  </a:cubicBezTo>
                  <a:cubicBezTo>
                    <a:pt x="14130" y="4533"/>
                    <a:pt x="14130" y="4533"/>
                    <a:pt x="14130" y="4533"/>
                  </a:cubicBezTo>
                  <a:cubicBezTo>
                    <a:pt x="14089" y="4486"/>
                    <a:pt x="14089" y="4486"/>
                    <a:pt x="14089" y="4486"/>
                  </a:cubicBezTo>
                  <a:cubicBezTo>
                    <a:pt x="14089" y="4486"/>
                    <a:pt x="14085" y="4461"/>
                    <a:pt x="14066" y="4469"/>
                  </a:cubicBezTo>
                  <a:cubicBezTo>
                    <a:pt x="14055" y="4474"/>
                    <a:pt x="14061" y="4490"/>
                    <a:pt x="14061" y="4490"/>
                  </a:cubicBezTo>
                  <a:lnTo>
                    <a:pt x="14072" y="4509"/>
                  </a:lnTo>
                  <a:close/>
                  <a:moveTo>
                    <a:pt x="14665" y="6212"/>
                  </a:moveTo>
                  <a:cubicBezTo>
                    <a:pt x="14657" y="6204"/>
                    <a:pt x="14647" y="6222"/>
                    <a:pt x="14647" y="6222"/>
                  </a:cubicBezTo>
                  <a:cubicBezTo>
                    <a:pt x="14647" y="6222"/>
                    <a:pt x="14641" y="6222"/>
                    <a:pt x="14632" y="6220"/>
                  </a:cubicBezTo>
                  <a:cubicBezTo>
                    <a:pt x="14624" y="6217"/>
                    <a:pt x="14606" y="6231"/>
                    <a:pt x="14594" y="6228"/>
                  </a:cubicBezTo>
                  <a:cubicBezTo>
                    <a:pt x="14582" y="6225"/>
                    <a:pt x="14587" y="6181"/>
                    <a:pt x="14587" y="6181"/>
                  </a:cubicBezTo>
                  <a:cubicBezTo>
                    <a:pt x="14603" y="6156"/>
                    <a:pt x="14603" y="6156"/>
                    <a:pt x="14603" y="6156"/>
                  </a:cubicBezTo>
                  <a:cubicBezTo>
                    <a:pt x="14603" y="6156"/>
                    <a:pt x="14603" y="6138"/>
                    <a:pt x="14593" y="6139"/>
                  </a:cubicBezTo>
                  <a:cubicBezTo>
                    <a:pt x="14582" y="6139"/>
                    <a:pt x="14582" y="6155"/>
                    <a:pt x="14582" y="6165"/>
                  </a:cubicBezTo>
                  <a:cubicBezTo>
                    <a:pt x="14581" y="6174"/>
                    <a:pt x="14569" y="6182"/>
                    <a:pt x="14569" y="6182"/>
                  </a:cubicBezTo>
                  <a:cubicBezTo>
                    <a:pt x="14566" y="6162"/>
                    <a:pt x="14566" y="6162"/>
                    <a:pt x="14566" y="6162"/>
                  </a:cubicBezTo>
                  <a:cubicBezTo>
                    <a:pt x="14552" y="6149"/>
                    <a:pt x="14552" y="6149"/>
                    <a:pt x="14552" y="6149"/>
                  </a:cubicBezTo>
                  <a:cubicBezTo>
                    <a:pt x="14552" y="6149"/>
                    <a:pt x="14576" y="6118"/>
                    <a:pt x="14576" y="6098"/>
                  </a:cubicBezTo>
                  <a:cubicBezTo>
                    <a:pt x="14577" y="6078"/>
                    <a:pt x="14543" y="6077"/>
                    <a:pt x="14543" y="6077"/>
                  </a:cubicBezTo>
                  <a:cubicBezTo>
                    <a:pt x="14546" y="6063"/>
                    <a:pt x="14546" y="6063"/>
                    <a:pt x="14546" y="6063"/>
                  </a:cubicBezTo>
                  <a:cubicBezTo>
                    <a:pt x="14533" y="6061"/>
                    <a:pt x="14533" y="6061"/>
                    <a:pt x="14533" y="6061"/>
                  </a:cubicBezTo>
                  <a:cubicBezTo>
                    <a:pt x="14518" y="6047"/>
                    <a:pt x="14518" y="6047"/>
                    <a:pt x="14518" y="6047"/>
                  </a:cubicBezTo>
                  <a:cubicBezTo>
                    <a:pt x="14525" y="6036"/>
                    <a:pt x="14525" y="6036"/>
                    <a:pt x="14525" y="6036"/>
                  </a:cubicBezTo>
                  <a:cubicBezTo>
                    <a:pt x="14505" y="6048"/>
                    <a:pt x="14505" y="6048"/>
                    <a:pt x="14505" y="6048"/>
                  </a:cubicBezTo>
                  <a:cubicBezTo>
                    <a:pt x="14518" y="6071"/>
                    <a:pt x="14518" y="6071"/>
                    <a:pt x="14518" y="6071"/>
                  </a:cubicBezTo>
                  <a:cubicBezTo>
                    <a:pt x="14512" y="6096"/>
                    <a:pt x="14512" y="6096"/>
                    <a:pt x="14512" y="6096"/>
                  </a:cubicBezTo>
                  <a:cubicBezTo>
                    <a:pt x="14527" y="6102"/>
                    <a:pt x="14527" y="6102"/>
                    <a:pt x="14527" y="6102"/>
                  </a:cubicBezTo>
                  <a:cubicBezTo>
                    <a:pt x="14518" y="6106"/>
                    <a:pt x="14518" y="6106"/>
                    <a:pt x="14518" y="6106"/>
                  </a:cubicBezTo>
                  <a:cubicBezTo>
                    <a:pt x="14522" y="6120"/>
                    <a:pt x="14522" y="6120"/>
                    <a:pt x="14522" y="6120"/>
                  </a:cubicBezTo>
                  <a:cubicBezTo>
                    <a:pt x="14538" y="6125"/>
                    <a:pt x="14538" y="6125"/>
                    <a:pt x="14538" y="6125"/>
                  </a:cubicBezTo>
                  <a:cubicBezTo>
                    <a:pt x="14522" y="6133"/>
                    <a:pt x="14522" y="6133"/>
                    <a:pt x="14522" y="6133"/>
                  </a:cubicBezTo>
                  <a:cubicBezTo>
                    <a:pt x="14531" y="6138"/>
                    <a:pt x="14531" y="6138"/>
                    <a:pt x="14531" y="6138"/>
                  </a:cubicBezTo>
                  <a:cubicBezTo>
                    <a:pt x="14531" y="6138"/>
                    <a:pt x="14528" y="6152"/>
                    <a:pt x="14528" y="6158"/>
                  </a:cubicBezTo>
                  <a:cubicBezTo>
                    <a:pt x="14528" y="6165"/>
                    <a:pt x="14541" y="6172"/>
                    <a:pt x="14541" y="6172"/>
                  </a:cubicBezTo>
                  <a:cubicBezTo>
                    <a:pt x="14528" y="6174"/>
                    <a:pt x="14528" y="6174"/>
                    <a:pt x="14528" y="6174"/>
                  </a:cubicBezTo>
                  <a:cubicBezTo>
                    <a:pt x="14520" y="6184"/>
                    <a:pt x="14520" y="6184"/>
                    <a:pt x="14520" y="6184"/>
                  </a:cubicBezTo>
                  <a:cubicBezTo>
                    <a:pt x="14531" y="6190"/>
                    <a:pt x="14531" y="6190"/>
                    <a:pt x="14531" y="6190"/>
                  </a:cubicBezTo>
                  <a:cubicBezTo>
                    <a:pt x="14531" y="6190"/>
                    <a:pt x="14510" y="6210"/>
                    <a:pt x="14508" y="6221"/>
                  </a:cubicBezTo>
                  <a:cubicBezTo>
                    <a:pt x="14507" y="6232"/>
                    <a:pt x="14517" y="6235"/>
                    <a:pt x="14517" y="6235"/>
                  </a:cubicBezTo>
                  <a:cubicBezTo>
                    <a:pt x="14517" y="6235"/>
                    <a:pt x="14495" y="6239"/>
                    <a:pt x="14482" y="6245"/>
                  </a:cubicBezTo>
                  <a:cubicBezTo>
                    <a:pt x="14469" y="6250"/>
                    <a:pt x="14472" y="6253"/>
                    <a:pt x="14456" y="6265"/>
                  </a:cubicBezTo>
                  <a:cubicBezTo>
                    <a:pt x="14439" y="6278"/>
                    <a:pt x="14425" y="6279"/>
                    <a:pt x="14404" y="6291"/>
                  </a:cubicBezTo>
                  <a:cubicBezTo>
                    <a:pt x="14383" y="6304"/>
                    <a:pt x="14402" y="6338"/>
                    <a:pt x="14402" y="6338"/>
                  </a:cubicBezTo>
                  <a:cubicBezTo>
                    <a:pt x="14402" y="6338"/>
                    <a:pt x="14425" y="6336"/>
                    <a:pt x="14435" y="6338"/>
                  </a:cubicBezTo>
                  <a:cubicBezTo>
                    <a:pt x="14445" y="6340"/>
                    <a:pt x="14435" y="6359"/>
                    <a:pt x="14435" y="6374"/>
                  </a:cubicBezTo>
                  <a:cubicBezTo>
                    <a:pt x="14436" y="6390"/>
                    <a:pt x="14419" y="6389"/>
                    <a:pt x="14402" y="6395"/>
                  </a:cubicBezTo>
                  <a:cubicBezTo>
                    <a:pt x="14385" y="6401"/>
                    <a:pt x="14393" y="6406"/>
                    <a:pt x="14393" y="6406"/>
                  </a:cubicBezTo>
                  <a:cubicBezTo>
                    <a:pt x="14383" y="6417"/>
                    <a:pt x="14383" y="6417"/>
                    <a:pt x="14383" y="6417"/>
                  </a:cubicBezTo>
                  <a:cubicBezTo>
                    <a:pt x="14383" y="6417"/>
                    <a:pt x="14401" y="6430"/>
                    <a:pt x="14415" y="6426"/>
                  </a:cubicBezTo>
                  <a:cubicBezTo>
                    <a:pt x="14428" y="6421"/>
                    <a:pt x="14459" y="6387"/>
                    <a:pt x="14470" y="6376"/>
                  </a:cubicBezTo>
                  <a:cubicBezTo>
                    <a:pt x="14481" y="6365"/>
                    <a:pt x="14508" y="6357"/>
                    <a:pt x="14513" y="6357"/>
                  </a:cubicBezTo>
                  <a:cubicBezTo>
                    <a:pt x="14518" y="6356"/>
                    <a:pt x="14523" y="6344"/>
                    <a:pt x="14523" y="6344"/>
                  </a:cubicBezTo>
                  <a:cubicBezTo>
                    <a:pt x="14523" y="6344"/>
                    <a:pt x="14530" y="6341"/>
                    <a:pt x="14541" y="6337"/>
                  </a:cubicBezTo>
                  <a:cubicBezTo>
                    <a:pt x="14552" y="6332"/>
                    <a:pt x="14541" y="6313"/>
                    <a:pt x="14541" y="6313"/>
                  </a:cubicBezTo>
                  <a:cubicBezTo>
                    <a:pt x="14541" y="6313"/>
                    <a:pt x="14551" y="6305"/>
                    <a:pt x="14564" y="6299"/>
                  </a:cubicBezTo>
                  <a:cubicBezTo>
                    <a:pt x="14578" y="6293"/>
                    <a:pt x="14588" y="6305"/>
                    <a:pt x="14600" y="6302"/>
                  </a:cubicBezTo>
                  <a:cubicBezTo>
                    <a:pt x="14612" y="6300"/>
                    <a:pt x="14608" y="6276"/>
                    <a:pt x="14608" y="6276"/>
                  </a:cubicBezTo>
                  <a:cubicBezTo>
                    <a:pt x="14608" y="6276"/>
                    <a:pt x="14619" y="6273"/>
                    <a:pt x="14631" y="6272"/>
                  </a:cubicBezTo>
                  <a:cubicBezTo>
                    <a:pt x="14642" y="6271"/>
                    <a:pt x="14634" y="6257"/>
                    <a:pt x="14641" y="6251"/>
                  </a:cubicBezTo>
                  <a:cubicBezTo>
                    <a:pt x="14649" y="6246"/>
                    <a:pt x="14657" y="6249"/>
                    <a:pt x="14667" y="6241"/>
                  </a:cubicBezTo>
                  <a:cubicBezTo>
                    <a:pt x="14677" y="6233"/>
                    <a:pt x="14673" y="6219"/>
                    <a:pt x="14665" y="6212"/>
                  </a:cubicBezTo>
                  <a:close/>
                  <a:moveTo>
                    <a:pt x="13733" y="4291"/>
                  </a:moveTo>
                  <a:cubicBezTo>
                    <a:pt x="13720" y="4284"/>
                    <a:pt x="13698" y="4303"/>
                    <a:pt x="13698" y="4303"/>
                  </a:cubicBezTo>
                  <a:cubicBezTo>
                    <a:pt x="13717" y="4315"/>
                    <a:pt x="13717" y="4315"/>
                    <a:pt x="13717" y="4315"/>
                  </a:cubicBezTo>
                  <a:cubicBezTo>
                    <a:pt x="13735" y="4319"/>
                    <a:pt x="13746" y="4298"/>
                    <a:pt x="13733" y="4291"/>
                  </a:cubicBezTo>
                  <a:close/>
                  <a:moveTo>
                    <a:pt x="14204" y="4676"/>
                  </a:moveTo>
                  <a:cubicBezTo>
                    <a:pt x="14229" y="4673"/>
                    <a:pt x="14229" y="4673"/>
                    <a:pt x="14229" y="4673"/>
                  </a:cubicBezTo>
                  <a:cubicBezTo>
                    <a:pt x="14197" y="4653"/>
                    <a:pt x="14197" y="4653"/>
                    <a:pt x="14197" y="4653"/>
                  </a:cubicBezTo>
                  <a:lnTo>
                    <a:pt x="14204" y="4676"/>
                  </a:lnTo>
                  <a:close/>
                  <a:moveTo>
                    <a:pt x="13947" y="4386"/>
                  </a:moveTo>
                  <a:cubicBezTo>
                    <a:pt x="13953" y="4391"/>
                    <a:pt x="13973" y="4393"/>
                    <a:pt x="13978" y="4406"/>
                  </a:cubicBezTo>
                  <a:cubicBezTo>
                    <a:pt x="13982" y="4419"/>
                    <a:pt x="13964" y="4463"/>
                    <a:pt x="13991" y="4465"/>
                  </a:cubicBezTo>
                  <a:cubicBezTo>
                    <a:pt x="14006" y="4466"/>
                    <a:pt x="14014" y="4434"/>
                    <a:pt x="14001" y="4415"/>
                  </a:cubicBezTo>
                  <a:cubicBezTo>
                    <a:pt x="13988" y="4396"/>
                    <a:pt x="13966" y="4378"/>
                    <a:pt x="13966" y="4378"/>
                  </a:cubicBezTo>
                  <a:cubicBezTo>
                    <a:pt x="13957" y="4378"/>
                    <a:pt x="13957" y="4378"/>
                    <a:pt x="13957" y="4378"/>
                  </a:cubicBezTo>
                  <a:cubicBezTo>
                    <a:pt x="13957" y="4378"/>
                    <a:pt x="13926" y="4344"/>
                    <a:pt x="13922" y="4342"/>
                  </a:cubicBezTo>
                  <a:cubicBezTo>
                    <a:pt x="13918" y="4339"/>
                    <a:pt x="13910" y="4339"/>
                    <a:pt x="13910" y="4339"/>
                  </a:cubicBezTo>
                  <a:cubicBezTo>
                    <a:pt x="13896" y="4315"/>
                    <a:pt x="13896" y="4315"/>
                    <a:pt x="13896" y="4315"/>
                  </a:cubicBezTo>
                  <a:cubicBezTo>
                    <a:pt x="13888" y="4347"/>
                    <a:pt x="13888" y="4347"/>
                    <a:pt x="13888" y="4347"/>
                  </a:cubicBezTo>
                  <a:cubicBezTo>
                    <a:pt x="13918" y="4353"/>
                    <a:pt x="13918" y="4353"/>
                    <a:pt x="13918" y="4353"/>
                  </a:cubicBezTo>
                  <a:cubicBezTo>
                    <a:pt x="13918" y="4353"/>
                    <a:pt x="13941" y="4380"/>
                    <a:pt x="13947" y="4386"/>
                  </a:cubicBezTo>
                  <a:close/>
                  <a:moveTo>
                    <a:pt x="13865" y="4544"/>
                  </a:moveTo>
                  <a:cubicBezTo>
                    <a:pt x="13876" y="4535"/>
                    <a:pt x="13876" y="4535"/>
                    <a:pt x="13876" y="4535"/>
                  </a:cubicBezTo>
                  <a:cubicBezTo>
                    <a:pt x="13876" y="4535"/>
                    <a:pt x="13888" y="4535"/>
                    <a:pt x="13901" y="4534"/>
                  </a:cubicBezTo>
                  <a:cubicBezTo>
                    <a:pt x="13915" y="4532"/>
                    <a:pt x="13925" y="4512"/>
                    <a:pt x="13925" y="4512"/>
                  </a:cubicBezTo>
                  <a:cubicBezTo>
                    <a:pt x="13944" y="4507"/>
                    <a:pt x="13944" y="4507"/>
                    <a:pt x="13944" y="4507"/>
                  </a:cubicBezTo>
                  <a:cubicBezTo>
                    <a:pt x="13938" y="4490"/>
                    <a:pt x="13938" y="4490"/>
                    <a:pt x="13938" y="4490"/>
                  </a:cubicBezTo>
                  <a:cubicBezTo>
                    <a:pt x="13956" y="4493"/>
                    <a:pt x="13956" y="4493"/>
                    <a:pt x="13956" y="4493"/>
                  </a:cubicBezTo>
                  <a:cubicBezTo>
                    <a:pt x="13956" y="4493"/>
                    <a:pt x="13964" y="4441"/>
                    <a:pt x="13957" y="4424"/>
                  </a:cubicBezTo>
                  <a:cubicBezTo>
                    <a:pt x="13950" y="4406"/>
                    <a:pt x="13919" y="4425"/>
                    <a:pt x="13910" y="4434"/>
                  </a:cubicBezTo>
                  <a:cubicBezTo>
                    <a:pt x="13901" y="4443"/>
                    <a:pt x="13923" y="4455"/>
                    <a:pt x="13923" y="4455"/>
                  </a:cubicBezTo>
                  <a:cubicBezTo>
                    <a:pt x="13925" y="4468"/>
                    <a:pt x="13925" y="4468"/>
                    <a:pt x="13925" y="4468"/>
                  </a:cubicBezTo>
                  <a:cubicBezTo>
                    <a:pt x="13878" y="4493"/>
                    <a:pt x="13878" y="4493"/>
                    <a:pt x="13878" y="4493"/>
                  </a:cubicBezTo>
                  <a:cubicBezTo>
                    <a:pt x="13878" y="4493"/>
                    <a:pt x="13854" y="4491"/>
                    <a:pt x="13838" y="4494"/>
                  </a:cubicBezTo>
                  <a:cubicBezTo>
                    <a:pt x="13822" y="4497"/>
                    <a:pt x="13816" y="4506"/>
                    <a:pt x="13806" y="4512"/>
                  </a:cubicBezTo>
                  <a:cubicBezTo>
                    <a:pt x="13796" y="4518"/>
                    <a:pt x="13790" y="4506"/>
                    <a:pt x="13784" y="4518"/>
                  </a:cubicBezTo>
                  <a:cubicBezTo>
                    <a:pt x="13800" y="4541"/>
                    <a:pt x="13800" y="4541"/>
                    <a:pt x="13800" y="4541"/>
                  </a:cubicBezTo>
                  <a:lnTo>
                    <a:pt x="13865" y="4544"/>
                  </a:lnTo>
                  <a:close/>
                  <a:moveTo>
                    <a:pt x="12118" y="4562"/>
                  </a:moveTo>
                  <a:cubicBezTo>
                    <a:pt x="12113" y="4587"/>
                    <a:pt x="12134" y="4581"/>
                    <a:pt x="12134" y="4581"/>
                  </a:cubicBezTo>
                  <a:cubicBezTo>
                    <a:pt x="12172" y="4554"/>
                    <a:pt x="12172" y="4554"/>
                    <a:pt x="12172" y="4554"/>
                  </a:cubicBezTo>
                  <a:cubicBezTo>
                    <a:pt x="12169" y="4548"/>
                    <a:pt x="12169" y="4548"/>
                    <a:pt x="12169" y="4548"/>
                  </a:cubicBezTo>
                  <a:cubicBezTo>
                    <a:pt x="12169" y="4548"/>
                    <a:pt x="12119" y="4552"/>
                    <a:pt x="12118" y="4562"/>
                  </a:cubicBezTo>
                  <a:close/>
                  <a:moveTo>
                    <a:pt x="14218" y="4641"/>
                  </a:moveTo>
                  <a:cubicBezTo>
                    <a:pt x="14216" y="4631"/>
                    <a:pt x="14216" y="4631"/>
                    <a:pt x="14216" y="4631"/>
                  </a:cubicBezTo>
                  <a:cubicBezTo>
                    <a:pt x="14190" y="4631"/>
                    <a:pt x="14190" y="4631"/>
                    <a:pt x="14190" y="4631"/>
                  </a:cubicBezTo>
                  <a:cubicBezTo>
                    <a:pt x="14191" y="4647"/>
                    <a:pt x="14191" y="4647"/>
                    <a:pt x="14191" y="4647"/>
                  </a:cubicBezTo>
                  <a:lnTo>
                    <a:pt x="14218" y="4641"/>
                  </a:lnTo>
                  <a:close/>
                  <a:moveTo>
                    <a:pt x="14303" y="4652"/>
                  </a:moveTo>
                  <a:cubicBezTo>
                    <a:pt x="14319" y="4650"/>
                    <a:pt x="14251" y="4580"/>
                    <a:pt x="14246" y="4591"/>
                  </a:cubicBezTo>
                  <a:cubicBezTo>
                    <a:pt x="14240" y="4601"/>
                    <a:pt x="14295" y="4654"/>
                    <a:pt x="14303" y="4652"/>
                  </a:cubicBezTo>
                  <a:close/>
                  <a:moveTo>
                    <a:pt x="14412" y="4765"/>
                  </a:moveTo>
                  <a:cubicBezTo>
                    <a:pt x="14370" y="4743"/>
                    <a:pt x="14370" y="4743"/>
                    <a:pt x="14370" y="4743"/>
                  </a:cubicBezTo>
                  <a:cubicBezTo>
                    <a:pt x="14403" y="4785"/>
                    <a:pt x="14403" y="4785"/>
                    <a:pt x="14403" y="4785"/>
                  </a:cubicBezTo>
                  <a:lnTo>
                    <a:pt x="14412" y="4765"/>
                  </a:lnTo>
                  <a:close/>
                  <a:moveTo>
                    <a:pt x="14293" y="4692"/>
                  </a:moveTo>
                  <a:cubicBezTo>
                    <a:pt x="14293" y="4692"/>
                    <a:pt x="14289" y="4711"/>
                    <a:pt x="14307" y="4719"/>
                  </a:cubicBezTo>
                  <a:cubicBezTo>
                    <a:pt x="14333" y="4730"/>
                    <a:pt x="14348" y="4722"/>
                    <a:pt x="14348" y="4722"/>
                  </a:cubicBezTo>
                  <a:cubicBezTo>
                    <a:pt x="14348" y="4722"/>
                    <a:pt x="14347" y="4710"/>
                    <a:pt x="14328" y="4699"/>
                  </a:cubicBezTo>
                  <a:cubicBezTo>
                    <a:pt x="14310" y="4689"/>
                    <a:pt x="14293" y="4692"/>
                    <a:pt x="14293" y="4692"/>
                  </a:cubicBezTo>
                  <a:close/>
                  <a:moveTo>
                    <a:pt x="12286" y="4345"/>
                  </a:moveTo>
                  <a:cubicBezTo>
                    <a:pt x="12291" y="4338"/>
                    <a:pt x="12310" y="4288"/>
                    <a:pt x="12310" y="4288"/>
                  </a:cubicBezTo>
                  <a:cubicBezTo>
                    <a:pt x="12310" y="4288"/>
                    <a:pt x="12292" y="4286"/>
                    <a:pt x="12289" y="4273"/>
                  </a:cubicBezTo>
                  <a:cubicBezTo>
                    <a:pt x="12286" y="4261"/>
                    <a:pt x="12292" y="4246"/>
                    <a:pt x="12297" y="4233"/>
                  </a:cubicBezTo>
                  <a:cubicBezTo>
                    <a:pt x="12303" y="4219"/>
                    <a:pt x="12325" y="4221"/>
                    <a:pt x="12338" y="4219"/>
                  </a:cubicBezTo>
                  <a:cubicBezTo>
                    <a:pt x="12350" y="4218"/>
                    <a:pt x="12357" y="4194"/>
                    <a:pt x="12356" y="4186"/>
                  </a:cubicBezTo>
                  <a:cubicBezTo>
                    <a:pt x="12354" y="4178"/>
                    <a:pt x="12334" y="4186"/>
                    <a:pt x="12334" y="4186"/>
                  </a:cubicBezTo>
                  <a:cubicBezTo>
                    <a:pt x="12334" y="4186"/>
                    <a:pt x="12331" y="4173"/>
                    <a:pt x="12343" y="4160"/>
                  </a:cubicBezTo>
                  <a:cubicBezTo>
                    <a:pt x="12356" y="4149"/>
                    <a:pt x="12383" y="4154"/>
                    <a:pt x="12394" y="4156"/>
                  </a:cubicBezTo>
                  <a:cubicBezTo>
                    <a:pt x="12405" y="4159"/>
                    <a:pt x="12405" y="4142"/>
                    <a:pt x="12405" y="4142"/>
                  </a:cubicBezTo>
                  <a:cubicBezTo>
                    <a:pt x="12379" y="4120"/>
                    <a:pt x="12379" y="4120"/>
                    <a:pt x="12379" y="4120"/>
                  </a:cubicBezTo>
                  <a:cubicBezTo>
                    <a:pt x="12379" y="4093"/>
                    <a:pt x="12379" y="4093"/>
                    <a:pt x="12379" y="4093"/>
                  </a:cubicBezTo>
                  <a:cubicBezTo>
                    <a:pt x="12379" y="4093"/>
                    <a:pt x="12360" y="4092"/>
                    <a:pt x="12360" y="4084"/>
                  </a:cubicBezTo>
                  <a:cubicBezTo>
                    <a:pt x="12360" y="4076"/>
                    <a:pt x="12372" y="4064"/>
                    <a:pt x="12371" y="4053"/>
                  </a:cubicBezTo>
                  <a:cubicBezTo>
                    <a:pt x="12370" y="4041"/>
                    <a:pt x="12337" y="4038"/>
                    <a:pt x="12337" y="4038"/>
                  </a:cubicBezTo>
                  <a:cubicBezTo>
                    <a:pt x="12348" y="4020"/>
                    <a:pt x="12348" y="4020"/>
                    <a:pt x="12348" y="4020"/>
                  </a:cubicBezTo>
                  <a:cubicBezTo>
                    <a:pt x="12337" y="4015"/>
                    <a:pt x="12337" y="4015"/>
                    <a:pt x="12337" y="4015"/>
                  </a:cubicBezTo>
                  <a:cubicBezTo>
                    <a:pt x="12341" y="3995"/>
                    <a:pt x="12341" y="3995"/>
                    <a:pt x="12341" y="3995"/>
                  </a:cubicBezTo>
                  <a:cubicBezTo>
                    <a:pt x="12333" y="3984"/>
                    <a:pt x="12333" y="3984"/>
                    <a:pt x="12333" y="3984"/>
                  </a:cubicBezTo>
                  <a:cubicBezTo>
                    <a:pt x="12333" y="3984"/>
                    <a:pt x="12333" y="3984"/>
                    <a:pt x="12333" y="3984"/>
                  </a:cubicBezTo>
                  <a:cubicBezTo>
                    <a:pt x="12332" y="3983"/>
                    <a:pt x="12332" y="3983"/>
                    <a:pt x="12332" y="3983"/>
                  </a:cubicBezTo>
                  <a:cubicBezTo>
                    <a:pt x="12345" y="3980"/>
                    <a:pt x="12345" y="3980"/>
                    <a:pt x="12345" y="3980"/>
                  </a:cubicBezTo>
                  <a:cubicBezTo>
                    <a:pt x="12336" y="3938"/>
                    <a:pt x="12336" y="3938"/>
                    <a:pt x="12336" y="3938"/>
                  </a:cubicBezTo>
                  <a:cubicBezTo>
                    <a:pt x="12336" y="3938"/>
                    <a:pt x="12351" y="3954"/>
                    <a:pt x="12360" y="3956"/>
                  </a:cubicBezTo>
                  <a:cubicBezTo>
                    <a:pt x="12370" y="3957"/>
                    <a:pt x="12385" y="3954"/>
                    <a:pt x="12385" y="3954"/>
                  </a:cubicBezTo>
                  <a:cubicBezTo>
                    <a:pt x="12385" y="3954"/>
                    <a:pt x="12360" y="3930"/>
                    <a:pt x="12366" y="3920"/>
                  </a:cubicBezTo>
                  <a:cubicBezTo>
                    <a:pt x="12371" y="3909"/>
                    <a:pt x="12402" y="3925"/>
                    <a:pt x="12402" y="3925"/>
                  </a:cubicBezTo>
                  <a:cubicBezTo>
                    <a:pt x="12419" y="3905"/>
                    <a:pt x="12419" y="3905"/>
                    <a:pt x="12419" y="3905"/>
                  </a:cubicBezTo>
                  <a:cubicBezTo>
                    <a:pt x="12402" y="3899"/>
                    <a:pt x="12402" y="3899"/>
                    <a:pt x="12402" y="3899"/>
                  </a:cubicBezTo>
                  <a:cubicBezTo>
                    <a:pt x="12402" y="3899"/>
                    <a:pt x="12399" y="3887"/>
                    <a:pt x="12391" y="3882"/>
                  </a:cubicBezTo>
                  <a:cubicBezTo>
                    <a:pt x="12383" y="3876"/>
                    <a:pt x="12351" y="3871"/>
                    <a:pt x="12351" y="3871"/>
                  </a:cubicBezTo>
                  <a:cubicBezTo>
                    <a:pt x="12351" y="3871"/>
                    <a:pt x="12350" y="3852"/>
                    <a:pt x="12338" y="3840"/>
                  </a:cubicBezTo>
                  <a:cubicBezTo>
                    <a:pt x="12325" y="3827"/>
                    <a:pt x="12312" y="3836"/>
                    <a:pt x="12312" y="3836"/>
                  </a:cubicBezTo>
                  <a:cubicBezTo>
                    <a:pt x="12301" y="3795"/>
                    <a:pt x="12301" y="3795"/>
                    <a:pt x="12301" y="3795"/>
                  </a:cubicBezTo>
                  <a:cubicBezTo>
                    <a:pt x="12297" y="3808"/>
                    <a:pt x="12297" y="3808"/>
                    <a:pt x="12297" y="3808"/>
                  </a:cubicBezTo>
                  <a:cubicBezTo>
                    <a:pt x="12287" y="3794"/>
                    <a:pt x="12287" y="3794"/>
                    <a:pt x="12287" y="3794"/>
                  </a:cubicBezTo>
                  <a:cubicBezTo>
                    <a:pt x="12281" y="3835"/>
                    <a:pt x="12281" y="3835"/>
                    <a:pt x="12281" y="3835"/>
                  </a:cubicBezTo>
                  <a:cubicBezTo>
                    <a:pt x="12281" y="3835"/>
                    <a:pt x="12266" y="3839"/>
                    <a:pt x="12259" y="3844"/>
                  </a:cubicBezTo>
                  <a:cubicBezTo>
                    <a:pt x="12252" y="3849"/>
                    <a:pt x="12251" y="3871"/>
                    <a:pt x="12251" y="3871"/>
                  </a:cubicBezTo>
                  <a:cubicBezTo>
                    <a:pt x="12234" y="3877"/>
                    <a:pt x="12234" y="3877"/>
                    <a:pt x="12234" y="3877"/>
                  </a:cubicBezTo>
                  <a:cubicBezTo>
                    <a:pt x="12241" y="3901"/>
                    <a:pt x="12241" y="3901"/>
                    <a:pt x="12241" y="3901"/>
                  </a:cubicBezTo>
                  <a:cubicBezTo>
                    <a:pt x="12241" y="3901"/>
                    <a:pt x="12217" y="3898"/>
                    <a:pt x="12201" y="3895"/>
                  </a:cubicBezTo>
                  <a:cubicBezTo>
                    <a:pt x="12186" y="3891"/>
                    <a:pt x="12185" y="3930"/>
                    <a:pt x="12185" y="3930"/>
                  </a:cubicBezTo>
                  <a:cubicBezTo>
                    <a:pt x="12158" y="3960"/>
                    <a:pt x="12158" y="3960"/>
                    <a:pt x="12158" y="3960"/>
                  </a:cubicBezTo>
                  <a:cubicBezTo>
                    <a:pt x="12158" y="3960"/>
                    <a:pt x="12150" y="3995"/>
                    <a:pt x="12134" y="4007"/>
                  </a:cubicBezTo>
                  <a:cubicBezTo>
                    <a:pt x="12118" y="4018"/>
                    <a:pt x="12077" y="4026"/>
                    <a:pt x="12068" y="4029"/>
                  </a:cubicBezTo>
                  <a:cubicBezTo>
                    <a:pt x="12059" y="4031"/>
                    <a:pt x="12027" y="4056"/>
                    <a:pt x="12027" y="4056"/>
                  </a:cubicBezTo>
                  <a:cubicBezTo>
                    <a:pt x="12018" y="4079"/>
                    <a:pt x="12018" y="4079"/>
                    <a:pt x="12018" y="4079"/>
                  </a:cubicBezTo>
                  <a:cubicBezTo>
                    <a:pt x="12018" y="4079"/>
                    <a:pt x="12042" y="4097"/>
                    <a:pt x="12023" y="4111"/>
                  </a:cubicBezTo>
                  <a:cubicBezTo>
                    <a:pt x="12005" y="4125"/>
                    <a:pt x="11992" y="4102"/>
                    <a:pt x="11981" y="4099"/>
                  </a:cubicBezTo>
                  <a:cubicBezTo>
                    <a:pt x="11971" y="4097"/>
                    <a:pt x="11958" y="4116"/>
                    <a:pt x="11958" y="4116"/>
                  </a:cubicBezTo>
                  <a:cubicBezTo>
                    <a:pt x="11958" y="4116"/>
                    <a:pt x="11939" y="4098"/>
                    <a:pt x="11926" y="4112"/>
                  </a:cubicBezTo>
                  <a:cubicBezTo>
                    <a:pt x="11912" y="4127"/>
                    <a:pt x="11905" y="4163"/>
                    <a:pt x="11905" y="4163"/>
                  </a:cubicBezTo>
                  <a:cubicBezTo>
                    <a:pt x="11921" y="4185"/>
                    <a:pt x="11921" y="4185"/>
                    <a:pt x="11921" y="4185"/>
                  </a:cubicBezTo>
                  <a:cubicBezTo>
                    <a:pt x="11928" y="4220"/>
                    <a:pt x="11928" y="4220"/>
                    <a:pt x="11928" y="4220"/>
                  </a:cubicBezTo>
                  <a:cubicBezTo>
                    <a:pt x="11959" y="4238"/>
                    <a:pt x="11959" y="4238"/>
                    <a:pt x="11959" y="4238"/>
                  </a:cubicBezTo>
                  <a:cubicBezTo>
                    <a:pt x="11954" y="4262"/>
                    <a:pt x="11954" y="4262"/>
                    <a:pt x="11954" y="4262"/>
                  </a:cubicBezTo>
                  <a:cubicBezTo>
                    <a:pt x="11971" y="4273"/>
                    <a:pt x="11971" y="4273"/>
                    <a:pt x="11971" y="4273"/>
                  </a:cubicBezTo>
                  <a:cubicBezTo>
                    <a:pt x="11960" y="4292"/>
                    <a:pt x="11960" y="4292"/>
                    <a:pt x="11960" y="4292"/>
                  </a:cubicBezTo>
                  <a:cubicBezTo>
                    <a:pt x="11973" y="4310"/>
                    <a:pt x="11973" y="4310"/>
                    <a:pt x="11973" y="4310"/>
                  </a:cubicBezTo>
                  <a:cubicBezTo>
                    <a:pt x="11962" y="4317"/>
                    <a:pt x="11962" y="4317"/>
                    <a:pt x="11962" y="4317"/>
                  </a:cubicBezTo>
                  <a:cubicBezTo>
                    <a:pt x="11972" y="4355"/>
                    <a:pt x="11972" y="4355"/>
                    <a:pt x="11972" y="4355"/>
                  </a:cubicBezTo>
                  <a:cubicBezTo>
                    <a:pt x="12000" y="4351"/>
                    <a:pt x="12000" y="4351"/>
                    <a:pt x="12000" y="4351"/>
                  </a:cubicBezTo>
                  <a:cubicBezTo>
                    <a:pt x="12020" y="4358"/>
                    <a:pt x="12020" y="4358"/>
                    <a:pt x="12020" y="4358"/>
                  </a:cubicBezTo>
                  <a:cubicBezTo>
                    <a:pt x="12020" y="4358"/>
                    <a:pt x="12032" y="4336"/>
                    <a:pt x="12044" y="4336"/>
                  </a:cubicBezTo>
                  <a:cubicBezTo>
                    <a:pt x="12056" y="4336"/>
                    <a:pt x="12044" y="4368"/>
                    <a:pt x="12056" y="4378"/>
                  </a:cubicBezTo>
                  <a:cubicBezTo>
                    <a:pt x="12067" y="4387"/>
                    <a:pt x="12077" y="4357"/>
                    <a:pt x="12077" y="4357"/>
                  </a:cubicBezTo>
                  <a:cubicBezTo>
                    <a:pt x="12095" y="4369"/>
                    <a:pt x="12095" y="4369"/>
                    <a:pt x="12095" y="4369"/>
                  </a:cubicBezTo>
                  <a:cubicBezTo>
                    <a:pt x="12095" y="4369"/>
                    <a:pt x="12111" y="4355"/>
                    <a:pt x="12120" y="4355"/>
                  </a:cubicBezTo>
                  <a:cubicBezTo>
                    <a:pt x="12129" y="4354"/>
                    <a:pt x="12123" y="4380"/>
                    <a:pt x="12133" y="4383"/>
                  </a:cubicBezTo>
                  <a:cubicBezTo>
                    <a:pt x="12143" y="4387"/>
                    <a:pt x="12174" y="4371"/>
                    <a:pt x="12190" y="4374"/>
                  </a:cubicBezTo>
                  <a:cubicBezTo>
                    <a:pt x="12206" y="4378"/>
                    <a:pt x="12191" y="4427"/>
                    <a:pt x="12191" y="4427"/>
                  </a:cubicBezTo>
                  <a:cubicBezTo>
                    <a:pt x="12191" y="4427"/>
                    <a:pt x="12205" y="4423"/>
                    <a:pt x="12221" y="4416"/>
                  </a:cubicBezTo>
                  <a:cubicBezTo>
                    <a:pt x="12237" y="4408"/>
                    <a:pt x="12259" y="4369"/>
                    <a:pt x="12259" y="4369"/>
                  </a:cubicBezTo>
                  <a:cubicBezTo>
                    <a:pt x="12259" y="4369"/>
                    <a:pt x="12280" y="4352"/>
                    <a:pt x="12286" y="4345"/>
                  </a:cubicBezTo>
                  <a:close/>
                  <a:moveTo>
                    <a:pt x="12956" y="4630"/>
                  </a:moveTo>
                  <a:cubicBezTo>
                    <a:pt x="12975" y="4615"/>
                    <a:pt x="12975" y="4615"/>
                    <a:pt x="12975" y="4615"/>
                  </a:cubicBezTo>
                  <a:cubicBezTo>
                    <a:pt x="12975" y="4615"/>
                    <a:pt x="12997" y="4623"/>
                    <a:pt x="12997" y="4601"/>
                  </a:cubicBezTo>
                  <a:cubicBezTo>
                    <a:pt x="12997" y="4579"/>
                    <a:pt x="12946" y="4605"/>
                    <a:pt x="12946" y="4624"/>
                  </a:cubicBezTo>
                  <a:lnTo>
                    <a:pt x="12956" y="4630"/>
                  </a:lnTo>
                  <a:close/>
                  <a:moveTo>
                    <a:pt x="12188" y="4632"/>
                  </a:moveTo>
                  <a:cubicBezTo>
                    <a:pt x="12185" y="4651"/>
                    <a:pt x="12185" y="4651"/>
                    <a:pt x="12185" y="4651"/>
                  </a:cubicBezTo>
                  <a:cubicBezTo>
                    <a:pt x="12185" y="4651"/>
                    <a:pt x="12195" y="4679"/>
                    <a:pt x="12208" y="4668"/>
                  </a:cubicBezTo>
                  <a:cubicBezTo>
                    <a:pt x="12221" y="4658"/>
                    <a:pt x="12224" y="4632"/>
                    <a:pt x="12214" y="4632"/>
                  </a:cubicBezTo>
                  <a:cubicBezTo>
                    <a:pt x="12204" y="4632"/>
                    <a:pt x="12188" y="4632"/>
                    <a:pt x="12188" y="4632"/>
                  </a:cubicBezTo>
                  <a:close/>
                  <a:moveTo>
                    <a:pt x="12905" y="4830"/>
                  </a:moveTo>
                  <a:cubicBezTo>
                    <a:pt x="12914" y="4840"/>
                    <a:pt x="12930" y="4808"/>
                    <a:pt x="12930" y="4808"/>
                  </a:cubicBezTo>
                  <a:cubicBezTo>
                    <a:pt x="12920" y="4794"/>
                    <a:pt x="12896" y="4819"/>
                    <a:pt x="12905" y="4830"/>
                  </a:cubicBezTo>
                  <a:close/>
                  <a:moveTo>
                    <a:pt x="12245" y="4630"/>
                  </a:moveTo>
                  <a:cubicBezTo>
                    <a:pt x="12235" y="4629"/>
                    <a:pt x="12229" y="4640"/>
                    <a:pt x="12229" y="4640"/>
                  </a:cubicBezTo>
                  <a:cubicBezTo>
                    <a:pt x="12229" y="4640"/>
                    <a:pt x="12246" y="4655"/>
                    <a:pt x="12257" y="4648"/>
                  </a:cubicBezTo>
                  <a:cubicBezTo>
                    <a:pt x="12267" y="4640"/>
                    <a:pt x="12255" y="4632"/>
                    <a:pt x="12245" y="4630"/>
                  </a:cubicBezTo>
                  <a:close/>
                  <a:moveTo>
                    <a:pt x="13136" y="4491"/>
                  </a:moveTo>
                  <a:cubicBezTo>
                    <a:pt x="13117" y="4495"/>
                    <a:pt x="13117" y="4495"/>
                    <a:pt x="13117" y="4495"/>
                  </a:cubicBezTo>
                  <a:cubicBezTo>
                    <a:pt x="13112" y="4516"/>
                    <a:pt x="13112" y="4516"/>
                    <a:pt x="13112" y="4516"/>
                  </a:cubicBezTo>
                  <a:cubicBezTo>
                    <a:pt x="13102" y="4526"/>
                    <a:pt x="13102" y="4526"/>
                    <a:pt x="13102" y="4526"/>
                  </a:cubicBezTo>
                  <a:cubicBezTo>
                    <a:pt x="13104" y="4561"/>
                    <a:pt x="13104" y="4561"/>
                    <a:pt x="13104" y="4561"/>
                  </a:cubicBezTo>
                  <a:cubicBezTo>
                    <a:pt x="13115" y="4564"/>
                    <a:pt x="13115" y="4564"/>
                    <a:pt x="13115" y="4564"/>
                  </a:cubicBezTo>
                  <a:cubicBezTo>
                    <a:pt x="13114" y="4551"/>
                    <a:pt x="13114" y="4551"/>
                    <a:pt x="13114" y="4551"/>
                  </a:cubicBezTo>
                  <a:cubicBezTo>
                    <a:pt x="13121" y="4548"/>
                    <a:pt x="13121" y="4548"/>
                    <a:pt x="13121" y="4548"/>
                  </a:cubicBezTo>
                  <a:cubicBezTo>
                    <a:pt x="13120" y="4533"/>
                    <a:pt x="13120" y="4533"/>
                    <a:pt x="13120" y="4533"/>
                  </a:cubicBezTo>
                  <a:cubicBezTo>
                    <a:pt x="13111" y="4533"/>
                    <a:pt x="13111" y="4533"/>
                    <a:pt x="13111" y="4533"/>
                  </a:cubicBezTo>
                  <a:cubicBezTo>
                    <a:pt x="13123" y="4513"/>
                    <a:pt x="13123" y="4513"/>
                    <a:pt x="13123" y="4513"/>
                  </a:cubicBezTo>
                  <a:lnTo>
                    <a:pt x="13136" y="4491"/>
                  </a:lnTo>
                  <a:close/>
                  <a:moveTo>
                    <a:pt x="14354" y="4634"/>
                  </a:moveTo>
                  <a:cubicBezTo>
                    <a:pt x="14354" y="4634"/>
                    <a:pt x="14343" y="4669"/>
                    <a:pt x="14349" y="4680"/>
                  </a:cubicBezTo>
                  <a:cubicBezTo>
                    <a:pt x="14356" y="4690"/>
                    <a:pt x="14383" y="4710"/>
                    <a:pt x="14383" y="4710"/>
                  </a:cubicBezTo>
                  <a:lnTo>
                    <a:pt x="14354" y="4634"/>
                  </a:lnTo>
                  <a:close/>
                  <a:moveTo>
                    <a:pt x="11730" y="4507"/>
                  </a:moveTo>
                  <a:cubicBezTo>
                    <a:pt x="11735" y="4502"/>
                    <a:pt x="11735" y="4487"/>
                    <a:pt x="11735" y="4487"/>
                  </a:cubicBezTo>
                  <a:cubicBezTo>
                    <a:pt x="11754" y="4505"/>
                    <a:pt x="11754" y="4505"/>
                    <a:pt x="11754" y="4505"/>
                  </a:cubicBezTo>
                  <a:cubicBezTo>
                    <a:pt x="11754" y="4505"/>
                    <a:pt x="11762" y="4482"/>
                    <a:pt x="11762" y="4466"/>
                  </a:cubicBezTo>
                  <a:cubicBezTo>
                    <a:pt x="11762" y="4450"/>
                    <a:pt x="11771" y="4406"/>
                    <a:pt x="11771" y="4406"/>
                  </a:cubicBezTo>
                  <a:cubicBezTo>
                    <a:pt x="11771" y="4406"/>
                    <a:pt x="11762" y="4401"/>
                    <a:pt x="11762" y="4391"/>
                  </a:cubicBezTo>
                  <a:cubicBezTo>
                    <a:pt x="11762" y="4382"/>
                    <a:pt x="11781" y="4367"/>
                    <a:pt x="11775" y="4362"/>
                  </a:cubicBezTo>
                  <a:cubicBezTo>
                    <a:pt x="11770" y="4357"/>
                    <a:pt x="11765" y="4353"/>
                    <a:pt x="11765" y="4353"/>
                  </a:cubicBezTo>
                  <a:cubicBezTo>
                    <a:pt x="11757" y="4322"/>
                    <a:pt x="11757" y="4322"/>
                    <a:pt x="11757" y="4322"/>
                  </a:cubicBezTo>
                  <a:cubicBezTo>
                    <a:pt x="11729" y="4323"/>
                    <a:pt x="11729" y="4323"/>
                    <a:pt x="11729" y="4323"/>
                  </a:cubicBezTo>
                  <a:cubicBezTo>
                    <a:pt x="11729" y="4323"/>
                    <a:pt x="11733" y="4305"/>
                    <a:pt x="11726" y="4301"/>
                  </a:cubicBezTo>
                  <a:cubicBezTo>
                    <a:pt x="11719" y="4297"/>
                    <a:pt x="11705" y="4298"/>
                    <a:pt x="11705" y="4298"/>
                  </a:cubicBezTo>
                  <a:cubicBezTo>
                    <a:pt x="11699" y="4251"/>
                    <a:pt x="11699" y="4251"/>
                    <a:pt x="11699" y="4251"/>
                  </a:cubicBezTo>
                  <a:cubicBezTo>
                    <a:pt x="11699" y="4251"/>
                    <a:pt x="11657" y="4255"/>
                    <a:pt x="11654" y="4242"/>
                  </a:cubicBezTo>
                  <a:cubicBezTo>
                    <a:pt x="11651" y="4229"/>
                    <a:pt x="11665" y="4213"/>
                    <a:pt x="11665" y="4213"/>
                  </a:cubicBezTo>
                  <a:cubicBezTo>
                    <a:pt x="11649" y="4211"/>
                    <a:pt x="11649" y="4211"/>
                    <a:pt x="11649" y="4211"/>
                  </a:cubicBezTo>
                  <a:cubicBezTo>
                    <a:pt x="11649" y="4211"/>
                    <a:pt x="11674" y="4182"/>
                    <a:pt x="11665" y="4174"/>
                  </a:cubicBezTo>
                  <a:cubicBezTo>
                    <a:pt x="11655" y="4166"/>
                    <a:pt x="11613" y="4185"/>
                    <a:pt x="11613" y="4185"/>
                  </a:cubicBezTo>
                  <a:cubicBezTo>
                    <a:pt x="11613" y="4185"/>
                    <a:pt x="11638" y="4161"/>
                    <a:pt x="11630" y="4157"/>
                  </a:cubicBezTo>
                  <a:cubicBezTo>
                    <a:pt x="11622" y="4153"/>
                    <a:pt x="11598" y="4149"/>
                    <a:pt x="11598" y="4149"/>
                  </a:cubicBezTo>
                  <a:cubicBezTo>
                    <a:pt x="11598" y="4149"/>
                    <a:pt x="11609" y="4141"/>
                    <a:pt x="11595" y="4123"/>
                  </a:cubicBezTo>
                  <a:cubicBezTo>
                    <a:pt x="11582" y="4106"/>
                    <a:pt x="11559" y="4105"/>
                    <a:pt x="11559" y="4105"/>
                  </a:cubicBezTo>
                  <a:cubicBezTo>
                    <a:pt x="11559" y="4105"/>
                    <a:pt x="11553" y="4085"/>
                    <a:pt x="11546" y="4077"/>
                  </a:cubicBezTo>
                  <a:cubicBezTo>
                    <a:pt x="11539" y="4069"/>
                    <a:pt x="11530" y="4075"/>
                    <a:pt x="11530" y="4075"/>
                  </a:cubicBezTo>
                  <a:cubicBezTo>
                    <a:pt x="11534" y="4090"/>
                    <a:pt x="11534" y="4090"/>
                    <a:pt x="11534" y="4090"/>
                  </a:cubicBezTo>
                  <a:cubicBezTo>
                    <a:pt x="11534" y="4090"/>
                    <a:pt x="11509" y="4071"/>
                    <a:pt x="11503" y="4065"/>
                  </a:cubicBezTo>
                  <a:cubicBezTo>
                    <a:pt x="11498" y="4058"/>
                    <a:pt x="11487" y="4031"/>
                    <a:pt x="11487" y="4031"/>
                  </a:cubicBezTo>
                  <a:cubicBezTo>
                    <a:pt x="11487" y="4031"/>
                    <a:pt x="11457" y="4010"/>
                    <a:pt x="11443" y="3998"/>
                  </a:cubicBezTo>
                  <a:cubicBezTo>
                    <a:pt x="11430" y="3986"/>
                    <a:pt x="11407" y="3967"/>
                    <a:pt x="11407" y="3967"/>
                  </a:cubicBezTo>
                  <a:cubicBezTo>
                    <a:pt x="11407" y="3967"/>
                    <a:pt x="11411" y="3962"/>
                    <a:pt x="11406" y="3957"/>
                  </a:cubicBezTo>
                  <a:cubicBezTo>
                    <a:pt x="11401" y="3951"/>
                    <a:pt x="11394" y="3945"/>
                    <a:pt x="11394" y="3945"/>
                  </a:cubicBezTo>
                  <a:cubicBezTo>
                    <a:pt x="11394" y="3945"/>
                    <a:pt x="11383" y="3926"/>
                    <a:pt x="11375" y="3919"/>
                  </a:cubicBezTo>
                  <a:cubicBezTo>
                    <a:pt x="11367" y="3913"/>
                    <a:pt x="11359" y="3914"/>
                    <a:pt x="11359" y="3914"/>
                  </a:cubicBezTo>
                  <a:cubicBezTo>
                    <a:pt x="11302" y="3910"/>
                    <a:pt x="11302" y="3910"/>
                    <a:pt x="11302" y="3910"/>
                  </a:cubicBezTo>
                  <a:cubicBezTo>
                    <a:pt x="11302" y="3910"/>
                    <a:pt x="11282" y="3885"/>
                    <a:pt x="11271" y="3887"/>
                  </a:cubicBezTo>
                  <a:cubicBezTo>
                    <a:pt x="11261" y="3890"/>
                    <a:pt x="11255" y="3914"/>
                    <a:pt x="11262" y="3926"/>
                  </a:cubicBezTo>
                  <a:cubicBezTo>
                    <a:pt x="11269" y="3938"/>
                    <a:pt x="11343" y="4006"/>
                    <a:pt x="11343" y="4006"/>
                  </a:cubicBezTo>
                  <a:cubicBezTo>
                    <a:pt x="11366" y="4042"/>
                    <a:pt x="11366" y="4042"/>
                    <a:pt x="11366" y="4042"/>
                  </a:cubicBezTo>
                  <a:cubicBezTo>
                    <a:pt x="11374" y="4039"/>
                    <a:pt x="11374" y="4039"/>
                    <a:pt x="11374" y="4039"/>
                  </a:cubicBezTo>
                  <a:cubicBezTo>
                    <a:pt x="11374" y="4039"/>
                    <a:pt x="11377" y="4063"/>
                    <a:pt x="11383" y="4069"/>
                  </a:cubicBezTo>
                  <a:cubicBezTo>
                    <a:pt x="11390" y="4074"/>
                    <a:pt x="11425" y="4087"/>
                    <a:pt x="11433" y="4103"/>
                  </a:cubicBezTo>
                  <a:cubicBezTo>
                    <a:pt x="11441" y="4119"/>
                    <a:pt x="11449" y="4151"/>
                    <a:pt x="11449" y="4151"/>
                  </a:cubicBezTo>
                  <a:cubicBezTo>
                    <a:pt x="11449" y="4151"/>
                    <a:pt x="11446" y="4186"/>
                    <a:pt x="11454" y="4186"/>
                  </a:cubicBezTo>
                  <a:cubicBezTo>
                    <a:pt x="11462" y="4186"/>
                    <a:pt x="11474" y="4178"/>
                    <a:pt x="11477" y="4187"/>
                  </a:cubicBezTo>
                  <a:cubicBezTo>
                    <a:pt x="11479" y="4197"/>
                    <a:pt x="11485" y="4213"/>
                    <a:pt x="11485" y="4213"/>
                  </a:cubicBezTo>
                  <a:cubicBezTo>
                    <a:pt x="11510" y="4234"/>
                    <a:pt x="11510" y="4234"/>
                    <a:pt x="11510" y="4234"/>
                  </a:cubicBezTo>
                  <a:cubicBezTo>
                    <a:pt x="11509" y="4250"/>
                    <a:pt x="11509" y="4250"/>
                    <a:pt x="11509" y="4250"/>
                  </a:cubicBezTo>
                  <a:cubicBezTo>
                    <a:pt x="11530" y="4293"/>
                    <a:pt x="11530" y="4293"/>
                    <a:pt x="11530" y="4293"/>
                  </a:cubicBezTo>
                  <a:cubicBezTo>
                    <a:pt x="11530" y="4293"/>
                    <a:pt x="11523" y="4306"/>
                    <a:pt x="11533" y="4321"/>
                  </a:cubicBezTo>
                  <a:cubicBezTo>
                    <a:pt x="11542" y="4335"/>
                    <a:pt x="11551" y="4338"/>
                    <a:pt x="11551" y="4338"/>
                  </a:cubicBezTo>
                  <a:cubicBezTo>
                    <a:pt x="11551" y="4338"/>
                    <a:pt x="11561" y="4362"/>
                    <a:pt x="11569" y="4370"/>
                  </a:cubicBezTo>
                  <a:cubicBezTo>
                    <a:pt x="11577" y="4378"/>
                    <a:pt x="11598" y="4386"/>
                    <a:pt x="11598" y="4386"/>
                  </a:cubicBezTo>
                  <a:cubicBezTo>
                    <a:pt x="11598" y="4411"/>
                    <a:pt x="11598" y="4411"/>
                    <a:pt x="11598" y="4411"/>
                  </a:cubicBezTo>
                  <a:cubicBezTo>
                    <a:pt x="11598" y="4411"/>
                    <a:pt x="11647" y="4453"/>
                    <a:pt x="11650" y="4457"/>
                  </a:cubicBezTo>
                  <a:cubicBezTo>
                    <a:pt x="11653" y="4461"/>
                    <a:pt x="11666" y="4462"/>
                    <a:pt x="11666" y="4462"/>
                  </a:cubicBezTo>
                  <a:cubicBezTo>
                    <a:pt x="11666" y="4462"/>
                    <a:pt x="11677" y="4487"/>
                    <a:pt x="11685" y="4491"/>
                  </a:cubicBezTo>
                  <a:cubicBezTo>
                    <a:pt x="11693" y="4495"/>
                    <a:pt x="11695" y="4517"/>
                    <a:pt x="11699" y="4515"/>
                  </a:cubicBezTo>
                  <a:cubicBezTo>
                    <a:pt x="11703" y="4514"/>
                    <a:pt x="11697" y="4493"/>
                    <a:pt x="11702" y="4490"/>
                  </a:cubicBezTo>
                  <a:cubicBezTo>
                    <a:pt x="11707" y="4487"/>
                    <a:pt x="11725" y="4513"/>
                    <a:pt x="11730" y="4507"/>
                  </a:cubicBezTo>
                  <a:close/>
                  <a:moveTo>
                    <a:pt x="13238" y="6397"/>
                  </a:moveTo>
                  <a:cubicBezTo>
                    <a:pt x="13229" y="6391"/>
                    <a:pt x="13218" y="6411"/>
                    <a:pt x="13218" y="6411"/>
                  </a:cubicBezTo>
                  <a:cubicBezTo>
                    <a:pt x="13218" y="6411"/>
                    <a:pt x="13214" y="6405"/>
                    <a:pt x="13210" y="6405"/>
                  </a:cubicBezTo>
                  <a:cubicBezTo>
                    <a:pt x="13206" y="6404"/>
                    <a:pt x="13183" y="6408"/>
                    <a:pt x="13183" y="6408"/>
                  </a:cubicBezTo>
                  <a:cubicBezTo>
                    <a:pt x="13180" y="6416"/>
                    <a:pt x="13180" y="6416"/>
                    <a:pt x="13180" y="6416"/>
                  </a:cubicBezTo>
                  <a:cubicBezTo>
                    <a:pt x="13167" y="6405"/>
                    <a:pt x="13167" y="6405"/>
                    <a:pt x="13167" y="6405"/>
                  </a:cubicBezTo>
                  <a:cubicBezTo>
                    <a:pt x="13142" y="6403"/>
                    <a:pt x="13142" y="6403"/>
                    <a:pt x="13142" y="6403"/>
                  </a:cubicBezTo>
                  <a:cubicBezTo>
                    <a:pt x="13127" y="6385"/>
                    <a:pt x="13127" y="6385"/>
                    <a:pt x="13127" y="6385"/>
                  </a:cubicBezTo>
                  <a:cubicBezTo>
                    <a:pt x="13127" y="6385"/>
                    <a:pt x="13122" y="6388"/>
                    <a:pt x="13116" y="6389"/>
                  </a:cubicBezTo>
                  <a:cubicBezTo>
                    <a:pt x="13111" y="6390"/>
                    <a:pt x="13094" y="6370"/>
                    <a:pt x="13094" y="6370"/>
                  </a:cubicBezTo>
                  <a:cubicBezTo>
                    <a:pt x="13090" y="6381"/>
                    <a:pt x="13090" y="6381"/>
                    <a:pt x="13090" y="6381"/>
                  </a:cubicBezTo>
                  <a:cubicBezTo>
                    <a:pt x="13094" y="6394"/>
                    <a:pt x="13094" y="6394"/>
                    <a:pt x="13094" y="6394"/>
                  </a:cubicBezTo>
                  <a:cubicBezTo>
                    <a:pt x="13094" y="6394"/>
                    <a:pt x="13095" y="6410"/>
                    <a:pt x="13093" y="6415"/>
                  </a:cubicBezTo>
                  <a:cubicBezTo>
                    <a:pt x="13091" y="6420"/>
                    <a:pt x="13085" y="6428"/>
                    <a:pt x="13091" y="6439"/>
                  </a:cubicBezTo>
                  <a:cubicBezTo>
                    <a:pt x="13097" y="6450"/>
                    <a:pt x="13090" y="6456"/>
                    <a:pt x="13082" y="6459"/>
                  </a:cubicBezTo>
                  <a:cubicBezTo>
                    <a:pt x="13073" y="6461"/>
                    <a:pt x="13066" y="6451"/>
                    <a:pt x="13066" y="6451"/>
                  </a:cubicBezTo>
                  <a:cubicBezTo>
                    <a:pt x="13066" y="6451"/>
                    <a:pt x="13062" y="6465"/>
                    <a:pt x="13061" y="6478"/>
                  </a:cubicBezTo>
                  <a:cubicBezTo>
                    <a:pt x="13060" y="6492"/>
                    <a:pt x="13072" y="6513"/>
                    <a:pt x="13072" y="6513"/>
                  </a:cubicBezTo>
                  <a:cubicBezTo>
                    <a:pt x="13087" y="6515"/>
                    <a:pt x="13087" y="6515"/>
                    <a:pt x="13087" y="6515"/>
                  </a:cubicBezTo>
                  <a:cubicBezTo>
                    <a:pt x="13074" y="6522"/>
                    <a:pt x="13074" y="6522"/>
                    <a:pt x="13074" y="6522"/>
                  </a:cubicBezTo>
                  <a:cubicBezTo>
                    <a:pt x="13079" y="6539"/>
                    <a:pt x="13079" y="6539"/>
                    <a:pt x="13079" y="6539"/>
                  </a:cubicBezTo>
                  <a:cubicBezTo>
                    <a:pt x="13079" y="6539"/>
                    <a:pt x="13091" y="6534"/>
                    <a:pt x="13097" y="6531"/>
                  </a:cubicBezTo>
                  <a:cubicBezTo>
                    <a:pt x="13104" y="6528"/>
                    <a:pt x="13109" y="6538"/>
                    <a:pt x="13120" y="6534"/>
                  </a:cubicBezTo>
                  <a:cubicBezTo>
                    <a:pt x="13131" y="6529"/>
                    <a:pt x="13138" y="6513"/>
                    <a:pt x="13145" y="6517"/>
                  </a:cubicBezTo>
                  <a:cubicBezTo>
                    <a:pt x="13153" y="6522"/>
                    <a:pt x="13142" y="6533"/>
                    <a:pt x="13142" y="6533"/>
                  </a:cubicBezTo>
                  <a:cubicBezTo>
                    <a:pt x="13153" y="6537"/>
                    <a:pt x="13153" y="6537"/>
                    <a:pt x="13153" y="6537"/>
                  </a:cubicBezTo>
                  <a:cubicBezTo>
                    <a:pt x="13153" y="6537"/>
                    <a:pt x="13174" y="6509"/>
                    <a:pt x="13183" y="6503"/>
                  </a:cubicBezTo>
                  <a:cubicBezTo>
                    <a:pt x="13191" y="6498"/>
                    <a:pt x="13174" y="6491"/>
                    <a:pt x="13174" y="6491"/>
                  </a:cubicBezTo>
                  <a:cubicBezTo>
                    <a:pt x="13188" y="6471"/>
                    <a:pt x="13188" y="6471"/>
                    <a:pt x="13188" y="6471"/>
                  </a:cubicBezTo>
                  <a:cubicBezTo>
                    <a:pt x="13188" y="6471"/>
                    <a:pt x="13198" y="6475"/>
                    <a:pt x="13209" y="6469"/>
                  </a:cubicBezTo>
                  <a:cubicBezTo>
                    <a:pt x="13220" y="6464"/>
                    <a:pt x="13211" y="6443"/>
                    <a:pt x="13221" y="6432"/>
                  </a:cubicBezTo>
                  <a:cubicBezTo>
                    <a:pt x="13232" y="6421"/>
                    <a:pt x="13246" y="6403"/>
                    <a:pt x="13238" y="6397"/>
                  </a:cubicBezTo>
                  <a:close/>
                  <a:moveTo>
                    <a:pt x="11483" y="4331"/>
                  </a:moveTo>
                  <a:cubicBezTo>
                    <a:pt x="11475" y="4338"/>
                    <a:pt x="11493" y="4347"/>
                    <a:pt x="11493" y="4347"/>
                  </a:cubicBezTo>
                  <a:cubicBezTo>
                    <a:pt x="11493" y="4347"/>
                    <a:pt x="11505" y="4371"/>
                    <a:pt x="11513" y="4363"/>
                  </a:cubicBezTo>
                  <a:cubicBezTo>
                    <a:pt x="11521" y="4355"/>
                    <a:pt x="11489" y="4327"/>
                    <a:pt x="11483" y="4331"/>
                  </a:cubicBezTo>
                  <a:close/>
                  <a:moveTo>
                    <a:pt x="13775" y="5539"/>
                  </a:moveTo>
                  <a:cubicBezTo>
                    <a:pt x="13775" y="5539"/>
                    <a:pt x="13772" y="5498"/>
                    <a:pt x="13771" y="5492"/>
                  </a:cubicBezTo>
                  <a:cubicBezTo>
                    <a:pt x="13769" y="5486"/>
                    <a:pt x="13749" y="5485"/>
                    <a:pt x="13749" y="5485"/>
                  </a:cubicBezTo>
                  <a:cubicBezTo>
                    <a:pt x="13749" y="5471"/>
                    <a:pt x="13749" y="5471"/>
                    <a:pt x="13749" y="5471"/>
                  </a:cubicBezTo>
                  <a:cubicBezTo>
                    <a:pt x="13736" y="5463"/>
                    <a:pt x="13736" y="5463"/>
                    <a:pt x="13736" y="5463"/>
                  </a:cubicBezTo>
                  <a:cubicBezTo>
                    <a:pt x="13736" y="5463"/>
                    <a:pt x="13741" y="5446"/>
                    <a:pt x="13736" y="5439"/>
                  </a:cubicBezTo>
                  <a:cubicBezTo>
                    <a:pt x="13731" y="5432"/>
                    <a:pt x="13711" y="5425"/>
                    <a:pt x="13711" y="5425"/>
                  </a:cubicBezTo>
                  <a:cubicBezTo>
                    <a:pt x="13711" y="5425"/>
                    <a:pt x="13746" y="5419"/>
                    <a:pt x="13748" y="5406"/>
                  </a:cubicBezTo>
                  <a:cubicBezTo>
                    <a:pt x="13750" y="5392"/>
                    <a:pt x="13728" y="5388"/>
                    <a:pt x="13728" y="5388"/>
                  </a:cubicBezTo>
                  <a:cubicBezTo>
                    <a:pt x="13728" y="5388"/>
                    <a:pt x="13721" y="5367"/>
                    <a:pt x="13710" y="5368"/>
                  </a:cubicBezTo>
                  <a:cubicBezTo>
                    <a:pt x="13698" y="5369"/>
                    <a:pt x="13703" y="5387"/>
                    <a:pt x="13703" y="5387"/>
                  </a:cubicBezTo>
                  <a:cubicBezTo>
                    <a:pt x="13689" y="5384"/>
                    <a:pt x="13689" y="5384"/>
                    <a:pt x="13689" y="5384"/>
                  </a:cubicBezTo>
                  <a:cubicBezTo>
                    <a:pt x="13689" y="5384"/>
                    <a:pt x="13702" y="5343"/>
                    <a:pt x="13702" y="5333"/>
                  </a:cubicBezTo>
                  <a:cubicBezTo>
                    <a:pt x="13701" y="5324"/>
                    <a:pt x="13681" y="5322"/>
                    <a:pt x="13677" y="5312"/>
                  </a:cubicBezTo>
                  <a:cubicBezTo>
                    <a:pt x="13674" y="5303"/>
                    <a:pt x="13687" y="5286"/>
                    <a:pt x="13683" y="5272"/>
                  </a:cubicBezTo>
                  <a:cubicBezTo>
                    <a:pt x="13679" y="5259"/>
                    <a:pt x="13619" y="5230"/>
                    <a:pt x="13619" y="5230"/>
                  </a:cubicBezTo>
                  <a:cubicBezTo>
                    <a:pt x="13613" y="5236"/>
                    <a:pt x="13613" y="5236"/>
                    <a:pt x="13613" y="5236"/>
                  </a:cubicBezTo>
                  <a:cubicBezTo>
                    <a:pt x="13613" y="5236"/>
                    <a:pt x="13585" y="5204"/>
                    <a:pt x="13583" y="5182"/>
                  </a:cubicBezTo>
                  <a:cubicBezTo>
                    <a:pt x="13582" y="5159"/>
                    <a:pt x="13591" y="5146"/>
                    <a:pt x="13591" y="5126"/>
                  </a:cubicBezTo>
                  <a:cubicBezTo>
                    <a:pt x="13591" y="5106"/>
                    <a:pt x="13572" y="5063"/>
                    <a:pt x="13568" y="5047"/>
                  </a:cubicBezTo>
                  <a:cubicBezTo>
                    <a:pt x="13564" y="5031"/>
                    <a:pt x="13575" y="5021"/>
                    <a:pt x="13577" y="5012"/>
                  </a:cubicBezTo>
                  <a:cubicBezTo>
                    <a:pt x="13579" y="5003"/>
                    <a:pt x="13572" y="4965"/>
                    <a:pt x="13572" y="4965"/>
                  </a:cubicBezTo>
                  <a:cubicBezTo>
                    <a:pt x="13555" y="4957"/>
                    <a:pt x="13555" y="4957"/>
                    <a:pt x="13555" y="4957"/>
                  </a:cubicBezTo>
                  <a:cubicBezTo>
                    <a:pt x="13555" y="4957"/>
                    <a:pt x="13541" y="4942"/>
                    <a:pt x="13531" y="4942"/>
                  </a:cubicBezTo>
                  <a:cubicBezTo>
                    <a:pt x="13521" y="4941"/>
                    <a:pt x="13515" y="4956"/>
                    <a:pt x="13515" y="4956"/>
                  </a:cubicBezTo>
                  <a:cubicBezTo>
                    <a:pt x="13515" y="4956"/>
                    <a:pt x="13508" y="4941"/>
                    <a:pt x="13507" y="4932"/>
                  </a:cubicBezTo>
                  <a:cubicBezTo>
                    <a:pt x="13506" y="4924"/>
                    <a:pt x="13513" y="4900"/>
                    <a:pt x="13513" y="4900"/>
                  </a:cubicBezTo>
                  <a:cubicBezTo>
                    <a:pt x="13502" y="4885"/>
                    <a:pt x="13502" y="4885"/>
                    <a:pt x="13502" y="4885"/>
                  </a:cubicBezTo>
                  <a:cubicBezTo>
                    <a:pt x="13502" y="4829"/>
                    <a:pt x="13502" y="4829"/>
                    <a:pt x="13502" y="4829"/>
                  </a:cubicBezTo>
                  <a:cubicBezTo>
                    <a:pt x="13502" y="4829"/>
                    <a:pt x="13481" y="4815"/>
                    <a:pt x="13484" y="4806"/>
                  </a:cubicBezTo>
                  <a:cubicBezTo>
                    <a:pt x="13488" y="4797"/>
                    <a:pt x="13492" y="4785"/>
                    <a:pt x="13487" y="4780"/>
                  </a:cubicBezTo>
                  <a:cubicBezTo>
                    <a:pt x="13482" y="4776"/>
                    <a:pt x="13470" y="4774"/>
                    <a:pt x="13470" y="4774"/>
                  </a:cubicBezTo>
                  <a:cubicBezTo>
                    <a:pt x="13471" y="4765"/>
                    <a:pt x="13471" y="4765"/>
                    <a:pt x="13471" y="4765"/>
                  </a:cubicBezTo>
                  <a:cubicBezTo>
                    <a:pt x="13451" y="4770"/>
                    <a:pt x="13451" y="4770"/>
                    <a:pt x="13451" y="4770"/>
                  </a:cubicBezTo>
                  <a:cubicBezTo>
                    <a:pt x="13447" y="4783"/>
                    <a:pt x="13447" y="4783"/>
                    <a:pt x="13447" y="4783"/>
                  </a:cubicBezTo>
                  <a:cubicBezTo>
                    <a:pt x="13447" y="4783"/>
                    <a:pt x="13435" y="4791"/>
                    <a:pt x="13429" y="4795"/>
                  </a:cubicBezTo>
                  <a:cubicBezTo>
                    <a:pt x="13424" y="4799"/>
                    <a:pt x="13437" y="4825"/>
                    <a:pt x="13437" y="4835"/>
                  </a:cubicBezTo>
                  <a:cubicBezTo>
                    <a:pt x="13436" y="4846"/>
                    <a:pt x="13402" y="4883"/>
                    <a:pt x="13402" y="4883"/>
                  </a:cubicBezTo>
                  <a:cubicBezTo>
                    <a:pt x="13413" y="4892"/>
                    <a:pt x="13413" y="4892"/>
                    <a:pt x="13413" y="4892"/>
                  </a:cubicBezTo>
                  <a:cubicBezTo>
                    <a:pt x="13413" y="4892"/>
                    <a:pt x="13398" y="4912"/>
                    <a:pt x="13396" y="4920"/>
                  </a:cubicBezTo>
                  <a:cubicBezTo>
                    <a:pt x="13394" y="4928"/>
                    <a:pt x="13400" y="4954"/>
                    <a:pt x="13400" y="4954"/>
                  </a:cubicBezTo>
                  <a:cubicBezTo>
                    <a:pt x="13400" y="4954"/>
                    <a:pt x="13379" y="5038"/>
                    <a:pt x="13378" y="5050"/>
                  </a:cubicBezTo>
                  <a:cubicBezTo>
                    <a:pt x="13377" y="5061"/>
                    <a:pt x="13350" y="5090"/>
                    <a:pt x="13350" y="5090"/>
                  </a:cubicBezTo>
                  <a:cubicBezTo>
                    <a:pt x="13350" y="5090"/>
                    <a:pt x="13351" y="5123"/>
                    <a:pt x="13334" y="5131"/>
                  </a:cubicBezTo>
                  <a:cubicBezTo>
                    <a:pt x="13317" y="5138"/>
                    <a:pt x="13281" y="5146"/>
                    <a:pt x="13281" y="5146"/>
                  </a:cubicBezTo>
                  <a:cubicBezTo>
                    <a:pt x="13281" y="5146"/>
                    <a:pt x="13260" y="5112"/>
                    <a:pt x="13255" y="5102"/>
                  </a:cubicBezTo>
                  <a:cubicBezTo>
                    <a:pt x="13250" y="5093"/>
                    <a:pt x="13209" y="5079"/>
                    <a:pt x="13189" y="5071"/>
                  </a:cubicBezTo>
                  <a:cubicBezTo>
                    <a:pt x="13168" y="5064"/>
                    <a:pt x="13155" y="5031"/>
                    <a:pt x="13152" y="5027"/>
                  </a:cubicBezTo>
                  <a:cubicBezTo>
                    <a:pt x="13149" y="5024"/>
                    <a:pt x="13129" y="5025"/>
                    <a:pt x="13129" y="5025"/>
                  </a:cubicBezTo>
                  <a:cubicBezTo>
                    <a:pt x="13113" y="4996"/>
                    <a:pt x="13113" y="4996"/>
                    <a:pt x="13113" y="4996"/>
                  </a:cubicBezTo>
                  <a:cubicBezTo>
                    <a:pt x="13126" y="4982"/>
                    <a:pt x="13126" y="4982"/>
                    <a:pt x="13126" y="4982"/>
                  </a:cubicBezTo>
                  <a:cubicBezTo>
                    <a:pt x="13126" y="4982"/>
                    <a:pt x="13119" y="4971"/>
                    <a:pt x="13127" y="4960"/>
                  </a:cubicBezTo>
                  <a:cubicBezTo>
                    <a:pt x="13135" y="4949"/>
                    <a:pt x="13145" y="4946"/>
                    <a:pt x="13145" y="4946"/>
                  </a:cubicBezTo>
                  <a:cubicBezTo>
                    <a:pt x="13141" y="4916"/>
                    <a:pt x="13141" y="4916"/>
                    <a:pt x="13141" y="4916"/>
                  </a:cubicBezTo>
                  <a:cubicBezTo>
                    <a:pt x="13154" y="4904"/>
                    <a:pt x="13154" y="4904"/>
                    <a:pt x="13154" y="4904"/>
                  </a:cubicBezTo>
                  <a:cubicBezTo>
                    <a:pt x="13154" y="4904"/>
                    <a:pt x="13168" y="4911"/>
                    <a:pt x="13173" y="4909"/>
                  </a:cubicBezTo>
                  <a:cubicBezTo>
                    <a:pt x="13179" y="4907"/>
                    <a:pt x="13180" y="4884"/>
                    <a:pt x="13180" y="4884"/>
                  </a:cubicBezTo>
                  <a:cubicBezTo>
                    <a:pt x="13205" y="4860"/>
                    <a:pt x="13205" y="4860"/>
                    <a:pt x="13205" y="4860"/>
                  </a:cubicBezTo>
                  <a:cubicBezTo>
                    <a:pt x="13205" y="4860"/>
                    <a:pt x="13191" y="4837"/>
                    <a:pt x="13175" y="4834"/>
                  </a:cubicBezTo>
                  <a:cubicBezTo>
                    <a:pt x="13158" y="4832"/>
                    <a:pt x="13137" y="4857"/>
                    <a:pt x="13137" y="4857"/>
                  </a:cubicBezTo>
                  <a:cubicBezTo>
                    <a:pt x="13135" y="4843"/>
                    <a:pt x="13135" y="4843"/>
                    <a:pt x="13135" y="4843"/>
                  </a:cubicBezTo>
                  <a:cubicBezTo>
                    <a:pt x="13115" y="4845"/>
                    <a:pt x="13115" y="4845"/>
                    <a:pt x="13115" y="4845"/>
                  </a:cubicBezTo>
                  <a:cubicBezTo>
                    <a:pt x="13106" y="4854"/>
                    <a:pt x="13106" y="4854"/>
                    <a:pt x="13106" y="4854"/>
                  </a:cubicBezTo>
                  <a:cubicBezTo>
                    <a:pt x="13100" y="4843"/>
                    <a:pt x="13100" y="4843"/>
                    <a:pt x="13100" y="4843"/>
                  </a:cubicBezTo>
                  <a:cubicBezTo>
                    <a:pt x="13076" y="4840"/>
                    <a:pt x="13076" y="4840"/>
                    <a:pt x="13076" y="4840"/>
                  </a:cubicBezTo>
                  <a:cubicBezTo>
                    <a:pt x="13076" y="4840"/>
                    <a:pt x="13050" y="4821"/>
                    <a:pt x="13045" y="4821"/>
                  </a:cubicBezTo>
                  <a:cubicBezTo>
                    <a:pt x="13041" y="4822"/>
                    <a:pt x="13007" y="4818"/>
                    <a:pt x="13007" y="4818"/>
                  </a:cubicBezTo>
                  <a:cubicBezTo>
                    <a:pt x="13007" y="4818"/>
                    <a:pt x="12999" y="4796"/>
                    <a:pt x="12992" y="4793"/>
                  </a:cubicBezTo>
                  <a:cubicBezTo>
                    <a:pt x="12986" y="4789"/>
                    <a:pt x="12984" y="4803"/>
                    <a:pt x="12984" y="4803"/>
                  </a:cubicBezTo>
                  <a:cubicBezTo>
                    <a:pt x="12984" y="4803"/>
                    <a:pt x="12959" y="4790"/>
                    <a:pt x="12953" y="4795"/>
                  </a:cubicBezTo>
                  <a:cubicBezTo>
                    <a:pt x="12947" y="4799"/>
                    <a:pt x="12956" y="4807"/>
                    <a:pt x="12956" y="4807"/>
                  </a:cubicBezTo>
                  <a:cubicBezTo>
                    <a:pt x="12956" y="4807"/>
                    <a:pt x="12943" y="4806"/>
                    <a:pt x="12941" y="4811"/>
                  </a:cubicBezTo>
                  <a:cubicBezTo>
                    <a:pt x="12938" y="4817"/>
                    <a:pt x="12955" y="4823"/>
                    <a:pt x="12966" y="4826"/>
                  </a:cubicBezTo>
                  <a:cubicBezTo>
                    <a:pt x="12977" y="4829"/>
                    <a:pt x="12983" y="4821"/>
                    <a:pt x="12983" y="4821"/>
                  </a:cubicBezTo>
                  <a:cubicBezTo>
                    <a:pt x="13005" y="4830"/>
                    <a:pt x="13005" y="4830"/>
                    <a:pt x="13005" y="4830"/>
                  </a:cubicBezTo>
                  <a:cubicBezTo>
                    <a:pt x="13005" y="4830"/>
                    <a:pt x="12983" y="4843"/>
                    <a:pt x="12971" y="4848"/>
                  </a:cubicBezTo>
                  <a:cubicBezTo>
                    <a:pt x="12960" y="4853"/>
                    <a:pt x="12926" y="4849"/>
                    <a:pt x="12918" y="4851"/>
                  </a:cubicBezTo>
                  <a:cubicBezTo>
                    <a:pt x="12911" y="4853"/>
                    <a:pt x="12861" y="4879"/>
                    <a:pt x="12861" y="4879"/>
                  </a:cubicBezTo>
                  <a:cubicBezTo>
                    <a:pt x="12861" y="4879"/>
                    <a:pt x="12855" y="4896"/>
                    <a:pt x="12854" y="4907"/>
                  </a:cubicBezTo>
                  <a:cubicBezTo>
                    <a:pt x="12853" y="4917"/>
                    <a:pt x="12874" y="4926"/>
                    <a:pt x="12874" y="4926"/>
                  </a:cubicBezTo>
                  <a:cubicBezTo>
                    <a:pt x="12841" y="4928"/>
                    <a:pt x="12841" y="4928"/>
                    <a:pt x="12841" y="4928"/>
                  </a:cubicBezTo>
                  <a:cubicBezTo>
                    <a:pt x="12818" y="4950"/>
                    <a:pt x="12818" y="4950"/>
                    <a:pt x="12818" y="4950"/>
                  </a:cubicBezTo>
                  <a:cubicBezTo>
                    <a:pt x="12818" y="4950"/>
                    <a:pt x="12822" y="4970"/>
                    <a:pt x="12816" y="4977"/>
                  </a:cubicBezTo>
                  <a:cubicBezTo>
                    <a:pt x="12810" y="4984"/>
                    <a:pt x="12833" y="4991"/>
                    <a:pt x="12842" y="4996"/>
                  </a:cubicBezTo>
                  <a:cubicBezTo>
                    <a:pt x="12852" y="5000"/>
                    <a:pt x="12848" y="5021"/>
                    <a:pt x="12848" y="5021"/>
                  </a:cubicBezTo>
                  <a:cubicBezTo>
                    <a:pt x="12833" y="5007"/>
                    <a:pt x="12833" y="5007"/>
                    <a:pt x="12833" y="5007"/>
                  </a:cubicBezTo>
                  <a:cubicBezTo>
                    <a:pt x="12813" y="5009"/>
                    <a:pt x="12813" y="5009"/>
                    <a:pt x="12813" y="5009"/>
                  </a:cubicBezTo>
                  <a:cubicBezTo>
                    <a:pt x="12805" y="5021"/>
                    <a:pt x="12805" y="5021"/>
                    <a:pt x="12805" y="5021"/>
                  </a:cubicBezTo>
                  <a:cubicBezTo>
                    <a:pt x="12778" y="5000"/>
                    <a:pt x="12778" y="5000"/>
                    <a:pt x="12778" y="5000"/>
                  </a:cubicBezTo>
                  <a:cubicBezTo>
                    <a:pt x="12775" y="5021"/>
                    <a:pt x="12775" y="5021"/>
                    <a:pt x="12775" y="5021"/>
                  </a:cubicBezTo>
                  <a:cubicBezTo>
                    <a:pt x="12759" y="5026"/>
                    <a:pt x="12759" y="5026"/>
                    <a:pt x="12759" y="5026"/>
                  </a:cubicBezTo>
                  <a:cubicBezTo>
                    <a:pt x="12762" y="5044"/>
                    <a:pt x="12762" y="5044"/>
                    <a:pt x="12762" y="5044"/>
                  </a:cubicBezTo>
                  <a:cubicBezTo>
                    <a:pt x="12743" y="5041"/>
                    <a:pt x="12743" y="5041"/>
                    <a:pt x="12743" y="5041"/>
                  </a:cubicBezTo>
                  <a:cubicBezTo>
                    <a:pt x="12762" y="4997"/>
                    <a:pt x="12762" y="4997"/>
                    <a:pt x="12762" y="4997"/>
                  </a:cubicBezTo>
                  <a:cubicBezTo>
                    <a:pt x="12762" y="4997"/>
                    <a:pt x="12757" y="4991"/>
                    <a:pt x="12754" y="4980"/>
                  </a:cubicBezTo>
                  <a:cubicBezTo>
                    <a:pt x="12752" y="4968"/>
                    <a:pt x="12733" y="4970"/>
                    <a:pt x="12733" y="4970"/>
                  </a:cubicBezTo>
                  <a:cubicBezTo>
                    <a:pt x="12722" y="4952"/>
                    <a:pt x="12722" y="4952"/>
                    <a:pt x="12722" y="4952"/>
                  </a:cubicBezTo>
                  <a:cubicBezTo>
                    <a:pt x="12722" y="4952"/>
                    <a:pt x="12731" y="4932"/>
                    <a:pt x="12720" y="4924"/>
                  </a:cubicBezTo>
                  <a:cubicBezTo>
                    <a:pt x="12708" y="4916"/>
                    <a:pt x="12693" y="4927"/>
                    <a:pt x="12693" y="4934"/>
                  </a:cubicBezTo>
                  <a:cubicBezTo>
                    <a:pt x="12692" y="4941"/>
                    <a:pt x="12698" y="4941"/>
                    <a:pt x="12698" y="4941"/>
                  </a:cubicBezTo>
                  <a:cubicBezTo>
                    <a:pt x="12694" y="4950"/>
                    <a:pt x="12694" y="4950"/>
                    <a:pt x="12694" y="4950"/>
                  </a:cubicBezTo>
                  <a:cubicBezTo>
                    <a:pt x="12674" y="4949"/>
                    <a:pt x="12674" y="4949"/>
                    <a:pt x="12674" y="4949"/>
                  </a:cubicBezTo>
                  <a:cubicBezTo>
                    <a:pt x="12677" y="4967"/>
                    <a:pt x="12677" y="4967"/>
                    <a:pt x="12677" y="4967"/>
                  </a:cubicBezTo>
                  <a:cubicBezTo>
                    <a:pt x="12664" y="4961"/>
                    <a:pt x="12664" y="4961"/>
                    <a:pt x="12664" y="4961"/>
                  </a:cubicBezTo>
                  <a:cubicBezTo>
                    <a:pt x="12652" y="4966"/>
                    <a:pt x="12652" y="4966"/>
                    <a:pt x="12652" y="4966"/>
                  </a:cubicBezTo>
                  <a:cubicBezTo>
                    <a:pt x="12652" y="4966"/>
                    <a:pt x="12657" y="4974"/>
                    <a:pt x="12655" y="4984"/>
                  </a:cubicBezTo>
                  <a:cubicBezTo>
                    <a:pt x="12653" y="4995"/>
                    <a:pt x="12637" y="5003"/>
                    <a:pt x="12637" y="5003"/>
                  </a:cubicBezTo>
                  <a:cubicBezTo>
                    <a:pt x="12642" y="4979"/>
                    <a:pt x="12642" y="4979"/>
                    <a:pt x="12642" y="4979"/>
                  </a:cubicBezTo>
                  <a:cubicBezTo>
                    <a:pt x="12630" y="4994"/>
                    <a:pt x="12630" y="4994"/>
                    <a:pt x="12630" y="4994"/>
                  </a:cubicBezTo>
                  <a:cubicBezTo>
                    <a:pt x="12630" y="4994"/>
                    <a:pt x="12619" y="4992"/>
                    <a:pt x="12612" y="5002"/>
                  </a:cubicBezTo>
                  <a:cubicBezTo>
                    <a:pt x="12605" y="5012"/>
                    <a:pt x="12616" y="5033"/>
                    <a:pt x="12616" y="5033"/>
                  </a:cubicBezTo>
                  <a:cubicBezTo>
                    <a:pt x="12585" y="5020"/>
                    <a:pt x="12585" y="5020"/>
                    <a:pt x="12585" y="5020"/>
                  </a:cubicBezTo>
                  <a:cubicBezTo>
                    <a:pt x="12582" y="5044"/>
                    <a:pt x="12582" y="5044"/>
                    <a:pt x="12582" y="5044"/>
                  </a:cubicBezTo>
                  <a:cubicBezTo>
                    <a:pt x="12571" y="5046"/>
                    <a:pt x="12571" y="5046"/>
                    <a:pt x="12571" y="5046"/>
                  </a:cubicBezTo>
                  <a:cubicBezTo>
                    <a:pt x="12582" y="5063"/>
                    <a:pt x="12582" y="5063"/>
                    <a:pt x="12582" y="5063"/>
                  </a:cubicBezTo>
                  <a:cubicBezTo>
                    <a:pt x="12594" y="5062"/>
                    <a:pt x="12594" y="5062"/>
                    <a:pt x="12594" y="5062"/>
                  </a:cubicBezTo>
                  <a:cubicBezTo>
                    <a:pt x="12591" y="5073"/>
                    <a:pt x="12591" y="5073"/>
                    <a:pt x="12591" y="5073"/>
                  </a:cubicBezTo>
                  <a:cubicBezTo>
                    <a:pt x="12544" y="5077"/>
                    <a:pt x="12544" y="5077"/>
                    <a:pt x="12544" y="5077"/>
                  </a:cubicBezTo>
                  <a:cubicBezTo>
                    <a:pt x="12544" y="5077"/>
                    <a:pt x="12530" y="5067"/>
                    <a:pt x="12520" y="5075"/>
                  </a:cubicBezTo>
                  <a:cubicBezTo>
                    <a:pt x="12510" y="5084"/>
                    <a:pt x="12526" y="5102"/>
                    <a:pt x="12526" y="5102"/>
                  </a:cubicBezTo>
                  <a:cubicBezTo>
                    <a:pt x="12528" y="5124"/>
                    <a:pt x="12528" y="5124"/>
                    <a:pt x="12528" y="5124"/>
                  </a:cubicBezTo>
                  <a:cubicBezTo>
                    <a:pt x="12522" y="5138"/>
                    <a:pt x="12522" y="5138"/>
                    <a:pt x="12522" y="5138"/>
                  </a:cubicBezTo>
                  <a:cubicBezTo>
                    <a:pt x="12526" y="5164"/>
                    <a:pt x="12526" y="5164"/>
                    <a:pt x="12526" y="5164"/>
                  </a:cubicBezTo>
                  <a:cubicBezTo>
                    <a:pt x="12515" y="5165"/>
                    <a:pt x="12515" y="5165"/>
                    <a:pt x="12515" y="5165"/>
                  </a:cubicBezTo>
                  <a:cubicBezTo>
                    <a:pt x="12512" y="5113"/>
                    <a:pt x="12512" y="5113"/>
                    <a:pt x="12512" y="5113"/>
                  </a:cubicBezTo>
                  <a:cubicBezTo>
                    <a:pt x="12501" y="5102"/>
                    <a:pt x="12501" y="5102"/>
                    <a:pt x="12501" y="5102"/>
                  </a:cubicBezTo>
                  <a:cubicBezTo>
                    <a:pt x="12499" y="5081"/>
                    <a:pt x="12499" y="5081"/>
                    <a:pt x="12499" y="5081"/>
                  </a:cubicBezTo>
                  <a:cubicBezTo>
                    <a:pt x="12486" y="5082"/>
                    <a:pt x="12486" y="5082"/>
                    <a:pt x="12486" y="5082"/>
                  </a:cubicBezTo>
                  <a:cubicBezTo>
                    <a:pt x="12475" y="5097"/>
                    <a:pt x="12475" y="5097"/>
                    <a:pt x="12475" y="5097"/>
                  </a:cubicBezTo>
                  <a:cubicBezTo>
                    <a:pt x="12475" y="5097"/>
                    <a:pt x="12462" y="5109"/>
                    <a:pt x="12443" y="5125"/>
                  </a:cubicBezTo>
                  <a:cubicBezTo>
                    <a:pt x="12425" y="5141"/>
                    <a:pt x="12437" y="5174"/>
                    <a:pt x="12437" y="5174"/>
                  </a:cubicBezTo>
                  <a:cubicBezTo>
                    <a:pt x="12437" y="5174"/>
                    <a:pt x="12454" y="5179"/>
                    <a:pt x="12452" y="5188"/>
                  </a:cubicBezTo>
                  <a:cubicBezTo>
                    <a:pt x="12449" y="5198"/>
                    <a:pt x="12416" y="5210"/>
                    <a:pt x="12410" y="5213"/>
                  </a:cubicBezTo>
                  <a:cubicBezTo>
                    <a:pt x="12404" y="5216"/>
                    <a:pt x="12407" y="5226"/>
                    <a:pt x="12407" y="5226"/>
                  </a:cubicBezTo>
                  <a:cubicBezTo>
                    <a:pt x="12407" y="5226"/>
                    <a:pt x="12386" y="5245"/>
                    <a:pt x="12369" y="5259"/>
                  </a:cubicBezTo>
                  <a:cubicBezTo>
                    <a:pt x="12351" y="5272"/>
                    <a:pt x="12299" y="5277"/>
                    <a:pt x="12299" y="5277"/>
                  </a:cubicBezTo>
                  <a:cubicBezTo>
                    <a:pt x="12265" y="5270"/>
                    <a:pt x="12265" y="5270"/>
                    <a:pt x="12265" y="5270"/>
                  </a:cubicBezTo>
                  <a:cubicBezTo>
                    <a:pt x="12238" y="5284"/>
                    <a:pt x="12238" y="5284"/>
                    <a:pt x="12238" y="5284"/>
                  </a:cubicBezTo>
                  <a:cubicBezTo>
                    <a:pt x="12201" y="5289"/>
                    <a:pt x="12201" y="5289"/>
                    <a:pt x="12201" y="5289"/>
                  </a:cubicBezTo>
                  <a:cubicBezTo>
                    <a:pt x="12196" y="5294"/>
                    <a:pt x="12196" y="5294"/>
                    <a:pt x="12196" y="5294"/>
                  </a:cubicBezTo>
                  <a:cubicBezTo>
                    <a:pt x="12196" y="5294"/>
                    <a:pt x="12186" y="5294"/>
                    <a:pt x="12177" y="5299"/>
                  </a:cubicBezTo>
                  <a:cubicBezTo>
                    <a:pt x="12168" y="5303"/>
                    <a:pt x="12157" y="5314"/>
                    <a:pt x="12157" y="5314"/>
                  </a:cubicBezTo>
                  <a:cubicBezTo>
                    <a:pt x="12157" y="5314"/>
                    <a:pt x="12138" y="5315"/>
                    <a:pt x="12124" y="5319"/>
                  </a:cubicBezTo>
                  <a:cubicBezTo>
                    <a:pt x="12110" y="5323"/>
                    <a:pt x="12094" y="5352"/>
                    <a:pt x="12094" y="5352"/>
                  </a:cubicBezTo>
                  <a:cubicBezTo>
                    <a:pt x="12094" y="5352"/>
                    <a:pt x="12059" y="5360"/>
                    <a:pt x="12052" y="5364"/>
                  </a:cubicBezTo>
                  <a:cubicBezTo>
                    <a:pt x="12044" y="5369"/>
                    <a:pt x="12009" y="5414"/>
                    <a:pt x="12009" y="5414"/>
                  </a:cubicBezTo>
                  <a:cubicBezTo>
                    <a:pt x="12015" y="5370"/>
                    <a:pt x="12015" y="5370"/>
                    <a:pt x="12015" y="5370"/>
                  </a:cubicBezTo>
                  <a:cubicBezTo>
                    <a:pt x="12003" y="5377"/>
                    <a:pt x="12003" y="5377"/>
                    <a:pt x="12003" y="5377"/>
                  </a:cubicBezTo>
                  <a:cubicBezTo>
                    <a:pt x="11989" y="5414"/>
                    <a:pt x="11989" y="5414"/>
                    <a:pt x="11989" y="5414"/>
                  </a:cubicBezTo>
                  <a:cubicBezTo>
                    <a:pt x="11989" y="5414"/>
                    <a:pt x="11975" y="5440"/>
                    <a:pt x="11968" y="5455"/>
                  </a:cubicBezTo>
                  <a:cubicBezTo>
                    <a:pt x="11962" y="5470"/>
                    <a:pt x="11985" y="5476"/>
                    <a:pt x="11985" y="5476"/>
                  </a:cubicBezTo>
                  <a:cubicBezTo>
                    <a:pt x="11985" y="5476"/>
                    <a:pt x="11965" y="5497"/>
                    <a:pt x="11955" y="5506"/>
                  </a:cubicBezTo>
                  <a:cubicBezTo>
                    <a:pt x="11944" y="5515"/>
                    <a:pt x="11964" y="5554"/>
                    <a:pt x="11965" y="5560"/>
                  </a:cubicBezTo>
                  <a:cubicBezTo>
                    <a:pt x="11965" y="5567"/>
                    <a:pt x="11990" y="5610"/>
                    <a:pt x="11984" y="5614"/>
                  </a:cubicBezTo>
                  <a:cubicBezTo>
                    <a:pt x="11978" y="5619"/>
                    <a:pt x="11954" y="5578"/>
                    <a:pt x="11954" y="5578"/>
                  </a:cubicBezTo>
                  <a:cubicBezTo>
                    <a:pt x="11942" y="5576"/>
                    <a:pt x="11942" y="5576"/>
                    <a:pt x="11942" y="5576"/>
                  </a:cubicBezTo>
                  <a:cubicBezTo>
                    <a:pt x="11952" y="5606"/>
                    <a:pt x="11952" y="5606"/>
                    <a:pt x="11952" y="5606"/>
                  </a:cubicBezTo>
                  <a:cubicBezTo>
                    <a:pt x="11929" y="5586"/>
                    <a:pt x="11929" y="5586"/>
                    <a:pt x="11929" y="5586"/>
                  </a:cubicBezTo>
                  <a:cubicBezTo>
                    <a:pt x="11929" y="5586"/>
                    <a:pt x="11925" y="5609"/>
                    <a:pt x="11928" y="5623"/>
                  </a:cubicBezTo>
                  <a:cubicBezTo>
                    <a:pt x="11931" y="5637"/>
                    <a:pt x="11954" y="5672"/>
                    <a:pt x="11954" y="5672"/>
                  </a:cubicBezTo>
                  <a:cubicBezTo>
                    <a:pt x="11954" y="5672"/>
                    <a:pt x="11943" y="5694"/>
                    <a:pt x="11941" y="5702"/>
                  </a:cubicBezTo>
                  <a:cubicBezTo>
                    <a:pt x="11939" y="5710"/>
                    <a:pt x="11969" y="5733"/>
                    <a:pt x="11970" y="5739"/>
                  </a:cubicBezTo>
                  <a:cubicBezTo>
                    <a:pt x="11971" y="5746"/>
                    <a:pt x="11972" y="5768"/>
                    <a:pt x="11966" y="5776"/>
                  </a:cubicBezTo>
                  <a:cubicBezTo>
                    <a:pt x="11961" y="5784"/>
                    <a:pt x="11974" y="5830"/>
                    <a:pt x="11974" y="5830"/>
                  </a:cubicBezTo>
                  <a:cubicBezTo>
                    <a:pt x="11974" y="5830"/>
                    <a:pt x="11970" y="5832"/>
                    <a:pt x="11962" y="5838"/>
                  </a:cubicBezTo>
                  <a:cubicBezTo>
                    <a:pt x="11955" y="5844"/>
                    <a:pt x="11971" y="5880"/>
                    <a:pt x="11971" y="5880"/>
                  </a:cubicBezTo>
                  <a:cubicBezTo>
                    <a:pt x="11971" y="5880"/>
                    <a:pt x="11991" y="5889"/>
                    <a:pt x="11993" y="5906"/>
                  </a:cubicBezTo>
                  <a:cubicBezTo>
                    <a:pt x="11995" y="5922"/>
                    <a:pt x="11966" y="5951"/>
                    <a:pt x="11966" y="5951"/>
                  </a:cubicBezTo>
                  <a:cubicBezTo>
                    <a:pt x="11966" y="5951"/>
                    <a:pt x="11975" y="5984"/>
                    <a:pt x="11958" y="6001"/>
                  </a:cubicBezTo>
                  <a:cubicBezTo>
                    <a:pt x="11941" y="6017"/>
                    <a:pt x="11910" y="6009"/>
                    <a:pt x="11910" y="6009"/>
                  </a:cubicBezTo>
                  <a:cubicBezTo>
                    <a:pt x="11906" y="6041"/>
                    <a:pt x="11906" y="6041"/>
                    <a:pt x="11906" y="6041"/>
                  </a:cubicBezTo>
                  <a:cubicBezTo>
                    <a:pt x="11906" y="6041"/>
                    <a:pt x="11938" y="6049"/>
                    <a:pt x="11947" y="6054"/>
                  </a:cubicBezTo>
                  <a:cubicBezTo>
                    <a:pt x="11956" y="6060"/>
                    <a:pt x="11962" y="6070"/>
                    <a:pt x="11962" y="6070"/>
                  </a:cubicBezTo>
                  <a:cubicBezTo>
                    <a:pt x="11979" y="6068"/>
                    <a:pt x="11979" y="6068"/>
                    <a:pt x="11979" y="6068"/>
                  </a:cubicBezTo>
                  <a:cubicBezTo>
                    <a:pt x="11979" y="6068"/>
                    <a:pt x="11988" y="6077"/>
                    <a:pt x="12002" y="6082"/>
                  </a:cubicBezTo>
                  <a:cubicBezTo>
                    <a:pt x="12015" y="6087"/>
                    <a:pt x="12046" y="6077"/>
                    <a:pt x="12059" y="6076"/>
                  </a:cubicBezTo>
                  <a:cubicBezTo>
                    <a:pt x="12071" y="6076"/>
                    <a:pt x="12061" y="6060"/>
                    <a:pt x="12061" y="6060"/>
                  </a:cubicBezTo>
                  <a:cubicBezTo>
                    <a:pt x="12086" y="6062"/>
                    <a:pt x="12086" y="6062"/>
                    <a:pt x="12086" y="6062"/>
                  </a:cubicBezTo>
                  <a:cubicBezTo>
                    <a:pt x="12092" y="6050"/>
                    <a:pt x="12092" y="6050"/>
                    <a:pt x="12092" y="6050"/>
                  </a:cubicBezTo>
                  <a:cubicBezTo>
                    <a:pt x="12119" y="6046"/>
                    <a:pt x="12119" y="6046"/>
                    <a:pt x="12119" y="6046"/>
                  </a:cubicBezTo>
                  <a:cubicBezTo>
                    <a:pt x="12119" y="6046"/>
                    <a:pt x="12143" y="6021"/>
                    <a:pt x="12156" y="6020"/>
                  </a:cubicBezTo>
                  <a:cubicBezTo>
                    <a:pt x="12168" y="6020"/>
                    <a:pt x="12180" y="6035"/>
                    <a:pt x="12187" y="6033"/>
                  </a:cubicBezTo>
                  <a:cubicBezTo>
                    <a:pt x="12195" y="6031"/>
                    <a:pt x="12232" y="6013"/>
                    <a:pt x="12232" y="6013"/>
                  </a:cubicBezTo>
                  <a:cubicBezTo>
                    <a:pt x="12232" y="6013"/>
                    <a:pt x="12254" y="6023"/>
                    <a:pt x="12265" y="6021"/>
                  </a:cubicBezTo>
                  <a:cubicBezTo>
                    <a:pt x="12276" y="6020"/>
                    <a:pt x="12283" y="6010"/>
                    <a:pt x="12290" y="6009"/>
                  </a:cubicBezTo>
                  <a:cubicBezTo>
                    <a:pt x="12298" y="6009"/>
                    <a:pt x="12317" y="6021"/>
                    <a:pt x="12332" y="6018"/>
                  </a:cubicBezTo>
                  <a:cubicBezTo>
                    <a:pt x="12347" y="6015"/>
                    <a:pt x="12344" y="5996"/>
                    <a:pt x="12344" y="5996"/>
                  </a:cubicBezTo>
                  <a:cubicBezTo>
                    <a:pt x="12344" y="5996"/>
                    <a:pt x="12356" y="5993"/>
                    <a:pt x="12360" y="5990"/>
                  </a:cubicBezTo>
                  <a:cubicBezTo>
                    <a:pt x="12365" y="5987"/>
                    <a:pt x="12371" y="5960"/>
                    <a:pt x="12384" y="5948"/>
                  </a:cubicBezTo>
                  <a:cubicBezTo>
                    <a:pt x="12397" y="5936"/>
                    <a:pt x="12430" y="5944"/>
                    <a:pt x="12441" y="5941"/>
                  </a:cubicBezTo>
                  <a:cubicBezTo>
                    <a:pt x="12451" y="5939"/>
                    <a:pt x="12485" y="5920"/>
                    <a:pt x="12500" y="5918"/>
                  </a:cubicBezTo>
                  <a:cubicBezTo>
                    <a:pt x="12516" y="5916"/>
                    <a:pt x="12518" y="5923"/>
                    <a:pt x="12537" y="5926"/>
                  </a:cubicBezTo>
                  <a:cubicBezTo>
                    <a:pt x="12556" y="5929"/>
                    <a:pt x="12603" y="5896"/>
                    <a:pt x="12622" y="5890"/>
                  </a:cubicBezTo>
                  <a:cubicBezTo>
                    <a:pt x="12642" y="5884"/>
                    <a:pt x="12725" y="5878"/>
                    <a:pt x="12725" y="5878"/>
                  </a:cubicBezTo>
                  <a:cubicBezTo>
                    <a:pt x="12732" y="5871"/>
                    <a:pt x="12732" y="5871"/>
                    <a:pt x="12732" y="5871"/>
                  </a:cubicBezTo>
                  <a:cubicBezTo>
                    <a:pt x="12732" y="5871"/>
                    <a:pt x="12760" y="5896"/>
                    <a:pt x="12778" y="5903"/>
                  </a:cubicBezTo>
                  <a:cubicBezTo>
                    <a:pt x="12795" y="5910"/>
                    <a:pt x="12802" y="5901"/>
                    <a:pt x="12802" y="5901"/>
                  </a:cubicBezTo>
                  <a:cubicBezTo>
                    <a:pt x="12802" y="5901"/>
                    <a:pt x="12805" y="5918"/>
                    <a:pt x="12813" y="5921"/>
                  </a:cubicBezTo>
                  <a:cubicBezTo>
                    <a:pt x="12821" y="5924"/>
                    <a:pt x="12826" y="5917"/>
                    <a:pt x="12826" y="5917"/>
                  </a:cubicBezTo>
                  <a:cubicBezTo>
                    <a:pt x="12829" y="5932"/>
                    <a:pt x="12829" y="5932"/>
                    <a:pt x="12829" y="5932"/>
                  </a:cubicBezTo>
                  <a:cubicBezTo>
                    <a:pt x="12829" y="5932"/>
                    <a:pt x="12841" y="5930"/>
                    <a:pt x="12842" y="5939"/>
                  </a:cubicBezTo>
                  <a:cubicBezTo>
                    <a:pt x="12843" y="5947"/>
                    <a:pt x="12824" y="5971"/>
                    <a:pt x="12824" y="5971"/>
                  </a:cubicBezTo>
                  <a:cubicBezTo>
                    <a:pt x="12838" y="5990"/>
                    <a:pt x="12838" y="5990"/>
                    <a:pt x="12838" y="5990"/>
                  </a:cubicBezTo>
                  <a:cubicBezTo>
                    <a:pt x="12847" y="5981"/>
                    <a:pt x="12847" y="5981"/>
                    <a:pt x="12847" y="5981"/>
                  </a:cubicBezTo>
                  <a:cubicBezTo>
                    <a:pt x="12860" y="6008"/>
                    <a:pt x="12860" y="6008"/>
                    <a:pt x="12860" y="6008"/>
                  </a:cubicBezTo>
                  <a:cubicBezTo>
                    <a:pt x="12860" y="6008"/>
                    <a:pt x="12869" y="6035"/>
                    <a:pt x="12870" y="6044"/>
                  </a:cubicBezTo>
                  <a:cubicBezTo>
                    <a:pt x="12871" y="6052"/>
                    <a:pt x="12843" y="6045"/>
                    <a:pt x="12843" y="6045"/>
                  </a:cubicBezTo>
                  <a:cubicBezTo>
                    <a:pt x="12850" y="6068"/>
                    <a:pt x="12850" y="6068"/>
                    <a:pt x="12850" y="6068"/>
                  </a:cubicBezTo>
                  <a:cubicBezTo>
                    <a:pt x="12850" y="6068"/>
                    <a:pt x="12859" y="6068"/>
                    <a:pt x="12868" y="6069"/>
                  </a:cubicBezTo>
                  <a:cubicBezTo>
                    <a:pt x="12877" y="6069"/>
                    <a:pt x="12876" y="6076"/>
                    <a:pt x="12876" y="6076"/>
                  </a:cubicBezTo>
                  <a:cubicBezTo>
                    <a:pt x="12889" y="6073"/>
                    <a:pt x="12889" y="6073"/>
                    <a:pt x="12889" y="6073"/>
                  </a:cubicBezTo>
                  <a:cubicBezTo>
                    <a:pt x="12889" y="6073"/>
                    <a:pt x="12885" y="6059"/>
                    <a:pt x="12885" y="6048"/>
                  </a:cubicBezTo>
                  <a:cubicBezTo>
                    <a:pt x="12886" y="6037"/>
                    <a:pt x="12904" y="6028"/>
                    <a:pt x="12916" y="6026"/>
                  </a:cubicBezTo>
                  <a:cubicBezTo>
                    <a:pt x="12928" y="6023"/>
                    <a:pt x="12951" y="5987"/>
                    <a:pt x="12951" y="5987"/>
                  </a:cubicBezTo>
                  <a:cubicBezTo>
                    <a:pt x="12966" y="5989"/>
                    <a:pt x="12966" y="5989"/>
                    <a:pt x="12966" y="5989"/>
                  </a:cubicBezTo>
                  <a:cubicBezTo>
                    <a:pt x="12980" y="5956"/>
                    <a:pt x="12980" y="5956"/>
                    <a:pt x="12980" y="5956"/>
                  </a:cubicBezTo>
                  <a:cubicBezTo>
                    <a:pt x="12980" y="5956"/>
                    <a:pt x="12999" y="5953"/>
                    <a:pt x="13008" y="5952"/>
                  </a:cubicBezTo>
                  <a:cubicBezTo>
                    <a:pt x="13016" y="5951"/>
                    <a:pt x="13021" y="5921"/>
                    <a:pt x="13021" y="5921"/>
                  </a:cubicBezTo>
                  <a:cubicBezTo>
                    <a:pt x="13021" y="5921"/>
                    <a:pt x="13026" y="5945"/>
                    <a:pt x="13027" y="5952"/>
                  </a:cubicBezTo>
                  <a:cubicBezTo>
                    <a:pt x="13028" y="5960"/>
                    <a:pt x="12999" y="5974"/>
                    <a:pt x="12999" y="5974"/>
                  </a:cubicBezTo>
                  <a:cubicBezTo>
                    <a:pt x="12989" y="5975"/>
                    <a:pt x="12989" y="5975"/>
                    <a:pt x="12989" y="5975"/>
                  </a:cubicBezTo>
                  <a:cubicBezTo>
                    <a:pt x="12984" y="5982"/>
                    <a:pt x="12984" y="5982"/>
                    <a:pt x="12984" y="5982"/>
                  </a:cubicBezTo>
                  <a:cubicBezTo>
                    <a:pt x="12995" y="6005"/>
                    <a:pt x="12995" y="6005"/>
                    <a:pt x="12995" y="6005"/>
                  </a:cubicBezTo>
                  <a:cubicBezTo>
                    <a:pt x="12995" y="6005"/>
                    <a:pt x="12985" y="6009"/>
                    <a:pt x="12978" y="6013"/>
                  </a:cubicBezTo>
                  <a:cubicBezTo>
                    <a:pt x="12971" y="6018"/>
                    <a:pt x="12953" y="6041"/>
                    <a:pt x="12953" y="6041"/>
                  </a:cubicBezTo>
                  <a:cubicBezTo>
                    <a:pt x="12953" y="6041"/>
                    <a:pt x="12948" y="6060"/>
                    <a:pt x="12941" y="6064"/>
                  </a:cubicBezTo>
                  <a:cubicBezTo>
                    <a:pt x="12934" y="6069"/>
                    <a:pt x="12910" y="6078"/>
                    <a:pt x="12917" y="6084"/>
                  </a:cubicBezTo>
                  <a:cubicBezTo>
                    <a:pt x="12924" y="6091"/>
                    <a:pt x="12951" y="6081"/>
                    <a:pt x="12960" y="6078"/>
                  </a:cubicBezTo>
                  <a:cubicBezTo>
                    <a:pt x="12968" y="6074"/>
                    <a:pt x="12969" y="6061"/>
                    <a:pt x="12975" y="6052"/>
                  </a:cubicBezTo>
                  <a:cubicBezTo>
                    <a:pt x="12982" y="6042"/>
                    <a:pt x="12996" y="6032"/>
                    <a:pt x="12996" y="6032"/>
                  </a:cubicBezTo>
                  <a:cubicBezTo>
                    <a:pt x="12996" y="6032"/>
                    <a:pt x="12999" y="6057"/>
                    <a:pt x="13001" y="6063"/>
                  </a:cubicBezTo>
                  <a:cubicBezTo>
                    <a:pt x="13003" y="6069"/>
                    <a:pt x="12990" y="6080"/>
                    <a:pt x="12981" y="6085"/>
                  </a:cubicBezTo>
                  <a:cubicBezTo>
                    <a:pt x="12973" y="6090"/>
                    <a:pt x="12972" y="6098"/>
                    <a:pt x="12978" y="6104"/>
                  </a:cubicBezTo>
                  <a:cubicBezTo>
                    <a:pt x="12985" y="6109"/>
                    <a:pt x="13016" y="6109"/>
                    <a:pt x="13016" y="6109"/>
                  </a:cubicBezTo>
                  <a:cubicBezTo>
                    <a:pt x="13021" y="6116"/>
                    <a:pt x="13021" y="6116"/>
                    <a:pt x="13021" y="6116"/>
                  </a:cubicBezTo>
                  <a:cubicBezTo>
                    <a:pt x="13006" y="6129"/>
                    <a:pt x="13006" y="6129"/>
                    <a:pt x="13006" y="6129"/>
                  </a:cubicBezTo>
                  <a:cubicBezTo>
                    <a:pt x="13006" y="6129"/>
                    <a:pt x="13022" y="6158"/>
                    <a:pt x="13024" y="6168"/>
                  </a:cubicBezTo>
                  <a:cubicBezTo>
                    <a:pt x="13027" y="6179"/>
                    <a:pt x="13003" y="6195"/>
                    <a:pt x="12994" y="6206"/>
                  </a:cubicBezTo>
                  <a:cubicBezTo>
                    <a:pt x="12984" y="6217"/>
                    <a:pt x="13016" y="6239"/>
                    <a:pt x="13024" y="6242"/>
                  </a:cubicBezTo>
                  <a:cubicBezTo>
                    <a:pt x="13031" y="6245"/>
                    <a:pt x="13045" y="6265"/>
                    <a:pt x="13060" y="6270"/>
                  </a:cubicBezTo>
                  <a:cubicBezTo>
                    <a:pt x="13075" y="6275"/>
                    <a:pt x="13086" y="6266"/>
                    <a:pt x="13100" y="6269"/>
                  </a:cubicBezTo>
                  <a:cubicBezTo>
                    <a:pt x="13113" y="6272"/>
                    <a:pt x="13116" y="6289"/>
                    <a:pt x="13135" y="6292"/>
                  </a:cubicBezTo>
                  <a:cubicBezTo>
                    <a:pt x="13155" y="6296"/>
                    <a:pt x="13203" y="6263"/>
                    <a:pt x="13203" y="6263"/>
                  </a:cubicBezTo>
                  <a:cubicBezTo>
                    <a:pt x="13203" y="6263"/>
                    <a:pt x="13196" y="6249"/>
                    <a:pt x="13211" y="6240"/>
                  </a:cubicBezTo>
                  <a:cubicBezTo>
                    <a:pt x="13226" y="6231"/>
                    <a:pt x="13225" y="6267"/>
                    <a:pt x="13225" y="6267"/>
                  </a:cubicBezTo>
                  <a:cubicBezTo>
                    <a:pt x="13236" y="6266"/>
                    <a:pt x="13236" y="6266"/>
                    <a:pt x="13236" y="6266"/>
                  </a:cubicBezTo>
                  <a:cubicBezTo>
                    <a:pt x="13226" y="6282"/>
                    <a:pt x="13226" y="6282"/>
                    <a:pt x="13226" y="6282"/>
                  </a:cubicBezTo>
                  <a:cubicBezTo>
                    <a:pt x="13239" y="6283"/>
                    <a:pt x="13239" y="6283"/>
                    <a:pt x="13239" y="6283"/>
                  </a:cubicBezTo>
                  <a:cubicBezTo>
                    <a:pt x="13239" y="6283"/>
                    <a:pt x="13240" y="6295"/>
                    <a:pt x="13247" y="6304"/>
                  </a:cubicBezTo>
                  <a:cubicBezTo>
                    <a:pt x="13253" y="6312"/>
                    <a:pt x="13260" y="6308"/>
                    <a:pt x="13260" y="6308"/>
                  </a:cubicBezTo>
                  <a:cubicBezTo>
                    <a:pt x="13266" y="6297"/>
                    <a:pt x="13266" y="6297"/>
                    <a:pt x="13266" y="6297"/>
                  </a:cubicBezTo>
                  <a:cubicBezTo>
                    <a:pt x="13266" y="6297"/>
                    <a:pt x="13284" y="6295"/>
                    <a:pt x="13294" y="6286"/>
                  </a:cubicBezTo>
                  <a:cubicBezTo>
                    <a:pt x="13305" y="6278"/>
                    <a:pt x="13349" y="6247"/>
                    <a:pt x="13349" y="6247"/>
                  </a:cubicBezTo>
                  <a:cubicBezTo>
                    <a:pt x="13344" y="6237"/>
                    <a:pt x="13344" y="6237"/>
                    <a:pt x="13344" y="6237"/>
                  </a:cubicBezTo>
                  <a:cubicBezTo>
                    <a:pt x="13368" y="6233"/>
                    <a:pt x="13368" y="6233"/>
                    <a:pt x="13368" y="6233"/>
                  </a:cubicBezTo>
                  <a:cubicBezTo>
                    <a:pt x="13377" y="6241"/>
                    <a:pt x="13377" y="6241"/>
                    <a:pt x="13377" y="6241"/>
                  </a:cubicBezTo>
                  <a:cubicBezTo>
                    <a:pt x="13377" y="6241"/>
                    <a:pt x="13416" y="6234"/>
                    <a:pt x="13439" y="6226"/>
                  </a:cubicBezTo>
                  <a:cubicBezTo>
                    <a:pt x="13461" y="6217"/>
                    <a:pt x="13463" y="6173"/>
                    <a:pt x="13466" y="6161"/>
                  </a:cubicBezTo>
                  <a:cubicBezTo>
                    <a:pt x="13470" y="6150"/>
                    <a:pt x="13496" y="6135"/>
                    <a:pt x="13496" y="6135"/>
                  </a:cubicBezTo>
                  <a:cubicBezTo>
                    <a:pt x="13496" y="6120"/>
                    <a:pt x="13496" y="6120"/>
                    <a:pt x="13496" y="6120"/>
                  </a:cubicBezTo>
                  <a:cubicBezTo>
                    <a:pt x="13496" y="6120"/>
                    <a:pt x="13511" y="6114"/>
                    <a:pt x="13519" y="6103"/>
                  </a:cubicBezTo>
                  <a:cubicBezTo>
                    <a:pt x="13526" y="6093"/>
                    <a:pt x="13537" y="6079"/>
                    <a:pt x="13537" y="6079"/>
                  </a:cubicBezTo>
                  <a:cubicBezTo>
                    <a:pt x="13537" y="6079"/>
                    <a:pt x="13539" y="6050"/>
                    <a:pt x="13547" y="6040"/>
                  </a:cubicBezTo>
                  <a:cubicBezTo>
                    <a:pt x="13554" y="6031"/>
                    <a:pt x="13588" y="5993"/>
                    <a:pt x="13601" y="5987"/>
                  </a:cubicBezTo>
                  <a:cubicBezTo>
                    <a:pt x="13613" y="5981"/>
                    <a:pt x="13615" y="5950"/>
                    <a:pt x="13615" y="5950"/>
                  </a:cubicBezTo>
                  <a:cubicBezTo>
                    <a:pt x="13615" y="5950"/>
                    <a:pt x="13638" y="5954"/>
                    <a:pt x="13647" y="5944"/>
                  </a:cubicBezTo>
                  <a:cubicBezTo>
                    <a:pt x="13656" y="5935"/>
                    <a:pt x="13703" y="5876"/>
                    <a:pt x="13706" y="5869"/>
                  </a:cubicBezTo>
                  <a:cubicBezTo>
                    <a:pt x="13710" y="5863"/>
                    <a:pt x="13709" y="5832"/>
                    <a:pt x="13719" y="5825"/>
                  </a:cubicBezTo>
                  <a:cubicBezTo>
                    <a:pt x="13728" y="5818"/>
                    <a:pt x="13770" y="5736"/>
                    <a:pt x="13780" y="5717"/>
                  </a:cubicBezTo>
                  <a:cubicBezTo>
                    <a:pt x="13790" y="5698"/>
                    <a:pt x="13778" y="5685"/>
                    <a:pt x="13777" y="5672"/>
                  </a:cubicBezTo>
                  <a:cubicBezTo>
                    <a:pt x="13776" y="5659"/>
                    <a:pt x="13786" y="5638"/>
                    <a:pt x="13795" y="5624"/>
                  </a:cubicBezTo>
                  <a:cubicBezTo>
                    <a:pt x="13804" y="5610"/>
                    <a:pt x="13794" y="5548"/>
                    <a:pt x="13794" y="5548"/>
                  </a:cubicBezTo>
                  <a:lnTo>
                    <a:pt x="13775" y="5539"/>
                  </a:lnTo>
                  <a:close/>
                  <a:moveTo>
                    <a:pt x="11992" y="4641"/>
                  </a:moveTo>
                  <a:cubicBezTo>
                    <a:pt x="12002" y="4650"/>
                    <a:pt x="12035" y="4656"/>
                    <a:pt x="12049" y="4657"/>
                  </a:cubicBezTo>
                  <a:cubicBezTo>
                    <a:pt x="12064" y="4659"/>
                    <a:pt x="12070" y="4656"/>
                    <a:pt x="12092" y="4657"/>
                  </a:cubicBezTo>
                  <a:cubicBezTo>
                    <a:pt x="12114" y="4659"/>
                    <a:pt x="12132" y="4686"/>
                    <a:pt x="12140" y="4691"/>
                  </a:cubicBezTo>
                  <a:cubicBezTo>
                    <a:pt x="12149" y="4695"/>
                    <a:pt x="12159" y="4686"/>
                    <a:pt x="12159" y="4686"/>
                  </a:cubicBezTo>
                  <a:cubicBezTo>
                    <a:pt x="12159" y="4686"/>
                    <a:pt x="12176" y="4695"/>
                    <a:pt x="12176" y="4689"/>
                  </a:cubicBezTo>
                  <a:cubicBezTo>
                    <a:pt x="12176" y="4678"/>
                    <a:pt x="12165" y="4663"/>
                    <a:pt x="12165" y="4663"/>
                  </a:cubicBezTo>
                  <a:cubicBezTo>
                    <a:pt x="12165" y="4663"/>
                    <a:pt x="12176" y="4657"/>
                    <a:pt x="12176" y="4638"/>
                  </a:cubicBezTo>
                  <a:cubicBezTo>
                    <a:pt x="12176" y="4619"/>
                    <a:pt x="12149" y="4619"/>
                    <a:pt x="12134" y="4616"/>
                  </a:cubicBezTo>
                  <a:cubicBezTo>
                    <a:pt x="12120" y="4613"/>
                    <a:pt x="12121" y="4644"/>
                    <a:pt x="12121" y="4644"/>
                  </a:cubicBezTo>
                  <a:cubicBezTo>
                    <a:pt x="12096" y="4625"/>
                    <a:pt x="12096" y="4625"/>
                    <a:pt x="12096" y="4625"/>
                  </a:cubicBezTo>
                  <a:cubicBezTo>
                    <a:pt x="12096" y="4625"/>
                    <a:pt x="12102" y="4609"/>
                    <a:pt x="12102" y="4585"/>
                  </a:cubicBezTo>
                  <a:cubicBezTo>
                    <a:pt x="12102" y="4562"/>
                    <a:pt x="12054" y="4571"/>
                    <a:pt x="12054" y="4571"/>
                  </a:cubicBezTo>
                  <a:cubicBezTo>
                    <a:pt x="12033" y="4559"/>
                    <a:pt x="12033" y="4559"/>
                    <a:pt x="12033" y="4559"/>
                  </a:cubicBezTo>
                  <a:cubicBezTo>
                    <a:pt x="12030" y="4544"/>
                    <a:pt x="12030" y="4544"/>
                    <a:pt x="12030" y="4544"/>
                  </a:cubicBezTo>
                  <a:cubicBezTo>
                    <a:pt x="12004" y="4544"/>
                    <a:pt x="12004" y="4544"/>
                    <a:pt x="12004" y="4544"/>
                  </a:cubicBezTo>
                  <a:cubicBezTo>
                    <a:pt x="12004" y="4544"/>
                    <a:pt x="11999" y="4565"/>
                    <a:pt x="11999" y="4569"/>
                  </a:cubicBezTo>
                  <a:cubicBezTo>
                    <a:pt x="11999" y="4573"/>
                    <a:pt x="11964" y="4562"/>
                    <a:pt x="11948" y="4559"/>
                  </a:cubicBezTo>
                  <a:cubicBezTo>
                    <a:pt x="11932" y="4556"/>
                    <a:pt x="11903" y="4557"/>
                    <a:pt x="11903" y="4557"/>
                  </a:cubicBezTo>
                  <a:cubicBezTo>
                    <a:pt x="11903" y="4557"/>
                    <a:pt x="11885" y="4535"/>
                    <a:pt x="11876" y="4525"/>
                  </a:cubicBezTo>
                  <a:cubicBezTo>
                    <a:pt x="11867" y="4515"/>
                    <a:pt x="11853" y="4526"/>
                    <a:pt x="11853" y="4526"/>
                  </a:cubicBezTo>
                  <a:cubicBezTo>
                    <a:pt x="11853" y="4526"/>
                    <a:pt x="11828" y="4513"/>
                    <a:pt x="11822" y="4512"/>
                  </a:cubicBezTo>
                  <a:cubicBezTo>
                    <a:pt x="11816" y="4510"/>
                    <a:pt x="11790" y="4509"/>
                    <a:pt x="11790" y="4509"/>
                  </a:cubicBezTo>
                  <a:cubicBezTo>
                    <a:pt x="11790" y="4509"/>
                    <a:pt x="11779" y="4500"/>
                    <a:pt x="11766" y="4504"/>
                  </a:cubicBezTo>
                  <a:cubicBezTo>
                    <a:pt x="11753" y="4509"/>
                    <a:pt x="11753" y="4537"/>
                    <a:pt x="11746" y="4541"/>
                  </a:cubicBezTo>
                  <a:cubicBezTo>
                    <a:pt x="11738" y="4546"/>
                    <a:pt x="11724" y="4551"/>
                    <a:pt x="11727" y="4562"/>
                  </a:cubicBezTo>
                  <a:cubicBezTo>
                    <a:pt x="11751" y="4557"/>
                    <a:pt x="11751" y="4557"/>
                    <a:pt x="11751" y="4557"/>
                  </a:cubicBezTo>
                  <a:cubicBezTo>
                    <a:pt x="11782" y="4560"/>
                    <a:pt x="11782" y="4560"/>
                    <a:pt x="11782" y="4560"/>
                  </a:cubicBezTo>
                  <a:cubicBezTo>
                    <a:pt x="11782" y="4560"/>
                    <a:pt x="11759" y="4573"/>
                    <a:pt x="11769" y="4584"/>
                  </a:cubicBezTo>
                  <a:cubicBezTo>
                    <a:pt x="11779" y="4594"/>
                    <a:pt x="11813" y="4576"/>
                    <a:pt x="11813" y="4576"/>
                  </a:cubicBezTo>
                  <a:cubicBezTo>
                    <a:pt x="11813" y="4576"/>
                    <a:pt x="11863" y="4603"/>
                    <a:pt x="11878" y="4607"/>
                  </a:cubicBezTo>
                  <a:cubicBezTo>
                    <a:pt x="11892" y="4612"/>
                    <a:pt x="11942" y="4613"/>
                    <a:pt x="11960" y="4613"/>
                  </a:cubicBezTo>
                  <a:cubicBezTo>
                    <a:pt x="11977" y="4613"/>
                    <a:pt x="11982" y="4632"/>
                    <a:pt x="11992" y="4641"/>
                  </a:cubicBezTo>
                  <a:close/>
                  <a:moveTo>
                    <a:pt x="12892" y="6106"/>
                  </a:moveTo>
                  <a:cubicBezTo>
                    <a:pt x="12878" y="6108"/>
                    <a:pt x="12860" y="6113"/>
                    <a:pt x="12867" y="6119"/>
                  </a:cubicBezTo>
                  <a:cubicBezTo>
                    <a:pt x="12874" y="6125"/>
                    <a:pt x="12877" y="6132"/>
                    <a:pt x="12877" y="6132"/>
                  </a:cubicBezTo>
                  <a:cubicBezTo>
                    <a:pt x="12891" y="6132"/>
                    <a:pt x="12905" y="6124"/>
                    <a:pt x="12905" y="6124"/>
                  </a:cubicBezTo>
                  <a:cubicBezTo>
                    <a:pt x="12913" y="6124"/>
                    <a:pt x="12913" y="6124"/>
                    <a:pt x="12913" y="6124"/>
                  </a:cubicBezTo>
                  <a:cubicBezTo>
                    <a:pt x="12917" y="6121"/>
                    <a:pt x="12917" y="6121"/>
                    <a:pt x="12917" y="6121"/>
                  </a:cubicBezTo>
                  <a:cubicBezTo>
                    <a:pt x="12928" y="6121"/>
                    <a:pt x="12928" y="6121"/>
                    <a:pt x="12928" y="6121"/>
                  </a:cubicBezTo>
                  <a:cubicBezTo>
                    <a:pt x="12932" y="6116"/>
                    <a:pt x="12932" y="6116"/>
                    <a:pt x="12932" y="6116"/>
                  </a:cubicBezTo>
                  <a:cubicBezTo>
                    <a:pt x="12914" y="6114"/>
                    <a:pt x="12914" y="6114"/>
                    <a:pt x="12914" y="6114"/>
                  </a:cubicBezTo>
                  <a:cubicBezTo>
                    <a:pt x="12914" y="6114"/>
                    <a:pt x="12906" y="6105"/>
                    <a:pt x="12892" y="6106"/>
                  </a:cubicBezTo>
                  <a:close/>
                  <a:moveTo>
                    <a:pt x="11485" y="4319"/>
                  </a:moveTo>
                  <a:cubicBezTo>
                    <a:pt x="11494" y="4318"/>
                    <a:pt x="11481" y="4298"/>
                    <a:pt x="11473" y="4303"/>
                  </a:cubicBezTo>
                  <a:cubicBezTo>
                    <a:pt x="11466" y="4307"/>
                    <a:pt x="11475" y="4321"/>
                    <a:pt x="11485" y="4319"/>
                  </a:cubicBezTo>
                  <a:close/>
                  <a:moveTo>
                    <a:pt x="13253" y="6389"/>
                  </a:moveTo>
                  <a:cubicBezTo>
                    <a:pt x="13255" y="6396"/>
                    <a:pt x="13279" y="6384"/>
                    <a:pt x="13270" y="6377"/>
                  </a:cubicBezTo>
                  <a:cubicBezTo>
                    <a:pt x="13261" y="6370"/>
                    <a:pt x="13253" y="6389"/>
                    <a:pt x="13253" y="6389"/>
                  </a:cubicBezTo>
                  <a:close/>
                  <a:moveTo>
                    <a:pt x="11424" y="4181"/>
                  </a:moveTo>
                  <a:cubicBezTo>
                    <a:pt x="11409" y="4195"/>
                    <a:pt x="11409" y="4195"/>
                    <a:pt x="11409" y="4195"/>
                  </a:cubicBezTo>
                  <a:cubicBezTo>
                    <a:pt x="11417" y="4215"/>
                    <a:pt x="11417" y="4215"/>
                    <a:pt x="11417" y="4215"/>
                  </a:cubicBezTo>
                  <a:cubicBezTo>
                    <a:pt x="11417" y="4215"/>
                    <a:pt x="11407" y="4233"/>
                    <a:pt x="11419" y="4229"/>
                  </a:cubicBezTo>
                  <a:cubicBezTo>
                    <a:pt x="11426" y="4226"/>
                    <a:pt x="11423" y="4201"/>
                    <a:pt x="11423" y="4201"/>
                  </a:cubicBezTo>
                  <a:cubicBezTo>
                    <a:pt x="11430" y="4192"/>
                    <a:pt x="11430" y="4192"/>
                    <a:pt x="11430" y="4192"/>
                  </a:cubicBezTo>
                  <a:lnTo>
                    <a:pt x="11424" y="4181"/>
                  </a:lnTo>
                  <a:close/>
                  <a:moveTo>
                    <a:pt x="13852" y="4748"/>
                  </a:moveTo>
                  <a:cubicBezTo>
                    <a:pt x="13854" y="4737"/>
                    <a:pt x="13854" y="4737"/>
                    <a:pt x="13854" y="4737"/>
                  </a:cubicBezTo>
                  <a:cubicBezTo>
                    <a:pt x="13827" y="4720"/>
                    <a:pt x="13827" y="4720"/>
                    <a:pt x="13827" y="4720"/>
                  </a:cubicBezTo>
                  <a:cubicBezTo>
                    <a:pt x="13839" y="4710"/>
                    <a:pt x="13839" y="4710"/>
                    <a:pt x="13839" y="4710"/>
                  </a:cubicBezTo>
                  <a:cubicBezTo>
                    <a:pt x="13839" y="4710"/>
                    <a:pt x="13815" y="4709"/>
                    <a:pt x="13808" y="4702"/>
                  </a:cubicBezTo>
                  <a:cubicBezTo>
                    <a:pt x="13802" y="4695"/>
                    <a:pt x="13810" y="4681"/>
                    <a:pt x="13810" y="4672"/>
                  </a:cubicBezTo>
                  <a:cubicBezTo>
                    <a:pt x="13810" y="4663"/>
                    <a:pt x="13777" y="4680"/>
                    <a:pt x="13777" y="4680"/>
                  </a:cubicBezTo>
                  <a:cubicBezTo>
                    <a:pt x="13776" y="4659"/>
                    <a:pt x="13776" y="4659"/>
                    <a:pt x="13776" y="4659"/>
                  </a:cubicBezTo>
                  <a:cubicBezTo>
                    <a:pt x="13759" y="4651"/>
                    <a:pt x="13759" y="4651"/>
                    <a:pt x="13759" y="4651"/>
                  </a:cubicBezTo>
                  <a:cubicBezTo>
                    <a:pt x="13759" y="4621"/>
                    <a:pt x="13759" y="4621"/>
                    <a:pt x="13759" y="4621"/>
                  </a:cubicBezTo>
                  <a:cubicBezTo>
                    <a:pt x="13723" y="4595"/>
                    <a:pt x="13723" y="4595"/>
                    <a:pt x="13723" y="4595"/>
                  </a:cubicBezTo>
                  <a:cubicBezTo>
                    <a:pt x="13706" y="4558"/>
                    <a:pt x="13706" y="4558"/>
                    <a:pt x="13706" y="4558"/>
                  </a:cubicBezTo>
                  <a:cubicBezTo>
                    <a:pt x="13706" y="4558"/>
                    <a:pt x="13744" y="4545"/>
                    <a:pt x="13744" y="4529"/>
                  </a:cubicBezTo>
                  <a:cubicBezTo>
                    <a:pt x="13744" y="4513"/>
                    <a:pt x="13710" y="4504"/>
                    <a:pt x="13710" y="4504"/>
                  </a:cubicBezTo>
                  <a:cubicBezTo>
                    <a:pt x="13708" y="4500"/>
                    <a:pt x="13658" y="4486"/>
                    <a:pt x="13658" y="4486"/>
                  </a:cubicBezTo>
                  <a:cubicBezTo>
                    <a:pt x="13658" y="4486"/>
                    <a:pt x="13654" y="4473"/>
                    <a:pt x="13658" y="4453"/>
                  </a:cubicBezTo>
                  <a:cubicBezTo>
                    <a:pt x="13662" y="4434"/>
                    <a:pt x="13634" y="4431"/>
                    <a:pt x="13634" y="4431"/>
                  </a:cubicBezTo>
                  <a:cubicBezTo>
                    <a:pt x="13602" y="4397"/>
                    <a:pt x="13602" y="4397"/>
                    <a:pt x="13602" y="4397"/>
                  </a:cubicBezTo>
                  <a:cubicBezTo>
                    <a:pt x="13577" y="4398"/>
                    <a:pt x="13577" y="4398"/>
                    <a:pt x="13577" y="4398"/>
                  </a:cubicBezTo>
                  <a:cubicBezTo>
                    <a:pt x="13553" y="4375"/>
                    <a:pt x="13553" y="4375"/>
                    <a:pt x="13553" y="4375"/>
                  </a:cubicBezTo>
                  <a:cubicBezTo>
                    <a:pt x="13533" y="4371"/>
                    <a:pt x="13533" y="4371"/>
                    <a:pt x="13533" y="4371"/>
                  </a:cubicBezTo>
                  <a:cubicBezTo>
                    <a:pt x="13451" y="4333"/>
                    <a:pt x="13451" y="4333"/>
                    <a:pt x="13451" y="4333"/>
                  </a:cubicBezTo>
                  <a:cubicBezTo>
                    <a:pt x="13435" y="4339"/>
                    <a:pt x="13435" y="4339"/>
                    <a:pt x="13435" y="4339"/>
                  </a:cubicBezTo>
                  <a:cubicBezTo>
                    <a:pt x="13408" y="4320"/>
                    <a:pt x="13408" y="4320"/>
                    <a:pt x="13408" y="4320"/>
                  </a:cubicBezTo>
                  <a:cubicBezTo>
                    <a:pt x="13408" y="4320"/>
                    <a:pt x="13389" y="4322"/>
                    <a:pt x="13379" y="4322"/>
                  </a:cubicBezTo>
                  <a:cubicBezTo>
                    <a:pt x="13368" y="4322"/>
                    <a:pt x="13300" y="4279"/>
                    <a:pt x="13287" y="4275"/>
                  </a:cubicBezTo>
                  <a:cubicBezTo>
                    <a:pt x="13274" y="4271"/>
                    <a:pt x="13253" y="4290"/>
                    <a:pt x="13253" y="4290"/>
                  </a:cubicBezTo>
                  <a:cubicBezTo>
                    <a:pt x="13262" y="4308"/>
                    <a:pt x="13262" y="4308"/>
                    <a:pt x="13262" y="4308"/>
                  </a:cubicBezTo>
                  <a:cubicBezTo>
                    <a:pt x="13211" y="4313"/>
                    <a:pt x="13211" y="4313"/>
                    <a:pt x="13211" y="4313"/>
                  </a:cubicBezTo>
                  <a:cubicBezTo>
                    <a:pt x="13215" y="4331"/>
                    <a:pt x="13215" y="4331"/>
                    <a:pt x="13215" y="4331"/>
                  </a:cubicBezTo>
                  <a:cubicBezTo>
                    <a:pt x="13215" y="4331"/>
                    <a:pt x="13205" y="4362"/>
                    <a:pt x="13168" y="4369"/>
                  </a:cubicBezTo>
                  <a:cubicBezTo>
                    <a:pt x="13131" y="4377"/>
                    <a:pt x="13141" y="4328"/>
                    <a:pt x="13135" y="4328"/>
                  </a:cubicBezTo>
                  <a:cubicBezTo>
                    <a:pt x="13130" y="4328"/>
                    <a:pt x="13124" y="4350"/>
                    <a:pt x="13124" y="4350"/>
                  </a:cubicBezTo>
                  <a:cubicBezTo>
                    <a:pt x="13124" y="4350"/>
                    <a:pt x="13116" y="4333"/>
                    <a:pt x="13116" y="4324"/>
                  </a:cubicBezTo>
                  <a:cubicBezTo>
                    <a:pt x="13116" y="4314"/>
                    <a:pt x="13117" y="4287"/>
                    <a:pt x="13114" y="4270"/>
                  </a:cubicBezTo>
                  <a:cubicBezTo>
                    <a:pt x="13112" y="4253"/>
                    <a:pt x="13101" y="4235"/>
                    <a:pt x="13101" y="4235"/>
                  </a:cubicBezTo>
                  <a:cubicBezTo>
                    <a:pt x="13075" y="4235"/>
                    <a:pt x="13075" y="4235"/>
                    <a:pt x="13075" y="4235"/>
                  </a:cubicBezTo>
                  <a:cubicBezTo>
                    <a:pt x="13075" y="4235"/>
                    <a:pt x="13054" y="4211"/>
                    <a:pt x="13036" y="4211"/>
                  </a:cubicBezTo>
                  <a:cubicBezTo>
                    <a:pt x="13018" y="4211"/>
                    <a:pt x="12999" y="4236"/>
                    <a:pt x="12999" y="4236"/>
                  </a:cubicBezTo>
                  <a:cubicBezTo>
                    <a:pt x="12983" y="4240"/>
                    <a:pt x="12983" y="4240"/>
                    <a:pt x="12983" y="4240"/>
                  </a:cubicBezTo>
                  <a:cubicBezTo>
                    <a:pt x="12978" y="4252"/>
                    <a:pt x="12978" y="4252"/>
                    <a:pt x="12978" y="4252"/>
                  </a:cubicBezTo>
                  <a:cubicBezTo>
                    <a:pt x="12966" y="4258"/>
                    <a:pt x="12966" y="4258"/>
                    <a:pt x="12966" y="4258"/>
                  </a:cubicBezTo>
                  <a:cubicBezTo>
                    <a:pt x="12966" y="4249"/>
                    <a:pt x="12966" y="4249"/>
                    <a:pt x="12966" y="4249"/>
                  </a:cubicBezTo>
                  <a:cubicBezTo>
                    <a:pt x="12966" y="4249"/>
                    <a:pt x="12959" y="4237"/>
                    <a:pt x="12948" y="4241"/>
                  </a:cubicBezTo>
                  <a:cubicBezTo>
                    <a:pt x="12948" y="4241"/>
                    <a:pt x="12948" y="4254"/>
                    <a:pt x="12957" y="4267"/>
                  </a:cubicBezTo>
                  <a:cubicBezTo>
                    <a:pt x="12966" y="4280"/>
                    <a:pt x="12987" y="4273"/>
                    <a:pt x="13004" y="4278"/>
                  </a:cubicBezTo>
                  <a:cubicBezTo>
                    <a:pt x="13021" y="4283"/>
                    <a:pt x="13006" y="4291"/>
                    <a:pt x="13015" y="4307"/>
                  </a:cubicBezTo>
                  <a:cubicBezTo>
                    <a:pt x="13024" y="4322"/>
                    <a:pt x="13054" y="4309"/>
                    <a:pt x="13076" y="4309"/>
                  </a:cubicBezTo>
                  <a:cubicBezTo>
                    <a:pt x="13099" y="4309"/>
                    <a:pt x="13100" y="4314"/>
                    <a:pt x="13100" y="4325"/>
                  </a:cubicBezTo>
                  <a:cubicBezTo>
                    <a:pt x="13100" y="4335"/>
                    <a:pt x="13074" y="4325"/>
                    <a:pt x="13066" y="4326"/>
                  </a:cubicBezTo>
                  <a:cubicBezTo>
                    <a:pt x="13058" y="4328"/>
                    <a:pt x="13040" y="4339"/>
                    <a:pt x="13040" y="4339"/>
                  </a:cubicBezTo>
                  <a:cubicBezTo>
                    <a:pt x="13040" y="4339"/>
                    <a:pt x="13012" y="4339"/>
                    <a:pt x="13006" y="4346"/>
                  </a:cubicBezTo>
                  <a:cubicBezTo>
                    <a:pt x="12999" y="4352"/>
                    <a:pt x="13029" y="4359"/>
                    <a:pt x="13036" y="4363"/>
                  </a:cubicBezTo>
                  <a:cubicBezTo>
                    <a:pt x="13042" y="4367"/>
                    <a:pt x="13052" y="4383"/>
                    <a:pt x="13052" y="4383"/>
                  </a:cubicBezTo>
                  <a:cubicBezTo>
                    <a:pt x="13052" y="4383"/>
                    <a:pt x="13036" y="4402"/>
                    <a:pt x="13045" y="4415"/>
                  </a:cubicBezTo>
                  <a:cubicBezTo>
                    <a:pt x="13054" y="4428"/>
                    <a:pt x="13074" y="4393"/>
                    <a:pt x="13074" y="4389"/>
                  </a:cubicBezTo>
                  <a:cubicBezTo>
                    <a:pt x="13074" y="4385"/>
                    <a:pt x="13093" y="4356"/>
                    <a:pt x="13093" y="4356"/>
                  </a:cubicBezTo>
                  <a:cubicBezTo>
                    <a:pt x="13091" y="4381"/>
                    <a:pt x="13091" y="4381"/>
                    <a:pt x="13091" y="4381"/>
                  </a:cubicBezTo>
                  <a:cubicBezTo>
                    <a:pt x="13091" y="4381"/>
                    <a:pt x="13104" y="4394"/>
                    <a:pt x="13114" y="4403"/>
                  </a:cubicBezTo>
                  <a:cubicBezTo>
                    <a:pt x="13125" y="4413"/>
                    <a:pt x="13146" y="4405"/>
                    <a:pt x="13146" y="4405"/>
                  </a:cubicBezTo>
                  <a:cubicBezTo>
                    <a:pt x="13137" y="4414"/>
                    <a:pt x="13137" y="4414"/>
                    <a:pt x="13137" y="4414"/>
                  </a:cubicBezTo>
                  <a:cubicBezTo>
                    <a:pt x="13158" y="4434"/>
                    <a:pt x="13158" y="4434"/>
                    <a:pt x="13158" y="4434"/>
                  </a:cubicBezTo>
                  <a:cubicBezTo>
                    <a:pt x="13196" y="4435"/>
                    <a:pt x="13196" y="4435"/>
                    <a:pt x="13196" y="4435"/>
                  </a:cubicBezTo>
                  <a:cubicBezTo>
                    <a:pt x="13219" y="4452"/>
                    <a:pt x="13219" y="4452"/>
                    <a:pt x="13219" y="4452"/>
                  </a:cubicBezTo>
                  <a:cubicBezTo>
                    <a:pt x="13219" y="4452"/>
                    <a:pt x="13261" y="4466"/>
                    <a:pt x="13285" y="4483"/>
                  </a:cubicBezTo>
                  <a:cubicBezTo>
                    <a:pt x="13308" y="4500"/>
                    <a:pt x="13303" y="4506"/>
                    <a:pt x="13304" y="4525"/>
                  </a:cubicBezTo>
                  <a:cubicBezTo>
                    <a:pt x="13306" y="4545"/>
                    <a:pt x="13328" y="4554"/>
                    <a:pt x="13328" y="4554"/>
                  </a:cubicBezTo>
                  <a:cubicBezTo>
                    <a:pt x="13328" y="4554"/>
                    <a:pt x="13311" y="4557"/>
                    <a:pt x="13311" y="4566"/>
                  </a:cubicBezTo>
                  <a:cubicBezTo>
                    <a:pt x="13311" y="4575"/>
                    <a:pt x="13337" y="4576"/>
                    <a:pt x="13337" y="4576"/>
                  </a:cubicBezTo>
                  <a:cubicBezTo>
                    <a:pt x="13321" y="4582"/>
                    <a:pt x="13321" y="4582"/>
                    <a:pt x="13321" y="4582"/>
                  </a:cubicBezTo>
                  <a:cubicBezTo>
                    <a:pt x="13322" y="4590"/>
                    <a:pt x="13322" y="4590"/>
                    <a:pt x="13322" y="4590"/>
                  </a:cubicBezTo>
                  <a:cubicBezTo>
                    <a:pt x="13327" y="4593"/>
                    <a:pt x="13327" y="4593"/>
                    <a:pt x="13327" y="4593"/>
                  </a:cubicBezTo>
                  <a:cubicBezTo>
                    <a:pt x="13332" y="4614"/>
                    <a:pt x="13332" y="4614"/>
                    <a:pt x="13332" y="4614"/>
                  </a:cubicBezTo>
                  <a:cubicBezTo>
                    <a:pt x="13322" y="4635"/>
                    <a:pt x="13322" y="4635"/>
                    <a:pt x="13322" y="4635"/>
                  </a:cubicBezTo>
                  <a:cubicBezTo>
                    <a:pt x="13328" y="4634"/>
                    <a:pt x="13333" y="4633"/>
                    <a:pt x="13336" y="4634"/>
                  </a:cubicBezTo>
                  <a:cubicBezTo>
                    <a:pt x="13341" y="4637"/>
                    <a:pt x="13375" y="4622"/>
                    <a:pt x="13375" y="4622"/>
                  </a:cubicBezTo>
                  <a:cubicBezTo>
                    <a:pt x="13375" y="4640"/>
                    <a:pt x="13375" y="4640"/>
                    <a:pt x="13375" y="4640"/>
                  </a:cubicBezTo>
                  <a:cubicBezTo>
                    <a:pt x="13375" y="4640"/>
                    <a:pt x="13402" y="4673"/>
                    <a:pt x="13414" y="4682"/>
                  </a:cubicBezTo>
                  <a:cubicBezTo>
                    <a:pt x="13416" y="4683"/>
                    <a:pt x="13417" y="4684"/>
                    <a:pt x="13419" y="4685"/>
                  </a:cubicBezTo>
                  <a:cubicBezTo>
                    <a:pt x="13419" y="4685"/>
                    <a:pt x="13419" y="4685"/>
                    <a:pt x="13419" y="4685"/>
                  </a:cubicBezTo>
                  <a:cubicBezTo>
                    <a:pt x="13436" y="4689"/>
                    <a:pt x="13477" y="4680"/>
                    <a:pt x="13477" y="4680"/>
                  </a:cubicBezTo>
                  <a:cubicBezTo>
                    <a:pt x="13490" y="4692"/>
                    <a:pt x="13490" y="4692"/>
                    <a:pt x="13490" y="4692"/>
                  </a:cubicBezTo>
                  <a:cubicBezTo>
                    <a:pt x="13490" y="4692"/>
                    <a:pt x="13516" y="4682"/>
                    <a:pt x="13528" y="4672"/>
                  </a:cubicBezTo>
                  <a:cubicBezTo>
                    <a:pt x="13540" y="4661"/>
                    <a:pt x="13473" y="4631"/>
                    <a:pt x="13473" y="4631"/>
                  </a:cubicBezTo>
                  <a:cubicBezTo>
                    <a:pt x="13473" y="4631"/>
                    <a:pt x="13528" y="4639"/>
                    <a:pt x="13540" y="4637"/>
                  </a:cubicBezTo>
                  <a:cubicBezTo>
                    <a:pt x="13552" y="4634"/>
                    <a:pt x="13532" y="4613"/>
                    <a:pt x="13532" y="4613"/>
                  </a:cubicBezTo>
                  <a:cubicBezTo>
                    <a:pt x="13532" y="4613"/>
                    <a:pt x="13548" y="4625"/>
                    <a:pt x="13553" y="4622"/>
                  </a:cubicBezTo>
                  <a:cubicBezTo>
                    <a:pt x="13558" y="4620"/>
                    <a:pt x="13548" y="4597"/>
                    <a:pt x="13548" y="4597"/>
                  </a:cubicBezTo>
                  <a:cubicBezTo>
                    <a:pt x="13548" y="4597"/>
                    <a:pt x="13558" y="4606"/>
                    <a:pt x="13565" y="4608"/>
                  </a:cubicBezTo>
                  <a:cubicBezTo>
                    <a:pt x="13571" y="4609"/>
                    <a:pt x="13581" y="4596"/>
                    <a:pt x="13587" y="4595"/>
                  </a:cubicBezTo>
                  <a:cubicBezTo>
                    <a:pt x="13594" y="4593"/>
                    <a:pt x="13604" y="4613"/>
                    <a:pt x="13611" y="4617"/>
                  </a:cubicBezTo>
                  <a:cubicBezTo>
                    <a:pt x="13617" y="4621"/>
                    <a:pt x="13642" y="4616"/>
                    <a:pt x="13660" y="4626"/>
                  </a:cubicBezTo>
                  <a:cubicBezTo>
                    <a:pt x="13679" y="4637"/>
                    <a:pt x="13672" y="4660"/>
                    <a:pt x="13679" y="4672"/>
                  </a:cubicBezTo>
                  <a:cubicBezTo>
                    <a:pt x="13685" y="4684"/>
                    <a:pt x="13698" y="4676"/>
                    <a:pt x="13704" y="4682"/>
                  </a:cubicBezTo>
                  <a:cubicBezTo>
                    <a:pt x="13709" y="4689"/>
                    <a:pt x="13718" y="4730"/>
                    <a:pt x="13732" y="4740"/>
                  </a:cubicBezTo>
                  <a:cubicBezTo>
                    <a:pt x="13747" y="4750"/>
                    <a:pt x="13811" y="4744"/>
                    <a:pt x="13820" y="4748"/>
                  </a:cubicBezTo>
                  <a:cubicBezTo>
                    <a:pt x="13829" y="4752"/>
                    <a:pt x="13849" y="4775"/>
                    <a:pt x="13861" y="4775"/>
                  </a:cubicBezTo>
                  <a:cubicBezTo>
                    <a:pt x="13873" y="4775"/>
                    <a:pt x="13852" y="4748"/>
                    <a:pt x="13852" y="4748"/>
                  </a:cubicBezTo>
                  <a:close/>
                  <a:moveTo>
                    <a:pt x="14324" y="6411"/>
                  </a:moveTo>
                  <a:cubicBezTo>
                    <a:pt x="14315" y="6411"/>
                    <a:pt x="14315" y="6411"/>
                    <a:pt x="14315" y="6411"/>
                  </a:cubicBezTo>
                  <a:cubicBezTo>
                    <a:pt x="14321" y="6386"/>
                    <a:pt x="14321" y="6386"/>
                    <a:pt x="14321" y="6386"/>
                  </a:cubicBezTo>
                  <a:cubicBezTo>
                    <a:pt x="14303" y="6397"/>
                    <a:pt x="14303" y="6397"/>
                    <a:pt x="14303" y="6397"/>
                  </a:cubicBezTo>
                  <a:cubicBezTo>
                    <a:pt x="14303" y="6397"/>
                    <a:pt x="14316" y="6371"/>
                    <a:pt x="14304" y="6371"/>
                  </a:cubicBezTo>
                  <a:cubicBezTo>
                    <a:pt x="14292" y="6370"/>
                    <a:pt x="14282" y="6387"/>
                    <a:pt x="14282" y="6387"/>
                  </a:cubicBezTo>
                  <a:cubicBezTo>
                    <a:pt x="14271" y="6394"/>
                    <a:pt x="14271" y="6394"/>
                    <a:pt x="14271" y="6394"/>
                  </a:cubicBezTo>
                  <a:cubicBezTo>
                    <a:pt x="14271" y="6394"/>
                    <a:pt x="14260" y="6405"/>
                    <a:pt x="14251" y="6416"/>
                  </a:cubicBezTo>
                  <a:cubicBezTo>
                    <a:pt x="14243" y="6427"/>
                    <a:pt x="14222" y="6429"/>
                    <a:pt x="14207" y="6439"/>
                  </a:cubicBezTo>
                  <a:cubicBezTo>
                    <a:pt x="14192" y="6450"/>
                    <a:pt x="14186" y="6468"/>
                    <a:pt x="14186" y="6468"/>
                  </a:cubicBezTo>
                  <a:cubicBezTo>
                    <a:pt x="14186" y="6468"/>
                    <a:pt x="14139" y="6482"/>
                    <a:pt x="14126" y="6491"/>
                  </a:cubicBezTo>
                  <a:cubicBezTo>
                    <a:pt x="14111" y="6500"/>
                    <a:pt x="14087" y="6520"/>
                    <a:pt x="14087" y="6520"/>
                  </a:cubicBezTo>
                  <a:cubicBezTo>
                    <a:pt x="14087" y="6520"/>
                    <a:pt x="14060" y="6524"/>
                    <a:pt x="14043" y="6531"/>
                  </a:cubicBezTo>
                  <a:cubicBezTo>
                    <a:pt x="14027" y="6539"/>
                    <a:pt x="14018" y="6541"/>
                    <a:pt x="14003" y="6549"/>
                  </a:cubicBezTo>
                  <a:cubicBezTo>
                    <a:pt x="13987" y="6558"/>
                    <a:pt x="13957" y="6569"/>
                    <a:pt x="13945" y="6575"/>
                  </a:cubicBezTo>
                  <a:cubicBezTo>
                    <a:pt x="13932" y="6581"/>
                    <a:pt x="13938" y="6600"/>
                    <a:pt x="13938" y="6600"/>
                  </a:cubicBezTo>
                  <a:cubicBezTo>
                    <a:pt x="13928" y="6591"/>
                    <a:pt x="13928" y="6591"/>
                    <a:pt x="13928" y="6591"/>
                  </a:cubicBezTo>
                  <a:cubicBezTo>
                    <a:pt x="13928" y="6591"/>
                    <a:pt x="13893" y="6613"/>
                    <a:pt x="13882" y="6619"/>
                  </a:cubicBezTo>
                  <a:cubicBezTo>
                    <a:pt x="13870" y="6626"/>
                    <a:pt x="13865" y="6623"/>
                    <a:pt x="13849" y="6629"/>
                  </a:cubicBezTo>
                  <a:cubicBezTo>
                    <a:pt x="13833" y="6635"/>
                    <a:pt x="13826" y="6644"/>
                    <a:pt x="13826" y="6644"/>
                  </a:cubicBezTo>
                  <a:cubicBezTo>
                    <a:pt x="13826" y="6644"/>
                    <a:pt x="13846" y="6643"/>
                    <a:pt x="13844" y="6647"/>
                  </a:cubicBezTo>
                  <a:cubicBezTo>
                    <a:pt x="13842" y="6651"/>
                    <a:pt x="13834" y="6656"/>
                    <a:pt x="13838" y="6665"/>
                  </a:cubicBezTo>
                  <a:cubicBezTo>
                    <a:pt x="13843" y="6674"/>
                    <a:pt x="13866" y="6660"/>
                    <a:pt x="13866" y="6660"/>
                  </a:cubicBezTo>
                  <a:cubicBezTo>
                    <a:pt x="13873" y="6667"/>
                    <a:pt x="13873" y="6667"/>
                    <a:pt x="13873" y="6667"/>
                  </a:cubicBezTo>
                  <a:cubicBezTo>
                    <a:pt x="13889" y="6667"/>
                    <a:pt x="13889" y="6667"/>
                    <a:pt x="13889" y="6667"/>
                  </a:cubicBezTo>
                  <a:cubicBezTo>
                    <a:pt x="13891" y="6673"/>
                    <a:pt x="13891" y="6673"/>
                    <a:pt x="13891" y="6673"/>
                  </a:cubicBezTo>
                  <a:cubicBezTo>
                    <a:pt x="13913" y="6670"/>
                    <a:pt x="13913" y="6670"/>
                    <a:pt x="13913" y="6670"/>
                  </a:cubicBezTo>
                  <a:cubicBezTo>
                    <a:pt x="13922" y="6684"/>
                    <a:pt x="13922" y="6684"/>
                    <a:pt x="13922" y="6684"/>
                  </a:cubicBezTo>
                  <a:cubicBezTo>
                    <a:pt x="13944" y="6681"/>
                    <a:pt x="13944" y="6681"/>
                    <a:pt x="13944" y="6681"/>
                  </a:cubicBezTo>
                  <a:cubicBezTo>
                    <a:pt x="13944" y="6681"/>
                    <a:pt x="13962" y="6692"/>
                    <a:pt x="13978" y="6689"/>
                  </a:cubicBezTo>
                  <a:cubicBezTo>
                    <a:pt x="13993" y="6686"/>
                    <a:pt x="13998" y="6670"/>
                    <a:pt x="14008" y="6663"/>
                  </a:cubicBezTo>
                  <a:cubicBezTo>
                    <a:pt x="14018" y="6656"/>
                    <a:pt x="14026" y="6666"/>
                    <a:pt x="14041" y="6656"/>
                  </a:cubicBezTo>
                  <a:cubicBezTo>
                    <a:pt x="14056" y="6646"/>
                    <a:pt x="14046" y="6633"/>
                    <a:pt x="14058" y="6622"/>
                  </a:cubicBezTo>
                  <a:cubicBezTo>
                    <a:pt x="14069" y="6610"/>
                    <a:pt x="14083" y="6618"/>
                    <a:pt x="14091" y="6610"/>
                  </a:cubicBezTo>
                  <a:cubicBezTo>
                    <a:pt x="14099" y="6603"/>
                    <a:pt x="14091" y="6594"/>
                    <a:pt x="14091" y="6594"/>
                  </a:cubicBezTo>
                  <a:cubicBezTo>
                    <a:pt x="14105" y="6593"/>
                    <a:pt x="14105" y="6593"/>
                    <a:pt x="14105" y="6593"/>
                  </a:cubicBezTo>
                  <a:cubicBezTo>
                    <a:pt x="14144" y="6563"/>
                    <a:pt x="14144" y="6563"/>
                    <a:pt x="14144" y="6563"/>
                  </a:cubicBezTo>
                  <a:cubicBezTo>
                    <a:pt x="14132" y="6553"/>
                    <a:pt x="14132" y="6553"/>
                    <a:pt x="14132" y="6553"/>
                  </a:cubicBezTo>
                  <a:cubicBezTo>
                    <a:pt x="14159" y="6563"/>
                    <a:pt x="14159" y="6563"/>
                    <a:pt x="14159" y="6563"/>
                  </a:cubicBezTo>
                  <a:cubicBezTo>
                    <a:pt x="14159" y="6563"/>
                    <a:pt x="14160" y="6547"/>
                    <a:pt x="14169" y="6546"/>
                  </a:cubicBezTo>
                  <a:cubicBezTo>
                    <a:pt x="14178" y="6545"/>
                    <a:pt x="14186" y="6553"/>
                    <a:pt x="14198" y="6556"/>
                  </a:cubicBezTo>
                  <a:cubicBezTo>
                    <a:pt x="14209" y="6558"/>
                    <a:pt x="14214" y="6539"/>
                    <a:pt x="14214" y="6539"/>
                  </a:cubicBezTo>
                  <a:cubicBezTo>
                    <a:pt x="14204" y="6531"/>
                    <a:pt x="14204" y="6531"/>
                    <a:pt x="14204" y="6531"/>
                  </a:cubicBezTo>
                  <a:cubicBezTo>
                    <a:pt x="14221" y="6516"/>
                    <a:pt x="14221" y="6516"/>
                    <a:pt x="14221" y="6516"/>
                  </a:cubicBezTo>
                  <a:cubicBezTo>
                    <a:pt x="14233" y="6502"/>
                    <a:pt x="14233" y="6502"/>
                    <a:pt x="14233" y="6502"/>
                  </a:cubicBezTo>
                  <a:cubicBezTo>
                    <a:pt x="14233" y="6502"/>
                    <a:pt x="14244" y="6495"/>
                    <a:pt x="14256" y="6492"/>
                  </a:cubicBezTo>
                  <a:cubicBezTo>
                    <a:pt x="14268" y="6489"/>
                    <a:pt x="14273" y="6472"/>
                    <a:pt x="14273" y="6472"/>
                  </a:cubicBezTo>
                  <a:cubicBezTo>
                    <a:pt x="14273" y="6472"/>
                    <a:pt x="14284" y="6470"/>
                    <a:pt x="14294" y="6466"/>
                  </a:cubicBezTo>
                  <a:cubicBezTo>
                    <a:pt x="14305" y="6462"/>
                    <a:pt x="14314" y="6444"/>
                    <a:pt x="14314" y="6444"/>
                  </a:cubicBezTo>
                  <a:cubicBezTo>
                    <a:pt x="14314" y="6444"/>
                    <a:pt x="14334" y="6437"/>
                    <a:pt x="14344" y="6425"/>
                  </a:cubicBezTo>
                  <a:cubicBezTo>
                    <a:pt x="14355" y="6412"/>
                    <a:pt x="14342" y="6389"/>
                    <a:pt x="14342" y="6389"/>
                  </a:cubicBezTo>
                  <a:lnTo>
                    <a:pt x="14324" y="6411"/>
                  </a:lnTo>
                  <a:close/>
                  <a:moveTo>
                    <a:pt x="13321" y="4635"/>
                  </a:moveTo>
                  <a:cubicBezTo>
                    <a:pt x="13327" y="4613"/>
                    <a:pt x="13327" y="4613"/>
                    <a:pt x="13327" y="4613"/>
                  </a:cubicBezTo>
                  <a:cubicBezTo>
                    <a:pt x="13323" y="4599"/>
                    <a:pt x="13323" y="4599"/>
                    <a:pt x="13323" y="4599"/>
                  </a:cubicBezTo>
                  <a:cubicBezTo>
                    <a:pt x="13322" y="4598"/>
                    <a:pt x="13322" y="4598"/>
                    <a:pt x="13322" y="4598"/>
                  </a:cubicBezTo>
                  <a:cubicBezTo>
                    <a:pt x="13320" y="4595"/>
                    <a:pt x="13311" y="4587"/>
                    <a:pt x="13292" y="4596"/>
                  </a:cubicBezTo>
                  <a:cubicBezTo>
                    <a:pt x="13270" y="4606"/>
                    <a:pt x="13266" y="4644"/>
                    <a:pt x="13266" y="4644"/>
                  </a:cubicBezTo>
                  <a:cubicBezTo>
                    <a:pt x="13308" y="4639"/>
                    <a:pt x="13308" y="4639"/>
                    <a:pt x="13308" y="4639"/>
                  </a:cubicBezTo>
                  <a:cubicBezTo>
                    <a:pt x="13308" y="4639"/>
                    <a:pt x="13314" y="4637"/>
                    <a:pt x="13321" y="4635"/>
                  </a:cubicBezTo>
                  <a:close/>
                  <a:moveTo>
                    <a:pt x="11435" y="4245"/>
                  </a:moveTo>
                  <a:cubicBezTo>
                    <a:pt x="11425" y="4257"/>
                    <a:pt x="11431" y="4299"/>
                    <a:pt x="11453" y="4295"/>
                  </a:cubicBezTo>
                  <a:cubicBezTo>
                    <a:pt x="11462" y="4293"/>
                    <a:pt x="11446" y="4233"/>
                    <a:pt x="11435" y="4245"/>
                  </a:cubicBezTo>
                  <a:close/>
                  <a:moveTo>
                    <a:pt x="13175" y="4927"/>
                  </a:moveTo>
                  <a:cubicBezTo>
                    <a:pt x="13169" y="4927"/>
                    <a:pt x="13165" y="4958"/>
                    <a:pt x="13165" y="4958"/>
                  </a:cubicBezTo>
                  <a:cubicBezTo>
                    <a:pt x="13175" y="4972"/>
                    <a:pt x="13196" y="4960"/>
                    <a:pt x="13196" y="4960"/>
                  </a:cubicBezTo>
                  <a:cubicBezTo>
                    <a:pt x="13192" y="4951"/>
                    <a:pt x="13192" y="4951"/>
                    <a:pt x="13192" y="4951"/>
                  </a:cubicBezTo>
                  <a:cubicBezTo>
                    <a:pt x="13196" y="4932"/>
                    <a:pt x="13196" y="4932"/>
                    <a:pt x="13196" y="4932"/>
                  </a:cubicBezTo>
                  <a:cubicBezTo>
                    <a:pt x="13196" y="4932"/>
                    <a:pt x="13180" y="4927"/>
                    <a:pt x="13175" y="4927"/>
                  </a:cubicBezTo>
                  <a:close/>
                  <a:moveTo>
                    <a:pt x="13263" y="6362"/>
                  </a:moveTo>
                  <a:cubicBezTo>
                    <a:pt x="13251" y="6337"/>
                    <a:pt x="13251" y="6337"/>
                    <a:pt x="13251" y="6337"/>
                  </a:cubicBezTo>
                  <a:cubicBezTo>
                    <a:pt x="13251" y="6337"/>
                    <a:pt x="13239" y="6344"/>
                    <a:pt x="13238" y="6352"/>
                  </a:cubicBezTo>
                  <a:cubicBezTo>
                    <a:pt x="13238" y="6359"/>
                    <a:pt x="13240" y="6362"/>
                    <a:pt x="13249" y="6365"/>
                  </a:cubicBezTo>
                  <a:cubicBezTo>
                    <a:pt x="13258" y="6368"/>
                    <a:pt x="13263" y="6362"/>
                    <a:pt x="13263" y="6362"/>
                  </a:cubicBezTo>
                  <a:close/>
                  <a:moveTo>
                    <a:pt x="6552" y="1145"/>
                  </a:moveTo>
                  <a:cubicBezTo>
                    <a:pt x="6547" y="1137"/>
                    <a:pt x="6547" y="1137"/>
                    <a:pt x="6547" y="1137"/>
                  </a:cubicBezTo>
                  <a:cubicBezTo>
                    <a:pt x="6541" y="1159"/>
                    <a:pt x="6541" y="1159"/>
                    <a:pt x="6541" y="1159"/>
                  </a:cubicBezTo>
                  <a:lnTo>
                    <a:pt x="6552" y="1145"/>
                  </a:lnTo>
                  <a:close/>
                  <a:moveTo>
                    <a:pt x="6608" y="1224"/>
                  </a:moveTo>
                  <a:cubicBezTo>
                    <a:pt x="6600" y="1224"/>
                    <a:pt x="6599" y="1230"/>
                    <a:pt x="6596" y="1245"/>
                  </a:cubicBezTo>
                  <a:cubicBezTo>
                    <a:pt x="6594" y="1257"/>
                    <a:pt x="6616" y="1224"/>
                    <a:pt x="6608" y="1224"/>
                  </a:cubicBezTo>
                  <a:close/>
                  <a:moveTo>
                    <a:pt x="6587" y="1127"/>
                  </a:moveTo>
                  <a:cubicBezTo>
                    <a:pt x="6577" y="1127"/>
                    <a:pt x="6583" y="1137"/>
                    <a:pt x="6583" y="1137"/>
                  </a:cubicBezTo>
                  <a:cubicBezTo>
                    <a:pt x="6583" y="1137"/>
                    <a:pt x="6575" y="1134"/>
                    <a:pt x="6572" y="1137"/>
                  </a:cubicBezTo>
                  <a:cubicBezTo>
                    <a:pt x="6569" y="1140"/>
                    <a:pt x="6581" y="1147"/>
                    <a:pt x="6583" y="1151"/>
                  </a:cubicBezTo>
                  <a:cubicBezTo>
                    <a:pt x="6585" y="1155"/>
                    <a:pt x="6600" y="1152"/>
                    <a:pt x="6600" y="1152"/>
                  </a:cubicBezTo>
                  <a:cubicBezTo>
                    <a:pt x="6593" y="1144"/>
                    <a:pt x="6593" y="1144"/>
                    <a:pt x="6593" y="1144"/>
                  </a:cubicBezTo>
                  <a:cubicBezTo>
                    <a:pt x="6593" y="1144"/>
                    <a:pt x="6597" y="1127"/>
                    <a:pt x="6587" y="1127"/>
                  </a:cubicBezTo>
                  <a:close/>
                  <a:moveTo>
                    <a:pt x="6627" y="1237"/>
                  </a:moveTo>
                  <a:cubicBezTo>
                    <a:pt x="6633" y="1233"/>
                    <a:pt x="6624" y="1220"/>
                    <a:pt x="6618" y="1226"/>
                  </a:cubicBezTo>
                  <a:cubicBezTo>
                    <a:pt x="6612" y="1232"/>
                    <a:pt x="6620" y="1241"/>
                    <a:pt x="6627" y="1237"/>
                  </a:cubicBezTo>
                  <a:close/>
                  <a:moveTo>
                    <a:pt x="6647" y="1293"/>
                  </a:moveTo>
                  <a:cubicBezTo>
                    <a:pt x="6642" y="1278"/>
                    <a:pt x="6637" y="1298"/>
                    <a:pt x="6628" y="1306"/>
                  </a:cubicBezTo>
                  <a:cubicBezTo>
                    <a:pt x="6628" y="1306"/>
                    <a:pt x="6652" y="1308"/>
                    <a:pt x="6647" y="1293"/>
                  </a:cubicBezTo>
                  <a:close/>
                  <a:moveTo>
                    <a:pt x="6576" y="1101"/>
                  </a:moveTo>
                  <a:cubicBezTo>
                    <a:pt x="6576" y="1101"/>
                    <a:pt x="6568" y="1093"/>
                    <a:pt x="6562" y="1096"/>
                  </a:cubicBezTo>
                  <a:cubicBezTo>
                    <a:pt x="6557" y="1099"/>
                    <a:pt x="6563" y="1121"/>
                    <a:pt x="6563" y="1121"/>
                  </a:cubicBezTo>
                  <a:cubicBezTo>
                    <a:pt x="6572" y="1112"/>
                    <a:pt x="6572" y="1112"/>
                    <a:pt x="6572" y="1112"/>
                  </a:cubicBezTo>
                  <a:cubicBezTo>
                    <a:pt x="6572" y="1112"/>
                    <a:pt x="6578" y="1114"/>
                    <a:pt x="6584" y="1113"/>
                  </a:cubicBezTo>
                  <a:cubicBezTo>
                    <a:pt x="6590" y="1112"/>
                    <a:pt x="6598" y="1083"/>
                    <a:pt x="6598" y="1083"/>
                  </a:cubicBezTo>
                  <a:cubicBezTo>
                    <a:pt x="6598" y="1083"/>
                    <a:pt x="6590" y="1085"/>
                    <a:pt x="6584" y="1090"/>
                  </a:cubicBezTo>
                  <a:cubicBezTo>
                    <a:pt x="6578" y="1094"/>
                    <a:pt x="6576" y="1101"/>
                    <a:pt x="6576" y="1101"/>
                  </a:cubicBezTo>
                  <a:close/>
                  <a:moveTo>
                    <a:pt x="6370" y="744"/>
                  </a:moveTo>
                  <a:cubicBezTo>
                    <a:pt x="6356" y="737"/>
                    <a:pt x="6344" y="744"/>
                    <a:pt x="6344" y="744"/>
                  </a:cubicBezTo>
                  <a:cubicBezTo>
                    <a:pt x="6347" y="734"/>
                    <a:pt x="6347" y="734"/>
                    <a:pt x="6347" y="734"/>
                  </a:cubicBezTo>
                  <a:cubicBezTo>
                    <a:pt x="6329" y="735"/>
                    <a:pt x="6329" y="735"/>
                    <a:pt x="6329" y="735"/>
                  </a:cubicBezTo>
                  <a:cubicBezTo>
                    <a:pt x="6339" y="720"/>
                    <a:pt x="6339" y="720"/>
                    <a:pt x="6339" y="720"/>
                  </a:cubicBezTo>
                  <a:cubicBezTo>
                    <a:pt x="6330" y="718"/>
                    <a:pt x="6330" y="718"/>
                    <a:pt x="6330" y="718"/>
                  </a:cubicBezTo>
                  <a:cubicBezTo>
                    <a:pt x="6334" y="706"/>
                    <a:pt x="6334" y="706"/>
                    <a:pt x="6334" y="706"/>
                  </a:cubicBezTo>
                  <a:cubicBezTo>
                    <a:pt x="6313" y="711"/>
                    <a:pt x="6313" y="711"/>
                    <a:pt x="6313" y="711"/>
                  </a:cubicBezTo>
                  <a:cubicBezTo>
                    <a:pt x="6313" y="711"/>
                    <a:pt x="6292" y="694"/>
                    <a:pt x="6285" y="694"/>
                  </a:cubicBezTo>
                  <a:cubicBezTo>
                    <a:pt x="6278" y="694"/>
                    <a:pt x="6282" y="710"/>
                    <a:pt x="6282" y="710"/>
                  </a:cubicBezTo>
                  <a:cubicBezTo>
                    <a:pt x="6268" y="716"/>
                    <a:pt x="6268" y="716"/>
                    <a:pt x="6268" y="716"/>
                  </a:cubicBezTo>
                  <a:cubicBezTo>
                    <a:pt x="6268" y="716"/>
                    <a:pt x="6256" y="713"/>
                    <a:pt x="6250" y="713"/>
                  </a:cubicBezTo>
                  <a:cubicBezTo>
                    <a:pt x="6244" y="713"/>
                    <a:pt x="6237" y="723"/>
                    <a:pt x="6237" y="723"/>
                  </a:cubicBezTo>
                  <a:cubicBezTo>
                    <a:pt x="6237" y="723"/>
                    <a:pt x="6221" y="711"/>
                    <a:pt x="6215" y="713"/>
                  </a:cubicBezTo>
                  <a:cubicBezTo>
                    <a:pt x="6209" y="715"/>
                    <a:pt x="6214" y="735"/>
                    <a:pt x="6214" y="735"/>
                  </a:cubicBezTo>
                  <a:cubicBezTo>
                    <a:pt x="6214" y="735"/>
                    <a:pt x="6196" y="710"/>
                    <a:pt x="6189" y="710"/>
                  </a:cubicBezTo>
                  <a:cubicBezTo>
                    <a:pt x="6182" y="710"/>
                    <a:pt x="6186" y="717"/>
                    <a:pt x="6186" y="717"/>
                  </a:cubicBezTo>
                  <a:cubicBezTo>
                    <a:pt x="6186" y="717"/>
                    <a:pt x="6171" y="717"/>
                    <a:pt x="6170" y="720"/>
                  </a:cubicBezTo>
                  <a:cubicBezTo>
                    <a:pt x="6169" y="723"/>
                    <a:pt x="6169" y="732"/>
                    <a:pt x="6169" y="732"/>
                  </a:cubicBezTo>
                  <a:cubicBezTo>
                    <a:pt x="6159" y="733"/>
                    <a:pt x="6159" y="733"/>
                    <a:pt x="6159" y="733"/>
                  </a:cubicBezTo>
                  <a:cubicBezTo>
                    <a:pt x="6159" y="733"/>
                    <a:pt x="6143" y="712"/>
                    <a:pt x="6138" y="716"/>
                  </a:cubicBezTo>
                  <a:cubicBezTo>
                    <a:pt x="6133" y="720"/>
                    <a:pt x="6138" y="743"/>
                    <a:pt x="6133" y="744"/>
                  </a:cubicBezTo>
                  <a:cubicBezTo>
                    <a:pt x="6128" y="745"/>
                    <a:pt x="6121" y="736"/>
                    <a:pt x="6117" y="736"/>
                  </a:cubicBezTo>
                  <a:cubicBezTo>
                    <a:pt x="6113" y="736"/>
                    <a:pt x="6100" y="757"/>
                    <a:pt x="6100" y="757"/>
                  </a:cubicBezTo>
                  <a:cubicBezTo>
                    <a:pt x="6098" y="750"/>
                    <a:pt x="6098" y="750"/>
                    <a:pt x="6098" y="750"/>
                  </a:cubicBezTo>
                  <a:cubicBezTo>
                    <a:pt x="6090" y="734"/>
                    <a:pt x="6090" y="734"/>
                    <a:pt x="6090" y="734"/>
                  </a:cubicBezTo>
                  <a:cubicBezTo>
                    <a:pt x="6090" y="734"/>
                    <a:pt x="6106" y="729"/>
                    <a:pt x="6100" y="720"/>
                  </a:cubicBezTo>
                  <a:cubicBezTo>
                    <a:pt x="6094" y="711"/>
                    <a:pt x="6061" y="697"/>
                    <a:pt x="6056" y="701"/>
                  </a:cubicBezTo>
                  <a:cubicBezTo>
                    <a:pt x="6051" y="705"/>
                    <a:pt x="6057" y="720"/>
                    <a:pt x="6057" y="720"/>
                  </a:cubicBezTo>
                  <a:cubicBezTo>
                    <a:pt x="6057" y="720"/>
                    <a:pt x="6037" y="713"/>
                    <a:pt x="6031" y="713"/>
                  </a:cubicBezTo>
                  <a:cubicBezTo>
                    <a:pt x="6025" y="713"/>
                    <a:pt x="6013" y="725"/>
                    <a:pt x="6013" y="725"/>
                  </a:cubicBezTo>
                  <a:cubicBezTo>
                    <a:pt x="6023" y="731"/>
                    <a:pt x="6023" y="731"/>
                    <a:pt x="6023" y="731"/>
                  </a:cubicBezTo>
                  <a:cubicBezTo>
                    <a:pt x="6023" y="731"/>
                    <a:pt x="6011" y="729"/>
                    <a:pt x="6005" y="735"/>
                  </a:cubicBezTo>
                  <a:cubicBezTo>
                    <a:pt x="5999" y="741"/>
                    <a:pt x="5992" y="741"/>
                    <a:pt x="5992" y="741"/>
                  </a:cubicBezTo>
                  <a:cubicBezTo>
                    <a:pt x="5992" y="741"/>
                    <a:pt x="6000" y="748"/>
                    <a:pt x="6008" y="748"/>
                  </a:cubicBezTo>
                  <a:cubicBezTo>
                    <a:pt x="6016" y="748"/>
                    <a:pt x="6043" y="737"/>
                    <a:pt x="6043" y="737"/>
                  </a:cubicBezTo>
                  <a:cubicBezTo>
                    <a:pt x="6078" y="743"/>
                    <a:pt x="6078" y="743"/>
                    <a:pt x="6078" y="743"/>
                  </a:cubicBezTo>
                  <a:cubicBezTo>
                    <a:pt x="6052" y="755"/>
                    <a:pt x="6052" y="755"/>
                    <a:pt x="6052" y="755"/>
                  </a:cubicBezTo>
                  <a:cubicBezTo>
                    <a:pt x="6052" y="755"/>
                    <a:pt x="6072" y="758"/>
                    <a:pt x="6072" y="762"/>
                  </a:cubicBezTo>
                  <a:cubicBezTo>
                    <a:pt x="6072" y="766"/>
                    <a:pt x="6027" y="766"/>
                    <a:pt x="6023" y="767"/>
                  </a:cubicBezTo>
                  <a:cubicBezTo>
                    <a:pt x="6019" y="768"/>
                    <a:pt x="5988" y="766"/>
                    <a:pt x="5994" y="773"/>
                  </a:cubicBezTo>
                  <a:cubicBezTo>
                    <a:pt x="6000" y="780"/>
                    <a:pt x="6013" y="775"/>
                    <a:pt x="6026" y="776"/>
                  </a:cubicBezTo>
                  <a:cubicBezTo>
                    <a:pt x="6039" y="777"/>
                    <a:pt x="6053" y="789"/>
                    <a:pt x="6053" y="789"/>
                  </a:cubicBezTo>
                  <a:cubicBezTo>
                    <a:pt x="6076" y="785"/>
                    <a:pt x="6076" y="785"/>
                    <a:pt x="6076" y="785"/>
                  </a:cubicBezTo>
                  <a:cubicBezTo>
                    <a:pt x="6063" y="795"/>
                    <a:pt x="6063" y="795"/>
                    <a:pt x="6063" y="795"/>
                  </a:cubicBezTo>
                  <a:cubicBezTo>
                    <a:pt x="6073" y="799"/>
                    <a:pt x="6073" y="799"/>
                    <a:pt x="6073" y="799"/>
                  </a:cubicBezTo>
                  <a:cubicBezTo>
                    <a:pt x="6073" y="799"/>
                    <a:pt x="6070" y="808"/>
                    <a:pt x="6063" y="812"/>
                  </a:cubicBezTo>
                  <a:cubicBezTo>
                    <a:pt x="6056" y="816"/>
                    <a:pt x="6023" y="810"/>
                    <a:pt x="6029" y="819"/>
                  </a:cubicBezTo>
                  <a:cubicBezTo>
                    <a:pt x="6035" y="828"/>
                    <a:pt x="6063" y="824"/>
                    <a:pt x="6070" y="824"/>
                  </a:cubicBezTo>
                  <a:cubicBezTo>
                    <a:pt x="6077" y="824"/>
                    <a:pt x="6086" y="817"/>
                    <a:pt x="6086" y="817"/>
                  </a:cubicBezTo>
                  <a:cubicBezTo>
                    <a:pt x="6104" y="828"/>
                    <a:pt x="6104" y="828"/>
                    <a:pt x="6104" y="828"/>
                  </a:cubicBezTo>
                  <a:cubicBezTo>
                    <a:pt x="6112" y="821"/>
                    <a:pt x="6112" y="821"/>
                    <a:pt x="6112" y="821"/>
                  </a:cubicBezTo>
                  <a:cubicBezTo>
                    <a:pt x="6112" y="821"/>
                    <a:pt x="6109" y="827"/>
                    <a:pt x="6119" y="832"/>
                  </a:cubicBezTo>
                  <a:cubicBezTo>
                    <a:pt x="6129" y="837"/>
                    <a:pt x="6152" y="846"/>
                    <a:pt x="6160" y="844"/>
                  </a:cubicBezTo>
                  <a:cubicBezTo>
                    <a:pt x="6188" y="837"/>
                    <a:pt x="6188" y="843"/>
                    <a:pt x="6195" y="838"/>
                  </a:cubicBezTo>
                  <a:cubicBezTo>
                    <a:pt x="6202" y="833"/>
                    <a:pt x="6199" y="825"/>
                    <a:pt x="6199" y="825"/>
                  </a:cubicBezTo>
                  <a:cubicBezTo>
                    <a:pt x="6199" y="825"/>
                    <a:pt x="6218" y="833"/>
                    <a:pt x="6226" y="830"/>
                  </a:cubicBezTo>
                  <a:cubicBezTo>
                    <a:pt x="6234" y="827"/>
                    <a:pt x="6234" y="820"/>
                    <a:pt x="6234" y="820"/>
                  </a:cubicBezTo>
                  <a:cubicBezTo>
                    <a:pt x="6234" y="820"/>
                    <a:pt x="6245" y="824"/>
                    <a:pt x="6250" y="824"/>
                  </a:cubicBezTo>
                  <a:cubicBezTo>
                    <a:pt x="6255" y="824"/>
                    <a:pt x="6293" y="801"/>
                    <a:pt x="6301" y="800"/>
                  </a:cubicBezTo>
                  <a:cubicBezTo>
                    <a:pt x="6309" y="799"/>
                    <a:pt x="6320" y="806"/>
                    <a:pt x="6327" y="799"/>
                  </a:cubicBezTo>
                  <a:cubicBezTo>
                    <a:pt x="6334" y="792"/>
                    <a:pt x="6335" y="781"/>
                    <a:pt x="6335" y="781"/>
                  </a:cubicBezTo>
                  <a:cubicBezTo>
                    <a:pt x="6335" y="781"/>
                    <a:pt x="6342" y="781"/>
                    <a:pt x="6351" y="777"/>
                  </a:cubicBezTo>
                  <a:cubicBezTo>
                    <a:pt x="6360" y="773"/>
                    <a:pt x="6371" y="763"/>
                    <a:pt x="6371" y="763"/>
                  </a:cubicBezTo>
                  <a:cubicBezTo>
                    <a:pt x="6361" y="762"/>
                    <a:pt x="6361" y="762"/>
                    <a:pt x="6361" y="762"/>
                  </a:cubicBezTo>
                  <a:cubicBezTo>
                    <a:pt x="6361" y="762"/>
                    <a:pt x="6384" y="751"/>
                    <a:pt x="6370" y="744"/>
                  </a:cubicBezTo>
                  <a:close/>
                  <a:moveTo>
                    <a:pt x="6577" y="1229"/>
                  </a:moveTo>
                  <a:cubicBezTo>
                    <a:pt x="6592" y="1229"/>
                    <a:pt x="6599" y="1218"/>
                    <a:pt x="6588" y="1216"/>
                  </a:cubicBezTo>
                  <a:cubicBezTo>
                    <a:pt x="6577" y="1214"/>
                    <a:pt x="6568" y="1229"/>
                    <a:pt x="6577" y="1229"/>
                  </a:cubicBezTo>
                  <a:close/>
                  <a:moveTo>
                    <a:pt x="6553" y="1123"/>
                  </a:moveTo>
                  <a:cubicBezTo>
                    <a:pt x="6547" y="1123"/>
                    <a:pt x="6544" y="1123"/>
                    <a:pt x="6542" y="1131"/>
                  </a:cubicBezTo>
                  <a:cubicBezTo>
                    <a:pt x="6556" y="1131"/>
                    <a:pt x="6556" y="1131"/>
                    <a:pt x="6556" y="1131"/>
                  </a:cubicBezTo>
                  <a:cubicBezTo>
                    <a:pt x="6556" y="1131"/>
                    <a:pt x="6559" y="1123"/>
                    <a:pt x="6553" y="1123"/>
                  </a:cubicBezTo>
                  <a:close/>
                  <a:moveTo>
                    <a:pt x="6576" y="1346"/>
                  </a:moveTo>
                  <a:cubicBezTo>
                    <a:pt x="6576" y="1336"/>
                    <a:pt x="6567" y="1329"/>
                    <a:pt x="6567" y="1329"/>
                  </a:cubicBezTo>
                  <a:cubicBezTo>
                    <a:pt x="6567" y="1329"/>
                    <a:pt x="6567" y="1320"/>
                    <a:pt x="6565" y="1315"/>
                  </a:cubicBezTo>
                  <a:cubicBezTo>
                    <a:pt x="6565" y="1311"/>
                    <a:pt x="6574" y="1310"/>
                    <a:pt x="6579" y="1308"/>
                  </a:cubicBezTo>
                  <a:cubicBezTo>
                    <a:pt x="6581" y="1308"/>
                    <a:pt x="6583" y="1307"/>
                    <a:pt x="6584" y="1306"/>
                  </a:cubicBezTo>
                  <a:cubicBezTo>
                    <a:pt x="6587" y="1303"/>
                    <a:pt x="6589" y="1297"/>
                    <a:pt x="6589" y="1297"/>
                  </a:cubicBezTo>
                  <a:cubicBezTo>
                    <a:pt x="6589" y="1297"/>
                    <a:pt x="6594" y="1304"/>
                    <a:pt x="6597" y="1298"/>
                  </a:cubicBezTo>
                  <a:cubicBezTo>
                    <a:pt x="6600" y="1292"/>
                    <a:pt x="6607" y="1282"/>
                    <a:pt x="6600" y="1276"/>
                  </a:cubicBezTo>
                  <a:cubicBezTo>
                    <a:pt x="6593" y="1270"/>
                    <a:pt x="6593" y="1261"/>
                    <a:pt x="6593" y="1261"/>
                  </a:cubicBezTo>
                  <a:cubicBezTo>
                    <a:pt x="6588" y="1263"/>
                    <a:pt x="6588" y="1263"/>
                    <a:pt x="6588" y="1263"/>
                  </a:cubicBezTo>
                  <a:cubicBezTo>
                    <a:pt x="6588" y="1263"/>
                    <a:pt x="6583" y="1251"/>
                    <a:pt x="6576" y="1249"/>
                  </a:cubicBezTo>
                  <a:cubicBezTo>
                    <a:pt x="6569" y="1247"/>
                    <a:pt x="6551" y="1250"/>
                    <a:pt x="6551" y="1250"/>
                  </a:cubicBezTo>
                  <a:cubicBezTo>
                    <a:pt x="6551" y="1250"/>
                    <a:pt x="6551" y="1250"/>
                    <a:pt x="6551" y="1249"/>
                  </a:cubicBezTo>
                  <a:cubicBezTo>
                    <a:pt x="6550" y="1248"/>
                    <a:pt x="6548" y="1246"/>
                    <a:pt x="6543" y="1244"/>
                  </a:cubicBezTo>
                  <a:cubicBezTo>
                    <a:pt x="6536" y="1242"/>
                    <a:pt x="6528" y="1256"/>
                    <a:pt x="6528" y="1256"/>
                  </a:cubicBezTo>
                  <a:cubicBezTo>
                    <a:pt x="6524" y="1246"/>
                    <a:pt x="6524" y="1246"/>
                    <a:pt x="6524" y="1246"/>
                  </a:cubicBezTo>
                  <a:cubicBezTo>
                    <a:pt x="6524" y="1246"/>
                    <a:pt x="6501" y="1246"/>
                    <a:pt x="6497" y="1251"/>
                  </a:cubicBezTo>
                  <a:cubicBezTo>
                    <a:pt x="6493" y="1257"/>
                    <a:pt x="6489" y="1272"/>
                    <a:pt x="6489" y="1272"/>
                  </a:cubicBezTo>
                  <a:cubicBezTo>
                    <a:pt x="6489" y="1272"/>
                    <a:pt x="6474" y="1271"/>
                    <a:pt x="6474" y="1277"/>
                  </a:cubicBezTo>
                  <a:cubicBezTo>
                    <a:pt x="6474" y="1283"/>
                    <a:pt x="6496" y="1279"/>
                    <a:pt x="6492" y="1286"/>
                  </a:cubicBezTo>
                  <a:cubicBezTo>
                    <a:pt x="6488" y="1293"/>
                    <a:pt x="6484" y="1289"/>
                    <a:pt x="6482" y="1292"/>
                  </a:cubicBezTo>
                  <a:cubicBezTo>
                    <a:pt x="6480" y="1295"/>
                    <a:pt x="6477" y="1299"/>
                    <a:pt x="6477" y="1299"/>
                  </a:cubicBezTo>
                  <a:cubicBezTo>
                    <a:pt x="6459" y="1298"/>
                    <a:pt x="6459" y="1298"/>
                    <a:pt x="6459" y="1298"/>
                  </a:cubicBezTo>
                  <a:cubicBezTo>
                    <a:pt x="6459" y="1303"/>
                    <a:pt x="6459" y="1303"/>
                    <a:pt x="6459" y="1303"/>
                  </a:cubicBezTo>
                  <a:cubicBezTo>
                    <a:pt x="6459" y="1303"/>
                    <a:pt x="6446" y="1289"/>
                    <a:pt x="6438" y="1293"/>
                  </a:cubicBezTo>
                  <a:cubicBezTo>
                    <a:pt x="6430" y="1297"/>
                    <a:pt x="6420" y="1296"/>
                    <a:pt x="6420" y="1296"/>
                  </a:cubicBezTo>
                  <a:cubicBezTo>
                    <a:pt x="6420" y="1296"/>
                    <a:pt x="6418" y="1313"/>
                    <a:pt x="6423" y="1313"/>
                  </a:cubicBezTo>
                  <a:cubicBezTo>
                    <a:pt x="6428" y="1313"/>
                    <a:pt x="6432" y="1321"/>
                    <a:pt x="6432" y="1321"/>
                  </a:cubicBezTo>
                  <a:cubicBezTo>
                    <a:pt x="6421" y="1328"/>
                    <a:pt x="6421" y="1328"/>
                    <a:pt x="6421" y="1328"/>
                  </a:cubicBezTo>
                  <a:cubicBezTo>
                    <a:pt x="6421" y="1328"/>
                    <a:pt x="6410" y="1332"/>
                    <a:pt x="6415" y="1340"/>
                  </a:cubicBezTo>
                  <a:cubicBezTo>
                    <a:pt x="6420" y="1348"/>
                    <a:pt x="6438" y="1349"/>
                    <a:pt x="6438" y="1349"/>
                  </a:cubicBezTo>
                  <a:cubicBezTo>
                    <a:pt x="6438" y="1349"/>
                    <a:pt x="6457" y="1341"/>
                    <a:pt x="6456" y="1349"/>
                  </a:cubicBezTo>
                  <a:cubicBezTo>
                    <a:pt x="6455" y="1357"/>
                    <a:pt x="6440" y="1358"/>
                    <a:pt x="6440" y="1358"/>
                  </a:cubicBezTo>
                  <a:cubicBezTo>
                    <a:pt x="6440" y="1372"/>
                    <a:pt x="6440" y="1372"/>
                    <a:pt x="6440" y="1372"/>
                  </a:cubicBezTo>
                  <a:cubicBezTo>
                    <a:pt x="6440" y="1372"/>
                    <a:pt x="6427" y="1367"/>
                    <a:pt x="6425" y="1376"/>
                  </a:cubicBezTo>
                  <a:cubicBezTo>
                    <a:pt x="6423" y="1385"/>
                    <a:pt x="6420" y="1398"/>
                    <a:pt x="6420" y="1398"/>
                  </a:cubicBezTo>
                  <a:cubicBezTo>
                    <a:pt x="6420" y="1398"/>
                    <a:pt x="6395" y="1398"/>
                    <a:pt x="6394" y="1403"/>
                  </a:cubicBezTo>
                  <a:cubicBezTo>
                    <a:pt x="6393" y="1408"/>
                    <a:pt x="6405" y="1409"/>
                    <a:pt x="6405" y="1409"/>
                  </a:cubicBezTo>
                  <a:cubicBezTo>
                    <a:pt x="6405" y="1409"/>
                    <a:pt x="6390" y="1411"/>
                    <a:pt x="6390" y="1418"/>
                  </a:cubicBezTo>
                  <a:cubicBezTo>
                    <a:pt x="6390" y="1426"/>
                    <a:pt x="6397" y="1425"/>
                    <a:pt x="6397" y="1425"/>
                  </a:cubicBezTo>
                  <a:cubicBezTo>
                    <a:pt x="6420" y="1422"/>
                    <a:pt x="6420" y="1422"/>
                    <a:pt x="6420" y="1422"/>
                  </a:cubicBezTo>
                  <a:cubicBezTo>
                    <a:pt x="6409" y="1434"/>
                    <a:pt x="6409" y="1434"/>
                    <a:pt x="6409" y="1434"/>
                  </a:cubicBezTo>
                  <a:cubicBezTo>
                    <a:pt x="6409" y="1434"/>
                    <a:pt x="6426" y="1429"/>
                    <a:pt x="6425" y="1432"/>
                  </a:cubicBezTo>
                  <a:cubicBezTo>
                    <a:pt x="6424" y="1435"/>
                    <a:pt x="6404" y="1444"/>
                    <a:pt x="6419" y="1444"/>
                  </a:cubicBezTo>
                  <a:cubicBezTo>
                    <a:pt x="6434" y="1444"/>
                    <a:pt x="6455" y="1438"/>
                    <a:pt x="6464" y="1433"/>
                  </a:cubicBezTo>
                  <a:cubicBezTo>
                    <a:pt x="6473" y="1428"/>
                    <a:pt x="6473" y="1420"/>
                    <a:pt x="6473" y="1420"/>
                  </a:cubicBezTo>
                  <a:cubicBezTo>
                    <a:pt x="6473" y="1420"/>
                    <a:pt x="6483" y="1426"/>
                    <a:pt x="6492" y="1420"/>
                  </a:cubicBezTo>
                  <a:cubicBezTo>
                    <a:pt x="6501" y="1415"/>
                    <a:pt x="6502" y="1409"/>
                    <a:pt x="6514" y="1408"/>
                  </a:cubicBezTo>
                  <a:cubicBezTo>
                    <a:pt x="6525" y="1407"/>
                    <a:pt x="6530" y="1407"/>
                    <a:pt x="6530" y="1407"/>
                  </a:cubicBezTo>
                  <a:cubicBezTo>
                    <a:pt x="6533" y="1401"/>
                    <a:pt x="6533" y="1401"/>
                    <a:pt x="6533" y="1401"/>
                  </a:cubicBezTo>
                  <a:cubicBezTo>
                    <a:pt x="6558" y="1402"/>
                    <a:pt x="6558" y="1402"/>
                    <a:pt x="6558" y="1402"/>
                  </a:cubicBezTo>
                  <a:cubicBezTo>
                    <a:pt x="6557" y="1390"/>
                    <a:pt x="6557" y="1390"/>
                    <a:pt x="6557" y="1390"/>
                  </a:cubicBezTo>
                  <a:cubicBezTo>
                    <a:pt x="6557" y="1390"/>
                    <a:pt x="6569" y="1392"/>
                    <a:pt x="6569" y="1388"/>
                  </a:cubicBezTo>
                  <a:cubicBezTo>
                    <a:pt x="6569" y="1384"/>
                    <a:pt x="6564" y="1380"/>
                    <a:pt x="6568" y="1375"/>
                  </a:cubicBezTo>
                  <a:cubicBezTo>
                    <a:pt x="6571" y="1370"/>
                    <a:pt x="6576" y="1356"/>
                    <a:pt x="6576" y="1346"/>
                  </a:cubicBezTo>
                  <a:close/>
                  <a:moveTo>
                    <a:pt x="6590" y="1178"/>
                  </a:moveTo>
                  <a:cubicBezTo>
                    <a:pt x="6586" y="1178"/>
                    <a:pt x="6580" y="1190"/>
                    <a:pt x="6584" y="1193"/>
                  </a:cubicBezTo>
                  <a:cubicBezTo>
                    <a:pt x="6588" y="1196"/>
                    <a:pt x="6601" y="1189"/>
                    <a:pt x="6601" y="1189"/>
                  </a:cubicBezTo>
                  <a:cubicBezTo>
                    <a:pt x="6601" y="1189"/>
                    <a:pt x="6594" y="1178"/>
                    <a:pt x="6590" y="1178"/>
                  </a:cubicBezTo>
                  <a:close/>
                  <a:moveTo>
                    <a:pt x="7967" y="2161"/>
                  </a:moveTo>
                  <a:cubicBezTo>
                    <a:pt x="7957" y="2153"/>
                    <a:pt x="7959" y="2171"/>
                    <a:pt x="7959" y="2171"/>
                  </a:cubicBezTo>
                  <a:cubicBezTo>
                    <a:pt x="7973" y="2178"/>
                    <a:pt x="7977" y="2169"/>
                    <a:pt x="7967" y="2161"/>
                  </a:cubicBezTo>
                  <a:close/>
                  <a:moveTo>
                    <a:pt x="7937" y="2078"/>
                  </a:moveTo>
                  <a:cubicBezTo>
                    <a:pt x="7918" y="2083"/>
                    <a:pt x="7918" y="2083"/>
                    <a:pt x="7918" y="2083"/>
                  </a:cubicBezTo>
                  <a:cubicBezTo>
                    <a:pt x="7919" y="2099"/>
                    <a:pt x="7932" y="2092"/>
                    <a:pt x="7932" y="2092"/>
                  </a:cubicBezTo>
                  <a:cubicBezTo>
                    <a:pt x="7932" y="2092"/>
                    <a:pt x="7937" y="2103"/>
                    <a:pt x="7946" y="2099"/>
                  </a:cubicBezTo>
                  <a:cubicBezTo>
                    <a:pt x="7955" y="2095"/>
                    <a:pt x="7937" y="2078"/>
                    <a:pt x="7937" y="2078"/>
                  </a:cubicBezTo>
                  <a:close/>
                  <a:moveTo>
                    <a:pt x="7491" y="141"/>
                  </a:moveTo>
                  <a:cubicBezTo>
                    <a:pt x="7519" y="141"/>
                    <a:pt x="7519" y="141"/>
                    <a:pt x="7519" y="141"/>
                  </a:cubicBezTo>
                  <a:cubicBezTo>
                    <a:pt x="7519" y="141"/>
                    <a:pt x="7550" y="152"/>
                    <a:pt x="7554" y="150"/>
                  </a:cubicBezTo>
                  <a:cubicBezTo>
                    <a:pt x="7558" y="149"/>
                    <a:pt x="7580" y="145"/>
                    <a:pt x="7585" y="145"/>
                  </a:cubicBezTo>
                  <a:cubicBezTo>
                    <a:pt x="7591" y="145"/>
                    <a:pt x="7637" y="163"/>
                    <a:pt x="7637" y="163"/>
                  </a:cubicBezTo>
                  <a:cubicBezTo>
                    <a:pt x="7651" y="148"/>
                    <a:pt x="7651" y="148"/>
                    <a:pt x="7651" y="148"/>
                  </a:cubicBezTo>
                  <a:cubicBezTo>
                    <a:pt x="7691" y="149"/>
                    <a:pt x="7691" y="149"/>
                    <a:pt x="7691" y="149"/>
                  </a:cubicBezTo>
                  <a:cubicBezTo>
                    <a:pt x="7694" y="136"/>
                    <a:pt x="7694" y="136"/>
                    <a:pt x="7694" y="136"/>
                  </a:cubicBezTo>
                  <a:cubicBezTo>
                    <a:pt x="7694" y="136"/>
                    <a:pt x="7715" y="143"/>
                    <a:pt x="7726" y="122"/>
                  </a:cubicBezTo>
                  <a:cubicBezTo>
                    <a:pt x="7737" y="101"/>
                    <a:pt x="7691" y="118"/>
                    <a:pt x="7691" y="118"/>
                  </a:cubicBezTo>
                  <a:cubicBezTo>
                    <a:pt x="7691" y="118"/>
                    <a:pt x="7688" y="108"/>
                    <a:pt x="7664" y="108"/>
                  </a:cubicBezTo>
                  <a:cubicBezTo>
                    <a:pt x="7640" y="108"/>
                    <a:pt x="7623" y="120"/>
                    <a:pt x="7616" y="118"/>
                  </a:cubicBezTo>
                  <a:cubicBezTo>
                    <a:pt x="7609" y="117"/>
                    <a:pt x="7615" y="105"/>
                    <a:pt x="7596" y="105"/>
                  </a:cubicBezTo>
                  <a:cubicBezTo>
                    <a:pt x="7578" y="105"/>
                    <a:pt x="7573" y="121"/>
                    <a:pt x="7573" y="121"/>
                  </a:cubicBezTo>
                  <a:cubicBezTo>
                    <a:pt x="7529" y="105"/>
                    <a:pt x="7529" y="105"/>
                    <a:pt x="7529" y="105"/>
                  </a:cubicBezTo>
                  <a:cubicBezTo>
                    <a:pt x="7529" y="105"/>
                    <a:pt x="7508" y="112"/>
                    <a:pt x="7485" y="117"/>
                  </a:cubicBezTo>
                  <a:cubicBezTo>
                    <a:pt x="7463" y="121"/>
                    <a:pt x="7478" y="105"/>
                    <a:pt x="7478" y="105"/>
                  </a:cubicBezTo>
                  <a:cubicBezTo>
                    <a:pt x="7457" y="115"/>
                    <a:pt x="7457" y="115"/>
                    <a:pt x="7457" y="115"/>
                  </a:cubicBezTo>
                  <a:cubicBezTo>
                    <a:pt x="7467" y="129"/>
                    <a:pt x="7467" y="129"/>
                    <a:pt x="7467" y="129"/>
                  </a:cubicBezTo>
                  <a:lnTo>
                    <a:pt x="7491" y="141"/>
                  </a:lnTo>
                  <a:close/>
                  <a:moveTo>
                    <a:pt x="7945" y="2230"/>
                  </a:moveTo>
                  <a:cubicBezTo>
                    <a:pt x="7952" y="2235"/>
                    <a:pt x="7962" y="2227"/>
                    <a:pt x="7953" y="2223"/>
                  </a:cubicBezTo>
                  <a:cubicBezTo>
                    <a:pt x="7944" y="2219"/>
                    <a:pt x="7940" y="2227"/>
                    <a:pt x="7945" y="2230"/>
                  </a:cubicBezTo>
                  <a:close/>
                  <a:moveTo>
                    <a:pt x="7943" y="2171"/>
                  </a:moveTo>
                  <a:cubicBezTo>
                    <a:pt x="7939" y="2167"/>
                    <a:pt x="7927" y="2170"/>
                    <a:pt x="7927" y="2178"/>
                  </a:cubicBezTo>
                  <a:cubicBezTo>
                    <a:pt x="7927" y="2183"/>
                    <a:pt x="7947" y="2175"/>
                    <a:pt x="7943" y="2171"/>
                  </a:cubicBezTo>
                  <a:close/>
                  <a:moveTo>
                    <a:pt x="7898" y="2198"/>
                  </a:moveTo>
                  <a:cubicBezTo>
                    <a:pt x="7900" y="2210"/>
                    <a:pt x="7910" y="2213"/>
                    <a:pt x="7915" y="2205"/>
                  </a:cubicBezTo>
                  <a:cubicBezTo>
                    <a:pt x="7921" y="2195"/>
                    <a:pt x="7896" y="2186"/>
                    <a:pt x="7898" y="2198"/>
                  </a:cubicBezTo>
                  <a:close/>
                  <a:moveTo>
                    <a:pt x="7885" y="2175"/>
                  </a:moveTo>
                  <a:cubicBezTo>
                    <a:pt x="7891" y="2164"/>
                    <a:pt x="7891" y="2164"/>
                    <a:pt x="7891" y="2164"/>
                  </a:cubicBezTo>
                  <a:cubicBezTo>
                    <a:pt x="7869" y="2147"/>
                    <a:pt x="7869" y="2147"/>
                    <a:pt x="7869" y="2147"/>
                  </a:cubicBezTo>
                  <a:lnTo>
                    <a:pt x="7885" y="2175"/>
                  </a:lnTo>
                  <a:close/>
                  <a:moveTo>
                    <a:pt x="8551" y="596"/>
                  </a:moveTo>
                  <a:cubicBezTo>
                    <a:pt x="8573" y="601"/>
                    <a:pt x="8581" y="594"/>
                    <a:pt x="8588" y="590"/>
                  </a:cubicBezTo>
                  <a:cubicBezTo>
                    <a:pt x="8595" y="586"/>
                    <a:pt x="8601" y="578"/>
                    <a:pt x="8601" y="578"/>
                  </a:cubicBezTo>
                  <a:cubicBezTo>
                    <a:pt x="8610" y="577"/>
                    <a:pt x="8610" y="577"/>
                    <a:pt x="8610" y="577"/>
                  </a:cubicBezTo>
                  <a:cubicBezTo>
                    <a:pt x="8610" y="577"/>
                    <a:pt x="8602" y="566"/>
                    <a:pt x="8576" y="560"/>
                  </a:cubicBezTo>
                  <a:cubicBezTo>
                    <a:pt x="8550" y="554"/>
                    <a:pt x="8535" y="577"/>
                    <a:pt x="8535" y="577"/>
                  </a:cubicBezTo>
                  <a:cubicBezTo>
                    <a:pt x="8535" y="580"/>
                    <a:pt x="8529" y="592"/>
                    <a:pt x="8551" y="596"/>
                  </a:cubicBezTo>
                  <a:close/>
                  <a:moveTo>
                    <a:pt x="7829" y="2293"/>
                  </a:moveTo>
                  <a:cubicBezTo>
                    <a:pt x="7838" y="2303"/>
                    <a:pt x="7843" y="2296"/>
                    <a:pt x="7843" y="2296"/>
                  </a:cubicBezTo>
                  <a:cubicBezTo>
                    <a:pt x="7849" y="2302"/>
                    <a:pt x="7849" y="2302"/>
                    <a:pt x="7849" y="2302"/>
                  </a:cubicBezTo>
                  <a:cubicBezTo>
                    <a:pt x="7873" y="2303"/>
                    <a:pt x="7873" y="2303"/>
                    <a:pt x="7873" y="2303"/>
                  </a:cubicBezTo>
                  <a:cubicBezTo>
                    <a:pt x="7881" y="2318"/>
                    <a:pt x="7881" y="2318"/>
                    <a:pt x="7881" y="2318"/>
                  </a:cubicBezTo>
                  <a:cubicBezTo>
                    <a:pt x="7906" y="2317"/>
                    <a:pt x="7906" y="2317"/>
                    <a:pt x="7906" y="2317"/>
                  </a:cubicBezTo>
                  <a:cubicBezTo>
                    <a:pt x="7909" y="2313"/>
                    <a:pt x="7909" y="2313"/>
                    <a:pt x="7909" y="2313"/>
                  </a:cubicBezTo>
                  <a:cubicBezTo>
                    <a:pt x="7909" y="2313"/>
                    <a:pt x="7947" y="2318"/>
                    <a:pt x="7949" y="2304"/>
                  </a:cubicBezTo>
                  <a:cubicBezTo>
                    <a:pt x="7951" y="2290"/>
                    <a:pt x="7931" y="2301"/>
                    <a:pt x="7927" y="2303"/>
                  </a:cubicBezTo>
                  <a:cubicBezTo>
                    <a:pt x="7923" y="2305"/>
                    <a:pt x="7920" y="2293"/>
                    <a:pt x="7920" y="2293"/>
                  </a:cubicBezTo>
                  <a:cubicBezTo>
                    <a:pt x="7898" y="2292"/>
                    <a:pt x="7898" y="2292"/>
                    <a:pt x="7898" y="2292"/>
                  </a:cubicBezTo>
                  <a:cubicBezTo>
                    <a:pt x="7877" y="2287"/>
                    <a:pt x="7877" y="2287"/>
                    <a:pt x="7877" y="2287"/>
                  </a:cubicBezTo>
                  <a:cubicBezTo>
                    <a:pt x="7856" y="2287"/>
                    <a:pt x="7856" y="2287"/>
                    <a:pt x="7856" y="2287"/>
                  </a:cubicBezTo>
                  <a:cubicBezTo>
                    <a:pt x="7836" y="2276"/>
                    <a:pt x="7836" y="2276"/>
                    <a:pt x="7836" y="2276"/>
                  </a:cubicBezTo>
                  <a:cubicBezTo>
                    <a:pt x="7836" y="2276"/>
                    <a:pt x="7820" y="2283"/>
                    <a:pt x="7829" y="2293"/>
                  </a:cubicBezTo>
                  <a:close/>
                  <a:moveTo>
                    <a:pt x="7851" y="2036"/>
                  </a:moveTo>
                  <a:cubicBezTo>
                    <a:pt x="7858" y="2029"/>
                    <a:pt x="7858" y="2029"/>
                    <a:pt x="7858" y="2029"/>
                  </a:cubicBezTo>
                  <a:cubicBezTo>
                    <a:pt x="7833" y="2024"/>
                    <a:pt x="7833" y="2024"/>
                    <a:pt x="7833" y="2024"/>
                  </a:cubicBezTo>
                  <a:lnTo>
                    <a:pt x="7851" y="2036"/>
                  </a:lnTo>
                  <a:close/>
                  <a:moveTo>
                    <a:pt x="7934" y="2119"/>
                  </a:moveTo>
                  <a:cubicBezTo>
                    <a:pt x="7921" y="2119"/>
                    <a:pt x="7921" y="2119"/>
                    <a:pt x="7921" y="2119"/>
                  </a:cubicBezTo>
                  <a:cubicBezTo>
                    <a:pt x="7920" y="2131"/>
                    <a:pt x="7920" y="2131"/>
                    <a:pt x="7920" y="2131"/>
                  </a:cubicBezTo>
                  <a:cubicBezTo>
                    <a:pt x="7929" y="2147"/>
                    <a:pt x="7929" y="2147"/>
                    <a:pt x="7929" y="2147"/>
                  </a:cubicBezTo>
                  <a:lnTo>
                    <a:pt x="7934" y="2119"/>
                  </a:lnTo>
                  <a:close/>
                  <a:moveTo>
                    <a:pt x="7966" y="2200"/>
                  </a:moveTo>
                  <a:cubicBezTo>
                    <a:pt x="7975" y="2187"/>
                    <a:pt x="7975" y="2187"/>
                    <a:pt x="7975" y="2187"/>
                  </a:cubicBezTo>
                  <a:cubicBezTo>
                    <a:pt x="7963" y="2187"/>
                    <a:pt x="7963" y="2187"/>
                    <a:pt x="7963" y="2187"/>
                  </a:cubicBezTo>
                  <a:lnTo>
                    <a:pt x="7966" y="2200"/>
                  </a:lnTo>
                  <a:close/>
                  <a:moveTo>
                    <a:pt x="7880" y="2228"/>
                  </a:moveTo>
                  <a:cubicBezTo>
                    <a:pt x="7879" y="2231"/>
                    <a:pt x="7888" y="2233"/>
                    <a:pt x="7887" y="2226"/>
                  </a:cubicBezTo>
                  <a:cubicBezTo>
                    <a:pt x="7886" y="2219"/>
                    <a:pt x="7881" y="2222"/>
                    <a:pt x="7880" y="2228"/>
                  </a:cubicBezTo>
                  <a:close/>
                  <a:moveTo>
                    <a:pt x="7252" y="150"/>
                  </a:moveTo>
                  <a:cubicBezTo>
                    <a:pt x="7259" y="155"/>
                    <a:pt x="7274" y="152"/>
                    <a:pt x="7277" y="156"/>
                  </a:cubicBezTo>
                  <a:cubicBezTo>
                    <a:pt x="7280" y="160"/>
                    <a:pt x="7261" y="170"/>
                    <a:pt x="7261" y="170"/>
                  </a:cubicBezTo>
                  <a:cubicBezTo>
                    <a:pt x="7290" y="181"/>
                    <a:pt x="7290" y="181"/>
                    <a:pt x="7290" y="181"/>
                  </a:cubicBezTo>
                  <a:cubicBezTo>
                    <a:pt x="7290" y="181"/>
                    <a:pt x="7305" y="191"/>
                    <a:pt x="7319" y="194"/>
                  </a:cubicBezTo>
                  <a:cubicBezTo>
                    <a:pt x="7333" y="197"/>
                    <a:pt x="7343" y="177"/>
                    <a:pt x="7343" y="177"/>
                  </a:cubicBezTo>
                  <a:cubicBezTo>
                    <a:pt x="7371" y="172"/>
                    <a:pt x="7371" y="172"/>
                    <a:pt x="7371" y="172"/>
                  </a:cubicBezTo>
                  <a:cubicBezTo>
                    <a:pt x="7394" y="186"/>
                    <a:pt x="7394" y="186"/>
                    <a:pt x="7394" y="186"/>
                  </a:cubicBezTo>
                  <a:cubicBezTo>
                    <a:pt x="7394" y="186"/>
                    <a:pt x="7375" y="191"/>
                    <a:pt x="7357" y="195"/>
                  </a:cubicBezTo>
                  <a:cubicBezTo>
                    <a:pt x="7339" y="200"/>
                    <a:pt x="7340" y="207"/>
                    <a:pt x="7340" y="207"/>
                  </a:cubicBezTo>
                  <a:cubicBezTo>
                    <a:pt x="7340" y="207"/>
                    <a:pt x="7390" y="211"/>
                    <a:pt x="7383" y="212"/>
                  </a:cubicBezTo>
                  <a:cubicBezTo>
                    <a:pt x="7375" y="214"/>
                    <a:pt x="7345" y="226"/>
                    <a:pt x="7345" y="226"/>
                  </a:cubicBezTo>
                  <a:cubicBezTo>
                    <a:pt x="7378" y="238"/>
                    <a:pt x="7378" y="238"/>
                    <a:pt x="7378" y="238"/>
                  </a:cubicBezTo>
                  <a:cubicBezTo>
                    <a:pt x="7378" y="238"/>
                    <a:pt x="7408" y="253"/>
                    <a:pt x="7433" y="249"/>
                  </a:cubicBezTo>
                  <a:cubicBezTo>
                    <a:pt x="7459" y="245"/>
                    <a:pt x="7440" y="229"/>
                    <a:pt x="7440" y="222"/>
                  </a:cubicBezTo>
                  <a:cubicBezTo>
                    <a:pt x="7440" y="215"/>
                    <a:pt x="7470" y="215"/>
                    <a:pt x="7470" y="215"/>
                  </a:cubicBezTo>
                  <a:cubicBezTo>
                    <a:pt x="7470" y="201"/>
                    <a:pt x="7470" y="201"/>
                    <a:pt x="7470" y="201"/>
                  </a:cubicBezTo>
                  <a:cubicBezTo>
                    <a:pt x="7489" y="197"/>
                    <a:pt x="7489" y="197"/>
                    <a:pt x="7489" y="197"/>
                  </a:cubicBezTo>
                  <a:cubicBezTo>
                    <a:pt x="7498" y="176"/>
                    <a:pt x="7498" y="176"/>
                    <a:pt x="7498" y="176"/>
                  </a:cubicBezTo>
                  <a:cubicBezTo>
                    <a:pt x="7511" y="183"/>
                    <a:pt x="7511" y="183"/>
                    <a:pt x="7511" y="183"/>
                  </a:cubicBezTo>
                  <a:cubicBezTo>
                    <a:pt x="7527" y="174"/>
                    <a:pt x="7527" y="174"/>
                    <a:pt x="7527" y="174"/>
                  </a:cubicBezTo>
                  <a:cubicBezTo>
                    <a:pt x="7527" y="174"/>
                    <a:pt x="7536" y="188"/>
                    <a:pt x="7556" y="193"/>
                  </a:cubicBezTo>
                  <a:cubicBezTo>
                    <a:pt x="7575" y="197"/>
                    <a:pt x="7553" y="224"/>
                    <a:pt x="7553" y="224"/>
                  </a:cubicBezTo>
                  <a:cubicBezTo>
                    <a:pt x="7589" y="222"/>
                    <a:pt x="7589" y="222"/>
                    <a:pt x="7589" y="222"/>
                  </a:cubicBezTo>
                  <a:cubicBezTo>
                    <a:pt x="7589" y="222"/>
                    <a:pt x="7608" y="238"/>
                    <a:pt x="7609" y="233"/>
                  </a:cubicBezTo>
                  <a:cubicBezTo>
                    <a:pt x="7610" y="229"/>
                    <a:pt x="7661" y="215"/>
                    <a:pt x="7665" y="207"/>
                  </a:cubicBezTo>
                  <a:cubicBezTo>
                    <a:pt x="7670" y="198"/>
                    <a:pt x="7627" y="200"/>
                    <a:pt x="7627" y="200"/>
                  </a:cubicBezTo>
                  <a:cubicBezTo>
                    <a:pt x="7625" y="188"/>
                    <a:pt x="7625" y="188"/>
                    <a:pt x="7625" y="188"/>
                  </a:cubicBezTo>
                  <a:cubicBezTo>
                    <a:pt x="7589" y="183"/>
                    <a:pt x="7589" y="183"/>
                    <a:pt x="7589" y="183"/>
                  </a:cubicBezTo>
                  <a:cubicBezTo>
                    <a:pt x="7588" y="172"/>
                    <a:pt x="7588" y="172"/>
                    <a:pt x="7588" y="172"/>
                  </a:cubicBezTo>
                  <a:cubicBezTo>
                    <a:pt x="7567" y="174"/>
                    <a:pt x="7567" y="174"/>
                    <a:pt x="7567" y="174"/>
                  </a:cubicBezTo>
                  <a:cubicBezTo>
                    <a:pt x="7570" y="162"/>
                    <a:pt x="7570" y="162"/>
                    <a:pt x="7570" y="162"/>
                  </a:cubicBezTo>
                  <a:cubicBezTo>
                    <a:pt x="7519" y="163"/>
                    <a:pt x="7519" y="163"/>
                    <a:pt x="7519" y="163"/>
                  </a:cubicBezTo>
                  <a:cubicBezTo>
                    <a:pt x="7515" y="155"/>
                    <a:pt x="7515" y="155"/>
                    <a:pt x="7515" y="155"/>
                  </a:cubicBezTo>
                  <a:cubicBezTo>
                    <a:pt x="7491" y="155"/>
                    <a:pt x="7491" y="155"/>
                    <a:pt x="7491" y="155"/>
                  </a:cubicBezTo>
                  <a:cubicBezTo>
                    <a:pt x="7491" y="155"/>
                    <a:pt x="7488" y="142"/>
                    <a:pt x="7473" y="138"/>
                  </a:cubicBezTo>
                  <a:cubicBezTo>
                    <a:pt x="7457" y="134"/>
                    <a:pt x="7450" y="139"/>
                    <a:pt x="7450" y="139"/>
                  </a:cubicBezTo>
                  <a:cubicBezTo>
                    <a:pt x="7453" y="127"/>
                    <a:pt x="7453" y="127"/>
                    <a:pt x="7453" y="127"/>
                  </a:cubicBezTo>
                  <a:cubicBezTo>
                    <a:pt x="7453" y="127"/>
                    <a:pt x="7432" y="121"/>
                    <a:pt x="7404" y="122"/>
                  </a:cubicBezTo>
                  <a:cubicBezTo>
                    <a:pt x="7375" y="124"/>
                    <a:pt x="7412" y="156"/>
                    <a:pt x="7412" y="156"/>
                  </a:cubicBezTo>
                  <a:cubicBezTo>
                    <a:pt x="7412" y="156"/>
                    <a:pt x="7381" y="131"/>
                    <a:pt x="7366" y="128"/>
                  </a:cubicBezTo>
                  <a:cubicBezTo>
                    <a:pt x="7350" y="125"/>
                    <a:pt x="7345" y="145"/>
                    <a:pt x="7345" y="145"/>
                  </a:cubicBezTo>
                  <a:cubicBezTo>
                    <a:pt x="7345" y="145"/>
                    <a:pt x="7322" y="141"/>
                    <a:pt x="7316" y="138"/>
                  </a:cubicBezTo>
                  <a:cubicBezTo>
                    <a:pt x="7311" y="135"/>
                    <a:pt x="7329" y="125"/>
                    <a:pt x="7329" y="125"/>
                  </a:cubicBezTo>
                  <a:cubicBezTo>
                    <a:pt x="7292" y="128"/>
                    <a:pt x="7292" y="128"/>
                    <a:pt x="7292" y="128"/>
                  </a:cubicBezTo>
                  <a:cubicBezTo>
                    <a:pt x="7283" y="136"/>
                    <a:pt x="7283" y="136"/>
                    <a:pt x="7283" y="136"/>
                  </a:cubicBezTo>
                  <a:cubicBezTo>
                    <a:pt x="7278" y="125"/>
                    <a:pt x="7278" y="125"/>
                    <a:pt x="7278" y="125"/>
                  </a:cubicBezTo>
                  <a:cubicBezTo>
                    <a:pt x="7278" y="125"/>
                    <a:pt x="7254" y="132"/>
                    <a:pt x="7246" y="139"/>
                  </a:cubicBezTo>
                  <a:cubicBezTo>
                    <a:pt x="7246" y="139"/>
                    <a:pt x="7245" y="146"/>
                    <a:pt x="7252" y="150"/>
                  </a:cubicBezTo>
                  <a:close/>
                  <a:moveTo>
                    <a:pt x="7923" y="2212"/>
                  </a:moveTo>
                  <a:cubicBezTo>
                    <a:pt x="7923" y="2221"/>
                    <a:pt x="7923" y="2221"/>
                    <a:pt x="7923" y="2221"/>
                  </a:cubicBezTo>
                  <a:cubicBezTo>
                    <a:pt x="7932" y="2211"/>
                    <a:pt x="7932" y="2211"/>
                    <a:pt x="7932" y="2211"/>
                  </a:cubicBezTo>
                  <a:lnTo>
                    <a:pt x="7923" y="2212"/>
                  </a:lnTo>
                  <a:close/>
                  <a:moveTo>
                    <a:pt x="6620" y="1148"/>
                  </a:moveTo>
                  <a:cubicBezTo>
                    <a:pt x="6620" y="1148"/>
                    <a:pt x="6614" y="1153"/>
                    <a:pt x="6611" y="1156"/>
                  </a:cubicBezTo>
                  <a:cubicBezTo>
                    <a:pt x="6608" y="1159"/>
                    <a:pt x="6606" y="1166"/>
                    <a:pt x="6606" y="1166"/>
                  </a:cubicBezTo>
                  <a:cubicBezTo>
                    <a:pt x="6595" y="1171"/>
                    <a:pt x="6595" y="1171"/>
                    <a:pt x="6595" y="1171"/>
                  </a:cubicBezTo>
                  <a:cubicBezTo>
                    <a:pt x="6595" y="1171"/>
                    <a:pt x="6601" y="1180"/>
                    <a:pt x="6609" y="1179"/>
                  </a:cubicBezTo>
                  <a:cubicBezTo>
                    <a:pt x="6617" y="1178"/>
                    <a:pt x="6624" y="1170"/>
                    <a:pt x="6624" y="1170"/>
                  </a:cubicBezTo>
                  <a:cubicBezTo>
                    <a:pt x="6623" y="1182"/>
                    <a:pt x="6623" y="1182"/>
                    <a:pt x="6623" y="1182"/>
                  </a:cubicBezTo>
                  <a:cubicBezTo>
                    <a:pt x="6623" y="1182"/>
                    <a:pt x="6610" y="1188"/>
                    <a:pt x="6605" y="1196"/>
                  </a:cubicBezTo>
                  <a:cubicBezTo>
                    <a:pt x="6600" y="1205"/>
                    <a:pt x="6606" y="1218"/>
                    <a:pt x="6606" y="1218"/>
                  </a:cubicBezTo>
                  <a:cubicBezTo>
                    <a:pt x="6606" y="1218"/>
                    <a:pt x="6617" y="1210"/>
                    <a:pt x="6624" y="1215"/>
                  </a:cubicBezTo>
                  <a:cubicBezTo>
                    <a:pt x="6630" y="1220"/>
                    <a:pt x="6643" y="1209"/>
                    <a:pt x="6643" y="1209"/>
                  </a:cubicBezTo>
                  <a:cubicBezTo>
                    <a:pt x="6634" y="1219"/>
                    <a:pt x="6634" y="1219"/>
                    <a:pt x="6634" y="1219"/>
                  </a:cubicBezTo>
                  <a:cubicBezTo>
                    <a:pt x="6639" y="1237"/>
                    <a:pt x="6639" y="1237"/>
                    <a:pt x="6639" y="1237"/>
                  </a:cubicBezTo>
                  <a:cubicBezTo>
                    <a:pt x="6639" y="1237"/>
                    <a:pt x="6628" y="1250"/>
                    <a:pt x="6620" y="1264"/>
                  </a:cubicBezTo>
                  <a:cubicBezTo>
                    <a:pt x="6613" y="1277"/>
                    <a:pt x="6636" y="1274"/>
                    <a:pt x="6636" y="1274"/>
                  </a:cubicBezTo>
                  <a:cubicBezTo>
                    <a:pt x="6636" y="1274"/>
                    <a:pt x="6649" y="1268"/>
                    <a:pt x="6656" y="1271"/>
                  </a:cubicBezTo>
                  <a:cubicBezTo>
                    <a:pt x="6663" y="1274"/>
                    <a:pt x="6679" y="1261"/>
                    <a:pt x="6679" y="1261"/>
                  </a:cubicBezTo>
                  <a:cubicBezTo>
                    <a:pt x="6701" y="1263"/>
                    <a:pt x="6701" y="1263"/>
                    <a:pt x="6701" y="1263"/>
                  </a:cubicBezTo>
                  <a:cubicBezTo>
                    <a:pt x="6701" y="1263"/>
                    <a:pt x="6678" y="1276"/>
                    <a:pt x="6676" y="1286"/>
                  </a:cubicBezTo>
                  <a:cubicBezTo>
                    <a:pt x="6675" y="1296"/>
                    <a:pt x="6705" y="1303"/>
                    <a:pt x="6705" y="1303"/>
                  </a:cubicBezTo>
                  <a:cubicBezTo>
                    <a:pt x="6706" y="1317"/>
                    <a:pt x="6706" y="1317"/>
                    <a:pt x="6706" y="1317"/>
                  </a:cubicBezTo>
                  <a:cubicBezTo>
                    <a:pt x="6698" y="1329"/>
                    <a:pt x="6698" y="1329"/>
                    <a:pt x="6698" y="1329"/>
                  </a:cubicBezTo>
                  <a:cubicBezTo>
                    <a:pt x="6698" y="1329"/>
                    <a:pt x="6700" y="1343"/>
                    <a:pt x="6697" y="1347"/>
                  </a:cubicBezTo>
                  <a:cubicBezTo>
                    <a:pt x="6694" y="1351"/>
                    <a:pt x="6652" y="1345"/>
                    <a:pt x="6652" y="1345"/>
                  </a:cubicBezTo>
                  <a:cubicBezTo>
                    <a:pt x="6652" y="1345"/>
                    <a:pt x="6642" y="1342"/>
                    <a:pt x="6633" y="1344"/>
                  </a:cubicBezTo>
                  <a:cubicBezTo>
                    <a:pt x="6624" y="1346"/>
                    <a:pt x="6639" y="1357"/>
                    <a:pt x="6639" y="1357"/>
                  </a:cubicBezTo>
                  <a:cubicBezTo>
                    <a:pt x="6625" y="1370"/>
                    <a:pt x="6625" y="1370"/>
                    <a:pt x="6625" y="1370"/>
                  </a:cubicBezTo>
                  <a:cubicBezTo>
                    <a:pt x="6653" y="1368"/>
                    <a:pt x="6653" y="1368"/>
                    <a:pt x="6653" y="1368"/>
                  </a:cubicBezTo>
                  <a:cubicBezTo>
                    <a:pt x="6653" y="1368"/>
                    <a:pt x="6653" y="1391"/>
                    <a:pt x="6646" y="1398"/>
                  </a:cubicBezTo>
                  <a:cubicBezTo>
                    <a:pt x="6639" y="1405"/>
                    <a:pt x="6611" y="1413"/>
                    <a:pt x="6607" y="1416"/>
                  </a:cubicBezTo>
                  <a:cubicBezTo>
                    <a:pt x="6603" y="1419"/>
                    <a:pt x="6608" y="1434"/>
                    <a:pt x="6612" y="1436"/>
                  </a:cubicBezTo>
                  <a:cubicBezTo>
                    <a:pt x="6616" y="1438"/>
                    <a:pt x="6634" y="1424"/>
                    <a:pt x="6634" y="1424"/>
                  </a:cubicBezTo>
                  <a:cubicBezTo>
                    <a:pt x="6634" y="1424"/>
                    <a:pt x="6637" y="1430"/>
                    <a:pt x="6641" y="1434"/>
                  </a:cubicBezTo>
                  <a:cubicBezTo>
                    <a:pt x="6645" y="1438"/>
                    <a:pt x="6655" y="1434"/>
                    <a:pt x="6655" y="1434"/>
                  </a:cubicBezTo>
                  <a:cubicBezTo>
                    <a:pt x="6655" y="1434"/>
                    <a:pt x="6663" y="1443"/>
                    <a:pt x="6671" y="1444"/>
                  </a:cubicBezTo>
                  <a:cubicBezTo>
                    <a:pt x="6680" y="1445"/>
                    <a:pt x="6687" y="1440"/>
                    <a:pt x="6692" y="1435"/>
                  </a:cubicBezTo>
                  <a:cubicBezTo>
                    <a:pt x="6697" y="1430"/>
                    <a:pt x="6710" y="1431"/>
                    <a:pt x="6710" y="1431"/>
                  </a:cubicBezTo>
                  <a:cubicBezTo>
                    <a:pt x="6710" y="1431"/>
                    <a:pt x="6694" y="1446"/>
                    <a:pt x="6684" y="1453"/>
                  </a:cubicBezTo>
                  <a:cubicBezTo>
                    <a:pt x="6673" y="1460"/>
                    <a:pt x="6653" y="1453"/>
                    <a:pt x="6646" y="1453"/>
                  </a:cubicBezTo>
                  <a:cubicBezTo>
                    <a:pt x="6639" y="1453"/>
                    <a:pt x="6641" y="1463"/>
                    <a:pt x="6641" y="1463"/>
                  </a:cubicBezTo>
                  <a:cubicBezTo>
                    <a:pt x="6641" y="1463"/>
                    <a:pt x="6632" y="1463"/>
                    <a:pt x="6625" y="1466"/>
                  </a:cubicBezTo>
                  <a:cubicBezTo>
                    <a:pt x="6617" y="1469"/>
                    <a:pt x="6625" y="1475"/>
                    <a:pt x="6619" y="1484"/>
                  </a:cubicBezTo>
                  <a:cubicBezTo>
                    <a:pt x="6614" y="1492"/>
                    <a:pt x="6607" y="1488"/>
                    <a:pt x="6600" y="1488"/>
                  </a:cubicBezTo>
                  <a:cubicBezTo>
                    <a:pt x="6593" y="1488"/>
                    <a:pt x="6596" y="1498"/>
                    <a:pt x="6589" y="1504"/>
                  </a:cubicBezTo>
                  <a:cubicBezTo>
                    <a:pt x="6582" y="1510"/>
                    <a:pt x="6573" y="1509"/>
                    <a:pt x="6573" y="1513"/>
                  </a:cubicBezTo>
                  <a:cubicBezTo>
                    <a:pt x="6573" y="1517"/>
                    <a:pt x="6592" y="1517"/>
                    <a:pt x="6595" y="1517"/>
                  </a:cubicBezTo>
                  <a:cubicBezTo>
                    <a:pt x="6598" y="1517"/>
                    <a:pt x="6606" y="1507"/>
                    <a:pt x="6612" y="1502"/>
                  </a:cubicBezTo>
                  <a:cubicBezTo>
                    <a:pt x="6618" y="1497"/>
                    <a:pt x="6628" y="1498"/>
                    <a:pt x="6637" y="1498"/>
                  </a:cubicBezTo>
                  <a:cubicBezTo>
                    <a:pt x="6646" y="1498"/>
                    <a:pt x="6649" y="1508"/>
                    <a:pt x="6655" y="1508"/>
                  </a:cubicBezTo>
                  <a:cubicBezTo>
                    <a:pt x="6661" y="1508"/>
                    <a:pt x="6674" y="1483"/>
                    <a:pt x="6681" y="1480"/>
                  </a:cubicBezTo>
                  <a:cubicBezTo>
                    <a:pt x="6687" y="1476"/>
                    <a:pt x="6701" y="1487"/>
                    <a:pt x="6701" y="1487"/>
                  </a:cubicBezTo>
                  <a:cubicBezTo>
                    <a:pt x="6718" y="1488"/>
                    <a:pt x="6718" y="1488"/>
                    <a:pt x="6718" y="1488"/>
                  </a:cubicBezTo>
                  <a:cubicBezTo>
                    <a:pt x="6738" y="1480"/>
                    <a:pt x="6738" y="1480"/>
                    <a:pt x="6738" y="1480"/>
                  </a:cubicBezTo>
                  <a:cubicBezTo>
                    <a:pt x="6738" y="1480"/>
                    <a:pt x="6757" y="1489"/>
                    <a:pt x="6763" y="1488"/>
                  </a:cubicBezTo>
                  <a:cubicBezTo>
                    <a:pt x="6769" y="1487"/>
                    <a:pt x="6755" y="1476"/>
                    <a:pt x="6761" y="1471"/>
                  </a:cubicBezTo>
                  <a:cubicBezTo>
                    <a:pt x="6767" y="1466"/>
                    <a:pt x="6776" y="1481"/>
                    <a:pt x="6776" y="1481"/>
                  </a:cubicBezTo>
                  <a:cubicBezTo>
                    <a:pt x="6783" y="1476"/>
                    <a:pt x="6783" y="1476"/>
                    <a:pt x="6783" y="1476"/>
                  </a:cubicBezTo>
                  <a:cubicBezTo>
                    <a:pt x="6783" y="1476"/>
                    <a:pt x="6836" y="1476"/>
                    <a:pt x="6849" y="1469"/>
                  </a:cubicBezTo>
                  <a:cubicBezTo>
                    <a:pt x="6861" y="1462"/>
                    <a:pt x="6869" y="1447"/>
                    <a:pt x="6869" y="1447"/>
                  </a:cubicBezTo>
                  <a:cubicBezTo>
                    <a:pt x="6830" y="1442"/>
                    <a:pt x="6830" y="1442"/>
                    <a:pt x="6830" y="1442"/>
                  </a:cubicBezTo>
                  <a:cubicBezTo>
                    <a:pt x="6848" y="1439"/>
                    <a:pt x="6848" y="1439"/>
                    <a:pt x="6848" y="1439"/>
                  </a:cubicBezTo>
                  <a:cubicBezTo>
                    <a:pt x="6844" y="1429"/>
                    <a:pt x="6844" y="1429"/>
                    <a:pt x="6844" y="1429"/>
                  </a:cubicBezTo>
                  <a:cubicBezTo>
                    <a:pt x="6844" y="1429"/>
                    <a:pt x="6858" y="1416"/>
                    <a:pt x="6865" y="1415"/>
                  </a:cubicBezTo>
                  <a:cubicBezTo>
                    <a:pt x="6872" y="1414"/>
                    <a:pt x="6883" y="1403"/>
                    <a:pt x="6884" y="1383"/>
                  </a:cubicBezTo>
                  <a:cubicBezTo>
                    <a:pt x="6885" y="1362"/>
                    <a:pt x="6836" y="1363"/>
                    <a:pt x="6836" y="1363"/>
                  </a:cubicBezTo>
                  <a:cubicBezTo>
                    <a:pt x="6836" y="1363"/>
                    <a:pt x="6831" y="1377"/>
                    <a:pt x="6821" y="1370"/>
                  </a:cubicBezTo>
                  <a:cubicBezTo>
                    <a:pt x="6811" y="1362"/>
                    <a:pt x="6831" y="1355"/>
                    <a:pt x="6830" y="1346"/>
                  </a:cubicBezTo>
                  <a:cubicBezTo>
                    <a:pt x="6829" y="1337"/>
                    <a:pt x="6798" y="1332"/>
                    <a:pt x="6798" y="1327"/>
                  </a:cubicBezTo>
                  <a:cubicBezTo>
                    <a:pt x="6798" y="1322"/>
                    <a:pt x="6820" y="1325"/>
                    <a:pt x="6820" y="1325"/>
                  </a:cubicBezTo>
                  <a:cubicBezTo>
                    <a:pt x="6811" y="1317"/>
                    <a:pt x="6811" y="1317"/>
                    <a:pt x="6811" y="1317"/>
                  </a:cubicBezTo>
                  <a:cubicBezTo>
                    <a:pt x="6811" y="1317"/>
                    <a:pt x="6802" y="1296"/>
                    <a:pt x="6798" y="1289"/>
                  </a:cubicBezTo>
                  <a:cubicBezTo>
                    <a:pt x="6794" y="1282"/>
                    <a:pt x="6781" y="1282"/>
                    <a:pt x="6781" y="1282"/>
                  </a:cubicBezTo>
                  <a:cubicBezTo>
                    <a:pt x="6781" y="1282"/>
                    <a:pt x="6773" y="1273"/>
                    <a:pt x="6765" y="1267"/>
                  </a:cubicBezTo>
                  <a:cubicBezTo>
                    <a:pt x="6757" y="1261"/>
                    <a:pt x="6763" y="1229"/>
                    <a:pt x="6763" y="1229"/>
                  </a:cubicBezTo>
                  <a:cubicBezTo>
                    <a:pt x="6755" y="1229"/>
                    <a:pt x="6755" y="1229"/>
                    <a:pt x="6755" y="1229"/>
                  </a:cubicBezTo>
                  <a:cubicBezTo>
                    <a:pt x="6755" y="1229"/>
                    <a:pt x="6754" y="1223"/>
                    <a:pt x="6740" y="1213"/>
                  </a:cubicBezTo>
                  <a:cubicBezTo>
                    <a:pt x="6725" y="1203"/>
                    <a:pt x="6706" y="1213"/>
                    <a:pt x="6698" y="1214"/>
                  </a:cubicBezTo>
                  <a:cubicBezTo>
                    <a:pt x="6690" y="1215"/>
                    <a:pt x="6681" y="1203"/>
                    <a:pt x="6681" y="1203"/>
                  </a:cubicBezTo>
                  <a:cubicBezTo>
                    <a:pt x="6681" y="1203"/>
                    <a:pt x="6695" y="1208"/>
                    <a:pt x="6699" y="1207"/>
                  </a:cubicBezTo>
                  <a:cubicBezTo>
                    <a:pt x="6703" y="1206"/>
                    <a:pt x="6721" y="1202"/>
                    <a:pt x="6722" y="1196"/>
                  </a:cubicBezTo>
                  <a:cubicBezTo>
                    <a:pt x="6723" y="1191"/>
                    <a:pt x="6704" y="1190"/>
                    <a:pt x="6704" y="1190"/>
                  </a:cubicBezTo>
                  <a:cubicBezTo>
                    <a:pt x="6720" y="1186"/>
                    <a:pt x="6720" y="1186"/>
                    <a:pt x="6720" y="1186"/>
                  </a:cubicBezTo>
                  <a:cubicBezTo>
                    <a:pt x="6720" y="1186"/>
                    <a:pt x="6729" y="1179"/>
                    <a:pt x="6735" y="1174"/>
                  </a:cubicBezTo>
                  <a:cubicBezTo>
                    <a:pt x="6740" y="1169"/>
                    <a:pt x="6751" y="1145"/>
                    <a:pt x="6751" y="1145"/>
                  </a:cubicBezTo>
                  <a:cubicBezTo>
                    <a:pt x="6751" y="1145"/>
                    <a:pt x="6766" y="1136"/>
                    <a:pt x="6766" y="1129"/>
                  </a:cubicBezTo>
                  <a:cubicBezTo>
                    <a:pt x="6766" y="1122"/>
                    <a:pt x="6712" y="1127"/>
                    <a:pt x="6712" y="1127"/>
                  </a:cubicBezTo>
                  <a:cubicBezTo>
                    <a:pt x="6712" y="1127"/>
                    <a:pt x="6713" y="1122"/>
                    <a:pt x="6701" y="1122"/>
                  </a:cubicBezTo>
                  <a:cubicBezTo>
                    <a:pt x="6689" y="1122"/>
                    <a:pt x="6667" y="1130"/>
                    <a:pt x="6667" y="1130"/>
                  </a:cubicBezTo>
                  <a:cubicBezTo>
                    <a:pt x="6675" y="1123"/>
                    <a:pt x="6675" y="1123"/>
                    <a:pt x="6675" y="1123"/>
                  </a:cubicBezTo>
                  <a:cubicBezTo>
                    <a:pt x="6669" y="1115"/>
                    <a:pt x="6669" y="1115"/>
                    <a:pt x="6669" y="1115"/>
                  </a:cubicBezTo>
                  <a:cubicBezTo>
                    <a:pt x="6681" y="1113"/>
                    <a:pt x="6681" y="1113"/>
                    <a:pt x="6681" y="1113"/>
                  </a:cubicBezTo>
                  <a:cubicBezTo>
                    <a:pt x="6702" y="1100"/>
                    <a:pt x="6702" y="1100"/>
                    <a:pt x="6702" y="1100"/>
                  </a:cubicBezTo>
                  <a:cubicBezTo>
                    <a:pt x="6702" y="1100"/>
                    <a:pt x="6713" y="1091"/>
                    <a:pt x="6714" y="1080"/>
                  </a:cubicBezTo>
                  <a:cubicBezTo>
                    <a:pt x="6715" y="1073"/>
                    <a:pt x="6701" y="1075"/>
                    <a:pt x="6693" y="1076"/>
                  </a:cubicBezTo>
                  <a:cubicBezTo>
                    <a:pt x="6685" y="1077"/>
                    <a:pt x="6673" y="1083"/>
                    <a:pt x="6665" y="1083"/>
                  </a:cubicBezTo>
                  <a:cubicBezTo>
                    <a:pt x="6657" y="1083"/>
                    <a:pt x="6650" y="1074"/>
                    <a:pt x="6643" y="1078"/>
                  </a:cubicBezTo>
                  <a:cubicBezTo>
                    <a:pt x="6636" y="1082"/>
                    <a:pt x="6643" y="1092"/>
                    <a:pt x="6643" y="1092"/>
                  </a:cubicBezTo>
                  <a:cubicBezTo>
                    <a:pt x="6643" y="1092"/>
                    <a:pt x="6636" y="1093"/>
                    <a:pt x="6631" y="1097"/>
                  </a:cubicBezTo>
                  <a:cubicBezTo>
                    <a:pt x="6626" y="1101"/>
                    <a:pt x="6634" y="1116"/>
                    <a:pt x="6634" y="1116"/>
                  </a:cubicBezTo>
                  <a:cubicBezTo>
                    <a:pt x="6605" y="1119"/>
                    <a:pt x="6605" y="1119"/>
                    <a:pt x="6605" y="1119"/>
                  </a:cubicBezTo>
                  <a:cubicBezTo>
                    <a:pt x="6605" y="1125"/>
                    <a:pt x="6605" y="1125"/>
                    <a:pt x="6605" y="1125"/>
                  </a:cubicBezTo>
                  <a:cubicBezTo>
                    <a:pt x="6611" y="1130"/>
                    <a:pt x="6611" y="1130"/>
                    <a:pt x="6611" y="1130"/>
                  </a:cubicBezTo>
                  <a:lnTo>
                    <a:pt x="6620" y="1148"/>
                  </a:lnTo>
                  <a:close/>
                  <a:moveTo>
                    <a:pt x="7501" y="1151"/>
                  </a:moveTo>
                  <a:cubicBezTo>
                    <a:pt x="7497" y="1138"/>
                    <a:pt x="7497" y="1138"/>
                    <a:pt x="7497" y="1138"/>
                  </a:cubicBezTo>
                  <a:cubicBezTo>
                    <a:pt x="7497" y="1138"/>
                    <a:pt x="7471" y="1172"/>
                    <a:pt x="7471" y="1178"/>
                  </a:cubicBezTo>
                  <a:cubicBezTo>
                    <a:pt x="7471" y="1183"/>
                    <a:pt x="7470" y="1196"/>
                    <a:pt x="7470" y="1196"/>
                  </a:cubicBezTo>
                  <a:cubicBezTo>
                    <a:pt x="7478" y="1196"/>
                    <a:pt x="7487" y="1165"/>
                    <a:pt x="7487" y="1165"/>
                  </a:cubicBezTo>
                  <a:lnTo>
                    <a:pt x="7501" y="1151"/>
                  </a:lnTo>
                  <a:close/>
                  <a:moveTo>
                    <a:pt x="7878" y="2209"/>
                  </a:moveTo>
                  <a:cubicBezTo>
                    <a:pt x="7872" y="2204"/>
                    <a:pt x="7872" y="2204"/>
                    <a:pt x="7872" y="2204"/>
                  </a:cubicBezTo>
                  <a:cubicBezTo>
                    <a:pt x="7866" y="2210"/>
                    <a:pt x="7866" y="2210"/>
                    <a:pt x="7866" y="2210"/>
                  </a:cubicBezTo>
                  <a:lnTo>
                    <a:pt x="7878" y="2209"/>
                  </a:lnTo>
                  <a:close/>
                  <a:moveTo>
                    <a:pt x="7533" y="1130"/>
                  </a:moveTo>
                  <a:cubicBezTo>
                    <a:pt x="7530" y="1141"/>
                    <a:pt x="7542" y="1164"/>
                    <a:pt x="7542" y="1164"/>
                  </a:cubicBezTo>
                  <a:cubicBezTo>
                    <a:pt x="7550" y="1147"/>
                    <a:pt x="7550" y="1147"/>
                    <a:pt x="7550" y="1147"/>
                  </a:cubicBezTo>
                  <a:cubicBezTo>
                    <a:pt x="7550" y="1147"/>
                    <a:pt x="7556" y="1150"/>
                    <a:pt x="7561" y="1141"/>
                  </a:cubicBezTo>
                  <a:cubicBezTo>
                    <a:pt x="7567" y="1133"/>
                    <a:pt x="7561" y="1124"/>
                    <a:pt x="7561" y="1124"/>
                  </a:cubicBezTo>
                  <a:cubicBezTo>
                    <a:pt x="7573" y="1112"/>
                    <a:pt x="7573" y="1112"/>
                    <a:pt x="7573" y="1112"/>
                  </a:cubicBezTo>
                  <a:cubicBezTo>
                    <a:pt x="7573" y="1112"/>
                    <a:pt x="7536" y="1119"/>
                    <a:pt x="7533" y="1130"/>
                  </a:cubicBezTo>
                  <a:close/>
                  <a:moveTo>
                    <a:pt x="7679" y="1081"/>
                  </a:moveTo>
                  <a:cubicBezTo>
                    <a:pt x="7672" y="1083"/>
                    <a:pt x="7681" y="1100"/>
                    <a:pt x="7681" y="1100"/>
                  </a:cubicBezTo>
                  <a:cubicBezTo>
                    <a:pt x="7686" y="1113"/>
                    <a:pt x="7686" y="1113"/>
                    <a:pt x="7686" y="1113"/>
                  </a:cubicBezTo>
                  <a:cubicBezTo>
                    <a:pt x="7686" y="1113"/>
                    <a:pt x="7702" y="1100"/>
                    <a:pt x="7706" y="1100"/>
                  </a:cubicBezTo>
                  <a:cubicBezTo>
                    <a:pt x="7710" y="1100"/>
                    <a:pt x="7727" y="1086"/>
                    <a:pt x="7727" y="1086"/>
                  </a:cubicBezTo>
                  <a:cubicBezTo>
                    <a:pt x="7723" y="1075"/>
                    <a:pt x="7723" y="1075"/>
                    <a:pt x="7723" y="1075"/>
                  </a:cubicBezTo>
                  <a:cubicBezTo>
                    <a:pt x="7699" y="1079"/>
                    <a:pt x="7699" y="1079"/>
                    <a:pt x="7699" y="1079"/>
                  </a:cubicBezTo>
                  <a:cubicBezTo>
                    <a:pt x="7699" y="1079"/>
                    <a:pt x="7686" y="1078"/>
                    <a:pt x="7679" y="1081"/>
                  </a:cubicBezTo>
                  <a:close/>
                  <a:moveTo>
                    <a:pt x="7707" y="1051"/>
                  </a:moveTo>
                  <a:cubicBezTo>
                    <a:pt x="7694" y="1054"/>
                    <a:pt x="7687" y="1071"/>
                    <a:pt x="7701" y="1071"/>
                  </a:cubicBezTo>
                  <a:cubicBezTo>
                    <a:pt x="7716" y="1071"/>
                    <a:pt x="7720" y="1049"/>
                    <a:pt x="7707" y="1051"/>
                  </a:cubicBezTo>
                  <a:close/>
                  <a:moveTo>
                    <a:pt x="7317" y="1211"/>
                  </a:moveTo>
                  <a:cubicBezTo>
                    <a:pt x="7317" y="1211"/>
                    <a:pt x="7309" y="1199"/>
                    <a:pt x="7308" y="1200"/>
                  </a:cubicBezTo>
                  <a:cubicBezTo>
                    <a:pt x="7307" y="1200"/>
                    <a:pt x="7294" y="1205"/>
                    <a:pt x="7294" y="1210"/>
                  </a:cubicBezTo>
                  <a:cubicBezTo>
                    <a:pt x="7294" y="1215"/>
                    <a:pt x="7294" y="1219"/>
                    <a:pt x="7294" y="1219"/>
                  </a:cubicBezTo>
                  <a:cubicBezTo>
                    <a:pt x="7294" y="1219"/>
                    <a:pt x="7285" y="1207"/>
                    <a:pt x="7283" y="1208"/>
                  </a:cubicBezTo>
                  <a:cubicBezTo>
                    <a:pt x="7281" y="1209"/>
                    <a:pt x="7278" y="1213"/>
                    <a:pt x="7278" y="1213"/>
                  </a:cubicBezTo>
                  <a:cubicBezTo>
                    <a:pt x="7262" y="1224"/>
                    <a:pt x="7262" y="1224"/>
                    <a:pt x="7262" y="1224"/>
                  </a:cubicBezTo>
                  <a:cubicBezTo>
                    <a:pt x="7262" y="1224"/>
                    <a:pt x="7271" y="1229"/>
                    <a:pt x="7270" y="1240"/>
                  </a:cubicBezTo>
                  <a:cubicBezTo>
                    <a:pt x="7269" y="1251"/>
                    <a:pt x="7260" y="1253"/>
                    <a:pt x="7272" y="1254"/>
                  </a:cubicBezTo>
                  <a:cubicBezTo>
                    <a:pt x="7284" y="1255"/>
                    <a:pt x="7289" y="1253"/>
                    <a:pt x="7289" y="1253"/>
                  </a:cubicBezTo>
                  <a:cubicBezTo>
                    <a:pt x="7289" y="1253"/>
                    <a:pt x="7297" y="1272"/>
                    <a:pt x="7298" y="1265"/>
                  </a:cubicBezTo>
                  <a:cubicBezTo>
                    <a:pt x="7300" y="1259"/>
                    <a:pt x="7310" y="1245"/>
                    <a:pt x="7312" y="1244"/>
                  </a:cubicBezTo>
                  <a:cubicBezTo>
                    <a:pt x="7314" y="1244"/>
                    <a:pt x="7323" y="1244"/>
                    <a:pt x="7315" y="1239"/>
                  </a:cubicBezTo>
                  <a:cubicBezTo>
                    <a:pt x="7307" y="1234"/>
                    <a:pt x="7300" y="1227"/>
                    <a:pt x="7303" y="1227"/>
                  </a:cubicBezTo>
                  <a:cubicBezTo>
                    <a:pt x="7306" y="1226"/>
                    <a:pt x="7313" y="1227"/>
                    <a:pt x="7308" y="1224"/>
                  </a:cubicBezTo>
                  <a:cubicBezTo>
                    <a:pt x="7303" y="1220"/>
                    <a:pt x="7317" y="1211"/>
                    <a:pt x="7317" y="1211"/>
                  </a:cubicBezTo>
                  <a:close/>
                  <a:moveTo>
                    <a:pt x="7266" y="1272"/>
                  </a:moveTo>
                  <a:cubicBezTo>
                    <a:pt x="7274" y="1270"/>
                    <a:pt x="7285" y="1282"/>
                    <a:pt x="7285" y="1282"/>
                  </a:cubicBezTo>
                  <a:cubicBezTo>
                    <a:pt x="7285" y="1282"/>
                    <a:pt x="7302" y="1279"/>
                    <a:pt x="7319" y="1275"/>
                  </a:cubicBezTo>
                  <a:cubicBezTo>
                    <a:pt x="7337" y="1272"/>
                    <a:pt x="7322" y="1260"/>
                    <a:pt x="7322" y="1260"/>
                  </a:cubicBezTo>
                  <a:cubicBezTo>
                    <a:pt x="7305" y="1266"/>
                    <a:pt x="7305" y="1266"/>
                    <a:pt x="7305" y="1266"/>
                  </a:cubicBezTo>
                  <a:cubicBezTo>
                    <a:pt x="7305" y="1266"/>
                    <a:pt x="7295" y="1270"/>
                    <a:pt x="7291" y="1269"/>
                  </a:cubicBezTo>
                  <a:cubicBezTo>
                    <a:pt x="7287" y="1269"/>
                    <a:pt x="7271" y="1262"/>
                    <a:pt x="7266" y="1262"/>
                  </a:cubicBezTo>
                  <a:cubicBezTo>
                    <a:pt x="7256" y="1262"/>
                    <a:pt x="7258" y="1273"/>
                    <a:pt x="7266" y="1272"/>
                  </a:cubicBezTo>
                  <a:close/>
                  <a:moveTo>
                    <a:pt x="7992" y="2290"/>
                  </a:moveTo>
                  <a:cubicBezTo>
                    <a:pt x="7985" y="2263"/>
                    <a:pt x="7985" y="2263"/>
                    <a:pt x="7985" y="2263"/>
                  </a:cubicBezTo>
                  <a:cubicBezTo>
                    <a:pt x="7979" y="2293"/>
                    <a:pt x="7979" y="2293"/>
                    <a:pt x="7979" y="2293"/>
                  </a:cubicBezTo>
                  <a:lnTo>
                    <a:pt x="7992" y="2290"/>
                  </a:lnTo>
                  <a:close/>
                  <a:moveTo>
                    <a:pt x="7994" y="2200"/>
                  </a:moveTo>
                  <a:cubicBezTo>
                    <a:pt x="7978" y="2209"/>
                    <a:pt x="7978" y="2209"/>
                    <a:pt x="7978" y="2209"/>
                  </a:cubicBezTo>
                  <a:cubicBezTo>
                    <a:pt x="7977" y="2224"/>
                    <a:pt x="7977" y="2224"/>
                    <a:pt x="7977" y="2224"/>
                  </a:cubicBezTo>
                  <a:cubicBezTo>
                    <a:pt x="8002" y="2205"/>
                    <a:pt x="8002" y="2205"/>
                    <a:pt x="8002" y="2205"/>
                  </a:cubicBezTo>
                  <a:lnTo>
                    <a:pt x="7994" y="2200"/>
                  </a:lnTo>
                  <a:close/>
                  <a:moveTo>
                    <a:pt x="8029" y="2232"/>
                  </a:moveTo>
                  <a:cubicBezTo>
                    <a:pt x="8025" y="2225"/>
                    <a:pt x="8004" y="2253"/>
                    <a:pt x="8010" y="2263"/>
                  </a:cubicBezTo>
                  <a:cubicBezTo>
                    <a:pt x="8015" y="2272"/>
                    <a:pt x="8033" y="2239"/>
                    <a:pt x="8029" y="2232"/>
                  </a:cubicBezTo>
                  <a:close/>
                  <a:moveTo>
                    <a:pt x="8872" y="524"/>
                  </a:moveTo>
                  <a:cubicBezTo>
                    <a:pt x="8867" y="532"/>
                    <a:pt x="8932" y="566"/>
                    <a:pt x="8938" y="550"/>
                  </a:cubicBezTo>
                  <a:cubicBezTo>
                    <a:pt x="8944" y="534"/>
                    <a:pt x="8878" y="514"/>
                    <a:pt x="8872" y="524"/>
                  </a:cubicBezTo>
                  <a:close/>
                  <a:moveTo>
                    <a:pt x="7220" y="1252"/>
                  </a:moveTo>
                  <a:cubicBezTo>
                    <a:pt x="7226" y="1252"/>
                    <a:pt x="7236" y="1262"/>
                    <a:pt x="7236" y="1262"/>
                  </a:cubicBezTo>
                  <a:cubicBezTo>
                    <a:pt x="7242" y="1244"/>
                    <a:pt x="7242" y="1244"/>
                    <a:pt x="7242" y="1244"/>
                  </a:cubicBezTo>
                  <a:cubicBezTo>
                    <a:pt x="7230" y="1230"/>
                    <a:pt x="7230" y="1230"/>
                    <a:pt x="7230" y="1230"/>
                  </a:cubicBezTo>
                  <a:cubicBezTo>
                    <a:pt x="7218" y="1228"/>
                    <a:pt x="7218" y="1228"/>
                    <a:pt x="7218" y="1228"/>
                  </a:cubicBezTo>
                  <a:lnTo>
                    <a:pt x="7220" y="1252"/>
                  </a:lnTo>
                  <a:close/>
                  <a:moveTo>
                    <a:pt x="8643" y="464"/>
                  </a:moveTo>
                  <a:cubicBezTo>
                    <a:pt x="8656" y="464"/>
                    <a:pt x="8673" y="467"/>
                    <a:pt x="8684" y="473"/>
                  </a:cubicBezTo>
                  <a:cubicBezTo>
                    <a:pt x="8694" y="479"/>
                    <a:pt x="8693" y="496"/>
                    <a:pt x="8696" y="497"/>
                  </a:cubicBezTo>
                  <a:cubicBezTo>
                    <a:pt x="8699" y="499"/>
                    <a:pt x="8748" y="506"/>
                    <a:pt x="8748" y="506"/>
                  </a:cubicBezTo>
                  <a:cubicBezTo>
                    <a:pt x="8822" y="502"/>
                    <a:pt x="8822" y="502"/>
                    <a:pt x="8822" y="502"/>
                  </a:cubicBezTo>
                  <a:cubicBezTo>
                    <a:pt x="8822" y="502"/>
                    <a:pt x="8762" y="496"/>
                    <a:pt x="8746" y="470"/>
                  </a:cubicBezTo>
                  <a:cubicBezTo>
                    <a:pt x="8730" y="444"/>
                    <a:pt x="8714" y="444"/>
                    <a:pt x="8730" y="420"/>
                  </a:cubicBezTo>
                  <a:cubicBezTo>
                    <a:pt x="8746" y="396"/>
                    <a:pt x="8727" y="394"/>
                    <a:pt x="8727" y="394"/>
                  </a:cubicBezTo>
                  <a:cubicBezTo>
                    <a:pt x="8754" y="390"/>
                    <a:pt x="8754" y="390"/>
                    <a:pt x="8754" y="390"/>
                  </a:cubicBezTo>
                  <a:cubicBezTo>
                    <a:pt x="8743" y="378"/>
                    <a:pt x="8743" y="378"/>
                    <a:pt x="8743" y="378"/>
                  </a:cubicBezTo>
                  <a:cubicBezTo>
                    <a:pt x="8766" y="381"/>
                    <a:pt x="8766" y="381"/>
                    <a:pt x="8766" y="381"/>
                  </a:cubicBezTo>
                  <a:cubicBezTo>
                    <a:pt x="8753" y="373"/>
                    <a:pt x="8753" y="373"/>
                    <a:pt x="8753" y="373"/>
                  </a:cubicBezTo>
                  <a:cubicBezTo>
                    <a:pt x="8769" y="375"/>
                    <a:pt x="8769" y="375"/>
                    <a:pt x="8769" y="375"/>
                  </a:cubicBezTo>
                  <a:cubicBezTo>
                    <a:pt x="8773" y="365"/>
                    <a:pt x="8773" y="365"/>
                    <a:pt x="8773" y="365"/>
                  </a:cubicBezTo>
                  <a:cubicBezTo>
                    <a:pt x="8759" y="358"/>
                    <a:pt x="8759" y="358"/>
                    <a:pt x="8759" y="358"/>
                  </a:cubicBezTo>
                  <a:cubicBezTo>
                    <a:pt x="8759" y="358"/>
                    <a:pt x="8786" y="362"/>
                    <a:pt x="8790" y="358"/>
                  </a:cubicBezTo>
                  <a:cubicBezTo>
                    <a:pt x="8794" y="354"/>
                    <a:pt x="8779" y="344"/>
                    <a:pt x="8779" y="344"/>
                  </a:cubicBezTo>
                  <a:cubicBezTo>
                    <a:pt x="8801" y="346"/>
                    <a:pt x="8801" y="346"/>
                    <a:pt x="8801" y="346"/>
                  </a:cubicBezTo>
                  <a:cubicBezTo>
                    <a:pt x="8799" y="327"/>
                    <a:pt x="8799" y="327"/>
                    <a:pt x="8799" y="327"/>
                  </a:cubicBezTo>
                  <a:cubicBezTo>
                    <a:pt x="8799" y="327"/>
                    <a:pt x="8813" y="338"/>
                    <a:pt x="8831" y="330"/>
                  </a:cubicBezTo>
                  <a:cubicBezTo>
                    <a:pt x="8850" y="323"/>
                    <a:pt x="8862" y="309"/>
                    <a:pt x="8862" y="309"/>
                  </a:cubicBezTo>
                  <a:cubicBezTo>
                    <a:pt x="8862" y="309"/>
                    <a:pt x="9007" y="288"/>
                    <a:pt x="9028" y="279"/>
                  </a:cubicBezTo>
                  <a:cubicBezTo>
                    <a:pt x="9050" y="269"/>
                    <a:pt x="9071" y="254"/>
                    <a:pt x="9038" y="243"/>
                  </a:cubicBezTo>
                  <a:cubicBezTo>
                    <a:pt x="9005" y="231"/>
                    <a:pt x="8971" y="247"/>
                    <a:pt x="8956" y="253"/>
                  </a:cubicBezTo>
                  <a:cubicBezTo>
                    <a:pt x="8942" y="259"/>
                    <a:pt x="8898" y="274"/>
                    <a:pt x="8878" y="271"/>
                  </a:cubicBezTo>
                  <a:cubicBezTo>
                    <a:pt x="8857" y="269"/>
                    <a:pt x="8826" y="265"/>
                    <a:pt x="8826" y="265"/>
                  </a:cubicBezTo>
                  <a:cubicBezTo>
                    <a:pt x="8815" y="282"/>
                    <a:pt x="8815" y="282"/>
                    <a:pt x="8815" y="282"/>
                  </a:cubicBezTo>
                  <a:cubicBezTo>
                    <a:pt x="8798" y="273"/>
                    <a:pt x="8798" y="273"/>
                    <a:pt x="8798" y="273"/>
                  </a:cubicBezTo>
                  <a:cubicBezTo>
                    <a:pt x="8763" y="287"/>
                    <a:pt x="8763" y="287"/>
                    <a:pt x="8763" y="287"/>
                  </a:cubicBezTo>
                  <a:cubicBezTo>
                    <a:pt x="8744" y="286"/>
                    <a:pt x="8744" y="286"/>
                    <a:pt x="8744" y="286"/>
                  </a:cubicBezTo>
                  <a:cubicBezTo>
                    <a:pt x="8725" y="301"/>
                    <a:pt x="8725" y="301"/>
                    <a:pt x="8725" y="301"/>
                  </a:cubicBezTo>
                  <a:cubicBezTo>
                    <a:pt x="8739" y="306"/>
                    <a:pt x="8739" y="306"/>
                    <a:pt x="8739" y="306"/>
                  </a:cubicBezTo>
                  <a:cubicBezTo>
                    <a:pt x="8706" y="307"/>
                    <a:pt x="8706" y="307"/>
                    <a:pt x="8706" y="307"/>
                  </a:cubicBezTo>
                  <a:cubicBezTo>
                    <a:pt x="8687" y="313"/>
                    <a:pt x="8687" y="313"/>
                    <a:pt x="8687" y="313"/>
                  </a:cubicBezTo>
                  <a:cubicBezTo>
                    <a:pt x="8688" y="322"/>
                    <a:pt x="8688" y="322"/>
                    <a:pt x="8688" y="322"/>
                  </a:cubicBezTo>
                  <a:cubicBezTo>
                    <a:pt x="8705" y="313"/>
                    <a:pt x="8705" y="313"/>
                    <a:pt x="8705" y="313"/>
                  </a:cubicBezTo>
                  <a:cubicBezTo>
                    <a:pt x="8706" y="322"/>
                    <a:pt x="8706" y="322"/>
                    <a:pt x="8706" y="322"/>
                  </a:cubicBezTo>
                  <a:cubicBezTo>
                    <a:pt x="8725" y="324"/>
                    <a:pt x="8725" y="324"/>
                    <a:pt x="8725" y="324"/>
                  </a:cubicBezTo>
                  <a:cubicBezTo>
                    <a:pt x="8719" y="332"/>
                    <a:pt x="8719" y="332"/>
                    <a:pt x="8719" y="332"/>
                  </a:cubicBezTo>
                  <a:cubicBezTo>
                    <a:pt x="8693" y="332"/>
                    <a:pt x="8693" y="332"/>
                    <a:pt x="8693" y="332"/>
                  </a:cubicBezTo>
                  <a:cubicBezTo>
                    <a:pt x="8689" y="341"/>
                    <a:pt x="8689" y="341"/>
                    <a:pt x="8689" y="341"/>
                  </a:cubicBezTo>
                  <a:cubicBezTo>
                    <a:pt x="8707" y="344"/>
                    <a:pt x="8707" y="344"/>
                    <a:pt x="8707" y="344"/>
                  </a:cubicBezTo>
                  <a:cubicBezTo>
                    <a:pt x="8676" y="346"/>
                    <a:pt x="8676" y="346"/>
                    <a:pt x="8676" y="346"/>
                  </a:cubicBezTo>
                  <a:cubicBezTo>
                    <a:pt x="8698" y="352"/>
                    <a:pt x="8698" y="352"/>
                    <a:pt x="8698" y="352"/>
                  </a:cubicBezTo>
                  <a:cubicBezTo>
                    <a:pt x="8669" y="354"/>
                    <a:pt x="8669" y="354"/>
                    <a:pt x="8669" y="354"/>
                  </a:cubicBezTo>
                  <a:cubicBezTo>
                    <a:pt x="8667" y="368"/>
                    <a:pt x="8667" y="368"/>
                    <a:pt x="8667" y="368"/>
                  </a:cubicBezTo>
                  <a:cubicBezTo>
                    <a:pt x="8647" y="375"/>
                    <a:pt x="8647" y="375"/>
                    <a:pt x="8647" y="375"/>
                  </a:cubicBezTo>
                  <a:cubicBezTo>
                    <a:pt x="8654" y="385"/>
                    <a:pt x="8654" y="385"/>
                    <a:pt x="8654" y="385"/>
                  </a:cubicBezTo>
                  <a:cubicBezTo>
                    <a:pt x="8681" y="373"/>
                    <a:pt x="8681" y="373"/>
                    <a:pt x="8681" y="373"/>
                  </a:cubicBezTo>
                  <a:cubicBezTo>
                    <a:pt x="8670" y="391"/>
                    <a:pt x="8670" y="391"/>
                    <a:pt x="8670" y="391"/>
                  </a:cubicBezTo>
                  <a:cubicBezTo>
                    <a:pt x="8670" y="391"/>
                    <a:pt x="8649" y="386"/>
                    <a:pt x="8641" y="393"/>
                  </a:cubicBezTo>
                  <a:cubicBezTo>
                    <a:pt x="8634" y="400"/>
                    <a:pt x="8640" y="408"/>
                    <a:pt x="8640" y="408"/>
                  </a:cubicBezTo>
                  <a:cubicBezTo>
                    <a:pt x="8610" y="413"/>
                    <a:pt x="8610" y="413"/>
                    <a:pt x="8610" y="413"/>
                  </a:cubicBezTo>
                  <a:cubicBezTo>
                    <a:pt x="8619" y="425"/>
                    <a:pt x="8619" y="425"/>
                    <a:pt x="8619" y="425"/>
                  </a:cubicBezTo>
                  <a:cubicBezTo>
                    <a:pt x="8638" y="416"/>
                    <a:pt x="8638" y="416"/>
                    <a:pt x="8638" y="416"/>
                  </a:cubicBezTo>
                  <a:cubicBezTo>
                    <a:pt x="8628" y="432"/>
                    <a:pt x="8628" y="432"/>
                    <a:pt x="8628" y="432"/>
                  </a:cubicBezTo>
                  <a:cubicBezTo>
                    <a:pt x="8628" y="432"/>
                    <a:pt x="8600" y="438"/>
                    <a:pt x="8602" y="449"/>
                  </a:cubicBezTo>
                  <a:cubicBezTo>
                    <a:pt x="8604" y="460"/>
                    <a:pt x="8631" y="464"/>
                    <a:pt x="8643" y="464"/>
                  </a:cubicBezTo>
                  <a:close/>
                  <a:moveTo>
                    <a:pt x="7441" y="599"/>
                  </a:moveTo>
                  <a:cubicBezTo>
                    <a:pt x="7450" y="594"/>
                    <a:pt x="7465" y="591"/>
                    <a:pt x="7446" y="587"/>
                  </a:cubicBezTo>
                  <a:cubicBezTo>
                    <a:pt x="7427" y="584"/>
                    <a:pt x="7418" y="595"/>
                    <a:pt x="7418" y="595"/>
                  </a:cubicBezTo>
                  <a:cubicBezTo>
                    <a:pt x="7424" y="602"/>
                    <a:pt x="7424" y="602"/>
                    <a:pt x="7424" y="602"/>
                  </a:cubicBezTo>
                  <a:lnTo>
                    <a:pt x="7441" y="599"/>
                  </a:lnTo>
                  <a:close/>
                  <a:moveTo>
                    <a:pt x="7430" y="571"/>
                  </a:moveTo>
                  <a:cubicBezTo>
                    <a:pt x="7411" y="566"/>
                    <a:pt x="7401" y="583"/>
                    <a:pt x="7401" y="583"/>
                  </a:cubicBezTo>
                  <a:cubicBezTo>
                    <a:pt x="7417" y="587"/>
                    <a:pt x="7417" y="587"/>
                    <a:pt x="7417" y="587"/>
                  </a:cubicBezTo>
                  <a:cubicBezTo>
                    <a:pt x="7423" y="583"/>
                    <a:pt x="7449" y="575"/>
                    <a:pt x="7430" y="571"/>
                  </a:cubicBezTo>
                  <a:close/>
                  <a:moveTo>
                    <a:pt x="7410" y="590"/>
                  </a:moveTo>
                  <a:cubicBezTo>
                    <a:pt x="7395" y="599"/>
                    <a:pt x="7395" y="599"/>
                    <a:pt x="7395" y="599"/>
                  </a:cubicBezTo>
                  <a:cubicBezTo>
                    <a:pt x="7400" y="612"/>
                    <a:pt x="7400" y="612"/>
                    <a:pt x="7400" y="612"/>
                  </a:cubicBezTo>
                  <a:cubicBezTo>
                    <a:pt x="7418" y="613"/>
                    <a:pt x="7418" y="613"/>
                    <a:pt x="7418" y="613"/>
                  </a:cubicBezTo>
                  <a:cubicBezTo>
                    <a:pt x="7414" y="600"/>
                    <a:pt x="7414" y="600"/>
                    <a:pt x="7414" y="600"/>
                  </a:cubicBezTo>
                  <a:lnTo>
                    <a:pt x="7410" y="590"/>
                  </a:lnTo>
                  <a:close/>
                  <a:moveTo>
                    <a:pt x="7384" y="584"/>
                  </a:moveTo>
                  <a:cubicBezTo>
                    <a:pt x="7373" y="588"/>
                    <a:pt x="7377" y="605"/>
                    <a:pt x="7377" y="605"/>
                  </a:cubicBezTo>
                  <a:cubicBezTo>
                    <a:pt x="7389" y="617"/>
                    <a:pt x="7389" y="617"/>
                    <a:pt x="7389" y="617"/>
                  </a:cubicBezTo>
                  <a:cubicBezTo>
                    <a:pt x="7389" y="617"/>
                    <a:pt x="7395" y="580"/>
                    <a:pt x="7384" y="584"/>
                  </a:cubicBezTo>
                  <a:close/>
                  <a:moveTo>
                    <a:pt x="7463" y="578"/>
                  </a:moveTo>
                  <a:cubicBezTo>
                    <a:pt x="7479" y="575"/>
                    <a:pt x="7478" y="565"/>
                    <a:pt x="7485" y="565"/>
                  </a:cubicBezTo>
                  <a:cubicBezTo>
                    <a:pt x="7491" y="565"/>
                    <a:pt x="7485" y="554"/>
                    <a:pt x="7485" y="554"/>
                  </a:cubicBezTo>
                  <a:cubicBezTo>
                    <a:pt x="7455" y="568"/>
                    <a:pt x="7455" y="568"/>
                    <a:pt x="7455" y="568"/>
                  </a:cubicBezTo>
                  <a:lnTo>
                    <a:pt x="7463" y="578"/>
                  </a:lnTo>
                  <a:close/>
                  <a:moveTo>
                    <a:pt x="7551" y="538"/>
                  </a:moveTo>
                  <a:cubicBezTo>
                    <a:pt x="7560" y="535"/>
                    <a:pt x="7573" y="525"/>
                    <a:pt x="7555" y="524"/>
                  </a:cubicBezTo>
                  <a:cubicBezTo>
                    <a:pt x="7538" y="523"/>
                    <a:pt x="7551" y="538"/>
                    <a:pt x="7551" y="538"/>
                  </a:cubicBezTo>
                  <a:close/>
                  <a:moveTo>
                    <a:pt x="8379" y="1666"/>
                  </a:moveTo>
                  <a:cubicBezTo>
                    <a:pt x="8379" y="1666"/>
                    <a:pt x="8378" y="1666"/>
                    <a:pt x="8378" y="1666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9" y="1666"/>
                    <a:pt x="8379" y="1666"/>
                  </a:cubicBezTo>
                  <a:close/>
                  <a:moveTo>
                    <a:pt x="7253" y="188"/>
                  </a:moveTo>
                  <a:cubicBezTo>
                    <a:pt x="7267" y="198"/>
                    <a:pt x="7288" y="194"/>
                    <a:pt x="7288" y="194"/>
                  </a:cubicBezTo>
                  <a:cubicBezTo>
                    <a:pt x="7266" y="183"/>
                    <a:pt x="7266" y="183"/>
                    <a:pt x="7266" y="183"/>
                  </a:cubicBezTo>
                  <a:cubicBezTo>
                    <a:pt x="7233" y="166"/>
                    <a:pt x="7233" y="166"/>
                    <a:pt x="7233" y="166"/>
                  </a:cubicBezTo>
                  <a:cubicBezTo>
                    <a:pt x="7229" y="179"/>
                    <a:pt x="7239" y="179"/>
                    <a:pt x="7253" y="188"/>
                  </a:cubicBezTo>
                  <a:close/>
                  <a:moveTo>
                    <a:pt x="6729" y="1062"/>
                  </a:moveTo>
                  <a:cubicBezTo>
                    <a:pt x="6727" y="1072"/>
                    <a:pt x="6727" y="1072"/>
                    <a:pt x="6727" y="1072"/>
                  </a:cubicBezTo>
                  <a:cubicBezTo>
                    <a:pt x="6736" y="1064"/>
                    <a:pt x="6736" y="1064"/>
                    <a:pt x="6736" y="1064"/>
                  </a:cubicBezTo>
                  <a:lnTo>
                    <a:pt x="6729" y="1062"/>
                  </a:lnTo>
                  <a:close/>
                  <a:moveTo>
                    <a:pt x="6786" y="1004"/>
                  </a:moveTo>
                  <a:cubicBezTo>
                    <a:pt x="6790" y="1013"/>
                    <a:pt x="6790" y="1013"/>
                    <a:pt x="6790" y="1013"/>
                  </a:cubicBezTo>
                  <a:cubicBezTo>
                    <a:pt x="6795" y="1017"/>
                    <a:pt x="6802" y="996"/>
                    <a:pt x="6801" y="992"/>
                  </a:cubicBezTo>
                  <a:cubicBezTo>
                    <a:pt x="6800" y="988"/>
                    <a:pt x="6791" y="980"/>
                    <a:pt x="6791" y="980"/>
                  </a:cubicBezTo>
                  <a:cubicBezTo>
                    <a:pt x="6790" y="989"/>
                    <a:pt x="6790" y="989"/>
                    <a:pt x="6790" y="989"/>
                  </a:cubicBezTo>
                  <a:cubicBezTo>
                    <a:pt x="6790" y="989"/>
                    <a:pt x="6777" y="993"/>
                    <a:pt x="6778" y="997"/>
                  </a:cubicBezTo>
                  <a:cubicBezTo>
                    <a:pt x="6779" y="1001"/>
                    <a:pt x="6786" y="1004"/>
                    <a:pt x="6786" y="1004"/>
                  </a:cubicBezTo>
                  <a:close/>
                  <a:moveTo>
                    <a:pt x="6721" y="1053"/>
                  </a:moveTo>
                  <a:cubicBezTo>
                    <a:pt x="6713" y="1046"/>
                    <a:pt x="6712" y="1061"/>
                    <a:pt x="6712" y="1061"/>
                  </a:cubicBezTo>
                  <a:cubicBezTo>
                    <a:pt x="6719" y="1067"/>
                    <a:pt x="6729" y="1060"/>
                    <a:pt x="6721" y="1053"/>
                  </a:cubicBezTo>
                  <a:close/>
                  <a:moveTo>
                    <a:pt x="6815" y="969"/>
                  </a:moveTo>
                  <a:cubicBezTo>
                    <a:pt x="6808" y="970"/>
                    <a:pt x="6806" y="979"/>
                    <a:pt x="6806" y="979"/>
                  </a:cubicBezTo>
                  <a:cubicBezTo>
                    <a:pt x="6817" y="984"/>
                    <a:pt x="6822" y="968"/>
                    <a:pt x="6815" y="969"/>
                  </a:cubicBezTo>
                  <a:close/>
                  <a:moveTo>
                    <a:pt x="7648" y="515"/>
                  </a:moveTo>
                  <a:cubicBezTo>
                    <a:pt x="7661" y="518"/>
                    <a:pt x="7661" y="518"/>
                    <a:pt x="7661" y="518"/>
                  </a:cubicBezTo>
                  <a:cubicBezTo>
                    <a:pt x="7669" y="509"/>
                    <a:pt x="7669" y="503"/>
                    <a:pt x="7669" y="503"/>
                  </a:cubicBezTo>
                  <a:cubicBezTo>
                    <a:pt x="7649" y="505"/>
                    <a:pt x="7649" y="505"/>
                    <a:pt x="7649" y="505"/>
                  </a:cubicBezTo>
                  <a:lnTo>
                    <a:pt x="7648" y="515"/>
                  </a:lnTo>
                  <a:close/>
                  <a:moveTo>
                    <a:pt x="7854" y="2172"/>
                  </a:moveTo>
                  <a:cubicBezTo>
                    <a:pt x="7849" y="2177"/>
                    <a:pt x="7852" y="2183"/>
                    <a:pt x="7857" y="2182"/>
                  </a:cubicBezTo>
                  <a:cubicBezTo>
                    <a:pt x="7866" y="2180"/>
                    <a:pt x="7859" y="2167"/>
                    <a:pt x="7854" y="2172"/>
                  </a:cubicBezTo>
                  <a:close/>
                  <a:moveTo>
                    <a:pt x="7358" y="610"/>
                  </a:moveTo>
                  <a:cubicBezTo>
                    <a:pt x="7342" y="610"/>
                    <a:pt x="7317" y="629"/>
                    <a:pt x="7323" y="633"/>
                  </a:cubicBezTo>
                  <a:cubicBezTo>
                    <a:pt x="7328" y="636"/>
                    <a:pt x="7353" y="621"/>
                    <a:pt x="7353" y="621"/>
                  </a:cubicBezTo>
                  <a:cubicBezTo>
                    <a:pt x="7376" y="617"/>
                    <a:pt x="7376" y="617"/>
                    <a:pt x="7376" y="617"/>
                  </a:cubicBezTo>
                  <a:cubicBezTo>
                    <a:pt x="7373" y="617"/>
                    <a:pt x="7374" y="610"/>
                    <a:pt x="7358" y="610"/>
                  </a:cubicBezTo>
                  <a:close/>
                  <a:moveTo>
                    <a:pt x="7687" y="2158"/>
                  </a:moveTo>
                  <a:cubicBezTo>
                    <a:pt x="7678" y="2165"/>
                    <a:pt x="7698" y="2171"/>
                    <a:pt x="7698" y="2171"/>
                  </a:cubicBezTo>
                  <a:cubicBezTo>
                    <a:pt x="7704" y="2167"/>
                    <a:pt x="7696" y="2151"/>
                    <a:pt x="7687" y="2158"/>
                  </a:cubicBezTo>
                  <a:close/>
                  <a:moveTo>
                    <a:pt x="7673" y="2139"/>
                  </a:moveTo>
                  <a:cubicBezTo>
                    <a:pt x="7698" y="2146"/>
                    <a:pt x="7698" y="2146"/>
                    <a:pt x="7698" y="2146"/>
                  </a:cubicBezTo>
                  <a:cubicBezTo>
                    <a:pt x="7687" y="2124"/>
                    <a:pt x="7687" y="2124"/>
                    <a:pt x="7687" y="2124"/>
                  </a:cubicBezTo>
                  <a:lnTo>
                    <a:pt x="7673" y="2139"/>
                  </a:lnTo>
                  <a:close/>
                  <a:moveTo>
                    <a:pt x="7811" y="2183"/>
                  </a:moveTo>
                  <a:cubicBezTo>
                    <a:pt x="7820" y="2179"/>
                    <a:pt x="7820" y="2179"/>
                    <a:pt x="7820" y="2179"/>
                  </a:cubicBezTo>
                  <a:cubicBezTo>
                    <a:pt x="7820" y="2179"/>
                    <a:pt x="7809" y="2172"/>
                    <a:pt x="7800" y="2163"/>
                  </a:cubicBezTo>
                  <a:cubicBezTo>
                    <a:pt x="7791" y="2154"/>
                    <a:pt x="7747" y="2137"/>
                    <a:pt x="7747" y="2137"/>
                  </a:cubicBezTo>
                  <a:cubicBezTo>
                    <a:pt x="7733" y="2143"/>
                    <a:pt x="7733" y="2143"/>
                    <a:pt x="7733" y="2143"/>
                  </a:cubicBezTo>
                  <a:cubicBezTo>
                    <a:pt x="7726" y="2143"/>
                    <a:pt x="7726" y="2143"/>
                    <a:pt x="7726" y="2143"/>
                  </a:cubicBezTo>
                  <a:cubicBezTo>
                    <a:pt x="7715" y="2158"/>
                    <a:pt x="7715" y="2158"/>
                    <a:pt x="7715" y="2158"/>
                  </a:cubicBezTo>
                  <a:cubicBezTo>
                    <a:pt x="7734" y="2175"/>
                    <a:pt x="7734" y="2175"/>
                    <a:pt x="7734" y="2175"/>
                  </a:cubicBezTo>
                  <a:cubicBezTo>
                    <a:pt x="7734" y="2175"/>
                    <a:pt x="7731" y="2192"/>
                    <a:pt x="7731" y="2202"/>
                  </a:cubicBezTo>
                  <a:cubicBezTo>
                    <a:pt x="7731" y="2212"/>
                    <a:pt x="7746" y="2218"/>
                    <a:pt x="7749" y="2211"/>
                  </a:cubicBezTo>
                  <a:cubicBezTo>
                    <a:pt x="7752" y="2204"/>
                    <a:pt x="7761" y="2205"/>
                    <a:pt x="7761" y="2205"/>
                  </a:cubicBezTo>
                  <a:cubicBezTo>
                    <a:pt x="7775" y="2231"/>
                    <a:pt x="7775" y="2231"/>
                    <a:pt x="7775" y="2231"/>
                  </a:cubicBezTo>
                  <a:cubicBezTo>
                    <a:pt x="7781" y="2213"/>
                    <a:pt x="7781" y="2213"/>
                    <a:pt x="7781" y="2213"/>
                  </a:cubicBezTo>
                  <a:cubicBezTo>
                    <a:pt x="7790" y="2226"/>
                    <a:pt x="7790" y="2226"/>
                    <a:pt x="7790" y="2226"/>
                  </a:cubicBezTo>
                  <a:cubicBezTo>
                    <a:pt x="7806" y="2232"/>
                    <a:pt x="7806" y="2232"/>
                    <a:pt x="7806" y="2232"/>
                  </a:cubicBezTo>
                  <a:cubicBezTo>
                    <a:pt x="7797" y="2221"/>
                    <a:pt x="7797" y="2221"/>
                    <a:pt x="7797" y="2221"/>
                  </a:cubicBezTo>
                  <a:cubicBezTo>
                    <a:pt x="7801" y="2216"/>
                    <a:pt x="7801" y="2216"/>
                    <a:pt x="7801" y="2216"/>
                  </a:cubicBezTo>
                  <a:cubicBezTo>
                    <a:pt x="7799" y="2201"/>
                    <a:pt x="7799" y="2201"/>
                    <a:pt x="7799" y="2201"/>
                  </a:cubicBezTo>
                  <a:cubicBezTo>
                    <a:pt x="7799" y="2201"/>
                    <a:pt x="7782" y="2180"/>
                    <a:pt x="7785" y="2172"/>
                  </a:cubicBezTo>
                  <a:cubicBezTo>
                    <a:pt x="7788" y="2164"/>
                    <a:pt x="7811" y="2183"/>
                    <a:pt x="7811" y="2183"/>
                  </a:cubicBezTo>
                  <a:close/>
                  <a:moveTo>
                    <a:pt x="7854" y="2097"/>
                  </a:moveTo>
                  <a:cubicBezTo>
                    <a:pt x="7854" y="2097"/>
                    <a:pt x="7848" y="2109"/>
                    <a:pt x="7864" y="2109"/>
                  </a:cubicBezTo>
                  <a:lnTo>
                    <a:pt x="7854" y="2097"/>
                  </a:lnTo>
                  <a:close/>
                  <a:moveTo>
                    <a:pt x="7795" y="2239"/>
                  </a:moveTo>
                  <a:cubicBezTo>
                    <a:pt x="7789" y="2241"/>
                    <a:pt x="7794" y="2258"/>
                    <a:pt x="7801" y="2252"/>
                  </a:cubicBezTo>
                  <a:cubicBezTo>
                    <a:pt x="7808" y="2246"/>
                    <a:pt x="7802" y="2237"/>
                    <a:pt x="7795" y="2239"/>
                  </a:cubicBezTo>
                  <a:close/>
                  <a:moveTo>
                    <a:pt x="7405" y="2250"/>
                  </a:moveTo>
                  <a:cubicBezTo>
                    <a:pt x="7397" y="2264"/>
                    <a:pt x="7420" y="2269"/>
                    <a:pt x="7420" y="2269"/>
                  </a:cubicBezTo>
                  <a:cubicBezTo>
                    <a:pt x="7431" y="2256"/>
                    <a:pt x="7413" y="2236"/>
                    <a:pt x="7405" y="2250"/>
                  </a:cubicBezTo>
                  <a:close/>
                  <a:moveTo>
                    <a:pt x="6849" y="2093"/>
                  </a:moveTo>
                  <a:cubicBezTo>
                    <a:pt x="6844" y="2083"/>
                    <a:pt x="6835" y="2105"/>
                    <a:pt x="6835" y="2105"/>
                  </a:cubicBezTo>
                  <a:cubicBezTo>
                    <a:pt x="6844" y="2114"/>
                    <a:pt x="6854" y="2103"/>
                    <a:pt x="6849" y="2093"/>
                  </a:cubicBezTo>
                  <a:close/>
                  <a:moveTo>
                    <a:pt x="6970" y="2057"/>
                  </a:moveTo>
                  <a:cubicBezTo>
                    <a:pt x="6979" y="2052"/>
                    <a:pt x="6958" y="2035"/>
                    <a:pt x="6948" y="2042"/>
                  </a:cubicBezTo>
                  <a:cubicBezTo>
                    <a:pt x="6948" y="2042"/>
                    <a:pt x="6961" y="2062"/>
                    <a:pt x="6970" y="2057"/>
                  </a:cubicBezTo>
                  <a:close/>
                  <a:moveTo>
                    <a:pt x="7197" y="1887"/>
                  </a:moveTo>
                  <a:cubicBezTo>
                    <a:pt x="7193" y="1880"/>
                    <a:pt x="7185" y="1898"/>
                    <a:pt x="7185" y="1898"/>
                  </a:cubicBezTo>
                  <a:cubicBezTo>
                    <a:pt x="7185" y="1898"/>
                    <a:pt x="7156" y="1911"/>
                    <a:pt x="7159" y="1925"/>
                  </a:cubicBezTo>
                  <a:cubicBezTo>
                    <a:pt x="7162" y="1939"/>
                    <a:pt x="7169" y="1945"/>
                    <a:pt x="7169" y="1945"/>
                  </a:cubicBezTo>
                  <a:cubicBezTo>
                    <a:pt x="7169" y="1945"/>
                    <a:pt x="7160" y="1956"/>
                    <a:pt x="7168" y="1963"/>
                  </a:cubicBezTo>
                  <a:cubicBezTo>
                    <a:pt x="7176" y="1970"/>
                    <a:pt x="7185" y="1971"/>
                    <a:pt x="7185" y="1971"/>
                  </a:cubicBezTo>
                  <a:cubicBezTo>
                    <a:pt x="7185" y="1971"/>
                    <a:pt x="7195" y="1964"/>
                    <a:pt x="7195" y="1953"/>
                  </a:cubicBezTo>
                  <a:cubicBezTo>
                    <a:pt x="7195" y="1942"/>
                    <a:pt x="7194" y="1939"/>
                    <a:pt x="7194" y="1939"/>
                  </a:cubicBezTo>
                  <a:cubicBezTo>
                    <a:pt x="7202" y="1935"/>
                    <a:pt x="7202" y="1935"/>
                    <a:pt x="7202" y="1935"/>
                  </a:cubicBezTo>
                  <a:cubicBezTo>
                    <a:pt x="7200" y="1904"/>
                    <a:pt x="7200" y="1904"/>
                    <a:pt x="7200" y="1904"/>
                  </a:cubicBezTo>
                  <a:cubicBezTo>
                    <a:pt x="7195" y="1902"/>
                    <a:pt x="7195" y="1902"/>
                    <a:pt x="7195" y="1902"/>
                  </a:cubicBezTo>
                  <a:cubicBezTo>
                    <a:pt x="7195" y="1902"/>
                    <a:pt x="7201" y="1894"/>
                    <a:pt x="7197" y="1887"/>
                  </a:cubicBezTo>
                  <a:close/>
                  <a:moveTo>
                    <a:pt x="6899" y="2070"/>
                  </a:moveTo>
                  <a:cubicBezTo>
                    <a:pt x="6899" y="2070"/>
                    <a:pt x="6903" y="2079"/>
                    <a:pt x="6907" y="2080"/>
                  </a:cubicBezTo>
                  <a:cubicBezTo>
                    <a:pt x="6911" y="2081"/>
                    <a:pt x="6919" y="2081"/>
                    <a:pt x="6919" y="2081"/>
                  </a:cubicBezTo>
                  <a:cubicBezTo>
                    <a:pt x="6925" y="2079"/>
                    <a:pt x="6935" y="2069"/>
                    <a:pt x="6934" y="2062"/>
                  </a:cubicBezTo>
                  <a:cubicBezTo>
                    <a:pt x="6933" y="2055"/>
                    <a:pt x="6924" y="2056"/>
                    <a:pt x="6924" y="2056"/>
                  </a:cubicBezTo>
                  <a:cubicBezTo>
                    <a:pt x="6924" y="2056"/>
                    <a:pt x="6921" y="2049"/>
                    <a:pt x="6915" y="2049"/>
                  </a:cubicBezTo>
                  <a:cubicBezTo>
                    <a:pt x="6909" y="2049"/>
                    <a:pt x="6886" y="2062"/>
                    <a:pt x="6889" y="2067"/>
                  </a:cubicBezTo>
                  <a:cubicBezTo>
                    <a:pt x="6892" y="2072"/>
                    <a:pt x="6899" y="2070"/>
                    <a:pt x="6899" y="2070"/>
                  </a:cubicBezTo>
                  <a:close/>
                  <a:moveTo>
                    <a:pt x="7457" y="2158"/>
                  </a:moveTo>
                  <a:cubicBezTo>
                    <a:pt x="7463" y="2153"/>
                    <a:pt x="7457" y="2136"/>
                    <a:pt x="7457" y="2136"/>
                  </a:cubicBezTo>
                  <a:cubicBezTo>
                    <a:pt x="7452" y="2146"/>
                    <a:pt x="7452" y="2146"/>
                    <a:pt x="7452" y="2146"/>
                  </a:cubicBezTo>
                  <a:cubicBezTo>
                    <a:pt x="7452" y="2146"/>
                    <a:pt x="7439" y="2139"/>
                    <a:pt x="7432" y="2141"/>
                  </a:cubicBezTo>
                  <a:cubicBezTo>
                    <a:pt x="7425" y="2143"/>
                    <a:pt x="7415" y="2150"/>
                    <a:pt x="7415" y="2150"/>
                  </a:cubicBezTo>
                  <a:cubicBezTo>
                    <a:pt x="7415" y="2150"/>
                    <a:pt x="7396" y="2153"/>
                    <a:pt x="7388" y="2153"/>
                  </a:cubicBezTo>
                  <a:cubicBezTo>
                    <a:pt x="7380" y="2153"/>
                    <a:pt x="7366" y="2137"/>
                    <a:pt x="7363" y="2140"/>
                  </a:cubicBezTo>
                  <a:cubicBezTo>
                    <a:pt x="7360" y="2143"/>
                    <a:pt x="7352" y="2152"/>
                    <a:pt x="7352" y="2152"/>
                  </a:cubicBezTo>
                  <a:cubicBezTo>
                    <a:pt x="7339" y="2144"/>
                    <a:pt x="7339" y="2144"/>
                    <a:pt x="7339" y="2144"/>
                  </a:cubicBezTo>
                  <a:cubicBezTo>
                    <a:pt x="7339" y="2144"/>
                    <a:pt x="7319" y="2149"/>
                    <a:pt x="7327" y="2161"/>
                  </a:cubicBezTo>
                  <a:cubicBezTo>
                    <a:pt x="7338" y="2177"/>
                    <a:pt x="7350" y="2172"/>
                    <a:pt x="7355" y="2174"/>
                  </a:cubicBezTo>
                  <a:cubicBezTo>
                    <a:pt x="7360" y="2176"/>
                    <a:pt x="7365" y="2184"/>
                    <a:pt x="7367" y="2188"/>
                  </a:cubicBezTo>
                  <a:cubicBezTo>
                    <a:pt x="7369" y="2192"/>
                    <a:pt x="7391" y="2202"/>
                    <a:pt x="7391" y="2202"/>
                  </a:cubicBezTo>
                  <a:cubicBezTo>
                    <a:pt x="7404" y="2198"/>
                    <a:pt x="7404" y="2198"/>
                    <a:pt x="7404" y="2198"/>
                  </a:cubicBezTo>
                  <a:cubicBezTo>
                    <a:pt x="7404" y="2198"/>
                    <a:pt x="7418" y="2219"/>
                    <a:pt x="7437" y="2220"/>
                  </a:cubicBezTo>
                  <a:cubicBezTo>
                    <a:pt x="7456" y="2221"/>
                    <a:pt x="7451" y="2204"/>
                    <a:pt x="7451" y="2204"/>
                  </a:cubicBezTo>
                  <a:cubicBezTo>
                    <a:pt x="7451" y="2204"/>
                    <a:pt x="7446" y="2187"/>
                    <a:pt x="7446" y="2180"/>
                  </a:cubicBezTo>
                  <a:cubicBezTo>
                    <a:pt x="7446" y="2173"/>
                    <a:pt x="7451" y="2163"/>
                    <a:pt x="7457" y="2158"/>
                  </a:cubicBezTo>
                  <a:close/>
                  <a:moveTo>
                    <a:pt x="7142" y="1987"/>
                  </a:moveTo>
                  <a:cubicBezTo>
                    <a:pt x="7138" y="1998"/>
                    <a:pt x="7138" y="1998"/>
                    <a:pt x="7138" y="1998"/>
                  </a:cubicBezTo>
                  <a:cubicBezTo>
                    <a:pt x="7138" y="1998"/>
                    <a:pt x="7153" y="2011"/>
                    <a:pt x="7153" y="2021"/>
                  </a:cubicBezTo>
                  <a:cubicBezTo>
                    <a:pt x="7153" y="2031"/>
                    <a:pt x="7149" y="2048"/>
                    <a:pt x="7149" y="2048"/>
                  </a:cubicBezTo>
                  <a:cubicBezTo>
                    <a:pt x="7155" y="2055"/>
                    <a:pt x="7155" y="2055"/>
                    <a:pt x="7155" y="2055"/>
                  </a:cubicBezTo>
                  <a:cubicBezTo>
                    <a:pt x="7147" y="2060"/>
                    <a:pt x="7147" y="2060"/>
                    <a:pt x="7147" y="2060"/>
                  </a:cubicBezTo>
                  <a:cubicBezTo>
                    <a:pt x="7152" y="2091"/>
                    <a:pt x="7152" y="2091"/>
                    <a:pt x="7152" y="2091"/>
                  </a:cubicBezTo>
                  <a:cubicBezTo>
                    <a:pt x="7143" y="2091"/>
                    <a:pt x="7143" y="2091"/>
                    <a:pt x="7143" y="2091"/>
                  </a:cubicBezTo>
                  <a:cubicBezTo>
                    <a:pt x="7156" y="2102"/>
                    <a:pt x="7156" y="2102"/>
                    <a:pt x="7156" y="2102"/>
                  </a:cubicBezTo>
                  <a:cubicBezTo>
                    <a:pt x="7172" y="2102"/>
                    <a:pt x="7177" y="2081"/>
                    <a:pt x="7177" y="2081"/>
                  </a:cubicBezTo>
                  <a:cubicBezTo>
                    <a:pt x="7177" y="2081"/>
                    <a:pt x="7189" y="2097"/>
                    <a:pt x="7198" y="2090"/>
                  </a:cubicBezTo>
                  <a:cubicBezTo>
                    <a:pt x="7207" y="2083"/>
                    <a:pt x="7203" y="2065"/>
                    <a:pt x="7203" y="2065"/>
                  </a:cubicBezTo>
                  <a:cubicBezTo>
                    <a:pt x="7207" y="2055"/>
                    <a:pt x="7207" y="2055"/>
                    <a:pt x="7207" y="2055"/>
                  </a:cubicBezTo>
                  <a:cubicBezTo>
                    <a:pt x="7207" y="2038"/>
                    <a:pt x="7207" y="2038"/>
                    <a:pt x="7207" y="2038"/>
                  </a:cubicBezTo>
                  <a:cubicBezTo>
                    <a:pt x="7207" y="2038"/>
                    <a:pt x="7201" y="2036"/>
                    <a:pt x="7202" y="2031"/>
                  </a:cubicBezTo>
                  <a:cubicBezTo>
                    <a:pt x="7203" y="2026"/>
                    <a:pt x="7214" y="2026"/>
                    <a:pt x="7214" y="2019"/>
                  </a:cubicBezTo>
                  <a:cubicBezTo>
                    <a:pt x="7214" y="2012"/>
                    <a:pt x="7205" y="1980"/>
                    <a:pt x="7193" y="1979"/>
                  </a:cubicBezTo>
                  <a:cubicBezTo>
                    <a:pt x="7181" y="1978"/>
                    <a:pt x="7169" y="1999"/>
                    <a:pt x="7161" y="1999"/>
                  </a:cubicBezTo>
                  <a:cubicBezTo>
                    <a:pt x="7153" y="1999"/>
                    <a:pt x="7142" y="1987"/>
                    <a:pt x="7142" y="1987"/>
                  </a:cubicBezTo>
                  <a:close/>
                  <a:moveTo>
                    <a:pt x="4261" y="639"/>
                  </a:moveTo>
                  <a:cubicBezTo>
                    <a:pt x="4303" y="637"/>
                    <a:pt x="4303" y="637"/>
                    <a:pt x="4303" y="637"/>
                  </a:cubicBezTo>
                  <a:cubicBezTo>
                    <a:pt x="4303" y="626"/>
                    <a:pt x="4303" y="626"/>
                    <a:pt x="4303" y="626"/>
                  </a:cubicBezTo>
                  <a:cubicBezTo>
                    <a:pt x="4273" y="628"/>
                    <a:pt x="4273" y="628"/>
                    <a:pt x="4273" y="628"/>
                  </a:cubicBezTo>
                  <a:lnTo>
                    <a:pt x="4261" y="639"/>
                  </a:lnTo>
                  <a:close/>
                  <a:moveTo>
                    <a:pt x="4261" y="595"/>
                  </a:moveTo>
                  <a:cubicBezTo>
                    <a:pt x="4234" y="589"/>
                    <a:pt x="4261" y="607"/>
                    <a:pt x="4261" y="607"/>
                  </a:cubicBezTo>
                  <a:cubicBezTo>
                    <a:pt x="4277" y="605"/>
                    <a:pt x="4289" y="601"/>
                    <a:pt x="4261" y="595"/>
                  </a:cubicBezTo>
                  <a:close/>
                  <a:moveTo>
                    <a:pt x="3805" y="403"/>
                  </a:moveTo>
                  <a:cubicBezTo>
                    <a:pt x="3830" y="396"/>
                    <a:pt x="3847" y="416"/>
                    <a:pt x="3847" y="416"/>
                  </a:cubicBezTo>
                  <a:cubicBezTo>
                    <a:pt x="3885" y="411"/>
                    <a:pt x="3885" y="411"/>
                    <a:pt x="3885" y="411"/>
                  </a:cubicBezTo>
                  <a:cubicBezTo>
                    <a:pt x="3880" y="396"/>
                    <a:pt x="3880" y="396"/>
                    <a:pt x="3880" y="396"/>
                  </a:cubicBezTo>
                  <a:cubicBezTo>
                    <a:pt x="3880" y="396"/>
                    <a:pt x="3929" y="394"/>
                    <a:pt x="3939" y="382"/>
                  </a:cubicBezTo>
                  <a:cubicBezTo>
                    <a:pt x="3949" y="371"/>
                    <a:pt x="3966" y="360"/>
                    <a:pt x="3953" y="360"/>
                  </a:cubicBezTo>
                  <a:cubicBezTo>
                    <a:pt x="3939" y="359"/>
                    <a:pt x="3862" y="350"/>
                    <a:pt x="3821" y="352"/>
                  </a:cubicBezTo>
                  <a:cubicBezTo>
                    <a:pt x="3782" y="353"/>
                    <a:pt x="3793" y="352"/>
                    <a:pt x="3792" y="360"/>
                  </a:cubicBezTo>
                  <a:cubicBezTo>
                    <a:pt x="3790" y="369"/>
                    <a:pt x="3776" y="372"/>
                    <a:pt x="3742" y="380"/>
                  </a:cubicBezTo>
                  <a:cubicBezTo>
                    <a:pt x="3709" y="387"/>
                    <a:pt x="3741" y="388"/>
                    <a:pt x="3739" y="410"/>
                  </a:cubicBezTo>
                  <a:cubicBezTo>
                    <a:pt x="3727" y="427"/>
                    <a:pt x="3727" y="427"/>
                    <a:pt x="3727" y="427"/>
                  </a:cubicBezTo>
                  <a:cubicBezTo>
                    <a:pt x="3747" y="439"/>
                    <a:pt x="3747" y="439"/>
                    <a:pt x="3747" y="439"/>
                  </a:cubicBezTo>
                  <a:cubicBezTo>
                    <a:pt x="3800" y="417"/>
                    <a:pt x="3800" y="417"/>
                    <a:pt x="3800" y="417"/>
                  </a:cubicBezTo>
                  <a:cubicBezTo>
                    <a:pt x="3800" y="417"/>
                    <a:pt x="3781" y="410"/>
                    <a:pt x="3805" y="403"/>
                  </a:cubicBezTo>
                  <a:close/>
                  <a:moveTo>
                    <a:pt x="4156" y="573"/>
                  </a:moveTo>
                  <a:cubicBezTo>
                    <a:pt x="4140" y="578"/>
                    <a:pt x="4115" y="589"/>
                    <a:pt x="4139" y="584"/>
                  </a:cubicBezTo>
                  <a:cubicBezTo>
                    <a:pt x="4162" y="579"/>
                    <a:pt x="4182" y="571"/>
                    <a:pt x="4182" y="571"/>
                  </a:cubicBezTo>
                  <a:cubicBezTo>
                    <a:pt x="4206" y="553"/>
                    <a:pt x="4172" y="568"/>
                    <a:pt x="4156" y="573"/>
                  </a:cubicBezTo>
                  <a:close/>
                  <a:moveTo>
                    <a:pt x="3888" y="337"/>
                  </a:moveTo>
                  <a:cubicBezTo>
                    <a:pt x="3899" y="330"/>
                    <a:pt x="3924" y="311"/>
                    <a:pt x="3920" y="303"/>
                  </a:cubicBezTo>
                  <a:cubicBezTo>
                    <a:pt x="3916" y="294"/>
                    <a:pt x="3882" y="296"/>
                    <a:pt x="3871" y="297"/>
                  </a:cubicBezTo>
                  <a:cubicBezTo>
                    <a:pt x="3848" y="299"/>
                    <a:pt x="3804" y="314"/>
                    <a:pt x="3816" y="322"/>
                  </a:cubicBezTo>
                  <a:cubicBezTo>
                    <a:pt x="3828" y="329"/>
                    <a:pt x="3888" y="337"/>
                    <a:pt x="3888" y="337"/>
                  </a:cubicBezTo>
                  <a:close/>
                  <a:moveTo>
                    <a:pt x="4229" y="562"/>
                  </a:moveTo>
                  <a:cubicBezTo>
                    <a:pt x="4215" y="556"/>
                    <a:pt x="4204" y="575"/>
                    <a:pt x="4217" y="579"/>
                  </a:cubicBezTo>
                  <a:cubicBezTo>
                    <a:pt x="4217" y="579"/>
                    <a:pt x="4243" y="568"/>
                    <a:pt x="4229" y="562"/>
                  </a:cubicBezTo>
                  <a:close/>
                  <a:moveTo>
                    <a:pt x="4037" y="845"/>
                  </a:moveTo>
                  <a:cubicBezTo>
                    <a:pt x="4047" y="835"/>
                    <a:pt x="4022" y="831"/>
                    <a:pt x="4022" y="831"/>
                  </a:cubicBezTo>
                  <a:cubicBezTo>
                    <a:pt x="4022" y="831"/>
                    <a:pt x="4022" y="860"/>
                    <a:pt x="4037" y="845"/>
                  </a:cubicBezTo>
                  <a:close/>
                  <a:moveTo>
                    <a:pt x="4169" y="657"/>
                  </a:moveTo>
                  <a:cubicBezTo>
                    <a:pt x="4204" y="663"/>
                    <a:pt x="4214" y="656"/>
                    <a:pt x="4229" y="646"/>
                  </a:cubicBezTo>
                  <a:cubicBezTo>
                    <a:pt x="4245" y="637"/>
                    <a:pt x="4241" y="621"/>
                    <a:pt x="4227" y="617"/>
                  </a:cubicBezTo>
                  <a:cubicBezTo>
                    <a:pt x="4213" y="614"/>
                    <a:pt x="4180" y="623"/>
                    <a:pt x="4180" y="623"/>
                  </a:cubicBezTo>
                  <a:cubicBezTo>
                    <a:pt x="4142" y="647"/>
                    <a:pt x="4134" y="652"/>
                    <a:pt x="4169" y="657"/>
                  </a:cubicBezTo>
                  <a:close/>
                  <a:moveTo>
                    <a:pt x="219" y="1307"/>
                  </a:moveTo>
                  <a:cubicBezTo>
                    <a:pt x="221" y="1293"/>
                    <a:pt x="221" y="1293"/>
                    <a:pt x="221" y="1293"/>
                  </a:cubicBezTo>
                  <a:cubicBezTo>
                    <a:pt x="184" y="1308"/>
                    <a:pt x="184" y="1308"/>
                    <a:pt x="184" y="1308"/>
                  </a:cubicBezTo>
                  <a:lnTo>
                    <a:pt x="219" y="1307"/>
                  </a:lnTo>
                  <a:close/>
                  <a:moveTo>
                    <a:pt x="0" y="1365"/>
                  </a:moveTo>
                  <a:cubicBezTo>
                    <a:pt x="41" y="1359"/>
                    <a:pt x="41" y="1359"/>
                    <a:pt x="41" y="1359"/>
                  </a:cubicBezTo>
                  <a:cubicBezTo>
                    <a:pt x="49" y="1348"/>
                    <a:pt x="49" y="1348"/>
                    <a:pt x="49" y="1348"/>
                  </a:cubicBezTo>
                  <a:cubicBezTo>
                    <a:pt x="90" y="1342"/>
                    <a:pt x="90" y="1342"/>
                    <a:pt x="90" y="1342"/>
                  </a:cubicBezTo>
                  <a:cubicBezTo>
                    <a:pt x="76" y="1328"/>
                    <a:pt x="76" y="1328"/>
                    <a:pt x="76" y="1328"/>
                  </a:cubicBezTo>
                  <a:lnTo>
                    <a:pt x="0" y="1365"/>
                  </a:lnTo>
                  <a:close/>
                  <a:moveTo>
                    <a:pt x="525" y="1021"/>
                  </a:moveTo>
                  <a:cubicBezTo>
                    <a:pt x="547" y="1019"/>
                    <a:pt x="594" y="998"/>
                    <a:pt x="578" y="994"/>
                  </a:cubicBezTo>
                  <a:cubicBezTo>
                    <a:pt x="561" y="989"/>
                    <a:pt x="539" y="986"/>
                    <a:pt x="533" y="992"/>
                  </a:cubicBezTo>
                  <a:cubicBezTo>
                    <a:pt x="527" y="998"/>
                    <a:pt x="514" y="985"/>
                    <a:pt x="510" y="996"/>
                  </a:cubicBezTo>
                  <a:cubicBezTo>
                    <a:pt x="507" y="1007"/>
                    <a:pt x="513" y="1022"/>
                    <a:pt x="525" y="1021"/>
                  </a:cubicBezTo>
                  <a:close/>
                  <a:moveTo>
                    <a:pt x="107" y="1339"/>
                  </a:moveTo>
                  <a:cubicBezTo>
                    <a:pt x="135" y="1338"/>
                    <a:pt x="135" y="1338"/>
                    <a:pt x="135" y="1338"/>
                  </a:cubicBezTo>
                  <a:cubicBezTo>
                    <a:pt x="161" y="1319"/>
                    <a:pt x="161" y="1319"/>
                    <a:pt x="161" y="1319"/>
                  </a:cubicBezTo>
                  <a:cubicBezTo>
                    <a:pt x="152" y="1308"/>
                    <a:pt x="152" y="1308"/>
                    <a:pt x="152" y="1308"/>
                  </a:cubicBezTo>
                  <a:lnTo>
                    <a:pt x="107" y="1339"/>
                  </a:lnTo>
                  <a:close/>
                  <a:moveTo>
                    <a:pt x="331" y="1256"/>
                  </a:moveTo>
                  <a:cubicBezTo>
                    <a:pt x="319" y="1256"/>
                    <a:pt x="290" y="1267"/>
                    <a:pt x="290" y="1267"/>
                  </a:cubicBezTo>
                  <a:cubicBezTo>
                    <a:pt x="290" y="1267"/>
                    <a:pt x="253" y="1281"/>
                    <a:pt x="254" y="1288"/>
                  </a:cubicBezTo>
                  <a:cubicBezTo>
                    <a:pt x="256" y="1297"/>
                    <a:pt x="270" y="1291"/>
                    <a:pt x="289" y="1285"/>
                  </a:cubicBezTo>
                  <a:cubicBezTo>
                    <a:pt x="308" y="1278"/>
                    <a:pt x="328" y="1288"/>
                    <a:pt x="335" y="1282"/>
                  </a:cubicBezTo>
                  <a:cubicBezTo>
                    <a:pt x="342" y="1276"/>
                    <a:pt x="344" y="1256"/>
                    <a:pt x="331" y="1256"/>
                  </a:cubicBezTo>
                  <a:close/>
                  <a:moveTo>
                    <a:pt x="908" y="1114"/>
                  </a:moveTo>
                  <a:cubicBezTo>
                    <a:pt x="905" y="1115"/>
                    <a:pt x="892" y="1120"/>
                    <a:pt x="892" y="1120"/>
                  </a:cubicBezTo>
                  <a:cubicBezTo>
                    <a:pt x="892" y="1120"/>
                    <a:pt x="884" y="1113"/>
                    <a:pt x="879" y="1114"/>
                  </a:cubicBezTo>
                  <a:cubicBezTo>
                    <a:pt x="874" y="1115"/>
                    <a:pt x="875" y="1130"/>
                    <a:pt x="875" y="1130"/>
                  </a:cubicBezTo>
                  <a:cubicBezTo>
                    <a:pt x="859" y="1142"/>
                    <a:pt x="859" y="1142"/>
                    <a:pt x="859" y="1142"/>
                  </a:cubicBezTo>
                  <a:cubicBezTo>
                    <a:pt x="859" y="1125"/>
                    <a:pt x="859" y="1125"/>
                    <a:pt x="859" y="1125"/>
                  </a:cubicBezTo>
                  <a:cubicBezTo>
                    <a:pt x="859" y="1125"/>
                    <a:pt x="845" y="1120"/>
                    <a:pt x="831" y="1133"/>
                  </a:cubicBezTo>
                  <a:cubicBezTo>
                    <a:pt x="831" y="1133"/>
                    <a:pt x="814" y="1144"/>
                    <a:pt x="811" y="1151"/>
                  </a:cubicBezTo>
                  <a:cubicBezTo>
                    <a:pt x="809" y="1159"/>
                    <a:pt x="831" y="1160"/>
                    <a:pt x="831" y="1160"/>
                  </a:cubicBezTo>
                  <a:cubicBezTo>
                    <a:pt x="831" y="1160"/>
                    <a:pt x="861" y="1160"/>
                    <a:pt x="872" y="1155"/>
                  </a:cubicBezTo>
                  <a:cubicBezTo>
                    <a:pt x="884" y="1150"/>
                    <a:pt x="881" y="1143"/>
                    <a:pt x="881" y="1143"/>
                  </a:cubicBezTo>
                  <a:cubicBezTo>
                    <a:pt x="899" y="1140"/>
                    <a:pt x="899" y="1140"/>
                    <a:pt x="899" y="1140"/>
                  </a:cubicBezTo>
                  <a:cubicBezTo>
                    <a:pt x="900" y="1134"/>
                    <a:pt x="900" y="1134"/>
                    <a:pt x="900" y="1134"/>
                  </a:cubicBezTo>
                  <a:cubicBezTo>
                    <a:pt x="925" y="1133"/>
                    <a:pt x="925" y="1133"/>
                    <a:pt x="925" y="1133"/>
                  </a:cubicBezTo>
                  <a:cubicBezTo>
                    <a:pt x="931" y="1117"/>
                    <a:pt x="931" y="1117"/>
                    <a:pt x="931" y="1117"/>
                  </a:cubicBezTo>
                  <a:cubicBezTo>
                    <a:pt x="920" y="1119"/>
                    <a:pt x="920" y="1119"/>
                    <a:pt x="920" y="1119"/>
                  </a:cubicBezTo>
                  <a:cubicBezTo>
                    <a:pt x="920" y="1119"/>
                    <a:pt x="912" y="1113"/>
                    <a:pt x="908" y="1114"/>
                  </a:cubicBezTo>
                  <a:close/>
                  <a:moveTo>
                    <a:pt x="3018" y="262"/>
                  </a:moveTo>
                  <a:cubicBezTo>
                    <a:pt x="3018" y="262"/>
                    <a:pt x="3056" y="255"/>
                    <a:pt x="3065" y="261"/>
                  </a:cubicBezTo>
                  <a:cubicBezTo>
                    <a:pt x="3075" y="267"/>
                    <a:pt x="3069" y="277"/>
                    <a:pt x="3081" y="277"/>
                  </a:cubicBezTo>
                  <a:cubicBezTo>
                    <a:pt x="3094" y="277"/>
                    <a:pt x="3116" y="272"/>
                    <a:pt x="3116" y="272"/>
                  </a:cubicBezTo>
                  <a:cubicBezTo>
                    <a:pt x="3116" y="272"/>
                    <a:pt x="3132" y="281"/>
                    <a:pt x="3147" y="274"/>
                  </a:cubicBezTo>
                  <a:cubicBezTo>
                    <a:pt x="3163" y="268"/>
                    <a:pt x="3160" y="251"/>
                    <a:pt x="3160" y="251"/>
                  </a:cubicBezTo>
                  <a:cubicBezTo>
                    <a:pt x="3182" y="251"/>
                    <a:pt x="3182" y="251"/>
                    <a:pt x="3182" y="251"/>
                  </a:cubicBezTo>
                  <a:cubicBezTo>
                    <a:pt x="3226" y="237"/>
                    <a:pt x="3226" y="237"/>
                    <a:pt x="3226" y="237"/>
                  </a:cubicBezTo>
                  <a:cubicBezTo>
                    <a:pt x="3201" y="260"/>
                    <a:pt x="3201" y="260"/>
                    <a:pt x="3201" y="260"/>
                  </a:cubicBezTo>
                  <a:cubicBezTo>
                    <a:pt x="3236" y="266"/>
                    <a:pt x="3236" y="266"/>
                    <a:pt x="3236" y="266"/>
                  </a:cubicBezTo>
                  <a:cubicBezTo>
                    <a:pt x="3273" y="251"/>
                    <a:pt x="3273" y="251"/>
                    <a:pt x="3273" y="251"/>
                  </a:cubicBezTo>
                  <a:cubicBezTo>
                    <a:pt x="3336" y="222"/>
                    <a:pt x="3336" y="222"/>
                    <a:pt x="3336" y="222"/>
                  </a:cubicBezTo>
                  <a:cubicBezTo>
                    <a:pt x="3336" y="222"/>
                    <a:pt x="3288" y="207"/>
                    <a:pt x="3279" y="207"/>
                  </a:cubicBezTo>
                  <a:cubicBezTo>
                    <a:pt x="3269" y="207"/>
                    <a:pt x="3216" y="203"/>
                    <a:pt x="3216" y="203"/>
                  </a:cubicBezTo>
                  <a:cubicBezTo>
                    <a:pt x="3165" y="211"/>
                    <a:pt x="3165" y="211"/>
                    <a:pt x="3165" y="211"/>
                  </a:cubicBezTo>
                  <a:cubicBezTo>
                    <a:pt x="3162" y="225"/>
                    <a:pt x="3162" y="225"/>
                    <a:pt x="3162" y="225"/>
                  </a:cubicBezTo>
                  <a:cubicBezTo>
                    <a:pt x="3084" y="231"/>
                    <a:pt x="3084" y="231"/>
                    <a:pt x="3084" y="231"/>
                  </a:cubicBezTo>
                  <a:cubicBezTo>
                    <a:pt x="3084" y="231"/>
                    <a:pt x="3058" y="222"/>
                    <a:pt x="3036" y="226"/>
                  </a:cubicBezTo>
                  <a:cubicBezTo>
                    <a:pt x="3014" y="229"/>
                    <a:pt x="3017" y="237"/>
                    <a:pt x="3017" y="237"/>
                  </a:cubicBezTo>
                  <a:cubicBezTo>
                    <a:pt x="3017" y="242"/>
                    <a:pt x="3018" y="262"/>
                    <a:pt x="3018" y="262"/>
                  </a:cubicBezTo>
                  <a:close/>
                  <a:moveTo>
                    <a:pt x="3472" y="227"/>
                  </a:moveTo>
                  <a:cubicBezTo>
                    <a:pt x="3534" y="231"/>
                    <a:pt x="3529" y="212"/>
                    <a:pt x="3529" y="212"/>
                  </a:cubicBezTo>
                  <a:cubicBezTo>
                    <a:pt x="3525" y="202"/>
                    <a:pt x="3525" y="202"/>
                    <a:pt x="3525" y="202"/>
                  </a:cubicBezTo>
                  <a:cubicBezTo>
                    <a:pt x="3571" y="197"/>
                    <a:pt x="3571" y="197"/>
                    <a:pt x="3571" y="197"/>
                  </a:cubicBezTo>
                  <a:cubicBezTo>
                    <a:pt x="3560" y="189"/>
                    <a:pt x="3560" y="189"/>
                    <a:pt x="3560" y="189"/>
                  </a:cubicBezTo>
                  <a:cubicBezTo>
                    <a:pt x="3515" y="191"/>
                    <a:pt x="3515" y="191"/>
                    <a:pt x="3515" y="191"/>
                  </a:cubicBezTo>
                  <a:cubicBezTo>
                    <a:pt x="3507" y="199"/>
                    <a:pt x="3507" y="199"/>
                    <a:pt x="3507" y="199"/>
                  </a:cubicBezTo>
                  <a:cubicBezTo>
                    <a:pt x="3507" y="199"/>
                    <a:pt x="3448" y="186"/>
                    <a:pt x="3441" y="202"/>
                  </a:cubicBezTo>
                  <a:cubicBezTo>
                    <a:pt x="3435" y="218"/>
                    <a:pt x="3472" y="227"/>
                    <a:pt x="3472" y="227"/>
                  </a:cubicBezTo>
                  <a:close/>
                  <a:moveTo>
                    <a:pt x="3267" y="270"/>
                  </a:moveTo>
                  <a:cubicBezTo>
                    <a:pt x="3231" y="288"/>
                    <a:pt x="3231" y="288"/>
                    <a:pt x="3231" y="288"/>
                  </a:cubicBezTo>
                  <a:cubicBezTo>
                    <a:pt x="3231" y="288"/>
                    <a:pt x="3266" y="294"/>
                    <a:pt x="3250" y="297"/>
                  </a:cubicBezTo>
                  <a:cubicBezTo>
                    <a:pt x="3234" y="301"/>
                    <a:pt x="3176" y="305"/>
                    <a:pt x="3176" y="305"/>
                  </a:cubicBezTo>
                  <a:cubicBezTo>
                    <a:pt x="3162" y="321"/>
                    <a:pt x="3162" y="321"/>
                    <a:pt x="3162" y="321"/>
                  </a:cubicBezTo>
                  <a:cubicBezTo>
                    <a:pt x="3199" y="316"/>
                    <a:pt x="3199" y="316"/>
                    <a:pt x="3199" y="316"/>
                  </a:cubicBezTo>
                  <a:cubicBezTo>
                    <a:pt x="3199" y="316"/>
                    <a:pt x="3214" y="321"/>
                    <a:pt x="3233" y="324"/>
                  </a:cubicBezTo>
                  <a:cubicBezTo>
                    <a:pt x="3252" y="327"/>
                    <a:pt x="3308" y="308"/>
                    <a:pt x="3308" y="308"/>
                  </a:cubicBezTo>
                  <a:cubicBezTo>
                    <a:pt x="3306" y="317"/>
                    <a:pt x="3306" y="317"/>
                    <a:pt x="3306" y="317"/>
                  </a:cubicBezTo>
                  <a:cubicBezTo>
                    <a:pt x="3306" y="317"/>
                    <a:pt x="3344" y="312"/>
                    <a:pt x="3374" y="310"/>
                  </a:cubicBezTo>
                  <a:cubicBezTo>
                    <a:pt x="3402" y="308"/>
                    <a:pt x="3377" y="315"/>
                    <a:pt x="3367" y="317"/>
                  </a:cubicBezTo>
                  <a:cubicBezTo>
                    <a:pt x="3357" y="318"/>
                    <a:pt x="3323" y="322"/>
                    <a:pt x="3298" y="325"/>
                  </a:cubicBezTo>
                  <a:cubicBezTo>
                    <a:pt x="3273" y="328"/>
                    <a:pt x="3242" y="339"/>
                    <a:pt x="3242" y="339"/>
                  </a:cubicBezTo>
                  <a:cubicBezTo>
                    <a:pt x="3242" y="339"/>
                    <a:pt x="3270" y="344"/>
                    <a:pt x="3320" y="346"/>
                  </a:cubicBezTo>
                  <a:cubicBezTo>
                    <a:pt x="3368" y="347"/>
                    <a:pt x="3402" y="326"/>
                    <a:pt x="3402" y="326"/>
                  </a:cubicBezTo>
                  <a:cubicBezTo>
                    <a:pt x="3452" y="313"/>
                    <a:pt x="3452" y="313"/>
                    <a:pt x="3452" y="313"/>
                  </a:cubicBezTo>
                  <a:cubicBezTo>
                    <a:pt x="3452" y="313"/>
                    <a:pt x="3469" y="319"/>
                    <a:pt x="3517" y="313"/>
                  </a:cubicBezTo>
                  <a:cubicBezTo>
                    <a:pt x="3563" y="307"/>
                    <a:pt x="3566" y="297"/>
                    <a:pt x="3585" y="292"/>
                  </a:cubicBezTo>
                  <a:cubicBezTo>
                    <a:pt x="3603" y="287"/>
                    <a:pt x="3588" y="267"/>
                    <a:pt x="3568" y="267"/>
                  </a:cubicBezTo>
                  <a:cubicBezTo>
                    <a:pt x="3548" y="268"/>
                    <a:pt x="3554" y="281"/>
                    <a:pt x="3554" y="281"/>
                  </a:cubicBezTo>
                  <a:cubicBezTo>
                    <a:pt x="3527" y="280"/>
                    <a:pt x="3527" y="280"/>
                    <a:pt x="3527" y="280"/>
                  </a:cubicBezTo>
                  <a:cubicBezTo>
                    <a:pt x="3527" y="280"/>
                    <a:pt x="3532" y="273"/>
                    <a:pt x="3537" y="265"/>
                  </a:cubicBezTo>
                  <a:cubicBezTo>
                    <a:pt x="3542" y="257"/>
                    <a:pt x="3555" y="242"/>
                    <a:pt x="3543" y="242"/>
                  </a:cubicBezTo>
                  <a:cubicBezTo>
                    <a:pt x="3531" y="241"/>
                    <a:pt x="3506" y="252"/>
                    <a:pt x="3473" y="262"/>
                  </a:cubicBezTo>
                  <a:cubicBezTo>
                    <a:pt x="3439" y="272"/>
                    <a:pt x="3494" y="269"/>
                    <a:pt x="3494" y="269"/>
                  </a:cubicBezTo>
                  <a:cubicBezTo>
                    <a:pt x="3491" y="285"/>
                    <a:pt x="3491" y="285"/>
                    <a:pt x="3491" y="285"/>
                  </a:cubicBezTo>
                  <a:cubicBezTo>
                    <a:pt x="3411" y="295"/>
                    <a:pt x="3411" y="295"/>
                    <a:pt x="3411" y="295"/>
                  </a:cubicBezTo>
                  <a:cubicBezTo>
                    <a:pt x="3411" y="295"/>
                    <a:pt x="3405" y="275"/>
                    <a:pt x="3410" y="266"/>
                  </a:cubicBezTo>
                  <a:cubicBezTo>
                    <a:pt x="3414" y="257"/>
                    <a:pt x="3357" y="253"/>
                    <a:pt x="3357" y="253"/>
                  </a:cubicBezTo>
                  <a:lnTo>
                    <a:pt x="3267" y="270"/>
                  </a:lnTo>
                  <a:close/>
                  <a:moveTo>
                    <a:pt x="2745" y="467"/>
                  </a:moveTo>
                  <a:cubicBezTo>
                    <a:pt x="2750" y="479"/>
                    <a:pt x="2720" y="495"/>
                    <a:pt x="2748" y="491"/>
                  </a:cubicBezTo>
                  <a:cubicBezTo>
                    <a:pt x="2776" y="487"/>
                    <a:pt x="2810" y="475"/>
                    <a:pt x="2810" y="475"/>
                  </a:cubicBezTo>
                  <a:cubicBezTo>
                    <a:pt x="2836" y="481"/>
                    <a:pt x="2836" y="481"/>
                    <a:pt x="2836" y="481"/>
                  </a:cubicBezTo>
                  <a:cubicBezTo>
                    <a:pt x="2887" y="443"/>
                    <a:pt x="2887" y="443"/>
                    <a:pt x="2887" y="443"/>
                  </a:cubicBezTo>
                  <a:cubicBezTo>
                    <a:pt x="2975" y="415"/>
                    <a:pt x="2975" y="415"/>
                    <a:pt x="2975" y="415"/>
                  </a:cubicBezTo>
                  <a:cubicBezTo>
                    <a:pt x="3058" y="392"/>
                    <a:pt x="3058" y="392"/>
                    <a:pt x="3058" y="392"/>
                  </a:cubicBezTo>
                  <a:cubicBezTo>
                    <a:pt x="3124" y="379"/>
                    <a:pt x="3124" y="379"/>
                    <a:pt x="3124" y="379"/>
                  </a:cubicBezTo>
                  <a:cubicBezTo>
                    <a:pt x="3124" y="379"/>
                    <a:pt x="3085" y="347"/>
                    <a:pt x="3082" y="343"/>
                  </a:cubicBezTo>
                  <a:cubicBezTo>
                    <a:pt x="3078" y="340"/>
                    <a:pt x="3031" y="346"/>
                    <a:pt x="3031" y="346"/>
                  </a:cubicBezTo>
                  <a:cubicBezTo>
                    <a:pt x="2987" y="352"/>
                    <a:pt x="2987" y="352"/>
                    <a:pt x="2987" y="352"/>
                  </a:cubicBezTo>
                  <a:cubicBezTo>
                    <a:pt x="2963" y="334"/>
                    <a:pt x="2963" y="334"/>
                    <a:pt x="2963" y="334"/>
                  </a:cubicBezTo>
                  <a:cubicBezTo>
                    <a:pt x="2909" y="341"/>
                    <a:pt x="2909" y="341"/>
                    <a:pt x="2909" y="341"/>
                  </a:cubicBezTo>
                  <a:cubicBezTo>
                    <a:pt x="2875" y="351"/>
                    <a:pt x="2875" y="351"/>
                    <a:pt x="2875" y="351"/>
                  </a:cubicBezTo>
                  <a:cubicBezTo>
                    <a:pt x="2865" y="364"/>
                    <a:pt x="2865" y="364"/>
                    <a:pt x="2865" y="364"/>
                  </a:cubicBezTo>
                  <a:cubicBezTo>
                    <a:pt x="2854" y="384"/>
                    <a:pt x="2854" y="384"/>
                    <a:pt x="2854" y="384"/>
                  </a:cubicBezTo>
                  <a:cubicBezTo>
                    <a:pt x="2822" y="393"/>
                    <a:pt x="2822" y="393"/>
                    <a:pt x="2822" y="393"/>
                  </a:cubicBezTo>
                  <a:cubicBezTo>
                    <a:pt x="2776" y="406"/>
                    <a:pt x="2776" y="406"/>
                    <a:pt x="2776" y="406"/>
                  </a:cubicBezTo>
                  <a:cubicBezTo>
                    <a:pt x="2789" y="414"/>
                    <a:pt x="2789" y="414"/>
                    <a:pt x="2789" y="414"/>
                  </a:cubicBezTo>
                  <a:cubicBezTo>
                    <a:pt x="2709" y="450"/>
                    <a:pt x="2709" y="450"/>
                    <a:pt x="2709" y="450"/>
                  </a:cubicBezTo>
                  <a:cubicBezTo>
                    <a:pt x="2709" y="450"/>
                    <a:pt x="2741" y="455"/>
                    <a:pt x="2745" y="467"/>
                  </a:cubicBezTo>
                  <a:close/>
                  <a:moveTo>
                    <a:pt x="3369" y="243"/>
                  </a:moveTo>
                  <a:cubicBezTo>
                    <a:pt x="3387" y="228"/>
                    <a:pt x="3368" y="219"/>
                    <a:pt x="3350" y="229"/>
                  </a:cubicBezTo>
                  <a:cubicBezTo>
                    <a:pt x="3331" y="239"/>
                    <a:pt x="3369" y="243"/>
                    <a:pt x="3369" y="243"/>
                  </a:cubicBezTo>
                  <a:close/>
                  <a:moveTo>
                    <a:pt x="3556" y="183"/>
                  </a:moveTo>
                  <a:cubicBezTo>
                    <a:pt x="3566" y="182"/>
                    <a:pt x="3595" y="190"/>
                    <a:pt x="3597" y="182"/>
                  </a:cubicBezTo>
                  <a:cubicBezTo>
                    <a:pt x="3599" y="173"/>
                    <a:pt x="3589" y="167"/>
                    <a:pt x="3573" y="167"/>
                  </a:cubicBezTo>
                  <a:cubicBezTo>
                    <a:pt x="3556" y="167"/>
                    <a:pt x="3491" y="178"/>
                    <a:pt x="3491" y="178"/>
                  </a:cubicBezTo>
                  <a:cubicBezTo>
                    <a:pt x="3491" y="178"/>
                    <a:pt x="3547" y="184"/>
                    <a:pt x="3556" y="183"/>
                  </a:cubicBezTo>
                  <a:close/>
                  <a:moveTo>
                    <a:pt x="4268" y="416"/>
                  </a:moveTo>
                  <a:cubicBezTo>
                    <a:pt x="4284" y="422"/>
                    <a:pt x="4306" y="408"/>
                    <a:pt x="4306" y="408"/>
                  </a:cubicBezTo>
                  <a:cubicBezTo>
                    <a:pt x="4347" y="407"/>
                    <a:pt x="4347" y="407"/>
                    <a:pt x="4347" y="407"/>
                  </a:cubicBezTo>
                  <a:cubicBezTo>
                    <a:pt x="4347" y="407"/>
                    <a:pt x="4373" y="417"/>
                    <a:pt x="4381" y="411"/>
                  </a:cubicBezTo>
                  <a:cubicBezTo>
                    <a:pt x="4388" y="406"/>
                    <a:pt x="4382" y="383"/>
                    <a:pt x="4365" y="379"/>
                  </a:cubicBezTo>
                  <a:cubicBezTo>
                    <a:pt x="4347" y="375"/>
                    <a:pt x="4331" y="380"/>
                    <a:pt x="4331" y="380"/>
                  </a:cubicBezTo>
                  <a:cubicBezTo>
                    <a:pt x="4305" y="380"/>
                    <a:pt x="4305" y="380"/>
                    <a:pt x="4305" y="380"/>
                  </a:cubicBezTo>
                  <a:cubicBezTo>
                    <a:pt x="4305" y="380"/>
                    <a:pt x="4275" y="368"/>
                    <a:pt x="4264" y="377"/>
                  </a:cubicBezTo>
                  <a:cubicBezTo>
                    <a:pt x="4254" y="385"/>
                    <a:pt x="4250" y="391"/>
                    <a:pt x="4250" y="391"/>
                  </a:cubicBezTo>
                  <a:cubicBezTo>
                    <a:pt x="4263" y="398"/>
                    <a:pt x="4263" y="398"/>
                    <a:pt x="4263" y="398"/>
                  </a:cubicBezTo>
                  <a:cubicBezTo>
                    <a:pt x="4263" y="398"/>
                    <a:pt x="4254" y="410"/>
                    <a:pt x="4268" y="416"/>
                  </a:cubicBezTo>
                  <a:close/>
                  <a:moveTo>
                    <a:pt x="4008" y="114"/>
                  </a:moveTo>
                  <a:cubicBezTo>
                    <a:pt x="3971" y="118"/>
                    <a:pt x="3971" y="118"/>
                    <a:pt x="3971" y="118"/>
                  </a:cubicBezTo>
                  <a:cubicBezTo>
                    <a:pt x="3985" y="136"/>
                    <a:pt x="3985" y="136"/>
                    <a:pt x="3985" y="136"/>
                  </a:cubicBezTo>
                  <a:lnTo>
                    <a:pt x="4008" y="114"/>
                  </a:lnTo>
                  <a:close/>
                  <a:moveTo>
                    <a:pt x="3411" y="512"/>
                  </a:moveTo>
                  <a:cubicBezTo>
                    <a:pt x="3409" y="506"/>
                    <a:pt x="3344" y="507"/>
                    <a:pt x="3344" y="507"/>
                  </a:cubicBezTo>
                  <a:cubicBezTo>
                    <a:pt x="3397" y="479"/>
                    <a:pt x="3397" y="479"/>
                    <a:pt x="3397" y="479"/>
                  </a:cubicBezTo>
                  <a:cubicBezTo>
                    <a:pt x="3397" y="479"/>
                    <a:pt x="3429" y="405"/>
                    <a:pt x="3400" y="396"/>
                  </a:cubicBezTo>
                  <a:cubicBezTo>
                    <a:pt x="3373" y="388"/>
                    <a:pt x="3334" y="406"/>
                    <a:pt x="3334" y="406"/>
                  </a:cubicBezTo>
                  <a:cubicBezTo>
                    <a:pt x="3334" y="406"/>
                    <a:pt x="3308" y="460"/>
                    <a:pt x="3284" y="463"/>
                  </a:cubicBezTo>
                  <a:cubicBezTo>
                    <a:pt x="3260" y="466"/>
                    <a:pt x="3300" y="426"/>
                    <a:pt x="3298" y="416"/>
                  </a:cubicBezTo>
                  <a:cubicBezTo>
                    <a:pt x="3296" y="406"/>
                    <a:pt x="3232" y="405"/>
                    <a:pt x="3232" y="405"/>
                  </a:cubicBezTo>
                  <a:cubicBezTo>
                    <a:pt x="3226" y="418"/>
                    <a:pt x="3226" y="418"/>
                    <a:pt x="3226" y="418"/>
                  </a:cubicBezTo>
                  <a:cubicBezTo>
                    <a:pt x="3226" y="418"/>
                    <a:pt x="3190" y="433"/>
                    <a:pt x="3153" y="436"/>
                  </a:cubicBezTo>
                  <a:cubicBezTo>
                    <a:pt x="3117" y="438"/>
                    <a:pt x="3169" y="425"/>
                    <a:pt x="3205" y="413"/>
                  </a:cubicBezTo>
                  <a:cubicBezTo>
                    <a:pt x="3243" y="401"/>
                    <a:pt x="3186" y="399"/>
                    <a:pt x="3186" y="399"/>
                  </a:cubicBezTo>
                  <a:cubicBezTo>
                    <a:pt x="3146" y="411"/>
                    <a:pt x="3146" y="411"/>
                    <a:pt x="3146" y="411"/>
                  </a:cubicBezTo>
                  <a:cubicBezTo>
                    <a:pt x="3118" y="414"/>
                    <a:pt x="3118" y="414"/>
                    <a:pt x="3118" y="414"/>
                  </a:cubicBezTo>
                  <a:cubicBezTo>
                    <a:pt x="3118" y="414"/>
                    <a:pt x="3133" y="404"/>
                    <a:pt x="3149" y="393"/>
                  </a:cubicBezTo>
                  <a:cubicBezTo>
                    <a:pt x="3164" y="382"/>
                    <a:pt x="3145" y="384"/>
                    <a:pt x="3145" y="384"/>
                  </a:cubicBezTo>
                  <a:cubicBezTo>
                    <a:pt x="3046" y="415"/>
                    <a:pt x="3046" y="415"/>
                    <a:pt x="3046" y="415"/>
                  </a:cubicBezTo>
                  <a:cubicBezTo>
                    <a:pt x="3032" y="416"/>
                    <a:pt x="3032" y="416"/>
                    <a:pt x="3032" y="416"/>
                  </a:cubicBezTo>
                  <a:cubicBezTo>
                    <a:pt x="2976" y="433"/>
                    <a:pt x="2976" y="433"/>
                    <a:pt x="2976" y="433"/>
                  </a:cubicBezTo>
                  <a:cubicBezTo>
                    <a:pt x="2978" y="441"/>
                    <a:pt x="2978" y="441"/>
                    <a:pt x="2978" y="441"/>
                  </a:cubicBezTo>
                  <a:cubicBezTo>
                    <a:pt x="2938" y="456"/>
                    <a:pt x="2938" y="456"/>
                    <a:pt x="2938" y="456"/>
                  </a:cubicBezTo>
                  <a:cubicBezTo>
                    <a:pt x="2929" y="466"/>
                    <a:pt x="2929" y="466"/>
                    <a:pt x="2929" y="466"/>
                  </a:cubicBezTo>
                  <a:cubicBezTo>
                    <a:pt x="2947" y="474"/>
                    <a:pt x="2947" y="474"/>
                    <a:pt x="2947" y="474"/>
                  </a:cubicBezTo>
                  <a:cubicBezTo>
                    <a:pt x="2947" y="474"/>
                    <a:pt x="2969" y="459"/>
                    <a:pt x="2974" y="471"/>
                  </a:cubicBezTo>
                  <a:cubicBezTo>
                    <a:pt x="2979" y="483"/>
                    <a:pt x="2933" y="477"/>
                    <a:pt x="2922" y="496"/>
                  </a:cubicBezTo>
                  <a:cubicBezTo>
                    <a:pt x="2910" y="516"/>
                    <a:pt x="3069" y="497"/>
                    <a:pt x="3047" y="515"/>
                  </a:cubicBezTo>
                  <a:cubicBezTo>
                    <a:pt x="3026" y="532"/>
                    <a:pt x="2899" y="521"/>
                    <a:pt x="2888" y="538"/>
                  </a:cubicBezTo>
                  <a:cubicBezTo>
                    <a:pt x="2877" y="555"/>
                    <a:pt x="2909" y="553"/>
                    <a:pt x="2932" y="565"/>
                  </a:cubicBezTo>
                  <a:cubicBezTo>
                    <a:pt x="2955" y="577"/>
                    <a:pt x="2920" y="570"/>
                    <a:pt x="2916" y="587"/>
                  </a:cubicBezTo>
                  <a:cubicBezTo>
                    <a:pt x="2912" y="603"/>
                    <a:pt x="3015" y="595"/>
                    <a:pt x="3015" y="595"/>
                  </a:cubicBezTo>
                  <a:cubicBezTo>
                    <a:pt x="3015" y="595"/>
                    <a:pt x="3184" y="579"/>
                    <a:pt x="3223" y="567"/>
                  </a:cubicBezTo>
                  <a:cubicBezTo>
                    <a:pt x="3250" y="558"/>
                    <a:pt x="3301" y="596"/>
                    <a:pt x="3333" y="599"/>
                  </a:cubicBezTo>
                  <a:cubicBezTo>
                    <a:pt x="3366" y="601"/>
                    <a:pt x="3377" y="564"/>
                    <a:pt x="3377" y="564"/>
                  </a:cubicBezTo>
                  <a:cubicBezTo>
                    <a:pt x="3325" y="563"/>
                    <a:pt x="3325" y="563"/>
                    <a:pt x="3325" y="563"/>
                  </a:cubicBezTo>
                  <a:cubicBezTo>
                    <a:pt x="3347" y="546"/>
                    <a:pt x="3347" y="546"/>
                    <a:pt x="3347" y="546"/>
                  </a:cubicBezTo>
                  <a:cubicBezTo>
                    <a:pt x="3347" y="546"/>
                    <a:pt x="3379" y="552"/>
                    <a:pt x="3411" y="545"/>
                  </a:cubicBezTo>
                  <a:cubicBezTo>
                    <a:pt x="3444" y="538"/>
                    <a:pt x="3413" y="519"/>
                    <a:pt x="3411" y="512"/>
                  </a:cubicBezTo>
                  <a:close/>
                  <a:moveTo>
                    <a:pt x="3970" y="239"/>
                  </a:moveTo>
                  <a:cubicBezTo>
                    <a:pt x="3966" y="239"/>
                    <a:pt x="3958" y="235"/>
                    <a:pt x="3958" y="235"/>
                  </a:cubicBezTo>
                  <a:cubicBezTo>
                    <a:pt x="3958" y="235"/>
                    <a:pt x="3898" y="235"/>
                    <a:pt x="3898" y="243"/>
                  </a:cubicBezTo>
                  <a:cubicBezTo>
                    <a:pt x="3898" y="252"/>
                    <a:pt x="3917" y="254"/>
                    <a:pt x="3917" y="254"/>
                  </a:cubicBezTo>
                  <a:cubicBezTo>
                    <a:pt x="3918" y="266"/>
                    <a:pt x="3918" y="266"/>
                    <a:pt x="3918" y="266"/>
                  </a:cubicBezTo>
                  <a:cubicBezTo>
                    <a:pt x="3918" y="266"/>
                    <a:pt x="3968" y="271"/>
                    <a:pt x="3972" y="269"/>
                  </a:cubicBezTo>
                  <a:cubicBezTo>
                    <a:pt x="3976" y="267"/>
                    <a:pt x="3988" y="268"/>
                    <a:pt x="3994" y="268"/>
                  </a:cubicBezTo>
                  <a:cubicBezTo>
                    <a:pt x="3992" y="276"/>
                    <a:pt x="3990" y="287"/>
                    <a:pt x="3990" y="287"/>
                  </a:cubicBezTo>
                  <a:cubicBezTo>
                    <a:pt x="3953" y="314"/>
                    <a:pt x="3953" y="314"/>
                    <a:pt x="3953" y="314"/>
                  </a:cubicBezTo>
                  <a:cubicBezTo>
                    <a:pt x="3967" y="320"/>
                    <a:pt x="3967" y="320"/>
                    <a:pt x="3967" y="320"/>
                  </a:cubicBezTo>
                  <a:cubicBezTo>
                    <a:pt x="3967" y="320"/>
                    <a:pt x="3943" y="335"/>
                    <a:pt x="3955" y="335"/>
                  </a:cubicBezTo>
                  <a:cubicBezTo>
                    <a:pt x="3967" y="335"/>
                    <a:pt x="3985" y="325"/>
                    <a:pt x="3985" y="325"/>
                  </a:cubicBezTo>
                  <a:cubicBezTo>
                    <a:pt x="3985" y="325"/>
                    <a:pt x="3976" y="338"/>
                    <a:pt x="3995" y="337"/>
                  </a:cubicBezTo>
                  <a:cubicBezTo>
                    <a:pt x="4014" y="336"/>
                    <a:pt x="4050" y="324"/>
                    <a:pt x="4050" y="324"/>
                  </a:cubicBezTo>
                  <a:cubicBezTo>
                    <a:pt x="4051" y="338"/>
                    <a:pt x="4051" y="338"/>
                    <a:pt x="4051" y="338"/>
                  </a:cubicBezTo>
                  <a:cubicBezTo>
                    <a:pt x="4096" y="335"/>
                    <a:pt x="4096" y="335"/>
                    <a:pt x="4096" y="335"/>
                  </a:cubicBezTo>
                  <a:cubicBezTo>
                    <a:pt x="4149" y="345"/>
                    <a:pt x="4149" y="345"/>
                    <a:pt x="4149" y="345"/>
                  </a:cubicBezTo>
                  <a:cubicBezTo>
                    <a:pt x="4213" y="340"/>
                    <a:pt x="4213" y="340"/>
                    <a:pt x="4213" y="340"/>
                  </a:cubicBezTo>
                  <a:cubicBezTo>
                    <a:pt x="4231" y="325"/>
                    <a:pt x="4231" y="325"/>
                    <a:pt x="4231" y="325"/>
                  </a:cubicBezTo>
                  <a:cubicBezTo>
                    <a:pt x="4231" y="325"/>
                    <a:pt x="4220" y="339"/>
                    <a:pt x="4233" y="340"/>
                  </a:cubicBezTo>
                  <a:cubicBezTo>
                    <a:pt x="4246" y="341"/>
                    <a:pt x="4321" y="339"/>
                    <a:pt x="4321" y="339"/>
                  </a:cubicBezTo>
                  <a:cubicBezTo>
                    <a:pt x="4328" y="325"/>
                    <a:pt x="4328" y="325"/>
                    <a:pt x="4328" y="325"/>
                  </a:cubicBezTo>
                  <a:cubicBezTo>
                    <a:pt x="4372" y="307"/>
                    <a:pt x="4372" y="307"/>
                    <a:pt x="4372" y="307"/>
                  </a:cubicBezTo>
                  <a:cubicBezTo>
                    <a:pt x="4361" y="303"/>
                    <a:pt x="4361" y="303"/>
                    <a:pt x="4361" y="303"/>
                  </a:cubicBezTo>
                  <a:cubicBezTo>
                    <a:pt x="4361" y="294"/>
                    <a:pt x="4361" y="294"/>
                    <a:pt x="4361" y="294"/>
                  </a:cubicBezTo>
                  <a:cubicBezTo>
                    <a:pt x="4361" y="294"/>
                    <a:pt x="4316" y="283"/>
                    <a:pt x="4300" y="283"/>
                  </a:cubicBezTo>
                  <a:cubicBezTo>
                    <a:pt x="4284" y="283"/>
                    <a:pt x="4163" y="307"/>
                    <a:pt x="4163" y="307"/>
                  </a:cubicBezTo>
                  <a:cubicBezTo>
                    <a:pt x="4163" y="307"/>
                    <a:pt x="4148" y="296"/>
                    <a:pt x="4140" y="295"/>
                  </a:cubicBezTo>
                  <a:cubicBezTo>
                    <a:pt x="4133" y="294"/>
                    <a:pt x="4103" y="307"/>
                    <a:pt x="4103" y="307"/>
                  </a:cubicBezTo>
                  <a:cubicBezTo>
                    <a:pt x="4090" y="293"/>
                    <a:pt x="4090" y="293"/>
                    <a:pt x="4090" y="293"/>
                  </a:cubicBezTo>
                  <a:cubicBezTo>
                    <a:pt x="4078" y="299"/>
                    <a:pt x="4078" y="299"/>
                    <a:pt x="4078" y="299"/>
                  </a:cubicBezTo>
                  <a:cubicBezTo>
                    <a:pt x="4056" y="295"/>
                    <a:pt x="4056" y="295"/>
                    <a:pt x="4056" y="295"/>
                  </a:cubicBezTo>
                  <a:cubicBezTo>
                    <a:pt x="4078" y="287"/>
                    <a:pt x="4078" y="287"/>
                    <a:pt x="4078" y="287"/>
                  </a:cubicBezTo>
                  <a:cubicBezTo>
                    <a:pt x="4065" y="281"/>
                    <a:pt x="4065" y="281"/>
                    <a:pt x="4065" y="281"/>
                  </a:cubicBezTo>
                  <a:cubicBezTo>
                    <a:pt x="4028" y="285"/>
                    <a:pt x="4028" y="285"/>
                    <a:pt x="4028" y="285"/>
                  </a:cubicBezTo>
                  <a:cubicBezTo>
                    <a:pt x="4052" y="278"/>
                    <a:pt x="4052" y="278"/>
                    <a:pt x="4052" y="278"/>
                  </a:cubicBezTo>
                  <a:cubicBezTo>
                    <a:pt x="4051" y="273"/>
                    <a:pt x="4051" y="273"/>
                    <a:pt x="4051" y="273"/>
                  </a:cubicBezTo>
                  <a:cubicBezTo>
                    <a:pt x="4097" y="272"/>
                    <a:pt x="4097" y="272"/>
                    <a:pt x="4097" y="272"/>
                  </a:cubicBezTo>
                  <a:cubicBezTo>
                    <a:pt x="4074" y="264"/>
                    <a:pt x="4074" y="264"/>
                    <a:pt x="4074" y="264"/>
                  </a:cubicBezTo>
                  <a:cubicBezTo>
                    <a:pt x="4058" y="264"/>
                    <a:pt x="4058" y="264"/>
                    <a:pt x="4058" y="264"/>
                  </a:cubicBezTo>
                  <a:cubicBezTo>
                    <a:pt x="4058" y="264"/>
                    <a:pt x="4070" y="254"/>
                    <a:pt x="4060" y="253"/>
                  </a:cubicBezTo>
                  <a:cubicBezTo>
                    <a:pt x="4052" y="252"/>
                    <a:pt x="4021" y="254"/>
                    <a:pt x="4005" y="257"/>
                  </a:cubicBezTo>
                  <a:cubicBezTo>
                    <a:pt x="4003" y="250"/>
                    <a:pt x="3974" y="239"/>
                    <a:pt x="3970" y="239"/>
                  </a:cubicBezTo>
                  <a:close/>
                  <a:moveTo>
                    <a:pt x="4116" y="136"/>
                  </a:moveTo>
                  <a:cubicBezTo>
                    <a:pt x="4080" y="144"/>
                    <a:pt x="4080" y="144"/>
                    <a:pt x="4080" y="144"/>
                  </a:cubicBezTo>
                  <a:cubicBezTo>
                    <a:pt x="4105" y="155"/>
                    <a:pt x="4105" y="155"/>
                    <a:pt x="4105" y="155"/>
                  </a:cubicBezTo>
                  <a:cubicBezTo>
                    <a:pt x="4105" y="155"/>
                    <a:pt x="4091" y="159"/>
                    <a:pt x="4093" y="169"/>
                  </a:cubicBezTo>
                  <a:cubicBezTo>
                    <a:pt x="4095" y="178"/>
                    <a:pt x="4122" y="175"/>
                    <a:pt x="4122" y="175"/>
                  </a:cubicBezTo>
                  <a:cubicBezTo>
                    <a:pt x="4109" y="184"/>
                    <a:pt x="4109" y="184"/>
                    <a:pt x="4109" y="184"/>
                  </a:cubicBezTo>
                  <a:cubicBezTo>
                    <a:pt x="4109" y="184"/>
                    <a:pt x="4127" y="188"/>
                    <a:pt x="4141" y="197"/>
                  </a:cubicBezTo>
                  <a:cubicBezTo>
                    <a:pt x="4155" y="205"/>
                    <a:pt x="4180" y="185"/>
                    <a:pt x="4180" y="185"/>
                  </a:cubicBezTo>
                  <a:cubicBezTo>
                    <a:pt x="4196" y="177"/>
                    <a:pt x="4196" y="177"/>
                    <a:pt x="4196" y="177"/>
                  </a:cubicBezTo>
                  <a:cubicBezTo>
                    <a:pt x="4196" y="177"/>
                    <a:pt x="4201" y="183"/>
                    <a:pt x="4207" y="194"/>
                  </a:cubicBezTo>
                  <a:cubicBezTo>
                    <a:pt x="4214" y="204"/>
                    <a:pt x="4238" y="186"/>
                    <a:pt x="4247" y="184"/>
                  </a:cubicBezTo>
                  <a:cubicBezTo>
                    <a:pt x="4256" y="182"/>
                    <a:pt x="4269" y="168"/>
                    <a:pt x="4269" y="168"/>
                  </a:cubicBezTo>
                  <a:cubicBezTo>
                    <a:pt x="4277" y="177"/>
                    <a:pt x="4277" y="177"/>
                    <a:pt x="4277" y="177"/>
                  </a:cubicBezTo>
                  <a:cubicBezTo>
                    <a:pt x="4277" y="177"/>
                    <a:pt x="4290" y="164"/>
                    <a:pt x="4292" y="159"/>
                  </a:cubicBezTo>
                  <a:cubicBezTo>
                    <a:pt x="4294" y="154"/>
                    <a:pt x="4347" y="156"/>
                    <a:pt x="4359" y="156"/>
                  </a:cubicBezTo>
                  <a:cubicBezTo>
                    <a:pt x="4371" y="156"/>
                    <a:pt x="4368" y="142"/>
                    <a:pt x="4368" y="142"/>
                  </a:cubicBezTo>
                  <a:cubicBezTo>
                    <a:pt x="4326" y="141"/>
                    <a:pt x="4326" y="141"/>
                    <a:pt x="4326" y="141"/>
                  </a:cubicBezTo>
                  <a:cubicBezTo>
                    <a:pt x="4346" y="130"/>
                    <a:pt x="4346" y="130"/>
                    <a:pt x="4346" y="130"/>
                  </a:cubicBezTo>
                  <a:cubicBezTo>
                    <a:pt x="4346" y="130"/>
                    <a:pt x="4354" y="110"/>
                    <a:pt x="4349" y="103"/>
                  </a:cubicBezTo>
                  <a:cubicBezTo>
                    <a:pt x="4345" y="97"/>
                    <a:pt x="4311" y="115"/>
                    <a:pt x="4311" y="115"/>
                  </a:cubicBezTo>
                  <a:cubicBezTo>
                    <a:pt x="4308" y="98"/>
                    <a:pt x="4308" y="98"/>
                    <a:pt x="4308" y="98"/>
                  </a:cubicBezTo>
                  <a:cubicBezTo>
                    <a:pt x="4276" y="104"/>
                    <a:pt x="4276" y="104"/>
                    <a:pt x="4276" y="104"/>
                  </a:cubicBezTo>
                  <a:cubicBezTo>
                    <a:pt x="4276" y="104"/>
                    <a:pt x="4273" y="84"/>
                    <a:pt x="4263" y="73"/>
                  </a:cubicBezTo>
                  <a:cubicBezTo>
                    <a:pt x="4254" y="62"/>
                    <a:pt x="4212" y="85"/>
                    <a:pt x="4212" y="85"/>
                  </a:cubicBezTo>
                  <a:cubicBezTo>
                    <a:pt x="4160" y="88"/>
                    <a:pt x="4160" y="88"/>
                    <a:pt x="4160" y="88"/>
                  </a:cubicBezTo>
                  <a:cubicBezTo>
                    <a:pt x="4177" y="101"/>
                    <a:pt x="4177" y="101"/>
                    <a:pt x="4177" y="101"/>
                  </a:cubicBezTo>
                  <a:cubicBezTo>
                    <a:pt x="4177" y="101"/>
                    <a:pt x="4140" y="98"/>
                    <a:pt x="4127" y="102"/>
                  </a:cubicBezTo>
                  <a:cubicBezTo>
                    <a:pt x="4115" y="106"/>
                    <a:pt x="4135" y="119"/>
                    <a:pt x="4135" y="119"/>
                  </a:cubicBezTo>
                  <a:cubicBezTo>
                    <a:pt x="4135" y="119"/>
                    <a:pt x="4078" y="113"/>
                    <a:pt x="4074" y="127"/>
                  </a:cubicBezTo>
                  <a:cubicBezTo>
                    <a:pt x="4069" y="141"/>
                    <a:pt x="4116" y="136"/>
                    <a:pt x="4116" y="136"/>
                  </a:cubicBezTo>
                  <a:close/>
                  <a:moveTo>
                    <a:pt x="4126" y="212"/>
                  </a:moveTo>
                  <a:cubicBezTo>
                    <a:pt x="4104" y="216"/>
                    <a:pt x="4104" y="226"/>
                    <a:pt x="4104" y="226"/>
                  </a:cubicBezTo>
                  <a:cubicBezTo>
                    <a:pt x="4122" y="229"/>
                    <a:pt x="4122" y="229"/>
                    <a:pt x="4122" y="229"/>
                  </a:cubicBezTo>
                  <a:cubicBezTo>
                    <a:pt x="4137" y="229"/>
                    <a:pt x="4149" y="208"/>
                    <a:pt x="4126" y="212"/>
                  </a:cubicBezTo>
                  <a:close/>
                  <a:moveTo>
                    <a:pt x="3959" y="205"/>
                  </a:moveTo>
                  <a:cubicBezTo>
                    <a:pt x="3969" y="208"/>
                    <a:pt x="3972" y="218"/>
                    <a:pt x="3972" y="218"/>
                  </a:cubicBezTo>
                  <a:cubicBezTo>
                    <a:pt x="3972" y="218"/>
                    <a:pt x="4014" y="215"/>
                    <a:pt x="4034" y="214"/>
                  </a:cubicBezTo>
                  <a:cubicBezTo>
                    <a:pt x="4053" y="213"/>
                    <a:pt x="4010" y="202"/>
                    <a:pt x="4010" y="202"/>
                  </a:cubicBezTo>
                  <a:cubicBezTo>
                    <a:pt x="4010" y="202"/>
                    <a:pt x="4019" y="192"/>
                    <a:pt x="4029" y="190"/>
                  </a:cubicBezTo>
                  <a:cubicBezTo>
                    <a:pt x="4040" y="188"/>
                    <a:pt x="4000" y="175"/>
                    <a:pt x="3970" y="169"/>
                  </a:cubicBezTo>
                  <a:cubicBezTo>
                    <a:pt x="3970" y="169"/>
                    <a:pt x="3946" y="173"/>
                    <a:pt x="3942" y="177"/>
                  </a:cubicBezTo>
                  <a:cubicBezTo>
                    <a:pt x="3938" y="182"/>
                    <a:pt x="3950" y="203"/>
                    <a:pt x="3959" y="205"/>
                  </a:cubicBezTo>
                  <a:close/>
                  <a:moveTo>
                    <a:pt x="3655" y="294"/>
                  </a:moveTo>
                  <a:cubicBezTo>
                    <a:pt x="3664" y="294"/>
                    <a:pt x="3708" y="301"/>
                    <a:pt x="3708" y="301"/>
                  </a:cubicBezTo>
                  <a:cubicBezTo>
                    <a:pt x="3708" y="301"/>
                    <a:pt x="3684" y="321"/>
                    <a:pt x="3699" y="321"/>
                  </a:cubicBezTo>
                  <a:cubicBezTo>
                    <a:pt x="3714" y="321"/>
                    <a:pt x="3752" y="321"/>
                    <a:pt x="3752" y="321"/>
                  </a:cubicBezTo>
                  <a:cubicBezTo>
                    <a:pt x="3766" y="321"/>
                    <a:pt x="3791" y="315"/>
                    <a:pt x="3787" y="307"/>
                  </a:cubicBezTo>
                  <a:cubicBezTo>
                    <a:pt x="3783" y="298"/>
                    <a:pt x="3823" y="295"/>
                    <a:pt x="3821" y="286"/>
                  </a:cubicBezTo>
                  <a:cubicBezTo>
                    <a:pt x="3820" y="278"/>
                    <a:pt x="3858" y="272"/>
                    <a:pt x="3844" y="260"/>
                  </a:cubicBezTo>
                  <a:cubicBezTo>
                    <a:pt x="3830" y="249"/>
                    <a:pt x="3811" y="257"/>
                    <a:pt x="3811" y="257"/>
                  </a:cubicBezTo>
                  <a:cubicBezTo>
                    <a:pt x="3811" y="257"/>
                    <a:pt x="3764" y="242"/>
                    <a:pt x="3761" y="251"/>
                  </a:cubicBezTo>
                  <a:cubicBezTo>
                    <a:pt x="3758" y="259"/>
                    <a:pt x="3758" y="280"/>
                    <a:pt x="3758" y="280"/>
                  </a:cubicBezTo>
                  <a:cubicBezTo>
                    <a:pt x="3758" y="280"/>
                    <a:pt x="3737" y="255"/>
                    <a:pt x="3726" y="264"/>
                  </a:cubicBezTo>
                  <a:cubicBezTo>
                    <a:pt x="3714" y="272"/>
                    <a:pt x="3704" y="296"/>
                    <a:pt x="3695" y="289"/>
                  </a:cubicBezTo>
                  <a:cubicBezTo>
                    <a:pt x="3687" y="283"/>
                    <a:pt x="3682" y="258"/>
                    <a:pt x="3673" y="256"/>
                  </a:cubicBezTo>
                  <a:cubicBezTo>
                    <a:pt x="3663" y="254"/>
                    <a:pt x="3637" y="256"/>
                    <a:pt x="3638" y="269"/>
                  </a:cubicBezTo>
                  <a:cubicBezTo>
                    <a:pt x="3639" y="282"/>
                    <a:pt x="3647" y="294"/>
                    <a:pt x="3655" y="294"/>
                  </a:cubicBezTo>
                  <a:close/>
                  <a:moveTo>
                    <a:pt x="3789" y="168"/>
                  </a:moveTo>
                  <a:cubicBezTo>
                    <a:pt x="3789" y="168"/>
                    <a:pt x="3771" y="185"/>
                    <a:pt x="3785" y="186"/>
                  </a:cubicBezTo>
                  <a:cubicBezTo>
                    <a:pt x="3799" y="187"/>
                    <a:pt x="3831" y="188"/>
                    <a:pt x="3831" y="188"/>
                  </a:cubicBezTo>
                  <a:cubicBezTo>
                    <a:pt x="3831" y="188"/>
                    <a:pt x="3845" y="204"/>
                    <a:pt x="3862" y="204"/>
                  </a:cubicBezTo>
                  <a:cubicBezTo>
                    <a:pt x="3880" y="204"/>
                    <a:pt x="3893" y="190"/>
                    <a:pt x="3893" y="190"/>
                  </a:cubicBezTo>
                  <a:cubicBezTo>
                    <a:pt x="3884" y="182"/>
                    <a:pt x="3884" y="182"/>
                    <a:pt x="3884" y="182"/>
                  </a:cubicBezTo>
                  <a:cubicBezTo>
                    <a:pt x="3905" y="178"/>
                    <a:pt x="3905" y="178"/>
                    <a:pt x="3905" y="178"/>
                  </a:cubicBezTo>
                  <a:cubicBezTo>
                    <a:pt x="3875" y="156"/>
                    <a:pt x="3875" y="156"/>
                    <a:pt x="3875" y="156"/>
                  </a:cubicBezTo>
                  <a:cubicBezTo>
                    <a:pt x="3847" y="160"/>
                    <a:pt x="3847" y="160"/>
                    <a:pt x="3847" y="160"/>
                  </a:cubicBezTo>
                  <a:cubicBezTo>
                    <a:pt x="3837" y="145"/>
                    <a:pt x="3837" y="145"/>
                    <a:pt x="3837" y="145"/>
                  </a:cubicBezTo>
                  <a:cubicBezTo>
                    <a:pt x="3818" y="145"/>
                    <a:pt x="3818" y="145"/>
                    <a:pt x="3818" y="145"/>
                  </a:cubicBezTo>
                  <a:cubicBezTo>
                    <a:pt x="3796" y="145"/>
                    <a:pt x="3761" y="145"/>
                    <a:pt x="3760" y="157"/>
                  </a:cubicBezTo>
                  <a:cubicBezTo>
                    <a:pt x="3759" y="169"/>
                    <a:pt x="3789" y="168"/>
                    <a:pt x="3789" y="168"/>
                  </a:cubicBezTo>
                  <a:close/>
                  <a:moveTo>
                    <a:pt x="3670" y="352"/>
                  </a:moveTo>
                  <a:cubicBezTo>
                    <a:pt x="3670" y="352"/>
                    <a:pt x="3609" y="354"/>
                    <a:pt x="3575" y="365"/>
                  </a:cubicBezTo>
                  <a:cubicBezTo>
                    <a:pt x="3542" y="376"/>
                    <a:pt x="3594" y="385"/>
                    <a:pt x="3583" y="398"/>
                  </a:cubicBezTo>
                  <a:cubicBezTo>
                    <a:pt x="3572" y="412"/>
                    <a:pt x="3550" y="377"/>
                    <a:pt x="3512" y="393"/>
                  </a:cubicBezTo>
                  <a:cubicBezTo>
                    <a:pt x="3524" y="418"/>
                    <a:pt x="3524" y="418"/>
                    <a:pt x="3524" y="418"/>
                  </a:cubicBezTo>
                  <a:cubicBezTo>
                    <a:pt x="3524" y="418"/>
                    <a:pt x="3530" y="428"/>
                    <a:pt x="3547" y="431"/>
                  </a:cubicBezTo>
                  <a:cubicBezTo>
                    <a:pt x="3565" y="434"/>
                    <a:pt x="3564" y="469"/>
                    <a:pt x="3564" y="469"/>
                  </a:cubicBezTo>
                  <a:cubicBezTo>
                    <a:pt x="3564" y="469"/>
                    <a:pt x="3634" y="460"/>
                    <a:pt x="3656" y="455"/>
                  </a:cubicBezTo>
                  <a:cubicBezTo>
                    <a:pt x="3678" y="449"/>
                    <a:pt x="3678" y="408"/>
                    <a:pt x="3678" y="408"/>
                  </a:cubicBezTo>
                  <a:cubicBezTo>
                    <a:pt x="3634" y="398"/>
                    <a:pt x="3634" y="398"/>
                    <a:pt x="3634" y="398"/>
                  </a:cubicBezTo>
                  <a:cubicBezTo>
                    <a:pt x="3634" y="398"/>
                    <a:pt x="3687" y="380"/>
                    <a:pt x="3714" y="371"/>
                  </a:cubicBezTo>
                  <a:cubicBezTo>
                    <a:pt x="3740" y="361"/>
                    <a:pt x="3670" y="352"/>
                    <a:pt x="3670" y="352"/>
                  </a:cubicBezTo>
                  <a:close/>
                  <a:moveTo>
                    <a:pt x="3665" y="237"/>
                  </a:moveTo>
                  <a:cubicBezTo>
                    <a:pt x="3683" y="234"/>
                    <a:pt x="3684" y="206"/>
                    <a:pt x="3669" y="206"/>
                  </a:cubicBezTo>
                  <a:cubicBezTo>
                    <a:pt x="3655" y="206"/>
                    <a:pt x="3648" y="239"/>
                    <a:pt x="3665" y="237"/>
                  </a:cubicBezTo>
                  <a:close/>
                  <a:moveTo>
                    <a:pt x="953" y="1088"/>
                  </a:moveTo>
                  <a:cubicBezTo>
                    <a:pt x="940" y="1097"/>
                    <a:pt x="916" y="1102"/>
                    <a:pt x="923" y="1109"/>
                  </a:cubicBezTo>
                  <a:cubicBezTo>
                    <a:pt x="934" y="1120"/>
                    <a:pt x="959" y="1108"/>
                    <a:pt x="959" y="1108"/>
                  </a:cubicBezTo>
                  <a:cubicBezTo>
                    <a:pt x="966" y="1099"/>
                    <a:pt x="966" y="1099"/>
                    <a:pt x="966" y="1099"/>
                  </a:cubicBezTo>
                  <a:cubicBezTo>
                    <a:pt x="966" y="1099"/>
                    <a:pt x="982" y="1103"/>
                    <a:pt x="979" y="1097"/>
                  </a:cubicBezTo>
                  <a:cubicBezTo>
                    <a:pt x="977" y="1091"/>
                    <a:pt x="967" y="1079"/>
                    <a:pt x="953" y="1088"/>
                  </a:cubicBezTo>
                  <a:close/>
                  <a:moveTo>
                    <a:pt x="3669" y="3211"/>
                  </a:moveTo>
                  <a:cubicBezTo>
                    <a:pt x="3661" y="3211"/>
                    <a:pt x="3638" y="3202"/>
                    <a:pt x="3624" y="3202"/>
                  </a:cubicBezTo>
                  <a:cubicBezTo>
                    <a:pt x="3609" y="3202"/>
                    <a:pt x="3611" y="3234"/>
                    <a:pt x="3611" y="3234"/>
                  </a:cubicBezTo>
                  <a:cubicBezTo>
                    <a:pt x="3636" y="3242"/>
                    <a:pt x="3636" y="3242"/>
                    <a:pt x="3636" y="3242"/>
                  </a:cubicBezTo>
                  <a:cubicBezTo>
                    <a:pt x="3642" y="3236"/>
                    <a:pt x="3642" y="3236"/>
                    <a:pt x="3642" y="3236"/>
                  </a:cubicBezTo>
                  <a:cubicBezTo>
                    <a:pt x="3642" y="3236"/>
                    <a:pt x="3657" y="3238"/>
                    <a:pt x="3673" y="3236"/>
                  </a:cubicBezTo>
                  <a:cubicBezTo>
                    <a:pt x="3690" y="3234"/>
                    <a:pt x="3706" y="3219"/>
                    <a:pt x="3704" y="3212"/>
                  </a:cubicBezTo>
                  <a:cubicBezTo>
                    <a:pt x="3702" y="3204"/>
                    <a:pt x="3677" y="3212"/>
                    <a:pt x="3669" y="3211"/>
                  </a:cubicBezTo>
                  <a:close/>
                  <a:moveTo>
                    <a:pt x="3547" y="3213"/>
                  </a:moveTo>
                  <a:cubicBezTo>
                    <a:pt x="3558" y="3207"/>
                    <a:pt x="3551" y="3192"/>
                    <a:pt x="3551" y="3192"/>
                  </a:cubicBezTo>
                  <a:cubicBezTo>
                    <a:pt x="3551" y="3192"/>
                    <a:pt x="3529" y="3173"/>
                    <a:pt x="3514" y="3167"/>
                  </a:cubicBezTo>
                  <a:cubicBezTo>
                    <a:pt x="3500" y="3162"/>
                    <a:pt x="3494" y="3160"/>
                    <a:pt x="3483" y="3156"/>
                  </a:cubicBezTo>
                  <a:cubicBezTo>
                    <a:pt x="3473" y="3152"/>
                    <a:pt x="3467" y="3133"/>
                    <a:pt x="3461" y="3129"/>
                  </a:cubicBezTo>
                  <a:cubicBezTo>
                    <a:pt x="3455" y="3126"/>
                    <a:pt x="3432" y="3124"/>
                    <a:pt x="3415" y="3124"/>
                  </a:cubicBezTo>
                  <a:cubicBezTo>
                    <a:pt x="3408" y="3124"/>
                    <a:pt x="3404" y="3126"/>
                    <a:pt x="3401" y="3128"/>
                  </a:cubicBezTo>
                  <a:cubicBezTo>
                    <a:pt x="3396" y="3131"/>
                    <a:pt x="3395" y="3135"/>
                    <a:pt x="3395" y="3135"/>
                  </a:cubicBezTo>
                  <a:cubicBezTo>
                    <a:pt x="3395" y="3135"/>
                    <a:pt x="3360" y="3123"/>
                    <a:pt x="3345" y="3123"/>
                  </a:cubicBezTo>
                  <a:cubicBezTo>
                    <a:pt x="3331" y="3123"/>
                    <a:pt x="3324" y="3125"/>
                    <a:pt x="3318" y="3133"/>
                  </a:cubicBezTo>
                  <a:cubicBezTo>
                    <a:pt x="3312" y="3140"/>
                    <a:pt x="3337" y="3140"/>
                    <a:pt x="3343" y="3140"/>
                  </a:cubicBezTo>
                  <a:cubicBezTo>
                    <a:pt x="3349" y="3140"/>
                    <a:pt x="3362" y="3154"/>
                    <a:pt x="3362" y="3154"/>
                  </a:cubicBezTo>
                  <a:cubicBezTo>
                    <a:pt x="3362" y="3154"/>
                    <a:pt x="3347" y="3157"/>
                    <a:pt x="3349" y="3172"/>
                  </a:cubicBezTo>
                  <a:cubicBezTo>
                    <a:pt x="3351" y="3188"/>
                    <a:pt x="3359" y="3193"/>
                    <a:pt x="3347" y="3193"/>
                  </a:cubicBezTo>
                  <a:cubicBezTo>
                    <a:pt x="3334" y="3193"/>
                    <a:pt x="3314" y="3186"/>
                    <a:pt x="3306" y="3187"/>
                  </a:cubicBezTo>
                  <a:cubicBezTo>
                    <a:pt x="3297" y="3189"/>
                    <a:pt x="3281" y="3185"/>
                    <a:pt x="3275" y="3195"/>
                  </a:cubicBezTo>
                  <a:cubicBezTo>
                    <a:pt x="3275" y="3195"/>
                    <a:pt x="3293" y="3221"/>
                    <a:pt x="3301" y="3225"/>
                  </a:cubicBezTo>
                  <a:cubicBezTo>
                    <a:pt x="3310" y="3229"/>
                    <a:pt x="3318" y="3210"/>
                    <a:pt x="3318" y="3210"/>
                  </a:cubicBezTo>
                  <a:cubicBezTo>
                    <a:pt x="3318" y="3210"/>
                    <a:pt x="3332" y="3212"/>
                    <a:pt x="3349" y="3212"/>
                  </a:cubicBezTo>
                  <a:cubicBezTo>
                    <a:pt x="3365" y="3212"/>
                    <a:pt x="3386" y="3208"/>
                    <a:pt x="3386" y="3208"/>
                  </a:cubicBezTo>
                  <a:cubicBezTo>
                    <a:pt x="3409" y="3235"/>
                    <a:pt x="3409" y="3235"/>
                    <a:pt x="3409" y="3235"/>
                  </a:cubicBezTo>
                  <a:cubicBezTo>
                    <a:pt x="3442" y="3211"/>
                    <a:pt x="3442" y="3211"/>
                    <a:pt x="3442" y="3211"/>
                  </a:cubicBezTo>
                  <a:cubicBezTo>
                    <a:pt x="3442" y="3211"/>
                    <a:pt x="3471" y="3211"/>
                    <a:pt x="3504" y="3213"/>
                  </a:cubicBezTo>
                  <a:cubicBezTo>
                    <a:pt x="3517" y="3214"/>
                    <a:pt x="3539" y="3217"/>
                    <a:pt x="3547" y="3213"/>
                  </a:cubicBezTo>
                  <a:close/>
                  <a:moveTo>
                    <a:pt x="3233" y="3121"/>
                  </a:moveTo>
                  <a:cubicBezTo>
                    <a:pt x="3263" y="3113"/>
                    <a:pt x="3300" y="3106"/>
                    <a:pt x="3300" y="3106"/>
                  </a:cubicBezTo>
                  <a:cubicBezTo>
                    <a:pt x="3300" y="3106"/>
                    <a:pt x="3300" y="3096"/>
                    <a:pt x="3282" y="3094"/>
                  </a:cubicBezTo>
                  <a:cubicBezTo>
                    <a:pt x="3263" y="3091"/>
                    <a:pt x="3252" y="3091"/>
                    <a:pt x="3252" y="3091"/>
                  </a:cubicBezTo>
                  <a:cubicBezTo>
                    <a:pt x="3252" y="3091"/>
                    <a:pt x="3260" y="3074"/>
                    <a:pt x="3241" y="3072"/>
                  </a:cubicBezTo>
                  <a:cubicBezTo>
                    <a:pt x="3223" y="3069"/>
                    <a:pt x="3206" y="3071"/>
                    <a:pt x="3206" y="3071"/>
                  </a:cubicBezTo>
                  <a:cubicBezTo>
                    <a:pt x="3223" y="3057"/>
                    <a:pt x="3223" y="3057"/>
                    <a:pt x="3223" y="3057"/>
                  </a:cubicBezTo>
                  <a:cubicBezTo>
                    <a:pt x="3223" y="3057"/>
                    <a:pt x="3193" y="3049"/>
                    <a:pt x="3185" y="3049"/>
                  </a:cubicBezTo>
                  <a:cubicBezTo>
                    <a:pt x="3177" y="3049"/>
                    <a:pt x="3156" y="3039"/>
                    <a:pt x="3156" y="3039"/>
                  </a:cubicBezTo>
                  <a:cubicBezTo>
                    <a:pt x="3156" y="3039"/>
                    <a:pt x="3166" y="3022"/>
                    <a:pt x="3158" y="3022"/>
                  </a:cubicBezTo>
                  <a:cubicBezTo>
                    <a:pt x="3150" y="3022"/>
                    <a:pt x="3145" y="3020"/>
                    <a:pt x="3145" y="3020"/>
                  </a:cubicBezTo>
                  <a:cubicBezTo>
                    <a:pt x="3145" y="3020"/>
                    <a:pt x="3105" y="2980"/>
                    <a:pt x="3097" y="2988"/>
                  </a:cubicBezTo>
                  <a:cubicBezTo>
                    <a:pt x="3089" y="2995"/>
                    <a:pt x="3107" y="3007"/>
                    <a:pt x="3107" y="3007"/>
                  </a:cubicBezTo>
                  <a:cubicBezTo>
                    <a:pt x="3062" y="2985"/>
                    <a:pt x="3062" y="2985"/>
                    <a:pt x="3062" y="2985"/>
                  </a:cubicBezTo>
                  <a:cubicBezTo>
                    <a:pt x="3062" y="2985"/>
                    <a:pt x="3038" y="2960"/>
                    <a:pt x="3027" y="2955"/>
                  </a:cubicBezTo>
                  <a:cubicBezTo>
                    <a:pt x="3016" y="2950"/>
                    <a:pt x="2987" y="2955"/>
                    <a:pt x="2987" y="2955"/>
                  </a:cubicBezTo>
                  <a:cubicBezTo>
                    <a:pt x="2987" y="2955"/>
                    <a:pt x="2963" y="2943"/>
                    <a:pt x="2925" y="2943"/>
                  </a:cubicBezTo>
                  <a:cubicBezTo>
                    <a:pt x="2888" y="2943"/>
                    <a:pt x="2871" y="2955"/>
                    <a:pt x="2855" y="2969"/>
                  </a:cubicBezTo>
                  <a:cubicBezTo>
                    <a:pt x="2839" y="2984"/>
                    <a:pt x="2807" y="2994"/>
                    <a:pt x="2807" y="2994"/>
                  </a:cubicBezTo>
                  <a:cubicBezTo>
                    <a:pt x="2858" y="2992"/>
                    <a:pt x="2858" y="2992"/>
                    <a:pt x="2858" y="2992"/>
                  </a:cubicBezTo>
                  <a:cubicBezTo>
                    <a:pt x="2858" y="2982"/>
                    <a:pt x="2858" y="2982"/>
                    <a:pt x="2858" y="2982"/>
                  </a:cubicBezTo>
                  <a:cubicBezTo>
                    <a:pt x="2909" y="2979"/>
                    <a:pt x="2909" y="2979"/>
                    <a:pt x="2909" y="2979"/>
                  </a:cubicBezTo>
                  <a:cubicBezTo>
                    <a:pt x="2922" y="2972"/>
                    <a:pt x="2922" y="2972"/>
                    <a:pt x="2922" y="2972"/>
                  </a:cubicBezTo>
                  <a:cubicBezTo>
                    <a:pt x="2922" y="2972"/>
                    <a:pt x="2949" y="2970"/>
                    <a:pt x="2957" y="2977"/>
                  </a:cubicBezTo>
                  <a:cubicBezTo>
                    <a:pt x="2965" y="2985"/>
                    <a:pt x="2933" y="2989"/>
                    <a:pt x="2933" y="2989"/>
                  </a:cubicBezTo>
                  <a:cubicBezTo>
                    <a:pt x="2944" y="2997"/>
                    <a:pt x="2944" y="2997"/>
                    <a:pt x="2944" y="2997"/>
                  </a:cubicBezTo>
                  <a:cubicBezTo>
                    <a:pt x="2944" y="2997"/>
                    <a:pt x="2962" y="3004"/>
                    <a:pt x="2979" y="3009"/>
                  </a:cubicBezTo>
                  <a:cubicBezTo>
                    <a:pt x="2995" y="3014"/>
                    <a:pt x="2995" y="3004"/>
                    <a:pt x="2995" y="3004"/>
                  </a:cubicBezTo>
                  <a:cubicBezTo>
                    <a:pt x="2995" y="3004"/>
                    <a:pt x="3011" y="3017"/>
                    <a:pt x="3027" y="3024"/>
                  </a:cubicBezTo>
                  <a:cubicBezTo>
                    <a:pt x="3043" y="3032"/>
                    <a:pt x="3075" y="3022"/>
                    <a:pt x="3075" y="3022"/>
                  </a:cubicBezTo>
                  <a:cubicBezTo>
                    <a:pt x="3070" y="3039"/>
                    <a:pt x="3070" y="3039"/>
                    <a:pt x="3070" y="3039"/>
                  </a:cubicBezTo>
                  <a:cubicBezTo>
                    <a:pt x="3110" y="3056"/>
                    <a:pt x="3110" y="3056"/>
                    <a:pt x="3110" y="3056"/>
                  </a:cubicBezTo>
                  <a:cubicBezTo>
                    <a:pt x="3126" y="3079"/>
                    <a:pt x="3126" y="3079"/>
                    <a:pt x="3126" y="3079"/>
                  </a:cubicBezTo>
                  <a:cubicBezTo>
                    <a:pt x="3126" y="3079"/>
                    <a:pt x="3142" y="3086"/>
                    <a:pt x="3142" y="3093"/>
                  </a:cubicBezTo>
                  <a:cubicBezTo>
                    <a:pt x="3142" y="3101"/>
                    <a:pt x="3115" y="3108"/>
                    <a:pt x="3123" y="3115"/>
                  </a:cubicBezTo>
                  <a:cubicBezTo>
                    <a:pt x="3131" y="3123"/>
                    <a:pt x="3155" y="3106"/>
                    <a:pt x="3163" y="3106"/>
                  </a:cubicBezTo>
                  <a:cubicBezTo>
                    <a:pt x="3171" y="3106"/>
                    <a:pt x="3188" y="3108"/>
                    <a:pt x="3174" y="3111"/>
                  </a:cubicBezTo>
                  <a:cubicBezTo>
                    <a:pt x="3161" y="3113"/>
                    <a:pt x="3182" y="3123"/>
                    <a:pt x="3182" y="3123"/>
                  </a:cubicBezTo>
                  <a:cubicBezTo>
                    <a:pt x="3182" y="3123"/>
                    <a:pt x="3204" y="3128"/>
                    <a:pt x="3233" y="3121"/>
                  </a:cubicBezTo>
                  <a:close/>
                  <a:moveTo>
                    <a:pt x="4442" y="898"/>
                  </a:moveTo>
                  <a:cubicBezTo>
                    <a:pt x="4465" y="895"/>
                    <a:pt x="4465" y="895"/>
                    <a:pt x="4465" y="895"/>
                  </a:cubicBezTo>
                  <a:cubicBezTo>
                    <a:pt x="4465" y="885"/>
                    <a:pt x="4465" y="885"/>
                    <a:pt x="4465" y="885"/>
                  </a:cubicBezTo>
                  <a:cubicBezTo>
                    <a:pt x="4445" y="889"/>
                    <a:pt x="4445" y="889"/>
                    <a:pt x="4445" y="889"/>
                  </a:cubicBezTo>
                  <a:lnTo>
                    <a:pt x="4442" y="898"/>
                  </a:lnTo>
                  <a:close/>
                  <a:moveTo>
                    <a:pt x="3163" y="3208"/>
                  </a:moveTo>
                  <a:cubicBezTo>
                    <a:pt x="3153" y="3208"/>
                    <a:pt x="3136" y="3206"/>
                    <a:pt x="3126" y="3205"/>
                  </a:cubicBezTo>
                  <a:cubicBezTo>
                    <a:pt x="3115" y="3203"/>
                    <a:pt x="3105" y="3199"/>
                    <a:pt x="3097" y="3203"/>
                  </a:cubicBezTo>
                  <a:cubicBezTo>
                    <a:pt x="3089" y="3206"/>
                    <a:pt x="3078" y="3208"/>
                    <a:pt x="3078" y="3208"/>
                  </a:cubicBezTo>
                  <a:cubicBezTo>
                    <a:pt x="3078" y="3208"/>
                    <a:pt x="3086" y="3219"/>
                    <a:pt x="3095" y="3225"/>
                  </a:cubicBezTo>
                  <a:cubicBezTo>
                    <a:pt x="3103" y="3231"/>
                    <a:pt x="3121" y="3231"/>
                    <a:pt x="3121" y="3231"/>
                  </a:cubicBezTo>
                  <a:cubicBezTo>
                    <a:pt x="3132" y="3237"/>
                    <a:pt x="3132" y="3237"/>
                    <a:pt x="3132" y="3237"/>
                  </a:cubicBezTo>
                  <a:cubicBezTo>
                    <a:pt x="3150" y="3241"/>
                    <a:pt x="3150" y="3241"/>
                    <a:pt x="3150" y="3241"/>
                  </a:cubicBezTo>
                  <a:cubicBezTo>
                    <a:pt x="3157" y="3227"/>
                    <a:pt x="3157" y="3227"/>
                    <a:pt x="3157" y="3227"/>
                  </a:cubicBezTo>
                  <a:cubicBezTo>
                    <a:pt x="3186" y="3233"/>
                    <a:pt x="3186" y="3233"/>
                    <a:pt x="3186" y="3233"/>
                  </a:cubicBezTo>
                  <a:cubicBezTo>
                    <a:pt x="3186" y="3233"/>
                    <a:pt x="3173" y="3208"/>
                    <a:pt x="3163" y="3208"/>
                  </a:cubicBezTo>
                  <a:close/>
                  <a:moveTo>
                    <a:pt x="4275" y="1715"/>
                  </a:moveTo>
                  <a:cubicBezTo>
                    <a:pt x="4262" y="1712"/>
                    <a:pt x="4248" y="1719"/>
                    <a:pt x="4243" y="1722"/>
                  </a:cubicBezTo>
                  <a:cubicBezTo>
                    <a:pt x="4247" y="1719"/>
                    <a:pt x="4256" y="1713"/>
                    <a:pt x="4265" y="1703"/>
                  </a:cubicBezTo>
                  <a:cubicBezTo>
                    <a:pt x="4277" y="1690"/>
                    <a:pt x="4246" y="1689"/>
                    <a:pt x="4232" y="1705"/>
                  </a:cubicBezTo>
                  <a:cubicBezTo>
                    <a:pt x="4226" y="1719"/>
                    <a:pt x="4226" y="1719"/>
                    <a:pt x="4226" y="1719"/>
                  </a:cubicBezTo>
                  <a:cubicBezTo>
                    <a:pt x="4218" y="1733"/>
                    <a:pt x="4218" y="1733"/>
                    <a:pt x="4218" y="1733"/>
                  </a:cubicBezTo>
                  <a:cubicBezTo>
                    <a:pt x="4255" y="1728"/>
                    <a:pt x="4255" y="1728"/>
                    <a:pt x="4255" y="1728"/>
                  </a:cubicBezTo>
                  <a:cubicBezTo>
                    <a:pt x="4255" y="1728"/>
                    <a:pt x="4292" y="1719"/>
                    <a:pt x="4275" y="1715"/>
                  </a:cubicBezTo>
                  <a:close/>
                  <a:moveTo>
                    <a:pt x="4135" y="1704"/>
                  </a:moveTo>
                  <a:cubicBezTo>
                    <a:pt x="4115" y="1700"/>
                    <a:pt x="4104" y="1691"/>
                    <a:pt x="4104" y="1691"/>
                  </a:cubicBezTo>
                  <a:cubicBezTo>
                    <a:pt x="4094" y="1700"/>
                    <a:pt x="4094" y="1700"/>
                    <a:pt x="4094" y="1700"/>
                  </a:cubicBezTo>
                  <a:cubicBezTo>
                    <a:pt x="4094" y="1700"/>
                    <a:pt x="4111" y="1709"/>
                    <a:pt x="4115" y="1712"/>
                  </a:cubicBezTo>
                  <a:cubicBezTo>
                    <a:pt x="4119" y="1715"/>
                    <a:pt x="4138" y="1714"/>
                    <a:pt x="4138" y="1714"/>
                  </a:cubicBezTo>
                  <a:cubicBezTo>
                    <a:pt x="4138" y="1714"/>
                    <a:pt x="4148" y="1719"/>
                    <a:pt x="4158" y="1718"/>
                  </a:cubicBezTo>
                  <a:cubicBezTo>
                    <a:pt x="4169" y="1717"/>
                    <a:pt x="4173" y="1706"/>
                    <a:pt x="4173" y="1706"/>
                  </a:cubicBezTo>
                  <a:cubicBezTo>
                    <a:pt x="4173" y="1706"/>
                    <a:pt x="4156" y="1708"/>
                    <a:pt x="4135" y="1704"/>
                  </a:cubicBezTo>
                  <a:close/>
                  <a:moveTo>
                    <a:pt x="3872" y="725"/>
                  </a:moveTo>
                  <a:cubicBezTo>
                    <a:pt x="3856" y="723"/>
                    <a:pt x="3867" y="740"/>
                    <a:pt x="3867" y="740"/>
                  </a:cubicBezTo>
                  <a:cubicBezTo>
                    <a:pt x="3878" y="739"/>
                    <a:pt x="3887" y="726"/>
                    <a:pt x="3872" y="725"/>
                  </a:cubicBezTo>
                  <a:close/>
                  <a:moveTo>
                    <a:pt x="3559" y="1373"/>
                  </a:moveTo>
                  <a:cubicBezTo>
                    <a:pt x="3587" y="1369"/>
                    <a:pt x="3552" y="1355"/>
                    <a:pt x="3552" y="1355"/>
                  </a:cubicBezTo>
                  <a:cubicBezTo>
                    <a:pt x="3508" y="1364"/>
                    <a:pt x="3530" y="1376"/>
                    <a:pt x="3559" y="1373"/>
                  </a:cubicBezTo>
                  <a:close/>
                  <a:moveTo>
                    <a:pt x="4213" y="1537"/>
                  </a:moveTo>
                  <a:cubicBezTo>
                    <a:pt x="4213" y="1537"/>
                    <a:pt x="4180" y="1529"/>
                    <a:pt x="4153" y="1528"/>
                  </a:cubicBezTo>
                  <a:cubicBezTo>
                    <a:pt x="4126" y="1527"/>
                    <a:pt x="4168" y="1539"/>
                    <a:pt x="4168" y="1539"/>
                  </a:cubicBezTo>
                  <a:cubicBezTo>
                    <a:pt x="4168" y="1549"/>
                    <a:pt x="4168" y="1549"/>
                    <a:pt x="4168" y="1549"/>
                  </a:cubicBezTo>
                  <a:cubicBezTo>
                    <a:pt x="4168" y="1549"/>
                    <a:pt x="4201" y="1554"/>
                    <a:pt x="4230" y="1559"/>
                  </a:cubicBezTo>
                  <a:cubicBezTo>
                    <a:pt x="4259" y="1564"/>
                    <a:pt x="4286" y="1553"/>
                    <a:pt x="4213" y="1537"/>
                  </a:cubicBezTo>
                  <a:close/>
                  <a:moveTo>
                    <a:pt x="3490" y="390"/>
                  </a:moveTo>
                  <a:cubicBezTo>
                    <a:pt x="3470" y="374"/>
                    <a:pt x="3470" y="374"/>
                    <a:pt x="3470" y="374"/>
                  </a:cubicBezTo>
                  <a:cubicBezTo>
                    <a:pt x="3451" y="376"/>
                    <a:pt x="3451" y="376"/>
                    <a:pt x="3451" y="376"/>
                  </a:cubicBezTo>
                  <a:cubicBezTo>
                    <a:pt x="3451" y="376"/>
                    <a:pt x="3439" y="361"/>
                    <a:pt x="3414" y="370"/>
                  </a:cubicBezTo>
                  <a:cubicBezTo>
                    <a:pt x="3388" y="378"/>
                    <a:pt x="3446" y="402"/>
                    <a:pt x="3446" y="402"/>
                  </a:cubicBezTo>
                  <a:lnTo>
                    <a:pt x="3490" y="390"/>
                  </a:lnTo>
                  <a:close/>
                  <a:moveTo>
                    <a:pt x="3120" y="293"/>
                  </a:moveTo>
                  <a:cubicBezTo>
                    <a:pt x="3080" y="303"/>
                    <a:pt x="3108" y="308"/>
                    <a:pt x="3108" y="308"/>
                  </a:cubicBezTo>
                  <a:cubicBezTo>
                    <a:pt x="3165" y="294"/>
                    <a:pt x="3161" y="282"/>
                    <a:pt x="3120" y="293"/>
                  </a:cubicBezTo>
                  <a:close/>
                  <a:moveTo>
                    <a:pt x="3391" y="603"/>
                  </a:moveTo>
                  <a:cubicBezTo>
                    <a:pt x="3423" y="604"/>
                    <a:pt x="3429" y="586"/>
                    <a:pt x="3407" y="587"/>
                  </a:cubicBezTo>
                  <a:cubicBezTo>
                    <a:pt x="3385" y="587"/>
                    <a:pt x="3391" y="603"/>
                    <a:pt x="3391" y="603"/>
                  </a:cubicBezTo>
                  <a:close/>
                  <a:moveTo>
                    <a:pt x="2885" y="3027"/>
                  </a:moveTo>
                  <a:cubicBezTo>
                    <a:pt x="2882" y="3040"/>
                    <a:pt x="2909" y="3042"/>
                    <a:pt x="2911" y="3027"/>
                  </a:cubicBezTo>
                  <a:cubicBezTo>
                    <a:pt x="2914" y="3013"/>
                    <a:pt x="2885" y="3027"/>
                    <a:pt x="2885" y="3027"/>
                  </a:cubicBezTo>
                  <a:close/>
                  <a:moveTo>
                    <a:pt x="4683" y="701"/>
                  </a:moveTo>
                  <a:cubicBezTo>
                    <a:pt x="4698" y="685"/>
                    <a:pt x="4659" y="674"/>
                    <a:pt x="4654" y="678"/>
                  </a:cubicBezTo>
                  <a:cubicBezTo>
                    <a:pt x="4649" y="682"/>
                    <a:pt x="4637" y="673"/>
                    <a:pt x="4637" y="673"/>
                  </a:cubicBezTo>
                  <a:cubicBezTo>
                    <a:pt x="4615" y="686"/>
                    <a:pt x="4615" y="686"/>
                    <a:pt x="4615" y="686"/>
                  </a:cubicBezTo>
                  <a:cubicBezTo>
                    <a:pt x="4617" y="669"/>
                    <a:pt x="4617" y="669"/>
                    <a:pt x="4617" y="669"/>
                  </a:cubicBezTo>
                  <a:cubicBezTo>
                    <a:pt x="4589" y="669"/>
                    <a:pt x="4589" y="669"/>
                    <a:pt x="4589" y="669"/>
                  </a:cubicBezTo>
                  <a:cubicBezTo>
                    <a:pt x="4589" y="669"/>
                    <a:pt x="4621" y="659"/>
                    <a:pt x="4615" y="649"/>
                  </a:cubicBezTo>
                  <a:cubicBezTo>
                    <a:pt x="4610" y="638"/>
                    <a:pt x="4561" y="637"/>
                    <a:pt x="4561" y="637"/>
                  </a:cubicBezTo>
                  <a:cubicBezTo>
                    <a:pt x="4555" y="626"/>
                    <a:pt x="4555" y="626"/>
                    <a:pt x="4555" y="626"/>
                  </a:cubicBezTo>
                  <a:cubicBezTo>
                    <a:pt x="4523" y="625"/>
                    <a:pt x="4523" y="625"/>
                    <a:pt x="4523" y="625"/>
                  </a:cubicBezTo>
                  <a:cubicBezTo>
                    <a:pt x="4479" y="594"/>
                    <a:pt x="4479" y="594"/>
                    <a:pt x="4479" y="594"/>
                  </a:cubicBezTo>
                  <a:cubicBezTo>
                    <a:pt x="4526" y="591"/>
                    <a:pt x="4526" y="591"/>
                    <a:pt x="4526" y="591"/>
                  </a:cubicBezTo>
                  <a:cubicBezTo>
                    <a:pt x="4506" y="577"/>
                    <a:pt x="4506" y="577"/>
                    <a:pt x="4506" y="577"/>
                  </a:cubicBezTo>
                  <a:cubicBezTo>
                    <a:pt x="4506" y="577"/>
                    <a:pt x="4519" y="573"/>
                    <a:pt x="4523" y="573"/>
                  </a:cubicBezTo>
                  <a:cubicBezTo>
                    <a:pt x="4527" y="573"/>
                    <a:pt x="4579" y="585"/>
                    <a:pt x="4573" y="571"/>
                  </a:cubicBezTo>
                  <a:cubicBezTo>
                    <a:pt x="4566" y="558"/>
                    <a:pt x="4511" y="561"/>
                    <a:pt x="4511" y="561"/>
                  </a:cubicBezTo>
                  <a:cubicBezTo>
                    <a:pt x="4493" y="559"/>
                    <a:pt x="4493" y="559"/>
                    <a:pt x="4493" y="559"/>
                  </a:cubicBezTo>
                  <a:cubicBezTo>
                    <a:pt x="4493" y="559"/>
                    <a:pt x="4570" y="557"/>
                    <a:pt x="4573" y="547"/>
                  </a:cubicBezTo>
                  <a:cubicBezTo>
                    <a:pt x="4575" y="538"/>
                    <a:pt x="4551" y="538"/>
                    <a:pt x="4551" y="538"/>
                  </a:cubicBezTo>
                  <a:cubicBezTo>
                    <a:pt x="4482" y="549"/>
                    <a:pt x="4482" y="549"/>
                    <a:pt x="4482" y="549"/>
                  </a:cubicBezTo>
                  <a:cubicBezTo>
                    <a:pt x="4522" y="525"/>
                    <a:pt x="4522" y="525"/>
                    <a:pt x="4522" y="525"/>
                  </a:cubicBezTo>
                  <a:cubicBezTo>
                    <a:pt x="4522" y="525"/>
                    <a:pt x="4575" y="531"/>
                    <a:pt x="4559" y="517"/>
                  </a:cubicBezTo>
                  <a:cubicBezTo>
                    <a:pt x="4543" y="502"/>
                    <a:pt x="4517" y="502"/>
                    <a:pt x="4517" y="502"/>
                  </a:cubicBezTo>
                  <a:cubicBezTo>
                    <a:pt x="4491" y="517"/>
                    <a:pt x="4491" y="517"/>
                    <a:pt x="4491" y="517"/>
                  </a:cubicBezTo>
                  <a:cubicBezTo>
                    <a:pt x="4481" y="513"/>
                    <a:pt x="4481" y="513"/>
                    <a:pt x="4481" y="513"/>
                  </a:cubicBezTo>
                  <a:cubicBezTo>
                    <a:pt x="4453" y="533"/>
                    <a:pt x="4453" y="533"/>
                    <a:pt x="4453" y="533"/>
                  </a:cubicBezTo>
                  <a:cubicBezTo>
                    <a:pt x="4455" y="518"/>
                    <a:pt x="4455" y="518"/>
                    <a:pt x="4455" y="518"/>
                  </a:cubicBezTo>
                  <a:cubicBezTo>
                    <a:pt x="4441" y="530"/>
                    <a:pt x="4441" y="530"/>
                    <a:pt x="4441" y="530"/>
                  </a:cubicBezTo>
                  <a:cubicBezTo>
                    <a:pt x="4455" y="510"/>
                    <a:pt x="4455" y="510"/>
                    <a:pt x="4455" y="510"/>
                  </a:cubicBezTo>
                  <a:cubicBezTo>
                    <a:pt x="4455" y="510"/>
                    <a:pt x="4475" y="515"/>
                    <a:pt x="4485" y="506"/>
                  </a:cubicBezTo>
                  <a:cubicBezTo>
                    <a:pt x="4494" y="497"/>
                    <a:pt x="4494" y="483"/>
                    <a:pt x="4487" y="485"/>
                  </a:cubicBezTo>
                  <a:cubicBezTo>
                    <a:pt x="4481" y="486"/>
                    <a:pt x="4473" y="498"/>
                    <a:pt x="4473" y="498"/>
                  </a:cubicBezTo>
                  <a:cubicBezTo>
                    <a:pt x="4449" y="499"/>
                    <a:pt x="4449" y="499"/>
                    <a:pt x="4449" y="499"/>
                  </a:cubicBezTo>
                  <a:cubicBezTo>
                    <a:pt x="4434" y="506"/>
                    <a:pt x="4434" y="506"/>
                    <a:pt x="4434" y="506"/>
                  </a:cubicBezTo>
                  <a:cubicBezTo>
                    <a:pt x="4450" y="487"/>
                    <a:pt x="4450" y="487"/>
                    <a:pt x="4450" y="487"/>
                  </a:cubicBezTo>
                  <a:cubicBezTo>
                    <a:pt x="4470" y="487"/>
                    <a:pt x="4470" y="487"/>
                    <a:pt x="4470" y="487"/>
                  </a:cubicBezTo>
                  <a:cubicBezTo>
                    <a:pt x="4470" y="487"/>
                    <a:pt x="4494" y="478"/>
                    <a:pt x="4481" y="470"/>
                  </a:cubicBezTo>
                  <a:cubicBezTo>
                    <a:pt x="4467" y="462"/>
                    <a:pt x="4423" y="482"/>
                    <a:pt x="4423" y="482"/>
                  </a:cubicBezTo>
                  <a:cubicBezTo>
                    <a:pt x="4415" y="473"/>
                    <a:pt x="4415" y="473"/>
                    <a:pt x="4415" y="473"/>
                  </a:cubicBezTo>
                  <a:cubicBezTo>
                    <a:pt x="4399" y="485"/>
                    <a:pt x="4399" y="485"/>
                    <a:pt x="4399" y="485"/>
                  </a:cubicBezTo>
                  <a:cubicBezTo>
                    <a:pt x="4414" y="465"/>
                    <a:pt x="4414" y="465"/>
                    <a:pt x="4414" y="465"/>
                  </a:cubicBezTo>
                  <a:cubicBezTo>
                    <a:pt x="4377" y="478"/>
                    <a:pt x="4377" y="478"/>
                    <a:pt x="4377" y="478"/>
                  </a:cubicBezTo>
                  <a:cubicBezTo>
                    <a:pt x="4377" y="463"/>
                    <a:pt x="4377" y="463"/>
                    <a:pt x="4377" y="463"/>
                  </a:cubicBezTo>
                  <a:cubicBezTo>
                    <a:pt x="4377" y="463"/>
                    <a:pt x="4413" y="454"/>
                    <a:pt x="4413" y="450"/>
                  </a:cubicBezTo>
                  <a:cubicBezTo>
                    <a:pt x="4413" y="446"/>
                    <a:pt x="4363" y="455"/>
                    <a:pt x="4363" y="455"/>
                  </a:cubicBezTo>
                  <a:cubicBezTo>
                    <a:pt x="4362" y="447"/>
                    <a:pt x="4362" y="447"/>
                    <a:pt x="4362" y="447"/>
                  </a:cubicBezTo>
                  <a:cubicBezTo>
                    <a:pt x="4362" y="447"/>
                    <a:pt x="4410" y="437"/>
                    <a:pt x="4405" y="430"/>
                  </a:cubicBezTo>
                  <a:cubicBezTo>
                    <a:pt x="4399" y="423"/>
                    <a:pt x="4334" y="422"/>
                    <a:pt x="4326" y="419"/>
                  </a:cubicBezTo>
                  <a:cubicBezTo>
                    <a:pt x="4318" y="417"/>
                    <a:pt x="4302" y="419"/>
                    <a:pt x="4301" y="423"/>
                  </a:cubicBezTo>
                  <a:cubicBezTo>
                    <a:pt x="4299" y="427"/>
                    <a:pt x="4310" y="441"/>
                    <a:pt x="4310" y="441"/>
                  </a:cubicBezTo>
                  <a:cubicBezTo>
                    <a:pt x="4286" y="437"/>
                    <a:pt x="4286" y="437"/>
                    <a:pt x="4286" y="437"/>
                  </a:cubicBezTo>
                  <a:cubicBezTo>
                    <a:pt x="4289" y="455"/>
                    <a:pt x="4289" y="455"/>
                    <a:pt x="4289" y="455"/>
                  </a:cubicBezTo>
                  <a:cubicBezTo>
                    <a:pt x="4275" y="438"/>
                    <a:pt x="4275" y="438"/>
                    <a:pt x="4275" y="438"/>
                  </a:cubicBezTo>
                  <a:cubicBezTo>
                    <a:pt x="4250" y="454"/>
                    <a:pt x="4250" y="454"/>
                    <a:pt x="4250" y="454"/>
                  </a:cubicBezTo>
                  <a:cubicBezTo>
                    <a:pt x="4250" y="454"/>
                    <a:pt x="4255" y="439"/>
                    <a:pt x="4250" y="435"/>
                  </a:cubicBezTo>
                  <a:cubicBezTo>
                    <a:pt x="4245" y="431"/>
                    <a:pt x="4197" y="451"/>
                    <a:pt x="4197" y="451"/>
                  </a:cubicBezTo>
                  <a:cubicBezTo>
                    <a:pt x="4209" y="426"/>
                    <a:pt x="4209" y="426"/>
                    <a:pt x="4209" y="426"/>
                  </a:cubicBezTo>
                  <a:cubicBezTo>
                    <a:pt x="4209" y="426"/>
                    <a:pt x="4249" y="425"/>
                    <a:pt x="4249" y="415"/>
                  </a:cubicBezTo>
                  <a:cubicBezTo>
                    <a:pt x="4249" y="406"/>
                    <a:pt x="4235" y="394"/>
                    <a:pt x="4235" y="394"/>
                  </a:cubicBezTo>
                  <a:cubicBezTo>
                    <a:pt x="4235" y="394"/>
                    <a:pt x="4259" y="377"/>
                    <a:pt x="4243" y="374"/>
                  </a:cubicBezTo>
                  <a:cubicBezTo>
                    <a:pt x="4227" y="371"/>
                    <a:pt x="4181" y="375"/>
                    <a:pt x="4181" y="375"/>
                  </a:cubicBezTo>
                  <a:cubicBezTo>
                    <a:pt x="4166" y="386"/>
                    <a:pt x="4166" y="386"/>
                    <a:pt x="4166" y="386"/>
                  </a:cubicBezTo>
                  <a:cubicBezTo>
                    <a:pt x="4107" y="387"/>
                    <a:pt x="4107" y="387"/>
                    <a:pt x="4107" y="387"/>
                  </a:cubicBezTo>
                  <a:cubicBezTo>
                    <a:pt x="4114" y="398"/>
                    <a:pt x="4114" y="398"/>
                    <a:pt x="4114" y="398"/>
                  </a:cubicBezTo>
                  <a:cubicBezTo>
                    <a:pt x="4134" y="406"/>
                    <a:pt x="4134" y="406"/>
                    <a:pt x="4134" y="406"/>
                  </a:cubicBezTo>
                  <a:cubicBezTo>
                    <a:pt x="4105" y="398"/>
                    <a:pt x="4105" y="398"/>
                    <a:pt x="4105" y="398"/>
                  </a:cubicBezTo>
                  <a:cubicBezTo>
                    <a:pt x="4111" y="414"/>
                    <a:pt x="4111" y="414"/>
                    <a:pt x="4111" y="414"/>
                  </a:cubicBezTo>
                  <a:cubicBezTo>
                    <a:pt x="4111" y="414"/>
                    <a:pt x="4079" y="401"/>
                    <a:pt x="4070" y="413"/>
                  </a:cubicBezTo>
                  <a:cubicBezTo>
                    <a:pt x="4061" y="425"/>
                    <a:pt x="4078" y="437"/>
                    <a:pt x="4078" y="437"/>
                  </a:cubicBezTo>
                  <a:cubicBezTo>
                    <a:pt x="4081" y="454"/>
                    <a:pt x="4081" y="454"/>
                    <a:pt x="4081" y="454"/>
                  </a:cubicBezTo>
                  <a:cubicBezTo>
                    <a:pt x="4081" y="454"/>
                    <a:pt x="4061" y="442"/>
                    <a:pt x="4050" y="445"/>
                  </a:cubicBezTo>
                  <a:cubicBezTo>
                    <a:pt x="4039" y="447"/>
                    <a:pt x="4025" y="466"/>
                    <a:pt x="4037" y="467"/>
                  </a:cubicBezTo>
                  <a:cubicBezTo>
                    <a:pt x="4049" y="469"/>
                    <a:pt x="4053" y="475"/>
                    <a:pt x="4053" y="475"/>
                  </a:cubicBezTo>
                  <a:cubicBezTo>
                    <a:pt x="4022" y="490"/>
                    <a:pt x="4022" y="490"/>
                    <a:pt x="4022" y="490"/>
                  </a:cubicBezTo>
                  <a:cubicBezTo>
                    <a:pt x="3982" y="494"/>
                    <a:pt x="3982" y="494"/>
                    <a:pt x="3982" y="494"/>
                  </a:cubicBezTo>
                  <a:cubicBezTo>
                    <a:pt x="3982" y="494"/>
                    <a:pt x="4021" y="486"/>
                    <a:pt x="4021" y="477"/>
                  </a:cubicBezTo>
                  <a:cubicBezTo>
                    <a:pt x="4021" y="467"/>
                    <a:pt x="3997" y="466"/>
                    <a:pt x="4007" y="453"/>
                  </a:cubicBezTo>
                  <a:cubicBezTo>
                    <a:pt x="4018" y="439"/>
                    <a:pt x="4031" y="438"/>
                    <a:pt x="4031" y="438"/>
                  </a:cubicBezTo>
                  <a:cubicBezTo>
                    <a:pt x="4031" y="419"/>
                    <a:pt x="4031" y="419"/>
                    <a:pt x="4031" y="419"/>
                  </a:cubicBezTo>
                  <a:cubicBezTo>
                    <a:pt x="4031" y="419"/>
                    <a:pt x="4066" y="397"/>
                    <a:pt x="4078" y="391"/>
                  </a:cubicBezTo>
                  <a:cubicBezTo>
                    <a:pt x="4090" y="386"/>
                    <a:pt x="4135" y="379"/>
                    <a:pt x="4127" y="375"/>
                  </a:cubicBezTo>
                  <a:cubicBezTo>
                    <a:pt x="4119" y="371"/>
                    <a:pt x="4073" y="370"/>
                    <a:pt x="4047" y="371"/>
                  </a:cubicBezTo>
                  <a:cubicBezTo>
                    <a:pt x="4022" y="373"/>
                    <a:pt x="3954" y="414"/>
                    <a:pt x="3954" y="414"/>
                  </a:cubicBezTo>
                  <a:cubicBezTo>
                    <a:pt x="3954" y="414"/>
                    <a:pt x="3925" y="427"/>
                    <a:pt x="3915" y="429"/>
                  </a:cubicBezTo>
                  <a:cubicBezTo>
                    <a:pt x="3906" y="430"/>
                    <a:pt x="3902" y="441"/>
                    <a:pt x="3902" y="441"/>
                  </a:cubicBezTo>
                  <a:cubicBezTo>
                    <a:pt x="3902" y="441"/>
                    <a:pt x="3855" y="467"/>
                    <a:pt x="3873" y="474"/>
                  </a:cubicBezTo>
                  <a:cubicBezTo>
                    <a:pt x="3890" y="481"/>
                    <a:pt x="3942" y="477"/>
                    <a:pt x="3935" y="486"/>
                  </a:cubicBezTo>
                  <a:cubicBezTo>
                    <a:pt x="3929" y="495"/>
                    <a:pt x="3842" y="494"/>
                    <a:pt x="3863" y="509"/>
                  </a:cubicBezTo>
                  <a:cubicBezTo>
                    <a:pt x="3885" y="523"/>
                    <a:pt x="3911" y="526"/>
                    <a:pt x="3911" y="526"/>
                  </a:cubicBezTo>
                  <a:cubicBezTo>
                    <a:pt x="3942" y="514"/>
                    <a:pt x="3942" y="514"/>
                    <a:pt x="3942" y="514"/>
                  </a:cubicBezTo>
                  <a:cubicBezTo>
                    <a:pt x="3942" y="514"/>
                    <a:pt x="3933" y="530"/>
                    <a:pt x="3955" y="530"/>
                  </a:cubicBezTo>
                  <a:cubicBezTo>
                    <a:pt x="3978" y="530"/>
                    <a:pt x="4066" y="549"/>
                    <a:pt x="4077" y="543"/>
                  </a:cubicBezTo>
                  <a:cubicBezTo>
                    <a:pt x="4087" y="538"/>
                    <a:pt x="4063" y="526"/>
                    <a:pt x="4063" y="526"/>
                  </a:cubicBezTo>
                  <a:cubicBezTo>
                    <a:pt x="4063" y="526"/>
                    <a:pt x="4130" y="533"/>
                    <a:pt x="4141" y="534"/>
                  </a:cubicBezTo>
                  <a:cubicBezTo>
                    <a:pt x="4151" y="535"/>
                    <a:pt x="4178" y="546"/>
                    <a:pt x="4187" y="541"/>
                  </a:cubicBezTo>
                  <a:cubicBezTo>
                    <a:pt x="4197" y="535"/>
                    <a:pt x="4178" y="515"/>
                    <a:pt x="4178" y="515"/>
                  </a:cubicBezTo>
                  <a:cubicBezTo>
                    <a:pt x="4209" y="509"/>
                    <a:pt x="4209" y="509"/>
                    <a:pt x="4209" y="509"/>
                  </a:cubicBezTo>
                  <a:cubicBezTo>
                    <a:pt x="4209" y="509"/>
                    <a:pt x="4217" y="531"/>
                    <a:pt x="4221" y="530"/>
                  </a:cubicBezTo>
                  <a:cubicBezTo>
                    <a:pt x="4225" y="529"/>
                    <a:pt x="4239" y="545"/>
                    <a:pt x="4239" y="545"/>
                  </a:cubicBezTo>
                  <a:cubicBezTo>
                    <a:pt x="4259" y="538"/>
                    <a:pt x="4259" y="538"/>
                    <a:pt x="4259" y="538"/>
                  </a:cubicBezTo>
                  <a:cubicBezTo>
                    <a:pt x="4259" y="538"/>
                    <a:pt x="4251" y="558"/>
                    <a:pt x="4255" y="559"/>
                  </a:cubicBezTo>
                  <a:cubicBezTo>
                    <a:pt x="4259" y="561"/>
                    <a:pt x="4289" y="567"/>
                    <a:pt x="4289" y="567"/>
                  </a:cubicBezTo>
                  <a:cubicBezTo>
                    <a:pt x="4289" y="567"/>
                    <a:pt x="4267" y="586"/>
                    <a:pt x="4275" y="586"/>
                  </a:cubicBezTo>
                  <a:cubicBezTo>
                    <a:pt x="4283" y="586"/>
                    <a:pt x="4302" y="586"/>
                    <a:pt x="4302" y="586"/>
                  </a:cubicBezTo>
                  <a:cubicBezTo>
                    <a:pt x="4298" y="603"/>
                    <a:pt x="4298" y="603"/>
                    <a:pt x="4298" y="603"/>
                  </a:cubicBezTo>
                  <a:cubicBezTo>
                    <a:pt x="4298" y="603"/>
                    <a:pt x="4331" y="607"/>
                    <a:pt x="4331" y="623"/>
                  </a:cubicBezTo>
                  <a:cubicBezTo>
                    <a:pt x="4331" y="639"/>
                    <a:pt x="4309" y="673"/>
                    <a:pt x="4303" y="674"/>
                  </a:cubicBezTo>
                  <a:cubicBezTo>
                    <a:pt x="4298" y="675"/>
                    <a:pt x="4210" y="714"/>
                    <a:pt x="4210" y="714"/>
                  </a:cubicBezTo>
                  <a:cubicBezTo>
                    <a:pt x="4210" y="714"/>
                    <a:pt x="4238" y="733"/>
                    <a:pt x="4223" y="739"/>
                  </a:cubicBezTo>
                  <a:cubicBezTo>
                    <a:pt x="4209" y="746"/>
                    <a:pt x="4189" y="747"/>
                    <a:pt x="4189" y="747"/>
                  </a:cubicBezTo>
                  <a:cubicBezTo>
                    <a:pt x="4137" y="754"/>
                    <a:pt x="4137" y="754"/>
                    <a:pt x="4137" y="754"/>
                  </a:cubicBezTo>
                  <a:cubicBezTo>
                    <a:pt x="4131" y="769"/>
                    <a:pt x="4131" y="769"/>
                    <a:pt x="4131" y="769"/>
                  </a:cubicBezTo>
                  <a:cubicBezTo>
                    <a:pt x="4122" y="755"/>
                    <a:pt x="4122" y="755"/>
                    <a:pt x="4122" y="755"/>
                  </a:cubicBezTo>
                  <a:cubicBezTo>
                    <a:pt x="4122" y="755"/>
                    <a:pt x="4095" y="746"/>
                    <a:pt x="4082" y="749"/>
                  </a:cubicBezTo>
                  <a:cubicBezTo>
                    <a:pt x="4069" y="751"/>
                    <a:pt x="4070" y="763"/>
                    <a:pt x="4070" y="763"/>
                  </a:cubicBezTo>
                  <a:cubicBezTo>
                    <a:pt x="4070" y="763"/>
                    <a:pt x="4025" y="773"/>
                    <a:pt x="4025" y="789"/>
                  </a:cubicBezTo>
                  <a:cubicBezTo>
                    <a:pt x="4025" y="813"/>
                    <a:pt x="4059" y="807"/>
                    <a:pt x="4086" y="798"/>
                  </a:cubicBezTo>
                  <a:cubicBezTo>
                    <a:pt x="4113" y="789"/>
                    <a:pt x="4119" y="790"/>
                    <a:pt x="4119" y="790"/>
                  </a:cubicBezTo>
                  <a:cubicBezTo>
                    <a:pt x="4119" y="790"/>
                    <a:pt x="4138" y="803"/>
                    <a:pt x="4145" y="798"/>
                  </a:cubicBezTo>
                  <a:cubicBezTo>
                    <a:pt x="4151" y="793"/>
                    <a:pt x="4147" y="782"/>
                    <a:pt x="4147" y="782"/>
                  </a:cubicBezTo>
                  <a:cubicBezTo>
                    <a:pt x="4163" y="767"/>
                    <a:pt x="4163" y="767"/>
                    <a:pt x="4163" y="767"/>
                  </a:cubicBezTo>
                  <a:cubicBezTo>
                    <a:pt x="4163" y="767"/>
                    <a:pt x="4150" y="779"/>
                    <a:pt x="4159" y="782"/>
                  </a:cubicBezTo>
                  <a:cubicBezTo>
                    <a:pt x="4169" y="785"/>
                    <a:pt x="4203" y="785"/>
                    <a:pt x="4203" y="785"/>
                  </a:cubicBezTo>
                  <a:cubicBezTo>
                    <a:pt x="4203" y="785"/>
                    <a:pt x="4189" y="791"/>
                    <a:pt x="4190" y="798"/>
                  </a:cubicBezTo>
                  <a:cubicBezTo>
                    <a:pt x="4191" y="805"/>
                    <a:pt x="4213" y="809"/>
                    <a:pt x="4213" y="809"/>
                  </a:cubicBezTo>
                  <a:cubicBezTo>
                    <a:pt x="4213" y="809"/>
                    <a:pt x="4199" y="818"/>
                    <a:pt x="4210" y="825"/>
                  </a:cubicBezTo>
                  <a:cubicBezTo>
                    <a:pt x="4221" y="831"/>
                    <a:pt x="4245" y="831"/>
                    <a:pt x="4245" y="831"/>
                  </a:cubicBezTo>
                  <a:cubicBezTo>
                    <a:pt x="4214" y="842"/>
                    <a:pt x="4214" y="842"/>
                    <a:pt x="4214" y="842"/>
                  </a:cubicBezTo>
                  <a:cubicBezTo>
                    <a:pt x="4214" y="842"/>
                    <a:pt x="4219" y="863"/>
                    <a:pt x="4225" y="862"/>
                  </a:cubicBezTo>
                  <a:cubicBezTo>
                    <a:pt x="4230" y="861"/>
                    <a:pt x="4241" y="854"/>
                    <a:pt x="4241" y="854"/>
                  </a:cubicBezTo>
                  <a:cubicBezTo>
                    <a:pt x="4241" y="854"/>
                    <a:pt x="4243" y="869"/>
                    <a:pt x="4253" y="870"/>
                  </a:cubicBezTo>
                  <a:cubicBezTo>
                    <a:pt x="4262" y="871"/>
                    <a:pt x="4283" y="874"/>
                    <a:pt x="4283" y="874"/>
                  </a:cubicBezTo>
                  <a:cubicBezTo>
                    <a:pt x="4283" y="874"/>
                    <a:pt x="4282" y="891"/>
                    <a:pt x="4298" y="895"/>
                  </a:cubicBezTo>
                  <a:cubicBezTo>
                    <a:pt x="4314" y="899"/>
                    <a:pt x="4325" y="891"/>
                    <a:pt x="4339" y="899"/>
                  </a:cubicBezTo>
                  <a:cubicBezTo>
                    <a:pt x="4354" y="907"/>
                    <a:pt x="4390" y="922"/>
                    <a:pt x="4390" y="922"/>
                  </a:cubicBezTo>
                  <a:cubicBezTo>
                    <a:pt x="4390" y="922"/>
                    <a:pt x="4401" y="902"/>
                    <a:pt x="4389" y="889"/>
                  </a:cubicBezTo>
                  <a:cubicBezTo>
                    <a:pt x="4377" y="875"/>
                    <a:pt x="4357" y="863"/>
                    <a:pt x="4357" y="863"/>
                  </a:cubicBezTo>
                  <a:cubicBezTo>
                    <a:pt x="4357" y="863"/>
                    <a:pt x="4337" y="838"/>
                    <a:pt x="4342" y="830"/>
                  </a:cubicBezTo>
                  <a:cubicBezTo>
                    <a:pt x="4347" y="822"/>
                    <a:pt x="4370" y="845"/>
                    <a:pt x="4370" y="845"/>
                  </a:cubicBezTo>
                  <a:cubicBezTo>
                    <a:pt x="4370" y="825"/>
                    <a:pt x="4370" y="825"/>
                    <a:pt x="4370" y="825"/>
                  </a:cubicBezTo>
                  <a:cubicBezTo>
                    <a:pt x="4370" y="825"/>
                    <a:pt x="4379" y="850"/>
                    <a:pt x="4389" y="850"/>
                  </a:cubicBezTo>
                  <a:cubicBezTo>
                    <a:pt x="4398" y="850"/>
                    <a:pt x="4413" y="846"/>
                    <a:pt x="4413" y="846"/>
                  </a:cubicBezTo>
                  <a:cubicBezTo>
                    <a:pt x="4413" y="846"/>
                    <a:pt x="4409" y="867"/>
                    <a:pt x="4419" y="866"/>
                  </a:cubicBezTo>
                  <a:cubicBezTo>
                    <a:pt x="4430" y="865"/>
                    <a:pt x="4434" y="877"/>
                    <a:pt x="4434" y="877"/>
                  </a:cubicBezTo>
                  <a:cubicBezTo>
                    <a:pt x="4447" y="862"/>
                    <a:pt x="4447" y="862"/>
                    <a:pt x="4447" y="862"/>
                  </a:cubicBezTo>
                  <a:cubicBezTo>
                    <a:pt x="4447" y="862"/>
                    <a:pt x="4457" y="874"/>
                    <a:pt x="4462" y="871"/>
                  </a:cubicBezTo>
                  <a:cubicBezTo>
                    <a:pt x="4467" y="869"/>
                    <a:pt x="4461" y="853"/>
                    <a:pt x="4461" y="853"/>
                  </a:cubicBezTo>
                  <a:cubicBezTo>
                    <a:pt x="4471" y="822"/>
                    <a:pt x="4471" y="822"/>
                    <a:pt x="4471" y="822"/>
                  </a:cubicBezTo>
                  <a:cubicBezTo>
                    <a:pt x="4471" y="822"/>
                    <a:pt x="4471" y="849"/>
                    <a:pt x="4479" y="849"/>
                  </a:cubicBezTo>
                  <a:cubicBezTo>
                    <a:pt x="4487" y="849"/>
                    <a:pt x="4491" y="821"/>
                    <a:pt x="4491" y="821"/>
                  </a:cubicBezTo>
                  <a:cubicBezTo>
                    <a:pt x="4477" y="805"/>
                    <a:pt x="4477" y="805"/>
                    <a:pt x="4477" y="805"/>
                  </a:cubicBezTo>
                  <a:cubicBezTo>
                    <a:pt x="4491" y="801"/>
                    <a:pt x="4491" y="801"/>
                    <a:pt x="4491" y="801"/>
                  </a:cubicBezTo>
                  <a:cubicBezTo>
                    <a:pt x="4479" y="791"/>
                    <a:pt x="4479" y="791"/>
                    <a:pt x="4479" y="791"/>
                  </a:cubicBezTo>
                  <a:cubicBezTo>
                    <a:pt x="4481" y="778"/>
                    <a:pt x="4481" y="778"/>
                    <a:pt x="4481" y="778"/>
                  </a:cubicBezTo>
                  <a:cubicBezTo>
                    <a:pt x="4461" y="781"/>
                    <a:pt x="4461" y="781"/>
                    <a:pt x="4461" y="781"/>
                  </a:cubicBezTo>
                  <a:cubicBezTo>
                    <a:pt x="4461" y="770"/>
                    <a:pt x="4461" y="770"/>
                    <a:pt x="4461" y="770"/>
                  </a:cubicBezTo>
                  <a:cubicBezTo>
                    <a:pt x="4446" y="770"/>
                    <a:pt x="4446" y="770"/>
                    <a:pt x="4446" y="770"/>
                  </a:cubicBezTo>
                  <a:cubicBezTo>
                    <a:pt x="4445" y="737"/>
                    <a:pt x="4445" y="737"/>
                    <a:pt x="4445" y="737"/>
                  </a:cubicBezTo>
                  <a:cubicBezTo>
                    <a:pt x="4423" y="738"/>
                    <a:pt x="4423" y="738"/>
                    <a:pt x="4423" y="738"/>
                  </a:cubicBezTo>
                  <a:cubicBezTo>
                    <a:pt x="4423" y="738"/>
                    <a:pt x="4411" y="718"/>
                    <a:pt x="4423" y="715"/>
                  </a:cubicBezTo>
                  <a:cubicBezTo>
                    <a:pt x="4435" y="713"/>
                    <a:pt x="4443" y="730"/>
                    <a:pt x="4451" y="727"/>
                  </a:cubicBezTo>
                  <a:cubicBezTo>
                    <a:pt x="4459" y="725"/>
                    <a:pt x="4458" y="699"/>
                    <a:pt x="4458" y="699"/>
                  </a:cubicBezTo>
                  <a:cubicBezTo>
                    <a:pt x="4473" y="703"/>
                    <a:pt x="4473" y="703"/>
                    <a:pt x="4473" y="703"/>
                  </a:cubicBezTo>
                  <a:cubicBezTo>
                    <a:pt x="4498" y="691"/>
                    <a:pt x="4498" y="691"/>
                    <a:pt x="4498" y="691"/>
                  </a:cubicBezTo>
                  <a:cubicBezTo>
                    <a:pt x="4498" y="691"/>
                    <a:pt x="4499" y="723"/>
                    <a:pt x="4506" y="717"/>
                  </a:cubicBezTo>
                  <a:cubicBezTo>
                    <a:pt x="4513" y="710"/>
                    <a:pt x="4526" y="710"/>
                    <a:pt x="4526" y="710"/>
                  </a:cubicBezTo>
                  <a:cubicBezTo>
                    <a:pt x="4518" y="722"/>
                    <a:pt x="4518" y="722"/>
                    <a:pt x="4518" y="722"/>
                  </a:cubicBezTo>
                  <a:cubicBezTo>
                    <a:pt x="4533" y="723"/>
                    <a:pt x="4533" y="723"/>
                    <a:pt x="4533" y="723"/>
                  </a:cubicBezTo>
                  <a:cubicBezTo>
                    <a:pt x="4526" y="742"/>
                    <a:pt x="4526" y="742"/>
                    <a:pt x="4526" y="742"/>
                  </a:cubicBezTo>
                  <a:cubicBezTo>
                    <a:pt x="4526" y="742"/>
                    <a:pt x="4549" y="783"/>
                    <a:pt x="4565" y="773"/>
                  </a:cubicBezTo>
                  <a:cubicBezTo>
                    <a:pt x="4581" y="762"/>
                    <a:pt x="4583" y="737"/>
                    <a:pt x="4583" y="737"/>
                  </a:cubicBezTo>
                  <a:cubicBezTo>
                    <a:pt x="4590" y="727"/>
                    <a:pt x="4590" y="727"/>
                    <a:pt x="4590" y="727"/>
                  </a:cubicBezTo>
                  <a:cubicBezTo>
                    <a:pt x="4590" y="727"/>
                    <a:pt x="4609" y="743"/>
                    <a:pt x="4622" y="734"/>
                  </a:cubicBezTo>
                  <a:cubicBezTo>
                    <a:pt x="4635" y="725"/>
                    <a:pt x="4634" y="707"/>
                    <a:pt x="4634" y="707"/>
                  </a:cubicBezTo>
                  <a:cubicBezTo>
                    <a:pt x="4634" y="707"/>
                    <a:pt x="4669" y="717"/>
                    <a:pt x="4683" y="701"/>
                  </a:cubicBezTo>
                  <a:close/>
                  <a:moveTo>
                    <a:pt x="4331" y="69"/>
                  </a:moveTo>
                  <a:cubicBezTo>
                    <a:pt x="4387" y="72"/>
                    <a:pt x="4387" y="72"/>
                    <a:pt x="4387" y="72"/>
                  </a:cubicBezTo>
                  <a:cubicBezTo>
                    <a:pt x="4332" y="80"/>
                    <a:pt x="4332" y="80"/>
                    <a:pt x="4332" y="80"/>
                  </a:cubicBezTo>
                  <a:cubicBezTo>
                    <a:pt x="4332" y="80"/>
                    <a:pt x="4352" y="89"/>
                    <a:pt x="4366" y="89"/>
                  </a:cubicBezTo>
                  <a:cubicBezTo>
                    <a:pt x="4380" y="89"/>
                    <a:pt x="4417" y="83"/>
                    <a:pt x="4417" y="83"/>
                  </a:cubicBezTo>
                  <a:cubicBezTo>
                    <a:pt x="4417" y="83"/>
                    <a:pt x="4442" y="75"/>
                    <a:pt x="4460" y="75"/>
                  </a:cubicBezTo>
                  <a:cubicBezTo>
                    <a:pt x="4479" y="75"/>
                    <a:pt x="4522" y="84"/>
                    <a:pt x="4522" y="84"/>
                  </a:cubicBezTo>
                  <a:cubicBezTo>
                    <a:pt x="4522" y="84"/>
                    <a:pt x="4471" y="85"/>
                    <a:pt x="4459" y="86"/>
                  </a:cubicBezTo>
                  <a:cubicBezTo>
                    <a:pt x="4447" y="87"/>
                    <a:pt x="4412" y="100"/>
                    <a:pt x="4412" y="100"/>
                  </a:cubicBezTo>
                  <a:cubicBezTo>
                    <a:pt x="4412" y="100"/>
                    <a:pt x="4440" y="100"/>
                    <a:pt x="4461" y="102"/>
                  </a:cubicBezTo>
                  <a:cubicBezTo>
                    <a:pt x="4483" y="104"/>
                    <a:pt x="4488" y="96"/>
                    <a:pt x="4488" y="96"/>
                  </a:cubicBezTo>
                  <a:cubicBezTo>
                    <a:pt x="4532" y="96"/>
                    <a:pt x="4532" y="96"/>
                    <a:pt x="4532" y="96"/>
                  </a:cubicBezTo>
                  <a:cubicBezTo>
                    <a:pt x="4532" y="96"/>
                    <a:pt x="4546" y="97"/>
                    <a:pt x="4563" y="97"/>
                  </a:cubicBezTo>
                  <a:cubicBezTo>
                    <a:pt x="4580" y="97"/>
                    <a:pt x="4620" y="86"/>
                    <a:pt x="4624" y="83"/>
                  </a:cubicBezTo>
                  <a:cubicBezTo>
                    <a:pt x="4629" y="79"/>
                    <a:pt x="4655" y="76"/>
                    <a:pt x="4668" y="72"/>
                  </a:cubicBezTo>
                  <a:cubicBezTo>
                    <a:pt x="4681" y="67"/>
                    <a:pt x="4702" y="72"/>
                    <a:pt x="4702" y="72"/>
                  </a:cubicBezTo>
                  <a:cubicBezTo>
                    <a:pt x="4644" y="89"/>
                    <a:pt x="4644" y="89"/>
                    <a:pt x="4644" y="89"/>
                  </a:cubicBezTo>
                  <a:cubicBezTo>
                    <a:pt x="4667" y="90"/>
                    <a:pt x="4667" y="90"/>
                    <a:pt x="4667" y="90"/>
                  </a:cubicBezTo>
                  <a:cubicBezTo>
                    <a:pt x="4635" y="100"/>
                    <a:pt x="4635" y="100"/>
                    <a:pt x="4635" y="100"/>
                  </a:cubicBezTo>
                  <a:cubicBezTo>
                    <a:pt x="4635" y="100"/>
                    <a:pt x="4522" y="105"/>
                    <a:pt x="4509" y="105"/>
                  </a:cubicBezTo>
                  <a:cubicBezTo>
                    <a:pt x="4496" y="105"/>
                    <a:pt x="4496" y="117"/>
                    <a:pt x="4496" y="117"/>
                  </a:cubicBezTo>
                  <a:cubicBezTo>
                    <a:pt x="4547" y="132"/>
                    <a:pt x="4547" y="132"/>
                    <a:pt x="4547" y="132"/>
                  </a:cubicBezTo>
                  <a:cubicBezTo>
                    <a:pt x="4547" y="132"/>
                    <a:pt x="4527" y="138"/>
                    <a:pt x="4515" y="138"/>
                  </a:cubicBezTo>
                  <a:cubicBezTo>
                    <a:pt x="4504" y="138"/>
                    <a:pt x="4456" y="112"/>
                    <a:pt x="4456" y="112"/>
                  </a:cubicBezTo>
                  <a:cubicBezTo>
                    <a:pt x="4456" y="112"/>
                    <a:pt x="4407" y="113"/>
                    <a:pt x="4394" y="113"/>
                  </a:cubicBezTo>
                  <a:cubicBezTo>
                    <a:pt x="4381" y="113"/>
                    <a:pt x="4373" y="128"/>
                    <a:pt x="4373" y="128"/>
                  </a:cubicBezTo>
                  <a:cubicBezTo>
                    <a:pt x="4394" y="139"/>
                    <a:pt x="4394" y="139"/>
                    <a:pt x="4394" y="139"/>
                  </a:cubicBezTo>
                  <a:cubicBezTo>
                    <a:pt x="4394" y="139"/>
                    <a:pt x="4405" y="155"/>
                    <a:pt x="4422" y="158"/>
                  </a:cubicBezTo>
                  <a:cubicBezTo>
                    <a:pt x="4438" y="161"/>
                    <a:pt x="4471" y="157"/>
                    <a:pt x="4471" y="157"/>
                  </a:cubicBezTo>
                  <a:cubicBezTo>
                    <a:pt x="4471" y="157"/>
                    <a:pt x="4463" y="166"/>
                    <a:pt x="4446" y="168"/>
                  </a:cubicBezTo>
                  <a:cubicBezTo>
                    <a:pt x="4430" y="170"/>
                    <a:pt x="4399" y="164"/>
                    <a:pt x="4391" y="162"/>
                  </a:cubicBezTo>
                  <a:cubicBezTo>
                    <a:pt x="4384" y="160"/>
                    <a:pt x="4328" y="170"/>
                    <a:pt x="4310" y="170"/>
                  </a:cubicBezTo>
                  <a:cubicBezTo>
                    <a:pt x="4291" y="170"/>
                    <a:pt x="4256" y="195"/>
                    <a:pt x="4256" y="195"/>
                  </a:cubicBezTo>
                  <a:cubicBezTo>
                    <a:pt x="4305" y="187"/>
                    <a:pt x="4305" y="187"/>
                    <a:pt x="4305" y="187"/>
                  </a:cubicBezTo>
                  <a:cubicBezTo>
                    <a:pt x="4303" y="199"/>
                    <a:pt x="4303" y="199"/>
                    <a:pt x="4303" y="199"/>
                  </a:cubicBezTo>
                  <a:cubicBezTo>
                    <a:pt x="4345" y="187"/>
                    <a:pt x="4345" y="187"/>
                    <a:pt x="4345" y="187"/>
                  </a:cubicBezTo>
                  <a:cubicBezTo>
                    <a:pt x="4298" y="205"/>
                    <a:pt x="4298" y="205"/>
                    <a:pt x="4298" y="205"/>
                  </a:cubicBezTo>
                  <a:cubicBezTo>
                    <a:pt x="4298" y="205"/>
                    <a:pt x="4306" y="216"/>
                    <a:pt x="4322" y="216"/>
                  </a:cubicBezTo>
                  <a:cubicBezTo>
                    <a:pt x="4339" y="216"/>
                    <a:pt x="4384" y="199"/>
                    <a:pt x="4384" y="199"/>
                  </a:cubicBezTo>
                  <a:cubicBezTo>
                    <a:pt x="4316" y="225"/>
                    <a:pt x="4316" y="225"/>
                    <a:pt x="4316" y="225"/>
                  </a:cubicBezTo>
                  <a:cubicBezTo>
                    <a:pt x="4271" y="222"/>
                    <a:pt x="4271" y="222"/>
                    <a:pt x="4271" y="222"/>
                  </a:cubicBezTo>
                  <a:cubicBezTo>
                    <a:pt x="4262" y="205"/>
                    <a:pt x="4262" y="205"/>
                    <a:pt x="4262" y="205"/>
                  </a:cubicBezTo>
                  <a:cubicBezTo>
                    <a:pt x="4262" y="205"/>
                    <a:pt x="4229" y="202"/>
                    <a:pt x="4219" y="204"/>
                  </a:cubicBezTo>
                  <a:cubicBezTo>
                    <a:pt x="4209" y="206"/>
                    <a:pt x="4223" y="231"/>
                    <a:pt x="4223" y="231"/>
                  </a:cubicBezTo>
                  <a:cubicBezTo>
                    <a:pt x="4223" y="231"/>
                    <a:pt x="4179" y="235"/>
                    <a:pt x="4173" y="235"/>
                  </a:cubicBezTo>
                  <a:cubicBezTo>
                    <a:pt x="4166" y="235"/>
                    <a:pt x="4136" y="250"/>
                    <a:pt x="4116" y="252"/>
                  </a:cubicBezTo>
                  <a:cubicBezTo>
                    <a:pt x="4104" y="253"/>
                    <a:pt x="4095" y="254"/>
                    <a:pt x="4092" y="254"/>
                  </a:cubicBezTo>
                  <a:cubicBezTo>
                    <a:pt x="4089" y="254"/>
                    <a:pt x="4108" y="260"/>
                    <a:pt x="4123" y="260"/>
                  </a:cubicBezTo>
                  <a:cubicBezTo>
                    <a:pt x="4138" y="260"/>
                    <a:pt x="4145" y="253"/>
                    <a:pt x="4145" y="253"/>
                  </a:cubicBezTo>
                  <a:cubicBezTo>
                    <a:pt x="4137" y="265"/>
                    <a:pt x="4137" y="265"/>
                    <a:pt x="4137" y="265"/>
                  </a:cubicBezTo>
                  <a:cubicBezTo>
                    <a:pt x="4162" y="260"/>
                    <a:pt x="4162" y="260"/>
                    <a:pt x="4162" y="260"/>
                  </a:cubicBezTo>
                  <a:cubicBezTo>
                    <a:pt x="4177" y="253"/>
                    <a:pt x="4177" y="253"/>
                    <a:pt x="4177" y="253"/>
                  </a:cubicBezTo>
                  <a:cubicBezTo>
                    <a:pt x="4177" y="261"/>
                    <a:pt x="4177" y="261"/>
                    <a:pt x="4177" y="261"/>
                  </a:cubicBezTo>
                  <a:cubicBezTo>
                    <a:pt x="4194" y="259"/>
                    <a:pt x="4194" y="259"/>
                    <a:pt x="4194" y="259"/>
                  </a:cubicBezTo>
                  <a:cubicBezTo>
                    <a:pt x="4210" y="257"/>
                    <a:pt x="4210" y="257"/>
                    <a:pt x="4210" y="257"/>
                  </a:cubicBezTo>
                  <a:cubicBezTo>
                    <a:pt x="4210" y="257"/>
                    <a:pt x="4211" y="266"/>
                    <a:pt x="4222" y="267"/>
                  </a:cubicBezTo>
                  <a:cubicBezTo>
                    <a:pt x="4233" y="268"/>
                    <a:pt x="4255" y="254"/>
                    <a:pt x="4255" y="254"/>
                  </a:cubicBezTo>
                  <a:cubicBezTo>
                    <a:pt x="4260" y="263"/>
                    <a:pt x="4260" y="263"/>
                    <a:pt x="4260" y="263"/>
                  </a:cubicBezTo>
                  <a:cubicBezTo>
                    <a:pt x="4278" y="253"/>
                    <a:pt x="4278" y="253"/>
                    <a:pt x="4278" y="253"/>
                  </a:cubicBezTo>
                  <a:cubicBezTo>
                    <a:pt x="4278" y="253"/>
                    <a:pt x="4284" y="261"/>
                    <a:pt x="4292" y="264"/>
                  </a:cubicBezTo>
                  <a:cubicBezTo>
                    <a:pt x="4301" y="266"/>
                    <a:pt x="4310" y="255"/>
                    <a:pt x="4310" y="255"/>
                  </a:cubicBezTo>
                  <a:cubicBezTo>
                    <a:pt x="4310" y="255"/>
                    <a:pt x="4319" y="263"/>
                    <a:pt x="4332" y="263"/>
                  </a:cubicBezTo>
                  <a:cubicBezTo>
                    <a:pt x="4345" y="263"/>
                    <a:pt x="4335" y="251"/>
                    <a:pt x="4335" y="251"/>
                  </a:cubicBezTo>
                  <a:cubicBezTo>
                    <a:pt x="4373" y="265"/>
                    <a:pt x="4373" y="265"/>
                    <a:pt x="4373" y="265"/>
                  </a:cubicBezTo>
                  <a:cubicBezTo>
                    <a:pt x="4373" y="265"/>
                    <a:pt x="4380" y="274"/>
                    <a:pt x="4384" y="274"/>
                  </a:cubicBezTo>
                  <a:cubicBezTo>
                    <a:pt x="4388" y="274"/>
                    <a:pt x="4446" y="261"/>
                    <a:pt x="4457" y="261"/>
                  </a:cubicBezTo>
                  <a:cubicBezTo>
                    <a:pt x="4468" y="261"/>
                    <a:pt x="4493" y="251"/>
                    <a:pt x="4497" y="244"/>
                  </a:cubicBezTo>
                  <a:cubicBezTo>
                    <a:pt x="4501" y="238"/>
                    <a:pt x="4455" y="243"/>
                    <a:pt x="4455" y="243"/>
                  </a:cubicBezTo>
                  <a:cubicBezTo>
                    <a:pt x="4455" y="243"/>
                    <a:pt x="4464" y="236"/>
                    <a:pt x="4457" y="233"/>
                  </a:cubicBezTo>
                  <a:cubicBezTo>
                    <a:pt x="4451" y="231"/>
                    <a:pt x="4425" y="233"/>
                    <a:pt x="4425" y="233"/>
                  </a:cubicBezTo>
                  <a:cubicBezTo>
                    <a:pt x="4387" y="227"/>
                    <a:pt x="4387" y="227"/>
                    <a:pt x="4387" y="227"/>
                  </a:cubicBezTo>
                  <a:cubicBezTo>
                    <a:pt x="4399" y="214"/>
                    <a:pt x="4399" y="214"/>
                    <a:pt x="4399" y="214"/>
                  </a:cubicBezTo>
                  <a:cubicBezTo>
                    <a:pt x="4441" y="228"/>
                    <a:pt x="4441" y="228"/>
                    <a:pt x="4441" y="228"/>
                  </a:cubicBezTo>
                  <a:cubicBezTo>
                    <a:pt x="4441" y="228"/>
                    <a:pt x="4496" y="225"/>
                    <a:pt x="4516" y="224"/>
                  </a:cubicBezTo>
                  <a:cubicBezTo>
                    <a:pt x="4537" y="223"/>
                    <a:pt x="4532" y="205"/>
                    <a:pt x="4532" y="205"/>
                  </a:cubicBezTo>
                  <a:cubicBezTo>
                    <a:pt x="4532" y="205"/>
                    <a:pt x="4557" y="200"/>
                    <a:pt x="4576" y="200"/>
                  </a:cubicBezTo>
                  <a:cubicBezTo>
                    <a:pt x="4594" y="200"/>
                    <a:pt x="4632" y="191"/>
                    <a:pt x="4632" y="191"/>
                  </a:cubicBezTo>
                  <a:cubicBezTo>
                    <a:pt x="4614" y="180"/>
                    <a:pt x="4614" y="180"/>
                    <a:pt x="4614" y="180"/>
                  </a:cubicBezTo>
                  <a:cubicBezTo>
                    <a:pt x="4614" y="180"/>
                    <a:pt x="4637" y="180"/>
                    <a:pt x="4662" y="174"/>
                  </a:cubicBezTo>
                  <a:cubicBezTo>
                    <a:pt x="4687" y="169"/>
                    <a:pt x="4629" y="159"/>
                    <a:pt x="4629" y="159"/>
                  </a:cubicBezTo>
                  <a:cubicBezTo>
                    <a:pt x="4629" y="159"/>
                    <a:pt x="4597" y="160"/>
                    <a:pt x="4586" y="156"/>
                  </a:cubicBezTo>
                  <a:cubicBezTo>
                    <a:pt x="4576" y="152"/>
                    <a:pt x="4634" y="138"/>
                    <a:pt x="4637" y="139"/>
                  </a:cubicBezTo>
                  <a:cubicBezTo>
                    <a:pt x="4640" y="140"/>
                    <a:pt x="4682" y="144"/>
                    <a:pt x="4682" y="144"/>
                  </a:cubicBezTo>
                  <a:cubicBezTo>
                    <a:pt x="4682" y="144"/>
                    <a:pt x="4730" y="142"/>
                    <a:pt x="4745" y="139"/>
                  </a:cubicBezTo>
                  <a:cubicBezTo>
                    <a:pt x="4760" y="135"/>
                    <a:pt x="4711" y="133"/>
                    <a:pt x="4729" y="126"/>
                  </a:cubicBezTo>
                  <a:cubicBezTo>
                    <a:pt x="4746" y="118"/>
                    <a:pt x="4778" y="132"/>
                    <a:pt x="4798" y="132"/>
                  </a:cubicBezTo>
                  <a:cubicBezTo>
                    <a:pt x="4817" y="132"/>
                    <a:pt x="4810" y="115"/>
                    <a:pt x="4810" y="115"/>
                  </a:cubicBezTo>
                  <a:cubicBezTo>
                    <a:pt x="4858" y="118"/>
                    <a:pt x="4858" y="118"/>
                    <a:pt x="4858" y="118"/>
                  </a:cubicBezTo>
                  <a:cubicBezTo>
                    <a:pt x="4861" y="104"/>
                    <a:pt x="4861" y="104"/>
                    <a:pt x="4861" y="104"/>
                  </a:cubicBezTo>
                  <a:cubicBezTo>
                    <a:pt x="4861" y="104"/>
                    <a:pt x="4874" y="108"/>
                    <a:pt x="4883" y="108"/>
                  </a:cubicBezTo>
                  <a:cubicBezTo>
                    <a:pt x="4891" y="108"/>
                    <a:pt x="4922" y="96"/>
                    <a:pt x="4922" y="96"/>
                  </a:cubicBezTo>
                  <a:cubicBezTo>
                    <a:pt x="4922" y="96"/>
                    <a:pt x="4981" y="86"/>
                    <a:pt x="5013" y="80"/>
                  </a:cubicBezTo>
                  <a:cubicBezTo>
                    <a:pt x="5046" y="75"/>
                    <a:pt x="5049" y="70"/>
                    <a:pt x="5044" y="70"/>
                  </a:cubicBezTo>
                  <a:cubicBezTo>
                    <a:pt x="5040" y="70"/>
                    <a:pt x="4973" y="73"/>
                    <a:pt x="4973" y="73"/>
                  </a:cubicBezTo>
                  <a:cubicBezTo>
                    <a:pt x="4956" y="80"/>
                    <a:pt x="4956" y="80"/>
                    <a:pt x="4956" y="80"/>
                  </a:cubicBezTo>
                  <a:cubicBezTo>
                    <a:pt x="4910" y="77"/>
                    <a:pt x="4910" y="77"/>
                    <a:pt x="4910" y="77"/>
                  </a:cubicBezTo>
                  <a:cubicBezTo>
                    <a:pt x="4963" y="74"/>
                    <a:pt x="4963" y="74"/>
                    <a:pt x="4963" y="74"/>
                  </a:cubicBezTo>
                  <a:cubicBezTo>
                    <a:pt x="4961" y="65"/>
                    <a:pt x="4961" y="65"/>
                    <a:pt x="4961" y="65"/>
                  </a:cubicBezTo>
                  <a:cubicBezTo>
                    <a:pt x="4994" y="70"/>
                    <a:pt x="4994" y="70"/>
                    <a:pt x="4994" y="70"/>
                  </a:cubicBezTo>
                  <a:cubicBezTo>
                    <a:pt x="4994" y="70"/>
                    <a:pt x="4999" y="62"/>
                    <a:pt x="5008" y="62"/>
                  </a:cubicBezTo>
                  <a:cubicBezTo>
                    <a:pt x="5016" y="62"/>
                    <a:pt x="5117" y="58"/>
                    <a:pt x="5135" y="57"/>
                  </a:cubicBezTo>
                  <a:cubicBezTo>
                    <a:pt x="5153" y="56"/>
                    <a:pt x="5200" y="43"/>
                    <a:pt x="5197" y="39"/>
                  </a:cubicBezTo>
                  <a:cubicBezTo>
                    <a:pt x="5195" y="36"/>
                    <a:pt x="5140" y="41"/>
                    <a:pt x="5140" y="41"/>
                  </a:cubicBezTo>
                  <a:cubicBezTo>
                    <a:pt x="5142" y="31"/>
                    <a:pt x="5142" y="31"/>
                    <a:pt x="5142" y="31"/>
                  </a:cubicBezTo>
                  <a:cubicBezTo>
                    <a:pt x="5142" y="31"/>
                    <a:pt x="5107" y="23"/>
                    <a:pt x="5094" y="23"/>
                  </a:cubicBezTo>
                  <a:cubicBezTo>
                    <a:pt x="5081" y="23"/>
                    <a:pt x="5009" y="38"/>
                    <a:pt x="5009" y="38"/>
                  </a:cubicBezTo>
                  <a:cubicBezTo>
                    <a:pt x="5042" y="23"/>
                    <a:pt x="5042" y="23"/>
                    <a:pt x="5042" y="23"/>
                  </a:cubicBezTo>
                  <a:cubicBezTo>
                    <a:pt x="4997" y="25"/>
                    <a:pt x="4997" y="25"/>
                    <a:pt x="4997" y="25"/>
                  </a:cubicBezTo>
                  <a:cubicBezTo>
                    <a:pt x="4997" y="25"/>
                    <a:pt x="4961" y="13"/>
                    <a:pt x="4951" y="15"/>
                  </a:cubicBezTo>
                  <a:cubicBezTo>
                    <a:pt x="4940" y="17"/>
                    <a:pt x="4935" y="28"/>
                    <a:pt x="4935" y="28"/>
                  </a:cubicBezTo>
                  <a:cubicBezTo>
                    <a:pt x="4935" y="28"/>
                    <a:pt x="4909" y="16"/>
                    <a:pt x="4900" y="16"/>
                  </a:cubicBezTo>
                  <a:cubicBezTo>
                    <a:pt x="4891" y="16"/>
                    <a:pt x="4871" y="31"/>
                    <a:pt x="4871" y="31"/>
                  </a:cubicBezTo>
                  <a:cubicBezTo>
                    <a:pt x="4845" y="23"/>
                    <a:pt x="4845" y="23"/>
                    <a:pt x="4845" y="23"/>
                  </a:cubicBezTo>
                  <a:cubicBezTo>
                    <a:pt x="4772" y="20"/>
                    <a:pt x="4772" y="20"/>
                    <a:pt x="4772" y="20"/>
                  </a:cubicBezTo>
                  <a:cubicBezTo>
                    <a:pt x="4790" y="38"/>
                    <a:pt x="4790" y="38"/>
                    <a:pt x="4790" y="38"/>
                  </a:cubicBezTo>
                  <a:cubicBezTo>
                    <a:pt x="4748" y="24"/>
                    <a:pt x="4748" y="24"/>
                    <a:pt x="4748" y="24"/>
                  </a:cubicBezTo>
                  <a:cubicBezTo>
                    <a:pt x="4707" y="31"/>
                    <a:pt x="4707" y="31"/>
                    <a:pt x="4707" y="31"/>
                  </a:cubicBezTo>
                  <a:cubicBezTo>
                    <a:pt x="4707" y="31"/>
                    <a:pt x="4677" y="25"/>
                    <a:pt x="4661" y="25"/>
                  </a:cubicBezTo>
                  <a:cubicBezTo>
                    <a:pt x="4645" y="25"/>
                    <a:pt x="4596" y="37"/>
                    <a:pt x="4596" y="37"/>
                  </a:cubicBezTo>
                  <a:cubicBezTo>
                    <a:pt x="4654" y="55"/>
                    <a:pt x="4654" y="55"/>
                    <a:pt x="4654" y="55"/>
                  </a:cubicBezTo>
                  <a:cubicBezTo>
                    <a:pt x="4596" y="47"/>
                    <a:pt x="4596" y="47"/>
                    <a:pt x="4596" y="47"/>
                  </a:cubicBezTo>
                  <a:cubicBezTo>
                    <a:pt x="4596" y="47"/>
                    <a:pt x="4541" y="36"/>
                    <a:pt x="4516" y="38"/>
                  </a:cubicBezTo>
                  <a:cubicBezTo>
                    <a:pt x="4492" y="41"/>
                    <a:pt x="4500" y="55"/>
                    <a:pt x="4500" y="55"/>
                  </a:cubicBezTo>
                  <a:cubicBezTo>
                    <a:pt x="4500" y="55"/>
                    <a:pt x="4438" y="49"/>
                    <a:pt x="4425" y="49"/>
                  </a:cubicBezTo>
                  <a:cubicBezTo>
                    <a:pt x="4412" y="49"/>
                    <a:pt x="4312" y="59"/>
                    <a:pt x="4308" y="61"/>
                  </a:cubicBezTo>
                  <a:cubicBezTo>
                    <a:pt x="4305" y="63"/>
                    <a:pt x="4331" y="69"/>
                    <a:pt x="4331" y="69"/>
                  </a:cubicBezTo>
                  <a:close/>
                  <a:moveTo>
                    <a:pt x="4558" y="1696"/>
                  </a:moveTo>
                  <a:cubicBezTo>
                    <a:pt x="4605" y="1655"/>
                    <a:pt x="4605" y="1655"/>
                    <a:pt x="4605" y="1655"/>
                  </a:cubicBezTo>
                  <a:cubicBezTo>
                    <a:pt x="4600" y="1640"/>
                    <a:pt x="4600" y="1640"/>
                    <a:pt x="4600" y="1640"/>
                  </a:cubicBezTo>
                  <a:cubicBezTo>
                    <a:pt x="4578" y="1649"/>
                    <a:pt x="4578" y="1649"/>
                    <a:pt x="4578" y="1649"/>
                  </a:cubicBezTo>
                  <a:cubicBezTo>
                    <a:pt x="4558" y="1648"/>
                    <a:pt x="4558" y="1648"/>
                    <a:pt x="4558" y="1648"/>
                  </a:cubicBezTo>
                  <a:cubicBezTo>
                    <a:pt x="4580" y="1634"/>
                    <a:pt x="4580" y="1634"/>
                    <a:pt x="4580" y="1634"/>
                  </a:cubicBezTo>
                  <a:cubicBezTo>
                    <a:pt x="4556" y="1633"/>
                    <a:pt x="4556" y="1633"/>
                    <a:pt x="4556" y="1633"/>
                  </a:cubicBezTo>
                  <a:cubicBezTo>
                    <a:pt x="4556" y="1633"/>
                    <a:pt x="4600" y="1581"/>
                    <a:pt x="4594" y="1580"/>
                  </a:cubicBezTo>
                  <a:cubicBezTo>
                    <a:pt x="4588" y="1580"/>
                    <a:pt x="4562" y="1577"/>
                    <a:pt x="4570" y="1574"/>
                  </a:cubicBezTo>
                  <a:cubicBezTo>
                    <a:pt x="4579" y="1571"/>
                    <a:pt x="4589" y="1556"/>
                    <a:pt x="4589" y="1556"/>
                  </a:cubicBezTo>
                  <a:cubicBezTo>
                    <a:pt x="4576" y="1547"/>
                    <a:pt x="4576" y="1547"/>
                    <a:pt x="4576" y="1547"/>
                  </a:cubicBezTo>
                  <a:cubicBezTo>
                    <a:pt x="4542" y="1568"/>
                    <a:pt x="4542" y="1568"/>
                    <a:pt x="4542" y="1568"/>
                  </a:cubicBezTo>
                  <a:cubicBezTo>
                    <a:pt x="4536" y="1549"/>
                    <a:pt x="4536" y="1549"/>
                    <a:pt x="4536" y="1549"/>
                  </a:cubicBezTo>
                  <a:cubicBezTo>
                    <a:pt x="4516" y="1551"/>
                    <a:pt x="4516" y="1551"/>
                    <a:pt x="4516" y="1551"/>
                  </a:cubicBezTo>
                  <a:cubicBezTo>
                    <a:pt x="4524" y="1530"/>
                    <a:pt x="4524" y="1530"/>
                    <a:pt x="4524" y="1530"/>
                  </a:cubicBezTo>
                  <a:cubicBezTo>
                    <a:pt x="4508" y="1524"/>
                    <a:pt x="4508" y="1524"/>
                    <a:pt x="4508" y="1524"/>
                  </a:cubicBezTo>
                  <a:cubicBezTo>
                    <a:pt x="4494" y="1512"/>
                    <a:pt x="4494" y="1512"/>
                    <a:pt x="4494" y="1512"/>
                  </a:cubicBezTo>
                  <a:cubicBezTo>
                    <a:pt x="4476" y="1542"/>
                    <a:pt x="4476" y="1542"/>
                    <a:pt x="4476" y="1542"/>
                  </a:cubicBezTo>
                  <a:cubicBezTo>
                    <a:pt x="4459" y="1555"/>
                    <a:pt x="4459" y="1555"/>
                    <a:pt x="4459" y="1555"/>
                  </a:cubicBezTo>
                  <a:cubicBezTo>
                    <a:pt x="4461" y="1537"/>
                    <a:pt x="4461" y="1537"/>
                    <a:pt x="4461" y="1537"/>
                  </a:cubicBezTo>
                  <a:cubicBezTo>
                    <a:pt x="4485" y="1508"/>
                    <a:pt x="4485" y="1508"/>
                    <a:pt x="4485" y="1508"/>
                  </a:cubicBezTo>
                  <a:cubicBezTo>
                    <a:pt x="4485" y="1508"/>
                    <a:pt x="4500" y="1507"/>
                    <a:pt x="4512" y="1496"/>
                  </a:cubicBezTo>
                  <a:cubicBezTo>
                    <a:pt x="4524" y="1485"/>
                    <a:pt x="4529" y="1465"/>
                    <a:pt x="4529" y="1465"/>
                  </a:cubicBezTo>
                  <a:cubicBezTo>
                    <a:pt x="4543" y="1456"/>
                    <a:pt x="4543" y="1456"/>
                    <a:pt x="4543" y="1456"/>
                  </a:cubicBezTo>
                  <a:cubicBezTo>
                    <a:pt x="4543" y="1456"/>
                    <a:pt x="4558" y="1446"/>
                    <a:pt x="4540" y="1441"/>
                  </a:cubicBezTo>
                  <a:cubicBezTo>
                    <a:pt x="4523" y="1436"/>
                    <a:pt x="4494" y="1453"/>
                    <a:pt x="4494" y="1453"/>
                  </a:cubicBezTo>
                  <a:cubicBezTo>
                    <a:pt x="4457" y="1501"/>
                    <a:pt x="4457" y="1501"/>
                    <a:pt x="4457" y="1501"/>
                  </a:cubicBezTo>
                  <a:cubicBezTo>
                    <a:pt x="4420" y="1537"/>
                    <a:pt x="4420" y="1537"/>
                    <a:pt x="4420" y="1537"/>
                  </a:cubicBezTo>
                  <a:cubicBezTo>
                    <a:pt x="4364" y="1589"/>
                    <a:pt x="4364" y="1589"/>
                    <a:pt x="4364" y="1589"/>
                  </a:cubicBezTo>
                  <a:cubicBezTo>
                    <a:pt x="4364" y="1589"/>
                    <a:pt x="4324" y="1606"/>
                    <a:pt x="4322" y="1612"/>
                  </a:cubicBezTo>
                  <a:cubicBezTo>
                    <a:pt x="4320" y="1619"/>
                    <a:pt x="4348" y="1622"/>
                    <a:pt x="4348" y="1622"/>
                  </a:cubicBezTo>
                  <a:cubicBezTo>
                    <a:pt x="4348" y="1622"/>
                    <a:pt x="4314" y="1625"/>
                    <a:pt x="4326" y="1637"/>
                  </a:cubicBezTo>
                  <a:cubicBezTo>
                    <a:pt x="4338" y="1649"/>
                    <a:pt x="4378" y="1635"/>
                    <a:pt x="4378" y="1635"/>
                  </a:cubicBezTo>
                  <a:cubicBezTo>
                    <a:pt x="4378" y="1635"/>
                    <a:pt x="4450" y="1652"/>
                    <a:pt x="4466" y="1653"/>
                  </a:cubicBezTo>
                  <a:cubicBezTo>
                    <a:pt x="4482" y="1653"/>
                    <a:pt x="4473" y="1664"/>
                    <a:pt x="4473" y="1664"/>
                  </a:cubicBezTo>
                  <a:cubicBezTo>
                    <a:pt x="4445" y="1672"/>
                    <a:pt x="4445" y="1672"/>
                    <a:pt x="4445" y="1672"/>
                  </a:cubicBezTo>
                  <a:cubicBezTo>
                    <a:pt x="4447" y="1675"/>
                    <a:pt x="4447" y="1675"/>
                    <a:pt x="4447" y="1675"/>
                  </a:cubicBezTo>
                  <a:cubicBezTo>
                    <a:pt x="4472" y="1679"/>
                    <a:pt x="4472" y="1679"/>
                    <a:pt x="4472" y="1679"/>
                  </a:cubicBezTo>
                  <a:cubicBezTo>
                    <a:pt x="4519" y="1673"/>
                    <a:pt x="4519" y="1673"/>
                    <a:pt x="4519" y="1673"/>
                  </a:cubicBezTo>
                  <a:cubicBezTo>
                    <a:pt x="4524" y="1678"/>
                    <a:pt x="4524" y="1678"/>
                    <a:pt x="4524" y="1678"/>
                  </a:cubicBezTo>
                  <a:cubicBezTo>
                    <a:pt x="4546" y="1676"/>
                    <a:pt x="4546" y="1676"/>
                    <a:pt x="4546" y="1676"/>
                  </a:cubicBezTo>
                  <a:cubicBezTo>
                    <a:pt x="4530" y="1692"/>
                    <a:pt x="4530" y="1692"/>
                    <a:pt x="4530" y="1692"/>
                  </a:cubicBezTo>
                  <a:lnTo>
                    <a:pt x="4558" y="1696"/>
                  </a:lnTo>
                  <a:close/>
                  <a:moveTo>
                    <a:pt x="5966" y="589"/>
                  </a:moveTo>
                  <a:cubicBezTo>
                    <a:pt x="5984" y="589"/>
                    <a:pt x="5984" y="589"/>
                    <a:pt x="5984" y="589"/>
                  </a:cubicBezTo>
                  <a:cubicBezTo>
                    <a:pt x="5993" y="578"/>
                    <a:pt x="5993" y="578"/>
                    <a:pt x="5993" y="578"/>
                  </a:cubicBezTo>
                  <a:cubicBezTo>
                    <a:pt x="6010" y="578"/>
                    <a:pt x="6010" y="578"/>
                    <a:pt x="6010" y="578"/>
                  </a:cubicBezTo>
                  <a:cubicBezTo>
                    <a:pt x="6010" y="578"/>
                    <a:pt x="6028" y="561"/>
                    <a:pt x="6032" y="558"/>
                  </a:cubicBezTo>
                  <a:cubicBezTo>
                    <a:pt x="6036" y="555"/>
                    <a:pt x="6062" y="553"/>
                    <a:pt x="6062" y="553"/>
                  </a:cubicBezTo>
                  <a:cubicBezTo>
                    <a:pt x="6094" y="542"/>
                    <a:pt x="6094" y="542"/>
                    <a:pt x="6094" y="542"/>
                  </a:cubicBezTo>
                  <a:cubicBezTo>
                    <a:pt x="6115" y="537"/>
                    <a:pt x="6115" y="537"/>
                    <a:pt x="6115" y="537"/>
                  </a:cubicBezTo>
                  <a:cubicBezTo>
                    <a:pt x="6120" y="529"/>
                    <a:pt x="6120" y="529"/>
                    <a:pt x="6120" y="529"/>
                  </a:cubicBezTo>
                  <a:cubicBezTo>
                    <a:pt x="6120" y="529"/>
                    <a:pt x="6100" y="531"/>
                    <a:pt x="6088" y="531"/>
                  </a:cubicBezTo>
                  <a:cubicBezTo>
                    <a:pt x="6076" y="531"/>
                    <a:pt x="6068" y="524"/>
                    <a:pt x="6053" y="522"/>
                  </a:cubicBezTo>
                  <a:cubicBezTo>
                    <a:pt x="6038" y="520"/>
                    <a:pt x="6010" y="520"/>
                    <a:pt x="5996" y="524"/>
                  </a:cubicBezTo>
                  <a:cubicBezTo>
                    <a:pt x="5982" y="528"/>
                    <a:pt x="5962" y="528"/>
                    <a:pt x="5962" y="528"/>
                  </a:cubicBezTo>
                  <a:cubicBezTo>
                    <a:pt x="5952" y="537"/>
                    <a:pt x="5952" y="537"/>
                    <a:pt x="5952" y="537"/>
                  </a:cubicBezTo>
                  <a:cubicBezTo>
                    <a:pt x="5952" y="537"/>
                    <a:pt x="5907" y="541"/>
                    <a:pt x="5914" y="535"/>
                  </a:cubicBezTo>
                  <a:cubicBezTo>
                    <a:pt x="5921" y="529"/>
                    <a:pt x="5981" y="520"/>
                    <a:pt x="5981" y="520"/>
                  </a:cubicBezTo>
                  <a:cubicBezTo>
                    <a:pt x="5981" y="520"/>
                    <a:pt x="6041" y="508"/>
                    <a:pt x="6026" y="499"/>
                  </a:cubicBezTo>
                  <a:cubicBezTo>
                    <a:pt x="6011" y="490"/>
                    <a:pt x="6003" y="490"/>
                    <a:pt x="6003" y="490"/>
                  </a:cubicBezTo>
                  <a:cubicBezTo>
                    <a:pt x="6003" y="490"/>
                    <a:pt x="5948" y="508"/>
                    <a:pt x="5942" y="511"/>
                  </a:cubicBezTo>
                  <a:cubicBezTo>
                    <a:pt x="5936" y="514"/>
                    <a:pt x="5910" y="512"/>
                    <a:pt x="5910" y="512"/>
                  </a:cubicBezTo>
                  <a:cubicBezTo>
                    <a:pt x="5934" y="500"/>
                    <a:pt x="5934" y="500"/>
                    <a:pt x="5934" y="500"/>
                  </a:cubicBezTo>
                  <a:cubicBezTo>
                    <a:pt x="5948" y="489"/>
                    <a:pt x="5948" y="489"/>
                    <a:pt x="5948" y="489"/>
                  </a:cubicBezTo>
                  <a:cubicBezTo>
                    <a:pt x="5948" y="489"/>
                    <a:pt x="5972" y="493"/>
                    <a:pt x="5979" y="491"/>
                  </a:cubicBezTo>
                  <a:cubicBezTo>
                    <a:pt x="5986" y="489"/>
                    <a:pt x="6004" y="485"/>
                    <a:pt x="6012" y="485"/>
                  </a:cubicBezTo>
                  <a:cubicBezTo>
                    <a:pt x="6020" y="485"/>
                    <a:pt x="6042" y="483"/>
                    <a:pt x="6030" y="477"/>
                  </a:cubicBezTo>
                  <a:cubicBezTo>
                    <a:pt x="6018" y="471"/>
                    <a:pt x="5980" y="470"/>
                    <a:pt x="5980" y="470"/>
                  </a:cubicBezTo>
                  <a:cubicBezTo>
                    <a:pt x="5948" y="472"/>
                    <a:pt x="5948" y="472"/>
                    <a:pt x="5948" y="472"/>
                  </a:cubicBezTo>
                  <a:cubicBezTo>
                    <a:pt x="5964" y="465"/>
                    <a:pt x="5964" y="465"/>
                    <a:pt x="5964" y="465"/>
                  </a:cubicBezTo>
                  <a:cubicBezTo>
                    <a:pt x="5948" y="455"/>
                    <a:pt x="5948" y="455"/>
                    <a:pt x="5948" y="455"/>
                  </a:cubicBezTo>
                  <a:cubicBezTo>
                    <a:pt x="5948" y="455"/>
                    <a:pt x="5946" y="446"/>
                    <a:pt x="5950" y="446"/>
                  </a:cubicBezTo>
                  <a:cubicBezTo>
                    <a:pt x="5954" y="446"/>
                    <a:pt x="5974" y="463"/>
                    <a:pt x="5987" y="464"/>
                  </a:cubicBezTo>
                  <a:cubicBezTo>
                    <a:pt x="6000" y="465"/>
                    <a:pt x="6041" y="477"/>
                    <a:pt x="6041" y="477"/>
                  </a:cubicBezTo>
                  <a:cubicBezTo>
                    <a:pt x="6041" y="477"/>
                    <a:pt x="6059" y="469"/>
                    <a:pt x="6060" y="478"/>
                  </a:cubicBezTo>
                  <a:cubicBezTo>
                    <a:pt x="6061" y="487"/>
                    <a:pt x="6049" y="501"/>
                    <a:pt x="6070" y="507"/>
                  </a:cubicBezTo>
                  <a:cubicBezTo>
                    <a:pt x="6091" y="513"/>
                    <a:pt x="6114" y="514"/>
                    <a:pt x="6114" y="514"/>
                  </a:cubicBezTo>
                  <a:cubicBezTo>
                    <a:pt x="6114" y="514"/>
                    <a:pt x="6116" y="499"/>
                    <a:pt x="6120" y="502"/>
                  </a:cubicBezTo>
                  <a:cubicBezTo>
                    <a:pt x="6124" y="505"/>
                    <a:pt x="6120" y="520"/>
                    <a:pt x="6129" y="520"/>
                  </a:cubicBezTo>
                  <a:cubicBezTo>
                    <a:pt x="6138" y="520"/>
                    <a:pt x="6150" y="510"/>
                    <a:pt x="6150" y="510"/>
                  </a:cubicBezTo>
                  <a:cubicBezTo>
                    <a:pt x="6150" y="494"/>
                    <a:pt x="6150" y="494"/>
                    <a:pt x="6150" y="494"/>
                  </a:cubicBezTo>
                  <a:cubicBezTo>
                    <a:pt x="6144" y="492"/>
                    <a:pt x="6144" y="492"/>
                    <a:pt x="6144" y="492"/>
                  </a:cubicBezTo>
                  <a:cubicBezTo>
                    <a:pt x="6144" y="492"/>
                    <a:pt x="6158" y="481"/>
                    <a:pt x="6152" y="476"/>
                  </a:cubicBezTo>
                  <a:cubicBezTo>
                    <a:pt x="6146" y="471"/>
                    <a:pt x="6135" y="477"/>
                    <a:pt x="6135" y="477"/>
                  </a:cubicBezTo>
                  <a:cubicBezTo>
                    <a:pt x="6129" y="462"/>
                    <a:pt x="6129" y="462"/>
                    <a:pt x="6129" y="462"/>
                  </a:cubicBezTo>
                  <a:cubicBezTo>
                    <a:pt x="6118" y="459"/>
                    <a:pt x="6118" y="459"/>
                    <a:pt x="6118" y="459"/>
                  </a:cubicBezTo>
                  <a:cubicBezTo>
                    <a:pt x="6121" y="449"/>
                    <a:pt x="6121" y="449"/>
                    <a:pt x="6121" y="449"/>
                  </a:cubicBezTo>
                  <a:cubicBezTo>
                    <a:pt x="6073" y="430"/>
                    <a:pt x="6073" y="430"/>
                    <a:pt x="6073" y="430"/>
                  </a:cubicBezTo>
                  <a:cubicBezTo>
                    <a:pt x="6046" y="437"/>
                    <a:pt x="6046" y="437"/>
                    <a:pt x="6046" y="437"/>
                  </a:cubicBezTo>
                  <a:cubicBezTo>
                    <a:pt x="6040" y="434"/>
                    <a:pt x="6040" y="434"/>
                    <a:pt x="6040" y="434"/>
                  </a:cubicBezTo>
                  <a:cubicBezTo>
                    <a:pt x="6062" y="427"/>
                    <a:pt x="6062" y="427"/>
                    <a:pt x="6062" y="427"/>
                  </a:cubicBezTo>
                  <a:cubicBezTo>
                    <a:pt x="6064" y="424"/>
                    <a:pt x="6064" y="424"/>
                    <a:pt x="6064" y="424"/>
                  </a:cubicBezTo>
                  <a:cubicBezTo>
                    <a:pt x="6064" y="424"/>
                    <a:pt x="6063" y="415"/>
                    <a:pt x="6046" y="415"/>
                  </a:cubicBezTo>
                  <a:cubicBezTo>
                    <a:pt x="6029" y="415"/>
                    <a:pt x="5996" y="412"/>
                    <a:pt x="5996" y="412"/>
                  </a:cubicBezTo>
                  <a:cubicBezTo>
                    <a:pt x="6007" y="398"/>
                    <a:pt x="6007" y="398"/>
                    <a:pt x="6007" y="398"/>
                  </a:cubicBezTo>
                  <a:cubicBezTo>
                    <a:pt x="6007" y="398"/>
                    <a:pt x="6020" y="396"/>
                    <a:pt x="6030" y="400"/>
                  </a:cubicBezTo>
                  <a:cubicBezTo>
                    <a:pt x="6040" y="404"/>
                    <a:pt x="6056" y="393"/>
                    <a:pt x="6056" y="393"/>
                  </a:cubicBezTo>
                  <a:cubicBezTo>
                    <a:pt x="6074" y="390"/>
                    <a:pt x="6074" y="390"/>
                    <a:pt x="6074" y="390"/>
                  </a:cubicBezTo>
                  <a:cubicBezTo>
                    <a:pt x="6106" y="400"/>
                    <a:pt x="6106" y="400"/>
                    <a:pt x="6106" y="400"/>
                  </a:cubicBezTo>
                  <a:cubicBezTo>
                    <a:pt x="6120" y="397"/>
                    <a:pt x="6120" y="397"/>
                    <a:pt x="6120" y="397"/>
                  </a:cubicBezTo>
                  <a:cubicBezTo>
                    <a:pt x="6120" y="397"/>
                    <a:pt x="6146" y="418"/>
                    <a:pt x="6157" y="418"/>
                  </a:cubicBezTo>
                  <a:cubicBezTo>
                    <a:pt x="6168" y="418"/>
                    <a:pt x="6164" y="404"/>
                    <a:pt x="6164" y="404"/>
                  </a:cubicBezTo>
                  <a:cubicBezTo>
                    <a:pt x="6138" y="400"/>
                    <a:pt x="6138" y="400"/>
                    <a:pt x="6138" y="400"/>
                  </a:cubicBezTo>
                  <a:cubicBezTo>
                    <a:pt x="6118" y="390"/>
                    <a:pt x="6118" y="390"/>
                    <a:pt x="6118" y="390"/>
                  </a:cubicBezTo>
                  <a:cubicBezTo>
                    <a:pt x="6087" y="387"/>
                    <a:pt x="6087" y="387"/>
                    <a:pt x="6087" y="387"/>
                  </a:cubicBezTo>
                  <a:cubicBezTo>
                    <a:pt x="6087" y="387"/>
                    <a:pt x="6094" y="378"/>
                    <a:pt x="6101" y="375"/>
                  </a:cubicBezTo>
                  <a:cubicBezTo>
                    <a:pt x="6108" y="372"/>
                    <a:pt x="6125" y="390"/>
                    <a:pt x="6141" y="390"/>
                  </a:cubicBezTo>
                  <a:cubicBezTo>
                    <a:pt x="6157" y="390"/>
                    <a:pt x="6185" y="391"/>
                    <a:pt x="6185" y="391"/>
                  </a:cubicBezTo>
                  <a:cubicBezTo>
                    <a:pt x="6227" y="386"/>
                    <a:pt x="6227" y="386"/>
                    <a:pt x="6227" y="386"/>
                  </a:cubicBezTo>
                  <a:cubicBezTo>
                    <a:pt x="6228" y="368"/>
                    <a:pt x="6228" y="368"/>
                    <a:pt x="6228" y="368"/>
                  </a:cubicBezTo>
                  <a:cubicBezTo>
                    <a:pt x="6199" y="361"/>
                    <a:pt x="6199" y="361"/>
                    <a:pt x="6199" y="361"/>
                  </a:cubicBezTo>
                  <a:cubicBezTo>
                    <a:pt x="6184" y="371"/>
                    <a:pt x="6184" y="371"/>
                    <a:pt x="6184" y="371"/>
                  </a:cubicBezTo>
                  <a:cubicBezTo>
                    <a:pt x="6184" y="371"/>
                    <a:pt x="6170" y="359"/>
                    <a:pt x="6174" y="355"/>
                  </a:cubicBezTo>
                  <a:cubicBezTo>
                    <a:pt x="6178" y="351"/>
                    <a:pt x="6210" y="354"/>
                    <a:pt x="6210" y="354"/>
                  </a:cubicBezTo>
                  <a:cubicBezTo>
                    <a:pt x="6239" y="346"/>
                    <a:pt x="6239" y="346"/>
                    <a:pt x="6239" y="346"/>
                  </a:cubicBezTo>
                  <a:cubicBezTo>
                    <a:pt x="6239" y="346"/>
                    <a:pt x="6256" y="356"/>
                    <a:pt x="6269" y="352"/>
                  </a:cubicBezTo>
                  <a:cubicBezTo>
                    <a:pt x="6282" y="348"/>
                    <a:pt x="6295" y="339"/>
                    <a:pt x="6290" y="337"/>
                  </a:cubicBezTo>
                  <a:cubicBezTo>
                    <a:pt x="6285" y="335"/>
                    <a:pt x="6243" y="334"/>
                    <a:pt x="6239" y="334"/>
                  </a:cubicBezTo>
                  <a:cubicBezTo>
                    <a:pt x="6235" y="334"/>
                    <a:pt x="6243" y="326"/>
                    <a:pt x="6231" y="323"/>
                  </a:cubicBezTo>
                  <a:cubicBezTo>
                    <a:pt x="6219" y="320"/>
                    <a:pt x="6191" y="321"/>
                    <a:pt x="6191" y="321"/>
                  </a:cubicBezTo>
                  <a:cubicBezTo>
                    <a:pt x="6191" y="321"/>
                    <a:pt x="6225" y="320"/>
                    <a:pt x="6228" y="314"/>
                  </a:cubicBezTo>
                  <a:cubicBezTo>
                    <a:pt x="6231" y="308"/>
                    <a:pt x="6192" y="301"/>
                    <a:pt x="6192" y="301"/>
                  </a:cubicBezTo>
                  <a:cubicBezTo>
                    <a:pt x="6192" y="301"/>
                    <a:pt x="6214" y="296"/>
                    <a:pt x="6221" y="299"/>
                  </a:cubicBezTo>
                  <a:cubicBezTo>
                    <a:pt x="6228" y="302"/>
                    <a:pt x="6252" y="310"/>
                    <a:pt x="6258" y="308"/>
                  </a:cubicBezTo>
                  <a:cubicBezTo>
                    <a:pt x="6264" y="306"/>
                    <a:pt x="6266" y="320"/>
                    <a:pt x="6276" y="316"/>
                  </a:cubicBezTo>
                  <a:cubicBezTo>
                    <a:pt x="6286" y="312"/>
                    <a:pt x="6294" y="294"/>
                    <a:pt x="6287" y="289"/>
                  </a:cubicBezTo>
                  <a:cubicBezTo>
                    <a:pt x="6280" y="284"/>
                    <a:pt x="6263" y="272"/>
                    <a:pt x="6263" y="272"/>
                  </a:cubicBezTo>
                  <a:cubicBezTo>
                    <a:pt x="6224" y="264"/>
                    <a:pt x="6224" y="264"/>
                    <a:pt x="6224" y="264"/>
                  </a:cubicBezTo>
                  <a:cubicBezTo>
                    <a:pt x="6224" y="264"/>
                    <a:pt x="6206" y="256"/>
                    <a:pt x="6213" y="250"/>
                  </a:cubicBezTo>
                  <a:cubicBezTo>
                    <a:pt x="6220" y="244"/>
                    <a:pt x="6242" y="249"/>
                    <a:pt x="6242" y="249"/>
                  </a:cubicBezTo>
                  <a:cubicBezTo>
                    <a:pt x="6273" y="242"/>
                    <a:pt x="6273" y="242"/>
                    <a:pt x="6273" y="242"/>
                  </a:cubicBezTo>
                  <a:cubicBezTo>
                    <a:pt x="6273" y="242"/>
                    <a:pt x="6284" y="244"/>
                    <a:pt x="6316" y="246"/>
                  </a:cubicBezTo>
                  <a:cubicBezTo>
                    <a:pt x="6348" y="248"/>
                    <a:pt x="6363" y="225"/>
                    <a:pt x="6340" y="223"/>
                  </a:cubicBezTo>
                  <a:cubicBezTo>
                    <a:pt x="6317" y="221"/>
                    <a:pt x="6283" y="221"/>
                    <a:pt x="6283" y="221"/>
                  </a:cubicBezTo>
                  <a:cubicBezTo>
                    <a:pt x="6282" y="211"/>
                    <a:pt x="6282" y="211"/>
                    <a:pt x="6282" y="211"/>
                  </a:cubicBezTo>
                  <a:cubicBezTo>
                    <a:pt x="6302" y="210"/>
                    <a:pt x="6302" y="210"/>
                    <a:pt x="6302" y="210"/>
                  </a:cubicBezTo>
                  <a:cubicBezTo>
                    <a:pt x="6302" y="210"/>
                    <a:pt x="6296" y="195"/>
                    <a:pt x="6280" y="197"/>
                  </a:cubicBezTo>
                  <a:cubicBezTo>
                    <a:pt x="6264" y="199"/>
                    <a:pt x="6276" y="215"/>
                    <a:pt x="6267" y="216"/>
                  </a:cubicBezTo>
                  <a:cubicBezTo>
                    <a:pt x="6258" y="217"/>
                    <a:pt x="6233" y="204"/>
                    <a:pt x="6242" y="201"/>
                  </a:cubicBezTo>
                  <a:cubicBezTo>
                    <a:pt x="6251" y="198"/>
                    <a:pt x="6275" y="193"/>
                    <a:pt x="6278" y="185"/>
                  </a:cubicBezTo>
                  <a:cubicBezTo>
                    <a:pt x="6281" y="177"/>
                    <a:pt x="6291" y="165"/>
                    <a:pt x="6294" y="164"/>
                  </a:cubicBezTo>
                  <a:cubicBezTo>
                    <a:pt x="6297" y="163"/>
                    <a:pt x="6311" y="170"/>
                    <a:pt x="6320" y="165"/>
                  </a:cubicBezTo>
                  <a:cubicBezTo>
                    <a:pt x="6329" y="160"/>
                    <a:pt x="6342" y="151"/>
                    <a:pt x="6342" y="151"/>
                  </a:cubicBezTo>
                  <a:cubicBezTo>
                    <a:pt x="6332" y="141"/>
                    <a:pt x="6332" y="141"/>
                    <a:pt x="6332" y="141"/>
                  </a:cubicBezTo>
                  <a:cubicBezTo>
                    <a:pt x="6332" y="141"/>
                    <a:pt x="6358" y="128"/>
                    <a:pt x="6364" y="128"/>
                  </a:cubicBezTo>
                  <a:cubicBezTo>
                    <a:pt x="6370" y="128"/>
                    <a:pt x="6380" y="138"/>
                    <a:pt x="6388" y="132"/>
                  </a:cubicBezTo>
                  <a:cubicBezTo>
                    <a:pt x="6396" y="126"/>
                    <a:pt x="6416" y="122"/>
                    <a:pt x="6404" y="119"/>
                  </a:cubicBezTo>
                  <a:cubicBezTo>
                    <a:pt x="6392" y="116"/>
                    <a:pt x="6363" y="119"/>
                    <a:pt x="6363" y="119"/>
                  </a:cubicBezTo>
                  <a:cubicBezTo>
                    <a:pt x="6363" y="119"/>
                    <a:pt x="6308" y="134"/>
                    <a:pt x="6319" y="123"/>
                  </a:cubicBezTo>
                  <a:cubicBezTo>
                    <a:pt x="6330" y="112"/>
                    <a:pt x="6352" y="111"/>
                    <a:pt x="6352" y="111"/>
                  </a:cubicBezTo>
                  <a:cubicBezTo>
                    <a:pt x="6352" y="111"/>
                    <a:pt x="6393" y="113"/>
                    <a:pt x="6414" y="112"/>
                  </a:cubicBezTo>
                  <a:cubicBezTo>
                    <a:pt x="6435" y="111"/>
                    <a:pt x="6451" y="104"/>
                    <a:pt x="6451" y="104"/>
                  </a:cubicBezTo>
                  <a:cubicBezTo>
                    <a:pt x="6451" y="104"/>
                    <a:pt x="6416" y="95"/>
                    <a:pt x="6410" y="98"/>
                  </a:cubicBezTo>
                  <a:cubicBezTo>
                    <a:pt x="6404" y="101"/>
                    <a:pt x="6365" y="102"/>
                    <a:pt x="6365" y="102"/>
                  </a:cubicBezTo>
                  <a:cubicBezTo>
                    <a:pt x="6365" y="102"/>
                    <a:pt x="6318" y="105"/>
                    <a:pt x="6335" y="100"/>
                  </a:cubicBezTo>
                  <a:cubicBezTo>
                    <a:pt x="6352" y="95"/>
                    <a:pt x="6403" y="94"/>
                    <a:pt x="6403" y="94"/>
                  </a:cubicBezTo>
                  <a:cubicBezTo>
                    <a:pt x="6403" y="94"/>
                    <a:pt x="6469" y="95"/>
                    <a:pt x="6480" y="92"/>
                  </a:cubicBezTo>
                  <a:cubicBezTo>
                    <a:pt x="6491" y="89"/>
                    <a:pt x="6500" y="79"/>
                    <a:pt x="6500" y="79"/>
                  </a:cubicBezTo>
                  <a:cubicBezTo>
                    <a:pt x="6500" y="79"/>
                    <a:pt x="6527" y="80"/>
                    <a:pt x="6544" y="78"/>
                  </a:cubicBezTo>
                  <a:cubicBezTo>
                    <a:pt x="6561" y="76"/>
                    <a:pt x="6584" y="67"/>
                    <a:pt x="6584" y="67"/>
                  </a:cubicBezTo>
                  <a:cubicBezTo>
                    <a:pt x="6584" y="67"/>
                    <a:pt x="6558" y="57"/>
                    <a:pt x="6538" y="57"/>
                  </a:cubicBezTo>
                  <a:cubicBezTo>
                    <a:pt x="6518" y="57"/>
                    <a:pt x="6450" y="51"/>
                    <a:pt x="6445" y="57"/>
                  </a:cubicBezTo>
                  <a:cubicBezTo>
                    <a:pt x="6440" y="63"/>
                    <a:pt x="6415" y="69"/>
                    <a:pt x="6404" y="69"/>
                  </a:cubicBezTo>
                  <a:cubicBezTo>
                    <a:pt x="6393" y="69"/>
                    <a:pt x="6348" y="60"/>
                    <a:pt x="6340" y="64"/>
                  </a:cubicBezTo>
                  <a:cubicBezTo>
                    <a:pt x="6332" y="68"/>
                    <a:pt x="6280" y="83"/>
                    <a:pt x="6274" y="86"/>
                  </a:cubicBezTo>
                  <a:cubicBezTo>
                    <a:pt x="6268" y="89"/>
                    <a:pt x="6216" y="101"/>
                    <a:pt x="6225" y="94"/>
                  </a:cubicBezTo>
                  <a:cubicBezTo>
                    <a:pt x="6234" y="87"/>
                    <a:pt x="6308" y="71"/>
                    <a:pt x="6303" y="61"/>
                  </a:cubicBezTo>
                  <a:cubicBezTo>
                    <a:pt x="6298" y="51"/>
                    <a:pt x="6269" y="48"/>
                    <a:pt x="6258" y="52"/>
                  </a:cubicBezTo>
                  <a:cubicBezTo>
                    <a:pt x="6247" y="56"/>
                    <a:pt x="6229" y="63"/>
                    <a:pt x="6229" y="63"/>
                  </a:cubicBezTo>
                  <a:cubicBezTo>
                    <a:pt x="6150" y="73"/>
                    <a:pt x="6150" y="73"/>
                    <a:pt x="6150" y="73"/>
                  </a:cubicBezTo>
                  <a:cubicBezTo>
                    <a:pt x="6150" y="73"/>
                    <a:pt x="6224" y="55"/>
                    <a:pt x="6206" y="54"/>
                  </a:cubicBezTo>
                  <a:cubicBezTo>
                    <a:pt x="6188" y="53"/>
                    <a:pt x="6120" y="52"/>
                    <a:pt x="6120" y="52"/>
                  </a:cubicBezTo>
                  <a:cubicBezTo>
                    <a:pt x="6096" y="57"/>
                    <a:pt x="6096" y="57"/>
                    <a:pt x="6096" y="57"/>
                  </a:cubicBezTo>
                  <a:cubicBezTo>
                    <a:pt x="6051" y="53"/>
                    <a:pt x="6051" y="53"/>
                    <a:pt x="6051" y="53"/>
                  </a:cubicBezTo>
                  <a:cubicBezTo>
                    <a:pt x="6051" y="53"/>
                    <a:pt x="6000" y="68"/>
                    <a:pt x="6002" y="61"/>
                  </a:cubicBezTo>
                  <a:cubicBezTo>
                    <a:pt x="6004" y="54"/>
                    <a:pt x="6064" y="47"/>
                    <a:pt x="6085" y="47"/>
                  </a:cubicBezTo>
                  <a:cubicBezTo>
                    <a:pt x="6106" y="47"/>
                    <a:pt x="6241" y="45"/>
                    <a:pt x="6250" y="45"/>
                  </a:cubicBezTo>
                  <a:cubicBezTo>
                    <a:pt x="6259" y="45"/>
                    <a:pt x="6338" y="43"/>
                    <a:pt x="6329" y="35"/>
                  </a:cubicBezTo>
                  <a:cubicBezTo>
                    <a:pt x="6320" y="27"/>
                    <a:pt x="6270" y="24"/>
                    <a:pt x="6251" y="27"/>
                  </a:cubicBezTo>
                  <a:cubicBezTo>
                    <a:pt x="6232" y="30"/>
                    <a:pt x="6219" y="29"/>
                    <a:pt x="6219" y="29"/>
                  </a:cubicBezTo>
                  <a:cubicBezTo>
                    <a:pt x="6219" y="29"/>
                    <a:pt x="6244" y="18"/>
                    <a:pt x="6228" y="17"/>
                  </a:cubicBezTo>
                  <a:cubicBezTo>
                    <a:pt x="6212" y="16"/>
                    <a:pt x="6185" y="19"/>
                    <a:pt x="6185" y="19"/>
                  </a:cubicBezTo>
                  <a:cubicBezTo>
                    <a:pt x="6185" y="19"/>
                    <a:pt x="6155" y="18"/>
                    <a:pt x="6148" y="16"/>
                  </a:cubicBezTo>
                  <a:cubicBezTo>
                    <a:pt x="6141" y="14"/>
                    <a:pt x="6176" y="17"/>
                    <a:pt x="6183" y="10"/>
                  </a:cubicBezTo>
                  <a:cubicBezTo>
                    <a:pt x="6190" y="3"/>
                    <a:pt x="6147" y="5"/>
                    <a:pt x="6125" y="5"/>
                  </a:cubicBezTo>
                  <a:cubicBezTo>
                    <a:pt x="6103" y="5"/>
                    <a:pt x="6048" y="8"/>
                    <a:pt x="6048" y="8"/>
                  </a:cubicBezTo>
                  <a:cubicBezTo>
                    <a:pt x="6048" y="8"/>
                    <a:pt x="6008" y="4"/>
                    <a:pt x="5985" y="2"/>
                  </a:cubicBezTo>
                  <a:cubicBezTo>
                    <a:pt x="5962" y="0"/>
                    <a:pt x="5939" y="5"/>
                    <a:pt x="5930" y="6"/>
                  </a:cubicBezTo>
                  <a:cubicBezTo>
                    <a:pt x="5921" y="7"/>
                    <a:pt x="5903" y="7"/>
                    <a:pt x="5881" y="6"/>
                  </a:cubicBezTo>
                  <a:cubicBezTo>
                    <a:pt x="5859" y="5"/>
                    <a:pt x="5837" y="5"/>
                    <a:pt x="5839" y="10"/>
                  </a:cubicBezTo>
                  <a:cubicBezTo>
                    <a:pt x="5841" y="15"/>
                    <a:pt x="5870" y="16"/>
                    <a:pt x="5870" y="16"/>
                  </a:cubicBezTo>
                  <a:cubicBezTo>
                    <a:pt x="5870" y="16"/>
                    <a:pt x="5835" y="21"/>
                    <a:pt x="5822" y="20"/>
                  </a:cubicBezTo>
                  <a:cubicBezTo>
                    <a:pt x="5809" y="19"/>
                    <a:pt x="5754" y="13"/>
                    <a:pt x="5740" y="11"/>
                  </a:cubicBezTo>
                  <a:cubicBezTo>
                    <a:pt x="5726" y="9"/>
                    <a:pt x="5688" y="13"/>
                    <a:pt x="5683" y="13"/>
                  </a:cubicBezTo>
                  <a:cubicBezTo>
                    <a:pt x="5678" y="13"/>
                    <a:pt x="5628" y="19"/>
                    <a:pt x="5649" y="24"/>
                  </a:cubicBezTo>
                  <a:cubicBezTo>
                    <a:pt x="5670" y="29"/>
                    <a:pt x="5739" y="31"/>
                    <a:pt x="5739" y="31"/>
                  </a:cubicBezTo>
                  <a:cubicBezTo>
                    <a:pt x="5796" y="38"/>
                    <a:pt x="5796" y="38"/>
                    <a:pt x="5796" y="38"/>
                  </a:cubicBezTo>
                  <a:cubicBezTo>
                    <a:pt x="5796" y="38"/>
                    <a:pt x="5741" y="40"/>
                    <a:pt x="5733" y="40"/>
                  </a:cubicBezTo>
                  <a:cubicBezTo>
                    <a:pt x="5725" y="40"/>
                    <a:pt x="5677" y="27"/>
                    <a:pt x="5678" y="31"/>
                  </a:cubicBezTo>
                  <a:cubicBezTo>
                    <a:pt x="5679" y="35"/>
                    <a:pt x="5699" y="38"/>
                    <a:pt x="5699" y="38"/>
                  </a:cubicBezTo>
                  <a:cubicBezTo>
                    <a:pt x="5668" y="41"/>
                    <a:pt x="5668" y="41"/>
                    <a:pt x="5668" y="41"/>
                  </a:cubicBezTo>
                  <a:cubicBezTo>
                    <a:pt x="5668" y="41"/>
                    <a:pt x="5651" y="55"/>
                    <a:pt x="5655" y="59"/>
                  </a:cubicBezTo>
                  <a:cubicBezTo>
                    <a:pt x="5659" y="63"/>
                    <a:pt x="5631" y="64"/>
                    <a:pt x="5618" y="56"/>
                  </a:cubicBezTo>
                  <a:cubicBezTo>
                    <a:pt x="5605" y="48"/>
                    <a:pt x="5578" y="42"/>
                    <a:pt x="5552" y="40"/>
                  </a:cubicBezTo>
                  <a:cubicBezTo>
                    <a:pt x="5526" y="38"/>
                    <a:pt x="5497" y="38"/>
                    <a:pt x="5497" y="38"/>
                  </a:cubicBezTo>
                  <a:cubicBezTo>
                    <a:pt x="5499" y="58"/>
                    <a:pt x="5499" y="58"/>
                    <a:pt x="5499" y="58"/>
                  </a:cubicBezTo>
                  <a:cubicBezTo>
                    <a:pt x="5499" y="58"/>
                    <a:pt x="5479" y="61"/>
                    <a:pt x="5466" y="59"/>
                  </a:cubicBezTo>
                  <a:cubicBezTo>
                    <a:pt x="5453" y="57"/>
                    <a:pt x="5429" y="49"/>
                    <a:pt x="5421" y="51"/>
                  </a:cubicBezTo>
                  <a:cubicBezTo>
                    <a:pt x="5413" y="53"/>
                    <a:pt x="5395" y="62"/>
                    <a:pt x="5395" y="62"/>
                  </a:cubicBezTo>
                  <a:cubicBezTo>
                    <a:pt x="5395" y="62"/>
                    <a:pt x="5406" y="44"/>
                    <a:pt x="5393" y="44"/>
                  </a:cubicBezTo>
                  <a:cubicBezTo>
                    <a:pt x="5380" y="44"/>
                    <a:pt x="5309" y="45"/>
                    <a:pt x="5290" y="48"/>
                  </a:cubicBezTo>
                  <a:cubicBezTo>
                    <a:pt x="5271" y="51"/>
                    <a:pt x="5238" y="44"/>
                    <a:pt x="5243" y="49"/>
                  </a:cubicBezTo>
                  <a:cubicBezTo>
                    <a:pt x="5248" y="54"/>
                    <a:pt x="5283" y="71"/>
                    <a:pt x="5283" y="71"/>
                  </a:cubicBezTo>
                  <a:cubicBezTo>
                    <a:pt x="5283" y="71"/>
                    <a:pt x="5229" y="54"/>
                    <a:pt x="5220" y="54"/>
                  </a:cubicBezTo>
                  <a:cubicBezTo>
                    <a:pt x="5211" y="54"/>
                    <a:pt x="5184" y="49"/>
                    <a:pt x="5180" y="59"/>
                  </a:cubicBezTo>
                  <a:cubicBezTo>
                    <a:pt x="5176" y="69"/>
                    <a:pt x="5158" y="80"/>
                    <a:pt x="5145" y="80"/>
                  </a:cubicBezTo>
                  <a:cubicBezTo>
                    <a:pt x="5132" y="80"/>
                    <a:pt x="5095" y="80"/>
                    <a:pt x="5095" y="80"/>
                  </a:cubicBezTo>
                  <a:cubicBezTo>
                    <a:pt x="5095" y="80"/>
                    <a:pt x="5021" y="94"/>
                    <a:pt x="5017" y="95"/>
                  </a:cubicBezTo>
                  <a:cubicBezTo>
                    <a:pt x="5013" y="96"/>
                    <a:pt x="4941" y="106"/>
                    <a:pt x="4952" y="113"/>
                  </a:cubicBezTo>
                  <a:cubicBezTo>
                    <a:pt x="4963" y="120"/>
                    <a:pt x="5003" y="122"/>
                    <a:pt x="5008" y="121"/>
                  </a:cubicBezTo>
                  <a:cubicBezTo>
                    <a:pt x="5013" y="120"/>
                    <a:pt x="5028" y="118"/>
                    <a:pt x="5028" y="118"/>
                  </a:cubicBezTo>
                  <a:cubicBezTo>
                    <a:pt x="5004" y="128"/>
                    <a:pt x="5004" y="128"/>
                    <a:pt x="5004" y="128"/>
                  </a:cubicBezTo>
                  <a:cubicBezTo>
                    <a:pt x="4993" y="139"/>
                    <a:pt x="4993" y="139"/>
                    <a:pt x="4993" y="139"/>
                  </a:cubicBezTo>
                  <a:cubicBezTo>
                    <a:pt x="4993" y="139"/>
                    <a:pt x="4946" y="157"/>
                    <a:pt x="4929" y="157"/>
                  </a:cubicBezTo>
                  <a:cubicBezTo>
                    <a:pt x="4912" y="157"/>
                    <a:pt x="4844" y="157"/>
                    <a:pt x="4830" y="169"/>
                  </a:cubicBezTo>
                  <a:cubicBezTo>
                    <a:pt x="4816" y="181"/>
                    <a:pt x="4805" y="167"/>
                    <a:pt x="4805" y="167"/>
                  </a:cubicBezTo>
                  <a:cubicBezTo>
                    <a:pt x="4783" y="176"/>
                    <a:pt x="4783" y="176"/>
                    <a:pt x="4783" y="176"/>
                  </a:cubicBezTo>
                  <a:cubicBezTo>
                    <a:pt x="4750" y="175"/>
                    <a:pt x="4750" y="175"/>
                    <a:pt x="4750" y="175"/>
                  </a:cubicBezTo>
                  <a:cubicBezTo>
                    <a:pt x="4750" y="175"/>
                    <a:pt x="4693" y="181"/>
                    <a:pt x="4707" y="191"/>
                  </a:cubicBezTo>
                  <a:cubicBezTo>
                    <a:pt x="4721" y="201"/>
                    <a:pt x="4744" y="212"/>
                    <a:pt x="4744" y="212"/>
                  </a:cubicBezTo>
                  <a:cubicBezTo>
                    <a:pt x="4764" y="204"/>
                    <a:pt x="4764" y="204"/>
                    <a:pt x="4764" y="204"/>
                  </a:cubicBezTo>
                  <a:cubicBezTo>
                    <a:pt x="4764" y="204"/>
                    <a:pt x="4766" y="216"/>
                    <a:pt x="4776" y="219"/>
                  </a:cubicBezTo>
                  <a:cubicBezTo>
                    <a:pt x="4786" y="222"/>
                    <a:pt x="4809" y="209"/>
                    <a:pt x="4809" y="209"/>
                  </a:cubicBezTo>
                  <a:cubicBezTo>
                    <a:pt x="4809" y="209"/>
                    <a:pt x="4805" y="220"/>
                    <a:pt x="4815" y="220"/>
                  </a:cubicBezTo>
                  <a:cubicBezTo>
                    <a:pt x="4825" y="220"/>
                    <a:pt x="4862" y="204"/>
                    <a:pt x="4869" y="209"/>
                  </a:cubicBezTo>
                  <a:cubicBezTo>
                    <a:pt x="4876" y="214"/>
                    <a:pt x="4874" y="220"/>
                    <a:pt x="4874" y="220"/>
                  </a:cubicBezTo>
                  <a:cubicBezTo>
                    <a:pt x="4863" y="221"/>
                    <a:pt x="4863" y="221"/>
                    <a:pt x="4863" y="221"/>
                  </a:cubicBezTo>
                  <a:cubicBezTo>
                    <a:pt x="4863" y="221"/>
                    <a:pt x="4855" y="232"/>
                    <a:pt x="4848" y="232"/>
                  </a:cubicBezTo>
                  <a:cubicBezTo>
                    <a:pt x="4841" y="232"/>
                    <a:pt x="4845" y="226"/>
                    <a:pt x="4834" y="226"/>
                  </a:cubicBezTo>
                  <a:cubicBezTo>
                    <a:pt x="4823" y="226"/>
                    <a:pt x="4789" y="231"/>
                    <a:pt x="4789" y="231"/>
                  </a:cubicBezTo>
                  <a:cubicBezTo>
                    <a:pt x="4762" y="228"/>
                    <a:pt x="4762" y="228"/>
                    <a:pt x="4762" y="228"/>
                  </a:cubicBezTo>
                  <a:cubicBezTo>
                    <a:pt x="4762" y="228"/>
                    <a:pt x="4724" y="208"/>
                    <a:pt x="4713" y="227"/>
                  </a:cubicBezTo>
                  <a:cubicBezTo>
                    <a:pt x="4702" y="246"/>
                    <a:pt x="4729" y="252"/>
                    <a:pt x="4737" y="251"/>
                  </a:cubicBezTo>
                  <a:cubicBezTo>
                    <a:pt x="4745" y="250"/>
                    <a:pt x="4772" y="251"/>
                    <a:pt x="4772" y="251"/>
                  </a:cubicBezTo>
                  <a:cubicBezTo>
                    <a:pt x="4772" y="251"/>
                    <a:pt x="4729" y="254"/>
                    <a:pt x="4734" y="261"/>
                  </a:cubicBezTo>
                  <a:cubicBezTo>
                    <a:pt x="4739" y="268"/>
                    <a:pt x="4767" y="274"/>
                    <a:pt x="4767" y="274"/>
                  </a:cubicBezTo>
                  <a:cubicBezTo>
                    <a:pt x="4791" y="277"/>
                    <a:pt x="4791" y="277"/>
                    <a:pt x="4791" y="277"/>
                  </a:cubicBezTo>
                  <a:cubicBezTo>
                    <a:pt x="4791" y="277"/>
                    <a:pt x="4792" y="267"/>
                    <a:pt x="4799" y="266"/>
                  </a:cubicBezTo>
                  <a:cubicBezTo>
                    <a:pt x="4806" y="265"/>
                    <a:pt x="4814" y="276"/>
                    <a:pt x="4814" y="276"/>
                  </a:cubicBezTo>
                  <a:cubicBezTo>
                    <a:pt x="4837" y="267"/>
                    <a:pt x="4837" y="267"/>
                    <a:pt x="4837" y="267"/>
                  </a:cubicBezTo>
                  <a:cubicBezTo>
                    <a:pt x="4837" y="267"/>
                    <a:pt x="4841" y="277"/>
                    <a:pt x="4844" y="277"/>
                  </a:cubicBezTo>
                  <a:cubicBezTo>
                    <a:pt x="4847" y="277"/>
                    <a:pt x="4877" y="263"/>
                    <a:pt x="4886" y="265"/>
                  </a:cubicBezTo>
                  <a:cubicBezTo>
                    <a:pt x="4895" y="267"/>
                    <a:pt x="4902" y="271"/>
                    <a:pt x="4907" y="271"/>
                  </a:cubicBezTo>
                  <a:cubicBezTo>
                    <a:pt x="4912" y="271"/>
                    <a:pt x="4923" y="262"/>
                    <a:pt x="4929" y="262"/>
                  </a:cubicBezTo>
                  <a:cubicBezTo>
                    <a:pt x="4935" y="262"/>
                    <a:pt x="4952" y="273"/>
                    <a:pt x="4952" y="273"/>
                  </a:cubicBezTo>
                  <a:cubicBezTo>
                    <a:pt x="4952" y="273"/>
                    <a:pt x="4984" y="268"/>
                    <a:pt x="5006" y="274"/>
                  </a:cubicBezTo>
                  <a:cubicBezTo>
                    <a:pt x="5028" y="280"/>
                    <a:pt x="5032" y="291"/>
                    <a:pt x="5032" y="291"/>
                  </a:cubicBezTo>
                  <a:cubicBezTo>
                    <a:pt x="5032" y="291"/>
                    <a:pt x="5054" y="286"/>
                    <a:pt x="5054" y="291"/>
                  </a:cubicBezTo>
                  <a:cubicBezTo>
                    <a:pt x="5054" y="296"/>
                    <a:pt x="5044" y="306"/>
                    <a:pt x="5044" y="306"/>
                  </a:cubicBezTo>
                  <a:cubicBezTo>
                    <a:pt x="5050" y="315"/>
                    <a:pt x="5050" y="315"/>
                    <a:pt x="5050" y="315"/>
                  </a:cubicBezTo>
                  <a:cubicBezTo>
                    <a:pt x="5050" y="315"/>
                    <a:pt x="5083" y="321"/>
                    <a:pt x="5083" y="330"/>
                  </a:cubicBezTo>
                  <a:cubicBezTo>
                    <a:pt x="5083" y="339"/>
                    <a:pt x="5067" y="343"/>
                    <a:pt x="5067" y="343"/>
                  </a:cubicBezTo>
                  <a:cubicBezTo>
                    <a:pt x="5076" y="359"/>
                    <a:pt x="5076" y="359"/>
                    <a:pt x="5076" y="359"/>
                  </a:cubicBezTo>
                  <a:cubicBezTo>
                    <a:pt x="5092" y="369"/>
                    <a:pt x="5092" y="369"/>
                    <a:pt x="5092" y="369"/>
                  </a:cubicBezTo>
                  <a:cubicBezTo>
                    <a:pt x="5078" y="374"/>
                    <a:pt x="5078" y="374"/>
                    <a:pt x="5078" y="374"/>
                  </a:cubicBezTo>
                  <a:cubicBezTo>
                    <a:pt x="5088" y="387"/>
                    <a:pt x="5088" y="387"/>
                    <a:pt x="5088" y="387"/>
                  </a:cubicBezTo>
                  <a:cubicBezTo>
                    <a:pt x="5088" y="387"/>
                    <a:pt x="5076" y="386"/>
                    <a:pt x="5076" y="395"/>
                  </a:cubicBezTo>
                  <a:cubicBezTo>
                    <a:pt x="5076" y="404"/>
                    <a:pt x="5098" y="407"/>
                    <a:pt x="5095" y="412"/>
                  </a:cubicBezTo>
                  <a:cubicBezTo>
                    <a:pt x="5092" y="417"/>
                    <a:pt x="5073" y="426"/>
                    <a:pt x="5073" y="426"/>
                  </a:cubicBezTo>
                  <a:cubicBezTo>
                    <a:pt x="5081" y="433"/>
                    <a:pt x="5081" y="433"/>
                    <a:pt x="5081" y="433"/>
                  </a:cubicBezTo>
                  <a:cubicBezTo>
                    <a:pt x="5081" y="433"/>
                    <a:pt x="5040" y="438"/>
                    <a:pt x="5041" y="441"/>
                  </a:cubicBezTo>
                  <a:cubicBezTo>
                    <a:pt x="5042" y="444"/>
                    <a:pt x="5050" y="446"/>
                    <a:pt x="5063" y="445"/>
                  </a:cubicBezTo>
                  <a:cubicBezTo>
                    <a:pt x="5076" y="444"/>
                    <a:pt x="5060" y="455"/>
                    <a:pt x="5060" y="455"/>
                  </a:cubicBezTo>
                  <a:cubicBezTo>
                    <a:pt x="5060" y="455"/>
                    <a:pt x="5009" y="456"/>
                    <a:pt x="5021" y="465"/>
                  </a:cubicBezTo>
                  <a:cubicBezTo>
                    <a:pt x="5033" y="474"/>
                    <a:pt x="5046" y="479"/>
                    <a:pt x="5062" y="478"/>
                  </a:cubicBezTo>
                  <a:cubicBezTo>
                    <a:pt x="5078" y="477"/>
                    <a:pt x="5082" y="467"/>
                    <a:pt x="5082" y="467"/>
                  </a:cubicBezTo>
                  <a:cubicBezTo>
                    <a:pt x="5082" y="467"/>
                    <a:pt x="5109" y="469"/>
                    <a:pt x="5107" y="460"/>
                  </a:cubicBezTo>
                  <a:cubicBezTo>
                    <a:pt x="5105" y="451"/>
                    <a:pt x="5112" y="439"/>
                    <a:pt x="5112" y="439"/>
                  </a:cubicBezTo>
                  <a:cubicBezTo>
                    <a:pt x="5114" y="458"/>
                    <a:pt x="5114" y="458"/>
                    <a:pt x="5114" y="458"/>
                  </a:cubicBezTo>
                  <a:cubicBezTo>
                    <a:pt x="5131" y="447"/>
                    <a:pt x="5131" y="447"/>
                    <a:pt x="5131" y="447"/>
                  </a:cubicBezTo>
                  <a:cubicBezTo>
                    <a:pt x="5131" y="447"/>
                    <a:pt x="5123" y="453"/>
                    <a:pt x="5127" y="458"/>
                  </a:cubicBezTo>
                  <a:cubicBezTo>
                    <a:pt x="5131" y="463"/>
                    <a:pt x="5156" y="465"/>
                    <a:pt x="5156" y="465"/>
                  </a:cubicBezTo>
                  <a:cubicBezTo>
                    <a:pt x="5147" y="471"/>
                    <a:pt x="5147" y="471"/>
                    <a:pt x="5147" y="471"/>
                  </a:cubicBezTo>
                  <a:cubicBezTo>
                    <a:pt x="5147" y="471"/>
                    <a:pt x="5141" y="484"/>
                    <a:pt x="5150" y="487"/>
                  </a:cubicBezTo>
                  <a:cubicBezTo>
                    <a:pt x="5159" y="490"/>
                    <a:pt x="5172" y="504"/>
                    <a:pt x="5166" y="510"/>
                  </a:cubicBezTo>
                  <a:cubicBezTo>
                    <a:pt x="5160" y="516"/>
                    <a:pt x="5149" y="513"/>
                    <a:pt x="5149" y="513"/>
                  </a:cubicBezTo>
                  <a:cubicBezTo>
                    <a:pt x="5149" y="519"/>
                    <a:pt x="5149" y="519"/>
                    <a:pt x="5149" y="519"/>
                  </a:cubicBezTo>
                  <a:cubicBezTo>
                    <a:pt x="5149" y="519"/>
                    <a:pt x="5134" y="518"/>
                    <a:pt x="5125" y="517"/>
                  </a:cubicBezTo>
                  <a:cubicBezTo>
                    <a:pt x="5116" y="516"/>
                    <a:pt x="5108" y="506"/>
                    <a:pt x="5108" y="506"/>
                  </a:cubicBezTo>
                  <a:cubicBezTo>
                    <a:pt x="5068" y="505"/>
                    <a:pt x="5068" y="505"/>
                    <a:pt x="5068" y="505"/>
                  </a:cubicBezTo>
                  <a:cubicBezTo>
                    <a:pt x="5068" y="505"/>
                    <a:pt x="5044" y="483"/>
                    <a:pt x="5038" y="505"/>
                  </a:cubicBezTo>
                  <a:cubicBezTo>
                    <a:pt x="5036" y="514"/>
                    <a:pt x="5048" y="520"/>
                    <a:pt x="5055" y="521"/>
                  </a:cubicBezTo>
                  <a:cubicBezTo>
                    <a:pt x="5062" y="522"/>
                    <a:pt x="5067" y="518"/>
                    <a:pt x="5076" y="522"/>
                  </a:cubicBezTo>
                  <a:cubicBezTo>
                    <a:pt x="5085" y="526"/>
                    <a:pt x="5093" y="540"/>
                    <a:pt x="5108" y="540"/>
                  </a:cubicBezTo>
                  <a:cubicBezTo>
                    <a:pt x="5123" y="540"/>
                    <a:pt x="5134" y="534"/>
                    <a:pt x="5134" y="534"/>
                  </a:cubicBezTo>
                  <a:cubicBezTo>
                    <a:pt x="5149" y="542"/>
                    <a:pt x="5149" y="542"/>
                    <a:pt x="5149" y="542"/>
                  </a:cubicBezTo>
                  <a:cubicBezTo>
                    <a:pt x="5163" y="533"/>
                    <a:pt x="5163" y="533"/>
                    <a:pt x="5163" y="533"/>
                  </a:cubicBezTo>
                  <a:cubicBezTo>
                    <a:pt x="5160" y="547"/>
                    <a:pt x="5160" y="547"/>
                    <a:pt x="5160" y="547"/>
                  </a:cubicBezTo>
                  <a:cubicBezTo>
                    <a:pt x="5160" y="547"/>
                    <a:pt x="5145" y="540"/>
                    <a:pt x="5143" y="547"/>
                  </a:cubicBezTo>
                  <a:cubicBezTo>
                    <a:pt x="5141" y="554"/>
                    <a:pt x="5152" y="561"/>
                    <a:pt x="5152" y="561"/>
                  </a:cubicBezTo>
                  <a:cubicBezTo>
                    <a:pt x="5152" y="561"/>
                    <a:pt x="5125" y="561"/>
                    <a:pt x="5126" y="566"/>
                  </a:cubicBezTo>
                  <a:cubicBezTo>
                    <a:pt x="5127" y="571"/>
                    <a:pt x="5147" y="572"/>
                    <a:pt x="5147" y="572"/>
                  </a:cubicBezTo>
                  <a:cubicBezTo>
                    <a:pt x="5147" y="572"/>
                    <a:pt x="5144" y="581"/>
                    <a:pt x="5139" y="583"/>
                  </a:cubicBezTo>
                  <a:cubicBezTo>
                    <a:pt x="5134" y="585"/>
                    <a:pt x="5118" y="572"/>
                    <a:pt x="5114" y="578"/>
                  </a:cubicBezTo>
                  <a:cubicBezTo>
                    <a:pt x="5110" y="584"/>
                    <a:pt x="5120" y="592"/>
                    <a:pt x="5120" y="592"/>
                  </a:cubicBezTo>
                  <a:cubicBezTo>
                    <a:pt x="5104" y="591"/>
                    <a:pt x="5104" y="591"/>
                    <a:pt x="5104" y="591"/>
                  </a:cubicBezTo>
                  <a:cubicBezTo>
                    <a:pt x="5109" y="605"/>
                    <a:pt x="5109" y="605"/>
                    <a:pt x="5109" y="605"/>
                  </a:cubicBezTo>
                  <a:cubicBezTo>
                    <a:pt x="5109" y="605"/>
                    <a:pt x="5088" y="606"/>
                    <a:pt x="5091" y="616"/>
                  </a:cubicBezTo>
                  <a:cubicBezTo>
                    <a:pt x="5094" y="626"/>
                    <a:pt x="5113" y="628"/>
                    <a:pt x="5113" y="628"/>
                  </a:cubicBezTo>
                  <a:cubicBezTo>
                    <a:pt x="5113" y="628"/>
                    <a:pt x="5115" y="639"/>
                    <a:pt x="5108" y="639"/>
                  </a:cubicBezTo>
                  <a:cubicBezTo>
                    <a:pt x="5101" y="639"/>
                    <a:pt x="5106" y="647"/>
                    <a:pt x="5106" y="647"/>
                  </a:cubicBezTo>
                  <a:cubicBezTo>
                    <a:pt x="5106" y="647"/>
                    <a:pt x="5104" y="649"/>
                    <a:pt x="5101" y="639"/>
                  </a:cubicBezTo>
                  <a:cubicBezTo>
                    <a:pt x="5098" y="629"/>
                    <a:pt x="5087" y="624"/>
                    <a:pt x="5087" y="624"/>
                  </a:cubicBezTo>
                  <a:cubicBezTo>
                    <a:pt x="5087" y="624"/>
                    <a:pt x="5070" y="593"/>
                    <a:pt x="5060" y="595"/>
                  </a:cubicBezTo>
                  <a:cubicBezTo>
                    <a:pt x="5050" y="597"/>
                    <a:pt x="5024" y="609"/>
                    <a:pt x="5038" y="617"/>
                  </a:cubicBezTo>
                  <a:cubicBezTo>
                    <a:pt x="5052" y="625"/>
                    <a:pt x="5074" y="628"/>
                    <a:pt x="5074" y="628"/>
                  </a:cubicBezTo>
                  <a:cubicBezTo>
                    <a:pt x="5074" y="628"/>
                    <a:pt x="5057" y="630"/>
                    <a:pt x="5046" y="630"/>
                  </a:cubicBezTo>
                  <a:cubicBezTo>
                    <a:pt x="5035" y="630"/>
                    <a:pt x="5021" y="625"/>
                    <a:pt x="5013" y="630"/>
                  </a:cubicBezTo>
                  <a:cubicBezTo>
                    <a:pt x="5005" y="635"/>
                    <a:pt x="4982" y="640"/>
                    <a:pt x="4989" y="643"/>
                  </a:cubicBezTo>
                  <a:cubicBezTo>
                    <a:pt x="4996" y="646"/>
                    <a:pt x="5037" y="639"/>
                    <a:pt x="5047" y="640"/>
                  </a:cubicBezTo>
                  <a:cubicBezTo>
                    <a:pt x="5057" y="641"/>
                    <a:pt x="5081" y="643"/>
                    <a:pt x="5081" y="643"/>
                  </a:cubicBezTo>
                  <a:cubicBezTo>
                    <a:pt x="5081" y="643"/>
                    <a:pt x="5061" y="644"/>
                    <a:pt x="5055" y="644"/>
                  </a:cubicBezTo>
                  <a:cubicBezTo>
                    <a:pt x="5049" y="644"/>
                    <a:pt x="4983" y="649"/>
                    <a:pt x="4977" y="654"/>
                  </a:cubicBezTo>
                  <a:cubicBezTo>
                    <a:pt x="4971" y="659"/>
                    <a:pt x="4971" y="663"/>
                    <a:pt x="4987" y="662"/>
                  </a:cubicBezTo>
                  <a:cubicBezTo>
                    <a:pt x="5003" y="661"/>
                    <a:pt x="5041" y="657"/>
                    <a:pt x="5041" y="657"/>
                  </a:cubicBezTo>
                  <a:cubicBezTo>
                    <a:pt x="5041" y="657"/>
                    <a:pt x="5068" y="656"/>
                    <a:pt x="5069" y="659"/>
                  </a:cubicBezTo>
                  <a:cubicBezTo>
                    <a:pt x="5070" y="662"/>
                    <a:pt x="5023" y="664"/>
                    <a:pt x="5023" y="664"/>
                  </a:cubicBezTo>
                  <a:cubicBezTo>
                    <a:pt x="5023" y="664"/>
                    <a:pt x="4968" y="666"/>
                    <a:pt x="4969" y="668"/>
                  </a:cubicBezTo>
                  <a:cubicBezTo>
                    <a:pt x="4970" y="670"/>
                    <a:pt x="4979" y="675"/>
                    <a:pt x="4988" y="675"/>
                  </a:cubicBezTo>
                  <a:cubicBezTo>
                    <a:pt x="4997" y="675"/>
                    <a:pt x="5011" y="682"/>
                    <a:pt x="5011" y="682"/>
                  </a:cubicBezTo>
                  <a:cubicBezTo>
                    <a:pt x="5011" y="682"/>
                    <a:pt x="4987" y="676"/>
                    <a:pt x="4982" y="682"/>
                  </a:cubicBezTo>
                  <a:cubicBezTo>
                    <a:pt x="4977" y="688"/>
                    <a:pt x="4982" y="690"/>
                    <a:pt x="4982" y="690"/>
                  </a:cubicBezTo>
                  <a:cubicBezTo>
                    <a:pt x="4982" y="690"/>
                    <a:pt x="4951" y="699"/>
                    <a:pt x="4955" y="705"/>
                  </a:cubicBezTo>
                  <a:cubicBezTo>
                    <a:pt x="4980" y="706"/>
                    <a:pt x="4980" y="706"/>
                    <a:pt x="4980" y="706"/>
                  </a:cubicBezTo>
                  <a:cubicBezTo>
                    <a:pt x="4957" y="716"/>
                    <a:pt x="4957" y="716"/>
                    <a:pt x="4957" y="716"/>
                  </a:cubicBezTo>
                  <a:cubicBezTo>
                    <a:pt x="4957" y="716"/>
                    <a:pt x="4956" y="729"/>
                    <a:pt x="4966" y="727"/>
                  </a:cubicBezTo>
                  <a:cubicBezTo>
                    <a:pt x="4976" y="725"/>
                    <a:pt x="4999" y="725"/>
                    <a:pt x="4999" y="725"/>
                  </a:cubicBezTo>
                  <a:cubicBezTo>
                    <a:pt x="4999" y="725"/>
                    <a:pt x="4960" y="736"/>
                    <a:pt x="4967" y="744"/>
                  </a:cubicBezTo>
                  <a:cubicBezTo>
                    <a:pt x="4974" y="752"/>
                    <a:pt x="4997" y="740"/>
                    <a:pt x="4997" y="740"/>
                  </a:cubicBezTo>
                  <a:cubicBezTo>
                    <a:pt x="4997" y="740"/>
                    <a:pt x="4980" y="755"/>
                    <a:pt x="4978" y="762"/>
                  </a:cubicBezTo>
                  <a:cubicBezTo>
                    <a:pt x="4976" y="769"/>
                    <a:pt x="4973" y="775"/>
                    <a:pt x="4979" y="775"/>
                  </a:cubicBezTo>
                  <a:cubicBezTo>
                    <a:pt x="4985" y="775"/>
                    <a:pt x="4996" y="767"/>
                    <a:pt x="4996" y="767"/>
                  </a:cubicBezTo>
                  <a:cubicBezTo>
                    <a:pt x="4996" y="767"/>
                    <a:pt x="4991" y="783"/>
                    <a:pt x="4984" y="783"/>
                  </a:cubicBezTo>
                  <a:cubicBezTo>
                    <a:pt x="4977" y="783"/>
                    <a:pt x="4962" y="792"/>
                    <a:pt x="4963" y="802"/>
                  </a:cubicBezTo>
                  <a:cubicBezTo>
                    <a:pt x="4964" y="812"/>
                    <a:pt x="4987" y="793"/>
                    <a:pt x="4987" y="793"/>
                  </a:cubicBezTo>
                  <a:cubicBezTo>
                    <a:pt x="4987" y="793"/>
                    <a:pt x="5002" y="776"/>
                    <a:pt x="5006" y="780"/>
                  </a:cubicBezTo>
                  <a:cubicBezTo>
                    <a:pt x="5010" y="784"/>
                    <a:pt x="5034" y="774"/>
                    <a:pt x="5034" y="774"/>
                  </a:cubicBezTo>
                  <a:cubicBezTo>
                    <a:pt x="5031" y="784"/>
                    <a:pt x="5031" y="784"/>
                    <a:pt x="5031" y="784"/>
                  </a:cubicBezTo>
                  <a:cubicBezTo>
                    <a:pt x="5045" y="774"/>
                    <a:pt x="5045" y="774"/>
                    <a:pt x="5045" y="774"/>
                  </a:cubicBezTo>
                  <a:cubicBezTo>
                    <a:pt x="5031" y="791"/>
                    <a:pt x="5031" y="791"/>
                    <a:pt x="5031" y="791"/>
                  </a:cubicBezTo>
                  <a:cubicBezTo>
                    <a:pt x="5053" y="794"/>
                    <a:pt x="5053" y="794"/>
                    <a:pt x="5053" y="794"/>
                  </a:cubicBezTo>
                  <a:cubicBezTo>
                    <a:pt x="5053" y="794"/>
                    <a:pt x="5023" y="794"/>
                    <a:pt x="5021" y="798"/>
                  </a:cubicBezTo>
                  <a:cubicBezTo>
                    <a:pt x="5019" y="802"/>
                    <a:pt x="5028" y="804"/>
                    <a:pt x="5028" y="804"/>
                  </a:cubicBezTo>
                  <a:cubicBezTo>
                    <a:pt x="5028" y="804"/>
                    <a:pt x="5005" y="809"/>
                    <a:pt x="4999" y="810"/>
                  </a:cubicBezTo>
                  <a:cubicBezTo>
                    <a:pt x="4993" y="811"/>
                    <a:pt x="5000" y="816"/>
                    <a:pt x="5000" y="816"/>
                  </a:cubicBezTo>
                  <a:cubicBezTo>
                    <a:pt x="5000" y="816"/>
                    <a:pt x="4976" y="821"/>
                    <a:pt x="4974" y="826"/>
                  </a:cubicBezTo>
                  <a:cubicBezTo>
                    <a:pt x="4972" y="831"/>
                    <a:pt x="4998" y="829"/>
                    <a:pt x="4998" y="829"/>
                  </a:cubicBezTo>
                  <a:cubicBezTo>
                    <a:pt x="4998" y="829"/>
                    <a:pt x="4977" y="833"/>
                    <a:pt x="4977" y="836"/>
                  </a:cubicBezTo>
                  <a:cubicBezTo>
                    <a:pt x="4977" y="839"/>
                    <a:pt x="4997" y="844"/>
                    <a:pt x="4997" y="844"/>
                  </a:cubicBezTo>
                  <a:cubicBezTo>
                    <a:pt x="4997" y="844"/>
                    <a:pt x="4980" y="844"/>
                    <a:pt x="4979" y="851"/>
                  </a:cubicBezTo>
                  <a:cubicBezTo>
                    <a:pt x="4978" y="858"/>
                    <a:pt x="5003" y="855"/>
                    <a:pt x="5003" y="855"/>
                  </a:cubicBezTo>
                  <a:cubicBezTo>
                    <a:pt x="4991" y="870"/>
                    <a:pt x="4991" y="870"/>
                    <a:pt x="4991" y="870"/>
                  </a:cubicBezTo>
                  <a:cubicBezTo>
                    <a:pt x="5010" y="867"/>
                    <a:pt x="5010" y="867"/>
                    <a:pt x="5010" y="867"/>
                  </a:cubicBezTo>
                  <a:cubicBezTo>
                    <a:pt x="5010" y="867"/>
                    <a:pt x="4988" y="880"/>
                    <a:pt x="4991" y="891"/>
                  </a:cubicBezTo>
                  <a:cubicBezTo>
                    <a:pt x="4994" y="902"/>
                    <a:pt x="5017" y="900"/>
                    <a:pt x="5017" y="900"/>
                  </a:cubicBezTo>
                  <a:cubicBezTo>
                    <a:pt x="5006" y="915"/>
                    <a:pt x="5006" y="915"/>
                    <a:pt x="5006" y="915"/>
                  </a:cubicBezTo>
                  <a:cubicBezTo>
                    <a:pt x="5027" y="908"/>
                    <a:pt x="5027" y="908"/>
                    <a:pt x="5027" y="908"/>
                  </a:cubicBezTo>
                  <a:cubicBezTo>
                    <a:pt x="5027" y="908"/>
                    <a:pt x="5012" y="920"/>
                    <a:pt x="5015" y="925"/>
                  </a:cubicBezTo>
                  <a:cubicBezTo>
                    <a:pt x="5018" y="930"/>
                    <a:pt x="5037" y="931"/>
                    <a:pt x="5037" y="931"/>
                  </a:cubicBezTo>
                  <a:cubicBezTo>
                    <a:pt x="5037" y="931"/>
                    <a:pt x="5027" y="934"/>
                    <a:pt x="5030" y="940"/>
                  </a:cubicBezTo>
                  <a:cubicBezTo>
                    <a:pt x="5033" y="946"/>
                    <a:pt x="5044" y="943"/>
                    <a:pt x="5044" y="943"/>
                  </a:cubicBezTo>
                  <a:cubicBezTo>
                    <a:pt x="5044" y="943"/>
                    <a:pt x="5029" y="955"/>
                    <a:pt x="5032" y="959"/>
                  </a:cubicBezTo>
                  <a:cubicBezTo>
                    <a:pt x="5035" y="963"/>
                    <a:pt x="5051" y="961"/>
                    <a:pt x="5051" y="961"/>
                  </a:cubicBezTo>
                  <a:cubicBezTo>
                    <a:pt x="5049" y="969"/>
                    <a:pt x="5049" y="969"/>
                    <a:pt x="5049" y="969"/>
                  </a:cubicBezTo>
                  <a:cubicBezTo>
                    <a:pt x="5075" y="963"/>
                    <a:pt x="5075" y="963"/>
                    <a:pt x="5075" y="963"/>
                  </a:cubicBezTo>
                  <a:cubicBezTo>
                    <a:pt x="5075" y="963"/>
                    <a:pt x="5083" y="976"/>
                    <a:pt x="5091" y="969"/>
                  </a:cubicBezTo>
                  <a:cubicBezTo>
                    <a:pt x="5099" y="962"/>
                    <a:pt x="5124" y="946"/>
                    <a:pt x="5128" y="948"/>
                  </a:cubicBezTo>
                  <a:cubicBezTo>
                    <a:pt x="5132" y="950"/>
                    <a:pt x="5121" y="958"/>
                    <a:pt x="5121" y="958"/>
                  </a:cubicBezTo>
                  <a:cubicBezTo>
                    <a:pt x="5136" y="962"/>
                    <a:pt x="5136" y="962"/>
                    <a:pt x="5136" y="962"/>
                  </a:cubicBezTo>
                  <a:cubicBezTo>
                    <a:pt x="5150" y="955"/>
                    <a:pt x="5150" y="955"/>
                    <a:pt x="5150" y="955"/>
                  </a:cubicBezTo>
                  <a:cubicBezTo>
                    <a:pt x="5150" y="955"/>
                    <a:pt x="5129" y="968"/>
                    <a:pt x="5124" y="973"/>
                  </a:cubicBezTo>
                  <a:cubicBezTo>
                    <a:pt x="5119" y="978"/>
                    <a:pt x="5115" y="983"/>
                    <a:pt x="5123" y="983"/>
                  </a:cubicBezTo>
                  <a:cubicBezTo>
                    <a:pt x="5131" y="983"/>
                    <a:pt x="5158" y="978"/>
                    <a:pt x="5158" y="978"/>
                  </a:cubicBezTo>
                  <a:cubicBezTo>
                    <a:pt x="5158" y="978"/>
                    <a:pt x="5127" y="994"/>
                    <a:pt x="5136" y="1000"/>
                  </a:cubicBezTo>
                  <a:cubicBezTo>
                    <a:pt x="5145" y="1006"/>
                    <a:pt x="5164" y="1000"/>
                    <a:pt x="5164" y="1000"/>
                  </a:cubicBezTo>
                  <a:cubicBezTo>
                    <a:pt x="5164" y="1000"/>
                    <a:pt x="5174" y="1019"/>
                    <a:pt x="5186" y="1012"/>
                  </a:cubicBezTo>
                  <a:cubicBezTo>
                    <a:pt x="5198" y="1005"/>
                    <a:pt x="5204" y="998"/>
                    <a:pt x="5204" y="998"/>
                  </a:cubicBezTo>
                  <a:cubicBezTo>
                    <a:pt x="5204" y="998"/>
                    <a:pt x="5199" y="995"/>
                    <a:pt x="5195" y="989"/>
                  </a:cubicBezTo>
                  <a:cubicBezTo>
                    <a:pt x="5191" y="983"/>
                    <a:pt x="5208" y="990"/>
                    <a:pt x="5213" y="985"/>
                  </a:cubicBezTo>
                  <a:cubicBezTo>
                    <a:pt x="5218" y="980"/>
                    <a:pt x="5217" y="964"/>
                    <a:pt x="5217" y="964"/>
                  </a:cubicBezTo>
                  <a:cubicBezTo>
                    <a:pt x="5217" y="964"/>
                    <a:pt x="5239" y="974"/>
                    <a:pt x="5238" y="964"/>
                  </a:cubicBezTo>
                  <a:cubicBezTo>
                    <a:pt x="5237" y="954"/>
                    <a:pt x="5233" y="948"/>
                    <a:pt x="5233" y="948"/>
                  </a:cubicBezTo>
                  <a:cubicBezTo>
                    <a:pt x="5233" y="948"/>
                    <a:pt x="5239" y="957"/>
                    <a:pt x="5245" y="958"/>
                  </a:cubicBezTo>
                  <a:cubicBezTo>
                    <a:pt x="5250" y="958"/>
                    <a:pt x="5255" y="949"/>
                    <a:pt x="5252" y="944"/>
                  </a:cubicBezTo>
                  <a:cubicBezTo>
                    <a:pt x="5246" y="934"/>
                    <a:pt x="5240" y="931"/>
                    <a:pt x="5240" y="931"/>
                  </a:cubicBezTo>
                  <a:cubicBezTo>
                    <a:pt x="5240" y="931"/>
                    <a:pt x="5262" y="937"/>
                    <a:pt x="5262" y="933"/>
                  </a:cubicBezTo>
                  <a:cubicBezTo>
                    <a:pt x="5262" y="929"/>
                    <a:pt x="5257" y="923"/>
                    <a:pt x="5257" y="923"/>
                  </a:cubicBezTo>
                  <a:cubicBezTo>
                    <a:pt x="5275" y="922"/>
                    <a:pt x="5275" y="922"/>
                    <a:pt x="5275" y="922"/>
                  </a:cubicBezTo>
                  <a:cubicBezTo>
                    <a:pt x="5267" y="908"/>
                    <a:pt x="5267" y="908"/>
                    <a:pt x="5267" y="908"/>
                  </a:cubicBezTo>
                  <a:cubicBezTo>
                    <a:pt x="5278" y="903"/>
                    <a:pt x="5278" y="903"/>
                    <a:pt x="5278" y="903"/>
                  </a:cubicBezTo>
                  <a:cubicBezTo>
                    <a:pt x="5278" y="903"/>
                    <a:pt x="5265" y="894"/>
                    <a:pt x="5262" y="893"/>
                  </a:cubicBezTo>
                  <a:cubicBezTo>
                    <a:pt x="5259" y="892"/>
                    <a:pt x="5273" y="887"/>
                    <a:pt x="5273" y="887"/>
                  </a:cubicBezTo>
                  <a:cubicBezTo>
                    <a:pt x="5259" y="873"/>
                    <a:pt x="5259" y="873"/>
                    <a:pt x="5259" y="873"/>
                  </a:cubicBezTo>
                  <a:cubicBezTo>
                    <a:pt x="5259" y="873"/>
                    <a:pt x="5273" y="885"/>
                    <a:pt x="5277" y="882"/>
                  </a:cubicBezTo>
                  <a:cubicBezTo>
                    <a:pt x="5281" y="879"/>
                    <a:pt x="5289" y="873"/>
                    <a:pt x="5289" y="873"/>
                  </a:cubicBezTo>
                  <a:cubicBezTo>
                    <a:pt x="5289" y="873"/>
                    <a:pt x="5305" y="875"/>
                    <a:pt x="5308" y="872"/>
                  </a:cubicBezTo>
                  <a:cubicBezTo>
                    <a:pt x="5311" y="869"/>
                    <a:pt x="5304" y="859"/>
                    <a:pt x="5304" y="859"/>
                  </a:cubicBezTo>
                  <a:cubicBezTo>
                    <a:pt x="5318" y="858"/>
                    <a:pt x="5318" y="858"/>
                    <a:pt x="5318" y="858"/>
                  </a:cubicBezTo>
                  <a:cubicBezTo>
                    <a:pt x="5323" y="841"/>
                    <a:pt x="5323" y="841"/>
                    <a:pt x="5323" y="841"/>
                  </a:cubicBezTo>
                  <a:cubicBezTo>
                    <a:pt x="5323" y="841"/>
                    <a:pt x="5343" y="848"/>
                    <a:pt x="5349" y="843"/>
                  </a:cubicBezTo>
                  <a:cubicBezTo>
                    <a:pt x="5355" y="838"/>
                    <a:pt x="5350" y="829"/>
                    <a:pt x="5350" y="829"/>
                  </a:cubicBezTo>
                  <a:cubicBezTo>
                    <a:pt x="5350" y="829"/>
                    <a:pt x="5357" y="839"/>
                    <a:pt x="5364" y="839"/>
                  </a:cubicBezTo>
                  <a:cubicBezTo>
                    <a:pt x="5368" y="839"/>
                    <a:pt x="5371" y="830"/>
                    <a:pt x="5373" y="828"/>
                  </a:cubicBezTo>
                  <a:cubicBezTo>
                    <a:pt x="5378" y="821"/>
                    <a:pt x="5373" y="811"/>
                    <a:pt x="5373" y="811"/>
                  </a:cubicBezTo>
                  <a:cubicBezTo>
                    <a:pt x="5348" y="807"/>
                    <a:pt x="5348" y="807"/>
                    <a:pt x="5348" y="807"/>
                  </a:cubicBezTo>
                  <a:cubicBezTo>
                    <a:pt x="5366" y="802"/>
                    <a:pt x="5366" y="802"/>
                    <a:pt x="5366" y="802"/>
                  </a:cubicBezTo>
                  <a:cubicBezTo>
                    <a:pt x="5386" y="794"/>
                    <a:pt x="5386" y="794"/>
                    <a:pt x="5386" y="794"/>
                  </a:cubicBezTo>
                  <a:cubicBezTo>
                    <a:pt x="5387" y="780"/>
                    <a:pt x="5387" y="780"/>
                    <a:pt x="5387" y="780"/>
                  </a:cubicBezTo>
                  <a:cubicBezTo>
                    <a:pt x="5374" y="777"/>
                    <a:pt x="5374" y="777"/>
                    <a:pt x="5374" y="777"/>
                  </a:cubicBezTo>
                  <a:cubicBezTo>
                    <a:pt x="5379" y="765"/>
                    <a:pt x="5379" y="765"/>
                    <a:pt x="5379" y="765"/>
                  </a:cubicBezTo>
                  <a:cubicBezTo>
                    <a:pt x="5400" y="765"/>
                    <a:pt x="5400" y="765"/>
                    <a:pt x="5400" y="765"/>
                  </a:cubicBezTo>
                  <a:cubicBezTo>
                    <a:pt x="5400" y="765"/>
                    <a:pt x="5414" y="769"/>
                    <a:pt x="5421" y="763"/>
                  </a:cubicBezTo>
                  <a:cubicBezTo>
                    <a:pt x="5428" y="757"/>
                    <a:pt x="5423" y="745"/>
                    <a:pt x="5423" y="745"/>
                  </a:cubicBezTo>
                  <a:cubicBezTo>
                    <a:pt x="5445" y="741"/>
                    <a:pt x="5445" y="741"/>
                    <a:pt x="5445" y="741"/>
                  </a:cubicBezTo>
                  <a:cubicBezTo>
                    <a:pt x="5445" y="741"/>
                    <a:pt x="5476" y="747"/>
                    <a:pt x="5484" y="740"/>
                  </a:cubicBezTo>
                  <a:cubicBezTo>
                    <a:pt x="5492" y="733"/>
                    <a:pt x="5495" y="726"/>
                    <a:pt x="5495" y="726"/>
                  </a:cubicBezTo>
                  <a:cubicBezTo>
                    <a:pt x="5504" y="721"/>
                    <a:pt x="5504" y="721"/>
                    <a:pt x="5504" y="721"/>
                  </a:cubicBezTo>
                  <a:cubicBezTo>
                    <a:pt x="5504" y="721"/>
                    <a:pt x="5506" y="710"/>
                    <a:pt x="5517" y="708"/>
                  </a:cubicBezTo>
                  <a:cubicBezTo>
                    <a:pt x="5528" y="706"/>
                    <a:pt x="5497" y="740"/>
                    <a:pt x="5505" y="740"/>
                  </a:cubicBezTo>
                  <a:cubicBezTo>
                    <a:pt x="5513" y="740"/>
                    <a:pt x="5521" y="738"/>
                    <a:pt x="5521" y="738"/>
                  </a:cubicBezTo>
                  <a:cubicBezTo>
                    <a:pt x="5525" y="725"/>
                    <a:pt x="5525" y="725"/>
                    <a:pt x="5525" y="725"/>
                  </a:cubicBezTo>
                  <a:cubicBezTo>
                    <a:pt x="5534" y="727"/>
                    <a:pt x="5534" y="727"/>
                    <a:pt x="5534" y="727"/>
                  </a:cubicBezTo>
                  <a:cubicBezTo>
                    <a:pt x="5542" y="718"/>
                    <a:pt x="5542" y="718"/>
                    <a:pt x="5542" y="718"/>
                  </a:cubicBezTo>
                  <a:cubicBezTo>
                    <a:pt x="5542" y="718"/>
                    <a:pt x="5559" y="733"/>
                    <a:pt x="5571" y="725"/>
                  </a:cubicBezTo>
                  <a:cubicBezTo>
                    <a:pt x="5583" y="717"/>
                    <a:pt x="5600" y="704"/>
                    <a:pt x="5600" y="704"/>
                  </a:cubicBezTo>
                  <a:cubicBezTo>
                    <a:pt x="5600" y="704"/>
                    <a:pt x="5616" y="709"/>
                    <a:pt x="5643" y="698"/>
                  </a:cubicBezTo>
                  <a:cubicBezTo>
                    <a:pt x="5670" y="687"/>
                    <a:pt x="5667" y="670"/>
                    <a:pt x="5685" y="658"/>
                  </a:cubicBezTo>
                  <a:cubicBezTo>
                    <a:pt x="5703" y="646"/>
                    <a:pt x="5745" y="634"/>
                    <a:pt x="5745" y="634"/>
                  </a:cubicBezTo>
                  <a:cubicBezTo>
                    <a:pt x="5745" y="634"/>
                    <a:pt x="5748" y="625"/>
                    <a:pt x="5747" y="619"/>
                  </a:cubicBezTo>
                  <a:cubicBezTo>
                    <a:pt x="5746" y="613"/>
                    <a:pt x="5739" y="601"/>
                    <a:pt x="5746" y="599"/>
                  </a:cubicBezTo>
                  <a:cubicBezTo>
                    <a:pt x="5753" y="597"/>
                    <a:pt x="5764" y="625"/>
                    <a:pt x="5775" y="625"/>
                  </a:cubicBezTo>
                  <a:cubicBezTo>
                    <a:pt x="5775" y="625"/>
                    <a:pt x="5817" y="624"/>
                    <a:pt x="5828" y="622"/>
                  </a:cubicBezTo>
                  <a:cubicBezTo>
                    <a:pt x="5839" y="620"/>
                    <a:pt x="5860" y="609"/>
                    <a:pt x="5883" y="606"/>
                  </a:cubicBezTo>
                  <a:cubicBezTo>
                    <a:pt x="5906" y="603"/>
                    <a:pt x="5946" y="600"/>
                    <a:pt x="5953" y="598"/>
                  </a:cubicBezTo>
                  <a:cubicBezTo>
                    <a:pt x="5960" y="596"/>
                    <a:pt x="5966" y="589"/>
                    <a:pt x="5966" y="589"/>
                  </a:cubicBezTo>
                  <a:close/>
                  <a:moveTo>
                    <a:pt x="3460" y="585"/>
                  </a:moveTo>
                  <a:cubicBezTo>
                    <a:pt x="3479" y="587"/>
                    <a:pt x="3488" y="593"/>
                    <a:pt x="3504" y="601"/>
                  </a:cubicBezTo>
                  <a:cubicBezTo>
                    <a:pt x="3520" y="609"/>
                    <a:pt x="3574" y="600"/>
                    <a:pt x="3574" y="600"/>
                  </a:cubicBezTo>
                  <a:cubicBezTo>
                    <a:pt x="3560" y="555"/>
                    <a:pt x="3560" y="555"/>
                    <a:pt x="3560" y="555"/>
                  </a:cubicBezTo>
                  <a:cubicBezTo>
                    <a:pt x="3494" y="541"/>
                    <a:pt x="3494" y="541"/>
                    <a:pt x="3494" y="541"/>
                  </a:cubicBezTo>
                  <a:cubicBezTo>
                    <a:pt x="3472" y="566"/>
                    <a:pt x="3472" y="566"/>
                    <a:pt x="3472" y="566"/>
                  </a:cubicBezTo>
                  <a:cubicBezTo>
                    <a:pt x="3450" y="568"/>
                    <a:pt x="3450" y="568"/>
                    <a:pt x="3450" y="568"/>
                  </a:cubicBezTo>
                  <a:cubicBezTo>
                    <a:pt x="3450" y="568"/>
                    <a:pt x="3441" y="584"/>
                    <a:pt x="3460" y="585"/>
                  </a:cubicBezTo>
                  <a:close/>
                  <a:moveTo>
                    <a:pt x="5038" y="566"/>
                  </a:moveTo>
                  <a:cubicBezTo>
                    <a:pt x="5046" y="568"/>
                    <a:pt x="5046" y="568"/>
                    <a:pt x="5046" y="568"/>
                  </a:cubicBezTo>
                  <a:cubicBezTo>
                    <a:pt x="5046" y="568"/>
                    <a:pt x="5064" y="564"/>
                    <a:pt x="5070" y="564"/>
                  </a:cubicBezTo>
                  <a:cubicBezTo>
                    <a:pt x="5076" y="564"/>
                    <a:pt x="5090" y="554"/>
                    <a:pt x="5088" y="546"/>
                  </a:cubicBezTo>
                  <a:cubicBezTo>
                    <a:pt x="5086" y="538"/>
                    <a:pt x="5064" y="534"/>
                    <a:pt x="5064" y="534"/>
                  </a:cubicBezTo>
                  <a:cubicBezTo>
                    <a:pt x="5064" y="534"/>
                    <a:pt x="5054" y="526"/>
                    <a:pt x="5044" y="526"/>
                  </a:cubicBezTo>
                  <a:cubicBezTo>
                    <a:pt x="5034" y="526"/>
                    <a:pt x="5030" y="532"/>
                    <a:pt x="5014" y="526"/>
                  </a:cubicBezTo>
                  <a:cubicBezTo>
                    <a:pt x="5010" y="542"/>
                    <a:pt x="5010" y="542"/>
                    <a:pt x="5010" y="542"/>
                  </a:cubicBezTo>
                  <a:cubicBezTo>
                    <a:pt x="5010" y="542"/>
                    <a:pt x="5002" y="546"/>
                    <a:pt x="5002" y="552"/>
                  </a:cubicBezTo>
                  <a:cubicBezTo>
                    <a:pt x="5002" y="558"/>
                    <a:pt x="5014" y="564"/>
                    <a:pt x="5014" y="564"/>
                  </a:cubicBezTo>
                  <a:cubicBezTo>
                    <a:pt x="5010" y="572"/>
                    <a:pt x="5010" y="572"/>
                    <a:pt x="5010" y="572"/>
                  </a:cubicBezTo>
                  <a:lnTo>
                    <a:pt x="5038" y="566"/>
                  </a:lnTo>
                  <a:close/>
                  <a:moveTo>
                    <a:pt x="3831" y="723"/>
                  </a:moveTo>
                  <a:cubicBezTo>
                    <a:pt x="3819" y="725"/>
                    <a:pt x="3809" y="742"/>
                    <a:pt x="3828" y="742"/>
                  </a:cubicBezTo>
                  <a:cubicBezTo>
                    <a:pt x="3839" y="742"/>
                    <a:pt x="3844" y="721"/>
                    <a:pt x="3831" y="723"/>
                  </a:cubicBezTo>
                  <a:close/>
                  <a:moveTo>
                    <a:pt x="1600" y="1098"/>
                  </a:moveTo>
                  <a:cubicBezTo>
                    <a:pt x="1600" y="1098"/>
                    <a:pt x="1575" y="1105"/>
                    <a:pt x="1576" y="1112"/>
                  </a:cubicBezTo>
                  <a:cubicBezTo>
                    <a:pt x="1577" y="1119"/>
                    <a:pt x="1586" y="1129"/>
                    <a:pt x="1586" y="1129"/>
                  </a:cubicBezTo>
                  <a:cubicBezTo>
                    <a:pt x="1597" y="1133"/>
                    <a:pt x="1614" y="1125"/>
                    <a:pt x="1614" y="1115"/>
                  </a:cubicBezTo>
                  <a:cubicBezTo>
                    <a:pt x="1614" y="1105"/>
                    <a:pt x="1600" y="1098"/>
                    <a:pt x="1600" y="1098"/>
                  </a:cubicBezTo>
                  <a:close/>
                  <a:moveTo>
                    <a:pt x="1573" y="1465"/>
                  </a:moveTo>
                  <a:cubicBezTo>
                    <a:pt x="1561" y="1464"/>
                    <a:pt x="1541" y="1476"/>
                    <a:pt x="1546" y="1484"/>
                  </a:cubicBezTo>
                  <a:cubicBezTo>
                    <a:pt x="1551" y="1492"/>
                    <a:pt x="1560" y="1490"/>
                    <a:pt x="1560" y="1490"/>
                  </a:cubicBezTo>
                  <a:cubicBezTo>
                    <a:pt x="1569" y="1484"/>
                    <a:pt x="1569" y="1484"/>
                    <a:pt x="1569" y="1484"/>
                  </a:cubicBezTo>
                  <a:cubicBezTo>
                    <a:pt x="1576" y="1489"/>
                    <a:pt x="1576" y="1489"/>
                    <a:pt x="1576" y="1489"/>
                  </a:cubicBezTo>
                  <a:cubicBezTo>
                    <a:pt x="1570" y="1496"/>
                    <a:pt x="1570" y="1496"/>
                    <a:pt x="1570" y="1496"/>
                  </a:cubicBezTo>
                  <a:cubicBezTo>
                    <a:pt x="1570" y="1496"/>
                    <a:pt x="1541" y="1501"/>
                    <a:pt x="1549" y="1510"/>
                  </a:cubicBezTo>
                  <a:cubicBezTo>
                    <a:pt x="1557" y="1519"/>
                    <a:pt x="1572" y="1510"/>
                    <a:pt x="1572" y="1510"/>
                  </a:cubicBezTo>
                  <a:cubicBezTo>
                    <a:pt x="1567" y="1525"/>
                    <a:pt x="1567" y="1525"/>
                    <a:pt x="1567" y="1525"/>
                  </a:cubicBezTo>
                  <a:cubicBezTo>
                    <a:pt x="1582" y="1524"/>
                    <a:pt x="1582" y="1524"/>
                    <a:pt x="1582" y="1524"/>
                  </a:cubicBezTo>
                  <a:cubicBezTo>
                    <a:pt x="1568" y="1535"/>
                    <a:pt x="1568" y="1535"/>
                    <a:pt x="1568" y="1535"/>
                  </a:cubicBezTo>
                  <a:cubicBezTo>
                    <a:pt x="1594" y="1533"/>
                    <a:pt x="1594" y="1533"/>
                    <a:pt x="1594" y="1533"/>
                  </a:cubicBezTo>
                  <a:cubicBezTo>
                    <a:pt x="1594" y="1533"/>
                    <a:pt x="1567" y="1544"/>
                    <a:pt x="1573" y="1549"/>
                  </a:cubicBezTo>
                  <a:cubicBezTo>
                    <a:pt x="1579" y="1554"/>
                    <a:pt x="1591" y="1533"/>
                    <a:pt x="1597" y="1544"/>
                  </a:cubicBezTo>
                  <a:cubicBezTo>
                    <a:pt x="1603" y="1555"/>
                    <a:pt x="1581" y="1559"/>
                    <a:pt x="1587" y="1566"/>
                  </a:cubicBezTo>
                  <a:cubicBezTo>
                    <a:pt x="1593" y="1573"/>
                    <a:pt x="1619" y="1568"/>
                    <a:pt x="1619" y="1568"/>
                  </a:cubicBezTo>
                  <a:cubicBezTo>
                    <a:pt x="1632" y="1560"/>
                    <a:pt x="1632" y="1560"/>
                    <a:pt x="1632" y="1560"/>
                  </a:cubicBezTo>
                  <a:cubicBezTo>
                    <a:pt x="1620" y="1574"/>
                    <a:pt x="1620" y="1574"/>
                    <a:pt x="1620" y="1574"/>
                  </a:cubicBezTo>
                  <a:cubicBezTo>
                    <a:pt x="1620" y="1574"/>
                    <a:pt x="1595" y="1574"/>
                    <a:pt x="1606" y="1583"/>
                  </a:cubicBezTo>
                  <a:cubicBezTo>
                    <a:pt x="1617" y="1592"/>
                    <a:pt x="1626" y="1592"/>
                    <a:pt x="1626" y="1592"/>
                  </a:cubicBezTo>
                  <a:cubicBezTo>
                    <a:pt x="1626" y="1592"/>
                    <a:pt x="1650" y="1609"/>
                    <a:pt x="1662" y="1599"/>
                  </a:cubicBezTo>
                  <a:cubicBezTo>
                    <a:pt x="1674" y="1589"/>
                    <a:pt x="1683" y="1581"/>
                    <a:pt x="1674" y="1570"/>
                  </a:cubicBezTo>
                  <a:cubicBezTo>
                    <a:pt x="1665" y="1559"/>
                    <a:pt x="1648" y="1548"/>
                    <a:pt x="1648" y="1548"/>
                  </a:cubicBezTo>
                  <a:cubicBezTo>
                    <a:pt x="1648" y="1548"/>
                    <a:pt x="1645" y="1534"/>
                    <a:pt x="1646" y="1527"/>
                  </a:cubicBezTo>
                  <a:cubicBezTo>
                    <a:pt x="1647" y="1520"/>
                    <a:pt x="1652" y="1508"/>
                    <a:pt x="1644" y="1498"/>
                  </a:cubicBezTo>
                  <a:cubicBezTo>
                    <a:pt x="1644" y="1498"/>
                    <a:pt x="1618" y="1494"/>
                    <a:pt x="1609" y="1492"/>
                  </a:cubicBezTo>
                  <a:cubicBezTo>
                    <a:pt x="1600" y="1490"/>
                    <a:pt x="1585" y="1466"/>
                    <a:pt x="1573" y="1465"/>
                  </a:cubicBezTo>
                  <a:close/>
                  <a:moveTo>
                    <a:pt x="1638" y="1472"/>
                  </a:moveTo>
                  <a:cubicBezTo>
                    <a:pt x="1628" y="1469"/>
                    <a:pt x="1629" y="1486"/>
                    <a:pt x="1629" y="1486"/>
                  </a:cubicBezTo>
                  <a:cubicBezTo>
                    <a:pt x="1637" y="1486"/>
                    <a:pt x="1648" y="1475"/>
                    <a:pt x="1638" y="1472"/>
                  </a:cubicBezTo>
                  <a:close/>
                  <a:moveTo>
                    <a:pt x="1625" y="1384"/>
                  </a:moveTo>
                  <a:cubicBezTo>
                    <a:pt x="1623" y="1367"/>
                    <a:pt x="1623" y="1367"/>
                    <a:pt x="1623" y="1367"/>
                  </a:cubicBezTo>
                  <a:cubicBezTo>
                    <a:pt x="1623" y="1367"/>
                    <a:pt x="1591" y="1364"/>
                    <a:pt x="1591" y="1373"/>
                  </a:cubicBezTo>
                  <a:cubicBezTo>
                    <a:pt x="1591" y="1382"/>
                    <a:pt x="1608" y="1379"/>
                    <a:pt x="1608" y="1379"/>
                  </a:cubicBezTo>
                  <a:cubicBezTo>
                    <a:pt x="1606" y="1396"/>
                    <a:pt x="1606" y="1396"/>
                    <a:pt x="1606" y="1396"/>
                  </a:cubicBezTo>
                  <a:lnTo>
                    <a:pt x="1625" y="1384"/>
                  </a:lnTo>
                  <a:close/>
                  <a:moveTo>
                    <a:pt x="1582" y="1336"/>
                  </a:moveTo>
                  <a:cubicBezTo>
                    <a:pt x="1584" y="1351"/>
                    <a:pt x="1595" y="1357"/>
                    <a:pt x="1595" y="1357"/>
                  </a:cubicBezTo>
                  <a:cubicBezTo>
                    <a:pt x="1603" y="1336"/>
                    <a:pt x="1603" y="1336"/>
                    <a:pt x="1603" y="1336"/>
                  </a:cubicBezTo>
                  <a:cubicBezTo>
                    <a:pt x="1603" y="1336"/>
                    <a:pt x="1580" y="1321"/>
                    <a:pt x="1582" y="1336"/>
                  </a:cubicBezTo>
                  <a:close/>
                  <a:moveTo>
                    <a:pt x="1573" y="1224"/>
                  </a:moveTo>
                  <a:cubicBezTo>
                    <a:pt x="1569" y="1226"/>
                    <a:pt x="1563" y="1237"/>
                    <a:pt x="1568" y="1246"/>
                  </a:cubicBezTo>
                  <a:cubicBezTo>
                    <a:pt x="1573" y="1255"/>
                    <a:pt x="1572" y="1273"/>
                    <a:pt x="1572" y="1273"/>
                  </a:cubicBezTo>
                  <a:cubicBezTo>
                    <a:pt x="1572" y="1273"/>
                    <a:pt x="1586" y="1265"/>
                    <a:pt x="1594" y="1256"/>
                  </a:cubicBezTo>
                  <a:cubicBezTo>
                    <a:pt x="1602" y="1247"/>
                    <a:pt x="1590" y="1235"/>
                    <a:pt x="1590" y="1235"/>
                  </a:cubicBezTo>
                  <a:cubicBezTo>
                    <a:pt x="1590" y="1235"/>
                    <a:pt x="1600" y="1234"/>
                    <a:pt x="1609" y="1224"/>
                  </a:cubicBezTo>
                  <a:cubicBezTo>
                    <a:pt x="1618" y="1214"/>
                    <a:pt x="1594" y="1196"/>
                    <a:pt x="1594" y="1196"/>
                  </a:cubicBezTo>
                  <a:cubicBezTo>
                    <a:pt x="1581" y="1205"/>
                    <a:pt x="1581" y="1205"/>
                    <a:pt x="1581" y="1205"/>
                  </a:cubicBezTo>
                  <a:cubicBezTo>
                    <a:pt x="1581" y="1205"/>
                    <a:pt x="1587" y="1211"/>
                    <a:pt x="1591" y="1212"/>
                  </a:cubicBezTo>
                  <a:cubicBezTo>
                    <a:pt x="1595" y="1213"/>
                    <a:pt x="1577" y="1222"/>
                    <a:pt x="1573" y="1224"/>
                  </a:cubicBezTo>
                  <a:close/>
                  <a:moveTo>
                    <a:pt x="1636" y="1101"/>
                  </a:moveTo>
                  <a:cubicBezTo>
                    <a:pt x="1628" y="1108"/>
                    <a:pt x="1614" y="1124"/>
                    <a:pt x="1614" y="1124"/>
                  </a:cubicBezTo>
                  <a:cubicBezTo>
                    <a:pt x="1602" y="1148"/>
                    <a:pt x="1602" y="1148"/>
                    <a:pt x="1602" y="1148"/>
                  </a:cubicBezTo>
                  <a:cubicBezTo>
                    <a:pt x="1602" y="1148"/>
                    <a:pt x="1623" y="1144"/>
                    <a:pt x="1633" y="1135"/>
                  </a:cubicBezTo>
                  <a:cubicBezTo>
                    <a:pt x="1643" y="1126"/>
                    <a:pt x="1640" y="1117"/>
                    <a:pt x="1640" y="1117"/>
                  </a:cubicBezTo>
                  <a:cubicBezTo>
                    <a:pt x="1650" y="1107"/>
                    <a:pt x="1650" y="1107"/>
                    <a:pt x="1650" y="1107"/>
                  </a:cubicBezTo>
                  <a:cubicBezTo>
                    <a:pt x="1650" y="1107"/>
                    <a:pt x="1644" y="1094"/>
                    <a:pt x="1636" y="1101"/>
                  </a:cubicBezTo>
                  <a:close/>
                  <a:moveTo>
                    <a:pt x="1614" y="1326"/>
                  </a:moveTo>
                  <a:cubicBezTo>
                    <a:pt x="1607" y="1344"/>
                    <a:pt x="1607" y="1344"/>
                    <a:pt x="1607" y="1344"/>
                  </a:cubicBezTo>
                  <a:cubicBezTo>
                    <a:pt x="1609" y="1356"/>
                    <a:pt x="1609" y="1356"/>
                    <a:pt x="1609" y="1356"/>
                  </a:cubicBezTo>
                  <a:cubicBezTo>
                    <a:pt x="1625" y="1346"/>
                    <a:pt x="1625" y="1346"/>
                    <a:pt x="1625" y="1346"/>
                  </a:cubicBezTo>
                  <a:lnTo>
                    <a:pt x="1614" y="1326"/>
                  </a:lnTo>
                  <a:close/>
                  <a:moveTo>
                    <a:pt x="4282" y="982"/>
                  </a:moveTo>
                  <a:cubicBezTo>
                    <a:pt x="4259" y="984"/>
                    <a:pt x="4259" y="984"/>
                    <a:pt x="4259" y="984"/>
                  </a:cubicBezTo>
                  <a:cubicBezTo>
                    <a:pt x="4283" y="1000"/>
                    <a:pt x="4283" y="1000"/>
                    <a:pt x="4283" y="1000"/>
                  </a:cubicBezTo>
                  <a:cubicBezTo>
                    <a:pt x="4302" y="991"/>
                    <a:pt x="4282" y="982"/>
                    <a:pt x="4282" y="982"/>
                  </a:cubicBezTo>
                  <a:close/>
                  <a:moveTo>
                    <a:pt x="4428" y="931"/>
                  </a:moveTo>
                  <a:cubicBezTo>
                    <a:pt x="4428" y="931"/>
                    <a:pt x="4406" y="926"/>
                    <a:pt x="4403" y="935"/>
                  </a:cubicBezTo>
                  <a:cubicBezTo>
                    <a:pt x="4403" y="935"/>
                    <a:pt x="4414" y="949"/>
                    <a:pt x="4425" y="942"/>
                  </a:cubicBezTo>
                  <a:cubicBezTo>
                    <a:pt x="4435" y="934"/>
                    <a:pt x="4428" y="931"/>
                    <a:pt x="4428" y="931"/>
                  </a:cubicBezTo>
                  <a:close/>
                  <a:moveTo>
                    <a:pt x="1487" y="1399"/>
                  </a:moveTo>
                  <a:cubicBezTo>
                    <a:pt x="1487" y="1399"/>
                    <a:pt x="1482" y="1411"/>
                    <a:pt x="1498" y="1410"/>
                  </a:cubicBezTo>
                  <a:cubicBezTo>
                    <a:pt x="1509" y="1409"/>
                    <a:pt x="1498" y="1392"/>
                    <a:pt x="1495" y="1385"/>
                  </a:cubicBezTo>
                  <a:cubicBezTo>
                    <a:pt x="1492" y="1378"/>
                    <a:pt x="1500" y="1372"/>
                    <a:pt x="1505" y="1369"/>
                  </a:cubicBezTo>
                  <a:cubicBezTo>
                    <a:pt x="1510" y="1366"/>
                    <a:pt x="1518" y="1357"/>
                    <a:pt x="1516" y="1353"/>
                  </a:cubicBezTo>
                  <a:cubicBezTo>
                    <a:pt x="1516" y="1353"/>
                    <a:pt x="1514" y="1342"/>
                    <a:pt x="1520" y="1337"/>
                  </a:cubicBezTo>
                  <a:cubicBezTo>
                    <a:pt x="1526" y="1332"/>
                    <a:pt x="1537" y="1321"/>
                    <a:pt x="1546" y="1316"/>
                  </a:cubicBezTo>
                  <a:cubicBezTo>
                    <a:pt x="1555" y="1311"/>
                    <a:pt x="1568" y="1305"/>
                    <a:pt x="1564" y="1304"/>
                  </a:cubicBezTo>
                  <a:cubicBezTo>
                    <a:pt x="1560" y="1303"/>
                    <a:pt x="1544" y="1307"/>
                    <a:pt x="1538" y="1310"/>
                  </a:cubicBezTo>
                  <a:cubicBezTo>
                    <a:pt x="1532" y="1313"/>
                    <a:pt x="1527" y="1328"/>
                    <a:pt x="1517" y="1328"/>
                  </a:cubicBezTo>
                  <a:cubicBezTo>
                    <a:pt x="1507" y="1328"/>
                    <a:pt x="1506" y="1320"/>
                    <a:pt x="1516" y="1320"/>
                  </a:cubicBezTo>
                  <a:cubicBezTo>
                    <a:pt x="1526" y="1320"/>
                    <a:pt x="1544" y="1307"/>
                    <a:pt x="1530" y="1308"/>
                  </a:cubicBezTo>
                  <a:cubicBezTo>
                    <a:pt x="1516" y="1309"/>
                    <a:pt x="1514" y="1312"/>
                    <a:pt x="1514" y="1312"/>
                  </a:cubicBezTo>
                  <a:cubicBezTo>
                    <a:pt x="1514" y="1312"/>
                    <a:pt x="1517" y="1298"/>
                    <a:pt x="1506" y="1302"/>
                  </a:cubicBezTo>
                  <a:cubicBezTo>
                    <a:pt x="1495" y="1306"/>
                    <a:pt x="1493" y="1319"/>
                    <a:pt x="1493" y="1319"/>
                  </a:cubicBezTo>
                  <a:cubicBezTo>
                    <a:pt x="1485" y="1337"/>
                    <a:pt x="1485" y="1337"/>
                    <a:pt x="1485" y="1337"/>
                  </a:cubicBezTo>
                  <a:cubicBezTo>
                    <a:pt x="1485" y="1337"/>
                    <a:pt x="1482" y="1349"/>
                    <a:pt x="1485" y="1350"/>
                  </a:cubicBezTo>
                  <a:cubicBezTo>
                    <a:pt x="1488" y="1351"/>
                    <a:pt x="1491" y="1360"/>
                    <a:pt x="1491" y="1360"/>
                  </a:cubicBezTo>
                  <a:cubicBezTo>
                    <a:pt x="1482" y="1364"/>
                    <a:pt x="1482" y="1364"/>
                    <a:pt x="1482" y="1364"/>
                  </a:cubicBezTo>
                  <a:lnTo>
                    <a:pt x="1487" y="1399"/>
                  </a:lnTo>
                  <a:close/>
                  <a:moveTo>
                    <a:pt x="3982" y="842"/>
                  </a:moveTo>
                  <a:cubicBezTo>
                    <a:pt x="3959" y="854"/>
                    <a:pt x="3991" y="862"/>
                    <a:pt x="3991" y="862"/>
                  </a:cubicBezTo>
                  <a:cubicBezTo>
                    <a:pt x="4014" y="849"/>
                    <a:pt x="4006" y="829"/>
                    <a:pt x="3982" y="842"/>
                  </a:cubicBezTo>
                  <a:close/>
                  <a:moveTo>
                    <a:pt x="3698" y="1210"/>
                  </a:moveTo>
                  <a:cubicBezTo>
                    <a:pt x="3730" y="1209"/>
                    <a:pt x="3741" y="1183"/>
                    <a:pt x="3710" y="1183"/>
                  </a:cubicBezTo>
                  <a:cubicBezTo>
                    <a:pt x="3678" y="1184"/>
                    <a:pt x="3698" y="1210"/>
                    <a:pt x="3698" y="1210"/>
                  </a:cubicBezTo>
                  <a:close/>
                  <a:moveTo>
                    <a:pt x="3875" y="899"/>
                  </a:moveTo>
                  <a:cubicBezTo>
                    <a:pt x="3834" y="912"/>
                    <a:pt x="3875" y="926"/>
                    <a:pt x="3875" y="926"/>
                  </a:cubicBezTo>
                  <a:cubicBezTo>
                    <a:pt x="3897" y="910"/>
                    <a:pt x="3916" y="885"/>
                    <a:pt x="3875" y="899"/>
                  </a:cubicBezTo>
                  <a:close/>
                  <a:moveTo>
                    <a:pt x="3938" y="838"/>
                  </a:moveTo>
                  <a:cubicBezTo>
                    <a:pt x="3938" y="838"/>
                    <a:pt x="3915" y="835"/>
                    <a:pt x="3905" y="827"/>
                  </a:cubicBezTo>
                  <a:cubicBezTo>
                    <a:pt x="3895" y="819"/>
                    <a:pt x="3900" y="798"/>
                    <a:pt x="3900" y="798"/>
                  </a:cubicBezTo>
                  <a:cubicBezTo>
                    <a:pt x="3879" y="782"/>
                    <a:pt x="3879" y="782"/>
                    <a:pt x="3879" y="782"/>
                  </a:cubicBezTo>
                  <a:cubicBezTo>
                    <a:pt x="3852" y="785"/>
                    <a:pt x="3852" y="785"/>
                    <a:pt x="3852" y="785"/>
                  </a:cubicBezTo>
                  <a:cubicBezTo>
                    <a:pt x="3848" y="776"/>
                    <a:pt x="3848" y="776"/>
                    <a:pt x="3848" y="776"/>
                  </a:cubicBezTo>
                  <a:cubicBezTo>
                    <a:pt x="3835" y="754"/>
                    <a:pt x="3835" y="754"/>
                    <a:pt x="3835" y="754"/>
                  </a:cubicBezTo>
                  <a:cubicBezTo>
                    <a:pt x="3812" y="758"/>
                    <a:pt x="3812" y="758"/>
                    <a:pt x="3812" y="758"/>
                  </a:cubicBezTo>
                  <a:cubicBezTo>
                    <a:pt x="3799" y="751"/>
                    <a:pt x="3799" y="751"/>
                    <a:pt x="3799" y="751"/>
                  </a:cubicBezTo>
                  <a:cubicBezTo>
                    <a:pt x="3811" y="740"/>
                    <a:pt x="3811" y="740"/>
                    <a:pt x="3811" y="740"/>
                  </a:cubicBezTo>
                  <a:cubicBezTo>
                    <a:pt x="3809" y="723"/>
                    <a:pt x="3809" y="723"/>
                    <a:pt x="3809" y="723"/>
                  </a:cubicBezTo>
                  <a:cubicBezTo>
                    <a:pt x="3775" y="741"/>
                    <a:pt x="3775" y="741"/>
                    <a:pt x="3775" y="741"/>
                  </a:cubicBezTo>
                  <a:cubicBezTo>
                    <a:pt x="3758" y="749"/>
                    <a:pt x="3758" y="749"/>
                    <a:pt x="3758" y="749"/>
                  </a:cubicBezTo>
                  <a:cubicBezTo>
                    <a:pt x="3739" y="777"/>
                    <a:pt x="3739" y="777"/>
                    <a:pt x="3739" y="777"/>
                  </a:cubicBezTo>
                  <a:cubicBezTo>
                    <a:pt x="3739" y="777"/>
                    <a:pt x="3708" y="784"/>
                    <a:pt x="3706" y="790"/>
                  </a:cubicBezTo>
                  <a:cubicBezTo>
                    <a:pt x="3704" y="796"/>
                    <a:pt x="3716" y="803"/>
                    <a:pt x="3706" y="806"/>
                  </a:cubicBezTo>
                  <a:cubicBezTo>
                    <a:pt x="3697" y="810"/>
                    <a:pt x="3668" y="820"/>
                    <a:pt x="3668" y="820"/>
                  </a:cubicBezTo>
                  <a:cubicBezTo>
                    <a:pt x="3685" y="828"/>
                    <a:pt x="3685" y="828"/>
                    <a:pt x="3685" y="828"/>
                  </a:cubicBezTo>
                  <a:cubicBezTo>
                    <a:pt x="3685" y="828"/>
                    <a:pt x="3712" y="824"/>
                    <a:pt x="3713" y="827"/>
                  </a:cubicBezTo>
                  <a:cubicBezTo>
                    <a:pt x="3713" y="830"/>
                    <a:pt x="3707" y="835"/>
                    <a:pt x="3707" y="846"/>
                  </a:cubicBezTo>
                  <a:cubicBezTo>
                    <a:pt x="3707" y="857"/>
                    <a:pt x="3750" y="858"/>
                    <a:pt x="3769" y="848"/>
                  </a:cubicBezTo>
                  <a:cubicBezTo>
                    <a:pt x="3788" y="839"/>
                    <a:pt x="3778" y="821"/>
                    <a:pt x="3806" y="822"/>
                  </a:cubicBezTo>
                  <a:cubicBezTo>
                    <a:pt x="3833" y="822"/>
                    <a:pt x="3837" y="831"/>
                    <a:pt x="3837" y="831"/>
                  </a:cubicBezTo>
                  <a:cubicBezTo>
                    <a:pt x="3868" y="836"/>
                    <a:pt x="3868" y="836"/>
                    <a:pt x="3868" y="836"/>
                  </a:cubicBezTo>
                  <a:cubicBezTo>
                    <a:pt x="3872" y="847"/>
                    <a:pt x="3872" y="847"/>
                    <a:pt x="3872" y="847"/>
                  </a:cubicBezTo>
                  <a:cubicBezTo>
                    <a:pt x="3934" y="851"/>
                    <a:pt x="3934" y="851"/>
                    <a:pt x="3934" y="851"/>
                  </a:cubicBezTo>
                  <a:lnTo>
                    <a:pt x="3938" y="838"/>
                  </a:lnTo>
                  <a:close/>
                  <a:moveTo>
                    <a:pt x="3767" y="885"/>
                  </a:moveTo>
                  <a:cubicBezTo>
                    <a:pt x="3712" y="935"/>
                    <a:pt x="3802" y="899"/>
                    <a:pt x="3802" y="899"/>
                  </a:cubicBezTo>
                  <a:cubicBezTo>
                    <a:pt x="3848" y="856"/>
                    <a:pt x="3821" y="834"/>
                    <a:pt x="3767" y="885"/>
                  </a:cubicBezTo>
                  <a:close/>
                  <a:moveTo>
                    <a:pt x="4240" y="874"/>
                  </a:moveTo>
                  <a:cubicBezTo>
                    <a:pt x="4228" y="875"/>
                    <a:pt x="4229" y="891"/>
                    <a:pt x="4243" y="891"/>
                  </a:cubicBezTo>
                  <a:cubicBezTo>
                    <a:pt x="4267" y="891"/>
                    <a:pt x="4253" y="872"/>
                    <a:pt x="4240" y="874"/>
                  </a:cubicBezTo>
                  <a:close/>
                  <a:moveTo>
                    <a:pt x="1646" y="1241"/>
                  </a:moveTo>
                  <a:cubicBezTo>
                    <a:pt x="1652" y="1228"/>
                    <a:pt x="1637" y="1213"/>
                    <a:pt x="1627" y="1223"/>
                  </a:cubicBezTo>
                  <a:cubicBezTo>
                    <a:pt x="1617" y="1233"/>
                    <a:pt x="1611" y="1263"/>
                    <a:pt x="1611" y="1263"/>
                  </a:cubicBezTo>
                  <a:cubicBezTo>
                    <a:pt x="1611" y="1263"/>
                    <a:pt x="1624" y="1252"/>
                    <a:pt x="1629" y="1252"/>
                  </a:cubicBezTo>
                  <a:cubicBezTo>
                    <a:pt x="1634" y="1252"/>
                    <a:pt x="1640" y="1254"/>
                    <a:pt x="1646" y="1241"/>
                  </a:cubicBezTo>
                  <a:close/>
                  <a:moveTo>
                    <a:pt x="1638" y="1161"/>
                  </a:moveTo>
                  <a:cubicBezTo>
                    <a:pt x="1620" y="1158"/>
                    <a:pt x="1620" y="1158"/>
                    <a:pt x="1620" y="1158"/>
                  </a:cubicBezTo>
                  <a:cubicBezTo>
                    <a:pt x="1620" y="1158"/>
                    <a:pt x="1595" y="1176"/>
                    <a:pt x="1598" y="1183"/>
                  </a:cubicBezTo>
                  <a:cubicBezTo>
                    <a:pt x="1604" y="1197"/>
                    <a:pt x="1624" y="1175"/>
                    <a:pt x="1624" y="1175"/>
                  </a:cubicBezTo>
                  <a:cubicBezTo>
                    <a:pt x="1639" y="1171"/>
                    <a:pt x="1639" y="1171"/>
                    <a:pt x="1639" y="1171"/>
                  </a:cubicBezTo>
                  <a:lnTo>
                    <a:pt x="1638" y="1161"/>
                  </a:lnTo>
                  <a:close/>
                  <a:moveTo>
                    <a:pt x="1553" y="1272"/>
                  </a:moveTo>
                  <a:cubicBezTo>
                    <a:pt x="1559" y="1247"/>
                    <a:pt x="1559" y="1247"/>
                    <a:pt x="1559" y="1247"/>
                  </a:cubicBezTo>
                  <a:cubicBezTo>
                    <a:pt x="1548" y="1252"/>
                    <a:pt x="1548" y="1252"/>
                    <a:pt x="1548" y="1252"/>
                  </a:cubicBezTo>
                  <a:cubicBezTo>
                    <a:pt x="1544" y="1271"/>
                    <a:pt x="1544" y="1271"/>
                    <a:pt x="1544" y="1271"/>
                  </a:cubicBezTo>
                  <a:lnTo>
                    <a:pt x="1553" y="1272"/>
                  </a:lnTo>
                  <a:close/>
                  <a:moveTo>
                    <a:pt x="1558" y="1149"/>
                  </a:moveTo>
                  <a:cubicBezTo>
                    <a:pt x="1557" y="1155"/>
                    <a:pt x="1550" y="1168"/>
                    <a:pt x="1550" y="1168"/>
                  </a:cubicBezTo>
                  <a:cubicBezTo>
                    <a:pt x="1549" y="1177"/>
                    <a:pt x="1549" y="1177"/>
                    <a:pt x="1549" y="1177"/>
                  </a:cubicBezTo>
                  <a:cubicBezTo>
                    <a:pt x="1549" y="1177"/>
                    <a:pt x="1541" y="1181"/>
                    <a:pt x="1540" y="1188"/>
                  </a:cubicBezTo>
                  <a:cubicBezTo>
                    <a:pt x="1539" y="1195"/>
                    <a:pt x="1546" y="1199"/>
                    <a:pt x="1546" y="1199"/>
                  </a:cubicBezTo>
                  <a:cubicBezTo>
                    <a:pt x="1546" y="1199"/>
                    <a:pt x="1559" y="1179"/>
                    <a:pt x="1576" y="1166"/>
                  </a:cubicBezTo>
                  <a:cubicBezTo>
                    <a:pt x="1593" y="1153"/>
                    <a:pt x="1590" y="1138"/>
                    <a:pt x="1583" y="1135"/>
                  </a:cubicBezTo>
                  <a:cubicBezTo>
                    <a:pt x="1576" y="1132"/>
                    <a:pt x="1559" y="1143"/>
                    <a:pt x="1558" y="1149"/>
                  </a:cubicBezTo>
                  <a:close/>
                  <a:moveTo>
                    <a:pt x="4429" y="4263"/>
                  </a:moveTo>
                  <a:cubicBezTo>
                    <a:pt x="4438" y="4234"/>
                    <a:pt x="4438" y="4234"/>
                    <a:pt x="4438" y="4234"/>
                  </a:cubicBezTo>
                  <a:cubicBezTo>
                    <a:pt x="4438" y="4234"/>
                    <a:pt x="4445" y="4220"/>
                    <a:pt x="4444" y="4207"/>
                  </a:cubicBezTo>
                  <a:cubicBezTo>
                    <a:pt x="4443" y="4194"/>
                    <a:pt x="4423" y="4199"/>
                    <a:pt x="4412" y="4199"/>
                  </a:cubicBezTo>
                  <a:cubicBezTo>
                    <a:pt x="4412" y="4199"/>
                    <a:pt x="4396" y="4208"/>
                    <a:pt x="4389" y="4207"/>
                  </a:cubicBezTo>
                  <a:cubicBezTo>
                    <a:pt x="4383" y="4206"/>
                    <a:pt x="4355" y="4199"/>
                    <a:pt x="4345" y="4201"/>
                  </a:cubicBezTo>
                  <a:cubicBezTo>
                    <a:pt x="4335" y="4203"/>
                    <a:pt x="4346" y="4226"/>
                    <a:pt x="4346" y="4226"/>
                  </a:cubicBezTo>
                  <a:cubicBezTo>
                    <a:pt x="4335" y="4228"/>
                    <a:pt x="4335" y="4228"/>
                    <a:pt x="4335" y="4228"/>
                  </a:cubicBezTo>
                  <a:cubicBezTo>
                    <a:pt x="4335" y="4244"/>
                    <a:pt x="4335" y="4244"/>
                    <a:pt x="4335" y="4244"/>
                  </a:cubicBezTo>
                  <a:cubicBezTo>
                    <a:pt x="4349" y="4250"/>
                    <a:pt x="4349" y="4250"/>
                    <a:pt x="4349" y="4250"/>
                  </a:cubicBezTo>
                  <a:cubicBezTo>
                    <a:pt x="4339" y="4258"/>
                    <a:pt x="4339" y="4258"/>
                    <a:pt x="4339" y="4258"/>
                  </a:cubicBezTo>
                  <a:cubicBezTo>
                    <a:pt x="4339" y="4258"/>
                    <a:pt x="4342" y="4274"/>
                    <a:pt x="4348" y="4284"/>
                  </a:cubicBezTo>
                  <a:cubicBezTo>
                    <a:pt x="4355" y="4294"/>
                    <a:pt x="4375" y="4288"/>
                    <a:pt x="4382" y="4288"/>
                  </a:cubicBezTo>
                  <a:cubicBezTo>
                    <a:pt x="4388" y="4288"/>
                    <a:pt x="4387" y="4280"/>
                    <a:pt x="4387" y="4280"/>
                  </a:cubicBezTo>
                  <a:cubicBezTo>
                    <a:pt x="4387" y="4280"/>
                    <a:pt x="4400" y="4276"/>
                    <a:pt x="4411" y="4276"/>
                  </a:cubicBezTo>
                  <a:cubicBezTo>
                    <a:pt x="4422" y="4276"/>
                    <a:pt x="4429" y="4263"/>
                    <a:pt x="4429" y="4263"/>
                  </a:cubicBezTo>
                  <a:close/>
                  <a:moveTo>
                    <a:pt x="4330" y="4191"/>
                  </a:moveTo>
                  <a:cubicBezTo>
                    <a:pt x="4317" y="4207"/>
                    <a:pt x="4317" y="4207"/>
                    <a:pt x="4317" y="4207"/>
                  </a:cubicBezTo>
                  <a:cubicBezTo>
                    <a:pt x="4328" y="4212"/>
                    <a:pt x="4328" y="4212"/>
                    <a:pt x="4328" y="4212"/>
                  </a:cubicBezTo>
                  <a:cubicBezTo>
                    <a:pt x="4339" y="4195"/>
                    <a:pt x="4339" y="4195"/>
                    <a:pt x="4339" y="4195"/>
                  </a:cubicBezTo>
                  <a:lnTo>
                    <a:pt x="4330" y="4191"/>
                  </a:lnTo>
                  <a:close/>
                  <a:moveTo>
                    <a:pt x="4367" y="4178"/>
                  </a:moveTo>
                  <a:cubicBezTo>
                    <a:pt x="4353" y="4179"/>
                    <a:pt x="4353" y="4179"/>
                    <a:pt x="4353" y="4179"/>
                  </a:cubicBezTo>
                  <a:cubicBezTo>
                    <a:pt x="4352" y="4190"/>
                    <a:pt x="4352" y="4190"/>
                    <a:pt x="4352" y="4190"/>
                  </a:cubicBezTo>
                  <a:cubicBezTo>
                    <a:pt x="4374" y="4191"/>
                    <a:pt x="4374" y="4191"/>
                    <a:pt x="4374" y="4191"/>
                  </a:cubicBezTo>
                  <a:cubicBezTo>
                    <a:pt x="4386" y="4174"/>
                    <a:pt x="4386" y="4174"/>
                    <a:pt x="4386" y="4174"/>
                  </a:cubicBezTo>
                  <a:cubicBezTo>
                    <a:pt x="4377" y="4163"/>
                    <a:pt x="4377" y="4163"/>
                    <a:pt x="4377" y="4163"/>
                  </a:cubicBezTo>
                  <a:lnTo>
                    <a:pt x="4367" y="4178"/>
                  </a:lnTo>
                  <a:close/>
                  <a:moveTo>
                    <a:pt x="4402" y="4194"/>
                  </a:moveTo>
                  <a:cubicBezTo>
                    <a:pt x="4390" y="4183"/>
                    <a:pt x="4390" y="4183"/>
                    <a:pt x="4390" y="4183"/>
                  </a:cubicBezTo>
                  <a:cubicBezTo>
                    <a:pt x="4375" y="4200"/>
                    <a:pt x="4375" y="4200"/>
                    <a:pt x="4375" y="4200"/>
                  </a:cubicBezTo>
                  <a:cubicBezTo>
                    <a:pt x="4387" y="4199"/>
                    <a:pt x="4387" y="4199"/>
                    <a:pt x="4387" y="4199"/>
                  </a:cubicBezTo>
                  <a:lnTo>
                    <a:pt x="4402" y="4194"/>
                  </a:lnTo>
                  <a:close/>
                  <a:moveTo>
                    <a:pt x="3763" y="6942"/>
                  </a:moveTo>
                  <a:cubicBezTo>
                    <a:pt x="3766" y="6925"/>
                    <a:pt x="3766" y="6925"/>
                    <a:pt x="3766" y="6925"/>
                  </a:cubicBezTo>
                  <a:cubicBezTo>
                    <a:pt x="3763" y="6900"/>
                    <a:pt x="3763" y="6900"/>
                    <a:pt x="3763" y="6900"/>
                  </a:cubicBezTo>
                  <a:cubicBezTo>
                    <a:pt x="3752" y="6896"/>
                    <a:pt x="3752" y="6896"/>
                    <a:pt x="3752" y="6896"/>
                  </a:cubicBezTo>
                  <a:cubicBezTo>
                    <a:pt x="3752" y="6907"/>
                    <a:pt x="3752" y="6907"/>
                    <a:pt x="3752" y="6907"/>
                  </a:cubicBezTo>
                  <a:cubicBezTo>
                    <a:pt x="3730" y="6903"/>
                    <a:pt x="3730" y="6903"/>
                    <a:pt x="3730" y="6903"/>
                  </a:cubicBezTo>
                  <a:cubicBezTo>
                    <a:pt x="3747" y="6926"/>
                    <a:pt x="3747" y="6926"/>
                    <a:pt x="3747" y="6926"/>
                  </a:cubicBezTo>
                  <a:cubicBezTo>
                    <a:pt x="3743" y="6955"/>
                    <a:pt x="3743" y="6955"/>
                    <a:pt x="3743" y="6955"/>
                  </a:cubicBezTo>
                  <a:lnTo>
                    <a:pt x="3763" y="6942"/>
                  </a:lnTo>
                  <a:close/>
                  <a:moveTo>
                    <a:pt x="4098" y="7134"/>
                  </a:moveTo>
                  <a:cubicBezTo>
                    <a:pt x="4104" y="7128"/>
                    <a:pt x="4104" y="7128"/>
                    <a:pt x="4104" y="7128"/>
                  </a:cubicBezTo>
                  <a:cubicBezTo>
                    <a:pt x="4077" y="7125"/>
                    <a:pt x="4077" y="7125"/>
                    <a:pt x="4077" y="7125"/>
                  </a:cubicBezTo>
                  <a:cubicBezTo>
                    <a:pt x="4053" y="7125"/>
                    <a:pt x="4053" y="7125"/>
                    <a:pt x="4053" y="7125"/>
                  </a:cubicBezTo>
                  <a:cubicBezTo>
                    <a:pt x="4062" y="7149"/>
                    <a:pt x="4062" y="7149"/>
                    <a:pt x="4062" y="7149"/>
                  </a:cubicBezTo>
                  <a:cubicBezTo>
                    <a:pt x="4085" y="7151"/>
                    <a:pt x="4085" y="7151"/>
                    <a:pt x="4085" y="7151"/>
                  </a:cubicBezTo>
                  <a:cubicBezTo>
                    <a:pt x="4079" y="7141"/>
                    <a:pt x="4079" y="7141"/>
                    <a:pt x="4079" y="7141"/>
                  </a:cubicBezTo>
                  <a:cubicBezTo>
                    <a:pt x="4085" y="7137"/>
                    <a:pt x="4085" y="7137"/>
                    <a:pt x="4085" y="7137"/>
                  </a:cubicBezTo>
                  <a:cubicBezTo>
                    <a:pt x="4092" y="7147"/>
                    <a:pt x="4092" y="7147"/>
                    <a:pt x="4092" y="7147"/>
                  </a:cubicBezTo>
                  <a:cubicBezTo>
                    <a:pt x="4123" y="7147"/>
                    <a:pt x="4123" y="7147"/>
                    <a:pt x="4123" y="7147"/>
                  </a:cubicBezTo>
                  <a:cubicBezTo>
                    <a:pt x="4133" y="7159"/>
                    <a:pt x="4133" y="7159"/>
                    <a:pt x="4133" y="7159"/>
                  </a:cubicBezTo>
                  <a:cubicBezTo>
                    <a:pt x="4146" y="7159"/>
                    <a:pt x="4146" y="7159"/>
                    <a:pt x="4146" y="7159"/>
                  </a:cubicBezTo>
                  <a:cubicBezTo>
                    <a:pt x="4126" y="7138"/>
                    <a:pt x="4126" y="7138"/>
                    <a:pt x="4126" y="7138"/>
                  </a:cubicBezTo>
                  <a:lnTo>
                    <a:pt x="4098" y="7134"/>
                  </a:lnTo>
                  <a:close/>
                  <a:moveTo>
                    <a:pt x="3867" y="6985"/>
                  </a:moveTo>
                  <a:cubicBezTo>
                    <a:pt x="3867" y="6985"/>
                    <a:pt x="3841" y="6972"/>
                    <a:pt x="3838" y="6984"/>
                  </a:cubicBezTo>
                  <a:cubicBezTo>
                    <a:pt x="3835" y="6996"/>
                    <a:pt x="3831" y="7011"/>
                    <a:pt x="3835" y="7011"/>
                  </a:cubicBezTo>
                  <a:cubicBezTo>
                    <a:pt x="3840" y="7011"/>
                    <a:pt x="3857" y="7004"/>
                    <a:pt x="3857" y="7004"/>
                  </a:cubicBezTo>
                  <a:cubicBezTo>
                    <a:pt x="3859" y="7020"/>
                    <a:pt x="3859" y="7020"/>
                    <a:pt x="3859" y="7020"/>
                  </a:cubicBezTo>
                  <a:cubicBezTo>
                    <a:pt x="3880" y="7010"/>
                    <a:pt x="3880" y="7010"/>
                    <a:pt x="3880" y="7010"/>
                  </a:cubicBezTo>
                  <a:cubicBezTo>
                    <a:pt x="3869" y="7000"/>
                    <a:pt x="3869" y="7000"/>
                    <a:pt x="3869" y="7000"/>
                  </a:cubicBezTo>
                  <a:cubicBezTo>
                    <a:pt x="3873" y="6988"/>
                    <a:pt x="3873" y="6988"/>
                    <a:pt x="3873" y="6988"/>
                  </a:cubicBezTo>
                  <a:lnTo>
                    <a:pt x="3867" y="6985"/>
                  </a:lnTo>
                  <a:close/>
                  <a:moveTo>
                    <a:pt x="3994" y="7061"/>
                  </a:moveTo>
                  <a:cubicBezTo>
                    <a:pt x="3986" y="7072"/>
                    <a:pt x="3986" y="7072"/>
                    <a:pt x="3986" y="7072"/>
                  </a:cubicBezTo>
                  <a:cubicBezTo>
                    <a:pt x="3990" y="7092"/>
                    <a:pt x="3990" y="7092"/>
                    <a:pt x="3990" y="7092"/>
                  </a:cubicBezTo>
                  <a:cubicBezTo>
                    <a:pt x="4006" y="7086"/>
                    <a:pt x="4006" y="7086"/>
                    <a:pt x="4006" y="7086"/>
                  </a:cubicBezTo>
                  <a:lnTo>
                    <a:pt x="3994" y="7061"/>
                  </a:lnTo>
                  <a:close/>
                  <a:moveTo>
                    <a:pt x="3997" y="7104"/>
                  </a:moveTo>
                  <a:cubicBezTo>
                    <a:pt x="3955" y="7099"/>
                    <a:pt x="3955" y="7099"/>
                    <a:pt x="3955" y="7099"/>
                  </a:cubicBezTo>
                  <a:cubicBezTo>
                    <a:pt x="3960" y="7111"/>
                    <a:pt x="3960" y="7111"/>
                    <a:pt x="3960" y="7111"/>
                  </a:cubicBezTo>
                  <a:cubicBezTo>
                    <a:pt x="3987" y="7110"/>
                    <a:pt x="3987" y="7110"/>
                    <a:pt x="3987" y="7110"/>
                  </a:cubicBezTo>
                  <a:cubicBezTo>
                    <a:pt x="3997" y="7124"/>
                    <a:pt x="3997" y="7124"/>
                    <a:pt x="3997" y="7124"/>
                  </a:cubicBezTo>
                  <a:cubicBezTo>
                    <a:pt x="4035" y="7140"/>
                    <a:pt x="4035" y="7140"/>
                    <a:pt x="4035" y="7140"/>
                  </a:cubicBezTo>
                  <a:cubicBezTo>
                    <a:pt x="4012" y="7120"/>
                    <a:pt x="4012" y="7120"/>
                    <a:pt x="4012" y="7120"/>
                  </a:cubicBezTo>
                  <a:lnTo>
                    <a:pt x="3997" y="7104"/>
                  </a:lnTo>
                  <a:close/>
                  <a:moveTo>
                    <a:pt x="3975" y="7091"/>
                  </a:moveTo>
                  <a:cubicBezTo>
                    <a:pt x="3973" y="7079"/>
                    <a:pt x="3973" y="7079"/>
                    <a:pt x="3973" y="7079"/>
                  </a:cubicBezTo>
                  <a:cubicBezTo>
                    <a:pt x="3939" y="7071"/>
                    <a:pt x="3939" y="7071"/>
                    <a:pt x="3939" y="7071"/>
                  </a:cubicBezTo>
                  <a:cubicBezTo>
                    <a:pt x="3931" y="7082"/>
                    <a:pt x="3931" y="7082"/>
                    <a:pt x="3931" y="7082"/>
                  </a:cubicBezTo>
                  <a:cubicBezTo>
                    <a:pt x="3932" y="7095"/>
                    <a:pt x="3932" y="7095"/>
                    <a:pt x="3932" y="7095"/>
                  </a:cubicBezTo>
                  <a:cubicBezTo>
                    <a:pt x="3955" y="7086"/>
                    <a:pt x="3955" y="7086"/>
                    <a:pt x="3955" y="7086"/>
                  </a:cubicBezTo>
                  <a:lnTo>
                    <a:pt x="3975" y="7091"/>
                  </a:lnTo>
                  <a:close/>
                  <a:moveTo>
                    <a:pt x="4085" y="7040"/>
                  </a:moveTo>
                  <a:cubicBezTo>
                    <a:pt x="4062" y="7040"/>
                    <a:pt x="4062" y="7040"/>
                    <a:pt x="4062" y="7040"/>
                  </a:cubicBezTo>
                  <a:cubicBezTo>
                    <a:pt x="4066" y="7029"/>
                    <a:pt x="4066" y="7029"/>
                    <a:pt x="4066" y="7029"/>
                  </a:cubicBezTo>
                  <a:cubicBezTo>
                    <a:pt x="4040" y="7003"/>
                    <a:pt x="4040" y="7003"/>
                    <a:pt x="4040" y="7003"/>
                  </a:cubicBezTo>
                  <a:cubicBezTo>
                    <a:pt x="4019" y="7009"/>
                    <a:pt x="4019" y="7009"/>
                    <a:pt x="4019" y="7009"/>
                  </a:cubicBezTo>
                  <a:cubicBezTo>
                    <a:pt x="4010" y="7001"/>
                    <a:pt x="4010" y="7001"/>
                    <a:pt x="4010" y="7001"/>
                  </a:cubicBezTo>
                  <a:cubicBezTo>
                    <a:pt x="4003" y="7013"/>
                    <a:pt x="4003" y="7013"/>
                    <a:pt x="4003" y="7013"/>
                  </a:cubicBezTo>
                  <a:cubicBezTo>
                    <a:pt x="3990" y="7016"/>
                    <a:pt x="3990" y="7016"/>
                    <a:pt x="3990" y="7016"/>
                  </a:cubicBezTo>
                  <a:cubicBezTo>
                    <a:pt x="3991" y="7027"/>
                    <a:pt x="3991" y="7027"/>
                    <a:pt x="3991" y="7027"/>
                  </a:cubicBezTo>
                  <a:cubicBezTo>
                    <a:pt x="3980" y="7029"/>
                    <a:pt x="3980" y="7029"/>
                    <a:pt x="3980" y="7029"/>
                  </a:cubicBezTo>
                  <a:cubicBezTo>
                    <a:pt x="3981" y="7047"/>
                    <a:pt x="3981" y="7047"/>
                    <a:pt x="3981" y="7047"/>
                  </a:cubicBezTo>
                  <a:cubicBezTo>
                    <a:pt x="3994" y="7060"/>
                    <a:pt x="4017" y="7037"/>
                    <a:pt x="4017" y="7037"/>
                  </a:cubicBezTo>
                  <a:cubicBezTo>
                    <a:pt x="4032" y="7043"/>
                    <a:pt x="4032" y="7043"/>
                    <a:pt x="4032" y="7043"/>
                  </a:cubicBezTo>
                  <a:cubicBezTo>
                    <a:pt x="4032" y="7056"/>
                    <a:pt x="4032" y="7056"/>
                    <a:pt x="4032" y="7056"/>
                  </a:cubicBezTo>
                  <a:cubicBezTo>
                    <a:pt x="4032" y="7056"/>
                    <a:pt x="4001" y="7071"/>
                    <a:pt x="4012" y="7075"/>
                  </a:cubicBezTo>
                  <a:cubicBezTo>
                    <a:pt x="4022" y="7079"/>
                    <a:pt x="4075" y="7097"/>
                    <a:pt x="4075" y="7097"/>
                  </a:cubicBezTo>
                  <a:cubicBezTo>
                    <a:pt x="4065" y="7111"/>
                    <a:pt x="4065" y="7111"/>
                    <a:pt x="4065" y="7111"/>
                  </a:cubicBezTo>
                  <a:cubicBezTo>
                    <a:pt x="4065" y="7111"/>
                    <a:pt x="4062" y="7098"/>
                    <a:pt x="4052" y="7098"/>
                  </a:cubicBezTo>
                  <a:cubicBezTo>
                    <a:pt x="4042" y="7098"/>
                    <a:pt x="4039" y="7105"/>
                    <a:pt x="4039" y="7105"/>
                  </a:cubicBezTo>
                  <a:cubicBezTo>
                    <a:pt x="4027" y="7091"/>
                    <a:pt x="4027" y="7091"/>
                    <a:pt x="4027" y="7091"/>
                  </a:cubicBezTo>
                  <a:cubicBezTo>
                    <a:pt x="4016" y="7095"/>
                    <a:pt x="4016" y="7095"/>
                    <a:pt x="4016" y="7095"/>
                  </a:cubicBezTo>
                  <a:cubicBezTo>
                    <a:pt x="4025" y="7102"/>
                    <a:pt x="4025" y="7102"/>
                    <a:pt x="4025" y="7102"/>
                  </a:cubicBezTo>
                  <a:cubicBezTo>
                    <a:pt x="4004" y="7099"/>
                    <a:pt x="4004" y="7099"/>
                    <a:pt x="4004" y="7099"/>
                  </a:cubicBezTo>
                  <a:cubicBezTo>
                    <a:pt x="4004" y="7099"/>
                    <a:pt x="4010" y="7115"/>
                    <a:pt x="4026" y="7115"/>
                  </a:cubicBezTo>
                  <a:cubicBezTo>
                    <a:pt x="4042" y="7115"/>
                    <a:pt x="4055" y="7115"/>
                    <a:pt x="4055" y="7115"/>
                  </a:cubicBezTo>
                  <a:cubicBezTo>
                    <a:pt x="4055" y="7115"/>
                    <a:pt x="4071" y="7121"/>
                    <a:pt x="4081" y="7120"/>
                  </a:cubicBezTo>
                  <a:cubicBezTo>
                    <a:pt x="4091" y="7118"/>
                    <a:pt x="4136" y="7118"/>
                    <a:pt x="4150" y="7118"/>
                  </a:cubicBezTo>
                  <a:cubicBezTo>
                    <a:pt x="4165" y="7118"/>
                    <a:pt x="4185" y="7131"/>
                    <a:pt x="4185" y="7131"/>
                  </a:cubicBezTo>
                  <a:cubicBezTo>
                    <a:pt x="4206" y="7120"/>
                    <a:pt x="4206" y="7120"/>
                    <a:pt x="4206" y="7120"/>
                  </a:cubicBezTo>
                  <a:cubicBezTo>
                    <a:pt x="4218" y="7124"/>
                    <a:pt x="4218" y="7124"/>
                    <a:pt x="4218" y="7124"/>
                  </a:cubicBezTo>
                  <a:cubicBezTo>
                    <a:pt x="4230" y="7123"/>
                    <a:pt x="4230" y="7123"/>
                    <a:pt x="4230" y="7123"/>
                  </a:cubicBezTo>
                  <a:cubicBezTo>
                    <a:pt x="4231" y="7107"/>
                    <a:pt x="4231" y="7107"/>
                    <a:pt x="4231" y="7107"/>
                  </a:cubicBezTo>
                  <a:cubicBezTo>
                    <a:pt x="4231" y="7107"/>
                    <a:pt x="4189" y="7105"/>
                    <a:pt x="4137" y="7079"/>
                  </a:cubicBezTo>
                  <a:cubicBezTo>
                    <a:pt x="4085" y="7053"/>
                    <a:pt x="4085" y="7040"/>
                    <a:pt x="4085" y="7040"/>
                  </a:cubicBezTo>
                  <a:close/>
                  <a:moveTo>
                    <a:pt x="4118" y="7130"/>
                  </a:moveTo>
                  <a:cubicBezTo>
                    <a:pt x="4136" y="7140"/>
                    <a:pt x="4136" y="7140"/>
                    <a:pt x="4136" y="7140"/>
                  </a:cubicBezTo>
                  <a:cubicBezTo>
                    <a:pt x="4172" y="7143"/>
                    <a:pt x="4172" y="7143"/>
                    <a:pt x="4172" y="7143"/>
                  </a:cubicBezTo>
                  <a:cubicBezTo>
                    <a:pt x="4153" y="7125"/>
                    <a:pt x="4153" y="7125"/>
                    <a:pt x="4153" y="7125"/>
                  </a:cubicBezTo>
                  <a:lnTo>
                    <a:pt x="4118" y="7130"/>
                  </a:lnTo>
                  <a:close/>
                  <a:moveTo>
                    <a:pt x="4293" y="4234"/>
                  </a:moveTo>
                  <a:cubicBezTo>
                    <a:pt x="4290" y="4248"/>
                    <a:pt x="4290" y="4248"/>
                    <a:pt x="4290" y="4248"/>
                  </a:cubicBezTo>
                  <a:cubicBezTo>
                    <a:pt x="4280" y="4271"/>
                    <a:pt x="4280" y="4271"/>
                    <a:pt x="4280" y="4271"/>
                  </a:cubicBezTo>
                  <a:cubicBezTo>
                    <a:pt x="4300" y="4259"/>
                    <a:pt x="4300" y="4259"/>
                    <a:pt x="4300" y="4259"/>
                  </a:cubicBezTo>
                  <a:cubicBezTo>
                    <a:pt x="4300" y="4259"/>
                    <a:pt x="4322" y="4229"/>
                    <a:pt x="4314" y="4224"/>
                  </a:cubicBezTo>
                  <a:cubicBezTo>
                    <a:pt x="4305" y="4218"/>
                    <a:pt x="4293" y="4234"/>
                    <a:pt x="4293" y="4234"/>
                  </a:cubicBezTo>
                  <a:close/>
                  <a:moveTo>
                    <a:pt x="3623" y="6528"/>
                  </a:moveTo>
                  <a:cubicBezTo>
                    <a:pt x="3625" y="6496"/>
                    <a:pt x="3625" y="6496"/>
                    <a:pt x="3625" y="6496"/>
                  </a:cubicBezTo>
                  <a:cubicBezTo>
                    <a:pt x="3604" y="6476"/>
                    <a:pt x="3604" y="6476"/>
                    <a:pt x="3604" y="6476"/>
                  </a:cubicBezTo>
                  <a:cubicBezTo>
                    <a:pt x="3614" y="6466"/>
                    <a:pt x="3614" y="6466"/>
                    <a:pt x="3614" y="6466"/>
                  </a:cubicBezTo>
                  <a:cubicBezTo>
                    <a:pt x="3600" y="6450"/>
                    <a:pt x="3600" y="6450"/>
                    <a:pt x="3600" y="6450"/>
                  </a:cubicBezTo>
                  <a:cubicBezTo>
                    <a:pt x="3577" y="6441"/>
                    <a:pt x="3577" y="6441"/>
                    <a:pt x="3577" y="6441"/>
                  </a:cubicBezTo>
                  <a:cubicBezTo>
                    <a:pt x="3577" y="6441"/>
                    <a:pt x="3574" y="6477"/>
                    <a:pt x="3583" y="6480"/>
                  </a:cubicBezTo>
                  <a:cubicBezTo>
                    <a:pt x="3591" y="6483"/>
                    <a:pt x="3597" y="6503"/>
                    <a:pt x="3597" y="6503"/>
                  </a:cubicBezTo>
                  <a:cubicBezTo>
                    <a:pt x="3593" y="6516"/>
                    <a:pt x="3593" y="6516"/>
                    <a:pt x="3593" y="6516"/>
                  </a:cubicBezTo>
                  <a:lnTo>
                    <a:pt x="3623" y="6528"/>
                  </a:lnTo>
                  <a:close/>
                  <a:moveTo>
                    <a:pt x="3672" y="6600"/>
                  </a:moveTo>
                  <a:cubicBezTo>
                    <a:pt x="3672" y="6600"/>
                    <a:pt x="3704" y="6581"/>
                    <a:pt x="3682" y="6577"/>
                  </a:cubicBezTo>
                  <a:cubicBezTo>
                    <a:pt x="3661" y="6572"/>
                    <a:pt x="3659" y="6600"/>
                    <a:pt x="3672" y="6600"/>
                  </a:cubicBezTo>
                  <a:close/>
                  <a:moveTo>
                    <a:pt x="5098" y="4575"/>
                  </a:moveTo>
                  <a:cubicBezTo>
                    <a:pt x="5098" y="4558"/>
                    <a:pt x="5082" y="4534"/>
                    <a:pt x="5081" y="4523"/>
                  </a:cubicBezTo>
                  <a:cubicBezTo>
                    <a:pt x="5080" y="4512"/>
                    <a:pt x="5080" y="4500"/>
                    <a:pt x="5080" y="4491"/>
                  </a:cubicBezTo>
                  <a:cubicBezTo>
                    <a:pt x="5080" y="4482"/>
                    <a:pt x="5062" y="4466"/>
                    <a:pt x="5062" y="4466"/>
                  </a:cubicBezTo>
                  <a:cubicBezTo>
                    <a:pt x="5041" y="4462"/>
                    <a:pt x="5041" y="4462"/>
                    <a:pt x="5041" y="4462"/>
                  </a:cubicBezTo>
                  <a:cubicBezTo>
                    <a:pt x="5007" y="4467"/>
                    <a:pt x="5007" y="4467"/>
                    <a:pt x="5007" y="4467"/>
                  </a:cubicBezTo>
                  <a:cubicBezTo>
                    <a:pt x="4996" y="4457"/>
                    <a:pt x="4996" y="4457"/>
                    <a:pt x="4996" y="4457"/>
                  </a:cubicBezTo>
                  <a:cubicBezTo>
                    <a:pt x="4983" y="4456"/>
                    <a:pt x="4983" y="4456"/>
                    <a:pt x="4983" y="4456"/>
                  </a:cubicBezTo>
                  <a:cubicBezTo>
                    <a:pt x="4971" y="4441"/>
                    <a:pt x="4971" y="4441"/>
                    <a:pt x="4971" y="4441"/>
                  </a:cubicBezTo>
                  <a:cubicBezTo>
                    <a:pt x="4956" y="4440"/>
                    <a:pt x="4956" y="4440"/>
                    <a:pt x="4956" y="4440"/>
                  </a:cubicBezTo>
                  <a:cubicBezTo>
                    <a:pt x="4956" y="4440"/>
                    <a:pt x="4938" y="4420"/>
                    <a:pt x="4921" y="4399"/>
                  </a:cubicBezTo>
                  <a:cubicBezTo>
                    <a:pt x="4904" y="4378"/>
                    <a:pt x="4855" y="4347"/>
                    <a:pt x="4839" y="4346"/>
                  </a:cubicBezTo>
                  <a:cubicBezTo>
                    <a:pt x="4823" y="4345"/>
                    <a:pt x="4790" y="4347"/>
                    <a:pt x="4790" y="4347"/>
                  </a:cubicBezTo>
                  <a:cubicBezTo>
                    <a:pt x="4790" y="4357"/>
                    <a:pt x="4790" y="4357"/>
                    <a:pt x="4790" y="4357"/>
                  </a:cubicBezTo>
                  <a:cubicBezTo>
                    <a:pt x="4790" y="4357"/>
                    <a:pt x="4775" y="4347"/>
                    <a:pt x="4768" y="4344"/>
                  </a:cubicBezTo>
                  <a:cubicBezTo>
                    <a:pt x="4761" y="4341"/>
                    <a:pt x="4735" y="4340"/>
                    <a:pt x="4735" y="4340"/>
                  </a:cubicBezTo>
                  <a:cubicBezTo>
                    <a:pt x="4735" y="4340"/>
                    <a:pt x="4707" y="4323"/>
                    <a:pt x="4688" y="4320"/>
                  </a:cubicBezTo>
                  <a:cubicBezTo>
                    <a:pt x="4669" y="4317"/>
                    <a:pt x="4649" y="4350"/>
                    <a:pt x="4649" y="4350"/>
                  </a:cubicBezTo>
                  <a:cubicBezTo>
                    <a:pt x="4638" y="4337"/>
                    <a:pt x="4638" y="4337"/>
                    <a:pt x="4638" y="4337"/>
                  </a:cubicBezTo>
                  <a:cubicBezTo>
                    <a:pt x="4638" y="4359"/>
                    <a:pt x="4638" y="4359"/>
                    <a:pt x="4638" y="4359"/>
                  </a:cubicBezTo>
                  <a:cubicBezTo>
                    <a:pt x="4618" y="4374"/>
                    <a:pt x="4618" y="4374"/>
                    <a:pt x="4618" y="4374"/>
                  </a:cubicBezTo>
                  <a:cubicBezTo>
                    <a:pt x="4629" y="4330"/>
                    <a:pt x="4629" y="4330"/>
                    <a:pt x="4629" y="4330"/>
                  </a:cubicBezTo>
                  <a:cubicBezTo>
                    <a:pt x="4629" y="4330"/>
                    <a:pt x="4647" y="4320"/>
                    <a:pt x="4640" y="4310"/>
                  </a:cubicBezTo>
                  <a:cubicBezTo>
                    <a:pt x="4633" y="4300"/>
                    <a:pt x="4620" y="4319"/>
                    <a:pt x="4620" y="4319"/>
                  </a:cubicBezTo>
                  <a:cubicBezTo>
                    <a:pt x="4629" y="4297"/>
                    <a:pt x="4629" y="4297"/>
                    <a:pt x="4629" y="4297"/>
                  </a:cubicBezTo>
                  <a:cubicBezTo>
                    <a:pt x="4629" y="4297"/>
                    <a:pt x="4620" y="4296"/>
                    <a:pt x="4621" y="4289"/>
                  </a:cubicBezTo>
                  <a:cubicBezTo>
                    <a:pt x="4622" y="4282"/>
                    <a:pt x="4601" y="4273"/>
                    <a:pt x="4601" y="4273"/>
                  </a:cubicBezTo>
                  <a:cubicBezTo>
                    <a:pt x="4593" y="4285"/>
                    <a:pt x="4593" y="4285"/>
                    <a:pt x="4593" y="4285"/>
                  </a:cubicBezTo>
                  <a:cubicBezTo>
                    <a:pt x="4593" y="4285"/>
                    <a:pt x="4580" y="4268"/>
                    <a:pt x="4570" y="4258"/>
                  </a:cubicBezTo>
                  <a:cubicBezTo>
                    <a:pt x="4560" y="4248"/>
                    <a:pt x="4533" y="4250"/>
                    <a:pt x="4529" y="4246"/>
                  </a:cubicBezTo>
                  <a:cubicBezTo>
                    <a:pt x="4525" y="4242"/>
                    <a:pt x="4501" y="4224"/>
                    <a:pt x="4501" y="4224"/>
                  </a:cubicBezTo>
                  <a:cubicBezTo>
                    <a:pt x="4495" y="4232"/>
                    <a:pt x="4495" y="4232"/>
                    <a:pt x="4495" y="4232"/>
                  </a:cubicBezTo>
                  <a:cubicBezTo>
                    <a:pt x="4495" y="4232"/>
                    <a:pt x="4474" y="4231"/>
                    <a:pt x="4464" y="4230"/>
                  </a:cubicBezTo>
                  <a:cubicBezTo>
                    <a:pt x="4454" y="4229"/>
                    <a:pt x="4446" y="4264"/>
                    <a:pt x="4446" y="4264"/>
                  </a:cubicBezTo>
                  <a:cubicBezTo>
                    <a:pt x="4453" y="4276"/>
                    <a:pt x="4453" y="4276"/>
                    <a:pt x="4453" y="4276"/>
                  </a:cubicBezTo>
                  <a:cubicBezTo>
                    <a:pt x="4453" y="4276"/>
                    <a:pt x="4439" y="4277"/>
                    <a:pt x="4431" y="4277"/>
                  </a:cubicBezTo>
                  <a:cubicBezTo>
                    <a:pt x="4423" y="4277"/>
                    <a:pt x="4411" y="4299"/>
                    <a:pt x="4411" y="4299"/>
                  </a:cubicBezTo>
                  <a:cubicBezTo>
                    <a:pt x="4411" y="4299"/>
                    <a:pt x="4404" y="4332"/>
                    <a:pt x="4397" y="4331"/>
                  </a:cubicBezTo>
                  <a:cubicBezTo>
                    <a:pt x="4390" y="4330"/>
                    <a:pt x="4406" y="4305"/>
                    <a:pt x="4403" y="4294"/>
                  </a:cubicBezTo>
                  <a:cubicBezTo>
                    <a:pt x="4400" y="4283"/>
                    <a:pt x="4380" y="4304"/>
                    <a:pt x="4380" y="4304"/>
                  </a:cubicBezTo>
                  <a:cubicBezTo>
                    <a:pt x="4373" y="4298"/>
                    <a:pt x="4373" y="4298"/>
                    <a:pt x="4373" y="4298"/>
                  </a:cubicBezTo>
                  <a:cubicBezTo>
                    <a:pt x="4373" y="4298"/>
                    <a:pt x="4352" y="4303"/>
                    <a:pt x="4341" y="4296"/>
                  </a:cubicBezTo>
                  <a:cubicBezTo>
                    <a:pt x="4330" y="4289"/>
                    <a:pt x="4332" y="4279"/>
                    <a:pt x="4332" y="4266"/>
                  </a:cubicBezTo>
                  <a:cubicBezTo>
                    <a:pt x="4332" y="4253"/>
                    <a:pt x="4327" y="4245"/>
                    <a:pt x="4327" y="4245"/>
                  </a:cubicBezTo>
                  <a:cubicBezTo>
                    <a:pt x="4320" y="4238"/>
                    <a:pt x="4305" y="4264"/>
                    <a:pt x="4305" y="4264"/>
                  </a:cubicBezTo>
                  <a:cubicBezTo>
                    <a:pt x="4305" y="4264"/>
                    <a:pt x="4284" y="4279"/>
                    <a:pt x="4272" y="4281"/>
                  </a:cubicBezTo>
                  <a:cubicBezTo>
                    <a:pt x="4260" y="4283"/>
                    <a:pt x="4246" y="4276"/>
                    <a:pt x="4246" y="4276"/>
                  </a:cubicBezTo>
                  <a:cubicBezTo>
                    <a:pt x="4272" y="4268"/>
                    <a:pt x="4272" y="4268"/>
                    <a:pt x="4272" y="4268"/>
                  </a:cubicBezTo>
                  <a:cubicBezTo>
                    <a:pt x="4272" y="4268"/>
                    <a:pt x="4282" y="4256"/>
                    <a:pt x="4285" y="4251"/>
                  </a:cubicBezTo>
                  <a:cubicBezTo>
                    <a:pt x="4288" y="4246"/>
                    <a:pt x="4287" y="4234"/>
                    <a:pt x="4287" y="4234"/>
                  </a:cubicBezTo>
                  <a:cubicBezTo>
                    <a:pt x="4287" y="4234"/>
                    <a:pt x="4296" y="4228"/>
                    <a:pt x="4300" y="4216"/>
                  </a:cubicBezTo>
                  <a:cubicBezTo>
                    <a:pt x="4304" y="4204"/>
                    <a:pt x="4328" y="4185"/>
                    <a:pt x="4338" y="4178"/>
                  </a:cubicBezTo>
                  <a:cubicBezTo>
                    <a:pt x="4348" y="4171"/>
                    <a:pt x="4350" y="4162"/>
                    <a:pt x="4354" y="4153"/>
                  </a:cubicBezTo>
                  <a:cubicBezTo>
                    <a:pt x="4358" y="4144"/>
                    <a:pt x="4379" y="4131"/>
                    <a:pt x="4379" y="4131"/>
                  </a:cubicBezTo>
                  <a:cubicBezTo>
                    <a:pt x="4366" y="4129"/>
                    <a:pt x="4366" y="4129"/>
                    <a:pt x="4366" y="4129"/>
                  </a:cubicBezTo>
                  <a:cubicBezTo>
                    <a:pt x="4366" y="4129"/>
                    <a:pt x="4378" y="4123"/>
                    <a:pt x="4378" y="4107"/>
                  </a:cubicBezTo>
                  <a:cubicBezTo>
                    <a:pt x="4378" y="4091"/>
                    <a:pt x="4351" y="4100"/>
                    <a:pt x="4341" y="4089"/>
                  </a:cubicBezTo>
                  <a:cubicBezTo>
                    <a:pt x="4331" y="4078"/>
                    <a:pt x="4331" y="4055"/>
                    <a:pt x="4327" y="4018"/>
                  </a:cubicBezTo>
                  <a:cubicBezTo>
                    <a:pt x="4323" y="3981"/>
                    <a:pt x="4315" y="3963"/>
                    <a:pt x="4306" y="3960"/>
                  </a:cubicBezTo>
                  <a:cubicBezTo>
                    <a:pt x="4297" y="3957"/>
                    <a:pt x="4303" y="3976"/>
                    <a:pt x="4303" y="3980"/>
                  </a:cubicBezTo>
                  <a:cubicBezTo>
                    <a:pt x="4303" y="3984"/>
                    <a:pt x="4293" y="3979"/>
                    <a:pt x="4291" y="3974"/>
                  </a:cubicBezTo>
                  <a:cubicBezTo>
                    <a:pt x="4289" y="3969"/>
                    <a:pt x="4277" y="3937"/>
                    <a:pt x="4277" y="3937"/>
                  </a:cubicBezTo>
                  <a:cubicBezTo>
                    <a:pt x="4258" y="3930"/>
                    <a:pt x="4258" y="3930"/>
                    <a:pt x="4258" y="3930"/>
                  </a:cubicBezTo>
                  <a:cubicBezTo>
                    <a:pt x="4242" y="3897"/>
                    <a:pt x="4242" y="3897"/>
                    <a:pt x="4242" y="3897"/>
                  </a:cubicBezTo>
                  <a:cubicBezTo>
                    <a:pt x="4219" y="3897"/>
                    <a:pt x="4219" y="3897"/>
                    <a:pt x="4219" y="3897"/>
                  </a:cubicBezTo>
                  <a:cubicBezTo>
                    <a:pt x="4219" y="3897"/>
                    <a:pt x="4196" y="3889"/>
                    <a:pt x="4188" y="3881"/>
                  </a:cubicBezTo>
                  <a:cubicBezTo>
                    <a:pt x="4187" y="3880"/>
                    <a:pt x="4186" y="3880"/>
                    <a:pt x="4186" y="3879"/>
                  </a:cubicBezTo>
                  <a:cubicBezTo>
                    <a:pt x="4179" y="3870"/>
                    <a:pt x="4132" y="3870"/>
                    <a:pt x="4132" y="3870"/>
                  </a:cubicBezTo>
                  <a:cubicBezTo>
                    <a:pt x="4128" y="3879"/>
                    <a:pt x="4128" y="3879"/>
                    <a:pt x="4128" y="3879"/>
                  </a:cubicBezTo>
                  <a:cubicBezTo>
                    <a:pt x="4098" y="3874"/>
                    <a:pt x="4098" y="3874"/>
                    <a:pt x="4098" y="3874"/>
                  </a:cubicBezTo>
                  <a:cubicBezTo>
                    <a:pt x="4097" y="3885"/>
                    <a:pt x="4097" y="3885"/>
                    <a:pt x="4097" y="3885"/>
                  </a:cubicBezTo>
                  <a:cubicBezTo>
                    <a:pt x="4058" y="3871"/>
                    <a:pt x="4058" y="3871"/>
                    <a:pt x="4058" y="3871"/>
                  </a:cubicBezTo>
                  <a:cubicBezTo>
                    <a:pt x="4039" y="3877"/>
                    <a:pt x="4039" y="3877"/>
                    <a:pt x="4039" y="3877"/>
                  </a:cubicBezTo>
                  <a:cubicBezTo>
                    <a:pt x="4039" y="3877"/>
                    <a:pt x="4039" y="3866"/>
                    <a:pt x="4036" y="3858"/>
                  </a:cubicBezTo>
                  <a:cubicBezTo>
                    <a:pt x="4033" y="3850"/>
                    <a:pt x="4018" y="3858"/>
                    <a:pt x="4018" y="3858"/>
                  </a:cubicBezTo>
                  <a:cubicBezTo>
                    <a:pt x="4016" y="3843"/>
                    <a:pt x="4016" y="3843"/>
                    <a:pt x="4016" y="3843"/>
                  </a:cubicBezTo>
                  <a:cubicBezTo>
                    <a:pt x="4016" y="3843"/>
                    <a:pt x="3999" y="3828"/>
                    <a:pt x="3986" y="3826"/>
                  </a:cubicBezTo>
                  <a:cubicBezTo>
                    <a:pt x="3973" y="3824"/>
                    <a:pt x="3966" y="3850"/>
                    <a:pt x="3966" y="3850"/>
                  </a:cubicBezTo>
                  <a:cubicBezTo>
                    <a:pt x="3966" y="3850"/>
                    <a:pt x="3975" y="3810"/>
                    <a:pt x="3977" y="3802"/>
                  </a:cubicBezTo>
                  <a:cubicBezTo>
                    <a:pt x="3979" y="3794"/>
                    <a:pt x="3965" y="3771"/>
                    <a:pt x="3959" y="3763"/>
                  </a:cubicBezTo>
                  <a:cubicBezTo>
                    <a:pt x="3953" y="3755"/>
                    <a:pt x="3916" y="3741"/>
                    <a:pt x="3916" y="3741"/>
                  </a:cubicBezTo>
                  <a:cubicBezTo>
                    <a:pt x="3916" y="3741"/>
                    <a:pt x="3908" y="3731"/>
                    <a:pt x="3904" y="3725"/>
                  </a:cubicBezTo>
                  <a:cubicBezTo>
                    <a:pt x="3900" y="3719"/>
                    <a:pt x="3885" y="3736"/>
                    <a:pt x="3885" y="3736"/>
                  </a:cubicBezTo>
                  <a:cubicBezTo>
                    <a:pt x="3885" y="3736"/>
                    <a:pt x="3875" y="3732"/>
                    <a:pt x="3869" y="3729"/>
                  </a:cubicBezTo>
                  <a:cubicBezTo>
                    <a:pt x="3863" y="3726"/>
                    <a:pt x="3849" y="3743"/>
                    <a:pt x="3849" y="3743"/>
                  </a:cubicBezTo>
                  <a:cubicBezTo>
                    <a:pt x="3827" y="3729"/>
                    <a:pt x="3827" y="3729"/>
                    <a:pt x="3827" y="3729"/>
                  </a:cubicBezTo>
                  <a:cubicBezTo>
                    <a:pt x="3827" y="3729"/>
                    <a:pt x="3853" y="3729"/>
                    <a:pt x="3857" y="3722"/>
                  </a:cubicBezTo>
                  <a:cubicBezTo>
                    <a:pt x="3861" y="3715"/>
                    <a:pt x="3860" y="3702"/>
                    <a:pt x="3860" y="3702"/>
                  </a:cubicBezTo>
                  <a:cubicBezTo>
                    <a:pt x="3860" y="3702"/>
                    <a:pt x="3870" y="3701"/>
                    <a:pt x="3872" y="3688"/>
                  </a:cubicBezTo>
                  <a:cubicBezTo>
                    <a:pt x="3874" y="3675"/>
                    <a:pt x="3846" y="3678"/>
                    <a:pt x="3846" y="3678"/>
                  </a:cubicBezTo>
                  <a:cubicBezTo>
                    <a:pt x="3846" y="3678"/>
                    <a:pt x="3842" y="3664"/>
                    <a:pt x="3835" y="3663"/>
                  </a:cubicBezTo>
                  <a:cubicBezTo>
                    <a:pt x="3828" y="3662"/>
                    <a:pt x="3830" y="3678"/>
                    <a:pt x="3830" y="3678"/>
                  </a:cubicBezTo>
                  <a:cubicBezTo>
                    <a:pt x="3830" y="3678"/>
                    <a:pt x="3824" y="3669"/>
                    <a:pt x="3824" y="3663"/>
                  </a:cubicBezTo>
                  <a:cubicBezTo>
                    <a:pt x="3824" y="3657"/>
                    <a:pt x="3810" y="3658"/>
                    <a:pt x="3810" y="3658"/>
                  </a:cubicBezTo>
                  <a:cubicBezTo>
                    <a:pt x="3806" y="3678"/>
                    <a:pt x="3806" y="3678"/>
                    <a:pt x="3806" y="3678"/>
                  </a:cubicBezTo>
                  <a:cubicBezTo>
                    <a:pt x="3806" y="3678"/>
                    <a:pt x="3798" y="3670"/>
                    <a:pt x="3796" y="3664"/>
                  </a:cubicBezTo>
                  <a:cubicBezTo>
                    <a:pt x="3794" y="3658"/>
                    <a:pt x="3793" y="3644"/>
                    <a:pt x="3793" y="3644"/>
                  </a:cubicBezTo>
                  <a:cubicBezTo>
                    <a:pt x="3772" y="3652"/>
                    <a:pt x="3772" y="3652"/>
                    <a:pt x="3772" y="3652"/>
                  </a:cubicBezTo>
                  <a:cubicBezTo>
                    <a:pt x="3772" y="3652"/>
                    <a:pt x="3788" y="3643"/>
                    <a:pt x="3788" y="3638"/>
                  </a:cubicBezTo>
                  <a:cubicBezTo>
                    <a:pt x="3788" y="3633"/>
                    <a:pt x="3775" y="3633"/>
                    <a:pt x="3775" y="3628"/>
                  </a:cubicBezTo>
                  <a:cubicBezTo>
                    <a:pt x="3775" y="3623"/>
                    <a:pt x="3817" y="3623"/>
                    <a:pt x="3821" y="3617"/>
                  </a:cubicBezTo>
                  <a:cubicBezTo>
                    <a:pt x="3825" y="3611"/>
                    <a:pt x="3731" y="3619"/>
                    <a:pt x="3731" y="3619"/>
                  </a:cubicBezTo>
                  <a:cubicBezTo>
                    <a:pt x="3740" y="3629"/>
                    <a:pt x="3740" y="3629"/>
                    <a:pt x="3740" y="3629"/>
                  </a:cubicBezTo>
                  <a:cubicBezTo>
                    <a:pt x="3740" y="3629"/>
                    <a:pt x="3718" y="3631"/>
                    <a:pt x="3709" y="3634"/>
                  </a:cubicBezTo>
                  <a:cubicBezTo>
                    <a:pt x="3700" y="3637"/>
                    <a:pt x="3676" y="3654"/>
                    <a:pt x="3676" y="3654"/>
                  </a:cubicBezTo>
                  <a:cubicBezTo>
                    <a:pt x="3652" y="3655"/>
                    <a:pt x="3620" y="3623"/>
                    <a:pt x="3620" y="3623"/>
                  </a:cubicBezTo>
                  <a:cubicBezTo>
                    <a:pt x="3620" y="3623"/>
                    <a:pt x="3539" y="3628"/>
                    <a:pt x="3529" y="3627"/>
                  </a:cubicBezTo>
                  <a:cubicBezTo>
                    <a:pt x="3519" y="3626"/>
                    <a:pt x="3516" y="3617"/>
                    <a:pt x="3516" y="3603"/>
                  </a:cubicBezTo>
                  <a:cubicBezTo>
                    <a:pt x="3516" y="3589"/>
                    <a:pt x="3510" y="3579"/>
                    <a:pt x="3484" y="3574"/>
                  </a:cubicBezTo>
                  <a:cubicBezTo>
                    <a:pt x="3458" y="3569"/>
                    <a:pt x="3421" y="3591"/>
                    <a:pt x="3421" y="3591"/>
                  </a:cubicBezTo>
                  <a:cubicBezTo>
                    <a:pt x="3421" y="3591"/>
                    <a:pt x="3394" y="3597"/>
                    <a:pt x="3378" y="3611"/>
                  </a:cubicBezTo>
                  <a:cubicBezTo>
                    <a:pt x="3362" y="3625"/>
                    <a:pt x="3385" y="3651"/>
                    <a:pt x="3387" y="3671"/>
                  </a:cubicBezTo>
                  <a:cubicBezTo>
                    <a:pt x="3389" y="3691"/>
                    <a:pt x="3362" y="3707"/>
                    <a:pt x="3362" y="3707"/>
                  </a:cubicBezTo>
                  <a:cubicBezTo>
                    <a:pt x="3363" y="3689"/>
                    <a:pt x="3363" y="3689"/>
                    <a:pt x="3363" y="3689"/>
                  </a:cubicBezTo>
                  <a:cubicBezTo>
                    <a:pt x="3363" y="3689"/>
                    <a:pt x="3345" y="3684"/>
                    <a:pt x="3339" y="3674"/>
                  </a:cubicBezTo>
                  <a:cubicBezTo>
                    <a:pt x="3333" y="3664"/>
                    <a:pt x="3349" y="3646"/>
                    <a:pt x="3356" y="3637"/>
                  </a:cubicBezTo>
                  <a:cubicBezTo>
                    <a:pt x="3363" y="3628"/>
                    <a:pt x="3362" y="3612"/>
                    <a:pt x="3362" y="3600"/>
                  </a:cubicBezTo>
                  <a:cubicBezTo>
                    <a:pt x="3362" y="3588"/>
                    <a:pt x="3351" y="3573"/>
                    <a:pt x="3351" y="3573"/>
                  </a:cubicBezTo>
                  <a:cubicBezTo>
                    <a:pt x="3351" y="3573"/>
                    <a:pt x="3368" y="3563"/>
                    <a:pt x="3373" y="3562"/>
                  </a:cubicBezTo>
                  <a:cubicBezTo>
                    <a:pt x="3378" y="3561"/>
                    <a:pt x="3393" y="3557"/>
                    <a:pt x="3394" y="3536"/>
                  </a:cubicBezTo>
                  <a:cubicBezTo>
                    <a:pt x="3395" y="3515"/>
                    <a:pt x="3353" y="3531"/>
                    <a:pt x="3347" y="3532"/>
                  </a:cubicBezTo>
                  <a:cubicBezTo>
                    <a:pt x="3341" y="3533"/>
                    <a:pt x="3341" y="3553"/>
                    <a:pt x="3334" y="3560"/>
                  </a:cubicBezTo>
                  <a:cubicBezTo>
                    <a:pt x="3327" y="3567"/>
                    <a:pt x="3316" y="3560"/>
                    <a:pt x="3309" y="3561"/>
                  </a:cubicBezTo>
                  <a:cubicBezTo>
                    <a:pt x="3302" y="3562"/>
                    <a:pt x="3288" y="3585"/>
                    <a:pt x="3288" y="3585"/>
                  </a:cubicBezTo>
                  <a:cubicBezTo>
                    <a:pt x="3263" y="3589"/>
                    <a:pt x="3263" y="3589"/>
                    <a:pt x="3263" y="3589"/>
                  </a:cubicBezTo>
                  <a:cubicBezTo>
                    <a:pt x="3263" y="3589"/>
                    <a:pt x="3257" y="3580"/>
                    <a:pt x="3250" y="3584"/>
                  </a:cubicBezTo>
                  <a:cubicBezTo>
                    <a:pt x="3243" y="3589"/>
                    <a:pt x="3243" y="3601"/>
                    <a:pt x="3243" y="3601"/>
                  </a:cubicBezTo>
                  <a:cubicBezTo>
                    <a:pt x="3243" y="3601"/>
                    <a:pt x="3238" y="3615"/>
                    <a:pt x="3231" y="3616"/>
                  </a:cubicBezTo>
                  <a:cubicBezTo>
                    <a:pt x="3224" y="3618"/>
                    <a:pt x="3232" y="3607"/>
                    <a:pt x="3232" y="3607"/>
                  </a:cubicBezTo>
                  <a:cubicBezTo>
                    <a:pt x="3232" y="3607"/>
                    <a:pt x="3226" y="3602"/>
                    <a:pt x="3222" y="3602"/>
                  </a:cubicBezTo>
                  <a:cubicBezTo>
                    <a:pt x="3219" y="3602"/>
                    <a:pt x="3204" y="3606"/>
                    <a:pt x="3199" y="3609"/>
                  </a:cubicBezTo>
                  <a:cubicBezTo>
                    <a:pt x="3194" y="3613"/>
                    <a:pt x="3179" y="3627"/>
                    <a:pt x="3175" y="3634"/>
                  </a:cubicBezTo>
                  <a:cubicBezTo>
                    <a:pt x="3172" y="3641"/>
                    <a:pt x="3180" y="3650"/>
                    <a:pt x="3180" y="3650"/>
                  </a:cubicBezTo>
                  <a:cubicBezTo>
                    <a:pt x="3169" y="3670"/>
                    <a:pt x="3169" y="3670"/>
                    <a:pt x="3169" y="3670"/>
                  </a:cubicBezTo>
                  <a:cubicBezTo>
                    <a:pt x="3176" y="3686"/>
                    <a:pt x="3176" y="3686"/>
                    <a:pt x="3176" y="3686"/>
                  </a:cubicBezTo>
                  <a:cubicBezTo>
                    <a:pt x="3176" y="3686"/>
                    <a:pt x="3160" y="3687"/>
                    <a:pt x="3154" y="3690"/>
                  </a:cubicBezTo>
                  <a:cubicBezTo>
                    <a:pt x="3148" y="3692"/>
                    <a:pt x="3142" y="3706"/>
                    <a:pt x="3139" y="3713"/>
                  </a:cubicBezTo>
                  <a:cubicBezTo>
                    <a:pt x="3135" y="3720"/>
                    <a:pt x="3121" y="3722"/>
                    <a:pt x="3121" y="3722"/>
                  </a:cubicBezTo>
                  <a:cubicBezTo>
                    <a:pt x="3107" y="3728"/>
                    <a:pt x="3107" y="3728"/>
                    <a:pt x="3107" y="3728"/>
                  </a:cubicBezTo>
                  <a:cubicBezTo>
                    <a:pt x="3115" y="3744"/>
                    <a:pt x="3115" y="3744"/>
                    <a:pt x="3115" y="3744"/>
                  </a:cubicBezTo>
                  <a:cubicBezTo>
                    <a:pt x="3115" y="3744"/>
                    <a:pt x="3118" y="3767"/>
                    <a:pt x="3110" y="3769"/>
                  </a:cubicBezTo>
                  <a:cubicBezTo>
                    <a:pt x="3102" y="3771"/>
                    <a:pt x="3108" y="3761"/>
                    <a:pt x="3107" y="3751"/>
                  </a:cubicBezTo>
                  <a:cubicBezTo>
                    <a:pt x="3105" y="3742"/>
                    <a:pt x="3085" y="3730"/>
                    <a:pt x="3085" y="3730"/>
                  </a:cubicBezTo>
                  <a:cubicBezTo>
                    <a:pt x="3085" y="3730"/>
                    <a:pt x="3085" y="3730"/>
                    <a:pt x="3085" y="3731"/>
                  </a:cubicBezTo>
                  <a:cubicBezTo>
                    <a:pt x="3085" y="3731"/>
                    <a:pt x="3085" y="3731"/>
                    <a:pt x="3085" y="3731"/>
                  </a:cubicBezTo>
                  <a:cubicBezTo>
                    <a:pt x="3070" y="3719"/>
                    <a:pt x="3070" y="3719"/>
                    <a:pt x="3070" y="3719"/>
                  </a:cubicBezTo>
                  <a:cubicBezTo>
                    <a:pt x="3070" y="3719"/>
                    <a:pt x="3066" y="3697"/>
                    <a:pt x="3051" y="3691"/>
                  </a:cubicBezTo>
                  <a:cubicBezTo>
                    <a:pt x="3036" y="3685"/>
                    <a:pt x="3011" y="3686"/>
                    <a:pt x="3011" y="3686"/>
                  </a:cubicBezTo>
                  <a:cubicBezTo>
                    <a:pt x="3010" y="3677"/>
                    <a:pt x="3010" y="3677"/>
                    <a:pt x="3010" y="3677"/>
                  </a:cubicBezTo>
                  <a:cubicBezTo>
                    <a:pt x="3010" y="3677"/>
                    <a:pt x="2984" y="3673"/>
                    <a:pt x="2978" y="3680"/>
                  </a:cubicBezTo>
                  <a:cubicBezTo>
                    <a:pt x="2972" y="3687"/>
                    <a:pt x="2959" y="3700"/>
                    <a:pt x="2959" y="3700"/>
                  </a:cubicBezTo>
                  <a:cubicBezTo>
                    <a:pt x="2959" y="3700"/>
                    <a:pt x="2949" y="3691"/>
                    <a:pt x="2941" y="3698"/>
                  </a:cubicBezTo>
                  <a:cubicBezTo>
                    <a:pt x="2933" y="3705"/>
                    <a:pt x="2919" y="3723"/>
                    <a:pt x="2909" y="3723"/>
                  </a:cubicBezTo>
                  <a:cubicBezTo>
                    <a:pt x="2899" y="3723"/>
                    <a:pt x="2890" y="3716"/>
                    <a:pt x="2890" y="3716"/>
                  </a:cubicBezTo>
                  <a:cubicBezTo>
                    <a:pt x="2880" y="3705"/>
                    <a:pt x="2880" y="3705"/>
                    <a:pt x="2880" y="3705"/>
                  </a:cubicBezTo>
                  <a:cubicBezTo>
                    <a:pt x="2874" y="3712"/>
                    <a:pt x="2874" y="3712"/>
                    <a:pt x="2874" y="3712"/>
                  </a:cubicBezTo>
                  <a:cubicBezTo>
                    <a:pt x="2874" y="3712"/>
                    <a:pt x="2860" y="3717"/>
                    <a:pt x="2855" y="3708"/>
                  </a:cubicBezTo>
                  <a:cubicBezTo>
                    <a:pt x="2850" y="3699"/>
                    <a:pt x="2857" y="3689"/>
                    <a:pt x="2850" y="3683"/>
                  </a:cubicBezTo>
                  <a:cubicBezTo>
                    <a:pt x="2848" y="3681"/>
                    <a:pt x="2845" y="3680"/>
                    <a:pt x="2842" y="3678"/>
                  </a:cubicBezTo>
                  <a:cubicBezTo>
                    <a:pt x="2834" y="3673"/>
                    <a:pt x="2823" y="3666"/>
                    <a:pt x="2820" y="3657"/>
                  </a:cubicBezTo>
                  <a:cubicBezTo>
                    <a:pt x="2816" y="3644"/>
                    <a:pt x="2804" y="3630"/>
                    <a:pt x="2804" y="3630"/>
                  </a:cubicBezTo>
                  <a:cubicBezTo>
                    <a:pt x="2802" y="3615"/>
                    <a:pt x="2802" y="3615"/>
                    <a:pt x="2802" y="3615"/>
                  </a:cubicBezTo>
                  <a:cubicBezTo>
                    <a:pt x="2802" y="3615"/>
                    <a:pt x="2802" y="3615"/>
                    <a:pt x="2802" y="3614"/>
                  </a:cubicBezTo>
                  <a:cubicBezTo>
                    <a:pt x="2802" y="3614"/>
                    <a:pt x="2802" y="3614"/>
                    <a:pt x="2802" y="3614"/>
                  </a:cubicBezTo>
                  <a:cubicBezTo>
                    <a:pt x="2799" y="3612"/>
                    <a:pt x="2789" y="3599"/>
                    <a:pt x="2789" y="3586"/>
                  </a:cubicBezTo>
                  <a:cubicBezTo>
                    <a:pt x="2789" y="3571"/>
                    <a:pt x="2801" y="3575"/>
                    <a:pt x="2801" y="3566"/>
                  </a:cubicBezTo>
                  <a:cubicBezTo>
                    <a:pt x="2801" y="3557"/>
                    <a:pt x="2796" y="3545"/>
                    <a:pt x="2796" y="3545"/>
                  </a:cubicBezTo>
                  <a:cubicBezTo>
                    <a:pt x="2800" y="3513"/>
                    <a:pt x="2800" y="3513"/>
                    <a:pt x="2800" y="3513"/>
                  </a:cubicBezTo>
                  <a:cubicBezTo>
                    <a:pt x="2810" y="3525"/>
                    <a:pt x="2810" y="3525"/>
                    <a:pt x="2810" y="3525"/>
                  </a:cubicBezTo>
                  <a:cubicBezTo>
                    <a:pt x="2813" y="3468"/>
                    <a:pt x="2813" y="3468"/>
                    <a:pt x="2813" y="3468"/>
                  </a:cubicBezTo>
                  <a:cubicBezTo>
                    <a:pt x="2813" y="3468"/>
                    <a:pt x="2819" y="3447"/>
                    <a:pt x="2828" y="3438"/>
                  </a:cubicBezTo>
                  <a:cubicBezTo>
                    <a:pt x="2837" y="3429"/>
                    <a:pt x="2839" y="3414"/>
                    <a:pt x="2837" y="3409"/>
                  </a:cubicBezTo>
                  <a:cubicBezTo>
                    <a:pt x="2835" y="3404"/>
                    <a:pt x="2829" y="3399"/>
                    <a:pt x="2830" y="3395"/>
                  </a:cubicBezTo>
                  <a:cubicBezTo>
                    <a:pt x="2831" y="3391"/>
                    <a:pt x="2845" y="3392"/>
                    <a:pt x="2843" y="3385"/>
                  </a:cubicBezTo>
                  <a:cubicBezTo>
                    <a:pt x="2841" y="3378"/>
                    <a:pt x="2832" y="3371"/>
                    <a:pt x="2832" y="3371"/>
                  </a:cubicBezTo>
                  <a:cubicBezTo>
                    <a:pt x="2817" y="3365"/>
                    <a:pt x="2817" y="3365"/>
                    <a:pt x="2817" y="3365"/>
                  </a:cubicBezTo>
                  <a:cubicBezTo>
                    <a:pt x="2817" y="3365"/>
                    <a:pt x="2806" y="3357"/>
                    <a:pt x="2797" y="3348"/>
                  </a:cubicBezTo>
                  <a:cubicBezTo>
                    <a:pt x="2788" y="3339"/>
                    <a:pt x="2779" y="3343"/>
                    <a:pt x="2779" y="3343"/>
                  </a:cubicBezTo>
                  <a:cubicBezTo>
                    <a:pt x="2779" y="3343"/>
                    <a:pt x="2775" y="3331"/>
                    <a:pt x="2763" y="3331"/>
                  </a:cubicBezTo>
                  <a:cubicBezTo>
                    <a:pt x="2751" y="3331"/>
                    <a:pt x="2741" y="3339"/>
                    <a:pt x="2741" y="3339"/>
                  </a:cubicBezTo>
                  <a:cubicBezTo>
                    <a:pt x="2741" y="3339"/>
                    <a:pt x="2727" y="3330"/>
                    <a:pt x="2720" y="3330"/>
                  </a:cubicBezTo>
                  <a:cubicBezTo>
                    <a:pt x="2713" y="3330"/>
                    <a:pt x="2697" y="3348"/>
                    <a:pt x="2697" y="3348"/>
                  </a:cubicBezTo>
                  <a:cubicBezTo>
                    <a:pt x="2674" y="3347"/>
                    <a:pt x="2674" y="3347"/>
                    <a:pt x="2674" y="3347"/>
                  </a:cubicBezTo>
                  <a:cubicBezTo>
                    <a:pt x="2674" y="3347"/>
                    <a:pt x="2661" y="3341"/>
                    <a:pt x="2658" y="3341"/>
                  </a:cubicBezTo>
                  <a:cubicBezTo>
                    <a:pt x="2655" y="3341"/>
                    <a:pt x="2638" y="3346"/>
                    <a:pt x="2638" y="3346"/>
                  </a:cubicBezTo>
                  <a:cubicBezTo>
                    <a:pt x="2638" y="3346"/>
                    <a:pt x="2633" y="3332"/>
                    <a:pt x="2630" y="3332"/>
                  </a:cubicBezTo>
                  <a:cubicBezTo>
                    <a:pt x="2627" y="3332"/>
                    <a:pt x="2608" y="3345"/>
                    <a:pt x="2608" y="3345"/>
                  </a:cubicBezTo>
                  <a:cubicBezTo>
                    <a:pt x="2599" y="3336"/>
                    <a:pt x="2599" y="3336"/>
                    <a:pt x="2599" y="3336"/>
                  </a:cubicBezTo>
                  <a:cubicBezTo>
                    <a:pt x="2588" y="3343"/>
                    <a:pt x="2588" y="3343"/>
                    <a:pt x="2588" y="3343"/>
                  </a:cubicBezTo>
                  <a:cubicBezTo>
                    <a:pt x="2579" y="3338"/>
                    <a:pt x="2579" y="3338"/>
                    <a:pt x="2579" y="3338"/>
                  </a:cubicBezTo>
                  <a:cubicBezTo>
                    <a:pt x="2589" y="3312"/>
                    <a:pt x="2589" y="3312"/>
                    <a:pt x="2589" y="3312"/>
                  </a:cubicBezTo>
                  <a:cubicBezTo>
                    <a:pt x="2600" y="3316"/>
                    <a:pt x="2600" y="3316"/>
                    <a:pt x="2600" y="3316"/>
                  </a:cubicBezTo>
                  <a:cubicBezTo>
                    <a:pt x="2600" y="3316"/>
                    <a:pt x="2616" y="3302"/>
                    <a:pt x="2616" y="3291"/>
                  </a:cubicBezTo>
                  <a:cubicBezTo>
                    <a:pt x="2616" y="3280"/>
                    <a:pt x="2612" y="3268"/>
                    <a:pt x="2616" y="3258"/>
                  </a:cubicBezTo>
                  <a:cubicBezTo>
                    <a:pt x="2620" y="3248"/>
                    <a:pt x="2633" y="3225"/>
                    <a:pt x="2633" y="3220"/>
                  </a:cubicBezTo>
                  <a:cubicBezTo>
                    <a:pt x="2633" y="3215"/>
                    <a:pt x="2615" y="3209"/>
                    <a:pt x="2615" y="3209"/>
                  </a:cubicBezTo>
                  <a:cubicBezTo>
                    <a:pt x="2626" y="3199"/>
                    <a:pt x="2626" y="3199"/>
                    <a:pt x="2626" y="3199"/>
                  </a:cubicBezTo>
                  <a:cubicBezTo>
                    <a:pt x="2640" y="3183"/>
                    <a:pt x="2640" y="3183"/>
                    <a:pt x="2640" y="3183"/>
                  </a:cubicBezTo>
                  <a:cubicBezTo>
                    <a:pt x="2640" y="3183"/>
                    <a:pt x="2634" y="3202"/>
                    <a:pt x="2638" y="3205"/>
                  </a:cubicBezTo>
                  <a:cubicBezTo>
                    <a:pt x="2642" y="3208"/>
                    <a:pt x="2649" y="3208"/>
                    <a:pt x="2649" y="3208"/>
                  </a:cubicBezTo>
                  <a:cubicBezTo>
                    <a:pt x="2664" y="3163"/>
                    <a:pt x="2664" y="3163"/>
                    <a:pt x="2664" y="3163"/>
                  </a:cubicBezTo>
                  <a:cubicBezTo>
                    <a:pt x="2658" y="3155"/>
                    <a:pt x="2658" y="3155"/>
                    <a:pt x="2658" y="3155"/>
                  </a:cubicBezTo>
                  <a:cubicBezTo>
                    <a:pt x="2671" y="3151"/>
                    <a:pt x="2671" y="3151"/>
                    <a:pt x="2671" y="3151"/>
                  </a:cubicBezTo>
                  <a:cubicBezTo>
                    <a:pt x="2672" y="3143"/>
                    <a:pt x="2672" y="3143"/>
                    <a:pt x="2672" y="3143"/>
                  </a:cubicBezTo>
                  <a:cubicBezTo>
                    <a:pt x="2660" y="3139"/>
                    <a:pt x="2660" y="3139"/>
                    <a:pt x="2660" y="3139"/>
                  </a:cubicBezTo>
                  <a:cubicBezTo>
                    <a:pt x="2672" y="3126"/>
                    <a:pt x="2672" y="3126"/>
                    <a:pt x="2672" y="3126"/>
                  </a:cubicBezTo>
                  <a:cubicBezTo>
                    <a:pt x="2676" y="3110"/>
                    <a:pt x="2676" y="3110"/>
                    <a:pt x="2676" y="3110"/>
                  </a:cubicBezTo>
                  <a:cubicBezTo>
                    <a:pt x="2676" y="3110"/>
                    <a:pt x="2706" y="3079"/>
                    <a:pt x="2710" y="3070"/>
                  </a:cubicBezTo>
                  <a:cubicBezTo>
                    <a:pt x="2714" y="3061"/>
                    <a:pt x="2723" y="3038"/>
                    <a:pt x="2712" y="3035"/>
                  </a:cubicBezTo>
                  <a:cubicBezTo>
                    <a:pt x="2701" y="3032"/>
                    <a:pt x="2679" y="3039"/>
                    <a:pt x="2679" y="3039"/>
                  </a:cubicBezTo>
                  <a:cubicBezTo>
                    <a:pt x="2679" y="3039"/>
                    <a:pt x="2655" y="3032"/>
                    <a:pt x="2648" y="3032"/>
                  </a:cubicBezTo>
                  <a:cubicBezTo>
                    <a:pt x="2641" y="3032"/>
                    <a:pt x="2613" y="3040"/>
                    <a:pt x="2599" y="3044"/>
                  </a:cubicBezTo>
                  <a:cubicBezTo>
                    <a:pt x="2585" y="3048"/>
                    <a:pt x="2560" y="3044"/>
                    <a:pt x="2554" y="3050"/>
                  </a:cubicBezTo>
                  <a:cubicBezTo>
                    <a:pt x="2548" y="3056"/>
                    <a:pt x="2537" y="3077"/>
                    <a:pt x="2536" y="3093"/>
                  </a:cubicBezTo>
                  <a:cubicBezTo>
                    <a:pt x="2535" y="3109"/>
                    <a:pt x="2535" y="3124"/>
                    <a:pt x="2535" y="3124"/>
                  </a:cubicBezTo>
                  <a:cubicBezTo>
                    <a:pt x="2525" y="3128"/>
                    <a:pt x="2525" y="3128"/>
                    <a:pt x="2525" y="3128"/>
                  </a:cubicBezTo>
                  <a:cubicBezTo>
                    <a:pt x="2525" y="3128"/>
                    <a:pt x="2525" y="3148"/>
                    <a:pt x="2519" y="3154"/>
                  </a:cubicBezTo>
                  <a:cubicBezTo>
                    <a:pt x="2513" y="3160"/>
                    <a:pt x="2492" y="3166"/>
                    <a:pt x="2487" y="3175"/>
                  </a:cubicBezTo>
                  <a:cubicBezTo>
                    <a:pt x="2482" y="3184"/>
                    <a:pt x="2485" y="3203"/>
                    <a:pt x="2472" y="3204"/>
                  </a:cubicBezTo>
                  <a:cubicBezTo>
                    <a:pt x="2459" y="3205"/>
                    <a:pt x="2466" y="3187"/>
                    <a:pt x="2450" y="3187"/>
                  </a:cubicBezTo>
                  <a:cubicBezTo>
                    <a:pt x="2434" y="3187"/>
                    <a:pt x="2408" y="3199"/>
                    <a:pt x="2388" y="3199"/>
                  </a:cubicBezTo>
                  <a:cubicBezTo>
                    <a:pt x="2368" y="3199"/>
                    <a:pt x="2340" y="3222"/>
                    <a:pt x="2331" y="3218"/>
                  </a:cubicBezTo>
                  <a:cubicBezTo>
                    <a:pt x="2322" y="3214"/>
                    <a:pt x="2323" y="3193"/>
                    <a:pt x="2312" y="3191"/>
                  </a:cubicBezTo>
                  <a:cubicBezTo>
                    <a:pt x="2301" y="3189"/>
                    <a:pt x="2273" y="3186"/>
                    <a:pt x="2273" y="3186"/>
                  </a:cubicBezTo>
                  <a:cubicBezTo>
                    <a:pt x="2273" y="3186"/>
                    <a:pt x="2271" y="3169"/>
                    <a:pt x="2266" y="3162"/>
                  </a:cubicBezTo>
                  <a:cubicBezTo>
                    <a:pt x="2261" y="3155"/>
                    <a:pt x="2253" y="3146"/>
                    <a:pt x="2253" y="3146"/>
                  </a:cubicBezTo>
                  <a:cubicBezTo>
                    <a:pt x="2253" y="3123"/>
                    <a:pt x="2253" y="3123"/>
                    <a:pt x="2253" y="3123"/>
                  </a:cubicBezTo>
                  <a:cubicBezTo>
                    <a:pt x="2227" y="3082"/>
                    <a:pt x="2227" y="3082"/>
                    <a:pt x="2227" y="3082"/>
                  </a:cubicBezTo>
                  <a:cubicBezTo>
                    <a:pt x="2226" y="3054"/>
                    <a:pt x="2226" y="3054"/>
                    <a:pt x="2226" y="3054"/>
                  </a:cubicBezTo>
                  <a:cubicBezTo>
                    <a:pt x="2215" y="3034"/>
                    <a:pt x="2215" y="3034"/>
                    <a:pt x="2215" y="3034"/>
                  </a:cubicBezTo>
                  <a:cubicBezTo>
                    <a:pt x="2212" y="2977"/>
                    <a:pt x="2212" y="2977"/>
                    <a:pt x="2212" y="2977"/>
                  </a:cubicBezTo>
                  <a:cubicBezTo>
                    <a:pt x="2212" y="2977"/>
                    <a:pt x="2228" y="2956"/>
                    <a:pt x="2228" y="2945"/>
                  </a:cubicBezTo>
                  <a:cubicBezTo>
                    <a:pt x="2228" y="2934"/>
                    <a:pt x="2230" y="2904"/>
                    <a:pt x="2230" y="2904"/>
                  </a:cubicBezTo>
                  <a:cubicBezTo>
                    <a:pt x="2228" y="2877"/>
                    <a:pt x="2228" y="2877"/>
                    <a:pt x="2228" y="2877"/>
                  </a:cubicBezTo>
                  <a:cubicBezTo>
                    <a:pt x="2244" y="2872"/>
                    <a:pt x="2244" y="2872"/>
                    <a:pt x="2244" y="2872"/>
                  </a:cubicBezTo>
                  <a:cubicBezTo>
                    <a:pt x="2244" y="2872"/>
                    <a:pt x="2243" y="2832"/>
                    <a:pt x="2251" y="2830"/>
                  </a:cubicBezTo>
                  <a:cubicBezTo>
                    <a:pt x="2259" y="2828"/>
                    <a:pt x="2267" y="2839"/>
                    <a:pt x="2269" y="2830"/>
                  </a:cubicBezTo>
                  <a:cubicBezTo>
                    <a:pt x="2271" y="2821"/>
                    <a:pt x="2282" y="2802"/>
                    <a:pt x="2282" y="2802"/>
                  </a:cubicBezTo>
                  <a:cubicBezTo>
                    <a:pt x="2272" y="2752"/>
                    <a:pt x="2272" y="2752"/>
                    <a:pt x="2272" y="2752"/>
                  </a:cubicBezTo>
                  <a:cubicBezTo>
                    <a:pt x="2284" y="2741"/>
                    <a:pt x="2284" y="2741"/>
                    <a:pt x="2284" y="2741"/>
                  </a:cubicBezTo>
                  <a:cubicBezTo>
                    <a:pt x="2271" y="2732"/>
                    <a:pt x="2271" y="2732"/>
                    <a:pt x="2271" y="2732"/>
                  </a:cubicBezTo>
                  <a:cubicBezTo>
                    <a:pt x="2271" y="2719"/>
                    <a:pt x="2271" y="2719"/>
                    <a:pt x="2271" y="2719"/>
                  </a:cubicBezTo>
                  <a:cubicBezTo>
                    <a:pt x="2271" y="2719"/>
                    <a:pt x="2289" y="2731"/>
                    <a:pt x="2292" y="2719"/>
                  </a:cubicBezTo>
                  <a:cubicBezTo>
                    <a:pt x="2295" y="2707"/>
                    <a:pt x="2292" y="2698"/>
                    <a:pt x="2292" y="2698"/>
                  </a:cubicBezTo>
                  <a:cubicBezTo>
                    <a:pt x="2308" y="2696"/>
                    <a:pt x="2308" y="2696"/>
                    <a:pt x="2308" y="2696"/>
                  </a:cubicBezTo>
                  <a:cubicBezTo>
                    <a:pt x="2313" y="2678"/>
                    <a:pt x="2313" y="2678"/>
                    <a:pt x="2313" y="2678"/>
                  </a:cubicBezTo>
                  <a:cubicBezTo>
                    <a:pt x="2323" y="2683"/>
                    <a:pt x="2323" y="2683"/>
                    <a:pt x="2323" y="2683"/>
                  </a:cubicBezTo>
                  <a:cubicBezTo>
                    <a:pt x="2336" y="2676"/>
                    <a:pt x="2336" y="2676"/>
                    <a:pt x="2336" y="2676"/>
                  </a:cubicBezTo>
                  <a:cubicBezTo>
                    <a:pt x="2331" y="2660"/>
                    <a:pt x="2331" y="2660"/>
                    <a:pt x="2331" y="2660"/>
                  </a:cubicBezTo>
                  <a:cubicBezTo>
                    <a:pt x="2341" y="2667"/>
                    <a:pt x="2341" y="2667"/>
                    <a:pt x="2341" y="2667"/>
                  </a:cubicBezTo>
                  <a:cubicBezTo>
                    <a:pt x="2341" y="2667"/>
                    <a:pt x="2345" y="2645"/>
                    <a:pt x="2351" y="2649"/>
                  </a:cubicBezTo>
                  <a:cubicBezTo>
                    <a:pt x="2357" y="2653"/>
                    <a:pt x="2358" y="2664"/>
                    <a:pt x="2364" y="2661"/>
                  </a:cubicBezTo>
                  <a:cubicBezTo>
                    <a:pt x="2370" y="2658"/>
                    <a:pt x="2398" y="2650"/>
                    <a:pt x="2406" y="2642"/>
                  </a:cubicBezTo>
                  <a:cubicBezTo>
                    <a:pt x="2414" y="2634"/>
                    <a:pt x="2428" y="2615"/>
                    <a:pt x="2428" y="2615"/>
                  </a:cubicBezTo>
                  <a:cubicBezTo>
                    <a:pt x="2428" y="2615"/>
                    <a:pt x="2420" y="2592"/>
                    <a:pt x="2430" y="2591"/>
                  </a:cubicBezTo>
                  <a:cubicBezTo>
                    <a:pt x="2440" y="2590"/>
                    <a:pt x="2451" y="2614"/>
                    <a:pt x="2463" y="2607"/>
                  </a:cubicBezTo>
                  <a:cubicBezTo>
                    <a:pt x="2475" y="2600"/>
                    <a:pt x="2479" y="2572"/>
                    <a:pt x="2485" y="2579"/>
                  </a:cubicBezTo>
                  <a:cubicBezTo>
                    <a:pt x="2491" y="2586"/>
                    <a:pt x="2494" y="2592"/>
                    <a:pt x="2499" y="2592"/>
                  </a:cubicBezTo>
                  <a:cubicBezTo>
                    <a:pt x="2504" y="2592"/>
                    <a:pt x="2515" y="2576"/>
                    <a:pt x="2515" y="2576"/>
                  </a:cubicBezTo>
                  <a:cubicBezTo>
                    <a:pt x="2515" y="2576"/>
                    <a:pt x="2534" y="2607"/>
                    <a:pt x="2548" y="2605"/>
                  </a:cubicBezTo>
                  <a:cubicBezTo>
                    <a:pt x="2562" y="2603"/>
                    <a:pt x="2564" y="2572"/>
                    <a:pt x="2580" y="2588"/>
                  </a:cubicBezTo>
                  <a:cubicBezTo>
                    <a:pt x="2596" y="2604"/>
                    <a:pt x="2588" y="2622"/>
                    <a:pt x="2598" y="2622"/>
                  </a:cubicBezTo>
                  <a:cubicBezTo>
                    <a:pt x="2608" y="2622"/>
                    <a:pt x="2624" y="2629"/>
                    <a:pt x="2624" y="2629"/>
                  </a:cubicBezTo>
                  <a:cubicBezTo>
                    <a:pt x="2624" y="2629"/>
                    <a:pt x="2623" y="2613"/>
                    <a:pt x="2630" y="2618"/>
                  </a:cubicBezTo>
                  <a:cubicBezTo>
                    <a:pt x="2637" y="2623"/>
                    <a:pt x="2645" y="2642"/>
                    <a:pt x="2650" y="2630"/>
                  </a:cubicBezTo>
                  <a:cubicBezTo>
                    <a:pt x="2655" y="2618"/>
                    <a:pt x="2648" y="2603"/>
                    <a:pt x="2648" y="2603"/>
                  </a:cubicBezTo>
                  <a:cubicBezTo>
                    <a:pt x="2662" y="2608"/>
                    <a:pt x="2662" y="2608"/>
                    <a:pt x="2662" y="2608"/>
                  </a:cubicBezTo>
                  <a:cubicBezTo>
                    <a:pt x="2667" y="2619"/>
                    <a:pt x="2667" y="2619"/>
                    <a:pt x="2667" y="2619"/>
                  </a:cubicBezTo>
                  <a:cubicBezTo>
                    <a:pt x="2677" y="2622"/>
                    <a:pt x="2677" y="2622"/>
                    <a:pt x="2677" y="2622"/>
                  </a:cubicBezTo>
                  <a:cubicBezTo>
                    <a:pt x="2677" y="2631"/>
                    <a:pt x="2677" y="2631"/>
                    <a:pt x="2677" y="2631"/>
                  </a:cubicBezTo>
                  <a:cubicBezTo>
                    <a:pt x="2677" y="2631"/>
                    <a:pt x="2701" y="2638"/>
                    <a:pt x="2696" y="2626"/>
                  </a:cubicBezTo>
                  <a:cubicBezTo>
                    <a:pt x="2691" y="2614"/>
                    <a:pt x="2677" y="2609"/>
                    <a:pt x="2677" y="2609"/>
                  </a:cubicBezTo>
                  <a:cubicBezTo>
                    <a:pt x="2671" y="2599"/>
                    <a:pt x="2671" y="2599"/>
                    <a:pt x="2671" y="2599"/>
                  </a:cubicBezTo>
                  <a:cubicBezTo>
                    <a:pt x="2671" y="2599"/>
                    <a:pt x="2691" y="2596"/>
                    <a:pt x="2689" y="2588"/>
                  </a:cubicBezTo>
                  <a:cubicBezTo>
                    <a:pt x="2687" y="2580"/>
                    <a:pt x="2685" y="2578"/>
                    <a:pt x="2676" y="2579"/>
                  </a:cubicBezTo>
                  <a:cubicBezTo>
                    <a:pt x="2667" y="2580"/>
                    <a:pt x="2640" y="2583"/>
                    <a:pt x="2649" y="2569"/>
                  </a:cubicBezTo>
                  <a:cubicBezTo>
                    <a:pt x="2658" y="2555"/>
                    <a:pt x="2667" y="2566"/>
                    <a:pt x="2678" y="2569"/>
                  </a:cubicBezTo>
                  <a:cubicBezTo>
                    <a:pt x="2689" y="2572"/>
                    <a:pt x="2697" y="2570"/>
                    <a:pt x="2707" y="2563"/>
                  </a:cubicBezTo>
                  <a:cubicBezTo>
                    <a:pt x="2717" y="2556"/>
                    <a:pt x="2728" y="2556"/>
                    <a:pt x="2728" y="2556"/>
                  </a:cubicBezTo>
                  <a:cubicBezTo>
                    <a:pt x="2729" y="2560"/>
                    <a:pt x="2729" y="2560"/>
                    <a:pt x="2729" y="2560"/>
                  </a:cubicBezTo>
                  <a:cubicBezTo>
                    <a:pt x="2729" y="2560"/>
                    <a:pt x="2759" y="2560"/>
                    <a:pt x="2759" y="2553"/>
                  </a:cubicBezTo>
                  <a:cubicBezTo>
                    <a:pt x="2759" y="2546"/>
                    <a:pt x="2765" y="2531"/>
                    <a:pt x="2768" y="2536"/>
                  </a:cubicBezTo>
                  <a:cubicBezTo>
                    <a:pt x="2771" y="2541"/>
                    <a:pt x="2771" y="2563"/>
                    <a:pt x="2771" y="2563"/>
                  </a:cubicBezTo>
                  <a:cubicBezTo>
                    <a:pt x="2771" y="2563"/>
                    <a:pt x="2804" y="2551"/>
                    <a:pt x="2813" y="2552"/>
                  </a:cubicBezTo>
                  <a:cubicBezTo>
                    <a:pt x="2822" y="2553"/>
                    <a:pt x="2829" y="2563"/>
                    <a:pt x="2829" y="2563"/>
                  </a:cubicBezTo>
                  <a:cubicBezTo>
                    <a:pt x="2829" y="2563"/>
                    <a:pt x="2826" y="2547"/>
                    <a:pt x="2836" y="2551"/>
                  </a:cubicBezTo>
                  <a:cubicBezTo>
                    <a:pt x="2846" y="2555"/>
                    <a:pt x="2846" y="2569"/>
                    <a:pt x="2846" y="2569"/>
                  </a:cubicBezTo>
                  <a:cubicBezTo>
                    <a:pt x="2866" y="2564"/>
                    <a:pt x="2866" y="2564"/>
                    <a:pt x="2866" y="2564"/>
                  </a:cubicBezTo>
                  <a:cubicBezTo>
                    <a:pt x="2862" y="2572"/>
                    <a:pt x="2862" y="2572"/>
                    <a:pt x="2862" y="2572"/>
                  </a:cubicBezTo>
                  <a:cubicBezTo>
                    <a:pt x="2862" y="2572"/>
                    <a:pt x="2863" y="2604"/>
                    <a:pt x="2881" y="2600"/>
                  </a:cubicBezTo>
                  <a:cubicBezTo>
                    <a:pt x="2899" y="2596"/>
                    <a:pt x="2912" y="2570"/>
                    <a:pt x="2930" y="2574"/>
                  </a:cubicBezTo>
                  <a:cubicBezTo>
                    <a:pt x="2948" y="2578"/>
                    <a:pt x="2949" y="2612"/>
                    <a:pt x="2958" y="2618"/>
                  </a:cubicBezTo>
                  <a:cubicBezTo>
                    <a:pt x="2967" y="2624"/>
                    <a:pt x="2985" y="2624"/>
                    <a:pt x="2985" y="2624"/>
                  </a:cubicBezTo>
                  <a:cubicBezTo>
                    <a:pt x="2982" y="2650"/>
                    <a:pt x="2982" y="2650"/>
                    <a:pt x="2982" y="2650"/>
                  </a:cubicBezTo>
                  <a:cubicBezTo>
                    <a:pt x="2982" y="2650"/>
                    <a:pt x="2963" y="2678"/>
                    <a:pt x="2965" y="2686"/>
                  </a:cubicBezTo>
                  <a:cubicBezTo>
                    <a:pt x="2967" y="2694"/>
                    <a:pt x="2977" y="2695"/>
                    <a:pt x="2977" y="2695"/>
                  </a:cubicBezTo>
                  <a:cubicBezTo>
                    <a:pt x="2982" y="2705"/>
                    <a:pt x="2982" y="2705"/>
                    <a:pt x="2982" y="2705"/>
                  </a:cubicBezTo>
                  <a:cubicBezTo>
                    <a:pt x="2963" y="2718"/>
                    <a:pt x="2963" y="2718"/>
                    <a:pt x="2963" y="2718"/>
                  </a:cubicBezTo>
                  <a:cubicBezTo>
                    <a:pt x="2976" y="2751"/>
                    <a:pt x="2976" y="2751"/>
                    <a:pt x="2976" y="2751"/>
                  </a:cubicBezTo>
                  <a:cubicBezTo>
                    <a:pt x="2976" y="2751"/>
                    <a:pt x="2991" y="2732"/>
                    <a:pt x="2992" y="2738"/>
                  </a:cubicBezTo>
                  <a:cubicBezTo>
                    <a:pt x="2993" y="2744"/>
                    <a:pt x="2981" y="2769"/>
                    <a:pt x="2981" y="2769"/>
                  </a:cubicBezTo>
                  <a:cubicBezTo>
                    <a:pt x="2991" y="2766"/>
                    <a:pt x="2991" y="2766"/>
                    <a:pt x="2991" y="2766"/>
                  </a:cubicBezTo>
                  <a:cubicBezTo>
                    <a:pt x="2994" y="2798"/>
                    <a:pt x="2994" y="2798"/>
                    <a:pt x="2994" y="2798"/>
                  </a:cubicBezTo>
                  <a:cubicBezTo>
                    <a:pt x="2994" y="2798"/>
                    <a:pt x="3011" y="2798"/>
                    <a:pt x="3011" y="2804"/>
                  </a:cubicBezTo>
                  <a:cubicBezTo>
                    <a:pt x="3011" y="2810"/>
                    <a:pt x="3008" y="2826"/>
                    <a:pt x="3008" y="2826"/>
                  </a:cubicBezTo>
                  <a:cubicBezTo>
                    <a:pt x="3023" y="2843"/>
                    <a:pt x="3023" y="2843"/>
                    <a:pt x="3023" y="2843"/>
                  </a:cubicBezTo>
                  <a:cubicBezTo>
                    <a:pt x="3023" y="2843"/>
                    <a:pt x="3047" y="2837"/>
                    <a:pt x="3049" y="2830"/>
                  </a:cubicBezTo>
                  <a:cubicBezTo>
                    <a:pt x="3051" y="2823"/>
                    <a:pt x="3053" y="2810"/>
                    <a:pt x="3053" y="2810"/>
                  </a:cubicBezTo>
                  <a:cubicBezTo>
                    <a:pt x="3065" y="2810"/>
                    <a:pt x="3065" y="2810"/>
                    <a:pt x="3065" y="2810"/>
                  </a:cubicBezTo>
                  <a:cubicBezTo>
                    <a:pt x="3065" y="2810"/>
                    <a:pt x="3064" y="2789"/>
                    <a:pt x="3071" y="2779"/>
                  </a:cubicBezTo>
                  <a:cubicBezTo>
                    <a:pt x="3078" y="2769"/>
                    <a:pt x="3082" y="2752"/>
                    <a:pt x="3079" y="2742"/>
                  </a:cubicBezTo>
                  <a:cubicBezTo>
                    <a:pt x="3076" y="2732"/>
                    <a:pt x="3066" y="2699"/>
                    <a:pt x="3066" y="2690"/>
                  </a:cubicBezTo>
                  <a:cubicBezTo>
                    <a:pt x="3066" y="2681"/>
                    <a:pt x="3072" y="2667"/>
                    <a:pt x="3072" y="2651"/>
                  </a:cubicBezTo>
                  <a:cubicBezTo>
                    <a:pt x="3072" y="2635"/>
                    <a:pt x="3052" y="2609"/>
                    <a:pt x="3056" y="2595"/>
                  </a:cubicBezTo>
                  <a:cubicBezTo>
                    <a:pt x="3060" y="2581"/>
                    <a:pt x="3052" y="2541"/>
                    <a:pt x="3064" y="2526"/>
                  </a:cubicBezTo>
                  <a:cubicBezTo>
                    <a:pt x="3076" y="2511"/>
                    <a:pt x="3084" y="2487"/>
                    <a:pt x="3084" y="2487"/>
                  </a:cubicBezTo>
                  <a:cubicBezTo>
                    <a:pt x="3094" y="2481"/>
                    <a:pt x="3094" y="2481"/>
                    <a:pt x="3094" y="2481"/>
                  </a:cubicBezTo>
                  <a:cubicBezTo>
                    <a:pt x="3107" y="2468"/>
                    <a:pt x="3107" y="2468"/>
                    <a:pt x="3107" y="2468"/>
                  </a:cubicBezTo>
                  <a:cubicBezTo>
                    <a:pt x="3113" y="2452"/>
                    <a:pt x="3113" y="2452"/>
                    <a:pt x="3113" y="2452"/>
                  </a:cubicBezTo>
                  <a:cubicBezTo>
                    <a:pt x="3122" y="2458"/>
                    <a:pt x="3122" y="2458"/>
                    <a:pt x="3122" y="2458"/>
                  </a:cubicBezTo>
                  <a:cubicBezTo>
                    <a:pt x="3125" y="2444"/>
                    <a:pt x="3125" y="2444"/>
                    <a:pt x="3125" y="2444"/>
                  </a:cubicBezTo>
                  <a:cubicBezTo>
                    <a:pt x="3125" y="2444"/>
                    <a:pt x="3155" y="2448"/>
                    <a:pt x="3160" y="2442"/>
                  </a:cubicBezTo>
                  <a:cubicBezTo>
                    <a:pt x="3165" y="2436"/>
                    <a:pt x="3161" y="2425"/>
                    <a:pt x="3161" y="2425"/>
                  </a:cubicBezTo>
                  <a:cubicBezTo>
                    <a:pt x="3174" y="2426"/>
                    <a:pt x="3174" y="2426"/>
                    <a:pt x="3174" y="2426"/>
                  </a:cubicBezTo>
                  <a:cubicBezTo>
                    <a:pt x="3178" y="2420"/>
                    <a:pt x="3178" y="2420"/>
                    <a:pt x="3178" y="2420"/>
                  </a:cubicBezTo>
                  <a:cubicBezTo>
                    <a:pt x="3189" y="2419"/>
                    <a:pt x="3189" y="2419"/>
                    <a:pt x="3189" y="2419"/>
                  </a:cubicBezTo>
                  <a:cubicBezTo>
                    <a:pt x="3206" y="2398"/>
                    <a:pt x="3206" y="2398"/>
                    <a:pt x="3206" y="2398"/>
                  </a:cubicBezTo>
                  <a:cubicBezTo>
                    <a:pt x="3206" y="2398"/>
                    <a:pt x="3210" y="2378"/>
                    <a:pt x="3229" y="2373"/>
                  </a:cubicBezTo>
                  <a:cubicBezTo>
                    <a:pt x="3248" y="2368"/>
                    <a:pt x="3259" y="2379"/>
                    <a:pt x="3268" y="2370"/>
                  </a:cubicBezTo>
                  <a:cubicBezTo>
                    <a:pt x="3277" y="2361"/>
                    <a:pt x="3283" y="2344"/>
                    <a:pt x="3283" y="2344"/>
                  </a:cubicBezTo>
                  <a:cubicBezTo>
                    <a:pt x="3293" y="2346"/>
                    <a:pt x="3293" y="2346"/>
                    <a:pt x="3293" y="2346"/>
                  </a:cubicBezTo>
                  <a:cubicBezTo>
                    <a:pt x="3298" y="2331"/>
                    <a:pt x="3298" y="2331"/>
                    <a:pt x="3298" y="2331"/>
                  </a:cubicBezTo>
                  <a:cubicBezTo>
                    <a:pt x="3352" y="2328"/>
                    <a:pt x="3352" y="2328"/>
                    <a:pt x="3352" y="2328"/>
                  </a:cubicBezTo>
                  <a:cubicBezTo>
                    <a:pt x="3355" y="2312"/>
                    <a:pt x="3355" y="2312"/>
                    <a:pt x="3355" y="2312"/>
                  </a:cubicBezTo>
                  <a:cubicBezTo>
                    <a:pt x="3330" y="2314"/>
                    <a:pt x="3330" y="2314"/>
                    <a:pt x="3330" y="2314"/>
                  </a:cubicBezTo>
                  <a:cubicBezTo>
                    <a:pt x="3330" y="2314"/>
                    <a:pt x="3344" y="2309"/>
                    <a:pt x="3343" y="2302"/>
                  </a:cubicBezTo>
                  <a:cubicBezTo>
                    <a:pt x="3342" y="2295"/>
                    <a:pt x="3332" y="2288"/>
                    <a:pt x="3332" y="2288"/>
                  </a:cubicBezTo>
                  <a:cubicBezTo>
                    <a:pt x="3355" y="2284"/>
                    <a:pt x="3355" y="2284"/>
                    <a:pt x="3355" y="2284"/>
                  </a:cubicBezTo>
                  <a:cubicBezTo>
                    <a:pt x="3371" y="2290"/>
                    <a:pt x="3371" y="2290"/>
                    <a:pt x="3371" y="2290"/>
                  </a:cubicBezTo>
                  <a:cubicBezTo>
                    <a:pt x="3394" y="2266"/>
                    <a:pt x="3394" y="2266"/>
                    <a:pt x="3394" y="2266"/>
                  </a:cubicBezTo>
                  <a:cubicBezTo>
                    <a:pt x="3357" y="2265"/>
                    <a:pt x="3357" y="2265"/>
                    <a:pt x="3357" y="2265"/>
                  </a:cubicBezTo>
                  <a:cubicBezTo>
                    <a:pt x="3355" y="2248"/>
                    <a:pt x="3355" y="2248"/>
                    <a:pt x="3355" y="2248"/>
                  </a:cubicBezTo>
                  <a:cubicBezTo>
                    <a:pt x="3364" y="2257"/>
                    <a:pt x="3364" y="2257"/>
                    <a:pt x="3364" y="2257"/>
                  </a:cubicBezTo>
                  <a:cubicBezTo>
                    <a:pt x="3394" y="2246"/>
                    <a:pt x="3394" y="2246"/>
                    <a:pt x="3394" y="2246"/>
                  </a:cubicBezTo>
                  <a:cubicBezTo>
                    <a:pt x="3397" y="2207"/>
                    <a:pt x="3397" y="2207"/>
                    <a:pt x="3397" y="2207"/>
                  </a:cubicBezTo>
                  <a:cubicBezTo>
                    <a:pt x="3378" y="2215"/>
                    <a:pt x="3378" y="2215"/>
                    <a:pt x="3378" y="2215"/>
                  </a:cubicBezTo>
                  <a:cubicBezTo>
                    <a:pt x="3374" y="2197"/>
                    <a:pt x="3374" y="2197"/>
                    <a:pt x="3374" y="2197"/>
                  </a:cubicBezTo>
                  <a:cubicBezTo>
                    <a:pt x="3358" y="2186"/>
                    <a:pt x="3358" y="2186"/>
                    <a:pt x="3358" y="2186"/>
                  </a:cubicBezTo>
                  <a:cubicBezTo>
                    <a:pt x="3387" y="2201"/>
                    <a:pt x="3387" y="2201"/>
                    <a:pt x="3387" y="2201"/>
                  </a:cubicBezTo>
                  <a:cubicBezTo>
                    <a:pt x="3394" y="2195"/>
                    <a:pt x="3394" y="2195"/>
                    <a:pt x="3394" y="2195"/>
                  </a:cubicBezTo>
                  <a:cubicBezTo>
                    <a:pt x="3381" y="2185"/>
                    <a:pt x="3381" y="2185"/>
                    <a:pt x="3381" y="2185"/>
                  </a:cubicBezTo>
                  <a:cubicBezTo>
                    <a:pt x="3399" y="2185"/>
                    <a:pt x="3399" y="2185"/>
                    <a:pt x="3399" y="2185"/>
                  </a:cubicBezTo>
                  <a:cubicBezTo>
                    <a:pt x="3399" y="2185"/>
                    <a:pt x="3377" y="2156"/>
                    <a:pt x="3377" y="2149"/>
                  </a:cubicBezTo>
                  <a:cubicBezTo>
                    <a:pt x="3377" y="2142"/>
                    <a:pt x="3382" y="2139"/>
                    <a:pt x="3382" y="2139"/>
                  </a:cubicBezTo>
                  <a:cubicBezTo>
                    <a:pt x="3382" y="2139"/>
                    <a:pt x="3365" y="2128"/>
                    <a:pt x="3367" y="2125"/>
                  </a:cubicBezTo>
                  <a:cubicBezTo>
                    <a:pt x="3369" y="2122"/>
                    <a:pt x="3388" y="2110"/>
                    <a:pt x="3388" y="2110"/>
                  </a:cubicBezTo>
                  <a:cubicBezTo>
                    <a:pt x="3383" y="2128"/>
                    <a:pt x="3383" y="2128"/>
                    <a:pt x="3383" y="2128"/>
                  </a:cubicBezTo>
                  <a:cubicBezTo>
                    <a:pt x="3404" y="2145"/>
                    <a:pt x="3404" y="2145"/>
                    <a:pt x="3404" y="2145"/>
                  </a:cubicBezTo>
                  <a:cubicBezTo>
                    <a:pt x="3404" y="2145"/>
                    <a:pt x="3412" y="2121"/>
                    <a:pt x="3412" y="2108"/>
                  </a:cubicBezTo>
                  <a:cubicBezTo>
                    <a:pt x="3412" y="2095"/>
                    <a:pt x="3450" y="2064"/>
                    <a:pt x="3449" y="2072"/>
                  </a:cubicBezTo>
                  <a:cubicBezTo>
                    <a:pt x="3448" y="2080"/>
                    <a:pt x="3425" y="2113"/>
                    <a:pt x="3425" y="2113"/>
                  </a:cubicBezTo>
                  <a:cubicBezTo>
                    <a:pt x="3419" y="2135"/>
                    <a:pt x="3419" y="2135"/>
                    <a:pt x="3419" y="2135"/>
                  </a:cubicBezTo>
                  <a:cubicBezTo>
                    <a:pt x="3432" y="2136"/>
                    <a:pt x="3432" y="2136"/>
                    <a:pt x="3432" y="2136"/>
                  </a:cubicBezTo>
                  <a:cubicBezTo>
                    <a:pt x="3432" y="2136"/>
                    <a:pt x="3429" y="2158"/>
                    <a:pt x="3424" y="2162"/>
                  </a:cubicBezTo>
                  <a:cubicBezTo>
                    <a:pt x="3419" y="2166"/>
                    <a:pt x="3401" y="2200"/>
                    <a:pt x="3408" y="2200"/>
                  </a:cubicBezTo>
                  <a:cubicBezTo>
                    <a:pt x="3415" y="2200"/>
                    <a:pt x="3425" y="2176"/>
                    <a:pt x="3431" y="2171"/>
                  </a:cubicBezTo>
                  <a:cubicBezTo>
                    <a:pt x="3437" y="2166"/>
                    <a:pt x="3467" y="2150"/>
                    <a:pt x="3469" y="2137"/>
                  </a:cubicBezTo>
                  <a:cubicBezTo>
                    <a:pt x="3471" y="2124"/>
                    <a:pt x="3467" y="2103"/>
                    <a:pt x="3467" y="2092"/>
                  </a:cubicBezTo>
                  <a:cubicBezTo>
                    <a:pt x="3467" y="2081"/>
                    <a:pt x="3471" y="2055"/>
                    <a:pt x="3478" y="2052"/>
                  </a:cubicBezTo>
                  <a:cubicBezTo>
                    <a:pt x="3485" y="2049"/>
                    <a:pt x="3480" y="2054"/>
                    <a:pt x="3477" y="2067"/>
                  </a:cubicBezTo>
                  <a:cubicBezTo>
                    <a:pt x="3474" y="2080"/>
                    <a:pt x="3486" y="2084"/>
                    <a:pt x="3486" y="2084"/>
                  </a:cubicBezTo>
                  <a:cubicBezTo>
                    <a:pt x="3486" y="2084"/>
                    <a:pt x="3480" y="2109"/>
                    <a:pt x="3483" y="2109"/>
                  </a:cubicBezTo>
                  <a:cubicBezTo>
                    <a:pt x="3486" y="2109"/>
                    <a:pt x="3517" y="2070"/>
                    <a:pt x="3527" y="2060"/>
                  </a:cubicBezTo>
                  <a:cubicBezTo>
                    <a:pt x="3537" y="2050"/>
                    <a:pt x="3559" y="2034"/>
                    <a:pt x="3556" y="2030"/>
                  </a:cubicBezTo>
                  <a:cubicBezTo>
                    <a:pt x="3553" y="2026"/>
                    <a:pt x="3544" y="2029"/>
                    <a:pt x="3544" y="2019"/>
                  </a:cubicBezTo>
                  <a:cubicBezTo>
                    <a:pt x="3544" y="2009"/>
                    <a:pt x="3562" y="2014"/>
                    <a:pt x="3582" y="2014"/>
                  </a:cubicBezTo>
                  <a:cubicBezTo>
                    <a:pt x="3602" y="2014"/>
                    <a:pt x="3648" y="1992"/>
                    <a:pt x="3648" y="1992"/>
                  </a:cubicBezTo>
                  <a:cubicBezTo>
                    <a:pt x="3635" y="1986"/>
                    <a:pt x="3635" y="1986"/>
                    <a:pt x="3635" y="1986"/>
                  </a:cubicBezTo>
                  <a:cubicBezTo>
                    <a:pt x="3635" y="1986"/>
                    <a:pt x="3611" y="1997"/>
                    <a:pt x="3599" y="1998"/>
                  </a:cubicBezTo>
                  <a:cubicBezTo>
                    <a:pt x="3587" y="1999"/>
                    <a:pt x="3567" y="2007"/>
                    <a:pt x="3570" y="1994"/>
                  </a:cubicBezTo>
                  <a:cubicBezTo>
                    <a:pt x="3573" y="1981"/>
                    <a:pt x="3608" y="1978"/>
                    <a:pt x="3608" y="1978"/>
                  </a:cubicBezTo>
                  <a:cubicBezTo>
                    <a:pt x="3668" y="1977"/>
                    <a:pt x="3668" y="1977"/>
                    <a:pt x="3668" y="1977"/>
                  </a:cubicBezTo>
                  <a:cubicBezTo>
                    <a:pt x="3697" y="1950"/>
                    <a:pt x="3697" y="1950"/>
                    <a:pt x="3697" y="1950"/>
                  </a:cubicBezTo>
                  <a:cubicBezTo>
                    <a:pt x="3703" y="1960"/>
                    <a:pt x="3703" y="1960"/>
                    <a:pt x="3703" y="1960"/>
                  </a:cubicBezTo>
                  <a:cubicBezTo>
                    <a:pt x="3721" y="1951"/>
                    <a:pt x="3721" y="1951"/>
                    <a:pt x="3721" y="1951"/>
                  </a:cubicBezTo>
                  <a:cubicBezTo>
                    <a:pt x="3719" y="1974"/>
                    <a:pt x="3719" y="1974"/>
                    <a:pt x="3719" y="1974"/>
                  </a:cubicBezTo>
                  <a:cubicBezTo>
                    <a:pt x="3739" y="1961"/>
                    <a:pt x="3739" y="1961"/>
                    <a:pt x="3739" y="1961"/>
                  </a:cubicBezTo>
                  <a:cubicBezTo>
                    <a:pt x="3755" y="1957"/>
                    <a:pt x="3755" y="1957"/>
                    <a:pt x="3755" y="1957"/>
                  </a:cubicBezTo>
                  <a:cubicBezTo>
                    <a:pt x="3760" y="1935"/>
                    <a:pt x="3760" y="1935"/>
                    <a:pt x="3760" y="1935"/>
                  </a:cubicBezTo>
                  <a:cubicBezTo>
                    <a:pt x="3751" y="1927"/>
                    <a:pt x="3751" y="1927"/>
                    <a:pt x="3751" y="1927"/>
                  </a:cubicBezTo>
                  <a:cubicBezTo>
                    <a:pt x="3749" y="1946"/>
                    <a:pt x="3749" y="1946"/>
                    <a:pt x="3749" y="1946"/>
                  </a:cubicBezTo>
                  <a:cubicBezTo>
                    <a:pt x="3733" y="1949"/>
                    <a:pt x="3733" y="1949"/>
                    <a:pt x="3733" y="1949"/>
                  </a:cubicBezTo>
                  <a:cubicBezTo>
                    <a:pt x="3733" y="1930"/>
                    <a:pt x="3733" y="1930"/>
                    <a:pt x="3733" y="1930"/>
                  </a:cubicBezTo>
                  <a:cubicBezTo>
                    <a:pt x="3720" y="1916"/>
                    <a:pt x="3720" y="1916"/>
                    <a:pt x="3720" y="1916"/>
                  </a:cubicBezTo>
                  <a:cubicBezTo>
                    <a:pt x="3736" y="1908"/>
                    <a:pt x="3736" y="1908"/>
                    <a:pt x="3736" y="1908"/>
                  </a:cubicBezTo>
                  <a:cubicBezTo>
                    <a:pt x="3740" y="1885"/>
                    <a:pt x="3740" y="1885"/>
                    <a:pt x="3740" y="1885"/>
                  </a:cubicBezTo>
                  <a:cubicBezTo>
                    <a:pt x="3740" y="1885"/>
                    <a:pt x="3755" y="1868"/>
                    <a:pt x="3765" y="1863"/>
                  </a:cubicBezTo>
                  <a:cubicBezTo>
                    <a:pt x="3775" y="1858"/>
                    <a:pt x="3780" y="1840"/>
                    <a:pt x="3780" y="1840"/>
                  </a:cubicBezTo>
                  <a:cubicBezTo>
                    <a:pt x="3799" y="1845"/>
                    <a:pt x="3799" y="1845"/>
                    <a:pt x="3799" y="1845"/>
                  </a:cubicBezTo>
                  <a:cubicBezTo>
                    <a:pt x="3809" y="1830"/>
                    <a:pt x="3809" y="1830"/>
                    <a:pt x="3809" y="1830"/>
                  </a:cubicBezTo>
                  <a:cubicBezTo>
                    <a:pt x="3809" y="1830"/>
                    <a:pt x="3812" y="1841"/>
                    <a:pt x="3821" y="1835"/>
                  </a:cubicBezTo>
                  <a:cubicBezTo>
                    <a:pt x="3830" y="1829"/>
                    <a:pt x="3857" y="1805"/>
                    <a:pt x="3857" y="1805"/>
                  </a:cubicBezTo>
                  <a:cubicBezTo>
                    <a:pt x="3858" y="1823"/>
                    <a:pt x="3858" y="1823"/>
                    <a:pt x="3858" y="1823"/>
                  </a:cubicBezTo>
                  <a:cubicBezTo>
                    <a:pt x="3858" y="1823"/>
                    <a:pt x="3889" y="1804"/>
                    <a:pt x="3898" y="1799"/>
                  </a:cubicBezTo>
                  <a:cubicBezTo>
                    <a:pt x="3907" y="1794"/>
                    <a:pt x="3939" y="1793"/>
                    <a:pt x="3939" y="1793"/>
                  </a:cubicBezTo>
                  <a:cubicBezTo>
                    <a:pt x="3939" y="1771"/>
                    <a:pt x="3939" y="1771"/>
                    <a:pt x="3939" y="1771"/>
                  </a:cubicBezTo>
                  <a:cubicBezTo>
                    <a:pt x="3939" y="1771"/>
                    <a:pt x="3940" y="1771"/>
                    <a:pt x="3940" y="1772"/>
                  </a:cubicBezTo>
                  <a:cubicBezTo>
                    <a:pt x="3944" y="1774"/>
                    <a:pt x="3954" y="1778"/>
                    <a:pt x="3966" y="1773"/>
                  </a:cubicBezTo>
                  <a:cubicBezTo>
                    <a:pt x="3981" y="1767"/>
                    <a:pt x="3993" y="1751"/>
                    <a:pt x="3993" y="1751"/>
                  </a:cubicBezTo>
                  <a:cubicBezTo>
                    <a:pt x="3999" y="1765"/>
                    <a:pt x="3999" y="1765"/>
                    <a:pt x="3999" y="1765"/>
                  </a:cubicBezTo>
                  <a:cubicBezTo>
                    <a:pt x="3999" y="1765"/>
                    <a:pt x="4031" y="1751"/>
                    <a:pt x="4036" y="1747"/>
                  </a:cubicBezTo>
                  <a:cubicBezTo>
                    <a:pt x="4041" y="1743"/>
                    <a:pt x="4062" y="1737"/>
                    <a:pt x="4062" y="1737"/>
                  </a:cubicBezTo>
                  <a:cubicBezTo>
                    <a:pt x="4072" y="1738"/>
                    <a:pt x="4072" y="1738"/>
                    <a:pt x="4072" y="1738"/>
                  </a:cubicBezTo>
                  <a:cubicBezTo>
                    <a:pt x="4043" y="1761"/>
                    <a:pt x="4043" y="1761"/>
                    <a:pt x="4043" y="1761"/>
                  </a:cubicBezTo>
                  <a:cubicBezTo>
                    <a:pt x="4104" y="1755"/>
                    <a:pt x="4104" y="1755"/>
                    <a:pt x="4104" y="1755"/>
                  </a:cubicBezTo>
                  <a:cubicBezTo>
                    <a:pt x="4104" y="1755"/>
                    <a:pt x="4075" y="1758"/>
                    <a:pt x="4074" y="1764"/>
                  </a:cubicBezTo>
                  <a:cubicBezTo>
                    <a:pt x="4073" y="1770"/>
                    <a:pt x="4069" y="1777"/>
                    <a:pt x="4069" y="1777"/>
                  </a:cubicBezTo>
                  <a:cubicBezTo>
                    <a:pt x="4069" y="1777"/>
                    <a:pt x="4050" y="1766"/>
                    <a:pt x="4043" y="1769"/>
                  </a:cubicBezTo>
                  <a:cubicBezTo>
                    <a:pt x="4036" y="1772"/>
                    <a:pt x="3968" y="1806"/>
                    <a:pt x="3965" y="1814"/>
                  </a:cubicBezTo>
                  <a:cubicBezTo>
                    <a:pt x="3962" y="1822"/>
                    <a:pt x="3956" y="1846"/>
                    <a:pt x="3961" y="1847"/>
                  </a:cubicBezTo>
                  <a:cubicBezTo>
                    <a:pt x="3966" y="1848"/>
                    <a:pt x="3973" y="1842"/>
                    <a:pt x="3973" y="1842"/>
                  </a:cubicBezTo>
                  <a:cubicBezTo>
                    <a:pt x="3973" y="1842"/>
                    <a:pt x="3971" y="1858"/>
                    <a:pt x="3980" y="1856"/>
                  </a:cubicBezTo>
                  <a:cubicBezTo>
                    <a:pt x="3989" y="1854"/>
                    <a:pt x="3995" y="1841"/>
                    <a:pt x="3995" y="1841"/>
                  </a:cubicBezTo>
                  <a:cubicBezTo>
                    <a:pt x="3995" y="1841"/>
                    <a:pt x="4021" y="1838"/>
                    <a:pt x="4035" y="1826"/>
                  </a:cubicBezTo>
                  <a:cubicBezTo>
                    <a:pt x="4049" y="1814"/>
                    <a:pt x="4064" y="1793"/>
                    <a:pt x="4064" y="1793"/>
                  </a:cubicBezTo>
                  <a:cubicBezTo>
                    <a:pt x="4064" y="1793"/>
                    <a:pt x="4064" y="1809"/>
                    <a:pt x="4078" y="1806"/>
                  </a:cubicBezTo>
                  <a:cubicBezTo>
                    <a:pt x="4092" y="1803"/>
                    <a:pt x="4126" y="1788"/>
                    <a:pt x="4137" y="1785"/>
                  </a:cubicBezTo>
                  <a:cubicBezTo>
                    <a:pt x="4148" y="1782"/>
                    <a:pt x="4200" y="1769"/>
                    <a:pt x="4200" y="1769"/>
                  </a:cubicBezTo>
                  <a:cubicBezTo>
                    <a:pt x="4191" y="1759"/>
                    <a:pt x="4191" y="1759"/>
                    <a:pt x="4191" y="1759"/>
                  </a:cubicBezTo>
                  <a:cubicBezTo>
                    <a:pt x="4195" y="1746"/>
                    <a:pt x="4195" y="1746"/>
                    <a:pt x="4195" y="1746"/>
                  </a:cubicBezTo>
                  <a:cubicBezTo>
                    <a:pt x="4174" y="1750"/>
                    <a:pt x="4174" y="1750"/>
                    <a:pt x="4174" y="1750"/>
                  </a:cubicBezTo>
                  <a:cubicBezTo>
                    <a:pt x="4173" y="1734"/>
                    <a:pt x="4173" y="1734"/>
                    <a:pt x="4173" y="1734"/>
                  </a:cubicBezTo>
                  <a:cubicBezTo>
                    <a:pt x="4173" y="1734"/>
                    <a:pt x="4149" y="1748"/>
                    <a:pt x="4143" y="1747"/>
                  </a:cubicBezTo>
                  <a:cubicBezTo>
                    <a:pt x="4137" y="1746"/>
                    <a:pt x="4139" y="1737"/>
                    <a:pt x="4139" y="1737"/>
                  </a:cubicBezTo>
                  <a:cubicBezTo>
                    <a:pt x="4139" y="1737"/>
                    <a:pt x="4107" y="1740"/>
                    <a:pt x="4101" y="1735"/>
                  </a:cubicBezTo>
                  <a:cubicBezTo>
                    <a:pt x="4095" y="1730"/>
                    <a:pt x="4087" y="1720"/>
                    <a:pt x="4096" y="1720"/>
                  </a:cubicBezTo>
                  <a:cubicBezTo>
                    <a:pt x="4105" y="1720"/>
                    <a:pt x="4092" y="1707"/>
                    <a:pt x="4081" y="1710"/>
                  </a:cubicBezTo>
                  <a:cubicBezTo>
                    <a:pt x="4070" y="1713"/>
                    <a:pt x="4066" y="1694"/>
                    <a:pt x="4066" y="1689"/>
                  </a:cubicBezTo>
                  <a:cubicBezTo>
                    <a:pt x="4066" y="1684"/>
                    <a:pt x="4078" y="1671"/>
                    <a:pt x="4078" y="1671"/>
                  </a:cubicBezTo>
                  <a:cubicBezTo>
                    <a:pt x="4062" y="1670"/>
                    <a:pt x="4062" y="1670"/>
                    <a:pt x="4062" y="1670"/>
                  </a:cubicBezTo>
                  <a:cubicBezTo>
                    <a:pt x="4062" y="1670"/>
                    <a:pt x="4081" y="1655"/>
                    <a:pt x="4088" y="1647"/>
                  </a:cubicBezTo>
                  <a:cubicBezTo>
                    <a:pt x="4095" y="1639"/>
                    <a:pt x="4114" y="1620"/>
                    <a:pt x="4114" y="1620"/>
                  </a:cubicBezTo>
                  <a:cubicBezTo>
                    <a:pt x="4104" y="1617"/>
                    <a:pt x="4104" y="1617"/>
                    <a:pt x="4104" y="1617"/>
                  </a:cubicBezTo>
                  <a:cubicBezTo>
                    <a:pt x="4090" y="1635"/>
                    <a:pt x="4090" y="1635"/>
                    <a:pt x="4090" y="1635"/>
                  </a:cubicBezTo>
                  <a:cubicBezTo>
                    <a:pt x="4075" y="1627"/>
                    <a:pt x="4075" y="1627"/>
                    <a:pt x="4075" y="1627"/>
                  </a:cubicBezTo>
                  <a:cubicBezTo>
                    <a:pt x="4056" y="1641"/>
                    <a:pt x="4056" y="1641"/>
                    <a:pt x="4056" y="1641"/>
                  </a:cubicBezTo>
                  <a:cubicBezTo>
                    <a:pt x="4053" y="1628"/>
                    <a:pt x="4053" y="1628"/>
                    <a:pt x="4053" y="1628"/>
                  </a:cubicBezTo>
                  <a:cubicBezTo>
                    <a:pt x="4034" y="1621"/>
                    <a:pt x="4034" y="1621"/>
                    <a:pt x="4034" y="1621"/>
                  </a:cubicBezTo>
                  <a:cubicBezTo>
                    <a:pt x="4019" y="1623"/>
                    <a:pt x="4019" y="1623"/>
                    <a:pt x="4019" y="1623"/>
                  </a:cubicBezTo>
                  <a:cubicBezTo>
                    <a:pt x="4056" y="1610"/>
                    <a:pt x="4056" y="1610"/>
                    <a:pt x="4056" y="1610"/>
                  </a:cubicBezTo>
                  <a:cubicBezTo>
                    <a:pt x="4056" y="1610"/>
                    <a:pt x="4063" y="1620"/>
                    <a:pt x="4073" y="1619"/>
                  </a:cubicBezTo>
                  <a:cubicBezTo>
                    <a:pt x="4083" y="1618"/>
                    <a:pt x="4106" y="1600"/>
                    <a:pt x="4106" y="1600"/>
                  </a:cubicBezTo>
                  <a:cubicBezTo>
                    <a:pt x="4106" y="1600"/>
                    <a:pt x="4132" y="1605"/>
                    <a:pt x="4133" y="1598"/>
                  </a:cubicBezTo>
                  <a:cubicBezTo>
                    <a:pt x="4134" y="1591"/>
                    <a:pt x="4126" y="1580"/>
                    <a:pt x="4126" y="1580"/>
                  </a:cubicBezTo>
                  <a:cubicBezTo>
                    <a:pt x="4142" y="1579"/>
                    <a:pt x="4142" y="1579"/>
                    <a:pt x="4142" y="1579"/>
                  </a:cubicBezTo>
                  <a:cubicBezTo>
                    <a:pt x="4142" y="1579"/>
                    <a:pt x="4133" y="1556"/>
                    <a:pt x="4091" y="1556"/>
                  </a:cubicBezTo>
                  <a:cubicBezTo>
                    <a:pt x="4049" y="1556"/>
                    <a:pt x="3999" y="1577"/>
                    <a:pt x="3976" y="1582"/>
                  </a:cubicBezTo>
                  <a:cubicBezTo>
                    <a:pt x="3953" y="1587"/>
                    <a:pt x="3916" y="1610"/>
                    <a:pt x="3909" y="1616"/>
                  </a:cubicBezTo>
                  <a:cubicBezTo>
                    <a:pt x="3902" y="1622"/>
                    <a:pt x="3860" y="1655"/>
                    <a:pt x="3850" y="1663"/>
                  </a:cubicBezTo>
                  <a:cubicBezTo>
                    <a:pt x="3840" y="1671"/>
                    <a:pt x="3804" y="1676"/>
                    <a:pt x="3804" y="1676"/>
                  </a:cubicBezTo>
                  <a:cubicBezTo>
                    <a:pt x="3804" y="1676"/>
                    <a:pt x="3854" y="1648"/>
                    <a:pt x="3863" y="1639"/>
                  </a:cubicBezTo>
                  <a:cubicBezTo>
                    <a:pt x="3872" y="1630"/>
                    <a:pt x="3885" y="1616"/>
                    <a:pt x="3885" y="1616"/>
                  </a:cubicBezTo>
                  <a:cubicBezTo>
                    <a:pt x="3870" y="1607"/>
                    <a:pt x="3870" y="1607"/>
                    <a:pt x="3870" y="1607"/>
                  </a:cubicBezTo>
                  <a:cubicBezTo>
                    <a:pt x="3870" y="1607"/>
                    <a:pt x="3891" y="1615"/>
                    <a:pt x="3896" y="1610"/>
                  </a:cubicBezTo>
                  <a:cubicBezTo>
                    <a:pt x="3901" y="1605"/>
                    <a:pt x="3951" y="1572"/>
                    <a:pt x="3963" y="1563"/>
                  </a:cubicBezTo>
                  <a:cubicBezTo>
                    <a:pt x="3975" y="1554"/>
                    <a:pt x="4013" y="1548"/>
                    <a:pt x="4017" y="1550"/>
                  </a:cubicBezTo>
                  <a:cubicBezTo>
                    <a:pt x="4021" y="1552"/>
                    <a:pt x="4043" y="1514"/>
                    <a:pt x="4073" y="1509"/>
                  </a:cubicBezTo>
                  <a:cubicBezTo>
                    <a:pt x="4103" y="1504"/>
                    <a:pt x="4179" y="1500"/>
                    <a:pt x="4195" y="1500"/>
                  </a:cubicBezTo>
                  <a:cubicBezTo>
                    <a:pt x="4211" y="1500"/>
                    <a:pt x="4270" y="1517"/>
                    <a:pt x="4280" y="1515"/>
                  </a:cubicBezTo>
                  <a:cubicBezTo>
                    <a:pt x="4290" y="1513"/>
                    <a:pt x="4311" y="1502"/>
                    <a:pt x="4321" y="1501"/>
                  </a:cubicBezTo>
                  <a:cubicBezTo>
                    <a:pt x="4331" y="1500"/>
                    <a:pt x="4362" y="1495"/>
                    <a:pt x="4374" y="1486"/>
                  </a:cubicBezTo>
                  <a:cubicBezTo>
                    <a:pt x="4386" y="1477"/>
                    <a:pt x="4412" y="1452"/>
                    <a:pt x="4422" y="1450"/>
                  </a:cubicBezTo>
                  <a:cubicBezTo>
                    <a:pt x="4432" y="1448"/>
                    <a:pt x="4449" y="1449"/>
                    <a:pt x="4449" y="1449"/>
                  </a:cubicBezTo>
                  <a:cubicBezTo>
                    <a:pt x="4449" y="1449"/>
                    <a:pt x="4462" y="1437"/>
                    <a:pt x="4472" y="1437"/>
                  </a:cubicBezTo>
                  <a:cubicBezTo>
                    <a:pt x="4482" y="1437"/>
                    <a:pt x="4483" y="1442"/>
                    <a:pt x="4500" y="1434"/>
                  </a:cubicBezTo>
                  <a:cubicBezTo>
                    <a:pt x="4500" y="1434"/>
                    <a:pt x="4565" y="1417"/>
                    <a:pt x="4559" y="1407"/>
                  </a:cubicBezTo>
                  <a:cubicBezTo>
                    <a:pt x="4553" y="1397"/>
                    <a:pt x="4534" y="1384"/>
                    <a:pt x="4534" y="1384"/>
                  </a:cubicBezTo>
                  <a:cubicBezTo>
                    <a:pt x="4534" y="1384"/>
                    <a:pt x="4558" y="1386"/>
                    <a:pt x="4558" y="1377"/>
                  </a:cubicBezTo>
                  <a:cubicBezTo>
                    <a:pt x="4558" y="1368"/>
                    <a:pt x="4554" y="1356"/>
                    <a:pt x="4554" y="1356"/>
                  </a:cubicBezTo>
                  <a:cubicBezTo>
                    <a:pt x="4554" y="1356"/>
                    <a:pt x="4582" y="1360"/>
                    <a:pt x="4576" y="1344"/>
                  </a:cubicBezTo>
                  <a:cubicBezTo>
                    <a:pt x="4570" y="1328"/>
                    <a:pt x="4547" y="1317"/>
                    <a:pt x="4540" y="1325"/>
                  </a:cubicBezTo>
                  <a:cubicBezTo>
                    <a:pt x="4533" y="1333"/>
                    <a:pt x="4534" y="1348"/>
                    <a:pt x="4519" y="1337"/>
                  </a:cubicBezTo>
                  <a:cubicBezTo>
                    <a:pt x="4504" y="1326"/>
                    <a:pt x="4528" y="1319"/>
                    <a:pt x="4528" y="1319"/>
                  </a:cubicBezTo>
                  <a:cubicBezTo>
                    <a:pt x="4525" y="1302"/>
                    <a:pt x="4525" y="1302"/>
                    <a:pt x="4525" y="1302"/>
                  </a:cubicBezTo>
                  <a:cubicBezTo>
                    <a:pt x="4505" y="1301"/>
                    <a:pt x="4505" y="1301"/>
                    <a:pt x="4505" y="1301"/>
                  </a:cubicBezTo>
                  <a:cubicBezTo>
                    <a:pt x="4505" y="1301"/>
                    <a:pt x="4459" y="1321"/>
                    <a:pt x="4456" y="1325"/>
                  </a:cubicBezTo>
                  <a:cubicBezTo>
                    <a:pt x="4453" y="1329"/>
                    <a:pt x="4417" y="1333"/>
                    <a:pt x="4417" y="1333"/>
                  </a:cubicBezTo>
                  <a:cubicBezTo>
                    <a:pt x="4396" y="1347"/>
                    <a:pt x="4396" y="1347"/>
                    <a:pt x="4396" y="1347"/>
                  </a:cubicBezTo>
                  <a:cubicBezTo>
                    <a:pt x="4404" y="1332"/>
                    <a:pt x="4404" y="1332"/>
                    <a:pt x="4404" y="1332"/>
                  </a:cubicBezTo>
                  <a:cubicBezTo>
                    <a:pt x="4389" y="1321"/>
                    <a:pt x="4389" y="1321"/>
                    <a:pt x="4389" y="1321"/>
                  </a:cubicBezTo>
                  <a:cubicBezTo>
                    <a:pt x="4412" y="1326"/>
                    <a:pt x="4412" y="1326"/>
                    <a:pt x="4412" y="1326"/>
                  </a:cubicBezTo>
                  <a:cubicBezTo>
                    <a:pt x="4422" y="1318"/>
                    <a:pt x="4422" y="1318"/>
                    <a:pt x="4422" y="1318"/>
                  </a:cubicBezTo>
                  <a:cubicBezTo>
                    <a:pt x="4440" y="1317"/>
                    <a:pt x="4440" y="1317"/>
                    <a:pt x="4440" y="1317"/>
                  </a:cubicBezTo>
                  <a:cubicBezTo>
                    <a:pt x="4442" y="1304"/>
                    <a:pt x="4442" y="1304"/>
                    <a:pt x="4442" y="1304"/>
                  </a:cubicBezTo>
                  <a:cubicBezTo>
                    <a:pt x="4442" y="1304"/>
                    <a:pt x="4463" y="1307"/>
                    <a:pt x="4475" y="1302"/>
                  </a:cubicBezTo>
                  <a:cubicBezTo>
                    <a:pt x="4487" y="1297"/>
                    <a:pt x="4504" y="1288"/>
                    <a:pt x="4504" y="1288"/>
                  </a:cubicBezTo>
                  <a:cubicBezTo>
                    <a:pt x="4504" y="1288"/>
                    <a:pt x="4552" y="1293"/>
                    <a:pt x="4551" y="1288"/>
                  </a:cubicBezTo>
                  <a:cubicBezTo>
                    <a:pt x="4550" y="1283"/>
                    <a:pt x="4532" y="1275"/>
                    <a:pt x="4532" y="1275"/>
                  </a:cubicBezTo>
                  <a:cubicBezTo>
                    <a:pt x="4531" y="1259"/>
                    <a:pt x="4531" y="1259"/>
                    <a:pt x="4531" y="1259"/>
                  </a:cubicBezTo>
                  <a:cubicBezTo>
                    <a:pt x="4531" y="1259"/>
                    <a:pt x="4503" y="1268"/>
                    <a:pt x="4497" y="1267"/>
                  </a:cubicBezTo>
                  <a:cubicBezTo>
                    <a:pt x="4491" y="1266"/>
                    <a:pt x="4489" y="1254"/>
                    <a:pt x="4489" y="1254"/>
                  </a:cubicBezTo>
                  <a:cubicBezTo>
                    <a:pt x="4449" y="1266"/>
                    <a:pt x="4449" y="1266"/>
                    <a:pt x="4449" y="1266"/>
                  </a:cubicBezTo>
                  <a:cubicBezTo>
                    <a:pt x="4451" y="1246"/>
                    <a:pt x="4451" y="1246"/>
                    <a:pt x="4451" y="1246"/>
                  </a:cubicBezTo>
                  <a:cubicBezTo>
                    <a:pt x="4422" y="1256"/>
                    <a:pt x="4422" y="1256"/>
                    <a:pt x="4422" y="1256"/>
                  </a:cubicBezTo>
                  <a:cubicBezTo>
                    <a:pt x="4422" y="1256"/>
                    <a:pt x="4453" y="1221"/>
                    <a:pt x="4445" y="1217"/>
                  </a:cubicBezTo>
                  <a:cubicBezTo>
                    <a:pt x="4437" y="1213"/>
                    <a:pt x="4412" y="1213"/>
                    <a:pt x="4412" y="1213"/>
                  </a:cubicBezTo>
                  <a:cubicBezTo>
                    <a:pt x="4415" y="1197"/>
                    <a:pt x="4415" y="1197"/>
                    <a:pt x="4415" y="1197"/>
                  </a:cubicBezTo>
                  <a:cubicBezTo>
                    <a:pt x="4393" y="1197"/>
                    <a:pt x="4393" y="1197"/>
                    <a:pt x="4393" y="1197"/>
                  </a:cubicBezTo>
                  <a:cubicBezTo>
                    <a:pt x="4402" y="1183"/>
                    <a:pt x="4402" y="1183"/>
                    <a:pt x="4402" y="1183"/>
                  </a:cubicBezTo>
                  <a:cubicBezTo>
                    <a:pt x="4384" y="1167"/>
                    <a:pt x="4384" y="1167"/>
                    <a:pt x="4384" y="1167"/>
                  </a:cubicBezTo>
                  <a:cubicBezTo>
                    <a:pt x="4384" y="1167"/>
                    <a:pt x="4414" y="1174"/>
                    <a:pt x="4422" y="1168"/>
                  </a:cubicBezTo>
                  <a:cubicBezTo>
                    <a:pt x="4430" y="1162"/>
                    <a:pt x="4441" y="1157"/>
                    <a:pt x="4441" y="1157"/>
                  </a:cubicBezTo>
                  <a:cubicBezTo>
                    <a:pt x="4411" y="1139"/>
                    <a:pt x="4411" y="1139"/>
                    <a:pt x="4411" y="1139"/>
                  </a:cubicBezTo>
                  <a:cubicBezTo>
                    <a:pt x="4444" y="1120"/>
                    <a:pt x="4444" y="1120"/>
                    <a:pt x="4444" y="1120"/>
                  </a:cubicBezTo>
                  <a:cubicBezTo>
                    <a:pt x="4411" y="1105"/>
                    <a:pt x="4411" y="1105"/>
                    <a:pt x="4411" y="1105"/>
                  </a:cubicBezTo>
                  <a:cubicBezTo>
                    <a:pt x="4381" y="1106"/>
                    <a:pt x="4381" y="1106"/>
                    <a:pt x="4381" y="1106"/>
                  </a:cubicBezTo>
                  <a:cubicBezTo>
                    <a:pt x="4417" y="1093"/>
                    <a:pt x="4417" y="1093"/>
                    <a:pt x="4417" y="1093"/>
                  </a:cubicBezTo>
                  <a:cubicBezTo>
                    <a:pt x="4392" y="1087"/>
                    <a:pt x="4392" y="1087"/>
                    <a:pt x="4392" y="1087"/>
                  </a:cubicBezTo>
                  <a:cubicBezTo>
                    <a:pt x="4422" y="1073"/>
                    <a:pt x="4422" y="1073"/>
                    <a:pt x="4422" y="1073"/>
                  </a:cubicBezTo>
                  <a:cubicBezTo>
                    <a:pt x="4417" y="1057"/>
                    <a:pt x="4417" y="1057"/>
                    <a:pt x="4417" y="1057"/>
                  </a:cubicBezTo>
                  <a:cubicBezTo>
                    <a:pt x="4395" y="1055"/>
                    <a:pt x="4395" y="1055"/>
                    <a:pt x="4395" y="1055"/>
                  </a:cubicBezTo>
                  <a:cubicBezTo>
                    <a:pt x="4395" y="1055"/>
                    <a:pt x="4413" y="1045"/>
                    <a:pt x="4405" y="1026"/>
                  </a:cubicBezTo>
                  <a:cubicBezTo>
                    <a:pt x="4397" y="1007"/>
                    <a:pt x="4389" y="1010"/>
                    <a:pt x="4389" y="1010"/>
                  </a:cubicBezTo>
                  <a:cubicBezTo>
                    <a:pt x="4398" y="996"/>
                    <a:pt x="4398" y="996"/>
                    <a:pt x="4398" y="996"/>
                  </a:cubicBezTo>
                  <a:cubicBezTo>
                    <a:pt x="4398" y="996"/>
                    <a:pt x="4374" y="1007"/>
                    <a:pt x="4369" y="1014"/>
                  </a:cubicBezTo>
                  <a:cubicBezTo>
                    <a:pt x="4364" y="1021"/>
                    <a:pt x="4368" y="1027"/>
                    <a:pt x="4368" y="1027"/>
                  </a:cubicBezTo>
                  <a:cubicBezTo>
                    <a:pt x="4349" y="1021"/>
                    <a:pt x="4349" y="1021"/>
                    <a:pt x="4349" y="1021"/>
                  </a:cubicBezTo>
                  <a:cubicBezTo>
                    <a:pt x="4353" y="1043"/>
                    <a:pt x="4353" y="1043"/>
                    <a:pt x="4353" y="1043"/>
                  </a:cubicBezTo>
                  <a:cubicBezTo>
                    <a:pt x="4335" y="1042"/>
                    <a:pt x="4335" y="1042"/>
                    <a:pt x="4335" y="1042"/>
                  </a:cubicBezTo>
                  <a:cubicBezTo>
                    <a:pt x="4327" y="1056"/>
                    <a:pt x="4327" y="1056"/>
                    <a:pt x="4327" y="1056"/>
                  </a:cubicBezTo>
                  <a:cubicBezTo>
                    <a:pt x="4332" y="1062"/>
                    <a:pt x="4332" y="1062"/>
                    <a:pt x="4332" y="1062"/>
                  </a:cubicBezTo>
                  <a:cubicBezTo>
                    <a:pt x="4316" y="1063"/>
                    <a:pt x="4316" y="1063"/>
                    <a:pt x="4316" y="1063"/>
                  </a:cubicBezTo>
                  <a:cubicBezTo>
                    <a:pt x="4301" y="1093"/>
                    <a:pt x="4301" y="1093"/>
                    <a:pt x="4301" y="1093"/>
                  </a:cubicBezTo>
                  <a:cubicBezTo>
                    <a:pt x="4293" y="1093"/>
                    <a:pt x="4293" y="1093"/>
                    <a:pt x="4293" y="1093"/>
                  </a:cubicBezTo>
                  <a:cubicBezTo>
                    <a:pt x="4303" y="1068"/>
                    <a:pt x="4303" y="1068"/>
                    <a:pt x="4303" y="1068"/>
                  </a:cubicBezTo>
                  <a:cubicBezTo>
                    <a:pt x="4303" y="1068"/>
                    <a:pt x="4293" y="1053"/>
                    <a:pt x="4284" y="1062"/>
                  </a:cubicBezTo>
                  <a:cubicBezTo>
                    <a:pt x="4275" y="1071"/>
                    <a:pt x="4263" y="1084"/>
                    <a:pt x="4256" y="1085"/>
                  </a:cubicBezTo>
                  <a:cubicBezTo>
                    <a:pt x="4249" y="1086"/>
                    <a:pt x="4221" y="1107"/>
                    <a:pt x="4221" y="1107"/>
                  </a:cubicBezTo>
                  <a:cubicBezTo>
                    <a:pt x="4226" y="1092"/>
                    <a:pt x="4226" y="1092"/>
                    <a:pt x="4226" y="1092"/>
                  </a:cubicBezTo>
                  <a:cubicBezTo>
                    <a:pt x="4225" y="1081"/>
                    <a:pt x="4225" y="1081"/>
                    <a:pt x="4225" y="1081"/>
                  </a:cubicBezTo>
                  <a:cubicBezTo>
                    <a:pt x="4200" y="1102"/>
                    <a:pt x="4200" y="1102"/>
                    <a:pt x="4200" y="1102"/>
                  </a:cubicBezTo>
                  <a:cubicBezTo>
                    <a:pt x="4156" y="1112"/>
                    <a:pt x="4156" y="1112"/>
                    <a:pt x="4156" y="1112"/>
                  </a:cubicBezTo>
                  <a:cubicBezTo>
                    <a:pt x="4197" y="1098"/>
                    <a:pt x="4197" y="1098"/>
                    <a:pt x="4197" y="1098"/>
                  </a:cubicBezTo>
                  <a:cubicBezTo>
                    <a:pt x="4197" y="1098"/>
                    <a:pt x="4221" y="1071"/>
                    <a:pt x="4208" y="1065"/>
                  </a:cubicBezTo>
                  <a:cubicBezTo>
                    <a:pt x="4195" y="1059"/>
                    <a:pt x="4180" y="1065"/>
                    <a:pt x="4180" y="1065"/>
                  </a:cubicBezTo>
                  <a:cubicBezTo>
                    <a:pt x="4180" y="1065"/>
                    <a:pt x="4147" y="1080"/>
                    <a:pt x="4149" y="1069"/>
                  </a:cubicBezTo>
                  <a:cubicBezTo>
                    <a:pt x="4151" y="1058"/>
                    <a:pt x="4168" y="1055"/>
                    <a:pt x="4168" y="1055"/>
                  </a:cubicBezTo>
                  <a:cubicBezTo>
                    <a:pt x="4167" y="1062"/>
                    <a:pt x="4167" y="1062"/>
                    <a:pt x="4167" y="1062"/>
                  </a:cubicBezTo>
                  <a:cubicBezTo>
                    <a:pt x="4181" y="1057"/>
                    <a:pt x="4181" y="1057"/>
                    <a:pt x="4181" y="1057"/>
                  </a:cubicBezTo>
                  <a:cubicBezTo>
                    <a:pt x="4178" y="1038"/>
                    <a:pt x="4178" y="1038"/>
                    <a:pt x="4178" y="1038"/>
                  </a:cubicBezTo>
                  <a:cubicBezTo>
                    <a:pt x="4178" y="1038"/>
                    <a:pt x="4203" y="1024"/>
                    <a:pt x="4194" y="1017"/>
                  </a:cubicBezTo>
                  <a:cubicBezTo>
                    <a:pt x="4185" y="1010"/>
                    <a:pt x="4158" y="1006"/>
                    <a:pt x="4158" y="1006"/>
                  </a:cubicBezTo>
                  <a:cubicBezTo>
                    <a:pt x="4158" y="1006"/>
                    <a:pt x="4203" y="1008"/>
                    <a:pt x="4206" y="996"/>
                  </a:cubicBezTo>
                  <a:cubicBezTo>
                    <a:pt x="4209" y="984"/>
                    <a:pt x="4212" y="981"/>
                    <a:pt x="4218" y="977"/>
                  </a:cubicBezTo>
                  <a:cubicBezTo>
                    <a:pt x="4224" y="973"/>
                    <a:pt x="4244" y="972"/>
                    <a:pt x="4234" y="963"/>
                  </a:cubicBezTo>
                  <a:cubicBezTo>
                    <a:pt x="4224" y="954"/>
                    <a:pt x="4214" y="970"/>
                    <a:pt x="4214" y="970"/>
                  </a:cubicBezTo>
                  <a:cubicBezTo>
                    <a:pt x="4208" y="953"/>
                    <a:pt x="4208" y="953"/>
                    <a:pt x="4208" y="953"/>
                  </a:cubicBezTo>
                  <a:cubicBezTo>
                    <a:pt x="4208" y="953"/>
                    <a:pt x="4177" y="954"/>
                    <a:pt x="4168" y="954"/>
                  </a:cubicBezTo>
                  <a:cubicBezTo>
                    <a:pt x="4159" y="954"/>
                    <a:pt x="4157" y="939"/>
                    <a:pt x="4165" y="936"/>
                  </a:cubicBezTo>
                  <a:cubicBezTo>
                    <a:pt x="4173" y="933"/>
                    <a:pt x="4174" y="926"/>
                    <a:pt x="4167" y="924"/>
                  </a:cubicBezTo>
                  <a:cubicBezTo>
                    <a:pt x="4160" y="922"/>
                    <a:pt x="4154" y="929"/>
                    <a:pt x="4154" y="929"/>
                  </a:cubicBezTo>
                  <a:cubicBezTo>
                    <a:pt x="4159" y="913"/>
                    <a:pt x="4159" y="913"/>
                    <a:pt x="4159" y="913"/>
                  </a:cubicBezTo>
                  <a:cubicBezTo>
                    <a:pt x="4135" y="917"/>
                    <a:pt x="4135" y="917"/>
                    <a:pt x="4135" y="917"/>
                  </a:cubicBezTo>
                  <a:cubicBezTo>
                    <a:pt x="4135" y="917"/>
                    <a:pt x="4139" y="888"/>
                    <a:pt x="4122" y="888"/>
                  </a:cubicBezTo>
                  <a:cubicBezTo>
                    <a:pt x="4105" y="888"/>
                    <a:pt x="4077" y="905"/>
                    <a:pt x="4077" y="905"/>
                  </a:cubicBezTo>
                  <a:cubicBezTo>
                    <a:pt x="4077" y="905"/>
                    <a:pt x="4069" y="894"/>
                    <a:pt x="4061" y="894"/>
                  </a:cubicBezTo>
                  <a:cubicBezTo>
                    <a:pt x="4053" y="894"/>
                    <a:pt x="4036" y="903"/>
                    <a:pt x="4036" y="903"/>
                  </a:cubicBezTo>
                  <a:cubicBezTo>
                    <a:pt x="4036" y="903"/>
                    <a:pt x="3990" y="881"/>
                    <a:pt x="3974" y="884"/>
                  </a:cubicBezTo>
                  <a:cubicBezTo>
                    <a:pt x="3958" y="887"/>
                    <a:pt x="3952" y="899"/>
                    <a:pt x="3952" y="899"/>
                  </a:cubicBezTo>
                  <a:cubicBezTo>
                    <a:pt x="3952" y="899"/>
                    <a:pt x="3931" y="909"/>
                    <a:pt x="3938" y="917"/>
                  </a:cubicBezTo>
                  <a:cubicBezTo>
                    <a:pt x="3945" y="925"/>
                    <a:pt x="3958" y="926"/>
                    <a:pt x="3952" y="934"/>
                  </a:cubicBezTo>
                  <a:cubicBezTo>
                    <a:pt x="3946" y="942"/>
                    <a:pt x="3921" y="958"/>
                    <a:pt x="3921" y="958"/>
                  </a:cubicBezTo>
                  <a:cubicBezTo>
                    <a:pt x="3903" y="965"/>
                    <a:pt x="3903" y="965"/>
                    <a:pt x="3903" y="965"/>
                  </a:cubicBezTo>
                  <a:cubicBezTo>
                    <a:pt x="3920" y="974"/>
                    <a:pt x="3920" y="974"/>
                    <a:pt x="3920" y="974"/>
                  </a:cubicBezTo>
                  <a:cubicBezTo>
                    <a:pt x="3920" y="974"/>
                    <a:pt x="3905" y="981"/>
                    <a:pt x="3904" y="990"/>
                  </a:cubicBezTo>
                  <a:cubicBezTo>
                    <a:pt x="3903" y="999"/>
                    <a:pt x="3911" y="1006"/>
                    <a:pt x="3903" y="1016"/>
                  </a:cubicBezTo>
                  <a:cubicBezTo>
                    <a:pt x="3895" y="1026"/>
                    <a:pt x="3888" y="1018"/>
                    <a:pt x="3875" y="1026"/>
                  </a:cubicBezTo>
                  <a:cubicBezTo>
                    <a:pt x="3862" y="1034"/>
                    <a:pt x="3864" y="1047"/>
                    <a:pt x="3864" y="1047"/>
                  </a:cubicBezTo>
                  <a:cubicBezTo>
                    <a:pt x="3864" y="1047"/>
                    <a:pt x="3848" y="1050"/>
                    <a:pt x="3842" y="1056"/>
                  </a:cubicBezTo>
                  <a:cubicBezTo>
                    <a:pt x="3836" y="1062"/>
                    <a:pt x="3816" y="1067"/>
                    <a:pt x="3818" y="1075"/>
                  </a:cubicBezTo>
                  <a:cubicBezTo>
                    <a:pt x="3820" y="1083"/>
                    <a:pt x="3857" y="1097"/>
                    <a:pt x="3857" y="1106"/>
                  </a:cubicBezTo>
                  <a:cubicBezTo>
                    <a:pt x="3857" y="1115"/>
                    <a:pt x="3856" y="1180"/>
                    <a:pt x="3821" y="1200"/>
                  </a:cubicBezTo>
                  <a:cubicBezTo>
                    <a:pt x="3786" y="1220"/>
                    <a:pt x="3741" y="1255"/>
                    <a:pt x="3723" y="1256"/>
                  </a:cubicBezTo>
                  <a:cubicBezTo>
                    <a:pt x="3705" y="1257"/>
                    <a:pt x="3656" y="1260"/>
                    <a:pt x="3653" y="1269"/>
                  </a:cubicBezTo>
                  <a:cubicBezTo>
                    <a:pt x="3650" y="1278"/>
                    <a:pt x="3662" y="1306"/>
                    <a:pt x="3662" y="1311"/>
                  </a:cubicBezTo>
                  <a:cubicBezTo>
                    <a:pt x="3662" y="1316"/>
                    <a:pt x="3641" y="1337"/>
                    <a:pt x="3637" y="1352"/>
                  </a:cubicBezTo>
                  <a:cubicBezTo>
                    <a:pt x="3633" y="1367"/>
                    <a:pt x="3636" y="1400"/>
                    <a:pt x="3636" y="1400"/>
                  </a:cubicBezTo>
                  <a:cubicBezTo>
                    <a:pt x="3636" y="1400"/>
                    <a:pt x="3602" y="1417"/>
                    <a:pt x="3601" y="1422"/>
                  </a:cubicBezTo>
                  <a:cubicBezTo>
                    <a:pt x="3600" y="1427"/>
                    <a:pt x="3599" y="1444"/>
                    <a:pt x="3599" y="1444"/>
                  </a:cubicBezTo>
                  <a:cubicBezTo>
                    <a:pt x="3586" y="1460"/>
                    <a:pt x="3586" y="1460"/>
                    <a:pt x="3586" y="1460"/>
                  </a:cubicBezTo>
                  <a:cubicBezTo>
                    <a:pt x="3586" y="1460"/>
                    <a:pt x="3593" y="1436"/>
                    <a:pt x="3582" y="1435"/>
                  </a:cubicBezTo>
                  <a:cubicBezTo>
                    <a:pt x="3571" y="1434"/>
                    <a:pt x="3549" y="1448"/>
                    <a:pt x="3554" y="1459"/>
                  </a:cubicBezTo>
                  <a:cubicBezTo>
                    <a:pt x="3559" y="1470"/>
                    <a:pt x="3553" y="1479"/>
                    <a:pt x="3553" y="1479"/>
                  </a:cubicBezTo>
                  <a:cubicBezTo>
                    <a:pt x="3553" y="1479"/>
                    <a:pt x="3551" y="1459"/>
                    <a:pt x="3545" y="1454"/>
                  </a:cubicBezTo>
                  <a:cubicBezTo>
                    <a:pt x="3539" y="1449"/>
                    <a:pt x="3501" y="1460"/>
                    <a:pt x="3501" y="1460"/>
                  </a:cubicBezTo>
                  <a:cubicBezTo>
                    <a:pt x="3501" y="1460"/>
                    <a:pt x="3537" y="1439"/>
                    <a:pt x="3533" y="1426"/>
                  </a:cubicBezTo>
                  <a:cubicBezTo>
                    <a:pt x="3529" y="1413"/>
                    <a:pt x="3493" y="1402"/>
                    <a:pt x="3493" y="1402"/>
                  </a:cubicBezTo>
                  <a:cubicBezTo>
                    <a:pt x="3493" y="1402"/>
                    <a:pt x="3510" y="1399"/>
                    <a:pt x="3510" y="1392"/>
                  </a:cubicBezTo>
                  <a:cubicBezTo>
                    <a:pt x="3510" y="1385"/>
                    <a:pt x="3498" y="1359"/>
                    <a:pt x="3498" y="1359"/>
                  </a:cubicBezTo>
                  <a:cubicBezTo>
                    <a:pt x="3520" y="1344"/>
                    <a:pt x="3520" y="1344"/>
                    <a:pt x="3520" y="1344"/>
                  </a:cubicBezTo>
                  <a:cubicBezTo>
                    <a:pt x="3519" y="1329"/>
                    <a:pt x="3519" y="1329"/>
                    <a:pt x="3519" y="1329"/>
                  </a:cubicBezTo>
                  <a:cubicBezTo>
                    <a:pt x="3536" y="1318"/>
                    <a:pt x="3536" y="1318"/>
                    <a:pt x="3536" y="1318"/>
                  </a:cubicBezTo>
                  <a:cubicBezTo>
                    <a:pt x="3535" y="1293"/>
                    <a:pt x="3535" y="1293"/>
                    <a:pt x="3535" y="1293"/>
                  </a:cubicBezTo>
                  <a:cubicBezTo>
                    <a:pt x="3535" y="1293"/>
                    <a:pt x="3584" y="1266"/>
                    <a:pt x="3560" y="1254"/>
                  </a:cubicBezTo>
                  <a:cubicBezTo>
                    <a:pt x="3536" y="1242"/>
                    <a:pt x="3464" y="1246"/>
                    <a:pt x="3464" y="1246"/>
                  </a:cubicBezTo>
                  <a:cubicBezTo>
                    <a:pt x="3440" y="1254"/>
                    <a:pt x="3440" y="1254"/>
                    <a:pt x="3440" y="1254"/>
                  </a:cubicBezTo>
                  <a:cubicBezTo>
                    <a:pt x="3440" y="1254"/>
                    <a:pt x="3458" y="1233"/>
                    <a:pt x="3448" y="1228"/>
                  </a:cubicBezTo>
                  <a:cubicBezTo>
                    <a:pt x="3438" y="1223"/>
                    <a:pt x="3390" y="1213"/>
                    <a:pt x="3390" y="1213"/>
                  </a:cubicBezTo>
                  <a:cubicBezTo>
                    <a:pt x="3390" y="1213"/>
                    <a:pt x="3395" y="1191"/>
                    <a:pt x="3376" y="1177"/>
                  </a:cubicBezTo>
                  <a:cubicBezTo>
                    <a:pt x="3357" y="1163"/>
                    <a:pt x="3332" y="1162"/>
                    <a:pt x="3332" y="1162"/>
                  </a:cubicBezTo>
                  <a:cubicBezTo>
                    <a:pt x="3332" y="1162"/>
                    <a:pt x="3333" y="1150"/>
                    <a:pt x="3305" y="1149"/>
                  </a:cubicBezTo>
                  <a:cubicBezTo>
                    <a:pt x="3277" y="1148"/>
                    <a:pt x="3208" y="1160"/>
                    <a:pt x="3208" y="1160"/>
                  </a:cubicBezTo>
                  <a:cubicBezTo>
                    <a:pt x="3208" y="1160"/>
                    <a:pt x="3241" y="1150"/>
                    <a:pt x="3242" y="1138"/>
                  </a:cubicBezTo>
                  <a:cubicBezTo>
                    <a:pt x="3243" y="1126"/>
                    <a:pt x="3261" y="1074"/>
                    <a:pt x="3261" y="1074"/>
                  </a:cubicBezTo>
                  <a:cubicBezTo>
                    <a:pt x="3261" y="1074"/>
                    <a:pt x="3231" y="1068"/>
                    <a:pt x="3228" y="1070"/>
                  </a:cubicBezTo>
                  <a:cubicBezTo>
                    <a:pt x="3225" y="1072"/>
                    <a:pt x="3202" y="1088"/>
                    <a:pt x="3202" y="1088"/>
                  </a:cubicBezTo>
                  <a:cubicBezTo>
                    <a:pt x="3212" y="1069"/>
                    <a:pt x="3212" y="1069"/>
                    <a:pt x="3212" y="1069"/>
                  </a:cubicBezTo>
                  <a:cubicBezTo>
                    <a:pt x="3208" y="1054"/>
                    <a:pt x="3208" y="1054"/>
                    <a:pt x="3208" y="1054"/>
                  </a:cubicBezTo>
                  <a:cubicBezTo>
                    <a:pt x="3208" y="1054"/>
                    <a:pt x="3234" y="1032"/>
                    <a:pt x="3246" y="1011"/>
                  </a:cubicBezTo>
                  <a:cubicBezTo>
                    <a:pt x="3258" y="990"/>
                    <a:pt x="3326" y="953"/>
                    <a:pt x="3326" y="953"/>
                  </a:cubicBezTo>
                  <a:cubicBezTo>
                    <a:pt x="3320" y="942"/>
                    <a:pt x="3320" y="942"/>
                    <a:pt x="3320" y="942"/>
                  </a:cubicBezTo>
                  <a:cubicBezTo>
                    <a:pt x="3363" y="928"/>
                    <a:pt x="3363" y="928"/>
                    <a:pt x="3363" y="928"/>
                  </a:cubicBezTo>
                  <a:cubicBezTo>
                    <a:pt x="3364" y="917"/>
                    <a:pt x="3364" y="917"/>
                    <a:pt x="3364" y="917"/>
                  </a:cubicBezTo>
                  <a:cubicBezTo>
                    <a:pt x="3391" y="913"/>
                    <a:pt x="3391" y="913"/>
                    <a:pt x="3391" y="913"/>
                  </a:cubicBezTo>
                  <a:cubicBezTo>
                    <a:pt x="3393" y="900"/>
                    <a:pt x="3393" y="900"/>
                    <a:pt x="3393" y="900"/>
                  </a:cubicBezTo>
                  <a:cubicBezTo>
                    <a:pt x="3414" y="897"/>
                    <a:pt x="3414" y="897"/>
                    <a:pt x="3414" y="897"/>
                  </a:cubicBezTo>
                  <a:cubicBezTo>
                    <a:pt x="3448" y="870"/>
                    <a:pt x="3448" y="870"/>
                    <a:pt x="3448" y="870"/>
                  </a:cubicBezTo>
                  <a:cubicBezTo>
                    <a:pt x="3448" y="870"/>
                    <a:pt x="3522" y="873"/>
                    <a:pt x="3522" y="860"/>
                  </a:cubicBezTo>
                  <a:cubicBezTo>
                    <a:pt x="3522" y="847"/>
                    <a:pt x="3502" y="832"/>
                    <a:pt x="3502" y="832"/>
                  </a:cubicBezTo>
                  <a:cubicBezTo>
                    <a:pt x="3462" y="837"/>
                    <a:pt x="3462" y="837"/>
                    <a:pt x="3462" y="837"/>
                  </a:cubicBezTo>
                  <a:cubicBezTo>
                    <a:pt x="3468" y="827"/>
                    <a:pt x="3468" y="827"/>
                    <a:pt x="3468" y="827"/>
                  </a:cubicBezTo>
                  <a:cubicBezTo>
                    <a:pt x="3432" y="813"/>
                    <a:pt x="3432" y="813"/>
                    <a:pt x="3432" y="813"/>
                  </a:cubicBezTo>
                  <a:cubicBezTo>
                    <a:pt x="3448" y="808"/>
                    <a:pt x="3448" y="808"/>
                    <a:pt x="3448" y="808"/>
                  </a:cubicBezTo>
                  <a:cubicBezTo>
                    <a:pt x="3503" y="824"/>
                    <a:pt x="3503" y="824"/>
                    <a:pt x="3503" y="824"/>
                  </a:cubicBezTo>
                  <a:cubicBezTo>
                    <a:pt x="3503" y="824"/>
                    <a:pt x="3524" y="846"/>
                    <a:pt x="3543" y="838"/>
                  </a:cubicBezTo>
                  <a:cubicBezTo>
                    <a:pt x="3562" y="830"/>
                    <a:pt x="3578" y="797"/>
                    <a:pt x="3585" y="802"/>
                  </a:cubicBezTo>
                  <a:cubicBezTo>
                    <a:pt x="3592" y="807"/>
                    <a:pt x="3613" y="817"/>
                    <a:pt x="3622" y="815"/>
                  </a:cubicBezTo>
                  <a:cubicBezTo>
                    <a:pt x="3622" y="815"/>
                    <a:pt x="3667" y="796"/>
                    <a:pt x="3685" y="789"/>
                  </a:cubicBezTo>
                  <a:cubicBezTo>
                    <a:pt x="3703" y="782"/>
                    <a:pt x="3737" y="763"/>
                    <a:pt x="3725" y="760"/>
                  </a:cubicBezTo>
                  <a:cubicBezTo>
                    <a:pt x="3713" y="757"/>
                    <a:pt x="3657" y="757"/>
                    <a:pt x="3657" y="757"/>
                  </a:cubicBezTo>
                  <a:cubicBezTo>
                    <a:pt x="3653" y="741"/>
                    <a:pt x="3653" y="741"/>
                    <a:pt x="3653" y="741"/>
                  </a:cubicBezTo>
                  <a:cubicBezTo>
                    <a:pt x="3597" y="721"/>
                    <a:pt x="3597" y="721"/>
                    <a:pt x="3597" y="721"/>
                  </a:cubicBezTo>
                  <a:cubicBezTo>
                    <a:pt x="3597" y="721"/>
                    <a:pt x="3653" y="713"/>
                    <a:pt x="3668" y="719"/>
                  </a:cubicBezTo>
                  <a:cubicBezTo>
                    <a:pt x="3683" y="725"/>
                    <a:pt x="3697" y="751"/>
                    <a:pt x="3712" y="751"/>
                  </a:cubicBezTo>
                  <a:cubicBezTo>
                    <a:pt x="3727" y="751"/>
                    <a:pt x="3806" y="713"/>
                    <a:pt x="3806" y="713"/>
                  </a:cubicBezTo>
                  <a:cubicBezTo>
                    <a:pt x="3787" y="705"/>
                    <a:pt x="3787" y="705"/>
                    <a:pt x="3787" y="705"/>
                  </a:cubicBezTo>
                  <a:cubicBezTo>
                    <a:pt x="3787" y="705"/>
                    <a:pt x="3801" y="693"/>
                    <a:pt x="3819" y="693"/>
                  </a:cubicBezTo>
                  <a:cubicBezTo>
                    <a:pt x="3837" y="693"/>
                    <a:pt x="3842" y="707"/>
                    <a:pt x="3842" y="707"/>
                  </a:cubicBezTo>
                  <a:cubicBezTo>
                    <a:pt x="3862" y="714"/>
                    <a:pt x="3862" y="714"/>
                    <a:pt x="3862" y="714"/>
                  </a:cubicBezTo>
                  <a:cubicBezTo>
                    <a:pt x="3863" y="701"/>
                    <a:pt x="3863" y="701"/>
                    <a:pt x="3863" y="701"/>
                  </a:cubicBezTo>
                  <a:cubicBezTo>
                    <a:pt x="3863" y="701"/>
                    <a:pt x="3877" y="718"/>
                    <a:pt x="3882" y="709"/>
                  </a:cubicBezTo>
                  <a:cubicBezTo>
                    <a:pt x="3887" y="700"/>
                    <a:pt x="3870" y="682"/>
                    <a:pt x="3870" y="682"/>
                  </a:cubicBezTo>
                  <a:cubicBezTo>
                    <a:pt x="3856" y="676"/>
                    <a:pt x="3856" y="676"/>
                    <a:pt x="3856" y="676"/>
                  </a:cubicBezTo>
                  <a:cubicBezTo>
                    <a:pt x="3883" y="671"/>
                    <a:pt x="3883" y="671"/>
                    <a:pt x="3883" y="671"/>
                  </a:cubicBezTo>
                  <a:cubicBezTo>
                    <a:pt x="3883" y="671"/>
                    <a:pt x="3897" y="710"/>
                    <a:pt x="3906" y="708"/>
                  </a:cubicBezTo>
                  <a:cubicBezTo>
                    <a:pt x="3915" y="706"/>
                    <a:pt x="4028" y="673"/>
                    <a:pt x="4014" y="654"/>
                  </a:cubicBezTo>
                  <a:cubicBezTo>
                    <a:pt x="4000" y="635"/>
                    <a:pt x="3989" y="620"/>
                    <a:pt x="4000" y="613"/>
                  </a:cubicBezTo>
                  <a:cubicBezTo>
                    <a:pt x="4011" y="606"/>
                    <a:pt x="4061" y="604"/>
                    <a:pt x="4062" y="598"/>
                  </a:cubicBezTo>
                  <a:cubicBezTo>
                    <a:pt x="4063" y="592"/>
                    <a:pt x="4052" y="566"/>
                    <a:pt x="4052" y="566"/>
                  </a:cubicBezTo>
                  <a:cubicBezTo>
                    <a:pt x="4040" y="551"/>
                    <a:pt x="4040" y="551"/>
                    <a:pt x="4040" y="551"/>
                  </a:cubicBezTo>
                  <a:cubicBezTo>
                    <a:pt x="4040" y="551"/>
                    <a:pt x="3978" y="533"/>
                    <a:pt x="3952" y="551"/>
                  </a:cubicBezTo>
                  <a:cubicBezTo>
                    <a:pt x="3926" y="569"/>
                    <a:pt x="3948" y="581"/>
                    <a:pt x="3948" y="581"/>
                  </a:cubicBezTo>
                  <a:cubicBezTo>
                    <a:pt x="3924" y="596"/>
                    <a:pt x="3924" y="596"/>
                    <a:pt x="3924" y="596"/>
                  </a:cubicBezTo>
                  <a:cubicBezTo>
                    <a:pt x="3910" y="596"/>
                    <a:pt x="3910" y="596"/>
                    <a:pt x="3910" y="596"/>
                  </a:cubicBezTo>
                  <a:cubicBezTo>
                    <a:pt x="3865" y="627"/>
                    <a:pt x="3865" y="627"/>
                    <a:pt x="3865" y="627"/>
                  </a:cubicBezTo>
                  <a:cubicBezTo>
                    <a:pt x="3848" y="634"/>
                    <a:pt x="3848" y="634"/>
                    <a:pt x="3848" y="634"/>
                  </a:cubicBezTo>
                  <a:cubicBezTo>
                    <a:pt x="3848" y="634"/>
                    <a:pt x="3836" y="652"/>
                    <a:pt x="3832" y="655"/>
                  </a:cubicBezTo>
                  <a:cubicBezTo>
                    <a:pt x="3828" y="658"/>
                    <a:pt x="3809" y="659"/>
                    <a:pt x="3809" y="659"/>
                  </a:cubicBezTo>
                  <a:cubicBezTo>
                    <a:pt x="3786" y="671"/>
                    <a:pt x="3786" y="671"/>
                    <a:pt x="3786" y="671"/>
                  </a:cubicBezTo>
                  <a:cubicBezTo>
                    <a:pt x="3786" y="671"/>
                    <a:pt x="3775" y="637"/>
                    <a:pt x="3781" y="626"/>
                  </a:cubicBezTo>
                  <a:cubicBezTo>
                    <a:pt x="3787" y="615"/>
                    <a:pt x="3818" y="620"/>
                    <a:pt x="3823" y="604"/>
                  </a:cubicBezTo>
                  <a:cubicBezTo>
                    <a:pt x="3828" y="588"/>
                    <a:pt x="3812" y="571"/>
                    <a:pt x="3809" y="571"/>
                  </a:cubicBezTo>
                  <a:cubicBezTo>
                    <a:pt x="3806" y="571"/>
                    <a:pt x="3753" y="595"/>
                    <a:pt x="3753" y="595"/>
                  </a:cubicBezTo>
                  <a:cubicBezTo>
                    <a:pt x="3734" y="616"/>
                    <a:pt x="3734" y="616"/>
                    <a:pt x="3734" y="616"/>
                  </a:cubicBezTo>
                  <a:cubicBezTo>
                    <a:pt x="3728" y="607"/>
                    <a:pt x="3728" y="607"/>
                    <a:pt x="3728" y="607"/>
                  </a:cubicBezTo>
                  <a:cubicBezTo>
                    <a:pt x="3746" y="589"/>
                    <a:pt x="3746" y="589"/>
                    <a:pt x="3746" y="589"/>
                  </a:cubicBezTo>
                  <a:cubicBezTo>
                    <a:pt x="3744" y="576"/>
                    <a:pt x="3744" y="576"/>
                    <a:pt x="3744" y="576"/>
                  </a:cubicBezTo>
                  <a:cubicBezTo>
                    <a:pt x="3774" y="565"/>
                    <a:pt x="3774" y="565"/>
                    <a:pt x="3774" y="565"/>
                  </a:cubicBezTo>
                  <a:cubicBezTo>
                    <a:pt x="3747" y="560"/>
                    <a:pt x="3747" y="560"/>
                    <a:pt x="3747" y="560"/>
                  </a:cubicBezTo>
                  <a:cubicBezTo>
                    <a:pt x="3752" y="550"/>
                    <a:pt x="3752" y="550"/>
                    <a:pt x="3752" y="550"/>
                  </a:cubicBezTo>
                  <a:cubicBezTo>
                    <a:pt x="3720" y="560"/>
                    <a:pt x="3720" y="560"/>
                    <a:pt x="3720" y="560"/>
                  </a:cubicBezTo>
                  <a:cubicBezTo>
                    <a:pt x="3706" y="552"/>
                    <a:pt x="3706" y="552"/>
                    <a:pt x="3706" y="552"/>
                  </a:cubicBezTo>
                  <a:cubicBezTo>
                    <a:pt x="3731" y="543"/>
                    <a:pt x="3731" y="543"/>
                    <a:pt x="3731" y="543"/>
                  </a:cubicBezTo>
                  <a:cubicBezTo>
                    <a:pt x="3732" y="533"/>
                    <a:pt x="3732" y="533"/>
                    <a:pt x="3732" y="533"/>
                  </a:cubicBezTo>
                  <a:cubicBezTo>
                    <a:pt x="3732" y="533"/>
                    <a:pt x="3768" y="541"/>
                    <a:pt x="3766" y="528"/>
                  </a:cubicBezTo>
                  <a:cubicBezTo>
                    <a:pt x="3764" y="515"/>
                    <a:pt x="3736" y="518"/>
                    <a:pt x="3748" y="501"/>
                  </a:cubicBezTo>
                  <a:cubicBezTo>
                    <a:pt x="3760" y="484"/>
                    <a:pt x="3771" y="459"/>
                    <a:pt x="3755" y="458"/>
                  </a:cubicBezTo>
                  <a:cubicBezTo>
                    <a:pt x="3730" y="448"/>
                    <a:pt x="3730" y="448"/>
                    <a:pt x="3730" y="448"/>
                  </a:cubicBezTo>
                  <a:cubicBezTo>
                    <a:pt x="3711" y="456"/>
                    <a:pt x="3711" y="456"/>
                    <a:pt x="3711" y="456"/>
                  </a:cubicBezTo>
                  <a:cubicBezTo>
                    <a:pt x="3711" y="456"/>
                    <a:pt x="3684" y="458"/>
                    <a:pt x="3683" y="462"/>
                  </a:cubicBezTo>
                  <a:cubicBezTo>
                    <a:pt x="3682" y="466"/>
                    <a:pt x="3690" y="475"/>
                    <a:pt x="3684" y="476"/>
                  </a:cubicBezTo>
                  <a:cubicBezTo>
                    <a:pt x="3678" y="477"/>
                    <a:pt x="3642" y="470"/>
                    <a:pt x="3634" y="479"/>
                  </a:cubicBezTo>
                  <a:cubicBezTo>
                    <a:pt x="3626" y="488"/>
                    <a:pt x="3609" y="497"/>
                    <a:pt x="3618" y="501"/>
                  </a:cubicBezTo>
                  <a:cubicBezTo>
                    <a:pt x="3627" y="505"/>
                    <a:pt x="3638" y="507"/>
                    <a:pt x="3638" y="507"/>
                  </a:cubicBezTo>
                  <a:cubicBezTo>
                    <a:pt x="3638" y="507"/>
                    <a:pt x="3589" y="520"/>
                    <a:pt x="3591" y="533"/>
                  </a:cubicBezTo>
                  <a:cubicBezTo>
                    <a:pt x="3593" y="546"/>
                    <a:pt x="3620" y="556"/>
                    <a:pt x="3620" y="556"/>
                  </a:cubicBezTo>
                  <a:cubicBezTo>
                    <a:pt x="3636" y="549"/>
                    <a:pt x="3636" y="549"/>
                    <a:pt x="3636" y="549"/>
                  </a:cubicBezTo>
                  <a:cubicBezTo>
                    <a:pt x="3636" y="549"/>
                    <a:pt x="3635" y="570"/>
                    <a:pt x="3641" y="567"/>
                  </a:cubicBezTo>
                  <a:cubicBezTo>
                    <a:pt x="3647" y="564"/>
                    <a:pt x="3676" y="559"/>
                    <a:pt x="3665" y="567"/>
                  </a:cubicBezTo>
                  <a:cubicBezTo>
                    <a:pt x="3654" y="575"/>
                    <a:pt x="3645" y="574"/>
                    <a:pt x="3645" y="574"/>
                  </a:cubicBezTo>
                  <a:cubicBezTo>
                    <a:pt x="3632" y="569"/>
                    <a:pt x="3632" y="569"/>
                    <a:pt x="3632" y="569"/>
                  </a:cubicBezTo>
                  <a:cubicBezTo>
                    <a:pt x="3630" y="578"/>
                    <a:pt x="3630" y="578"/>
                    <a:pt x="3630" y="578"/>
                  </a:cubicBezTo>
                  <a:cubicBezTo>
                    <a:pt x="3630" y="578"/>
                    <a:pt x="3594" y="584"/>
                    <a:pt x="3606" y="588"/>
                  </a:cubicBezTo>
                  <a:cubicBezTo>
                    <a:pt x="3618" y="592"/>
                    <a:pt x="3645" y="572"/>
                    <a:pt x="3639" y="585"/>
                  </a:cubicBezTo>
                  <a:cubicBezTo>
                    <a:pt x="3633" y="598"/>
                    <a:pt x="3614" y="607"/>
                    <a:pt x="3601" y="611"/>
                  </a:cubicBezTo>
                  <a:cubicBezTo>
                    <a:pt x="3588" y="615"/>
                    <a:pt x="3568" y="630"/>
                    <a:pt x="3568" y="630"/>
                  </a:cubicBezTo>
                  <a:cubicBezTo>
                    <a:pt x="3568" y="630"/>
                    <a:pt x="3546" y="618"/>
                    <a:pt x="3542" y="625"/>
                  </a:cubicBezTo>
                  <a:cubicBezTo>
                    <a:pt x="3538" y="632"/>
                    <a:pt x="3517" y="638"/>
                    <a:pt x="3518" y="648"/>
                  </a:cubicBezTo>
                  <a:cubicBezTo>
                    <a:pt x="3519" y="658"/>
                    <a:pt x="3512" y="667"/>
                    <a:pt x="3512" y="667"/>
                  </a:cubicBezTo>
                  <a:cubicBezTo>
                    <a:pt x="3508" y="658"/>
                    <a:pt x="3508" y="658"/>
                    <a:pt x="3508" y="658"/>
                  </a:cubicBezTo>
                  <a:cubicBezTo>
                    <a:pt x="3508" y="658"/>
                    <a:pt x="3483" y="657"/>
                    <a:pt x="3485" y="651"/>
                  </a:cubicBezTo>
                  <a:cubicBezTo>
                    <a:pt x="3487" y="645"/>
                    <a:pt x="3529" y="617"/>
                    <a:pt x="3529" y="617"/>
                  </a:cubicBezTo>
                  <a:cubicBezTo>
                    <a:pt x="3504" y="617"/>
                    <a:pt x="3504" y="617"/>
                    <a:pt x="3504" y="617"/>
                  </a:cubicBezTo>
                  <a:cubicBezTo>
                    <a:pt x="3504" y="617"/>
                    <a:pt x="3497" y="603"/>
                    <a:pt x="3490" y="603"/>
                  </a:cubicBezTo>
                  <a:cubicBezTo>
                    <a:pt x="3483" y="603"/>
                    <a:pt x="3467" y="609"/>
                    <a:pt x="3467" y="609"/>
                  </a:cubicBezTo>
                  <a:cubicBezTo>
                    <a:pt x="3467" y="609"/>
                    <a:pt x="3446" y="602"/>
                    <a:pt x="3443" y="610"/>
                  </a:cubicBezTo>
                  <a:cubicBezTo>
                    <a:pt x="3440" y="618"/>
                    <a:pt x="3438" y="625"/>
                    <a:pt x="3442" y="626"/>
                  </a:cubicBezTo>
                  <a:cubicBezTo>
                    <a:pt x="3446" y="627"/>
                    <a:pt x="3475" y="640"/>
                    <a:pt x="3465" y="643"/>
                  </a:cubicBezTo>
                  <a:cubicBezTo>
                    <a:pt x="3455" y="646"/>
                    <a:pt x="3437" y="631"/>
                    <a:pt x="3437" y="631"/>
                  </a:cubicBezTo>
                  <a:cubicBezTo>
                    <a:pt x="3423" y="622"/>
                    <a:pt x="3423" y="622"/>
                    <a:pt x="3423" y="622"/>
                  </a:cubicBezTo>
                  <a:cubicBezTo>
                    <a:pt x="3422" y="642"/>
                    <a:pt x="3422" y="642"/>
                    <a:pt x="3422" y="642"/>
                  </a:cubicBezTo>
                  <a:cubicBezTo>
                    <a:pt x="3422" y="642"/>
                    <a:pt x="3407" y="651"/>
                    <a:pt x="3398" y="649"/>
                  </a:cubicBezTo>
                  <a:cubicBezTo>
                    <a:pt x="3389" y="647"/>
                    <a:pt x="3356" y="638"/>
                    <a:pt x="3345" y="638"/>
                  </a:cubicBezTo>
                  <a:cubicBezTo>
                    <a:pt x="3334" y="638"/>
                    <a:pt x="3312" y="642"/>
                    <a:pt x="3301" y="641"/>
                  </a:cubicBezTo>
                  <a:cubicBezTo>
                    <a:pt x="3290" y="640"/>
                    <a:pt x="3273" y="623"/>
                    <a:pt x="3273" y="623"/>
                  </a:cubicBezTo>
                  <a:cubicBezTo>
                    <a:pt x="3234" y="626"/>
                    <a:pt x="3234" y="626"/>
                    <a:pt x="3234" y="626"/>
                  </a:cubicBezTo>
                  <a:cubicBezTo>
                    <a:pt x="3234" y="626"/>
                    <a:pt x="3219" y="612"/>
                    <a:pt x="3211" y="610"/>
                  </a:cubicBezTo>
                  <a:cubicBezTo>
                    <a:pt x="3203" y="608"/>
                    <a:pt x="3186" y="608"/>
                    <a:pt x="3174" y="614"/>
                  </a:cubicBezTo>
                  <a:cubicBezTo>
                    <a:pt x="3162" y="620"/>
                    <a:pt x="3167" y="622"/>
                    <a:pt x="3154" y="622"/>
                  </a:cubicBezTo>
                  <a:cubicBezTo>
                    <a:pt x="3141" y="622"/>
                    <a:pt x="3113" y="615"/>
                    <a:pt x="3106" y="624"/>
                  </a:cubicBezTo>
                  <a:cubicBezTo>
                    <a:pt x="3099" y="633"/>
                    <a:pt x="3087" y="659"/>
                    <a:pt x="3087" y="659"/>
                  </a:cubicBezTo>
                  <a:cubicBezTo>
                    <a:pt x="3079" y="679"/>
                    <a:pt x="3079" y="679"/>
                    <a:pt x="3079" y="679"/>
                  </a:cubicBezTo>
                  <a:cubicBezTo>
                    <a:pt x="3058" y="681"/>
                    <a:pt x="3058" y="681"/>
                    <a:pt x="3058" y="681"/>
                  </a:cubicBezTo>
                  <a:cubicBezTo>
                    <a:pt x="3053" y="700"/>
                    <a:pt x="3053" y="700"/>
                    <a:pt x="3053" y="700"/>
                  </a:cubicBezTo>
                  <a:cubicBezTo>
                    <a:pt x="3038" y="667"/>
                    <a:pt x="3038" y="667"/>
                    <a:pt x="3038" y="667"/>
                  </a:cubicBezTo>
                  <a:cubicBezTo>
                    <a:pt x="3038" y="667"/>
                    <a:pt x="3080" y="678"/>
                    <a:pt x="3069" y="659"/>
                  </a:cubicBezTo>
                  <a:cubicBezTo>
                    <a:pt x="3058" y="640"/>
                    <a:pt x="3026" y="638"/>
                    <a:pt x="3026" y="638"/>
                  </a:cubicBezTo>
                  <a:cubicBezTo>
                    <a:pt x="3028" y="629"/>
                    <a:pt x="3028" y="629"/>
                    <a:pt x="3028" y="629"/>
                  </a:cubicBezTo>
                  <a:cubicBezTo>
                    <a:pt x="3028" y="629"/>
                    <a:pt x="2959" y="642"/>
                    <a:pt x="2922" y="642"/>
                  </a:cubicBezTo>
                  <a:cubicBezTo>
                    <a:pt x="2885" y="642"/>
                    <a:pt x="2819" y="638"/>
                    <a:pt x="2832" y="632"/>
                  </a:cubicBezTo>
                  <a:cubicBezTo>
                    <a:pt x="2845" y="626"/>
                    <a:pt x="2929" y="629"/>
                    <a:pt x="2909" y="607"/>
                  </a:cubicBezTo>
                  <a:cubicBezTo>
                    <a:pt x="2889" y="585"/>
                    <a:pt x="2870" y="583"/>
                    <a:pt x="2846" y="585"/>
                  </a:cubicBezTo>
                  <a:cubicBezTo>
                    <a:pt x="2822" y="587"/>
                    <a:pt x="2783" y="573"/>
                    <a:pt x="2777" y="570"/>
                  </a:cubicBezTo>
                  <a:cubicBezTo>
                    <a:pt x="2771" y="567"/>
                    <a:pt x="2753" y="567"/>
                    <a:pt x="2753" y="567"/>
                  </a:cubicBezTo>
                  <a:cubicBezTo>
                    <a:pt x="2753" y="567"/>
                    <a:pt x="2705" y="540"/>
                    <a:pt x="2687" y="541"/>
                  </a:cubicBezTo>
                  <a:cubicBezTo>
                    <a:pt x="2669" y="542"/>
                    <a:pt x="2637" y="567"/>
                    <a:pt x="2637" y="567"/>
                  </a:cubicBezTo>
                  <a:cubicBezTo>
                    <a:pt x="2601" y="567"/>
                    <a:pt x="2601" y="567"/>
                    <a:pt x="2601" y="567"/>
                  </a:cubicBezTo>
                  <a:cubicBezTo>
                    <a:pt x="2621" y="555"/>
                    <a:pt x="2621" y="555"/>
                    <a:pt x="2621" y="555"/>
                  </a:cubicBezTo>
                  <a:cubicBezTo>
                    <a:pt x="2621" y="547"/>
                    <a:pt x="2621" y="547"/>
                    <a:pt x="2621" y="547"/>
                  </a:cubicBezTo>
                  <a:cubicBezTo>
                    <a:pt x="2638" y="527"/>
                    <a:pt x="2638" y="527"/>
                    <a:pt x="2638" y="527"/>
                  </a:cubicBezTo>
                  <a:cubicBezTo>
                    <a:pt x="2638" y="527"/>
                    <a:pt x="2599" y="545"/>
                    <a:pt x="2592" y="552"/>
                  </a:cubicBezTo>
                  <a:cubicBezTo>
                    <a:pt x="2585" y="559"/>
                    <a:pt x="2569" y="581"/>
                    <a:pt x="2554" y="566"/>
                  </a:cubicBezTo>
                  <a:cubicBezTo>
                    <a:pt x="2539" y="551"/>
                    <a:pt x="2560" y="535"/>
                    <a:pt x="2557" y="524"/>
                  </a:cubicBezTo>
                  <a:cubicBezTo>
                    <a:pt x="2554" y="513"/>
                    <a:pt x="2531" y="502"/>
                    <a:pt x="2528" y="511"/>
                  </a:cubicBezTo>
                  <a:cubicBezTo>
                    <a:pt x="2525" y="520"/>
                    <a:pt x="2538" y="526"/>
                    <a:pt x="2538" y="526"/>
                  </a:cubicBezTo>
                  <a:cubicBezTo>
                    <a:pt x="2538" y="526"/>
                    <a:pt x="2518" y="524"/>
                    <a:pt x="2507" y="528"/>
                  </a:cubicBezTo>
                  <a:cubicBezTo>
                    <a:pt x="2496" y="532"/>
                    <a:pt x="2480" y="543"/>
                    <a:pt x="2475" y="547"/>
                  </a:cubicBezTo>
                  <a:cubicBezTo>
                    <a:pt x="2470" y="551"/>
                    <a:pt x="2452" y="546"/>
                    <a:pt x="2452" y="546"/>
                  </a:cubicBezTo>
                  <a:cubicBezTo>
                    <a:pt x="2452" y="546"/>
                    <a:pt x="2405" y="556"/>
                    <a:pt x="2401" y="557"/>
                  </a:cubicBezTo>
                  <a:cubicBezTo>
                    <a:pt x="2397" y="558"/>
                    <a:pt x="2372" y="573"/>
                    <a:pt x="2372" y="573"/>
                  </a:cubicBezTo>
                  <a:cubicBezTo>
                    <a:pt x="2358" y="560"/>
                    <a:pt x="2358" y="560"/>
                    <a:pt x="2358" y="560"/>
                  </a:cubicBezTo>
                  <a:cubicBezTo>
                    <a:pt x="2358" y="560"/>
                    <a:pt x="2325" y="577"/>
                    <a:pt x="2315" y="578"/>
                  </a:cubicBezTo>
                  <a:cubicBezTo>
                    <a:pt x="2305" y="579"/>
                    <a:pt x="2287" y="591"/>
                    <a:pt x="2287" y="591"/>
                  </a:cubicBezTo>
                  <a:cubicBezTo>
                    <a:pt x="2265" y="593"/>
                    <a:pt x="2265" y="593"/>
                    <a:pt x="2265" y="593"/>
                  </a:cubicBezTo>
                  <a:cubicBezTo>
                    <a:pt x="2265" y="593"/>
                    <a:pt x="2282" y="575"/>
                    <a:pt x="2297" y="572"/>
                  </a:cubicBezTo>
                  <a:cubicBezTo>
                    <a:pt x="2312" y="569"/>
                    <a:pt x="2346" y="556"/>
                    <a:pt x="2346" y="556"/>
                  </a:cubicBezTo>
                  <a:cubicBezTo>
                    <a:pt x="2346" y="556"/>
                    <a:pt x="2377" y="559"/>
                    <a:pt x="2388" y="554"/>
                  </a:cubicBezTo>
                  <a:cubicBezTo>
                    <a:pt x="2399" y="549"/>
                    <a:pt x="2460" y="535"/>
                    <a:pt x="2460" y="535"/>
                  </a:cubicBezTo>
                  <a:cubicBezTo>
                    <a:pt x="2460" y="535"/>
                    <a:pt x="2472" y="532"/>
                    <a:pt x="2465" y="527"/>
                  </a:cubicBezTo>
                  <a:cubicBezTo>
                    <a:pt x="2458" y="522"/>
                    <a:pt x="2437" y="529"/>
                    <a:pt x="2437" y="529"/>
                  </a:cubicBezTo>
                  <a:cubicBezTo>
                    <a:pt x="2437" y="529"/>
                    <a:pt x="2419" y="528"/>
                    <a:pt x="2412" y="530"/>
                  </a:cubicBezTo>
                  <a:cubicBezTo>
                    <a:pt x="2405" y="532"/>
                    <a:pt x="2398" y="540"/>
                    <a:pt x="2393" y="541"/>
                  </a:cubicBezTo>
                  <a:cubicBezTo>
                    <a:pt x="2388" y="542"/>
                    <a:pt x="2369" y="542"/>
                    <a:pt x="2369" y="542"/>
                  </a:cubicBezTo>
                  <a:cubicBezTo>
                    <a:pt x="2354" y="545"/>
                    <a:pt x="2354" y="545"/>
                    <a:pt x="2354" y="545"/>
                  </a:cubicBezTo>
                  <a:cubicBezTo>
                    <a:pt x="2354" y="545"/>
                    <a:pt x="2337" y="545"/>
                    <a:pt x="2325" y="548"/>
                  </a:cubicBezTo>
                  <a:cubicBezTo>
                    <a:pt x="2313" y="551"/>
                    <a:pt x="2302" y="563"/>
                    <a:pt x="2302" y="563"/>
                  </a:cubicBezTo>
                  <a:cubicBezTo>
                    <a:pt x="2288" y="565"/>
                    <a:pt x="2288" y="565"/>
                    <a:pt x="2288" y="565"/>
                  </a:cubicBezTo>
                  <a:cubicBezTo>
                    <a:pt x="2253" y="578"/>
                    <a:pt x="2253" y="578"/>
                    <a:pt x="2253" y="578"/>
                  </a:cubicBezTo>
                  <a:cubicBezTo>
                    <a:pt x="2253" y="578"/>
                    <a:pt x="2238" y="581"/>
                    <a:pt x="2235" y="584"/>
                  </a:cubicBezTo>
                  <a:cubicBezTo>
                    <a:pt x="2232" y="587"/>
                    <a:pt x="2230" y="603"/>
                    <a:pt x="2223" y="599"/>
                  </a:cubicBezTo>
                  <a:cubicBezTo>
                    <a:pt x="2216" y="595"/>
                    <a:pt x="2215" y="580"/>
                    <a:pt x="2226" y="578"/>
                  </a:cubicBezTo>
                  <a:cubicBezTo>
                    <a:pt x="2237" y="576"/>
                    <a:pt x="2266" y="566"/>
                    <a:pt x="2275" y="560"/>
                  </a:cubicBezTo>
                  <a:cubicBezTo>
                    <a:pt x="2284" y="554"/>
                    <a:pt x="2242" y="548"/>
                    <a:pt x="2235" y="557"/>
                  </a:cubicBezTo>
                  <a:cubicBezTo>
                    <a:pt x="2228" y="566"/>
                    <a:pt x="2201" y="571"/>
                    <a:pt x="2194" y="571"/>
                  </a:cubicBezTo>
                  <a:cubicBezTo>
                    <a:pt x="2187" y="571"/>
                    <a:pt x="2187" y="598"/>
                    <a:pt x="2187" y="598"/>
                  </a:cubicBezTo>
                  <a:cubicBezTo>
                    <a:pt x="2171" y="589"/>
                    <a:pt x="2171" y="589"/>
                    <a:pt x="2171" y="589"/>
                  </a:cubicBezTo>
                  <a:cubicBezTo>
                    <a:pt x="2129" y="583"/>
                    <a:pt x="2129" y="583"/>
                    <a:pt x="2129" y="583"/>
                  </a:cubicBezTo>
                  <a:cubicBezTo>
                    <a:pt x="2129" y="583"/>
                    <a:pt x="2103" y="571"/>
                    <a:pt x="2105" y="566"/>
                  </a:cubicBezTo>
                  <a:cubicBezTo>
                    <a:pt x="2107" y="561"/>
                    <a:pt x="2111" y="552"/>
                    <a:pt x="2111" y="552"/>
                  </a:cubicBezTo>
                  <a:cubicBezTo>
                    <a:pt x="2037" y="553"/>
                    <a:pt x="2037" y="553"/>
                    <a:pt x="2037" y="553"/>
                  </a:cubicBezTo>
                  <a:cubicBezTo>
                    <a:pt x="2037" y="553"/>
                    <a:pt x="2034" y="530"/>
                    <a:pt x="2008" y="532"/>
                  </a:cubicBezTo>
                  <a:cubicBezTo>
                    <a:pt x="1982" y="534"/>
                    <a:pt x="1951" y="543"/>
                    <a:pt x="1947" y="543"/>
                  </a:cubicBezTo>
                  <a:cubicBezTo>
                    <a:pt x="1943" y="543"/>
                    <a:pt x="1916" y="529"/>
                    <a:pt x="1912" y="527"/>
                  </a:cubicBezTo>
                  <a:cubicBezTo>
                    <a:pt x="1908" y="525"/>
                    <a:pt x="1858" y="526"/>
                    <a:pt x="1858" y="526"/>
                  </a:cubicBezTo>
                  <a:cubicBezTo>
                    <a:pt x="1858" y="526"/>
                    <a:pt x="1842" y="518"/>
                    <a:pt x="1824" y="516"/>
                  </a:cubicBezTo>
                  <a:cubicBezTo>
                    <a:pt x="1806" y="514"/>
                    <a:pt x="1735" y="517"/>
                    <a:pt x="1732" y="517"/>
                  </a:cubicBezTo>
                  <a:cubicBezTo>
                    <a:pt x="1729" y="517"/>
                    <a:pt x="1735" y="503"/>
                    <a:pt x="1735" y="503"/>
                  </a:cubicBezTo>
                  <a:cubicBezTo>
                    <a:pt x="1735" y="503"/>
                    <a:pt x="1699" y="498"/>
                    <a:pt x="1694" y="497"/>
                  </a:cubicBezTo>
                  <a:cubicBezTo>
                    <a:pt x="1689" y="496"/>
                    <a:pt x="1656" y="503"/>
                    <a:pt x="1656" y="503"/>
                  </a:cubicBezTo>
                  <a:cubicBezTo>
                    <a:pt x="1676" y="481"/>
                    <a:pt x="1676" y="481"/>
                    <a:pt x="1676" y="481"/>
                  </a:cubicBezTo>
                  <a:cubicBezTo>
                    <a:pt x="1621" y="503"/>
                    <a:pt x="1621" y="503"/>
                    <a:pt x="1621" y="503"/>
                  </a:cubicBezTo>
                  <a:cubicBezTo>
                    <a:pt x="1642" y="481"/>
                    <a:pt x="1642" y="481"/>
                    <a:pt x="1642" y="481"/>
                  </a:cubicBezTo>
                  <a:cubicBezTo>
                    <a:pt x="1622" y="479"/>
                    <a:pt x="1622" y="479"/>
                    <a:pt x="1622" y="479"/>
                  </a:cubicBezTo>
                  <a:cubicBezTo>
                    <a:pt x="1622" y="479"/>
                    <a:pt x="1591" y="501"/>
                    <a:pt x="1561" y="501"/>
                  </a:cubicBezTo>
                  <a:cubicBezTo>
                    <a:pt x="1531" y="501"/>
                    <a:pt x="1485" y="495"/>
                    <a:pt x="1477" y="503"/>
                  </a:cubicBezTo>
                  <a:cubicBezTo>
                    <a:pt x="1469" y="511"/>
                    <a:pt x="1439" y="518"/>
                    <a:pt x="1439" y="518"/>
                  </a:cubicBezTo>
                  <a:cubicBezTo>
                    <a:pt x="1439" y="518"/>
                    <a:pt x="1390" y="518"/>
                    <a:pt x="1364" y="521"/>
                  </a:cubicBezTo>
                  <a:cubicBezTo>
                    <a:pt x="1338" y="524"/>
                    <a:pt x="1277" y="570"/>
                    <a:pt x="1235" y="576"/>
                  </a:cubicBezTo>
                  <a:cubicBezTo>
                    <a:pt x="1193" y="582"/>
                    <a:pt x="1141" y="586"/>
                    <a:pt x="1141" y="586"/>
                  </a:cubicBezTo>
                  <a:cubicBezTo>
                    <a:pt x="1141" y="586"/>
                    <a:pt x="1078" y="607"/>
                    <a:pt x="1081" y="612"/>
                  </a:cubicBezTo>
                  <a:cubicBezTo>
                    <a:pt x="1084" y="617"/>
                    <a:pt x="1105" y="628"/>
                    <a:pt x="1105" y="628"/>
                  </a:cubicBezTo>
                  <a:cubicBezTo>
                    <a:pt x="1105" y="628"/>
                    <a:pt x="1118" y="651"/>
                    <a:pt x="1112" y="654"/>
                  </a:cubicBezTo>
                  <a:cubicBezTo>
                    <a:pt x="1106" y="657"/>
                    <a:pt x="1097" y="666"/>
                    <a:pt x="1097" y="666"/>
                  </a:cubicBezTo>
                  <a:cubicBezTo>
                    <a:pt x="1157" y="667"/>
                    <a:pt x="1157" y="667"/>
                    <a:pt x="1157" y="667"/>
                  </a:cubicBezTo>
                  <a:cubicBezTo>
                    <a:pt x="1138" y="690"/>
                    <a:pt x="1138" y="690"/>
                    <a:pt x="1138" y="690"/>
                  </a:cubicBezTo>
                  <a:cubicBezTo>
                    <a:pt x="1182" y="692"/>
                    <a:pt x="1182" y="692"/>
                    <a:pt x="1182" y="692"/>
                  </a:cubicBezTo>
                  <a:cubicBezTo>
                    <a:pt x="1175" y="704"/>
                    <a:pt x="1175" y="704"/>
                    <a:pt x="1175" y="704"/>
                  </a:cubicBezTo>
                  <a:cubicBezTo>
                    <a:pt x="1139" y="703"/>
                    <a:pt x="1139" y="703"/>
                    <a:pt x="1139" y="703"/>
                  </a:cubicBezTo>
                  <a:cubicBezTo>
                    <a:pt x="1132" y="711"/>
                    <a:pt x="1132" y="711"/>
                    <a:pt x="1132" y="711"/>
                  </a:cubicBezTo>
                  <a:cubicBezTo>
                    <a:pt x="1110" y="711"/>
                    <a:pt x="1110" y="711"/>
                    <a:pt x="1110" y="711"/>
                  </a:cubicBezTo>
                  <a:cubicBezTo>
                    <a:pt x="1110" y="711"/>
                    <a:pt x="1076" y="717"/>
                    <a:pt x="1051" y="717"/>
                  </a:cubicBezTo>
                  <a:cubicBezTo>
                    <a:pt x="1026" y="717"/>
                    <a:pt x="1031" y="707"/>
                    <a:pt x="1045" y="702"/>
                  </a:cubicBezTo>
                  <a:cubicBezTo>
                    <a:pt x="1059" y="697"/>
                    <a:pt x="1017" y="694"/>
                    <a:pt x="1017" y="694"/>
                  </a:cubicBezTo>
                  <a:cubicBezTo>
                    <a:pt x="1017" y="694"/>
                    <a:pt x="969" y="692"/>
                    <a:pt x="967" y="700"/>
                  </a:cubicBezTo>
                  <a:cubicBezTo>
                    <a:pt x="965" y="708"/>
                    <a:pt x="969" y="713"/>
                    <a:pt x="969" y="713"/>
                  </a:cubicBezTo>
                  <a:cubicBezTo>
                    <a:pt x="969" y="713"/>
                    <a:pt x="934" y="715"/>
                    <a:pt x="911" y="718"/>
                  </a:cubicBezTo>
                  <a:cubicBezTo>
                    <a:pt x="888" y="721"/>
                    <a:pt x="820" y="734"/>
                    <a:pt x="837" y="740"/>
                  </a:cubicBezTo>
                  <a:cubicBezTo>
                    <a:pt x="854" y="746"/>
                    <a:pt x="877" y="749"/>
                    <a:pt x="877" y="749"/>
                  </a:cubicBezTo>
                  <a:cubicBezTo>
                    <a:pt x="848" y="759"/>
                    <a:pt x="848" y="759"/>
                    <a:pt x="848" y="759"/>
                  </a:cubicBezTo>
                  <a:cubicBezTo>
                    <a:pt x="840" y="786"/>
                    <a:pt x="840" y="786"/>
                    <a:pt x="840" y="786"/>
                  </a:cubicBezTo>
                  <a:cubicBezTo>
                    <a:pt x="840" y="786"/>
                    <a:pt x="864" y="790"/>
                    <a:pt x="880" y="790"/>
                  </a:cubicBezTo>
                  <a:cubicBezTo>
                    <a:pt x="896" y="790"/>
                    <a:pt x="910" y="787"/>
                    <a:pt x="910" y="787"/>
                  </a:cubicBezTo>
                  <a:cubicBezTo>
                    <a:pt x="939" y="795"/>
                    <a:pt x="939" y="795"/>
                    <a:pt x="939" y="795"/>
                  </a:cubicBezTo>
                  <a:cubicBezTo>
                    <a:pt x="948" y="783"/>
                    <a:pt x="948" y="783"/>
                    <a:pt x="948" y="783"/>
                  </a:cubicBezTo>
                  <a:cubicBezTo>
                    <a:pt x="957" y="794"/>
                    <a:pt x="957" y="794"/>
                    <a:pt x="957" y="794"/>
                  </a:cubicBezTo>
                  <a:cubicBezTo>
                    <a:pt x="957" y="794"/>
                    <a:pt x="989" y="776"/>
                    <a:pt x="994" y="776"/>
                  </a:cubicBezTo>
                  <a:cubicBezTo>
                    <a:pt x="999" y="776"/>
                    <a:pt x="1007" y="782"/>
                    <a:pt x="1017" y="778"/>
                  </a:cubicBezTo>
                  <a:cubicBezTo>
                    <a:pt x="1027" y="774"/>
                    <a:pt x="1045" y="760"/>
                    <a:pt x="1046" y="769"/>
                  </a:cubicBezTo>
                  <a:cubicBezTo>
                    <a:pt x="1047" y="778"/>
                    <a:pt x="1037" y="790"/>
                    <a:pt x="1037" y="790"/>
                  </a:cubicBezTo>
                  <a:cubicBezTo>
                    <a:pt x="999" y="791"/>
                    <a:pt x="999" y="791"/>
                    <a:pt x="999" y="791"/>
                  </a:cubicBezTo>
                  <a:cubicBezTo>
                    <a:pt x="1004" y="812"/>
                    <a:pt x="1004" y="812"/>
                    <a:pt x="1004" y="812"/>
                  </a:cubicBezTo>
                  <a:cubicBezTo>
                    <a:pt x="1004" y="812"/>
                    <a:pt x="976" y="839"/>
                    <a:pt x="958" y="840"/>
                  </a:cubicBezTo>
                  <a:cubicBezTo>
                    <a:pt x="940" y="841"/>
                    <a:pt x="920" y="841"/>
                    <a:pt x="920" y="841"/>
                  </a:cubicBezTo>
                  <a:cubicBezTo>
                    <a:pt x="910" y="829"/>
                    <a:pt x="910" y="829"/>
                    <a:pt x="910" y="829"/>
                  </a:cubicBezTo>
                  <a:cubicBezTo>
                    <a:pt x="898" y="836"/>
                    <a:pt x="898" y="836"/>
                    <a:pt x="898" y="836"/>
                  </a:cubicBezTo>
                  <a:cubicBezTo>
                    <a:pt x="898" y="844"/>
                    <a:pt x="898" y="844"/>
                    <a:pt x="898" y="844"/>
                  </a:cubicBezTo>
                  <a:cubicBezTo>
                    <a:pt x="898" y="844"/>
                    <a:pt x="857" y="868"/>
                    <a:pt x="844" y="860"/>
                  </a:cubicBezTo>
                  <a:cubicBezTo>
                    <a:pt x="831" y="852"/>
                    <a:pt x="824" y="850"/>
                    <a:pt x="824" y="850"/>
                  </a:cubicBezTo>
                  <a:cubicBezTo>
                    <a:pt x="762" y="885"/>
                    <a:pt x="762" y="885"/>
                    <a:pt x="762" y="885"/>
                  </a:cubicBezTo>
                  <a:cubicBezTo>
                    <a:pt x="748" y="897"/>
                    <a:pt x="748" y="897"/>
                    <a:pt x="748" y="897"/>
                  </a:cubicBezTo>
                  <a:cubicBezTo>
                    <a:pt x="745" y="883"/>
                    <a:pt x="745" y="883"/>
                    <a:pt x="745" y="883"/>
                  </a:cubicBezTo>
                  <a:cubicBezTo>
                    <a:pt x="745" y="883"/>
                    <a:pt x="720" y="894"/>
                    <a:pt x="706" y="899"/>
                  </a:cubicBezTo>
                  <a:cubicBezTo>
                    <a:pt x="692" y="904"/>
                    <a:pt x="682" y="919"/>
                    <a:pt x="682" y="919"/>
                  </a:cubicBezTo>
                  <a:cubicBezTo>
                    <a:pt x="662" y="913"/>
                    <a:pt x="662" y="913"/>
                    <a:pt x="662" y="913"/>
                  </a:cubicBezTo>
                  <a:cubicBezTo>
                    <a:pt x="662" y="926"/>
                    <a:pt x="662" y="926"/>
                    <a:pt x="662" y="926"/>
                  </a:cubicBezTo>
                  <a:cubicBezTo>
                    <a:pt x="662" y="926"/>
                    <a:pt x="649" y="920"/>
                    <a:pt x="646" y="926"/>
                  </a:cubicBezTo>
                  <a:cubicBezTo>
                    <a:pt x="643" y="932"/>
                    <a:pt x="643" y="941"/>
                    <a:pt x="643" y="941"/>
                  </a:cubicBezTo>
                  <a:cubicBezTo>
                    <a:pt x="636" y="950"/>
                    <a:pt x="636" y="950"/>
                    <a:pt x="636" y="950"/>
                  </a:cubicBezTo>
                  <a:cubicBezTo>
                    <a:pt x="676" y="936"/>
                    <a:pt x="676" y="936"/>
                    <a:pt x="676" y="936"/>
                  </a:cubicBezTo>
                  <a:cubicBezTo>
                    <a:pt x="661" y="948"/>
                    <a:pt x="661" y="948"/>
                    <a:pt x="661" y="948"/>
                  </a:cubicBezTo>
                  <a:cubicBezTo>
                    <a:pt x="661" y="954"/>
                    <a:pt x="661" y="954"/>
                    <a:pt x="661" y="954"/>
                  </a:cubicBezTo>
                  <a:cubicBezTo>
                    <a:pt x="648" y="962"/>
                    <a:pt x="648" y="962"/>
                    <a:pt x="648" y="962"/>
                  </a:cubicBezTo>
                  <a:cubicBezTo>
                    <a:pt x="648" y="962"/>
                    <a:pt x="698" y="961"/>
                    <a:pt x="689" y="970"/>
                  </a:cubicBezTo>
                  <a:cubicBezTo>
                    <a:pt x="680" y="979"/>
                    <a:pt x="658" y="977"/>
                    <a:pt x="658" y="977"/>
                  </a:cubicBezTo>
                  <a:cubicBezTo>
                    <a:pt x="641" y="981"/>
                    <a:pt x="641" y="981"/>
                    <a:pt x="641" y="981"/>
                  </a:cubicBezTo>
                  <a:cubicBezTo>
                    <a:pt x="649" y="973"/>
                    <a:pt x="649" y="973"/>
                    <a:pt x="649" y="973"/>
                  </a:cubicBezTo>
                  <a:cubicBezTo>
                    <a:pt x="640" y="968"/>
                    <a:pt x="640" y="968"/>
                    <a:pt x="640" y="968"/>
                  </a:cubicBezTo>
                  <a:cubicBezTo>
                    <a:pt x="640" y="968"/>
                    <a:pt x="611" y="979"/>
                    <a:pt x="612" y="982"/>
                  </a:cubicBezTo>
                  <a:cubicBezTo>
                    <a:pt x="613" y="985"/>
                    <a:pt x="619" y="989"/>
                    <a:pt x="619" y="989"/>
                  </a:cubicBezTo>
                  <a:cubicBezTo>
                    <a:pt x="619" y="989"/>
                    <a:pt x="608" y="1016"/>
                    <a:pt x="612" y="1017"/>
                  </a:cubicBezTo>
                  <a:cubicBezTo>
                    <a:pt x="616" y="1018"/>
                    <a:pt x="659" y="1015"/>
                    <a:pt x="659" y="1015"/>
                  </a:cubicBezTo>
                  <a:cubicBezTo>
                    <a:pt x="691" y="997"/>
                    <a:pt x="691" y="997"/>
                    <a:pt x="691" y="997"/>
                  </a:cubicBezTo>
                  <a:cubicBezTo>
                    <a:pt x="738" y="978"/>
                    <a:pt x="738" y="978"/>
                    <a:pt x="738" y="978"/>
                  </a:cubicBezTo>
                  <a:cubicBezTo>
                    <a:pt x="738" y="978"/>
                    <a:pt x="694" y="999"/>
                    <a:pt x="689" y="1007"/>
                  </a:cubicBezTo>
                  <a:cubicBezTo>
                    <a:pt x="684" y="1015"/>
                    <a:pt x="685" y="1031"/>
                    <a:pt x="678" y="1033"/>
                  </a:cubicBezTo>
                  <a:cubicBezTo>
                    <a:pt x="671" y="1035"/>
                    <a:pt x="659" y="1028"/>
                    <a:pt x="653" y="1037"/>
                  </a:cubicBezTo>
                  <a:cubicBezTo>
                    <a:pt x="647" y="1046"/>
                    <a:pt x="643" y="1056"/>
                    <a:pt x="638" y="1061"/>
                  </a:cubicBezTo>
                  <a:cubicBezTo>
                    <a:pt x="633" y="1066"/>
                    <a:pt x="618" y="1075"/>
                    <a:pt x="618" y="1075"/>
                  </a:cubicBezTo>
                  <a:cubicBezTo>
                    <a:pt x="654" y="1071"/>
                    <a:pt x="654" y="1071"/>
                    <a:pt x="654" y="1071"/>
                  </a:cubicBezTo>
                  <a:cubicBezTo>
                    <a:pt x="647" y="1083"/>
                    <a:pt x="647" y="1083"/>
                    <a:pt x="647" y="1083"/>
                  </a:cubicBezTo>
                  <a:cubicBezTo>
                    <a:pt x="647" y="1083"/>
                    <a:pt x="677" y="1052"/>
                    <a:pt x="694" y="1055"/>
                  </a:cubicBezTo>
                  <a:cubicBezTo>
                    <a:pt x="711" y="1058"/>
                    <a:pt x="702" y="1063"/>
                    <a:pt x="702" y="1063"/>
                  </a:cubicBezTo>
                  <a:cubicBezTo>
                    <a:pt x="718" y="1061"/>
                    <a:pt x="718" y="1061"/>
                    <a:pt x="718" y="1061"/>
                  </a:cubicBezTo>
                  <a:cubicBezTo>
                    <a:pt x="718" y="1061"/>
                    <a:pt x="705" y="1086"/>
                    <a:pt x="719" y="1086"/>
                  </a:cubicBezTo>
                  <a:cubicBezTo>
                    <a:pt x="733" y="1086"/>
                    <a:pt x="750" y="1064"/>
                    <a:pt x="750" y="1064"/>
                  </a:cubicBezTo>
                  <a:cubicBezTo>
                    <a:pt x="778" y="1051"/>
                    <a:pt x="778" y="1051"/>
                    <a:pt x="778" y="1051"/>
                  </a:cubicBezTo>
                  <a:cubicBezTo>
                    <a:pt x="785" y="1059"/>
                    <a:pt x="785" y="1059"/>
                    <a:pt x="785" y="1059"/>
                  </a:cubicBezTo>
                  <a:cubicBezTo>
                    <a:pt x="765" y="1061"/>
                    <a:pt x="765" y="1061"/>
                    <a:pt x="765" y="1061"/>
                  </a:cubicBezTo>
                  <a:cubicBezTo>
                    <a:pt x="765" y="1061"/>
                    <a:pt x="751" y="1075"/>
                    <a:pt x="762" y="1075"/>
                  </a:cubicBezTo>
                  <a:cubicBezTo>
                    <a:pt x="773" y="1075"/>
                    <a:pt x="819" y="1062"/>
                    <a:pt x="819" y="1062"/>
                  </a:cubicBezTo>
                  <a:cubicBezTo>
                    <a:pt x="847" y="1050"/>
                    <a:pt x="847" y="1050"/>
                    <a:pt x="847" y="1050"/>
                  </a:cubicBezTo>
                  <a:cubicBezTo>
                    <a:pt x="815" y="1067"/>
                    <a:pt x="815" y="1067"/>
                    <a:pt x="815" y="1067"/>
                  </a:cubicBezTo>
                  <a:cubicBezTo>
                    <a:pt x="815" y="1077"/>
                    <a:pt x="815" y="1077"/>
                    <a:pt x="815" y="1077"/>
                  </a:cubicBezTo>
                  <a:cubicBezTo>
                    <a:pt x="815" y="1077"/>
                    <a:pt x="797" y="1078"/>
                    <a:pt x="786" y="1082"/>
                  </a:cubicBezTo>
                  <a:cubicBezTo>
                    <a:pt x="775" y="1086"/>
                    <a:pt x="767" y="1099"/>
                    <a:pt x="767" y="1099"/>
                  </a:cubicBezTo>
                  <a:cubicBezTo>
                    <a:pt x="747" y="1101"/>
                    <a:pt x="747" y="1101"/>
                    <a:pt x="747" y="1101"/>
                  </a:cubicBezTo>
                  <a:cubicBezTo>
                    <a:pt x="723" y="1121"/>
                    <a:pt x="723" y="1121"/>
                    <a:pt x="723" y="1121"/>
                  </a:cubicBezTo>
                  <a:cubicBezTo>
                    <a:pt x="724" y="1130"/>
                    <a:pt x="724" y="1130"/>
                    <a:pt x="724" y="1130"/>
                  </a:cubicBezTo>
                  <a:cubicBezTo>
                    <a:pt x="697" y="1133"/>
                    <a:pt x="697" y="1133"/>
                    <a:pt x="697" y="1133"/>
                  </a:cubicBezTo>
                  <a:cubicBezTo>
                    <a:pt x="697" y="1133"/>
                    <a:pt x="652" y="1142"/>
                    <a:pt x="647" y="1149"/>
                  </a:cubicBezTo>
                  <a:cubicBezTo>
                    <a:pt x="642" y="1156"/>
                    <a:pt x="645" y="1170"/>
                    <a:pt x="636" y="1170"/>
                  </a:cubicBezTo>
                  <a:cubicBezTo>
                    <a:pt x="627" y="1170"/>
                    <a:pt x="600" y="1170"/>
                    <a:pt x="584" y="1172"/>
                  </a:cubicBezTo>
                  <a:cubicBezTo>
                    <a:pt x="568" y="1174"/>
                    <a:pt x="515" y="1213"/>
                    <a:pt x="515" y="1213"/>
                  </a:cubicBezTo>
                  <a:cubicBezTo>
                    <a:pt x="500" y="1216"/>
                    <a:pt x="500" y="1216"/>
                    <a:pt x="500" y="1216"/>
                  </a:cubicBezTo>
                  <a:cubicBezTo>
                    <a:pt x="491" y="1226"/>
                    <a:pt x="491" y="1226"/>
                    <a:pt x="491" y="1226"/>
                  </a:cubicBezTo>
                  <a:cubicBezTo>
                    <a:pt x="490" y="1215"/>
                    <a:pt x="490" y="1215"/>
                    <a:pt x="490" y="1215"/>
                  </a:cubicBezTo>
                  <a:cubicBezTo>
                    <a:pt x="490" y="1215"/>
                    <a:pt x="458" y="1211"/>
                    <a:pt x="447" y="1217"/>
                  </a:cubicBezTo>
                  <a:cubicBezTo>
                    <a:pt x="436" y="1223"/>
                    <a:pt x="412" y="1233"/>
                    <a:pt x="412" y="1233"/>
                  </a:cubicBezTo>
                  <a:cubicBezTo>
                    <a:pt x="403" y="1231"/>
                    <a:pt x="403" y="1231"/>
                    <a:pt x="403" y="1231"/>
                  </a:cubicBezTo>
                  <a:cubicBezTo>
                    <a:pt x="404" y="1239"/>
                    <a:pt x="404" y="1239"/>
                    <a:pt x="404" y="1239"/>
                  </a:cubicBezTo>
                  <a:cubicBezTo>
                    <a:pt x="385" y="1242"/>
                    <a:pt x="385" y="1242"/>
                    <a:pt x="385" y="1242"/>
                  </a:cubicBezTo>
                  <a:cubicBezTo>
                    <a:pt x="378" y="1248"/>
                    <a:pt x="378" y="1248"/>
                    <a:pt x="378" y="1248"/>
                  </a:cubicBezTo>
                  <a:cubicBezTo>
                    <a:pt x="362" y="1246"/>
                    <a:pt x="362" y="1246"/>
                    <a:pt x="362" y="1246"/>
                  </a:cubicBezTo>
                  <a:cubicBezTo>
                    <a:pt x="345" y="1261"/>
                    <a:pt x="345" y="1261"/>
                    <a:pt x="345" y="1261"/>
                  </a:cubicBezTo>
                  <a:cubicBezTo>
                    <a:pt x="350" y="1267"/>
                    <a:pt x="350" y="1267"/>
                    <a:pt x="350" y="1267"/>
                  </a:cubicBezTo>
                  <a:cubicBezTo>
                    <a:pt x="360" y="1255"/>
                    <a:pt x="360" y="1255"/>
                    <a:pt x="360" y="1255"/>
                  </a:cubicBezTo>
                  <a:cubicBezTo>
                    <a:pt x="373" y="1262"/>
                    <a:pt x="373" y="1262"/>
                    <a:pt x="373" y="1262"/>
                  </a:cubicBezTo>
                  <a:cubicBezTo>
                    <a:pt x="387" y="1250"/>
                    <a:pt x="387" y="1250"/>
                    <a:pt x="387" y="1250"/>
                  </a:cubicBezTo>
                  <a:cubicBezTo>
                    <a:pt x="388" y="1258"/>
                    <a:pt x="388" y="1258"/>
                    <a:pt x="388" y="1258"/>
                  </a:cubicBezTo>
                  <a:cubicBezTo>
                    <a:pt x="388" y="1258"/>
                    <a:pt x="409" y="1257"/>
                    <a:pt x="417" y="1250"/>
                  </a:cubicBezTo>
                  <a:cubicBezTo>
                    <a:pt x="425" y="1243"/>
                    <a:pt x="441" y="1229"/>
                    <a:pt x="450" y="1227"/>
                  </a:cubicBezTo>
                  <a:cubicBezTo>
                    <a:pt x="459" y="1225"/>
                    <a:pt x="451" y="1241"/>
                    <a:pt x="464" y="1241"/>
                  </a:cubicBezTo>
                  <a:cubicBezTo>
                    <a:pt x="477" y="1241"/>
                    <a:pt x="514" y="1225"/>
                    <a:pt x="514" y="1225"/>
                  </a:cubicBezTo>
                  <a:cubicBezTo>
                    <a:pt x="536" y="1231"/>
                    <a:pt x="536" y="1231"/>
                    <a:pt x="536" y="1231"/>
                  </a:cubicBezTo>
                  <a:cubicBezTo>
                    <a:pt x="548" y="1219"/>
                    <a:pt x="548" y="1219"/>
                    <a:pt x="548" y="1219"/>
                  </a:cubicBezTo>
                  <a:cubicBezTo>
                    <a:pt x="548" y="1219"/>
                    <a:pt x="585" y="1217"/>
                    <a:pt x="596" y="1208"/>
                  </a:cubicBezTo>
                  <a:cubicBezTo>
                    <a:pt x="607" y="1199"/>
                    <a:pt x="619" y="1185"/>
                    <a:pt x="628" y="1184"/>
                  </a:cubicBezTo>
                  <a:cubicBezTo>
                    <a:pt x="637" y="1183"/>
                    <a:pt x="649" y="1183"/>
                    <a:pt x="649" y="1183"/>
                  </a:cubicBezTo>
                  <a:cubicBezTo>
                    <a:pt x="653" y="1176"/>
                    <a:pt x="653" y="1176"/>
                    <a:pt x="653" y="1176"/>
                  </a:cubicBezTo>
                  <a:cubicBezTo>
                    <a:pt x="677" y="1176"/>
                    <a:pt x="677" y="1176"/>
                    <a:pt x="677" y="1176"/>
                  </a:cubicBezTo>
                  <a:cubicBezTo>
                    <a:pt x="684" y="1170"/>
                    <a:pt x="684" y="1170"/>
                    <a:pt x="684" y="1170"/>
                  </a:cubicBezTo>
                  <a:cubicBezTo>
                    <a:pt x="684" y="1170"/>
                    <a:pt x="717" y="1163"/>
                    <a:pt x="732" y="1156"/>
                  </a:cubicBezTo>
                  <a:cubicBezTo>
                    <a:pt x="747" y="1149"/>
                    <a:pt x="762" y="1135"/>
                    <a:pt x="762" y="1135"/>
                  </a:cubicBezTo>
                  <a:cubicBezTo>
                    <a:pt x="803" y="1129"/>
                    <a:pt x="803" y="1129"/>
                    <a:pt x="803" y="1129"/>
                  </a:cubicBezTo>
                  <a:cubicBezTo>
                    <a:pt x="841" y="1107"/>
                    <a:pt x="841" y="1107"/>
                    <a:pt x="841" y="1107"/>
                  </a:cubicBezTo>
                  <a:cubicBezTo>
                    <a:pt x="841" y="1107"/>
                    <a:pt x="885" y="1106"/>
                    <a:pt x="892" y="1099"/>
                  </a:cubicBezTo>
                  <a:cubicBezTo>
                    <a:pt x="899" y="1092"/>
                    <a:pt x="912" y="1080"/>
                    <a:pt x="912" y="1080"/>
                  </a:cubicBezTo>
                  <a:cubicBezTo>
                    <a:pt x="912" y="1080"/>
                    <a:pt x="954" y="1073"/>
                    <a:pt x="958" y="1065"/>
                  </a:cubicBezTo>
                  <a:cubicBezTo>
                    <a:pt x="962" y="1057"/>
                    <a:pt x="947" y="1057"/>
                    <a:pt x="947" y="1057"/>
                  </a:cubicBezTo>
                  <a:cubicBezTo>
                    <a:pt x="947" y="1057"/>
                    <a:pt x="970" y="1041"/>
                    <a:pt x="979" y="1036"/>
                  </a:cubicBezTo>
                  <a:cubicBezTo>
                    <a:pt x="988" y="1031"/>
                    <a:pt x="1015" y="1024"/>
                    <a:pt x="1015" y="1024"/>
                  </a:cubicBezTo>
                  <a:cubicBezTo>
                    <a:pt x="1066" y="1005"/>
                    <a:pt x="1066" y="1005"/>
                    <a:pt x="1066" y="1005"/>
                  </a:cubicBezTo>
                  <a:cubicBezTo>
                    <a:pt x="1060" y="992"/>
                    <a:pt x="1060" y="992"/>
                    <a:pt x="1060" y="992"/>
                  </a:cubicBezTo>
                  <a:cubicBezTo>
                    <a:pt x="1060" y="992"/>
                    <a:pt x="1083" y="998"/>
                    <a:pt x="1090" y="993"/>
                  </a:cubicBezTo>
                  <a:cubicBezTo>
                    <a:pt x="1097" y="988"/>
                    <a:pt x="1130" y="973"/>
                    <a:pt x="1130" y="973"/>
                  </a:cubicBezTo>
                  <a:cubicBezTo>
                    <a:pt x="1130" y="973"/>
                    <a:pt x="1188" y="949"/>
                    <a:pt x="1196" y="946"/>
                  </a:cubicBezTo>
                  <a:cubicBezTo>
                    <a:pt x="1204" y="943"/>
                    <a:pt x="1234" y="964"/>
                    <a:pt x="1234" y="964"/>
                  </a:cubicBezTo>
                  <a:cubicBezTo>
                    <a:pt x="1210" y="964"/>
                    <a:pt x="1210" y="964"/>
                    <a:pt x="1210" y="964"/>
                  </a:cubicBezTo>
                  <a:cubicBezTo>
                    <a:pt x="1197" y="956"/>
                    <a:pt x="1197" y="956"/>
                    <a:pt x="1197" y="956"/>
                  </a:cubicBezTo>
                  <a:cubicBezTo>
                    <a:pt x="1174" y="972"/>
                    <a:pt x="1174" y="972"/>
                    <a:pt x="1174" y="972"/>
                  </a:cubicBezTo>
                  <a:cubicBezTo>
                    <a:pt x="1151" y="972"/>
                    <a:pt x="1151" y="972"/>
                    <a:pt x="1151" y="972"/>
                  </a:cubicBezTo>
                  <a:cubicBezTo>
                    <a:pt x="1151" y="972"/>
                    <a:pt x="1128" y="994"/>
                    <a:pt x="1119" y="997"/>
                  </a:cubicBezTo>
                  <a:cubicBezTo>
                    <a:pt x="1110" y="1000"/>
                    <a:pt x="1071" y="1006"/>
                    <a:pt x="1075" y="1015"/>
                  </a:cubicBezTo>
                  <a:cubicBezTo>
                    <a:pt x="1079" y="1024"/>
                    <a:pt x="1099" y="1023"/>
                    <a:pt x="1099" y="1023"/>
                  </a:cubicBezTo>
                  <a:cubicBezTo>
                    <a:pt x="1099" y="1023"/>
                    <a:pt x="1079" y="1031"/>
                    <a:pt x="1075" y="1031"/>
                  </a:cubicBezTo>
                  <a:cubicBezTo>
                    <a:pt x="1071" y="1031"/>
                    <a:pt x="1042" y="1030"/>
                    <a:pt x="1042" y="1036"/>
                  </a:cubicBezTo>
                  <a:cubicBezTo>
                    <a:pt x="1042" y="1042"/>
                    <a:pt x="1045" y="1055"/>
                    <a:pt x="1065" y="1047"/>
                  </a:cubicBezTo>
                  <a:cubicBezTo>
                    <a:pt x="1085" y="1039"/>
                    <a:pt x="1129" y="1015"/>
                    <a:pt x="1147" y="1011"/>
                  </a:cubicBezTo>
                  <a:cubicBezTo>
                    <a:pt x="1165" y="1007"/>
                    <a:pt x="1197" y="1016"/>
                    <a:pt x="1211" y="1009"/>
                  </a:cubicBezTo>
                  <a:cubicBezTo>
                    <a:pt x="1225" y="1002"/>
                    <a:pt x="1247" y="981"/>
                    <a:pt x="1247" y="981"/>
                  </a:cubicBezTo>
                  <a:cubicBezTo>
                    <a:pt x="1245" y="971"/>
                    <a:pt x="1245" y="971"/>
                    <a:pt x="1245" y="971"/>
                  </a:cubicBezTo>
                  <a:cubicBezTo>
                    <a:pt x="1245" y="971"/>
                    <a:pt x="1299" y="950"/>
                    <a:pt x="1309" y="951"/>
                  </a:cubicBezTo>
                  <a:cubicBezTo>
                    <a:pt x="1319" y="952"/>
                    <a:pt x="1322" y="962"/>
                    <a:pt x="1322" y="962"/>
                  </a:cubicBezTo>
                  <a:cubicBezTo>
                    <a:pt x="1364" y="949"/>
                    <a:pt x="1364" y="949"/>
                    <a:pt x="1364" y="949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50" y="977"/>
                    <a:pt x="1350" y="977"/>
                    <a:pt x="1350" y="977"/>
                  </a:cubicBezTo>
                  <a:cubicBezTo>
                    <a:pt x="1350" y="977"/>
                    <a:pt x="1346" y="989"/>
                    <a:pt x="1350" y="989"/>
                  </a:cubicBezTo>
                  <a:cubicBezTo>
                    <a:pt x="1354" y="989"/>
                    <a:pt x="1395" y="964"/>
                    <a:pt x="1395" y="964"/>
                  </a:cubicBezTo>
                  <a:cubicBezTo>
                    <a:pt x="1395" y="964"/>
                    <a:pt x="1356" y="994"/>
                    <a:pt x="1367" y="999"/>
                  </a:cubicBezTo>
                  <a:cubicBezTo>
                    <a:pt x="1378" y="1004"/>
                    <a:pt x="1406" y="1005"/>
                    <a:pt x="1406" y="1005"/>
                  </a:cubicBezTo>
                  <a:cubicBezTo>
                    <a:pt x="1472" y="1011"/>
                    <a:pt x="1472" y="1011"/>
                    <a:pt x="1472" y="1011"/>
                  </a:cubicBezTo>
                  <a:cubicBezTo>
                    <a:pt x="1493" y="998"/>
                    <a:pt x="1493" y="998"/>
                    <a:pt x="1493" y="998"/>
                  </a:cubicBezTo>
                  <a:cubicBezTo>
                    <a:pt x="1493" y="998"/>
                    <a:pt x="1480" y="1020"/>
                    <a:pt x="1491" y="1021"/>
                  </a:cubicBezTo>
                  <a:cubicBezTo>
                    <a:pt x="1502" y="1022"/>
                    <a:pt x="1534" y="1020"/>
                    <a:pt x="1534" y="1020"/>
                  </a:cubicBezTo>
                  <a:cubicBezTo>
                    <a:pt x="1556" y="1014"/>
                    <a:pt x="1556" y="1014"/>
                    <a:pt x="1556" y="1014"/>
                  </a:cubicBezTo>
                  <a:cubicBezTo>
                    <a:pt x="1556" y="1014"/>
                    <a:pt x="1517" y="1028"/>
                    <a:pt x="1520" y="1036"/>
                  </a:cubicBezTo>
                  <a:cubicBezTo>
                    <a:pt x="1523" y="1044"/>
                    <a:pt x="1541" y="1052"/>
                    <a:pt x="1541" y="1052"/>
                  </a:cubicBezTo>
                  <a:cubicBezTo>
                    <a:pt x="1541" y="1052"/>
                    <a:pt x="1539" y="1088"/>
                    <a:pt x="1551" y="1088"/>
                  </a:cubicBezTo>
                  <a:cubicBezTo>
                    <a:pt x="1563" y="1088"/>
                    <a:pt x="1594" y="1085"/>
                    <a:pt x="1594" y="1085"/>
                  </a:cubicBezTo>
                  <a:cubicBezTo>
                    <a:pt x="1587" y="1064"/>
                    <a:pt x="1587" y="1064"/>
                    <a:pt x="1587" y="1064"/>
                  </a:cubicBezTo>
                  <a:cubicBezTo>
                    <a:pt x="1601" y="1059"/>
                    <a:pt x="1601" y="1059"/>
                    <a:pt x="1601" y="1059"/>
                  </a:cubicBezTo>
                  <a:cubicBezTo>
                    <a:pt x="1610" y="1070"/>
                    <a:pt x="1610" y="1070"/>
                    <a:pt x="1610" y="1070"/>
                  </a:cubicBezTo>
                  <a:cubicBezTo>
                    <a:pt x="1630" y="1064"/>
                    <a:pt x="1630" y="1064"/>
                    <a:pt x="1630" y="1064"/>
                  </a:cubicBezTo>
                  <a:cubicBezTo>
                    <a:pt x="1630" y="1064"/>
                    <a:pt x="1610" y="1087"/>
                    <a:pt x="1621" y="1091"/>
                  </a:cubicBezTo>
                  <a:cubicBezTo>
                    <a:pt x="1632" y="1095"/>
                    <a:pt x="1650" y="1065"/>
                    <a:pt x="1650" y="1065"/>
                  </a:cubicBezTo>
                  <a:cubicBezTo>
                    <a:pt x="1670" y="1036"/>
                    <a:pt x="1670" y="1036"/>
                    <a:pt x="1670" y="1036"/>
                  </a:cubicBezTo>
                  <a:cubicBezTo>
                    <a:pt x="1652" y="1078"/>
                    <a:pt x="1652" y="1078"/>
                    <a:pt x="1652" y="1078"/>
                  </a:cubicBezTo>
                  <a:cubicBezTo>
                    <a:pt x="1656" y="1094"/>
                    <a:pt x="1656" y="1094"/>
                    <a:pt x="1656" y="1094"/>
                  </a:cubicBezTo>
                  <a:cubicBezTo>
                    <a:pt x="1679" y="1086"/>
                    <a:pt x="1679" y="1086"/>
                    <a:pt x="1679" y="1086"/>
                  </a:cubicBezTo>
                  <a:cubicBezTo>
                    <a:pt x="1664" y="1102"/>
                    <a:pt x="1664" y="1102"/>
                    <a:pt x="1664" y="1102"/>
                  </a:cubicBezTo>
                  <a:cubicBezTo>
                    <a:pt x="1681" y="1117"/>
                    <a:pt x="1681" y="1117"/>
                    <a:pt x="1681" y="1117"/>
                  </a:cubicBezTo>
                  <a:cubicBezTo>
                    <a:pt x="1669" y="1114"/>
                    <a:pt x="1669" y="1114"/>
                    <a:pt x="1669" y="1114"/>
                  </a:cubicBezTo>
                  <a:cubicBezTo>
                    <a:pt x="1667" y="1126"/>
                    <a:pt x="1667" y="1126"/>
                    <a:pt x="1667" y="1126"/>
                  </a:cubicBezTo>
                  <a:cubicBezTo>
                    <a:pt x="1648" y="1139"/>
                    <a:pt x="1648" y="1139"/>
                    <a:pt x="1648" y="1139"/>
                  </a:cubicBezTo>
                  <a:cubicBezTo>
                    <a:pt x="1636" y="1149"/>
                    <a:pt x="1636" y="1149"/>
                    <a:pt x="1636" y="1149"/>
                  </a:cubicBezTo>
                  <a:cubicBezTo>
                    <a:pt x="1657" y="1160"/>
                    <a:pt x="1657" y="1160"/>
                    <a:pt x="1657" y="1160"/>
                  </a:cubicBezTo>
                  <a:cubicBezTo>
                    <a:pt x="1654" y="1181"/>
                    <a:pt x="1654" y="1181"/>
                    <a:pt x="1654" y="1181"/>
                  </a:cubicBezTo>
                  <a:cubicBezTo>
                    <a:pt x="1642" y="1193"/>
                    <a:pt x="1642" y="1193"/>
                    <a:pt x="1642" y="1193"/>
                  </a:cubicBezTo>
                  <a:cubicBezTo>
                    <a:pt x="1654" y="1198"/>
                    <a:pt x="1654" y="1198"/>
                    <a:pt x="1654" y="1198"/>
                  </a:cubicBezTo>
                  <a:cubicBezTo>
                    <a:pt x="1639" y="1212"/>
                    <a:pt x="1639" y="1212"/>
                    <a:pt x="1639" y="1212"/>
                  </a:cubicBezTo>
                  <a:cubicBezTo>
                    <a:pt x="1660" y="1212"/>
                    <a:pt x="1660" y="1212"/>
                    <a:pt x="1660" y="1212"/>
                  </a:cubicBezTo>
                  <a:cubicBezTo>
                    <a:pt x="1685" y="1203"/>
                    <a:pt x="1685" y="1203"/>
                    <a:pt x="1685" y="1203"/>
                  </a:cubicBezTo>
                  <a:cubicBezTo>
                    <a:pt x="1663" y="1229"/>
                    <a:pt x="1663" y="1229"/>
                    <a:pt x="1663" y="1229"/>
                  </a:cubicBezTo>
                  <a:cubicBezTo>
                    <a:pt x="1652" y="1239"/>
                    <a:pt x="1652" y="1239"/>
                    <a:pt x="1652" y="1239"/>
                  </a:cubicBezTo>
                  <a:cubicBezTo>
                    <a:pt x="1667" y="1244"/>
                    <a:pt x="1667" y="1244"/>
                    <a:pt x="1667" y="1244"/>
                  </a:cubicBezTo>
                  <a:cubicBezTo>
                    <a:pt x="1637" y="1256"/>
                    <a:pt x="1637" y="1256"/>
                    <a:pt x="1637" y="1256"/>
                  </a:cubicBezTo>
                  <a:cubicBezTo>
                    <a:pt x="1623" y="1264"/>
                    <a:pt x="1623" y="1264"/>
                    <a:pt x="1623" y="1264"/>
                  </a:cubicBezTo>
                  <a:cubicBezTo>
                    <a:pt x="1637" y="1270"/>
                    <a:pt x="1637" y="1270"/>
                    <a:pt x="1637" y="1270"/>
                  </a:cubicBezTo>
                  <a:cubicBezTo>
                    <a:pt x="1637" y="1270"/>
                    <a:pt x="1636" y="1273"/>
                    <a:pt x="1634" y="1277"/>
                  </a:cubicBezTo>
                  <a:cubicBezTo>
                    <a:pt x="1632" y="1282"/>
                    <a:pt x="1631" y="1287"/>
                    <a:pt x="1630" y="1291"/>
                  </a:cubicBezTo>
                  <a:cubicBezTo>
                    <a:pt x="1629" y="1298"/>
                    <a:pt x="1624" y="1312"/>
                    <a:pt x="1624" y="1312"/>
                  </a:cubicBezTo>
                  <a:cubicBezTo>
                    <a:pt x="1615" y="1318"/>
                    <a:pt x="1615" y="1318"/>
                    <a:pt x="1615" y="1318"/>
                  </a:cubicBezTo>
                  <a:cubicBezTo>
                    <a:pt x="1615" y="1318"/>
                    <a:pt x="1624" y="1322"/>
                    <a:pt x="1625" y="1329"/>
                  </a:cubicBezTo>
                  <a:cubicBezTo>
                    <a:pt x="1626" y="1336"/>
                    <a:pt x="1633" y="1339"/>
                    <a:pt x="1633" y="1339"/>
                  </a:cubicBezTo>
                  <a:cubicBezTo>
                    <a:pt x="1633" y="1339"/>
                    <a:pt x="1683" y="1300"/>
                    <a:pt x="1683" y="1309"/>
                  </a:cubicBezTo>
                  <a:cubicBezTo>
                    <a:pt x="1683" y="1318"/>
                    <a:pt x="1667" y="1319"/>
                    <a:pt x="1665" y="1324"/>
                  </a:cubicBezTo>
                  <a:cubicBezTo>
                    <a:pt x="1663" y="1329"/>
                    <a:pt x="1667" y="1339"/>
                    <a:pt x="1667" y="1339"/>
                  </a:cubicBezTo>
                  <a:cubicBezTo>
                    <a:pt x="1676" y="1346"/>
                    <a:pt x="1676" y="1346"/>
                    <a:pt x="1676" y="1346"/>
                  </a:cubicBezTo>
                  <a:cubicBezTo>
                    <a:pt x="1647" y="1345"/>
                    <a:pt x="1647" y="1345"/>
                    <a:pt x="1647" y="1345"/>
                  </a:cubicBezTo>
                  <a:cubicBezTo>
                    <a:pt x="1647" y="1345"/>
                    <a:pt x="1625" y="1372"/>
                    <a:pt x="1635" y="1373"/>
                  </a:cubicBezTo>
                  <a:cubicBezTo>
                    <a:pt x="1645" y="1374"/>
                    <a:pt x="1651" y="1380"/>
                    <a:pt x="1651" y="1380"/>
                  </a:cubicBezTo>
                  <a:cubicBezTo>
                    <a:pt x="1651" y="1380"/>
                    <a:pt x="1639" y="1401"/>
                    <a:pt x="1646" y="1398"/>
                  </a:cubicBezTo>
                  <a:cubicBezTo>
                    <a:pt x="1653" y="1395"/>
                    <a:pt x="1694" y="1367"/>
                    <a:pt x="1694" y="1367"/>
                  </a:cubicBezTo>
                  <a:cubicBezTo>
                    <a:pt x="1693" y="1376"/>
                    <a:pt x="1693" y="1376"/>
                    <a:pt x="1693" y="1376"/>
                  </a:cubicBezTo>
                  <a:cubicBezTo>
                    <a:pt x="1674" y="1387"/>
                    <a:pt x="1674" y="1387"/>
                    <a:pt x="1674" y="1387"/>
                  </a:cubicBezTo>
                  <a:cubicBezTo>
                    <a:pt x="1689" y="1393"/>
                    <a:pt x="1689" y="1393"/>
                    <a:pt x="1689" y="1393"/>
                  </a:cubicBezTo>
                  <a:cubicBezTo>
                    <a:pt x="1689" y="1393"/>
                    <a:pt x="1684" y="1413"/>
                    <a:pt x="1676" y="1411"/>
                  </a:cubicBezTo>
                  <a:cubicBezTo>
                    <a:pt x="1668" y="1409"/>
                    <a:pt x="1666" y="1400"/>
                    <a:pt x="1666" y="1400"/>
                  </a:cubicBezTo>
                  <a:cubicBezTo>
                    <a:pt x="1666" y="1400"/>
                    <a:pt x="1633" y="1410"/>
                    <a:pt x="1627" y="1416"/>
                  </a:cubicBezTo>
                  <a:cubicBezTo>
                    <a:pt x="1621" y="1422"/>
                    <a:pt x="1615" y="1430"/>
                    <a:pt x="1615" y="1430"/>
                  </a:cubicBezTo>
                  <a:cubicBezTo>
                    <a:pt x="1615" y="1430"/>
                    <a:pt x="1633" y="1425"/>
                    <a:pt x="1638" y="1425"/>
                  </a:cubicBezTo>
                  <a:cubicBezTo>
                    <a:pt x="1643" y="1425"/>
                    <a:pt x="1664" y="1425"/>
                    <a:pt x="1664" y="1425"/>
                  </a:cubicBezTo>
                  <a:cubicBezTo>
                    <a:pt x="1664" y="1425"/>
                    <a:pt x="1628" y="1434"/>
                    <a:pt x="1622" y="1437"/>
                  </a:cubicBezTo>
                  <a:cubicBezTo>
                    <a:pt x="1616" y="1440"/>
                    <a:pt x="1620" y="1448"/>
                    <a:pt x="1620" y="1448"/>
                  </a:cubicBezTo>
                  <a:cubicBezTo>
                    <a:pt x="1620" y="1448"/>
                    <a:pt x="1587" y="1436"/>
                    <a:pt x="1596" y="1450"/>
                  </a:cubicBezTo>
                  <a:cubicBezTo>
                    <a:pt x="1605" y="1464"/>
                    <a:pt x="1614" y="1468"/>
                    <a:pt x="1614" y="1468"/>
                  </a:cubicBezTo>
                  <a:cubicBezTo>
                    <a:pt x="1646" y="1457"/>
                    <a:pt x="1646" y="1457"/>
                    <a:pt x="1646" y="1457"/>
                  </a:cubicBezTo>
                  <a:cubicBezTo>
                    <a:pt x="1655" y="1472"/>
                    <a:pt x="1655" y="1472"/>
                    <a:pt x="1655" y="1472"/>
                  </a:cubicBezTo>
                  <a:cubicBezTo>
                    <a:pt x="1680" y="1458"/>
                    <a:pt x="1680" y="1458"/>
                    <a:pt x="1680" y="1458"/>
                  </a:cubicBezTo>
                  <a:cubicBezTo>
                    <a:pt x="1680" y="1458"/>
                    <a:pt x="1647" y="1492"/>
                    <a:pt x="1658" y="1491"/>
                  </a:cubicBezTo>
                  <a:cubicBezTo>
                    <a:pt x="1669" y="1490"/>
                    <a:pt x="1699" y="1467"/>
                    <a:pt x="1699" y="1467"/>
                  </a:cubicBezTo>
                  <a:cubicBezTo>
                    <a:pt x="1699" y="1467"/>
                    <a:pt x="1672" y="1497"/>
                    <a:pt x="1676" y="1497"/>
                  </a:cubicBezTo>
                  <a:cubicBezTo>
                    <a:pt x="1680" y="1497"/>
                    <a:pt x="1698" y="1492"/>
                    <a:pt x="1698" y="1492"/>
                  </a:cubicBezTo>
                  <a:cubicBezTo>
                    <a:pt x="1698" y="1492"/>
                    <a:pt x="1660" y="1521"/>
                    <a:pt x="1672" y="1522"/>
                  </a:cubicBezTo>
                  <a:cubicBezTo>
                    <a:pt x="1684" y="1523"/>
                    <a:pt x="1711" y="1503"/>
                    <a:pt x="1711" y="1503"/>
                  </a:cubicBezTo>
                  <a:cubicBezTo>
                    <a:pt x="1711" y="1503"/>
                    <a:pt x="1685" y="1531"/>
                    <a:pt x="1692" y="1533"/>
                  </a:cubicBezTo>
                  <a:cubicBezTo>
                    <a:pt x="1699" y="1535"/>
                    <a:pt x="1715" y="1539"/>
                    <a:pt x="1715" y="1542"/>
                  </a:cubicBezTo>
                  <a:cubicBezTo>
                    <a:pt x="1715" y="1544"/>
                    <a:pt x="1713" y="1561"/>
                    <a:pt x="1710" y="1574"/>
                  </a:cubicBezTo>
                  <a:cubicBezTo>
                    <a:pt x="1710" y="1574"/>
                    <a:pt x="1710" y="1574"/>
                    <a:pt x="1710" y="1574"/>
                  </a:cubicBezTo>
                  <a:cubicBezTo>
                    <a:pt x="1709" y="1581"/>
                    <a:pt x="1707" y="1587"/>
                    <a:pt x="1706" y="1589"/>
                  </a:cubicBezTo>
                  <a:cubicBezTo>
                    <a:pt x="1702" y="1595"/>
                    <a:pt x="1701" y="1619"/>
                    <a:pt x="1701" y="1619"/>
                  </a:cubicBezTo>
                  <a:cubicBezTo>
                    <a:pt x="1679" y="1631"/>
                    <a:pt x="1679" y="1631"/>
                    <a:pt x="1679" y="1631"/>
                  </a:cubicBezTo>
                  <a:cubicBezTo>
                    <a:pt x="1677" y="1643"/>
                    <a:pt x="1677" y="1643"/>
                    <a:pt x="1677" y="1643"/>
                  </a:cubicBezTo>
                  <a:cubicBezTo>
                    <a:pt x="1666" y="1658"/>
                    <a:pt x="1666" y="1658"/>
                    <a:pt x="1666" y="1658"/>
                  </a:cubicBezTo>
                  <a:cubicBezTo>
                    <a:pt x="1634" y="1669"/>
                    <a:pt x="1634" y="1669"/>
                    <a:pt x="1634" y="1669"/>
                  </a:cubicBezTo>
                  <a:cubicBezTo>
                    <a:pt x="1657" y="1656"/>
                    <a:pt x="1657" y="1656"/>
                    <a:pt x="1657" y="1656"/>
                  </a:cubicBezTo>
                  <a:cubicBezTo>
                    <a:pt x="1642" y="1654"/>
                    <a:pt x="1642" y="1654"/>
                    <a:pt x="1642" y="1654"/>
                  </a:cubicBezTo>
                  <a:cubicBezTo>
                    <a:pt x="1642" y="1654"/>
                    <a:pt x="1656" y="1634"/>
                    <a:pt x="1660" y="1631"/>
                  </a:cubicBezTo>
                  <a:cubicBezTo>
                    <a:pt x="1664" y="1628"/>
                    <a:pt x="1684" y="1614"/>
                    <a:pt x="1674" y="1614"/>
                  </a:cubicBezTo>
                  <a:cubicBezTo>
                    <a:pt x="1664" y="1614"/>
                    <a:pt x="1655" y="1616"/>
                    <a:pt x="1645" y="1615"/>
                  </a:cubicBezTo>
                  <a:cubicBezTo>
                    <a:pt x="1635" y="1614"/>
                    <a:pt x="1626" y="1596"/>
                    <a:pt x="1617" y="1600"/>
                  </a:cubicBezTo>
                  <a:cubicBezTo>
                    <a:pt x="1608" y="1604"/>
                    <a:pt x="1599" y="1596"/>
                    <a:pt x="1597" y="1617"/>
                  </a:cubicBezTo>
                  <a:cubicBezTo>
                    <a:pt x="1595" y="1638"/>
                    <a:pt x="1597" y="1650"/>
                    <a:pt x="1594" y="1652"/>
                  </a:cubicBezTo>
                  <a:cubicBezTo>
                    <a:pt x="1591" y="1654"/>
                    <a:pt x="1581" y="1669"/>
                    <a:pt x="1581" y="1669"/>
                  </a:cubicBezTo>
                  <a:cubicBezTo>
                    <a:pt x="1599" y="1673"/>
                    <a:pt x="1599" y="1673"/>
                    <a:pt x="1599" y="1673"/>
                  </a:cubicBezTo>
                  <a:cubicBezTo>
                    <a:pt x="1580" y="1676"/>
                    <a:pt x="1580" y="1676"/>
                    <a:pt x="1580" y="1676"/>
                  </a:cubicBezTo>
                  <a:cubicBezTo>
                    <a:pt x="1583" y="1687"/>
                    <a:pt x="1583" y="1687"/>
                    <a:pt x="1583" y="1687"/>
                  </a:cubicBezTo>
                  <a:cubicBezTo>
                    <a:pt x="1572" y="1704"/>
                    <a:pt x="1572" y="1704"/>
                    <a:pt x="1572" y="1704"/>
                  </a:cubicBezTo>
                  <a:cubicBezTo>
                    <a:pt x="1572" y="1704"/>
                    <a:pt x="1593" y="1712"/>
                    <a:pt x="1592" y="1716"/>
                  </a:cubicBezTo>
                  <a:cubicBezTo>
                    <a:pt x="1591" y="1720"/>
                    <a:pt x="1560" y="1714"/>
                    <a:pt x="1560" y="1714"/>
                  </a:cubicBezTo>
                  <a:cubicBezTo>
                    <a:pt x="1560" y="1714"/>
                    <a:pt x="1521" y="1774"/>
                    <a:pt x="1511" y="1786"/>
                  </a:cubicBezTo>
                  <a:cubicBezTo>
                    <a:pt x="1501" y="1798"/>
                    <a:pt x="1454" y="1854"/>
                    <a:pt x="1454" y="1854"/>
                  </a:cubicBezTo>
                  <a:cubicBezTo>
                    <a:pt x="1456" y="1869"/>
                    <a:pt x="1456" y="1869"/>
                    <a:pt x="1456" y="1869"/>
                  </a:cubicBezTo>
                  <a:cubicBezTo>
                    <a:pt x="1456" y="1869"/>
                    <a:pt x="1443" y="1871"/>
                    <a:pt x="1432" y="1883"/>
                  </a:cubicBezTo>
                  <a:cubicBezTo>
                    <a:pt x="1421" y="1895"/>
                    <a:pt x="1421" y="1913"/>
                    <a:pt x="1421" y="1913"/>
                  </a:cubicBezTo>
                  <a:cubicBezTo>
                    <a:pt x="1408" y="1926"/>
                    <a:pt x="1408" y="1926"/>
                    <a:pt x="1408" y="1926"/>
                  </a:cubicBezTo>
                  <a:cubicBezTo>
                    <a:pt x="1405" y="1960"/>
                    <a:pt x="1405" y="1960"/>
                    <a:pt x="1405" y="1960"/>
                  </a:cubicBezTo>
                  <a:cubicBezTo>
                    <a:pt x="1405" y="1960"/>
                    <a:pt x="1381" y="1992"/>
                    <a:pt x="1375" y="1998"/>
                  </a:cubicBezTo>
                  <a:cubicBezTo>
                    <a:pt x="1369" y="2004"/>
                    <a:pt x="1348" y="2016"/>
                    <a:pt x="1350" y="2027"/>
                  </a:cubicBezTo>
                  <a:cubicBezTo>
                    <a:pt x="1352" y="2038"/>
                    <a:pt x="1368" y="2045"/>
                    <a:pt x="1365" y="2055"/>
                  </a:cubicBezTo>
                  <a:cubicBezTo>
                    <a:pt x="1362" y="2065"/>
                    <a:pt x="1342" y="2089"/>
                    <a:pt x="1342" y="2101"/>
                  </a:cubicBezTo>
                  <a:cubicBezTo>
                    <a:pt x="1342" y="2113"/>
                    <a:pt x="1355" y="2154"/>
                    <a:pt x="1355" y="2154"/>
                  </a:cubicBezTo>
                  <a:cubicBezTo>
                    <a:pt x="1371" y="2144"/>
                    <a:pt x="1371" y="2144"/>
                    <a:pt x="1371" y="2144"/>
                  </a:cubicBezTo>
                  <a:cubicBezTo>
                    <a:pt x="1416" y="2148"/>
                    <a:pt x="1416" y="2148"/>
                    <a:pt x="1416" y="2148"/>
                  </a:cubicBezTo>
                  <a:cubicBezTo>
                    <a:pt x="1416" y="2148"/>
                    <a:pt x="1378" y="2148"/>
                    <a:pt x="1375" y="2154"/>
                  </a:cubicBezTo>
                  <a:cubicBezTo>
                    <a:pt x="1372" y="2160"/>
                    <a:pt x="1373" y="2174"/>
                    <a:pt x="1373" y="2174"/>
                  </a:cubicBezTo>
                  <a:cubicBezTo>
                    <a:pt x="1373" y="2174"/>
                    <a:pt x="1362" y="2159"/>
                    <a:pt x="1358" y="2165"/>
                  </a:cubicBezTo>
                  <a:cubicBezTo>
                    <a:pt x="1354" y="2171"/>
                    <a:pt x="1344" y="2190"/>
                    <a:pt x="1349" y="2198"/>
                  </a:cubicBezTo>
                  <a:cubicBezTo>
                    <a:pt x="1354" y="2206"/>
                    <a:pt x="1367" y="2206"/>
                    <a:pt x="1367" y="2206"/>
                  </a:cubicBezTo>
                  <a:cubicBezTo>
                    <a:pt x="1367" y="2206"/>
                    <a:pt x="1365" y="2227"/>
                    <a:pt x="1362" y="2227"/>
                  </a:cubicBezTo>
                  <a:cubicBezTo>
                    <a:pt x="1359" y="2227"/>
                    <a:pt x="1349" y="2239"/>
                    <a:pt x="1349" y="2248"/>
                  </a:cubicBezTo>
                  <a:cubicBezTo>
                    <a:pt x="1349" y="2257"/>
                    <a:pt x="1362" y="2272"/>
                    <a:pt x="1362" y="2272"/>
                  </a:cubicBezTo>
                  <a:cubicBezTo>
                    <a:pt x="1362" y="2272"/>
                    <a:pt x="1382" y="2302"/>
                    <a:pt x="1381" y="2309"/>
                  </a:cubicBezTo>
                  <a:cubicBezTo>
                    <a:pt x="1380" y="2316"/>
                    <a:pt x="1358" y="2338"/>
                    <a:pt x="1370" y="2342"/>
                  </a:cubicBezTo>
                  <a:cubicBezTo>
                    <a:pt x="1382" y="2346"/>
                    <a:pt x="1407" y="2346"/>
                    <a:pt x="1407" y="2346"/>
                  </a:cubicBezTo>
                  <a:cubicBezTo>
                    <a:pt x="1407" y="2346"/>
                    <a:pt x="1409" y="2367"/>
                    <a:pt x="1421" y="2367"/>
                  </a:cubicBezTo>
                  <a:cubicBezTo>
                    <a:pt x="1433" y="2367"/>
                    <a:pt x="1450" y="2361"/>
                    <a:pt x="1450" y="2361"/>
                  </a:cubicBezTo>
                  <a:cubicBezTo>
                    <a:pt x="1453" y="2380"/>
                    <a:pt x="1453" y="2380"/>
                    <a:pt x="1453" y="2380"/>
                  </a:cubicBezTo>
                  <a:cubicBezTo>
                    <a:pt x="1453" y="2380"/>
                    <a:pt x="1485" y="2391"/>
                    <a:pt x="1485" y="2406"/>
                  </a:cubicBezTo>
                  <a:cubicBezTo>
                    <a:pt x="1485" y="2414"/>
                    <a:pt x="1482" y="2428"/>
                    <a:pt x="1480" y="2440"/>
                  </a:cubicBezTo>
                  <a:cubicBezTo>
                    <a:pt x="1478" y="2450"/>
                    <a:pt x="1476" y="2458"/>
                    <a:pt x="1476" y="2463"/>
                  </a:cubicBezTo>
                  <a:cubicBezTo>
                    <a:pt x="1476" y="2474"/>
                    <a:pt x="1489" y="2492"/>
                    <a:pt x="1489" y="2492"/>
                  </a:cubicBezTo>
                  <a:cubicBezTo>
                    <a:pt x="1478" y="2499"/>
                    <a:pt x="1478" y="2499"/>
                    <a:pt x="1478" y="2499"/>
                  </a:cubicBezTo>
                  <a:cubicBezTo>
                    <a:pt x="1486" y="2514"/>
                    <a:pt x="1486" y="2514"/>
                    <a:pt x="1486" y="2514"/>
                  </a:cubicBezTo>
                  <a:cubicBezTo>
                    <a:pt x="1479" y="2524"/>
                    <a:pt x="1479" y="2524"/>
                    <a:pt x="1479" y="2524"/>
                  </a:cubicBezTo>
                  <a:cubicBezTo>
                    <a:pt x="1492" y="2535"/>
                    <a:pt x="1492" y="2535"/>
                    <a:pt x="1492" y="2535"/>
                  </a:cubicBezTo>
                  <a:cubicBezTo>
                    <a:pt x="1481" y="2555"/>
                    <a:pt x="1481" y="2555"/>
                    <a:pt x="1481" y="2555"/>
                  </a:cubicBezTo>
                  <a:cubicBezTo>
                    <a:pt x="1490" y="2559"/>
                    <a:pt x="1490" y="2559"/>
                    <a:pt x="1490" y="2559"/>
                  </a:cubicBezTo>
                  <a:cubicBezTo>
                    <a:pt x="1490" y="2559"/>
                    <a:pt x="1487" y="2600"/>
                    <a:pt x="1496" y="2609"/>
                  </a:cubicBezTo>
                  <a:cubicBezTo>
                    <a:pt x="1505" y="2618"/>
                    <a:pt x="1518" y="2614"/>
                    <a:pt x="1518" y="2614"/>
                  </a:cubicBezTo>
                  <a:cubicBezTo>
                    <a:pt x="1518" y="2614"/>
                    <a:pt x="1542" y="2657"/>
                    <a:pt x="1542" y="2665"/>
                  </a:cubicBezTo>
                  <a:cubicBezTo>
                    <a:pt x="1542" y="2673"/>
                    <a:pt x="1523" y="2698"/>
                    <a:pt x="1523" y="2698"/>
                  </a:cubicBezTo>
                  <a:cubicBezTo>
                    <a:pt x="1534" y="2705"/>
                    <a:pt x="1534" y="2705"/>
                    <a:pt x="1534" y="2705"/>
                  </a:cubicBezTo>
                  <a:cubicBezTo>
                    <a:pt x="1526" y="2714"/>
                    <a:pt x="1526" y="2714"/>
                    <a:pt x="1526" y="2714"/>
                  </a:cubicBezTo>
                  <a:cubicBezTo>
                    <a:pt x="1517" y="2702"/>
                    <a:pt x="1517" y="2702"/>
                    <a:pt x="1517" y="2702"/>
                  </a:cubicBezTo>
                  <a:cubicBezTo>
                    <a:pt x="1483" y="2699"/>
                    <a:pt x="1483" y="2699"/>
                    <a:pt x="1483" y="2699"/>
                  </a:cubicBezTo>
                  <a:cubicBezTo>
                    <a:pt x="1499" y="2717"/>
                    <a:pt x="1499" y="2717"/>
                    <a:pt x="1499" y="2717"/>
                  </a:cubicBezTo>
                  <a:cubicBezTo>
                    <a:pt x="1505" y="2733"/>
                    <a:pt x="1505" y="2733"/>
                    <a:pt x="1505" y="2733"/>
                  </a:cubicBezTo>
                  <a:cubicBezTo>
                    <a:pt x="1519" y="2734"/>
                    <a:pt x="1519" y="2734"/>
                    <a:pt x="1519" y="2734"/>
                  </a:cubicBezTo>
                  <a:cubicBezTo>
                    <a:pt x="1519" y="2734"/>
                    <a:pt x="1536" y="2757"/>
                    <a:pt x="1541" y="2755"/>
                  </a:cubicBezTo>
                  <a:cubicBezTo>
                    <a:pt x="1546" y="2753"/>
                    <a:pt x="1561" y="2743"/>
                    <a:pt x="1561" y="2743"/>
                  </a:cubicBezTo>
                  <a:cubicBezTo>
                    <a:pt x="1561" y="2743"/>
                    <a:pt x="1560" y="2766"/>
                    <a:pt x="1567" y="2775"/>
                  </a:cubicBezTo>
                  <a:cubicBezTo>
                    <a:pt x="1574" y="2784"/>
                    <a:pt x="1589" y="2796"/>
                    <a:pt x="1589" y="2806"/>
                  </a:cubicBezTo>
                  <a:cubicBezTo>
                    <a:pt x="1589" y="2816"/>
                    <a:pt x="1572" y="2836"/>
                    <a:pt x="1578" y="2850"/>
                  </a:cubicBezTo>
                  <a:cubicBezTo>
                    <a:pt x="1584" y="2864"/>
                    <a:pt x="1604" y="2880"/>
                    <a:pt x="1618" y="2897"/>
                  </a:cubicBezTo>
                  <a:cubicBezTo>
                    <a:pt x="1632" y="2914"/>
                    <a:pt x="1651" y="2935"/>
                    <a:pt x="1651" y="2935"/>
                  </a:cubicBezTo>
                  <a:cubicBezTo>
                    <a:pt x="1651" y="2935"/>
                    <a:pt x="1638" y="2962"/>
                    <a:pt x="1654" y="2963"/>
                  </a:cubicBezTo>
                  <a:cubicBezTo>
                    <a:pt x="1670" y="2964"/>
                    <a:pt x="1686" y="2944"/>
                    <a:pt x="1686" y="2944"/>
                  </a:cubicBezTo>
                  <a:cubicBezTo>
                    <a:pt x="1682" y="2931"/>
                    <a:pt x="1682" y="2931"/>
                    <a:pt x="1682" y="2931"/>
                  </a:cubicBezTo>
                  <a:cubicBezTo>
                    <a:pt x="1682" y="2931"/>
                    <a:pt x="1674" y="2895"/>
                    <a:pt x="1666" y="2891"/>
                  </a:cubicBezTo>
                  <a:cubicBezTo>
                    <a:pt x="1658" y="2887"/>
                    <a:pt x="1648" y="2890"/>
                    <a:pt x="1648" y="2890"/>
                  </a:cubicBezTo>
                  <a:cubicBezTo>
                    <a:pt x="1636" y="2873"/>
                    <a:pt x="1636" y="2873"/>
                    <a:pt x="1636" y="2873"/>
                  </a:cubicBezTo>
                  <a:cubicBezTo>
                    <a:pt x="1636" y="2873"/>
                    <a:pt x="1640" y="2860"/>
                    <a:pt x="1638" y="2852"/>
                  </a:cubicBezTo>
                  <a:cubicBezTo>
                    <a:pt x="1636" y="2844"/>
                    <a:pt x="1638" y="2825"/>
                    <a:pt x="1638" y="2825"/>
                  </a:cubicBezTo>
                  <a:cubicBezTo>
                    <a:pt x="1626" y="2803"/>
                    <a:pt x="1626" y="2803"/>
                    <a:pt x="1626" y="2803"/>
                  </a:cubicBezTo>
                  <a:cubicBezTo>
                    <a:pt x="1626" y="2803"/>
                    <a:pt x="1636" y="2779"/>
                    <a:pt x="1632" y="2767"/>
                  </a:cubicBezTo>
                  <a:cubicBezTo>
                    <a:pt x="1628" y="2755"/>
                    <a:pt x="1607" y="2757"/>
                    <a:pt x="1607" y="2757"/>
                  </a:cubicBezTo>
                  <a:cubicBezTo>
                    <a:pt x="1607" y="2726"/>
                    <a:pt x="1607" y="2726"/>
                    <a:pt x="1607" y="2726"/>
                  </a:cubicBezTo>
                  <a:cubicBezTo>
                    <a:pt x="1590" y="2705"/>
                    <a:pt x="1590" y="2705"/>
                    <a:pt x="1590" y="2705"/>
                  </a:cubicBezTo>
                  <a:cubicBezTo>
                    <a:pt x="1592" y="2665"/>
                    <a:pt x="1592" y="2665"/>
                    <a:pt x="1592" y="2665"/>
                  </a:cubicBezTo>
                  <a:cubicBezTo>
                    <a:pt x="1592" y="2665"/>
                    <a:pt x="1578" y="2645"/>
                    <a:pt x="1573" y="2639"/>
                  </a:cubicBezTo>
                  <a:cubicBezTo>
                    <a:pt x="1568" y="2633"/>
                    <a:pt x="1565" y="2608"/>
                    <a:pt x="1565" y="2608"/>
                  </a:cubicBezTo>
                  <a:cubicBezTo>
                    <a:pt x="1565" y="2608"/>
                    <a:pt x="1539" y="2570"/>
                    <a:pt x="1542" y="2566"/>
                  </a:cubicBezTo>
                  <a:cubicBezTo>
                    <a:pt x="1545" y="2562"/>
                    <a:pt x="1555" y="2545"/>
                    <a:pt x="1551" y="2533"/>
                  </a:cubicBezTo>
                  <a:cubicBezTo>
                    <a:pt x="1547" y="2521"/>
                    <a:pt x="1561" y="2505"/>
                    <a:pt x="1561" y="2505"/>
                  </a:cubicBezTo>
                  <a:cubicBezTo>
                    <a:pt x="1560" y="2480"/>
                    <a:pt x="1560" y="2480"/>
                    <a:pt x="1560" y="2480"/>
                  </a:cubicBezTo>
                  <a:cubicBezTo>
                    <a:pt x="1560" y="2480"/>
                    <a:pt x="1580" y="2500"/>
                    <a:pt x="1589" y="2500"/>
                  </a:cubicBezTo>
                  <a:cubicBezTo>
                    <a:pt x="1598" y="2500"/>
                    <a:pt x="1610" y="2496"/>
                    <a:pt x="1610" y="2496"/>
                  </a:cubicBezTo>
                  <a:cubicBezTo>
                    <a:pt x="1610" y="2496"/>
                    <a:pt x="1607" y="2507"/>
                    <a:pt x="1614" y="2511"/>
                  </a:cubicBezTo>
                  <a:cubicBezTo>
                    <a:pt x="1621" y="2515"/>
                    <a:pt x="1631" y="2515"/>
                    <a:pt x="1631" y="2515"/>
                  </a:cubicBezTo>
                  <a:cubicBezTo>
                    <a:pt x="1631" y="2515"/>
                    <a:pt x="1628" y="2526"/>
                    <a:pt x="1628" y="2544"/>
                  </a:cubicBezTo>
                  <a:cubicBezTo>
                    <a:pt x="1628" y="2562"/>
                    <a:pt x="1636" y="2618"/>
                    <a:pt x="1636" y="2618"/>
                  </a:cubicBezTo>
                  <a:cubicBezTo>
                    <a:pt x="1636" y="2618"/>
                    <a:pt x="1657" y="2693"/>
                    <a:pt x="1665" y="2695"/>
                  </a:cubicBezTo>
                  <a:cubicBezTo>
                    <a:pt x="1673" y="2697"/>
                    <a:pt x="1693" y="2695"/>
                    <a:pt x="1693" y="2695"/>
                  </a:cubicBezTo>
                  <a:cubicBezTo>
                    <a:pt x="1693" y="2695"/>
                    <a:pt x="1675" y="2706"/>
                    <a:pt x="1684" y="2722"/>
                  </a:cubicBezTo>
                  <a:cubicBezTo>
                    <a:pt x="1693" y="2738"/>
                    <a:pt x="1710" y="2740"/>
                    <a:pt x="1710" y="2740"/>
                  </a:cubicBezTo>
                  <a:cubicBezTo>
                    <a:pt x="1712" y="2755"/>
                    <a:pt x="1712" y="2755"/>
                    <a:pt x="1712" y="2755"/>
                  </a:cubicBezTo>
                  <a:cubicBezTo>
                    <a:pt x="1733" y="2756"/>
                    <a:pt x="1733" y="2756"/>
                    <a:pt x="1733" y="2756"/>
                  </a:cubicBezTo>
                  <a:cubicBezTo>
                    <a:pt x="1736" y="2784"/>
                    <a:pt x="1736" y="2784"/>
                    <a:pt x="1736" y="2784"/>
                  </a:cubicBezTo>
                  <a:cubicBezTo>
                    <a:pt x="1736" y="2784"/>
                    <a:pt x="1704" y="2797"/>
                    <a:pt x="1714" y="2812"/>
                  </a:cubicBezTo>
                  <a:cubicBezTo>
                    <a:pt x="1724" y="2827"/>
                    <a:pt x="1731" y="2813"/>
                    <a:pt x="1731" y="2813"/>
                  </a:cubicBezTo>
                  <a:cubicBezTo>
                    <a:pt x="1731" y="2813"/>
                    <a:pt x="1740" y="2833"/>
                    <a:pt x="1746" y="2835"/>
                  </a:cubicBezTo>
                  <a:cubicBezTo>
                    <a:pt x="1752" y="2837"/>
                    <a:pt x="1770" y="2839"/>
                    <a:pt x="1770" y="2842"/>
                  </a:cubicBezTo>
                  <a:cubicBezTo>
                    <a:pt x="1770" y="2845"/>
                    <a:pt x="1770" y="2856"/>
                    <a:pt x="1770" y="2856"/>
                  </a:cubicBezTo>
                  <a:cubicBezTo>
                    <a:pt x="1770" y="2856"/>
                    <a:pt x="1755" y="2875"/>
                    <a:pt x="1766" y="2876"/>
                  </a:cubicBezTo>
                  <a:cubicBezTo>
                    <a:pt x="1777" y="2877"/>
                    <a:pt x="1789" y="2875"/>
                    <a:pt x="1789" y="2875"/>
                  </a:cubicBezTo>
                  <a:cubicBezTo>
                    <a:pt x="1789" y="2894"/>
                    <a:pt x="1789" y="2894"/>
                    <a:pt x="1789" y="2894"/>
                  </a:cubicBezTo>
                  <a:cubicBezTo>
                    <a:pt x="1789" y="2894"/>
                    <a:pt x="1811" y="2919"/>
                    <a:pt x="1821" y="2933"/>
                  </a:cubicBezTo>
                  <a:cubicBezTo>
                    <a:pt x="1831" y="2947"/>
                    <a:pt x="1849" y="2976"/>
                    <a:pt x="1849" y="2985"/>
                  </a:cubicBezTo>
                  <a:cubicBezTo>
                    <a:pt x="1849" y="2994"/>
                    <a:pt x="1846" y="3000"/>
                    <a:pt x="1847" y="3013"/>
                  </a:cubicBezTo>
                  <a:cubicBezTo>
                    <a:pt x="1848" y="3026"/>
                    <a:pt x="1862" y="3033"/>
                    <a:pt x="1860" y="3044"/>
                  </a:cubicBezTo>
                  <a:cubicBezTo>
                    <a:pt x="1858" y="3055"/>
                    <a:pt x="1840" y="3063"/>
                    <a:pt x="1840" y="3070"/>
                  </a:cubicBezTo>
                  <a:cubicBezTo>
                    <a:pt x="1840" y="3077"/>
                    <a:pt x="1851" y="3083"/>
                    <a:pt x="1851" y="3083"/>
                  </a:cubicBezTo>
                  <a:cubicBezTo>
                    <a:pt x="1851" y="3083"/>
                    <a:pt x="1827" y="3080"/>
                    <a:pt x="1827" y="3097"/>
                  </a:cubicBezTo>
                  <a:cubicBezTo>
                    <a:pt x="1827" y="3114"/>
                    <a:pt x="1826" y="3155"/>
                    <a:pt x="1849" y="3157"/>
                  </a:cubicBezTo>
                  <a:cubicBezTo>
                    <a:pt x="1872" y="3159"/>
                    <a:pt x="1892" y="3165"/>
                    <a:pt x="1899" y="3178"/>
                  </a:cubicBezTo>
                  <a:cubicBezTo>
                    <a:pt x="1906" y="3191"/>
                    <a:pt x="1913" y="3217"/>
                    <a:pt x="1929" y="3219"/>
                  </a:cubicBezTo>
                  <a:cubicBezTo>
                    <a:pt x="1945" y="3221"/>
                    <a:pt x="1972" y="3215"/>
                    <a:pt x="1983" y="3226"/>
                  </a:cubicBezTo>
                  <a:cubicBezTo>
                    <a:pt x="1994" y="3237"/>
                    <a:pt x="2001" y="3263"/>
                    <a:pt x="2032" y="3276"/>
                  </a:cubicBezTo>
                  <a:cubicBezTo>
                    <a:pt x="2063" y="3289"/>
                    <a:pt x="2108" y="3289"/>
                    <a:pt x="2115" y="3299"/>
                  </a:cubicBezTo>
                  <a:cubicBezTo>
                    <a:pt x="2122" y="3309"/>
                    <a:pt x="2125" y="3319"/>
                    <a:pt x="2135" y="3319"/>
                  </a:cubicBezTo>
                  <a:cubicBezTo>
                    <a:pt x="2145" y="3319"/>
                    <a:pt x="2153" y="3337"/>
                    <a:pt x="2153" y="3337"/>
                  </a:cubicBezTo>
                  <a:cubicBezTo>
                    <a:pt x="2153" y="3337"/>
                    <a:pt x="2196" y="3332"/>
                    <a:pt x="2198" y="3335"/>
                  </a:cubicBezTo>
                  <a:cubicBezTo>
                    <a:pt x="2200" y="3338"/>
                    <a:pt x="2207" y="3359"/>
                    <a:pt x="2221" y="3355"/>
                  </a:cubicBezTo>
                  <a:cubicBezTo>
                    <a:pt x="2235" y="3351"/>
                    <a:pt x="2305" y="3313"/>
                    <a:pt x="2316" y="3316"/>
                  </a:cubicBezTo>
                  <a:cubicBezTo>
                    <a:pt x="2327" y="3319"/>
                    <a:pt x="2397" y="3376"/>
                    <a:pt x="2400" y="3384"/>
                  </a:cubicBezTo>
                  <a:cubicBezTo>
                    <a:pt x="2402" y="3389"/>
                    <a:pt x="2403" y="3402"/>
                    <a:pt x="2409" y="3412"/>
                  </a:cubicBezTo>
                  <a:cubicBezTo>
                    <a:pt x="2412" y="3418"/>
                    <a:pt x="2416" y="3422"/>
                    <a:pt x="2423" y="3425"/>
                  </a:cubicBezTo>
                  <a:cubicBezTo>
                    <a:pt x="2442" y="3432"/>
                    <a:pt x="2445" y="3442"/>
                    <a:pt x="2456" y="3446"/>
                  </a:cubicBezTo>
                  <a:cubicBezTo>
                    <a:pt x="2467" y="3450"/>
                    <a:pt x="2489" y="3446"/>
                    <a:pt x="2489" y="3446"/>
                  </a:cubicBezTo>
                  <a:cubicBezTo>
                    <a:pt x="2489" y="3446"/>
                    <a:pt x="2495" y="3450"/>
                    <a:pt x="2501" y="3455"/>
                  </a:cubicBezTo>
                  <a:cubicBezTo>
                    <a:pt x="2508" y="3460"/>
                    <a:pt x="2517" y="3466"/>
                    <a:pt x="2521" y="3468"/>
                  </a:cubicBezTo>
                  <a:cubicBezTo>
                    <a:pt x="2529" y="3471"/>
                    <a:pt x="2549" y="3469"/>
                    <a:pt x="2549" y="3469"/>
                  </a:cubicBezTo>
                  <a:cubicBezTo>
                    <a:pt x="2565" y="3482"/>
                    <a:pt x="2565" y="3482"/>
                    <a:pt x="2565" y="3482"/>
                  </a:cubicBezTo>
                  <a:cubicBezTo>
                    <a:pt x="2587" y="3480"/>
                    <a:pt x="2587" y="3480"/>
                    <a:pt x="2587" y="3480"/>
                  </a:cubicBezTo>
                  <a:cubicBezTo>
                    <a:pt x="2599" y="3490"/>
                    <a:pt x="2599" y="3490"/>
                    <a:pt x="2599" y="3490"/>
                  </a:cubicBezTo>
                  <a:cubicBezTo>
                    <a:pt x="2611" y="3471"/>
                    <a:pt x="2611" y="3471"/>
                    <a:pt x="2611" y="3471"/>
                  </a:cubicBezTo>
                  <a:cubicBezTo>
                    <a:pt x="2618" y="3473"/>
                    <a:pt x="2618" y="3473"/>
                    <a:pt x="2618" y="3473"/>
                  </a:cubicBezTo>
                  <a:cubicBezTo>
                    <a:pt x="2617" y="3473"/>
                    <a:pt x="2617" y="3473"/>
                    <a:pt x="2617" y="3473"/>
                  </a:cubicBezTo>
                  <a:cubicBezTo>
                    <a:pt x="2634" y="3478"/>
                    <a:pt x="2634" y="3478"/>
                    <a:pt x="2634" y="3478"/>
                  </a:cubicBezTo>
                  <a:cubicBezTo>
                    <a:pt x="2641" y="3488"/>
                    <a:pt x="2638" y="3496"/>
                    <a:pt x="2638" y="3496"/>
                  </a:cubicBezTo>
                  <a:cubicBezTo>
                    <a:pt x="2619" y="3496"/>
                    <a:pt x="2619" y="3496"/>
                    <a:pt x="2619" y="3496"/>
                  </a:cubicBezTo>
                  <a:cubicBezTo>
                    <a:pt x="2651" y="3530"/>
                    <a:pt x="2651" y="3530"/>
                    <a:pt x="2651" y="3530"/>
                  </a:cubicBezTo>
                  <a:cubicBezTo>
                    <a:pt x="2651" y="3530"/>
                    <a:pt x="2659" y="3561"/>
                    <a:pt x="2669" y="3569"/>
                  </a:cubicBezTo>
                  <a:cubicBezTo>
                    <a:pt x="2678" y="3576"/>
                    <a:pt x="2696" y="3590"/>
                    <a:pt x="2699" y="3593"/>
                  </a:cubicBezTo>
                  <a:cubicBezTo>
                    <a:pt x="2699" y="3593"/>
                    <a:pt x="2699" y="3593"/>
                    <a:pt x="2699" y="3593"/>
                  </a:cubicBezTo>
                  <a:cubicBezTo>
                    <a:pt x="2690" y="3610"/>
                    <a:pt x="2690" y="3610"/>
                    <a:pt x="2690" y="3610"/>
                  </a:cubicBezTo>
                  <a:cubicBezTo>
                    <a:pt x="2690" y="3610"/>
                    <a:pt x="2706" y="3619"/>
                    <a:pt x="2700" y="3623"/>
                  </a:cubicBezTo>
                  <a:cubicBezTo>
                    <a:pt x="2694" y="3627"/>
                    <a:pt x="2680" y="3637"/>
                    <a:pt x="2689" y="3651"/>
                  </a:cubicBezTo>
                  <a:cubicBezTo>
                    <a:pt x="2698" y="3665"/>
                    <a:pt x="2713" y="3663"/>
                    <a:pt x="2713" y="3663"/>
                  </a:cubicBezTo>
                  <a:cubicBezTo>
                    <a:pt x="2713" y="3663"/>
                    <a:pt x="2730" y="3683"/>
                    <a:pt x="2733" y="3676"/>
                  </a:cubicBezTo>
                  <a:cubicBezTo>
                    <a:pt x="2736" y="3669"/>
                    <a:pt x="2731" y="3658"/>
                    <a:pt x="2731" y="3658"/>
                  </a:cubicBezTo>
                  <a:cubicBezTo>
                    <a:pt x="2731" y="3658"/>
                    <a:pt x="2704" y="3640"/>
                    <a:pt x="2713" y="3640"/>
                  </a:cubicBezTo>
                  <a:cubicBezTo>
                    <a:pt x="2722" y="3640"/>
                    <a:pt x="2747" y="3661"/>
                    <a:pt x="2747" y="3661"/>
                  </a:cubicBezTo>
                  <a:cubicBezTo>
                    <a:pt x="2747" y="3661"/>
                    <a:pt x="2744" y="3680"/>
                    <a:pt x="2748" y="3680"/>
                  </a:cubicBezTo>
                  <a:cubicBezTo>
                    <a:pt x="2752" y="3680"/>
                    <a:pt x="2775" y="3685"/>
                    <a:pt x="2775" y="3685"/>
                  </a:cubicBezTo>
                  <a:cubicBezTo>
                    <a:pt x="2788" y="3712"/>
                    <a:pt x="2788" y="3712"/>
                    <a:pt x="2788" y="3712"/>
                  </a:cubicBezTo>
                  <a:cubicBezTo>
                    <a:pt x="2788" y="3712"/>
                    <a:pt x="2779" y="3720"/>
                    <a:pt x="2788" y="3729"/>
                  </a:cubicBezTo>
                  <a:cubicBezTo>
                    <a:pt x="2797" y="3738"/>
                    <a:pt x="2811" y="3741"/>
                    <a:pt x="2811" y="3741"/>
                  </a:cubicBezTo>
                  <a:cubicBezTo>
                    <a:pt x="2802" y="3724"/>
                    <a:pt x="2802" y="3724"/>
                    <a:pt x="2802" y="3724"/>
                  </a:cubicBezTo>
                  <a:cubicBezTo>
                    <a:pt x="2826" y="3748"/>
                    <a:pt x="2826" y="3748"/>
                    <a:pt x="2826" y="3748"/>
                  </a:cubicBezTo>
                  <a:cubicBezTo>
                    <a:pt x="2854" y="3742"/>
                    <a:pt x="2854" y="3742"/>
                    <a:pt x="2854" y="3742"/>
                  </a:cubicBezTo>
                  <a:cubicBezTo>
                    <a:pt x="2859" y="3754"/>
                    <a:pt x="2859" y="3754"/>
                    <a:pt x="2859" y="3754"/>
                  </a:cubicBezTo>
                  <a:cubicBezTo>
                    <a:pt x="2879" y="3753"/>
                    <a:pt x="2879" y="3753"/>
                    <a:pt x="2879" y="3753"/>
                  </a:cubicBezTo>
                  <a:cubicBezTo>
                    <a:pt x="2879" y="3753"/>
                    <a:pt x="2874" y="3775"/>
                    <a:pt x="2882" y="3780"/>
                  </a:cubicBezTo>
                  <a:cubicBezTo>
                    <a:pt x="2890" y="3785"/>
                    <a:pt x="2901" y="3775"/>
                    <a:pt x="2901" y="3775"/>
                  </a:cubicBezTo>
                  <a:cubicBezTo>
                    <a:pt x="2901" y="3762"/>
                    <a:pt x="2901" y="3762"/>
                    <a:pt x="2901" y="3762"/>
                  </a:cubicBezTo>
                  <a:cubicBezTo>
                    <a:pt x="2912" y="3761"/>
                    <a:pt x="2912" y="3761"/>
                    <a:pt x="2912" y="3761"/>
                  </a:cubicBezTo>
                  <a:cubicBezTo>
                    <a:pt x="2912" y="3761"/>
                    <a:pt x="2916" y="3814"/>
                    <a:pt x="2930" y="3807"/>
                  </a:cubicBezTo>
                  <a:cubicBezTo>
                    <a:pt x="2944" y="3800"/>
                    <a:pt x="2958" y="3791"/>
                    <a:pt x="2958" y="3791"/>
                  </a:cubicBezTo>
                  <a:cubicBezTo>
                    <a:pt x="2958" y="3791"/>
                    <a:pt x="2920" y="3764"/>
                    <a:pt x="2931" y="3754"/>
                  </a:cubicBezTo>
                  <a:cubicBezTo>
                    <a:pt x="2942" y="3744"/>
                    <a:pt x="2953" y="3743"/>
                    <a:pt x="2962" y="3735"/>
                  </a:cubicBezTo>
                  <a:cubicBezTo>
                    <a:pt x="2971" y="3727"/>
                    <a:pt x="2982" y="3707"/>
                    <a:pt x="2992" y="3709"/>
                  </a:cubicBezTo>
                  <a:cubicBezTo>
                    <a:pt x="3002" y="3711"/>
                    <a:pt x="3018" y="3716"/>
                    <a:pt x="3024" y="3720"/>
                  </a:cubicBezTo>
                  <a:cubicBezTo>
                    <a:pt x="3030" y="3724"/>
                    <a:pt x="3039" y="3739"/>
                    <a:pt x="3039" y="3739"/>
                  </a:cubicBezTo>
                  <a:cubicBezTo>
                    <a:pt x="3047" y="3736"/>
                    <a:pt x="3047" y="3736"/>
                    <a:pt x="3047" y="3736"/>
                  </a:cubicBezTo>
                  <a:cubicBezTo>
                    <a:pt x="3069" y="3754"/>
                    <a:pt x="3069" y="3754"/>
                    <a:pt x="3069" y="3754"/>
                  </a:cubicBezTo>
                  <a:cubicBezTo>
                    <a:pt x="3047" y="3744"/>
                    <a:pt x="3047" y="3744"/>
                    <a:pt x="3047" y="3744"/>
                  </a:cubicBezTo>
                  <a:cubicBezTo>
                    <a:pt x="3047" y="3744"/>
                    <a:pt x="3044" y="3773"/>
                    <a:pt x="3044" y="3779"/>
                  </a:cubicBezTo>
                  <a:cubicBezTo>
                    <a:pt x="3044" y="3784"/>
                    <a:pt x="3055" y="3797"/>
                    <a:pt x="3058" y="3801"/>
                  </a:cubicBezTo>
                  <a:cubicBezTo>
                    <a:pt x="3066" y="3816"/>
                    <a:pt x="3066" y="3816"/>
                    <a:pt x="3066" y="3816"/>
                  </a:cubicBezTo>
                  <a:cubicBezTo>
                    <a:pt x="3066" y="3823"/>
                    <a:pt x="3066" y="3823"/>
                    <a:pt x="3066" y="3823"/>
                  </a:cubicBezTo>
                  <a:cubicBezTo>
                    <a:pt x="3066" y="3823"/>
                    <a:pt x="3073" y="3828"/>
                    <a:pt x="3079" y="3840"/>
                  </a:cubicBezTo>
                  <a:cubicBezTo>
                    <a:pt x="3085" y="3852"/>
                    <a:pt x="3069" y="3853"/>
                    <a:pt x="3069" y="3853"/>
                  </a:cubicBezTo>
                  <a:cubicBezTo>
                    <a:pt x="3079" y="3868"/>
                    <a:pt x="3079" y="3868"/>
                    <a:pt x="3079" y="3868"/>
                  </a:cubicBezTo>
                  <a:cubicBezTo>
                    <a:pt x="3084" y="3890"/>
                    <a:pt x="3084" y="3890"/>
                    <a:pt x="3084" y="3890"/>
                  </a:cubicBezTo>
                  <a:cubicBezTo>
                    <a:pt x="3069" y="3893"/>
                    <a:pt x="3069" y="3893"/>
                    <a:pt x="3069" y="3893"/>
                  </a:cubicBezTo>
                  <a:cubicBezTo>
                    <a:pt x="3079" y="3906"/>
                    <a:pt x="3079" y="3906"/>
                    <a:pt x="3079" y="3906"/>
                  </a:cubicBezTo>
                  <a:cubicBezTo>
                    <a:pt x="3079" y="3946"/>
                    <a:pt x="3079" y="3946"/>
                    <a:pt x="3079" y="3946"/>
                  </a:cubicBezTo>
                  <a:cubicBezTo>
                    <a:pt x="3079" y="3946"/>
                    <a:pt x="3066" y="3956"/>
                    <a:pt x="3066" y="3969"/>
                  </a:cubicBezTo>
                  <a:cubicBezTo>
                    <a:pt x="3066" y="3982"/>
                    <a:pt x="3083" y="3982"/>
                    <a:pt x="3084" y="3997"/>
                  </a:cubicBezTo>
                  <a:cubicBezTo>
                    <a:pt x="3085" y="4012"/>
                    <a:pt x="3057" y="4029"/>
                    <a:pt x="3057" y="4029"/>
                  </a:cubicBezTo>
                  <a:cubicBezTo>
                    <a:pt x="3066" y="4037"/>
                    <a:pt x="3066" y="4037"/>
                    <a:pt x="3066" y="4037"/>
                  </a:cubicBezTo>
                  <a:cubicBezTo>
                    <a:pt x="3047" y="4054"/>
                    <a:pt x="3047" y="4054"/>
                    <a:pt x="3047" y="4054"/>
                  </a:cubicBezTo>
                  <a:cubicBezTo>
                    <a:pt x="3047" y="4054"/>
                    <a:pt x="3026" y="4054"/>
                    <a:pt x="3018" y="4063"/>
                  </a:cubicBezTo>
                  <a:cubicBezTo>
                    <a:pt x="3010" y="4073"/>
                    <a:pt x="3018" y="4095"/>
                    <a:pt x="3018" y="4095"/>
                  </a:cubicBezTo>
                  <a:cubicBezTo>
                    <a:pt x="3018" y="4095"/>
                    <a:pt x="2993" y="4087"/>
                    <a:pt x="2992" y="4101"/>
                  </a:cubicBezTo>
                  <a:cubicBezTo>
                    <a:pt x="2992" y="4103"/>
                    <a:pt x="2992" y="4105"/>
                    <a:pt x="2992" y="4107"/>
                  </a:cubicBezTo>
                  <a:cubicBezTo>
                    <a:pt x="2993" y="4117"/>
                    <a:pt x="2999" y="4121"/>
                    <a:pt x="2995" y="4130"/>
                  </a:cubicBezTo>
                  <a:cubicBezTo>
                    <a:pt x="2992" y="4139"/>
                    <a:pt x="2962" y="4144"/>
                    <a:pt x="2962" y="4144"/>
                  </a:cubicBezTo>
                  <a:cubicBezTo>
                    <a:pt x="2960" y="4134"/>
                    <a:pt x="2960" y="4134"/>
                    <a:pt x="2960" y="4134"/>
                  </a:cubicBezTo>
                  <a:cubicBezTo>
                    <a:pt x="2960" y="4134"/>
                    <a:pt x="2940" y="4145"/>
                    <a:pt x="2938" y="4153"/>
                  </a:cubicBezTo>
                  <a:cubicBezTo>
                    <a:pt x="2935" y="4161"/>
                    <a:pt x="2945" y="4171"/>
                    <a:pt x="2943" y="4184"/>
                  </a:cubicBezTo>
                  <a:cubicBezTo>
                    <a:pt x="2942" y="4197"/>
                    <a:pt x="2929" y="4196"/>
                    <a:pt x="2925" y="4204"/>
                  </a:cubicBezTo>
                  <a:cubicBezTo>
                    <a:pt x="2920" y="4212"/>
                    <a:pt x="2933" y="4226"/>
                    <a:pt x="2933" y="4226"/>
                  </a:cubicBezTo>
                  <a:cubicBezTo>
                    <a:pt x="2921" y="4226"/>
                    <a:pt x="2921" y="4226"/>
                    <a:pt x="2921" y="4226"/>
                  </a:cubicBezTo>
                  <a:cubicBezTo>
                    <a:pt x="2920" y="4237"/>
                    <a:pt x="2920" y="4237"/>
                    <a:pt x="2920" y="4237"/>
                  </a:cubicBezTo>
                  <a:cubicBezTo>
                    <a:pt x="2897" y="4251"/>
                    <a:pt x="2897" y="4251"/>
                    <a:pt x="2897" y="4251"/>
                  </a:cubicBezTo>
                  <a:cubicBezTo>
                    <a:pt x="2913" y="4261"/>
                    <a:pt x="2913" y="4261"/>
                    <a:pt x="2913" y="4261"/>
                  </a:cubicBezTo>
                  <a:cubicBezTo>
                    <a:pt x="2902" y="4280"/>
                    <a:pt x="2902" y="4280"/>
                    <a:pt x="2902" y="4280"/>
                  </a:cubicBezTo>
                  <a:cubicBezTo>
                    <a:pt x="2902" y="4280"/>
                    <a:pt x="2913" y="4283"/>
                    <a:pt x="2912" y="4294"/>
                  </a:cubicBezTo>
                  <a:cubicBezTo>
                    <a:pt x="2910" y="4305"/>
                    <a:pt x="2897" y="4308"/>
                    <a:pt x="2897" y="4308"/>
                  </a:cubicBezTo>
                  <a:cubicBezTo>
                    <a:pt x="2906" y="4314"/>
                    <a:pt x="2906" y="4314"/>
                    <a:pt x="2906" y="4314"/>
                  </a:cubicBezTo>
                  <a:cubicBezTo>
                    <a:pt x="2906" y="4314"/>
                    <a:pt x="2894" y="4328"/>
                    <a:pt x="2916" y="4335"/>
                  </a:cubicBezTo>
                  <a:cubicBezTo>
                    <a:pt x="2939" y="4342"/>
                    <a:pt x="2942" y="4321"/>
                    <a:pt x="2942" y="4321"/>
                  </a:cubicBezTo>
                  <a:cubicBezTo>
                    <a:pt x="2959" y="4326"/>
                    <a:pt x="2959" y="4326"/>
                    <a:pt x="2959" y="4326"/>
                  </a:cubicBezTo>
                  <a:cubicBezTo>
                    <a:pt x="2967" y="4334"/>
                    <a:pt x="2958" y="4353"/>
                    <a:pt x="2955" y="4365"/>
                  </a:cubicBezTo>
                  <a:cubicBezTo>
                    <a:pt x="2953" y="4377"/>
                    <a:pt x="2930" y="4378"/>
                    <a:pt x="2930" y="4378"/>
                  </a:cubicBezTo>
                  <a:cubicBezTo>
                    <a:pt x="2930" y="4378"/>
                    <a:pt x="2904" y="4406"/>
                    <a:pt x="2896" y="4413"/>
                  </a:cubicBezTo>
                  <a:cubicBezTo>
                    <a:pt x="2888" y="4420"/>
                    <a:pt x="2887" y="4431"/>
                    <a:pt x="2887" y="4444"/>
                  </a:cubicBezTo>
                  <a:cubicBezTo>
                    <a:pt x="2887" y="4457"/>
                    <a:pt x="2899" y="4454"/>
                    <a:pt x="2899" y="4454"/>
                  </a:cubicBezTo>
                  <a:cubicBezTo>
                    <a:pt x="2896" y="4472"/>
                    <a:pt x="2896" y="4472"/>
                    <a:pt x="2896" y="4472"/>
                  </a:cubicBezTo>
                  <a:cubicBezTo>
                    <a:pt x="2896" y="4472"/>
                    <a:pt x="2913" y="4482"/>
                    <a:pt x="2914" y="4494"/>
                  </a:cubicBezTo>
                  <a:cubicBezTo>
                    <a:pt x="2915" y="4506"/>
                    <a:pt x="2895" y="4507"/>
                    <a:pt x="2895" y="4521"/>
                  </a:cubicBezTo>
                  <a:cubicBezTo>
                    <a:pt x="2895" y="4535"/>
                    <a:pt x="2929" y="4537"/>
                    <a:pt x="2938" y="4542"/>
                  </a:cubicBezTo>
                  <a:cubicBezTo>
                    <a:pt x="2946" y="4547"/>
                    <a:pt x="2969" y="4579"/>
                    <a:pt x="2972" y="4584"/>
                  </a:cubicBezTo>
                  <a:cubicBezTo>
                    <a:pt x="2974" y="4588"/>
                    <a:pt x="2986" y="4608"/>
                    <a:pt x="2986" y="4614"/>
                  </a:cubicBezTo>
                  <a:cubicBezTo>
                    <a:pt x="2986" y="4620"/>
                    <a:pt x="3010" y="4646"/>
                    <a:pt x="3013" y="4652"/>
                  </a:cubicBezTo>
                  <a:cubicBezTo>
                    <a:pt x="3017" y="4658"/>
                    <a:pt x="3051" y="4712"/>
                    <a:pt x="3051" y="4712"/>
                  </a:cubicBezTo>
                  <a:cubicBezTo>
                    <a:pt x="3056" y="4737"/>
                    <a:pt x="3056" y="4737"/>
                    <a:pt x="3056" y="4737"/>
                  </a:cubicBezTo>
                  <a:cubicBezTo>
                    <a:pt x="3056" y="4737"/>
                    <a:pt x="3084" y="4792"/>
                    <a:pt x="3084" y="4799"/>
                  </a:cubicBezTo>
                  <a:cubicBezTo>
                    <a:pt x="3084" y="4806"/>
                    <a:pt x="3092" y="4806"/>
                    <a:pt x="3101" y="4812"/>
                  </a:cubicBezTo>
                  <a:cubicBezTo>
                    <a:pt x="3109" y="4818"/>
                    <a:pt x="3105" y="4825"/>
                    <a:pt x="3107" y="4837"/>
                  </a:cubicBezTo>
                  <a:cubicBezTo>
                    <a:pt x="3108" y="4848"/>
                    <a:pt x="3142" y="4889"/>
                    <a:pt x="3154" y="4905"/>
                  </a:cubicBezTo>
                  <a:cubicBezTo>
                    <a:pt x="3166" y="4922"/>
                    <a:pt x="3157" y="4944"/>
                    <a:pt x="3157" y="4952"/>
                  </a:cubicBezTo>
                  <a:cubicBezTo>
                    <a:pt x="3157" y="4961"/>
                    <a:pt x="3180" y="4986"/>
                    <a:pt x="3191" y="4993"/>
                  </a:cubicBezTo>
                  <a:cubicBezTo>
                    <a:pt x="3201" y="5000"/>
                    <a:pt x="3211" y="5016"/>
                    <a:pt x="3219" y="5025"/>
                  </a:cubicBezTo>
                  <a:cubicBezTo>
                    <a:pt x="3227" y="5033"/>
                    <a:pt x="3273" y="5051"/>
                    <a:pt x="3287" y="5059"/>
                  </a:cubicBezTo>
                  <a:cubicBezTo>
                    <a:pt x="3302" y="5067"/>
                    <a:pt x="3329" y="5073"/>
                    <a:pt x="3350" y="5091"/>
                  </a:cubicBezTo>
                  <a:cubicBezTo>
                    <a:pt x="3371" y="5109"/>
                    <a:pt x="3403" y="5129"/>
                    <a:pt x="3403" y="5129"/>
                  </a:cubicBezTo>
                  <a:cubicBezTo>
                    <a:pt x="3409" y="5144"/>
                    <a:pt x="3409" y="5144"/>
                    <a:pt x="3409" y="5144"/>
                  </a:cubicBezTo>
                  <a:cubicBezTo>
                    <a:pt x="3409" y="5144"/>
                    <a:pt x="3420" y="5152"/>
                    <a:pt x="3427" y="5158"/>
                  </a:cubicBezTo>
                  <a:cubicBezTo>
                    <a:pt x="3434" y="5164"/>
                    <a:pt x="3461" y="5182"/>
                    <a:pt x="3461" y="5182"/>
                  </a:cubicBezTo>
                  <a:cubicBezTo>
                    <a:pt x="3461" y="5183"/>
                    <a:pt x="3461" y="5183"/>
                    <a:pt x="3461" y="5183"/>
                  </a:cubicBezTo>
                  <a:cubicBezTo>
                    <a:pt x="3460" y="5209"/>
                    <a:pt x="3460" y="5209"/>
                    <a:pt x="3460" y="5209"/>
                  </a:cubicBezTo>
                  <a:cubicBezTo>
                    <a:pt x="3460" y="5209"/>
                    <a:pt x="3473" y="5236"/>
                    <a:pt x="3479" y="5256"/>
                  </a:cubicBezTo>
                  <a:cubicBezTo>
                    <a:pt x="3485" y="5276"/>
                    <a:pt x="3484" y="5306"/>
                    <a:pt x="3484" y="5319"/>
                  </a:cubicBezTo>
                  <a:cubicBezTo>
                    <a:pt x="3484" y="5332"/>
                    <a:pt x="3492" y="5343"/>
                    <a:pt x="3493" y="5366"/>
                  </a:cubicBezTo>
                  <a:cubicBezTo>
                    <a:pt x="3494" y="5390"/>
                    <a:pt x="3494" y="5427"/>
                    <a:pt x="3494" y="5427"/>
                  </a:cubicBezTo>
                  <a:cubicBezTo>
                    <a:pt x="3480" y="5435"/>
                    <a:pt x="3480" y="5435"/>
                    <a:pt x="3480" y="5435"/>
                  </a:cubicBezTo>
                  <a:cubicBezTo>
                    <a:pt x="3483" y="5455"/>
                    <a:pt x="3483" y="5455"/>
                    <a:pt x="3483" y="5455"/>
                  </a:cubicBezTo>
                  <a:cubicBezTo>
                    <a:pt x="3498" y="5464"/>
                    <a:pt x="3498" y="5464"/>
                    <a:pt x="3498" y="5464"/>
                  </a:cubicBezTo>
                  <a:cubicBezTo>
                    <a:pt x="3492" y="5526"/>
                    <a:pt x="3492" y="5526"/>
                    <a:pt x="3492" y="5526"/>
                  </a:cubicBezTo>
                  <a:cubicBezTo>
                    <a:pt x="3507" y="5554"/>
                    <a:pt x="3507" y="5554"/>
                    <a:pt x="3507" y="5554"/>
                  </a:cubicBezTo>
                  <a:cubicBezTo>
                    <a:pt x="3496" y="5567"/>
                    <a:pt x="3496" y="5567"/>
                    <a:pt x="3496" y="5567"/>
                  </a:cubicBezTo>
                  <a:cubicBezTo>
                    <a:pt x="3502" y="5609"/>
                    <a:pt x="3502" y="5609"/>
                    <a:pt x="3502" y="5609"/>
                  </a:cubicBezTo>
                  <a:cubicBezTo>
                    <a:pt x="3502" y="5609"/>
                    <a:pt x="3509" y="5612"/>
                    <a:pt x="3511" y="5629"/>
                  </a:cubicBezTo>
                  <a:cubicBezTo>
                    <a:pt x="3513" y="5645"/>
                    <a:pt x="3502" y="5646"/>
                    <a:pt x="3502" y="5646"/>
                  </a:cubicBezTo>
                  <a:cubicBezTo>
                    <a:pt x="3500" y="5668"/>
                    <a:pt x="3500" y="5668"/>
                    <a:pt x="3500" y="5668"/>
                  </a:cubicBezTo>
                  <a:cubicBezTo>
                    <a:pt x="3507" y="5677"/>
                    <a:pt x="3507" y="5677"/>
                    <a:pt x="3507" y="5677"/>
                  </a:cubicBezTo>
                  <a:cubicBezTo>
                    <a:pt x="3507" y="5677"/>
                    <a:pt x="3500" y="5682"/>
                    <a:pt x="3494" y="5696"/>
                  </a:cubicBezTo>
                  <a:cubicBezTo>
                    <a:pt x="3488" y="5710"/>
                    <a:pt x="3500" y="5708"/>
                    <a:pt x="3500" y="5708"/>
                  </a:cubicBezTo>
                  <a:cubicBezTo>
                    <a:pt x="3500" y="5708"/>
                    <a:pt x="3504" y="5717"/>
                    <a:pt x="3504" y="5728"/>
                  </a:cubicBezTo>
                  <a:cubicBezTo>
                    <a:pt x="3504" y="5739"/>
                    <a:pt x="3493" y="5736"/>
                    <a:pt x="3493" y="5756"/>
                  </a:cubicBezTo>
                  <a:cubicBezTo>
                    <a:pt x="3493" y="5777"/>
                    <a:pt x="3509" y="5775"/>
                    <a:pt x="3512" y="5785"/>
                  </a:cubicBezTo>
                  <a:cubicBezTo>
                    <a:pt x="3516" y="5794"/>
                    <a:pt x="3512" y="5818"/>
                    <a:pt x="3512" y="5818"/>
                  </a:cubicBezTo>
                  <a:cubicBezTo>
                    <a:pt x="3512" y="5818"/>
                    <a:pt x="3505" y="5816"/>
                    <a:pt x="3500" y="5818"/>
                  </a:cubicBezTo>
                  <a:cubicBezTo>
                    <a:pt x="3496" y="5820"/>
                    <a:pt x="3500" y="5837"/>
                    <a:pt x="3507" y="5857"/>
                  </a:cubicBezTo>
                  <a:cubicBezTo>
                    <a:pt x="3515" y="5877"/>
                    <a:pt x="3526" y="5907"/>
                    <a:pt x="3526" y="5907"/>
                  </a:cubicBezTo>
                  <a:cubicBezTo>
                    <a:pt x="3526" y="5907"/>
                    <a:pt x="3529" y="5921"/>
                    <a:pt x="3536" y="5927"/>
                  </a:cubicBezTo>
                  <a:cubicBezTo>
                    <a:pt x="3543" y="5933"/>
                    <a:pt x="3539" y="5963"/>
                    <a:pt x="3539" y="5963"/>
                  </a:cubicBezTo>
                  <a:cubicBezTo>
                    <a:pt x="3536" y="5982"/>
                    <a:pt x="3536" y="5982"/>
                    <a:pt x="3536" y="5982"/>
                  </a:cubicBezTo>
                  <a:cubicBezTo>
                    <a:pt x="3552" y="5999"/>
                    <a:pt x="3552" y="5999"/>
                    <a:pt x="3552" y="5999"/>
                  </a:cubicBezTo>
                  <a:cubicBezTo>
                    <a:pt x="3552" y="5999"/>
                    <a:pt x="3542" y="6026"/>
                    <a:pt x="3542" y="6040"/>
                  </a:cubicBezTo>
                  <a:cubicBezTo>
                    <a:pt x="3542" y="6054"/>
                    <a:pt x="3542" y="6084"/>
                    <a:pt x="3542" y="6084"/>
                  </a:cubicBezTo>
                  <a:cubicBezTo>
                    <a:pt x="3526" y="6109"/>
                    <a:pt x="3526" y="6109"/>
                    <a:pt x="3526" y="6109"/>
                  </a:cubicBezTo>
                  <a:cubicBezTo>
                    <a:pt x="3536" y="6116"/>
                    <a:pt x="3536" y="6116"/>
                    <a:pt x="3536" y="6116"/>
                  </a:cubicBezTo>
                  <a:cubicBezTo>
                    <a:pt x="3536" y="6116"/>
                    <a:pt x="3532" y="6132"/>
                    <a:pt x="3532" y="6141"/>
                  </a:cubicBezTo>
                  <a:cubicBezTo>
                    <a:pt x="3532" y="6149"/>
                    <a:pt x="3526" y="6193"/>
                    <a:pt x="3526" y="6193"/>
                  </a:cubicBezTo>
                  <a:cubicBezTo>
                    <a:pt x="3516" y="6195"/>
                    <a:pt x="3516" y="6195"/>
                    <a:pt x="3516" y="6195"/>
                  </a:cubicBezTo>
                  <a:cubicBezTo>
                    <a:pt x="3516" y="6209"/>
                    <a:pt x="3516" y="6209"/>
                    <a:pt x="3516" y="6209"/>
                  </a:cubicBezTo>
                  <a:cubicBezTo>
                    <a:pt x="3532" y="6239"/>
                    <a:pt x="3532" y="6239"/>
                    <a:pt x="3532" y="6239"/>
                  </a:cubicBezTo>
                  <a:cubicBezTo>
                    <a:pt x="3532" y="6239"/>
                    <a:pt x="3532" y="6258"/>
                    <a:pt x="3532" y="6268"/>
                  </a:cubicBezTo>
                  <a:cubicBezTo>
                    <a:pt x="3532" y="6279"/>
                    <a:pt x="3555" y="6286"/>
                    <a:pt x="3561" y="6302"/>
                  </a:cubicBezTo>
                  <a:cubicBezTo>
                    <a:pt x="3567" y="6317"/>
                    <a:pt x="3558" y="6355"/>
                    <a:pt x="3558" y="6355"/>
                  </a:cubicBezTo>
                  <a:cubicBezTo>
                    <a:pt x="3567" y="6362"/>
                    <a:pt x="3567" y="6362"/>
                    <a:pt x="3567" y="6362"/>
                  </a:cubicBezTo>
                  <a:cubicBezTo>
                    <a:pt x="3567" y="6362"/>
                    <a:pt x="3567" y="6391"/>
                    <a:pt x="3567" y="6403"/>
                  </a:cubicBezTo>
                  <a:cubicBezTo>
                    <a:pt x="3567" y="6415"/>
                    <a:pt x="3594" y="6423"/>
                    <a:pt x="3594" y="6423"/>
                  </a:cubicBezTo>
                  <a:cubicBezTo>
                    <a:pt x="3589" y="6436"/>
                    <a:pt x="3589" y="6436"/>
                    <a:pt x="3589" y="6436"/>
                  </a:cubicBezTo>
                  <a:cubicBezTo>
                    <a:pt x="3616" y="6436"/>
                    <a:pt x="3616" y="6436"/>
                    <a:pt x="3616" y="6436"/>
                  </a:cubicBezTo>
                  <a:cubicBezTo>
                    <a:pt x="3616" y="6416"/>
                    <a:pt x="3616" y="6416"/>
                    <a:pt x="3616" y="6416"/>
                  </a:cubicBezTo>
                  <a:cubicBezTo>
                    <a:pt x="3616" y="6416"/>
                    <a:pt x="3629" y="6426"/>
                    <a:pt x="3637" y="6427"/>
                  </a:cubicBezTo>
                  <a:cubicBezTo>
                    <a:pt x="3646" y="6428"/>
                    <a:pt x="3646" y="6414"/>
                    <a:pt x="3646" y="6414"/>
                  </a:cubicBezTo>
                  <a:cubicBezTo>
                    <a:pt x="3652" y="6427"/>
                    <a:pt x="3652" y="6427"/>
                    <a:pt x="3652" y="6427"/>
                  </a:cubicBezTo>
                  <a:cubicBezTo>
                    <a:pt x="3652" y="6427"/>
                    <a:pt x="3635" y="6437"/>
                    <a:pt x="3633" y="6448"/>
                  </a:cubicBezTo>
                  <a:cubicBezTo>
                    <a:pt x="3630" y="6459"/>
                    <a:pt x="3646" y="6447"/>
                    <a:pt x="3653" y="6450"/>
                  </a:cubicBezTo>
                  <a:cubicBezTo>
                    <a:pt x="3660" y="6454"/>
                    <a:pt x="3658" y="6467"/>
                    <a:pt x="3658" y="6467"/>
                  </a:cubicBezTo>
                  <a:cubicBezTo>
                    <a:pt x="3639" y="6465"/>
                    <a:pt x="3639" y="6465"/>
                    <a:pt x="3639" y="6465"/>
                  </a:cubicBezTo>
                  <a:cubicBezTo>
                    <a:pt x="3650" y="6478"/>
                    <a:pt x="3650" y="6478"/>
                    <a:pt x="3650" y="6478"/>
                  </a:cubicBezTo>
                  <a:cubicBezTo>
                    <a:pt x="3643" y="6486"/>
                    <a:pt x="3643" y="6486"/>
                    <a:pt x="3643" y="6486"/>
                  </a:cubicBezTo>
                  <a:cubicBezTo>
                    <a:pt x="3655" y="6504"/>
                    <a:pt x="3655" y="6504"/>
                    <a:pt x="3655" y="6504"/>
                  </a:cubicBezTo>
                  <a:cubicBezTo>
                    <a:pt x="3655" y="6504"/>
                    <a:pt x="3648" y="6512"/>
                    <a:pt x="3641" y="6521"/>
                  </a:cubicBezTo>
                  <a:cubicBezTo>
                    <a:pt x="3634" y="6531"/>
                    <a:pt x="3672" y="6540"/>
                    <a:pt x="3672" y="6540"/>
                  </a:cubicBezTo>
                  <a:cubicBezTo>
                    <a:pt x="3672" y="6540"/>
                    <a:pt x="3665" y="6546"/>
                    <a:pt x="3660" y="6550"/>
                  </a:cubicBezTo>
                  <a:cubicBezTo>
                    <a:pt x="3655" y="6553"/>
                    <a:pt x="3662" y="6564"/>
                    <a:pt x="3672" y="6569"/>
                  </a:cubicBezTo>
                  <a:cubicBezTo>
                    <a:pt x="3681" y="6573"/>
                    <a:pt x="3694" y="6570"/>
                    <a:pt x="3694" y="6570"/>
                  </a:cubicBezTo>
                  <a:cubicBezTo>
                    <a:pt x="3699" y="6594"/>
                    <a:pt x="3699" y="6594"/>
                    <a:pt x="3699" y="6594"/>
                  </a:cubicBezTo>
                  <a:cubicBezTo>
                    <a:pt x="3699" y="6594"/>
                    <a:pt x="3679" y="6607"/>
                    <a:pt x="3674" y="6614"/>
                  </a:cubicBezTo>
                  <a:cubicBezTo>
                    <a:pt x="3669" y="6621"/>
                    <a:pt x="3688" y="6622"/>
                    <a:pt x="3688" y="6622"/>
                  </a:cubicBezTo>
                  <a:cubicBezTo>
                    <a:pt x="3688" y="6622"/>
                    <a:pt x="3712" y="6627"/>
                    <a:pt x="3712" y="6634"/>
                  </a:cubicBezTo>
                  <a:cubicBezTo>
                    <a:pt x="3712" y="6641"/>
                    <a:pt x="3697" y="6635"/>
                    <a:pt x="3687" y="6630"/>
                  </a:cubicBezTo>
                  <a:cubicBezTo>
                    <a:pt x="3678" y="6625"/>
                    <a:pt x="3676" y="6640"/>
                    <a:pt x="3676" y="6640"/>
                  </a:cubicBezTo>
                  <a:cubicBezTo>
                    <a:pt x="3695" y="6644"/>
                    <a:pt x="3695" y="6644"/>
                    <a:pt x="3695" y="6644"/>
                  </a:cubicBezTo>
                  <a:cubicBezTo>
                    <a:pt x="3681" y="6651"/>
                    <a:pt x="3681" y="6651"/>
                    <a:pt x="3681" y="6651"/>
                  </a:cubicBezTo>
                  <a:cubicBezTo>
                    <a:pt x="3682" y="6668"/>
                    <a:pt x="3682" y="6668"/>
                    <a:pt x="3682" y="6668"/>
                  </a:cubicBezTo>
                  <a:cubicBezTo>
                    <a:pt x="3682" y="6668"/>
                    <a:pt x="3698" y="6660"/>
                    <a:pt x="3691" y="6681"/>
                  </a:cubicBezTo>
                  <a:cubicBezTo>
                    <a:pt x="3684" y="6702"/>
                    <a:pt x="3674" y="6672"/>
                    <a:pt x="3674" y="6672"/>
                  </a:cubicBezTo>
                  <a:cubicBezTo>
                    <a:pt x="3650" y="6673"/>
                    <a:pt x="3650" y="6673"/>
                    <a:pt x="3650" y="6673"/>
                  </a:cubicBezTo>
                  <a:cubicBezTo>
                    <a:pt x="3666" y="6666"/>
                    <a:pt x="3666" y="6666"/>
                    <a:pt x="3666" y="6666"/>
                  </a:cubicBezTo>
                  <a:cubicBezTo>
                    <a:pt x="3666" y="6666"/>
                    <a:pt x="3649" y="6648"/>
                    <a:pt x="3646" y="6649"/>
                  </a:cubicBezTo>
                  <a:cubicBezTo>
                    <a:pt x="3642" y="6650"/>
                    <a:pt x="3645" y="6659"/>
                    <a:pt x="3645" y="6659"/>
                  </a:cubicBezTo>
                  <a:cubicBezTo>
                    <a:pt x="3639" y="6653"/>
                    <a:pt x="3639" y="6653"/>
                    <a:pt x="3639" y="6653"/>
                  </a:cubicBezTo>
                  <a:cubicBezTo>
                    <a:pt x="3614" y="6660"/>
                    <a:pt x="3614" y="6660"/>
                    <a:pt x="3614" y="6660"/>
                  </a:cubicBezTo>
                  <a:cubicBezTo>
                    <a:pt x="3636" y="6665"/>
                    <a:pt x="3636" y="6665"/>
                    <a:pt x="3636" y="6665"/>
                  </a:cubicBezTo>
                  <a:cubicBezTo>
                    <a:pt x="3636" y="6665"/>
                    <a:pt x="3632" y="6668"/>
                    <a:pt x="3628" y="6674"/>
                  </a:cubicBezTo>
                  <a:cubicBezTo>
                    <a:pt x="3624" y="6680"/>
                    <a:pt x="3608" y="6686"/>
                    <a:pt x="3607" y="6695"/>
                  </a:cubicBezTo>
                  <a:cubicBezTo>
                    <a:pt x="3606" y="6705"/>
                    <a:pt x="3626" y="6709"/>
                    <a:pt x="3629" y="6707"/>
                  </a:cubicBezTo>
                  <a:cubicBezTo>
                    <a:pt x="3633" y="6705"/>
                    <a:pt x="3621" y="6696"/>
                    <a:pt x="3621" y="6696"/>
                  </a:cubicBezTo>
                  <a:cubicBezTo>
                    <a:pt x="3636" y="6693"/>
                    <a:pt x="3636" y="6693"/>
                    <a:pt x="3636" y="6693"/>
                  </a:cubicBezTo>
                  <a:cubicBezTo>
                    <a:pt x="3636" y="6693"/>
                    <a:pt x="3643" y="6698"/>
                    <a:pt x="3647" y="6702"/>
                  </a:cubicBezTo>
                  <a:cubicBezTo>
                    <a:pt x="3650" y="6707"/>
                    <a:pt x="3674" y="6704"/>
                    <a:pt x="3674" y="6704"/>
                  </a:cubicBezTo>
                  <a:cubicBezTo>
                    <a:pt x="3674" y="6704"/>
                    <a:pt x="3689" y="6711"/>
                    <a:pt x="3695" y="6719"/>
                  </a:cubicBezTo>
                  <a:cubicBezTo>
                    <a:pt x="3701" y="6727"/>
                    <a:pt x="3682" y="6735"/>
                    <a:pt x="3682" y="6735"/>
                  </a:cubicBezTo>
                  <a:cubicBezTo>
                    <a:pt x="3688" y="6745"/>
                    <a:pt x="3688" y="6745"/>
                    <a:pt x="3688" y="6745"/>
                  </a:cubicBezTo>
                  <a:cubicBezTo>
                    <a:pt x="3700" y="6741"/>
                    <a:pt x="3700" y="6741"/>
                    <a:pt x="3700" y="6741"/>
                  </a:cubicBezTo>
                  <a:cubicBezTo>
                    <a:pt x="3700" y="6752"/>
                    <a:pt x="3700" y="6752"/>
                    <a:pt x="3700" y="6752"/>
                  </a:cubicBezTo>
                  <a:cubicBezTo>
                    <a:pt x="3712" y="6757"/>
                    <a:pt x="3712" y="6757"/>
                    <a:pt x="3712" y="6757"/>
                  </a:cubicBezTo>
                  <a:cubicBezTo>
                    <a:pt x="3717" y="6741"/>
                    <a:pt x="3717" y="6741"/>
                    <a:pt x="3717" y="6741"/>
                  </a:cubicBezTo>
                  <a:cubicBezTo>
                    <a:pt x="3726" y="6757"/>
                    <a:pt x="3726" y="6757"/>
                    <a:pt x="3726" y="6757"/>
                  </a:cubicBezTo>
                  <a:cubicBezTo>
                    <a:pt x="3726" y="6757"/>
                    <a:pt x="3745" y="6757"/>
                    <a:pt x="3743" y="6771"/>
                  </a:cubicBezTo>
                  <a:cubicBezTo>
                    <a:pt x="3740" y="6785"/>
                    <a:pt x="3718" y="6769"/>
                    <a:pt x="3710" y="6767"/>
                  </a:cubicBezTo>
                  <a:cubicBezTo>
                    <a:pt x="3701" y="6766"/>
                    <a:pt x="3708" y="6780"/>
                    <a:pt x="3708" y="6780"/>
                  </a:cubicBezTo>
                  <a:cubicBezTo>
                    <a:pt x="3708" y="6780"/>
                    <a:pt x="3729" y="6787"/>
                    <a:pt x="3730" y="6802"/>
                  </a:cubicBezTo>
                  <a:cubicBezTo>
                    <a:pt x="3731" y="6816"/>
                    <a:pt x="3716" y="6811"/>
                    <a:pt x="3716" y="6811"/>
                  </a:cubicBezTo>
                  <a:cubicBezTo>
                    <a:pt x="3725" y="6823"/>
                    <a:pt x="3725" y="6823"/>
                    <a:pt x="3725" y="6823"/>
                  </a:cubicBezTo>
                  <a:cubicBezTo>
                    <a:pt x="3734" y="6847"/>
                    <a:pt x="3734" y="6847"/>
                    <a:pt x="3734" y="6847"/>
                  </a:cubicBezTo>
                  <a:cubicBezTo>
                    <a:pt x="3743" y="6818"/>
                    <a:pt x="3743" y="6818"/>
                    <a:pt x="3743" y="6818"/>
                  </a:cubicBezTo>
                  <a:cubicBezTo>
                    <a:pt x="3743" y="6838"/>
                    <a:pt x="3743" y="6838"/>
                    <a:pt x="3743" y="6838"/>
                  </a:cubicBezTo>
                  <a:cubicBezTo>
                    <a:pt x="3756" y="6854"/>
                    <a:pt x="3756" y="6854"/>
                    <a:pt x="3756" y="6854"/>
                  </a:cubicBezTo>
                  <a:cubicBezTo>
                    <a:pt x="3740" y="6854"/>
                    <a:pt x="3740" y="6854"/>
                    <a:pt x="3740" y="6854"/>
                  </a:cubicBezTo>
                  <a:cubicBezTo>
                    <a:pt x="3743" y="6867"/>
                    <a:pt x="3743" y="6867"/>
                    <a:pt x="3743" y="6867"/>
                  </a:cubicBezTo>
                  <a:cubicBezTo>
                    <a:pt x="3758" y="6868"/>
                    <a:pt x="3758" y="6868"/>
                    <a:pt x="3758" y="6868"/>
                  </a:cubicBezTo>
                  <a:cubicBezTo>
                    <a:pt x="3749" y="6876"/>
                    <a:pt x="3749" y="6876"/>
                    <a:pt x="3749" y="6876"/>
                  </a:cubicBezTo>
                  <a:cubicBezTo>
                    <a:pt x="3769" y="6882"/>
                    <a:pt x="3769" y="6882"/>
                    <a:pt x="3769" y="6882"/>
                  </a:cubicBezTo>
                  <a:cubicBezTo>
                    <a:pt x="3756" y="6890"/>
                    <a:pt x="3756" y="6890"/>
                    <a:pt x="3756" y="6890"/>
                  </a:cubicBezTo>
                  <a:cubicBezTo>
                    <a:pt x="3775" y="6897"/>
                    <a:pt x="3775" y="6897"/>
                    <a:pt x="3775" y="6897"/>
                  </a:cubicBezTo>
                  <a:cubicBezTo>
                    <a:pt x="3770" y="6907"/>
                    <a:pt x="3770" y="6907"/>
                    <a:pt x="3770" y="6907"/>
                  </a:cubicBezTo>
                  <a:cubicBezTo>
                    <a:pt x="3782" y="6910"/>
                    <a:pt x="3782" y="6910"/>
                    <a:pt x="3782" y="6910"/>
                  </a:cubicBezTo>
                  <a:cubicBezTo>
                    <a:pt x="3782" y="6910"/>
                    <a:pt x="3784" y="6887"/>
                    <a:pt x="3791" y="6899"/>
                  </a:cubicBezTo>
                  <a:cubicBezTo>
                    <a:pt x="3798" y="6910"/>
                    <a:pt x="3789" y="6916"/>
                    <a:pt x="3783" y="6920"/>
                  </a:cubicBezTo>
                  <a:cubicBezTo>
                    <a:pt x="3777" y="6923"/>
                    <a:pt x="3783" y="6931"/>
                    <a:pt x="3783" y="6931"/>
                  </a:cubicBezTo>
                  <a:cubicBezTo>
                    <a:pt x="3803" y="6932"/>
                    <a:pt x="3803" y="6932"/>
                    <a:pt x="3803" y="6932"/>
                  </a:cubicBezTo>
                  <a:cubicBezTo>
                    <a:pt x="3803" y="6932"/>
                    <a:pt x="3804" y="6942"/>
                    <a:pt x="3810" y="6947"/>
                  </a:cubicBezTo>
                  <a:cubicBezTo>
                    <a:pt x="3816" y="6952"/>
                    <a:pt x="3833" y="6961"/>
                    <a:pt x="3833" y="6961"/>
                  </a:cubicBezTo>
                  <a:cubicBezTo>
                    <a:pt x="3830" y="6939"/>
                    <a:pt x="3830" y="6939"/>
                    <a:pt x="3830" y="6939"/>
                  </a:cubicBezTo>
                  <a:cubicBezTo>
                    <a:pt x="3830" y="6939"/>
                    <a:pt x="3851" y="6947"/>
                    <a:pt x="3867" y="6958"/>
                  </a:cubicBezTo>
                  <a:cubicBezTo>
                    <a:pt x="3882" y="6968"/>
                    <a:pt x="3869" y="6978"/>
                    <a:pt x="3869" y="6978"/>
                  </a:cubicBezTo>
                  <a:cubicBezTo>
                    <a:pt x="3880" y="6985"/>
                    <a:pt x="3880" y="6985"/>
                    <a:pt x="3880" y="6985"/>
                  </a:cubicBezTo>
                  <a:cubicBezTo>
                    <a:pt x="3879" y="6998"/>
                    <a:pt x="3879" y="6998"/>
                    <a:pt x="3879" y="6998"/>
                  </a:cubicBezTo>
                  <a:cubicBezTo>
                    <a:pt x="3918" y="6998"/>
                    <a:pt x="3918" y="6998"/>
                    <a:pt x="3918" y="6998"/>
                  </a:cubicBezTo>
                  <a:cubicBezTo>
                    <a:pt x="3922" y="7005"/>
                    <a:pt x="3922" y="7005"/>
                    <a:pt x="3922" y="7005"/>
                  </a:cubicBezTo>
                  <a:cubicBezTo>
                    <a:pt x="3902" y="7005"/>
                    <a:pt x="3902" y="7005"/>
                    <a:pt x="3902" y="7005"/>
                  </a:cubicBezTo>
                  <a:cubicBezTo>
                    <a:pt x="3894" y="7013"/>
                    <a:pt x="3894" y="7013"/>
                    <a:pt x="3894" y="7013"/>
                  </a:cubicBezTo>
                  <a:cubicBezTo>
                    <a:pt x="3881" y="7014"/>
                    <a:pt x="3881" y="7014"/>
                    <a:pt x="3881" y="7014"/>
                  </a:cubicBezTo>
                  <a:cubicBezTo>
                    <a:pt x="3870" y="7026"/>
                    <a:pt x="3870" y="7026"/>
                    <a:pt x="3870" y="7026"/>
                  </a:cubicBezTo>
                  <a:cubicBezTo>
                    <a:pt x="3890" y="7029"/>
                    <a:pt x="3890" y="7029"/>
                    <a:pt x="3890" y="7029"/>
                  </a:cubicBezTo>
                  <a:cubicBezTo>
                    <a:pt x="3886" y="7039"/>
                    <a:pt x="3886" y="7039"/>
                    <a:pt x="3886" y="7039"/>
                  </a:cubicBezTo>
                  <a:cubicBezTo>
                    <a:pt x="3902" y="7037"/>
                    <a:pt x="3902" y="7037"/>
                    <a:pt x="3902" y="7037"/>
                  </a:cubicBezTo>
                  <a:cubicBezTo>
                    <a:pt x="3904" y="7024"/>
                    <a:pt x="3904" y="7024"/>
                    <a:pt x="3904" y="7024"/>
                  </a:cubicBezTo>
                  <a:cubicBezTo>
                    <a:pt x="3919" y="7030"/>
                    <a:pt x="3919" y="7030"/>
                    <a:pt x="3919" y="7030"/>
                  </a:cubicBezTo>
                  <a:cubicBezTo>
                    <a:pt x="3919" y="7030"/>
                    <a:pt x="3937" y="7005"/>
                    <a:pt x="3946" y="7012"/>
                  </a:cubicBezTo>
                  <a:cubicBezTo>
                    <a:pt x="3956" y="7019"/>
                    <a:pt x="3927" y="7044"/>
                    <a:pt x="3927" y="7044"/>
                  </a:cubicBezTo>
                  <a:cubicBezTo>
                    <a:pt x="3927" y="7044"/>
                    <a:pt x="3924" y="7037"/>
                    <a:pt x="3915" y="7038"/>
                  </a:cubicBezTo>
                  <a:cubicBezTo>
                    <a:pt x="3907" y="7039"/>
                    <a:pt x="3912" y="7050"/>
                    <a:pt x="3912" y="7050"/>
                  </a:cubicBezTo>
                  <a:cubicBezTo>
                    <a:pt x="3900" y="7050"/>
                    <a:pt x="3900" y="7050"/>
                    <a:pt x="3900" y="7050"/>
                  </a:cubicBezTo>
                  <a:cubicBezTo>
                    <a:pt x="3891" y="7047"/>
                    <a:pt x="3879" y="7058"/>
                    <a:pt x="3879" y="7058"/>
                  </a:cubicBezTo>
                  <a:cubicBezTo>
                    <a:pt x="3888" y="7064"/>
                    <a:pt x="3888" y="7064"/>
                    <a:pt x="3888" y="7064"/>
                  </a:cubicBezTo>
                  <a:cubicBezTo>
                    <a:pt x="3890" y="7082"/>
                    <a:pt x="3890" y="7082"/>
                    <a:pt x="3890" y="7082"/>
                  </a:cubicBezTo>
                  <a:cubicBezTo>
                    <a:pt x="3910" y="7072"/>
                    <a:pt x="3910" y="7072"/>
                    <a:pt x="3910" y="7072"/>
                  </a:cubicBezTo>
                  <a:cubicBezTo>
                    <a:pt x="3910" y="7072"/>
                    <a:pt x="3915" y="7083"/>
                    <a:pt x="3921" y="7082"/>
                  </a:cubicBezTo>
                  <a:cubicBezTo>
                    <a:pt x="3926" y="7081"/>
                    <a:pt x="3927" y="7061"/>
                    <a:pt x="3936" y="7056"/>
                  </a:cubicBezTo>
                  <a:cubicBezTo>
                    <a:pt x="3945" y="7052"/>
                    <a:pt x="3944" y="7062"/>
                    <a:pt x="3944" y="7062"/>
                  </a:cubicBezTo>
                  <a:cubicBezTo>
                    <a:pt x="3944" y="7062"/>
                    <a:pt x="3959" y="7065"/>
                    <a:pt x="3974" y="7062"/>
                  </a:cubicBezTo>
                  <a:cubicBezTo>
                    <a:pt x="3988" y="7058"/>
                    <a:pt x="3958" y="7036"/>
                    <a:pt x="3958" y="7036"/>
                  </a:cubicBezTo>
                  <a:cubicBezTo>
                    <a:pt x="3958" y="7011"/>
                    <a:pt x="3958" y="7011"/>
                    <a:pt x="3958" y="7011"/>
                  </a:cubicBezTo>
                  <a:cubicBezTo>
                    <a:pt x="3983" y="7009"/>
                    <a:pt x="3983" y="7009"/>
                    <a:pt x="3983" y="7009"/>
                  </a:cubicBezTo>
                  <a:cubicBezTo>
                    <a:pt x="3981" y="6997"/>
                    <a:pt x="3981" y="6997"/>
                    <a:pt x="3981" y="6997"/>
                  </a:cubicBezTo>
                  <a:cubicBezTo>
                    <a:pt x="3997" y="6999"/>
                    <a:pt x="3997" y="6999"/>
                    <a:pt x="3997" y="6999"/>
                  </a:cubicBezTo>
                  <a:cubicBezTo>
                    <a:pt x="4002" y="6987"/>
                    <a:pt x="4002" y="6987"/>
                    <a:pt x="4002" y="6987"/>
                  </a:cubicBezTo>
                  <a:cubicBezTo>
                    <a:pt x="3999" y="6995"/>
                    <a:pt x="3999" y="6995"/>
                    <a:pt x="3999" y="6995"/>
                  </a:cubicBezTo>
                  <a:cubicBezTo>
                    <a:pt x="4004" y="6983"/>
                    <a:pt x="4004" y="6983"/>
                    <a:pt x="4004" y="6983"/>
                  </a:cubicBezTo>
                  <a:cubicBezTo>
                    <a:pt x="4011" y="6973"/>
                    <a:pt x="4040" y="6992"/>
                    <a:pt x="4040" y="6992"/>
                  </a:cubicBezTo>
                  <a:cubicBezTo>
                    <a:pt x="4013" y="6955"/>
                    <a:pt x="4013" y="6955"/>
                    <a:pt x="4013" y="6955"/>
                  </a:cubicBezTo>
                  <a:cubicBezTo>
                    <a:pt x="4000" y="6956"/>
                    <a:pt x="4000" y="6956"/>
                    <a:pt x="4000" y="6956"/>
                  </a:cubicBezTo>
                  <a:cubicBezTo>
                    <a:pt x="4003" y="6946"/>
                    <a:pt x="4003" y="6946"/>
                    <a:pt x="4003" y="6946"/>
                  </a:cubicBezTo>
                  <a:cubicBezTo>
                    <a:pt x="3979" y="6929"/>
                    <a:pt x="3979" y="6929"/>
                    <a:pt x="3979" y="6929"/>
                  </a:cubicBezTo>
                  <a:cubicBezTo>
                    <a:pt x="3980" y="6905"/>
                    <a:pt x="3980" y="6905"/>
                    <a:pt x="3980" y="6905"/>
                  </a:cubicBezTo>
                  <a:cubicBezTo>
                    <a:pt x="3971" y="6901"/>
                    <a:pt x="3971" y="6901"/>
                    <a:pt x="3971" y="6901"/>
                  </a:cubicBezTo>
                  <a:cubicBezTo>
                    <a:pt x="3976" y="6889"/>
                    <a:pt x="3976" y="6889"/>
                    <a:pt x="3976" y="6889"/>
                  </a:cubicBezTo>
                  <a:cubicBezTo>
                    <a:pt x="3976" y="6889"/>
                    <a:pt x="3985" y="6889"/>
                    <a:pt x="3988" y="6881"/>
                  </a:cubicBezTo>
                  <a:cubicBezTo>
                    <a:pt x="3992" y="6873"/>
                    <a:pt x="3962" y="6873"/>
                    <a:pt x="3962" y="6873"/>
                  </a:cubicBezTo>
                  <a:cubicBezTo>
                    <a:pt x="3974" y="6868"/>
                    <a:pt x="3974" y="6868"/>
                    <a:pt x="3974" y="6868"/>
                  </a:cubicBezTo>
                  <a:cubicBezTo>
                    <a:pt x="3970" y="6855"/>
                    <a:pt x="3970" y="6855"/>
                    <a:pt x="3970" y="6855"/>
                  </a:cubicBezTo>
                  <a:cubicBezTo>
                    <a:pt x="3986" y="6872"/>
                    <a:pt x="3986" y="6872"/>
                    <a:pt x="3986" y="6872"/>
                  </a:cubicBezTo>
                  <a:cubicBezTo>
                    <a:pt x="3986" y="6872"/>
                    <a:pt x="4000" y="6882"/>
                    <a:pt x="4010" y="6870"/>
                  </a:cubicBezTo>
                  <a:cubicBezTo>
                    <a:pt x="4020" y="6858"/>
                    <a:pt x="4002" y="6832"/>
                    <a:pt x="4003" y="6818"/>
                  </a:cubicBezTo>
                  <a:cubicBezTo>
                    <a:pt x="4004" y="6805"/>
                    <a:pt x="4047" y="6776"/>
                    <a:pt x="4050" y="6767"/>
                  </a:cubicBezTo>
                  <a:cubicBezTo>
                    <a:pt x="4054" y="6758"/>
                    <a:pt x="4029" y="6758"/>
                    <a:pt x="4029" y="6758"/>
                  </a:cubicBezTo>
                  <a:cubicBezTo>
                    <a:pt x="4045" y="6756"/>
                    <a:pt x="4045" y="6756"/>
                    <a:pt x="4045" y="6756"/>
                  </a:cubicBezTo>
                  <a:cubicBezTo>
                    <a:pt x="4045" y="6756"/>
                    <a:pt x="4046" y="6736"/>
                    <a:pt x="4038" y="6726"/>
                  </a:cubicBezTo>
                  <a:cubicBezTo>
                    <a:pt x="4030" y="6716"/>
                    <a:pt x="4018" y="6721"/>
                    <a:pt x="4018" y="6721"/>
                  </a:cubicBezTo>
                  <a:cubicBezTo>
                    <a:pt x="4006" y="6712"/>
                    <a:pt x="4006" y="6712"/>
                    <a:pt x="4006" y="6712"/>
                  </a:cubicBezTo>
                  <a:cubicBezTo>
                    <a:pt x="3993" y="6712"/>
                    <a:pt x="3993" y="6712"/>
                    <a:pt x="3993" y="6712"/>
                  </a:cubicBezTo>
                  <a:cubicBezTo>
                    <a:pt x="3993" y="6712"/>
                    <a:pt x="3953" y="6695"/>
                    <a:pt x="3941" y="6668"/>
                  </a:cubicBezTo>
                  <a:cubicBezTo>
                    <a:pt x="3928" y="6641"/>
                    <a:pt x="3948" y="6636"/>
                    <a:pt x="3948" y="6636"/>
                  </a:cubicBezTo>
                  <a:cubicBezTo>
                    <a:pt x="3954" y="6619"/>
                    <a:pt x="3954" y="6619"/>
                    <a:pt x="3954" y="6619"/>
                  </a:cubicBezTo>
                  <a:cubicBezTo>
                    <a:pt x="3963" y="6619"/>
                    <a:pt x="3963" y="6619"/>
                    <a:pt x="3963" y="6619"/>
                  </a:cubicBezTo>
                  <a:cubicBezTo>
                    <a:pt x="3969" y="6607"/>
                    <a:pt x="3969" y="6607"/>
                    <a:pt x="3969" y="6607"/>
                  </a:cubicBezTo>
                  <a:cubicBezTo>
                    <a:pt x="4005" y="6606"/>
                    <a:pt x="4005" y="6606"/>
                    <a:pt x="4005" y="6606"/>
                  </a:cubicBezTo>
                  <a:cubicBezTo>
                    <a:pt x="3997" y="6599"/>
                    <a:pt x="3997" y="6599"/>
                    <a:pt x="3997" y="6599"/>
                  </a:cubicBezTo>
                  <a:cubicBezTo>
                    <a:pt x="3996" y="6585"/>
                    <a:pt x="3996" y="6585"/>
                    <a:pt x="3996" y="6585"/>
                  </a:cubicBezTo>
                  <a:cubicBezTo>
                    <a:pt x="4005" y="6584"/>
                    <a:pt x="4005" y="6584"/>
                    <a:pt x="4005" y="6584"/>
                  </a:cubicBezTo>
                  <a:cubicBezTo>
                    <a:pt x="4005" y="6584"/>
                    <a:pt x="4010" y="6565"/>
                    <a:pt x="4002" y="6558"/>
                  </a:cubicBezTo>
                  <a:cubicBezTo>
                    <a:pt x="3994" y="6551"/>
                    <a:pt x="3985" y="6535"/>
                    <a:pt x="3992" y="6519"/>
                  </a:cubicBezTo>
                  <a:cubicBezTo>
                    <a:pt x="3998" y="6504"/>
                    <a:pt x="4018" y="6504"/>
                    <a:pt x="4018" y="6504"/>
                  </a:cubicBezTo>
                  <a:cubicBezTo>
                    <a:pt x="4018" y="6497"/>
                    <a:pt x="4018" y="6497"/>
                    <a:pt x="4018" y="6497"/>
                  </a:cubicBezTo>
                  <a:cubicBezTo>
                    <a:pt x="4018" y="6497"/>
                    <a:pt x="4001" y="6497"/>
                    <a:pt x="3993" y="6492"/>
                  </a:cubicBezTo>
                  <a:cubicBezTo>
                    <a:pt x="3985" y="6488"/>
                    <a:pt x="3994" y="6479"/>
                    <a:pt x="4002" y="6478"/>
                  </a:cubicBezTo>
                  <a:cubicBezTo>
                    <a:pt x="4010" y="6477"/>
                    <a:pt x="4024" y="6494"/>
                    <a:pt x="4031" y="6494"/>
                  </a:cubicBezTo>
                  <a:cubicBezTo>
                    <a:pt x="4038" y="6494"/>
                    <a:pt x="4047" y="6490"/>
                    <a:pt x="4048" y="6480"/>
                  </a:cubicBezTo>
                  <a:cubicBezTo>
                    <a:pt x="4049" y="6470"/>
                    <a:pt x="4036" y="6447"/>
                    <a:pt x="4023" y="6452"/>
                  </a:cubicBezTo>
                  <a:cubicBezTo>
                    <a:pt x="4011" y="6456"/>
                    <a:pt x="4030" y="6466"/>
                    <a:pt x="4018" y="6472"/>
                  </a:cubicBezTo>
                  <a:cubicBezTo>
                    <a:pt x="4005" y="6478"/>
                    <a:pt x="3993" y="6461"/>
                    <a:pt x="3993" y="6461"/>
                  </a:cubicBezTo>
                  <a:cubicBezTo>
                    <a:pt x="3993" y="6461"/>
                    <a:pt x="3969" y="6463"/>
                    <a:pt x="3966" y="6456"/>
                  </a:cubicBezTo>
                  <a:cubicBezTo>
                    <a:pt x="3962" y="6450"/>
                    <a:pt x="3966" y="6422"/>
                    <a:pt x="3966" y="6419"/>
                  </a:cubicBezTo>
                  <a:cubicBezTo>
                    <a:pt x="3966" y="6416"/>
                    <a:pt x="3949" y="6399"/>
                    <a:pt x="3953" y="6384"/>
                  </a:cubicBezTo>
                  <a:cubicBezTo>
                    <a:pt x="3958" y="6370"/>
                    <a:pt x="3971" y="6386"/>
                    <a:pt x="3986" y="6390"/>
                  </a:cubicBezTo>
                  <a:cubicBezTo>
                    <a:pt x="4001" y="6393"/>
                    <a:pt x="4018" y="6406"/>
                    <a:pt x="4027" y="6406"/>
                  </a:cubicBezTo>
                  <a:cubicBezTo>
                    <a:pt x="4036" y="6406"/>
                    <a:pt x="4069" y="6388"/>
                    <a:pt x="4077" y="6382"/>
                  </a:cubicBezTo>
                  <a:cubicBezTo>
                    <a:pt x="4085" y="6376"/>
                    <a:pt x="4052" y="6358"/>
                    <a:pt x="4052" y="6358"/>
                  </a:cubicBezTo>
                  <a:cubicBezTo>
                    <a:pt x="4051" y="6342"/>
                    <a:pt x="4051" y="6342"/>
                    <a:pt x="4051" y="6342"/>
                  </a:cubicBezTo>
                  <a:cubicBezTo>
                    <a:pt x="4051" y="6342"/>
                    <a:pt x="4060" y="6326"/>
                    <a:pt x="4063" y="6315"/>
                  </a:cubicBezTo>
                  <a:cubicBezTo>
                    <a:pt x="4065" y="6305"/>
                    <a:pt x="4042" y="6305"/>
                    <a:pt x="4042" y="6305"/>
                  </a:cubicBezTo>
                  <a:cubicBezTo>
                    <a:pt x="4040" y="6291"/>
                    <a:pt x="4040" y="6291"/>
                    <a:pt x="4040" y="6291"/>
                  </a:cubicBezTo>
                  <a:cubicBezTo>
                    <a:pt x="4040" y="6291"/>
                    <a:pt x="4032" y="6282"/>
                    <a:pt x="4039" y="6274"/>
                  </a:cubicBezTo>
                  <a:cubicBezTo>
                    <a:pt x="4046" y="6266"/>
                    <a:pt x="4056" y="6301"/>
                    <a:pt x="4056" y="6301"/>
                  </a:cubicBezTo>
                  <a:cubicBezTo>
                    <a:pt x="4064" y="6300"/>
                    <a:pt x="4064" y="6300"/>
                    <a:pt x="4064" y="6300"/>
                  </a:cubicBezTo>
                  <a:cubicBezTo>
                    <a:pt x="4059" y="6286"/>
                    <a:pt x="4059" y="6286"/>
                    <a:pt x="4059" y="6286"/>
                  </a:cubicBezTo>
                  <a:cubicBezTo>
                    <a:pt x="4113" y="6293"/>
                    <a:pt x="4113" y="6293"/>
                    <a:pt x="4113" y="6293"/>
                  </a:cubicBezTo>
                  <a:cubicBezTo>
                    <a:pt x="4116" y="6287"/>
                    <a:pt x="4116" y="6287"/>
                    <a:pt x="4116" y="6287"/>
                  </a:cubicBezTo>
                  <a:cubicBezTo>
                    <a:pt x="4116" y="6287"/>
                    <a:pt x="4129" y="6279"/>
                    <a:pt x="4157" y="6276"/>
                  </a:cubicBezTo>
                  <a:cubicBezTo>
                    <a:pt x="4186" y="6273"/>
                    <a:pt x="4238" y="6248"/>
                    <a:pt x="4238" y="6248"/>
                  </a:cubicBezTo>
                  <a:cubicBezTo>
                    <a:pt x="4235" y="6222"/>
                    <a:pt x="4235" y="6222"/>
                    <a:pt x="4235" y="6222"/>
                  </a:cubicBezTo>
                  <a:cubicBezTo>
                    <a:pt x="4250" y="6214"/>
                    <a:pt x="4250" y="6214"/>
                    <a:pt x="4250" y="6214"/>
                  </a:cubicBezTo>
                  <a:cubicBezTo>
                    <a:pt x="4258" y="6181"/>
                    <a:pt x="4258" y="6181"/>
                    <a:pt x="4258" y="6181"/>
                  </a:cubicBezTo>
                  <a:cubicBezTo>
                    <a:pt x="4251" y="6164"/>
                    <a:pt x="4251" y="6164"/>
                    <a:pt x="4251" y="6164"/>
                  </a:cubicBezTo>
                  <a:cubicBezTo>
                    <a:pt x="4251" y="6146"/>
                    <a:pt x="4251" y="6146"/>
                    <a:pt x="4251" y="6146"/>
                  </a:cubicBezTo>
                  <a:cubicBezTo>
                    <a:pt x="4251" y="6146"/>
                    <a:pt x="4240" y="6137"/>
                    <a:pt x="4229" y="6133"/>
                  </a:cubicBezTo>
                  <a:cubicBezTo>
                    <a:pt x="4223" y="6131"/>
                    <a:pt x="4216" y="6136"/>
                    <a:pt x="4211" y="6132"/>
                  </a:cubicBezTo>
                  <a:cubicBezTo>
                    <a:pt x="4203" y="6126"/>
                    <a:pt x="4217" y="6120"/>
                    <a:pt x="4220" y="6115"/>
                  </a:cubicBezTo>
                  <a:cubicBezTo>
                    <a:pt x="4224" y="6108"/>
                    <a:pt x="4219" y="6102"/>
                    <a:pt x="4219" y="6094"/>
                  </a:cubicBezTo>
                  <a:cubicBezTo>
                    <a:pt x="4219" y="6079"/>
                    <a:pt x="4186" y="6074"/>
                    <a:pt x="4163" y="6063"/>
                  </a:cubicBezTo>
                  <a:cubicBezTo>
                    <a:pt x="4140" y="6052"/>
                    <a:pt x="4140" y="6041"/>
                    <a:pt x="4150" y="6027"/>
                  </a:cubicBezTo>
                  <a:cubicBezTo>
                    <a:pt x="4151" y="6026"/>
                    <a:pt x="4151" y="6025"/>
                    <a:pt x="4152" y="6025"/>
                  </a:cubicBezTo>
                  <a:cubicBezTo>
                    <a:pt x="4132" y="6000"/>
                    <a:pt x="4132" y="6000"/>
                    <a:pt x="4132" y="6000"/>
                  </a:cubicBezTo>
                  <a:cubicBezTo>
                    <a:pt x="4152" y="6025"/>
                    <a:pt x="4152" y="6025"/>
                    <a:pt x="4152" y="6025"/>
                  </a:cubicBezTo>
                  <a:cubicBezTo>
                    <a:pt x="4160" y="6019"/>
                    <a:pt x="4174" y="6037"/>
                    <a:pt x="4179" y="6044"/>
                  </a:cubicBezTo>
                  <a:cubicBezTo>
                    <a:pt x="4179" y="6044"/>
                    <a:pt x="4179" y="6044"/>
                    <a:pt x="4179" y="6044"/>
                  </a:cubicBezTo>
                  <a:cubicBezTo>
                    <a:pt x="4180" y="6046"/>
                    <a:pt x="4181" y="6048"/>
                    <a:pt x="4181" y="6048"/>
                  </a:cubicBezTo>
                  <a:cubicBezTo>
                    <a:pt x="4213" y="6048"/>
                    <a:pt x="4213" y="6048"/>
                    <a:pt x="4213" y="6048"/>
                  </a:cubicBezTo>
                  <a:cubicBezTo>
                    <a:pt x="4220" y="6059"/>
                    <a:pt x="4220" y="6059"/>
                    <a:pt x="4220" y="6059"/>
                  </a:cubicBezTo>
                  <a:cubicBezTo>
                    <a:pt x="4220" y="6059"/>
                    <a:pt x="4247" y="6058"/>
                    <a:pt x="4280" y="6063"/>
                  </a:cubicBezTo>
                  <a:cubicBezTo>
                    <a:pt x="4313" y="6068"/>
                    <a:pt x="4332" y="6067"/>
                    <a:pt x="4348" y="6054"/>
                  </a:cubicBezTo>
                  <a:cubicBezTo>
                    <a:pt x="4362" y="6043"/>
                    <a:pt x="4369" y="6013"/>
                    <a:pt x="4371" y="6006"/>
                  </a:cubicBezTo>
                  <a:cubicBezTo>
                    <a:pt x="4371" y="6004"/>
                    <a:pt x="4371" y="6004"/>
                    <a:pt x="4371" y="6004"/>
                  </a:cubicBezTo>
                  <a:cubicBezTo>
                    <a:pt x="4371" y="6004"/>
                    <a:pt x="4394" y="5978"/>
                    <a:pt x="4399" y="5969"/>
                  </a:cubicBezTo>
                  <a:cubicBezTo>
                    <a:pt x="4404" y="5960"/>
                    <a:pt x="4396" y="5939"/>
                    <a:pt x="4396" y="5939"/>
                  </a:cubicBezTo>
                  <a:cubicBezTo>
                    <a:pt x="4408" y="5921"/>
                    <a:pt x="4408" y="5921"/>
                    <a:pt x="4408" y="5921"/>
                  </a:cubicBezTo>
                  <a:cubicBezTo>
                    <a:pt x="4408" y="5921"/>
                    <a:pt x="4398" y="5913"/>
                    <a:pt x="4398" y="5903"/>
                  </a:cubicBezTo>
                  <a:cubicBezTo>
                    <a:pt x="4398" y="5893"/>
                    <a:pt x="4408" y="5892"/>
                    <a:pt x="4408" y="5892"/>
                  </a:cubicBezTo>
                  <a:cubicBezTo>
                    <a:pt x="4410" y="5876"/>
                    <a:pt x="4410" y="5876"/>
                    <a:pt x="4410" y="5876"/>
                  </a:cubicBezTo>
                  <a:cubicBezTo>
                    <a:pt x="4410" y="5876"/>
                    <a:pt x="4422" y="5874"/>
                    <a:pt x="4426" y="5870"/>
                  </a:cubicBezTo>
                  <a:cubicBezTo>
                    <a:pt x="4430" y="5866"/>
                    <a:pt x="4429" y="5852"/>
                    <a:pt x="4429" y="5844"/>
                  </a:cubicBezTo>
                  <a:cubicBezTo>
                    <a:pt x="4429" y="5836"/>
                    <a:pt x="4447" y="5819"/>
                    <a:pt x="4456" y="5817"/>
                  </a:cubicBezTo>
                  <a:cubicBezTo>
                    <a:pt x="4465" y="5815"/>
                    <a:pt x="4462" y="5839"/>
                    <a:pt x="4462" y="5839"/>
                  </a:cubicBezTo>
                  <a:cubicBezTo>
                    <a:pt x="4462" y="5839"/>
                    <a:pt x="4456" y="5849"/>
                    <a:pt x="4453" y="5851"/>
                  </a:cubicBezTo>
                  <a:cubicBezTo>
                    <a:pt x="4450" y="5853"/>
                    <a:pt x="4451" y="5864"/>
                    <a:pt x="4451" y="5864"/>
                  </a:cubicBezTo>
                  <a:cubicBezTo>
                    <a:pt x="4444" y="5868"/>
                    <a:pt x="4444" y="5868"/>
                    <a:pt x="4444" y="5868"/>
                  </a:cubicBezTo>
                  <a:cubicBezTo>
                    <a:pt x="4444" y="5877"/>
                    <a:pt x="4444" y="5877"/>
                    <a:pt x="4444" y="5877"/>
                  </a:cubicBezTo>
                  <a:cubicBezTo>
                    <a:pt x="4427" y="5895"/>
                    <a:pt x="4427" y="5895"/>
                    <a:pt x="4427" y="5895"/>
                  </a:cubicBezTo>
                  <a:cubicBezTo>
                    <a:pt x="4406" y="5910"/>
                    <a:pt x="4406" y="5910"/>
                    <a:pt x="4406" y="5910"/>
                  </a:cubicBezTo>
                  <a:cubicBezTo>
                    <a:pt x="4406" y="5910"/>
                    <a:pt x="4413" y="5916"/>
                    <a:pt x="4420" y="5914"/>
                  </a:cubicBezTo>
                  <a:cubicBezTo>
                    <a:pt x="4425" y="5913"/>
                    <a:pt x="4425" y="5901"/>
                    <a:pt x="4430" y="5898"/>
                  </a:cubicBezTo>
                  <a:cubicBezTo>
                    <a:pt x="4434" y="5894"/>
                    <a:pt x="4441" y="5897"/>
                    <a:pt x="4443" y="5895"/>
                  </a:cubicBezTo>
                  <a:cubicBezTo>
                    <a:pt x="4449" y="5886"/>
                    <a:pt x="4471" y="5852"/>
                    <a:pt x="4476" y="5828"/>
                  </a:cubicBezTo>
                  <a:cubicBezTo>
                    <a:pt x="4481" y="5804"/>
                    <a:pt x="4491" y="5782"/>
                    <a:pt x="4495" y="5768"/>
                  </a:cubicBezTo>
                  <a:cubicBezTo>
                    <a:pt x="4499" y="5754"/>
                    <a:pt x="4527" y="5737"/>
                    <a:pt x="4529" y="5733"/>
                  </a:cubicBezTo>
                  <a:cubicBezTo>
                    <a:pt x="4531" y="5729"/>
                    <a:pt x="4524" y="5719"/>
                    <a:pt x="4524" y="5719"/>
                  </a:cubicBezTo>
                  <a:cubicBezTo>
                    <a:pt x="4537" y="5710"/>
                    <a:pt x="4537" y="5710"/>
                    <a:pt x="4537" y="5710"/>
                  </a:cubicBezTo>
                  <a:cubicBezTo>
                    <a:pt x="4533" y="5686"/>
                    <a:pt x="4533" y="5686"/>
                    <a:pt x="4533" y="5686"/>
                  </a:cubicBezTo>
                  <a:cubicBezTo>
                    <a:pt x="4537" y="5672"/>
                    <a:pt x="4537" y="5672"/>
                    <a:pt x="4537" y="5672"/>
                  </a:cubicBezTo>
                  <a:cubicBezTo>
                    <a:pt x="4528" y="5667"/>
                    <a:pt x="4528" y="5667"/>
                    <a:pt x="4528" y="5667"/>
                  </a:cubicBezTo>
                  <a:cubicBezTo>
                    <a:pt x="4528" y="5667"/>
                    <a:pt x="4535" y="5658"/>
                    <a:pt x="4535" y="5650"/>
                  </a:cubicBezTo>
                  <a:cubicBezTo>
                    <a:pt x="4535" y="5642"/>
                    <a:pt x="4520" y="5636"/>
                    <a:pt x="4520" y="5636"/>
                  </a:cubicBezTo>
                  <a:cubicBezTo>
                    <a:pt x="4519" y="5613"/>
                    <a:pt x="4519" y="5613"/>
                    <a:pt x="4519" y="5613"/>
                  </a:cubicBezTo>
                  <a:cubicBezTo>
                    <a:pt x="4509" y="5602"/>
                    <a:pt x="4509" y="5602"/>
                    <a:pt x="4509" y="5602"/>
                  </a:cubicBezTo>
                  <a:cubicBezTo>
                    <a:pt x="4523" y="5603"/>
                    <a:pt x="4523" y="5603"/>
                    <a:pt x="4523" y="5603"/>
                  </a:cubicBezTo>
                  <a:cubicBezTo>
                    <a:pt x="4522" y="5586"/>
                    <a:pt x="4522" y="5586"/>
                    <a:pt x="4522" y="5586"/>
                  </a:cubicBezTo>
                  <a:cubicBezTo>
                    <a:pt x="4513" y="5581"/>
                    <a:pt x="4513" y="5581"/>
                    <a:pt x="4513" y="5581"/>
                  </a:cubicBezTo>
                  <a:cubicBezTo>
                    <a:pt x="4513" y="5581"/>
                    <a:pt x="4525" y="5578"/>
                    <a:pt x="4525" y="5573"/>
                  </a:cubicBezTo>
                  <a:cubicBezTo>
                    <a:pt x="4525" y="5568"/>
                    <a:pt x="4509" y="5558"/>
                    <a:pt x="4509" y="5558"/>
                  </a:cubicBezTo>
                  <a:cubicBezTo>
                    <a:pt x="4525" y="5547"/>
                    <a:pt x="4525" y="5547"/>
                    <a:pt x="4525" y="5547"/>
                  </a:cubicBezTo>
                  <a:cubicBezTo>
                    <a:pt x="4525" y="5547"/>
                    <a:pt x="4538" y="5561"/>
                    <a:pt x="4544" y="5560"/>
                  </a:cubicBezTo>
                  <a:cubicBezTo>
                    <a:pt x="4550" y="5559"/>
                    <a:pt x="4546" y="5547"/>
                    <a:pt x="4546" y="5547"/>
                  </a:cubicBezTo>
                  <a:cubicBezTo>
                    <a:pt x="4546" y="5547"/>
                    <a:pt x="4546" y="5535"/>
                    <a:pt x="4554" y="5525"/>
                  </a:cubicBezTo>
                  <a:cubicBezTo>
                    <a:pt x="4562" y="5515"/>
                    <a:pt x="4574" y="5518"/>
                    <a:pt x="4580" y="5513"/>
                  </a:cubicBezTo>
                  <a:cubicBezTo>
                    <a:pt x="4586" y="5508"/>
                    <a:pt x="4583" y="5504"/>
                    <a:pt x="4586" y="5497"/>
                  </a:cubicBezTo>
                  <a:cubicBezTo>
                    <a:pt x="4589" y="5490"/>
                    <a:pt x="4607" y="5487"/>
                    <a:pt x="4607" y="5487"/>
                  </a:cubicBezTo>
                  <a:cubicBezTo>
                    <a:pt x="4609" y="5479"/>
                    <a:pt x="4609" y="5479"/>
                    <a:pt x="4609" y="5479"/>
                  </a:cubicBezTo>
                  <a:cubicBezTo>
                    <a:pt x="4609" y="5479"/>
                    <a:pt x="4615" y="5482"/>
                    <a:pt x="4620" y="5481"/>
                  </a:cubicBezTo>
                  <a:cubicBezTo>
                    <a:pt x="4625" y="5480"/>
                    <a:pt x="4624" y="5468"/>
                    <a:pt x="4630" y="5467"/>
                  </a:cubicBezTo>
                  <a:cubicBezTo>
                    <a:pt x="4636" y="5466"/>
                    <a:pt x="4655" y="5469"/>
                    <a:pt x="4655" y="5469"/>
                  </a:cubicBezTo>
                  <a:cubicBezTo>
                    <a:pt x="4659" y="5479"/>
                    <a:pt x="4659" y="5479"/>
                    <a:pt x="4659" y="5479"/>
                  </a:cubicBezTo>
                  <a:cubicBezTo>
                    <a:pt x="4670" y="5477"/>
                    <a:pt x="4670" y="5477"/>
                    <a:pt x="4670" y="5477"/>
                  </a:cubicBezTo>
                  <a:cubicBezTo>
                    <a:pt x="4657" y="5462"/>
                    <a:pt x="4657" y="5462"/>
                    <a:pt x="4657" y="5462"/>
                  </a:cubicBezTo>
                  <a:cubicBezTo>
                    <a:pt x="4657" y="5462"/>
                    <a:pt x="4666" y="5458"/>
                    <a:pt x="4670" y="5453"/>
                  </a:cubicBezTo>
                  <a:cubicBezTo>
                    <a:pt x="4674" y="5448"/>
                    <a:pt x="4696" y="5447"/>
                    <a:pt x="4696" y="5447"/>
                  </a:cubicBezTo>
                  <a:cubicBezTo>
                    <a:pt x="4685" y="5437"/>
                    <a:pt x="4685" y="5437"/>
                    <a:pt x="4685" y="5437"/>
                  </a:cubicBezTo>
                  <a:cubicBezTo>
                    <a:pt x="4685" y="5437"/>
                    <a:pt x="4697" y="5427"/>
                    <a:pt x="4702" y="5427"/>
                  </a:cubicBezTo>
                  <a:cubicBezTo>
                    <a:pt x="4707" y="5427"/>
                    <a:pt x="4703" y="5443"/>
                    <a:pt x="4706" y="5443"/>
                  </a:cubicBezTo>
                  <a:cubicBezTo>
                    <a:pt x="4709" y="5443"/>
                    <a:pt x="4715" y="5426"/>
                    <a:pt x="4715" y="5426"/>
                  </a:cubicBezTo>
                  <a:cubicBezTo>
                    <a:pt x="4740" y="5431"/>
                    <a:pt x="4740" y="5431"/>
                    <a:pt x="4740" y="5431"/>
                  </a:cubicBezTo>
                  <a:cubicBezTo>
                    <a:pt x="4740" y="5431"/>
                    <a:pt x="4745" y="5411"/>
                    <a:pt x="4756" y="5410"/>
                  </a:cubicBezTo>
                  <a:cubicBezTo>
                    <a:pt x="4767" y="5409"/>
                    <a:pt x="4764" y="5431"/>
                    <a:pt x="4764" y="5431"/>
                  </a:cubicBezTo>
                  <a:cubicBezTo>
                    <a:pt x="4809" y="5426"/>
                    <a:pt x="4809" y="5426"/>
                    <a:pt x="4809" y="5426"/>
                  </a:cubicBezTo>
                  <a:cubicBezTo>
                    <a:pt x="4814" y="5414"/>
                    <a:pt x="4814" y="5414"/>
                    <a:pt x="4814" y="5414"/>
                  </a:cubicBezTo>
                  <a:cubicBezTo>
                    <a:pt x="4808" y="5407"/>
                    <a:pt x="4808" y="5407"/>
                    <a:pt x="4808" y="5407"/>
                  </a:cubicBezTo>
                  <a:cubicBezTo>
                    <a:pt x="4808" y="5407"/>
                    <a:pt x="4814" y="5399"/>
                    <a:pt x="4820" y="5390"/>
                  </a:cubicBezTo>
                  <a:cubicBezTo>
                    <a:pt x="4826" y="5381"/>
                    <a:pt x="4856" y="5376"/>
                    <a:pt x="4856" y="5376"/>
                  </a:cubicBezTo>
                  <a:cubicBezTo>
                    <a:pt x="4856" y="5376"/>
                    <a:pt x="4853" y="5363"/>
                    <a:pt x="4853" y="5360"/>
                  </a:cubicBezTo>
                  <a:cubicBezTo>
                    <a:pt x="4853" y="5357"/>
                    <a:pt x="4854" y="5316"/>
                    <a:pt x="4854" y="5316"/>
                  </a:cubicBezTo>
                  <a:cubicBezTo>
                    <a:pt x="4872" y="5296"/>
                    <a:pt x="4872" y="5296"/>
                    <a:pt x="4872" y="5296"/>
                  </a:cubicBezTo>
                  <a:cubicBezTo>
                    <a:pt x="4872" y="5280"/>
                    <a:pt x="4872" y="5280"/>
                    <a:pt x="4872" y="5280"/>
                  </a:cubicBezTo>
                  <a:cubicBezTo>
                    <a:pt x="4885" y="5277"/>
                    <a:pt x="4885" y="5277"/>
                    <a:pt x="4885" y="5277"/>
                  </a:cubicBezTo>
                  <a:cubicBezTo>
                    <a:pt x="4885" y="5255"/>
                    <a:pt x="4885" y="5255"/>
                    <a:pt x="4885" y="5255"/>
                  </a:cubicBezTo>
                  <a:cubicBezTo>
                    <a:pt x="4885" y="5255"/>
                    <a:pt x="4894" y="5250"/>
                    <a:pt x="4898" y="5250"/>
                  </a:cubicBezTo>
                  <a:cubicBezTo>
                    <a:pt x="4902" y="5250"/>
                    <a:pt x="4902" y="5225"/>
                    <a:pt x="4902" y="5225"/>
                  </a:cubicBezTo>
                  <a:cubicBezTo>
                    <a:pt x="4902" y="5225"/>
                    <a:pt x="4896" y="5196"/>
                    <a:pt x="4894" y="5181"/>
                  </a:cubicBezTo>
                  <a:cubicBezTo>
                    <a:pt x="4892" y="5166"/>
                    <a:pt x="4910" y="5154"/>
                    <a:pt x="4917" y="5148"/>
                  </a:cubicBezTo>
                  <a:cubicBezTo>
                    <a:pt x="4924" y="5142"/>
                    <a:pt x="4914" y="5121"/>
                    <a:pt x="4914" y="5121"/>
                  </a:cubicBezTo>
                  <a:cubicBezTo>
                    <a:pt x="4918" y="5083"/>
                    <a:pt x="4918" y="5083"/>
                    <a:pt x="4918" y="5083"/>
                  </a:cubicBezTo>
                  <a:cubicBezTo>
                    <a:pt x="4918" y="5083"/>
                    <a:pt x="4926" y="5053"/>
                    <a:pt x="4925" y="5042"/>
                  </a:cubicBezTo>
                  <a:cubicBezTo>
                    <a:pt x="4924" y="5031"/>
                    <a:pt x="4912" y="4973"/>
                    <a:pt x="4912" y="4973"/>
                  </a:cubicBezTo>
                  <a:cubicBezTo>
                    <a:pt x="4917" y="4949"/>
                    <a:pt x="4917" y="4949"/>
                    <a:pt x="4917" y="4949"/>
                  </a:cubicBezTo>
                  <a:cubicBezTo>
                    <a:pt x="4917" y="4949"/>
                    <a:pt x="4908" y="4918"/>
                    <a:pt x="4911" y="4910"/>
                  </a:cubicBezTo>
                  <a:cubicBezTo>
                    <a:pt x="4914" y="4902"/>
                    <a:pt x="4925" y="4892"/>
                    <a:pt x="4925" y="4892"/>
                  </a:cubicBezTo>
                  <a:cubicBezTo>
                    <a:pt x="4917" y="4880"/>
                    <a:pt x="4917" y="4880"/>
                    <a:pt x="4917" y="4880"/>
                  </a:cubicBezTo>
                  <a:cubicBezTo>
                    <a:pt x="4917" y="4880"/>
                    <a:pt x="4924" y="4870"/>
                    <a:pt x="4928" y="4870"/>
                  </a:cubicBezTo>
                  <a:cubicBezTo>
                    <a:pt x="4932" y="4870"/>
                    <a:pt x="4941" y="4889"/>
                    <a:pt x="4941" y="4889"/>
                  </a:cubicBezTo>
                  <a:cubicBezTo>
                    <a:pt x="4941" y="4889"/>
                    <a:pt x="4963" y="4869"/>
                    <a:pt x="4970" y="4859"/>
                  </a:cubicBezTo>
                  <a:cubicBezTo>
                    <a:pt x="4977" y="4849"/>
                    <a:pt x="4982" y="4805"/>
                    <a:pt x="4982" y="4805"/>
                  </a:cubicBezTo>
                  <a:cubicBezTo>
                    <a:pt x="4982" y="4805"/>
                    <a:pt x="4988" y="4801"/>
                    <a:pt x="4994" y="4797"/>
                  </a:cubicBezTo>
                  <a:cubicBezTo>
                    <a:pt x="5000" y="4793"/>
                    <a:pt x="5005" y="4771"/>
                    <a:pt x="5005" y="4771"/>
                  </a:cubicBezTo>
                  <a:cubicBezTo>
                    <a:pt x="5005" y="4771"/>
                    <a:pt x="5018" y="4764"/>
                    <a:pt x="5025" y="4763"/>
                  </a:cubicBezTo>
                  <a:cubicBezTo>
                    <a:pt x="5032" y="4762"/>
                    <a:pt x="5032" y="4742"/>
                    <a:pt x="5032" y="4742"/>
                  </a:cubicBezTo>
                  <a:cubicBezTo>
                    <a:pt x="5032" y="4742"/>
                    <a:pt x="5046" y="4737"/>
                    <a:pt x="5059" y="4719"/>
                  </a:cubicBezTo>
                  <a:cubicBezTo>
                    <a:pt x="5072" y="4701"/>
                    <a:pt x="5087" y="4654"/>
                    <a:pt x="5087" y="4654"/>
                  </a:cubicBezTo>
                  <a:cubicBezTo>
                    <a:pt x="5087" y="4654"/>
                    <a:pt x="5099" y="4641"/>
                    <a:pt x="5100" y="4635"/>
                  </a:cubicBezTo>
                  <a:cubicBezTo>
                    <a:pt x="5101" y="4629"/>
                    <a:pt x="5095" y="4613"/>
                    <a:pt x="5095" y="4613"/>
                  </a:cubicBezTo>
                  <a:cubicBezTo>
                    <a:pt x="5095" y="4613"/>
                    <a:pt x="5098" y="4592"/>
                    <a:pt x="5098" y="4575"/>
                  </a:cubicBezTo>
                  <a:close/>
                  <a:moveTo>
                    <a:pt x="3153" y="1791"/>
                  </a:moveTo>
                  <a:cubicBezTo>
                    <a:pt x="3139" y="1791"/>
                    <a:pt x="3159" y="1774"/>
                    <a:pt x="3152" y="1771"/>
                  </a:cubicBezTo>
                  <a:cubicBezTo>
                    <a:pt x="3145" y="1768"/>
                    <a:pt x="3135" y="1781"/>
                    <a:pt x="3135" y="1781"/>
                  </a:cubicBezTo>
                  <a:cubicBezTo>
                    <a:pt x="3130" y="1783"/>
                    <a:pt x="3130" y="1783"/>
                    <a:pt x="3130" y="1783"/>
                  </a:cubicBezTo>
                  <a:cubicBezTo>
                    <a:pt x="3126" y="1794"/>
                    <a:pt x="3126" y="1794"/>
                    <a:pt x="3126" y="1794"/>
                  </a:cubicBezTo>
                  <a:cubicBezTo>
                    <a:pt x="3115" y="1790"/>
                    <a:pt x="3115" y="1790"/>
                    <a:pt x="3115" y="1790"/>
                  </a:cubicBezTo>
                  <a:cubicBezTo>
                    <a:pt x="3115" y="1790"/>
                    <a:pt x="3115" y="1801"/>
                    <a:pt x="3112" y="1808"/>
                  </a:cubicBezTo>
                  <a:cubicBezTo>
                    <a:pt x="3109" y="1815"/>
                    <a:pt x="3099" y="1818"/>
                    <a:pt x="3094" y="1823"/>
                  </a:cubicBezTo>
                  <a:cubicBezTo>
                    <a:pt x="3089" y="1828"/>
                    <a:pt x="3095" y="1836"/>
                    <a:pt x="3095" y="1836"/>
                  </a:cubicBezTo>
                  <a:cubicBezTo>
                    <a:pt x="3095" y="1836"/>
                    <a:pt x="3091" y="1836"/>
                    <a:pt x="3078" y="1850"/>
                  </a:cubicBezTo>
                  <a:cubicBezTo>
                    <a:pt x="3065" y="1864"/>
                    <a:pt x="3083" y="1864"/>
                    <a:pt x="3083" y="1872"/>
                  </a:cubicBezTo>
                  <a:cubicBezTo>
                    <a:pt x="3083" y="1880"/>
                    <a:pt x="3076" y="1881"/>
                    <a:pt x="3076" y="1881"/>
                  </a:cubicBezTo>
                  <a:cubicBezTo>
                    <a:pt x="3076" y="1881"/>
                    <a:pt x="3084" y="1885"/>
                    <a:pt x="3061" y="1917"/>
                  </a:cubicBezTo>
                  <a:cubicBezTo>
                    <a:pt x="3038" y="1949"/>
                    <a:pt x="2993" y="1959"/>
                    <a:pt x="2993" y="1959"/>
                  </a:cubicBezTo>
                  <a:cubicBezTo>
                    <a:pt x="2996" y="1939"/>
                    <a:pt x="2996" y="1939"/>
                    <a:pt x="2996" y="1939"/>
                  </a:cubicBezTo>
                  <a:cubicBezTo>
                    <a:pt x="2996" y="1939"/>
                    <a:pt x="2992" y="1932"/>
                    <a:pt x="2990" y="1928"/>
                  </a:cubicBezTo>
                  <a:cubicBezTo>
                    <a:pt x="2988" y="1924"/>
                    <a:pt x="3005" y="1904"/>
                    <a:pt x="3007" y="1897"/>
                  </a:cubicBezTo>
                  <a:cubicBezTo>
                    <a:pt x="3009" y="1890"/>
                    <a:pt x="3003" y="1889"/>
                    <a:pt x="3005" y="1877"/>
                  </a:cubicBezTo>
                  <a:cubicBezTo>
                    <a:pt x="3007" y="1865"/>
                    <a:pt x="3029" y="1846"/>
                    <a:pt x="3029" y="1846"/>
                  </a:cubicBezTo>
                  <a:cubicBezTo>
                    <a:pt x="3029" y="1837"/>
                    <a:pt x="3029" y="1837"/>
                    <a:pt x="3029" y="1837"/>
                  </a:cubicBezTo>
                  <a:cubicBezTo>
                    <a:pt x="3029" y="1837"/>
                    <a:pt x="3050" y="1822"/>
                    <a:pt x="3053" y="1816"/>
                  </a:cubicBezTo>
                  <a:cubicBezTo>
                    <a:pt x="3056" y="1810"/>
                    <a:pt x="3088" y="1779"/>
                    <a:pt x="3088" y="1779"/>
                  </a:cubicBezTo>
                  <a:cubicBezTo>
                    <a:pt x="3067" y="1785"/>
                    <a:pt x="3067" y="1785"/>
                    <a:pt x="3067" y="1785"/>
                  </a:cubicBezTo>
                  <a:cubicBezTo>
                    <a:pt x="3067" y="1785"/>
                    <a:pt x="3044" y="1804"/>
                    <a:pt x="3040" y="1799"/>
                  </a:cubicBezTo>
                  <a:cubicBezTo>
                    <a:pt x="3036" y="1794"/>
                    <a:pt x="3076" y="1770"/>
                    <a:pt x="3081" y="1762"/>
                  </a:cubicBezTo>
                  <a:cubicBezTo>
                    <a:pt x="3086" y="1754"/>
                    <a:pt x="3114" y="1733"/>
                    <a:pt x="3114" y="1733"/>
                  </a:cubicBezTo>
                  <a:cubicBezTo>
                    <a:pt x="3119" y="1739"/>
                    <a:pt x="3119" y="1739"/>
                    <a:pt x="3119" y="1739"/>
                  </a:cubicBezTo>
                  <a:cubicBezTo>
                    <a:pt x="3129" y="1733"/>
                    <a:pt x="3129" y="1733"/>
                    <a:pt x="3129" y="1733"/>
                  </a:cubicBezTo>
                  <a:cubicBezTo>
                    <a:pt x="3129" y="1733"/>
                    <a:pt x="3124" y="1742"/>
                    <a:pt x="3134" y="1741"/>
                  </a:cubicBezTo>
                  <a:cubicBezTo>
                    <a:pt x="3144" y="1740"/>
                    <a:pt x="3141" y="1726"/>
                    <a:pt x="3141" y="1726"/>
                  </a:cubicBezTo>
                  <a:cubicBezTo>
                    <a:pt x="3157" y="1731"/>
                    <a:pt x="3157" y="1731"/>
                    <a:pt x="3157" y="1731"/>
                  </a:cubicBezTo>
                  <a:cubicBezTo>
                    <a:pt x="3157" y="1731"/>
                    <a:pt x="3179" y="1720"/>
                    <a:pt x="3189" y="1723"/>
                  </a:cubicBezTo>
                  <a:cubicBezTo>
                    <a:pt x="3199" y="1726"/>
                    <a:pt x="3204" y="1738"/>
                    <a:pt x="3204" y="1738"/>
                  </a:cubicBezTo>
                  <a:cubicBezTo>
                    <a:pt x="3187" y="1744"/>
                    <a:pt x="3187" y="1744"/>
                    <a:pt x="3187" y="1744"/>
                  </a:cubicBezTo>
                  <a:cubicBezTo>
                    <a:pt x="3189" y="1761"/>
                    <a:pt x="3189" y="1761"/>
                    <a:pt x="3189" y="1761"/>
                  </a:cubicBezTo>
                  <a:cubicBezTo>
                    <a:pt x="3189" y="1761"/>
                    <a:pt x="3177" y="1759"/>
                    <a:pt x="3170" y="1759"/>
                  </a:cubicBezTo>
                  <a:cubicBezTo>
                    <a:pt x="3163" y="1759"/>
                    <a:pt x="3166" y="1776"/>
                    <a:pt x="3166" y="1776"/>
                  </a:cubicBezTo>
                  <a:cubicBezTo>
                    <a:pt x="3166" y="1776"/>
                    <a:pt x="3167" y="1791"/>
                    <a:pt x="3153" y="1791"/>
                  </a:cubicBezTo>
                  <a:close/>
                  <a:moveTo>
                    <a:pt x="3303" y="1940"/>
                  </a:moveTo>
                  <a:cubicBezTo>
                    <a:pt x="3295" y="1943"/>
                    <a:pt x="3287" y="1946"/>
                    <a:pt x="3267" y="1951"/>
                  </a:cubicBezTo>
                  <a:cubicBezTo>
                    <a:pt x="3247" y="1956"/>
                    <a:pt x="3239" y="1962"/>
                    <a:pt x="3232" y="1965"/>
                  </a:cubicBezTo>
                  <a:cubicBezTo>
                    <a:pt x="3225" y="1968"/>
                    <a:pt x="3213" y="1966"/>
                    <a:pt x="3213" y="1966"/>
                  </a:cubicBezTo>
                  <a:cubicBezTo>
                    <a:pt x="3213" y="1966"/>
                    <a:pt x="3213" y="1971"/>
                    <a:pt x="3201" y="1972"/>
                  </a:cubicBezTo>
                  <a:cubicBezTo>
                    <a:pt x="3189" y="1973"/>
                    <a:pt x="3188" y="1962"/>
                    <a:pt x="3188" y="1962"/>
                  </a:cubicBezTo>
                  <a:cubicBezTo>
                    <a:pt x="3188" y="1962"/>
                    <a:pt x="3166" y="1959"/>
                    <a:pt x="3166" y="1952"/>
                  </a:cubicBezTo>
                  <a:cubicBezTo>
                    <a:pt x="3166" y="1952"/>
                    <a:pt x="3179" y="1946"/>
                    <a:pt x="3190" y="1941"/>
                  </a:cubicBezTo>
                  <a:cubicBezTo>
                    <a:pt x="3198" y="1937"/>
                    <a:pt x="3205" y="1934"/>
                    <a:pt x="3206" y="1934"/>
                  </a:cubicBezTo>
                  <a:cubicBezTo>
                    <a:pt x="3209" y="1934"/>
                    <a:pt x="3213" y="1939"/>
                    <a:pt x="3213" y="1939"/>
                  </a:cubicBezTo>
                  <a:cubicBezTo>
                    <a:pt x="3213" y="1939"/>
                    <a:pt x="3228" y="1925"/>
                    <a:pt x="3236" y="1923"/>
                  </a:cubicBezTo>
                  <a:cubicBezTo>
                    <a:pt x="3244" y="1921"/>
                    <a:pt x="3252" y="1924"/>
                    <a:pt x="3252" y="1924"/>
                  </a:cubicBezTo>
                  <a:cubicBezTo>
                    <a:pt x="3252" y="1924"/>
                    <a:pt x="3257" y="1903"/>
                    <a:pt x="3282" y="1902"/>
                  </a:cubicBezTo>
                  <a:cubicBezTo>
                    <a:pt x="3307" y="1901"/>
                    <a:pt x="3324" y="1908"/>
                    <a:pt x="3324" y="1908"/>
                  </a:cubicBezTo>
                  <a:cubicBezTo>
                    <a:pt x="3340" y="1894"/>
                    <a:pt x="3340" y="1894"/>
                    <a:pt x="3340" y="1894"/>
                  </a:cubicBezTo>
                  <a:cubicBezTo>
                    <a:pt x="3382" y="1896"/>
                    <a:pt x="3382" y="1896"/>
                    <a:pt x="3382" y="1896"/>
                  </a:cubicBezTo>
                  <a:cubicBezTo>
                    <a:pt x="3391" y="1896"/>
                    <a:pt x="3391" y="1896"/>
                    <a:pt x="3391" y="1896"/>
                  </a:cubicBezTo>
                  <a:cubicBezTo>
                    <a:pt x="3391" y="1896"/>
                    <a:pt x="3311" y="1937"/>
                    <a:pt x="3303" y="1940"/>
                  </a:cubicBezTo>
                  <a:close/>
                  <a:moveTo>
                    <a:pt x="3446" y="1834"/>
                  </a:moveTo>
                  <a:cubicBezTo>
                    <a:pt x="3450" y="1834"/>
                    <a:pt x="3467" y="1828"/>
                    <a:pt x="3467" y="1828"/>
                  </a:cubicBezTo>
                  <a:cubicBezTo>
                    <a:pt x="3467" y="1828"/>
                    <a:pt x="3494" y="1838"/>
                    <a:pt x="3498" y="1838"/>
                  </a:cubicBezTo>
                  <a:cubicBezTo>
                    <a:pt x="3502" y="1838"/>
                    <a:pt x="3502" y="1822"/>
                    <a:pt x="3502" y="1822"/>
                  </a:cubicBezTo>
                  <a:cubicBezTo>
                    <a:pt x="3502" y="1822"/>
                    <a:pt x="3509" y="1813"/>
                    <a:pt x="3519" y="1816"/>
                  </a:cubicBezTo>
                  <a:cubicBezTo>
                    <a:pt x="3522" y="1817"/>
                    <a:pt x="3524" y="1818"/>
                    <a:pt x="3525" y="1819"/>
                  </a:cubicBezTo>
                  <a:cubicBezTo>
                    <a:pt x="3530" y="1824"/>
                    <a:pt x="3531" y="1830"/>
                    <a:pt x="3531" y="1830"/>
                  </a:cubicBezTo>
                  <a:cubicBezTo>
                    <a:pt x="3531" y="1830"/>
                    <a:pt x="3530" y="1838"/>
                    <a:pt x="3523" y="1844"/>
                  </a:cubicBezTo>
                  <a:cubicBezTo>
                    <a:pt x="3516" y="1850"/>
                    <a:pt x="3516" y="1860"/>
                    <a:pt x="3516" y="1860"/>
                  </a:cubicBezTo>
                  <a:cubicBezTo>
                    <a:pt x="3504" y="1859"/>
                    <a:pt x="3504" y="1859"/>
                    <a:pt x="3504" y="1859"/>
                  </a:cubicBezTo>
                  <a:cubicBezTo>
                    <a:pt x="3504" y="1859"/>
                    <a:pt x="3504" y="1863"/>
                    <a:pt x="3492" y="1868"/>
                  </a:cubicBezTo>
                  <a:cubicBezTo>
                    <a:pt x="3480" y="1873"/>
                    <a:pt x="3474" y="1863"/>
                    <a:pt x="3474" y="1863"/>
                  </a:cubicBezTo>
                  <a:cubicBezTo>
                    <a:pt x="3474" y="1863"/>
                    <a:pt x="3469" y="1871"/>
                    <a:pt x="3456" y="1872"/>
                  </a:cubicBezTo>
                  <a:cubicBezTo>
                    <a:pt x="3443" y="1873"/>
                    <a:pt x="3439" y="1863"/>
                    <a:pt x="3430" y="1862"/>
                  </a:cubicBezTo>
                  <a:cubicBezTo>
                    <a:pt x="3421" y="1861"/>
                    <a:pt x="3414" y="1869"/>
                    <a:pt x="3393" y="1874"/>
                  </a:cubicBezTo>
                  <a:cubicBezTo>
                    <a:pt x="3392" y="1874"/>
                    <a:pt x="3390" y="1875"/>
                    <a:pt x="3389" y="1875"/>
                  </a:cubicBezTo>
                  <a:cubicBezTo>
                    <a:pt x="3371" y="1879"/>
                    <a:pt x="3365" y="1878"/>
                    <a:pt x="3364" y="1871"/>
                  </a:cubicBezTo>
                  <a:cubicBezTo>
                    <a:pt x="3363" y="1861"/>
                    <a:pt x="3397" y="1839"/>
                    <a:pt x="3410" y="1839"/>
                  </a:cubicBezTo>
                  <a:cubicBezTo>
                    <a:pt x="3423" y="1839"/>
                    <a:pt x="3442" y="1834"/>
                    <a:pt x="3446" y="1834"/>
                  </a:cubicBezTo>
                  <a:close/>
                  <a:moveTo>
                    <a:pt x="3263" y="1714"/>
                  </a:moveTo>
                  <a:cubicBezTo>
                    <a:pt x="3268" y="1713"/>
                    <a:pt x="3276" y="1716"/>
                    <a:pt x="3288" y="1717"/>
                  </a:cubicBezTo>
                  <a:cubicBezTo>
                    <a:pt x="3300" y="1718"/>
                    <a:pt x="3307" y="1716"/>
                    <a:pt x="3307" y="1716"/>
                  </a:cubicBezTo>
                  <a:cubicBezTo>
                    <a:pt x="3319" y="1716"/>
                    <a:pt x="3334" y="1728"/>
                    <a:pt x="3345" y="1728"/>
                  </a:cubicBezTo>
                  <a:cubicBezTo>
                    <a:pt x="3356" y="1728"/>
                    <a:pt x="3366" y="1728"/>
                    <a:pt x="3366" y="1728"/>
                  </a:cubicBezTo>
                  <a:cubicBezTo>
                    <a:pt x="3388" y="1728"/>
                    <a:pt x="3386" y="1742"/>
                    <a:pt x="3386" y="1751"/>
                  </a:cubicBezTo>
                  <a:cubicBezTo>
                    <a:pt x="3386" y="1760"/>
                    <a:pt x="3396" y="1749"/>
                    <a:pt x="3396" y="1759"/>
                  </a:cubicBezTo>
                  <a:cubicBezTo>
                    <a:pt x="3396" y="1769"/>
                    <a:pt x="3392" y="1772"/>
                    <a:pt x="3387" y="1777"/>
                  </a:cubicBezTo>
                  <a:cubicBezTo>
                    <a:pt x="3382" y="1782"/>
                    <a:pt x="3400" y="1790"/>
                    <a:pt x="3400" y="1790"/>
                  </a:cubicBezTo>
                  <a:cubicBezTo>
                    <a:pt x="3385" y="1789"/>
                    <a:pt x="3385" y="1789"/>
                    <a:pt x="3385" y="1789"/>
                  </a:cubicBezTo>
                  <a:cubicBezTo>
                    <a:pt x="3385" y="1789"/>
                    <a:pt x="3385" y="1798"/>
                    <a:pt x="3378" y="1806"/>
                  </a:cubicBezTo>
                  <a:cubicBezTo>
                    <a:pt x="3370" y="1813"/>
                    <a:pt x="3369" y="1806"/>
                    <a:pt x="3350" y="1796"/>
                  </a:cubicBezTo>
                  <a:cubicBezTo>
                    <a:pt x="3331" y="1786"/>
                    <a:pt x="3337" y="1767"/>
                    <a:pt x="3337" y="1767"/>
                  </a:cubicBezTo>
                  <a:cubicBezTo>
                    <a:pt x="3326" y="1762"/>
                    <a:pt x="3326" y="1762"/>
                    <a:pt x="3326" y="1762"/>
                  </a:cubicBezTo>
                  <a:cubicBezTo>
                    <a:pt x="3328" y="1774"/>
                    <a:pt x="3328" y="1774"/>
                    <a:pt x="3328" y="1774"/>
                  </a:cubicBezTo>
                  <a:cubicBezTo>
                    <a:pt x="3328" y="1774"/>
                    <a:pt x="3336" y="1787"/>
                    <a:pt x="3328" y="1801"/>
                  </a:cubicBezTo>
                  <a:cubicBezTo>
                    <a:pt x="3320" y="1815"/>
                    <a:pt x="3302" y="1819"/>
                    <a:pt x="3294" y="1832"/>
                  </a:cubicBezTo>
                  <a:cubicBezTo>
                    <a:pt x="3286" y="1845"/>
                    <a:pt x="3283" y="1857"/>
                    <a:pt x="3275" y="1866"/>
                  </a:cubicBezTo>
                  <a:cubicBezTo>
                    <a:pt x="3267" y="1874"/>
                    <a:pt x="3251" y="1881"/>
                    <a:pt x="3244" y="1877"/>
                  </a:cubicBezTo>
                  <a:cubicBezTo>
                    <a:pt x="3244" y="1876"/>
                    <a:pt x="3243" y="1876"/>
                    <a:pt x="3243" y="1876"/>
                  </a:cubicBezTo>
                  <a:cubicBezTo>
                    <a:pt x="3237" y="1870"/>
                    <a:pt x="3250" y="1841"/>
                    <a:pt x="3248" y="1833"/>
                  </a:cubicBezTo>
                  <a:cubicBezTo>
                    <a:pt x="3246" y="1825"/>
                    <a:pt x="3232" y="1832"/>
                    <a:pt x="3226" y="1837"/>
                  </a:cubicBezTo>
                  <a:cubicBezTo>
                    <a:pt x="3220" y="1842"/>
                    <a:pt x="3192" y="1860"/>
                    <a:pt x="3190" y="1847"/>
                  </a:cubicBezTo>
                  <a:cubicBezTo>
                    <a:pt x="3189" y="1841"/>
                    <a:pt x="3213" y="1827"/>
                    <a:pt x="3216" y="1822"/>
                  </a:cubicBezTo>
                  <a:cubicBezTo>
                    <a:pt x="3219" y="1817"/>
                    <a:pt x="3230" y="1814"/>
                    <a:pt x="3239" y="1808"/>
                  </a:cubicBezTo>
                  <a:cubicBezTo>
                    <a:pt x="3248" y="1802"/>
                    <a:pt x="3240" y="1779"/>
                    <a:pt x="3240" y="1779"/>
                  </a:cubicBezTo>
                  <a:cubicBezTo>
                    <a:pt x="3240" y="1779"/>
                    <a:pt x="3243" y="1784"/>
                    <a:pt x="3251" y="1767"/>
                  </a:cubicBezTo>
                  <a:cubicBezTo>
                    <a:pt x="3259" y="1750"/>
                    <a:pt x="3239" y="1757"/>
                    <a:pt x="3230" y="1750"/>
                  </a:cubicBezTo>
                  <a:cubicBezTo>
                    <a:pt x="3221" y="1743"/>
                    <a:pt x="3221" y="1737"/>
                    <a:pt x="3221" y="1737"/>
                  </a:cubicBezTo>
                  <a:cubicBezTo>
                    <a:pt x="3221" y="1737"/>
                    <a:pt x="3218" y="1744"/>
                    <a:pt x="3213" y="1739"/>
                  </a:cubicBezTo>
                  <a:cubicBezTo>
                    <a:pt x="3208" y="1734"/>
                    <a:pt x="3214" y="1724"/>
                    <a:pt x="3214" y="1724"/>
                  </a:cubicBezTo>
                  <a:cubicBezTo>
                    <a:pt x="3238" y="1728"/>
                    <a:pt x="3238" y="1728"/>
                    <a:pt x="3238" y="1728"/>
                  </a:cubicBezTo>
                  <a:cubicBezTo>
                    <a:pt x="3238" y="1728"/>
                    <a:pt x="3242" y="1725"/>
                    <a:pt x="3239" y="1717"/>
                  </a:cubicBezTo>
                  <a:cubicBezTo>
                    <a:pt x="3238" y="1713"/>
                    <a:pt x="3242" y="1713"/>
                    <a:pt x="3247" y="1713"/>
                  </a:cubicBezTo>
                  <a:cubicBezTo>
                    <a:pt x="3253" y="1713"/>
                    <a:pt x="3260" y="1714"/>
                    <a:pt x="3263" y="1714"/>
                  </a:cubicBezTo>
                  <a:close/>
                  <a:moveTo>
                    <a:pt x="3009" y="1640"/>
                  </a:moveTo>
                  <a:cubicBezTo>
                    <a:pt x="3021" y="1632"/>
                    <a:pt x="3036" y="1629"/>
                    <a:pt x="3055" y="1625"/>
                  </a:cubicBezTo>
                  <a:cubicBezTo>
                    <a:pt x="3060" y="1624"/>
                    <a:pt x="3064" y="1622"/>
                    <a:pt x="3068" y="1619"/>
                  </a:cubicBezTo>
                  <a:cubicBezTo>
                    <a:pt x="3080" y="1611"/>
                    <a:pt x="3087" y="1598"/>
                    <a:pt x="3088" y="1595"/>
                  </a:cubicBezTo>
                  <a:cubicBezTo>
                    <a:pt x="3089" y="1591"/>
                    <a:pt x="3108" y="1599"/>
                    <a:pt x="3108" y="1599"/>
                  </a:cubicBezTo>
                  <a:cubicBezTo>
                    <a:pt x="3116" y="1593"/>
                    <a:pt x="3116" y="1593"/>
                    <a:pt x="3116" y="1593"/>
                  </a:cubicBezTo>
                  <a:cubicBezTo>
                    <a:pt x="3116" y="1593"/>
                    <a:pt x="3123" y="1581"/>
                    <a:pt x="3124" y="1578"/>
                  </a:cubicBezTo>
                  <a:cubicBezTo>
                    <a:pt x="3125" y="1575"/>
                    <a:pt x="3133" y="1588"/>
                    <a:pt x="3133" y="1588"/>
                  </a:cubicBezTo>
                  <a:cubicBezTo>
                    <a:pt x="3150" y="1585"/>
                    <a:pt x="3150" y="1585"/>
                    <a:pt x="3150" y="1585"/>
                  </a:cubicBezTo>
                  <a:cubicBezTo>
                    <a:pt x="3150" y="1585"/>
                    <a:pt x="3141" y="1575"/>
                    <a:pt x="3150" y="1568"/>
                  </a:cubicBezTo>
                  <a:cubicBezTo>
                    <a:pt x="3159" y="1561"/>
                    <a:pt x="3168" y="1576"/>
                    <a:pt x="3168" y="1576"/>
                  </a:cubicBezTo>
                  <a:cubicBezTo>
                    <a:pt x="3186" y="1576"/>
                    <a:pt x="3186" y="1576"/>
                    <a:pt x="3186" y="1576"/>
                  </a:cubicBezTo>
                  <a:cubicBezTo>
                    <a:pt x="3190" y="1580"/>
                    <a:pt x="3190" y="1580"/>
                    <a:pt x="3190" y="1580"/>
                  </a:cubicBezTo>
                  <a:cubicBezTo>
                    <a:pt x="3190" y="1580"/>
                    <a:pt x="3210" y="1581"/>
                    <a:pt x="3215" y="1586"/>
                  </a:cubicBezTo>
                  <a:cubicBezTo>
                    <a:pt x="3220" y="1591"/>
                    <a:pt x="3209" y="1617"/>
                    <a:pt x="3209" y="1617"/>
                  </a:cubicBezTo>
                  <a:cubicBezTo>
                    <a:pt x="3215" y="1624"/>
                    <a:pt x="3215" y="1624"/>
                    <a:pt x="3215" y="1624"/>
                  </a:cubicBezTo>
                  <a:cubicBezTo>
                    <a:pt x="3209" y="1639"/>
                    <a:pt x="3209" y="1639"/>
                    <a:pt x="3209" y="1639"/>
                  </a:cubicBezTo>
                  <a:cubicBezTo>
                    <a:pt x="3209" y="1639"/>
                    <a:pt x="3248" y="1616"/>
                    <a:pt x="3259" y="1623"/>
                  </a:cubicBezTo>
                  <a:cubicBezTo>
                    <a:pt x="3270" y="1630"/>
                    <a:pt x="3242" y="1640"/>
                    <a:pt x="3241" y="1644"/>
                  </a:cubicBezTo>
                  <a:cubicBezTo>
                    <a:pt x="3240" y="1648"/>
                    <a:pt x="3255" y="1651"/>
                    <a:pt x="3255" y="1656"/>
                  </a:cubicBezTo>
                  <a:cubicBezTo>
                    <a:pt x="3255" y="1661"/>
                    <a:pt x="3239" y="1667"/>
                    <a:pt x="3239" y="1672"/>
                  </a:cubicBezTo>
                  <a:cubicBezTo>
                    <a:pt x="3239" y="1677"/>
                    <a:pt x="3252" y="1677"/>
                    <a:pt x="3249" y="1684"/>
                  </a:cubicBezTo>
                  <a:cubicBezTo>
                    <a:pt x="3246" y="1691"/>
                    <a:pt x="3240" y="1692"/>
                    <a:pt x="3240" y="1692"/>
                  </a:cubicBezTo>
                  <a:cubicBezTo>
                    <a:pt x="3238" y="1698"/>
                    <a:pt x="3238" y="1698"/>
                    <a:pt x="3238" y="1698"/>
                  </a:cubicBezTo>
                  <a:cubicBezTo>
                    <a:pt x="3236" y="1706"/>
                    <a:pt x="3236" y="1706"/>
                    <a:pt x="3236" y="1706"/>
                  </a:cubicBezTo>
                  <a:cubicBezTo>
                    <a:pt x="3220" y="1700"/>
                    <a:pt x="3220" y="1700"/>
                    <a:pt x="3220" y="1700"/>
                  </a:cubicBezTo>
                  <a:cubicBezTo>
                    <a:pt x="3219" y="1686"/>
                    <a:pt x="3219" y="1686"/>
                    <a:pt x="3219" y="1686"/>
                  </a:cubicBezTo>
                  <a:cubicBezTo>
                    <a:pt x="3210" y="1688"/>
                    <a:pt x="3210" y="1688"/>
                    <a:pt x="3210" y="1688"/>
                  </a:cubicBezTo>
                  <a:cubicBezTo>
                    <a:pt x="3199" y="1693"/>
                    <a:pt x="3199" y="1693"/>
                    <a:pt x="3199" y="1693"/>
                  </a:cubicBezTo>
                  <a:cubicBezTo>
                    <a:pt x="3163" y="1690"/>
                    <a:pt x="3163" y="1690"/>
                    <a:pt x="3163" y="1690"/>
                  </a:cubicBezTo>
                  <a:cubicBezTo>
                    <a:pt x="3163" y="1690"/>
                    <a:pt x="3150" y="1701"/>
                    <a:pt x="3129" y="1699"/>
                  </a:cubicBezTo>
                  <a:cubicBezTo>
                    <a:pt x="3108" y="1697"/>
                    <a:pt x="3113" y="1683"/>
                    <a:pt x="3109" y="1678"/>
                  </a:cubicBezTo>
                  <a:cubicBezTo>
                    <a:pt x="3105" y="1673"/>
                    <a:pt x="3085" y="1684"/>
                    <a:pt x="3082" y="1675"/>
                  </a:cubicBezTo>
                  <a:cubicBezTo>
                    <a:pt x="3119" y="1654"/>
                    <a:pt x="3119" y="1654"/>
                    <a:pt x="3119" y="1654"/>
                  </a:cubicBezTo>
                  <a:cubicBezTo>
                    <a:pt x="3119" y="1654"/>
                    <a:pt x="3114" y="1649"/>
                    <a:pt x="3107" y="1649"/>
                  </a:cubicBezTo>
                  <a:cubicBezTo>
                    <a:pt x="3100" y="1649"/>
                    <a:pt x="3086" y="1661"/>
                    <a:pt x="3082" y="1662"/>
                  </a:cubicBezTo>
                  <a:cubicBezTo>
                    <a:pt x="3078" y="1663"/>
                    <a:pt x="3056" y="1676"/>
                    <a:pt x="3042" y="1681"/>
                  </a:cubicBezTo>
                  <a:cubicBezTo>
                    <a:pt x="3028" y="1686"/>
                    <a:pt x="3012" y="1683"/>
                    <a:pt x="3012" y="1683"/>
                  </a:cubicBezTo>
                  <a:cubicBezTo>
                    <a:pt x="3006" y="1692"/>
                    <a:pt x="3006" y="1692"/>
                    <a:pt x="3006" y="1692"/>
                  </a:cubicBezTo>
                  <a:cubicBezTo>
                    <a:pt x="3006" y="1692"/>
                    <a:pt x="2982" y="1694"/>
                    <a:pt x="2973" y="1693"/>
                  </a:cubicBezTo>
                  <a:cubicBezTo>
                    <a:pt x="2964" y="1692"/>
                    <a:pt x="2988" y="1675"/>
                    <a:pt x="2988" y="1675"/>
                  </a:cubicBezTo>
                  <a:cubicBezTo>
                    <a:pt x="2988" y="1675"/>
                    <a:pt x="2978" y="1679"/>
                    <a:pt x="2959" y="1680"/>
                  </a:cubicBezTo>
                  <a:cubicBezTo>
                    <a:pt x="2940" y="1681"/>
                    <a:pt x="2938" y="1693"/>
                    <a:pt x="2921" y="1687"/>
                  </a:cubicBezTo>
                  <a:cubicBezTo>
                    <a:pt x="2904" y="1681"/>
                    <a:pt x="2997" y="1648"/>
                    <a:pt x="3009" y="1640"/>
                  </a:cubicBezTo>
                  <a:close/>
                  <a:moveTo>
                    <a:pt x="2864" y="1316"/>
                  </a:moveTo>
                  <a:cubicBezTo>
                    <a:pt x="2874" y="1312"/>
                    <a:pt x="2873" y="1319"/>
                    <a:pt x="2877" y="1320"/>
                  </a:cubicBezTo>
                  <a:cubicBezTo>
                    <a:pt x="2881" y="1321"/>
                    <a:pt x="2892" y="1318"/>
                    <a:pt x="2900" y="1335"/>
                  </a:cubicBezTo>
                  <a:cubicBezTo>
                    <a:pt x="2908" y="1352"/>
                    <a:pt x="2887" y="1368"/>
                    <a:pt x="2887" y="1368"/>
                  </a:cubicBezTo>
                  <a:cubicBezTo>
                    <a:pt x="2887" y="1368"/>
                    <a:pt x="2884" y="1397"/>
                    <a:pt x="2885" y="1406"/>
                  </a:cubicBezTo>
                  <a:cubicBezTo>
                    <a:pt x="2886" y="1415"/>
                    <a:pt x="2881" y="1424"/>
                    <a:pt x="2878" y="1429"/>
                  </a:cubicBezTo>
                  <a:cubicBezTo>
                    <a:pt x="2875" y="1434"/>
                    <a:pt x="2882" y="1435"/>
                    <a:pt x="2885" y="1446"/>
                  </a:cubicBezTo>
                  <a:cubicBezTo>
                    <a:pt x="2888" y="1457"/>
                    <a:pt x="2864" y="1484"/>
                    <a:pt x="2864" y="1484"/>
                  </a:cubicBezTo>
                  <a:cubicBezTo>
                    <a:pt x="2850" y="1479"/>
                    <a:pt x="2850" y="1479"/>
                    <a:pt x="2850" y="1479"/>
                  </a:cubicBezTo>
                  <a:cubicBezTo>
                    <a:pt x="2850" y="1479"/>
                    <a:pt x="2847" y="1498"/>
                    <a:pt x="2830" y="1495"/>
                  </a:cubicBezTo>
                  <a:cubicBezTo>
                    <a:pt x="2813" y="1492"/>
                    <a:pt x="2869" y="1444"/>
                    <a:pt x="2869" y="1432"/>
                  </a:cubicBezTo>
                  <a:cubicBezTo>
                    <a:pt x="2869" y="1420"/>
                    <a:pt x="2848" y="1440"/>
                    <a:pt x="2848" y="1440"/>
                  </a:cubicBezTo>
                  <a:cubicBezTo>
                    <a:pt x="2861" y="1419"/>
                    <a:pt x="2861" y="1419"/>
                    <a:pt x="2861" y="1419"/>
                  </a:cubicBezTo>
                  <a:cubicBezTo>
                    <a:pt x="2861" y="1419"/>
                    <a:pt x="2865" y="1406"/>
                    <a:pt x="2854" y="1403"/>
                  </a:cubicBezTo>
                  <a:cubicBezTo>
                    <a:pt x="2843" y="1400"/>
                    <a:pt x="2849" y="1420"/>
                    <a:pt x="2836" y="1420"/>
                  </a:cubicBezTo>
                  <a:cubicBezTo>
                    <a:pt x="2823" y="1420"/>
                    <a:pt x="2833" y="1389"/>
                    <a:pt x="2833" y="1389"/>
                  </a:cubicBezTo>
                  <a:cubicBezTo>
                    <a:pt x="2833" y="1389"/>
                    <a:pt x="2827" y="1383"/>
                    <a:pt x="2825" y="1374"/>
                  </a:cubicBezTo>
                  <a:cubicBezTo>
                    <a:pt x="2823" y="1365"/>
                    <a:pt x="2847" y="1365"/>
                    <a:pt x="2849" y="1359"/>
                  </a:cubicBezTo>
                  <a:cubicBezTo>
                    <a:pt x="2851" y="1353"/>
                    <a:pt x="2829" y="1362"/>
                    <a:pt x="2825" y="1353"/>
                  </a:cubicBezTo>
                  <a:cubicBezTo>
                    <a:pt x="2824" y="1351"/>
                    <a:pt x="2854" y="1320"/>
                    <a:pt x="2864" y="1316"/>
                  </a:cubicBezTo>
                  <a:close/>
                  <a:moveTo>
                    <a:pt x="2777" y="867"/>
                  </a:moveTo>
                  <a:cubicBezTo>
                    <a:pt x="2795" y="866"/>
                    <a:pt x="2833" y="870"/>
                    <a:pt x="2830" y="874"/>
                  </a:cubicBezTo>
                  <a:cubicBezTo>
                    <a:pt x="2827" y="878"/>
                    <a:pt x="2806" y="888"/>
                    <a:pt x="2806" y="885"/>
                  </a:cubicBezTo>
                  <a:cubicBezTo>
                    <a:pt x="2806" y="882"/>
                    <a:pt x="2794" y="868"/>
                    <a:pt x="2790" y="875"/>
                  </a:cubicBezTo>
                  <a:cubicBezTo>
                    <a:pt x="2786" y="882"/>
                    <a:pt x="2787" y="889"/>
                    <a:pt x="2787" y="889"/>
                  </a:cubicBezTo>
                  <a:cubicBezTo>
                    <a:pt x="2787" y="889"/>
                    <a:pt x="2773" y="881"/>
                    <a:pt x="2767" y="883"/>
                  </a:cubicBezTo>
                  <a:cubicBezTo>
                    <a:pt x="2761" y="885"/>
                    <a:pt x="2765" y="892"/>
                    <a:pt x="2765" y="892"/>
                  </a:cubicBezTo>
                  <a:cubicBezTo>
                    <a:pt x="2748" y="894"/>
                    <a:pt x="2748" y="894"/>
                    <a:pt x="2748" y="894"/>
                  </a:cubicBezTo>
                  <a:cubicBezTo>
                    <a:pt x="2748" y="894"/>
                    <a:pt x="2736" y="890"/>
                    <a:pt x="2721" y="900"/>
                  </a:cubicBezTo>
                  <a:cubicBezTo>
                    <a:pt x="2706" y="910"/>
                    <a:pt x="2677" y="929"/>
                    <a:pt x="2663" y="932"/>
                  </a:cubicBezTo>
                  <a:cubicBezTo>
                    <a:pt x="2649" y="935"/>
                    <a:pt x="2629" y="941"/>
                    <a:pt x="2629" y="941"/>
                  </a:cubicBezTo>
                  <a:cubicBezTo>
                    <a:pt x="2629" y="941"/>
                    <a:pt x="2598" y="933"/>
                    <a:pt x="2590" y="941"/>
                  </a:cubicBezTo>
                  <a:cubicBezTo>
                    <a:pt x="2582" y="949"/>
                    <a:pt x="2576" y="960"/>
                    <a:pt x="2576" y="960"/>
                  </a:cubicBezTo>
                  <a:cubicBezTo>
                    <a:pt x="2547" y="960"/>
                    <a:pt x="2547" y="960"/>
                    <a:pt x="2547" y="960"/>
                  </a:cubicBezTo>
                  <a:cubicBezTo>
                    <a:pt x="2541" y="966"/>
                    <a:pt x="2541" y="966"/>
                    <a:pt x="2541" y="966"/>
                  </a:cubicBezTo>
                  <a:cubicBezTo>
                    <a:pt x="2541" y="966"/>
                    <a:pt x="2527" y="963"/>
                    <a:pt x="2520" y="965"/>
                  </a:cubicBezTo>
                  <a:cubicBezTo>
                    <a:pt x="2513" y="967"/>
                    <a:pt x="2494" y="970"/>
                    <a:pt x="2487" y="969"/>
                  </a:cubicBezTo>
                  <a:cubicBezTo>
                    <a:pt x="2480" y="968"/>
                    <a:pt x="2469" y="960"/>
                    <a:pt x="2466" y="961"/>
                  </a:cubicBezTo>
                  <a:cubicBezTo>
                    <a:pt x="2463" y="962"/>
                    <a:pt x="2445" y="959"/>
                    <a:pt x="2445" y="955"/>
                  </a:cubicBezTo>
                  <a:cubicBezTo>
                    <a:pt x="2445" y="951"/>
                    <a:pt x="2467" y="952"/>
                    <a:pt x="2467" y="952"/>
                  </a:cubicBezTo>
                  <a:cubicBezTo>
                    <a:pt x="2467" y="952"/>
                    <a:pt x="2476" y="942"/>
                    <a:pt x="2479" y="942"/>
                  </a:cubicBezTo>
                  <a:cubicBezTo>
                    <a:pt x="2482" y="942"/>
                    <a:pt x="2490" y="950"/>
                    <a:pt x="2500" y="950"/>
                  </a:cubicBezTo>
                  <a:cubicBezTo>
                    <a:pt x="2510" y="950"/>
                    <a:pt x="2510" y="942"/>
                    <a:pt x="2510" y="942"/>
                  </a:cubicBezTo>
                  <a:cubicBezTo>
                    <a:pt x="2521" y="942"/>
                    <a:pt x="2521" y="942"/>
                    <a:pt x="2521" y="942"/>
                  </a:cubicBezTo>
                  <a:cubicBezTo>
                    <a:pt x="2521" y="942"/>
                    <a:pt x="2531" y="924"/>
                    <a:pt x="2541" y="923"/>
                  </a:cubicBezTo>
                  <a:cubicBezTo>
                    <a:pt x="2551" y="922"/>
                    <a:pt x="2554" y="931"/>
                    <a:pt x="2572" y="924"/>
                  </a:cubicBezTo>
                  <a:cubicBezTo>
                    <a:pt x="2590" y="917"/>
                    <a:pt x="2575" y="895"/>
                    <a:pt x="2575" y="895"/>
                  </a:cubicBezTo>
                  <a:cubicBezTo>
                    <a:pt x="2575" y="895"/>
                    <a:pt x="2553" y="881"/>
                    <a:pt x="2567" y="875"/>
                  </a:cubicBezTo>
                  <a:cubicBezTo>
                    <a:pt x="2573" y="872"/>
                    <a:pt x="2581" y="885"/>
                    <a:pt x="2581" y="885"/>
                  </a:cubicBezTo>
                  <a:cubicBezTo>
                    <a:pt x="2589" y="884"/>
                    <a:pt x="2589" y="884"/>
                    <a:pt x="2589" y="884"/>
                  </a:cubicBezTo>
                  <a:cubicBezTo>
                    <a:pt x="2601" y="895"/>
                    <a:pt x="2601" y="895"/>
                    <a:pt x="2601" y="895"/>
                  </a:cubicBezTo>
                  <a:cubicBezTo>
                    <a:pt x="2601" y="895"/>
                    <a:pt x="2615" y="894"/>
                    <a:pt x="2619" y="897"/>
                  </a:cubicBezTo>
                  <a:cubicBezTo>
                    <a:pt x="2623" y="900"/>
                    <a:pt x="2612" y="915"/>
                    <a:pt x="2635" y="914"/>
                  </a:cubicBezTo>
                  <a:cubicBezTo>
                    <a:pt x="2658" y="913"/>
                    <a:pt x="2658" y="908"/>
                    <a:pt x="2658" y="908"/>
                  </a:cubicBezTo>
                  <a:cubicBezTo>
                    <a:pt x="2669" y="909"/>
                    <a:pt x="2669" y="909"/>
                    <a:pt x="2669" y="909"/>
                  </a:cubicBezTo>
                  <a:cubicBezTo>
                    <a:pt x="2669" y="909"/>
                    <a:pt x="2709" y="893"/>
                    <a:pt x="2723" y="884"/>
                  </a:cubicBezTo>
                  <a:cubicBezTo>
                    <a:pt x="2737" y="875"/>
                    <a:pt x="2759" y="868"/>
                    <a:pt x="2777" y="867"/>
                  </a:cubicBezTo>
                  <a:close/>
                  <a:moveTo>
                    <a:pt x="2442" y="702"/>
                  </a:moveTo>
                  <a:cubicBezTo>
                    <a:pt x="2452" y="697"/>
                    <a:pt x="2461" y="703"/>
                    <a:pt x="2474" y="703"/>
                  </a:cubicBezTo>
                  <a:cubicBezTo>
                    <a:pt x="2487" y="703"/>
                    <a:pt x="2483" y="694"/>
                    <a:pt x="2483" y="694"/>
                  </a:cubicBezTo>
                  <a:cubicBezTo>
                    <a:pt x="2553" y="689"/>
                    <a:pt x="2553" y="689"/>
                    <a:pt x="2553" y="689"/>
                  </a:cubicBezTo>
                  <a:cubicBezTo>
                    <a:pt x="2553" y="689"/>
                    <a:pt x="2588" y="679"/>
                    <a:pt x="2601" y="677"/>
                  </a:cubicBezTo>
                  <a:cubicBezTo>
                    <a:pt x="2614" y="675"/>
                    <a:pt x="2622" y="682"/>
                    <a:pt x="2622" y="682"/>
                  </a:cubicBezTo>
                  <a:cubicBezTo>
                    <a:pt x="2622" y="682"/>
                    <a:pt x="2625" y="676"/>
                    <a:pt x="2632" y="673"/>
                  </a:cubicBezTo>
                  <a:cubicBezTo>
                    <a:pt x="2639" y="670"/>
                    <a:pt x="2661" y="680"/>
                    <a:pt x="2661" y="680"/>
                  </a:cubicBezTo>
                  <a:cubicBezTo>
                    <a:pt x="2661" y="680"/>
                    <a:pt x="2639" y="686"/>
                    <a:pt x="2631" y="690"/>
                  </a:cubicBezTo>
                  <a:cubicBezTo>
                    <a:pt x="2623" y="694"/>
                    <a:pt x="2589" y="696"/>
                    <a:pt x="2589" y="696"/>
                  </a:cubicBezTo>
                  <a:cubicBezTo>
                    <a:pt x="2587" y="704"/>
                    <a:pt x="2587" y="704"/>
                    <a:pt x="2587" y="704"/>
                  </a:cubicBezTo>
                  <a:cubicBezTo>
                    <a:pt x="2605" y="704"/>
                    <a:pt x="2605" y="704"/>
                    <a:pt x="2605" y="704"/>
                  </a:cubicBezTo>
                  <a:cubicBezTo>
                    <a:pt x="2605" y="704"/>
                    <a:pt x="2616" y="707"/>
                    <a:pt x="2620" y="707"/>
                  </a:cubicBezTo>
                  <a:cubicBezTo>
                    <a:pt x="2624" y="707"/>
                    <a:pt x="2650" y="704"/>
                    <a:pt x="2664" y="703"/>
                  </a:cubicBezTo>
                  <a:cubicBezTo>
                    <a:pt x="2678" y="702"/>
                    <a:pt x="2658" y="693"/>
                    <a:pt x="2658" y="693"/>
                  </a:cubicBezTo>
                  <a:cubicBezTo>
                    <a:pt x="2695" y="692"/>
                    <a:pt x="2695" y="692"/>
                    <a:pt x="2695" y="692"/>
                  </a:cubicBezTo>
                  <a:cubicBezTo>
                    <a:pt x="2695" y="692"/>
                    <a:pt x="2690" y="705"/>
                    <a:pt x="2671" y="711"/>
                  </a:cubicBezTo>
                  <a:cubicBezTo>
                    <a:pt x="2652" y="717"/>
                    <a:pt x="2640" y="724"/>
                    <a:pt x="2640" y="724"/>
                  </a:cubicBezTo>
                  <a:cubicBezTo>
                    <a:pt x="2640" y="724"/>
                    <a:pt x="2639" y="736"/>
                    <a:pt x="2631" y="738"/>
                  </a:cubicBezTo>
                  <a:cubicBezTo>
                    <a:pt x="2623" y="740"/>
                    <a:pt x="2601" y="729"/>
                    <a:pt x="2601" y="729"/>
                  </a:cubicBezTo>
                  <a:cubicBezTo>
                    <a:pt x="2596" y="736"/>
                    <a:pt x="2596" y="736"/>
                    <a:pt x="2596" y="736"/>
                  </a:cubicBezTo>
                  <a:cubicBezTo>
                    <a:pt x="2586" y="727"/>
                    <a:pt x="2586" y="727"/>
                    <a:pt x="2586" y="727"/>
                  </a:cubicBezTo>
                  <a:cubicBezTo>
                    <a:pt x="2576" y="737"/>
                    <a:pt x="2576" y="737"/>
                    <a:pt x="2576" y="737"/>
                  </a:cubicBezTo>
                  <a:cubicBezTo>
                    <a:pt x="2576" y="737"/>
                    <a:pt x="2568" y="731"/>
                    <a:pt x="2562" y="738"/>
                  </a:cubicBezTo>
                  <a:cubicBezTo>
                    <a:pt x="2556" y="745"/>
                    <a:pt x="2568" y="751"/>
                    <a:pt x="2568" y="751"/>
                  </a:cubicBezTo>
                  <a:cubicBezTo>
                    <a:pt x="2547" y="754"/>
                    <a:pt x="2547" y="754"/>
                    <a:pt x="2547" y="754"/>
                  </a:cubicBezTo>
                  <a:cubicBezTo>
                    <a:pt x="2547" y="754"/>
                    <a:pt x="2532" y="764"/>
                    <a:pt x="2529" y="764"/>
                  </a:cubicBezTo>
                  <a:cubicBezTo>
                    <a:pt x="2526" y="764"/>
                    <a:pt x="2483" y="777"/>
                    <a:pt x="2472" y="773"/>
                  </a:cubicBezTo>
                  <a:cubicBezTo>
                    <a:pt x="2461" y="769"/>
                    <a:pt x="2500" y="762"/>
                    <a:pt x="2515" y="759"/>
                  </a:cubicBezTo>
                  <a:cubicBezTo>
                    <a:pt x="2530" y="756"/>
                    <a:pt x="2552" y="739"/>
                    <a:pt x="2539" y="737"/>
                  </a:cubicBezTo>
                  <a:cubicBezTo>
                    <a:pt x="2526" y="735"/>
                    <a:pt x="2474" y="764"/>
                    <a:pt x="2461" y="766"/>
                  </a:cubicBezTo>
                  <a:cubicBezTo>
                    <a:pt x="2448" y="768"/>
                    <a:pt x="2422" y="764"/>
                    <a:pt x="2413" y="759"/>
                  </a:cubicBezTo>
                  <a:cubicBezTo>
                    <a:pt x="2404" y="754"/>
                    <a:pt x="2444" y="753"/>
                    <a:pt x="2451" y="748"/>
                  </a:cubicBezTo>
                  <a:cubicBezTo>
                    <a:pt x="2458" y="743"/>
                    <a:pt x="2486" y="733"/>
                    <a:pt x="2486" y="733"/>
                  </a:cubicBezTo>
                  <a:cubicBezTo>
                    <a:pt x="2486" y="733"/>
                    <a:pt x="2481" y="725"/>
                    <a:pt x="2487" y="722"/>
                  </a:cubicBezTo>
                  <a:cubicBezTo>
                    <a:pt x="2493" y="719"/>
                    <a:pt x="2511" y="728"/>
                    <a:pt x="2533" y="722"/>
                  </a:cubicBezTo>
                  <a:cubicBezTo>
                    <a:pt x="2555" y="716"/>
                    <a:pt x="2535" y="704"/>
                    <a:pt x="2516" y="704"/>
                  </a:cubicBezTo>
                  <a:cubicBezTo>
                    <a:pt x="2497" y="704"/>
                    <a:pt x="2492" y="711"/>
                    <a:pt x="2481" y="716"/>
                  </a:cubicBezTo>
                  <a:cubicBezTo>
                    <a:pt x="2470" y="721"/>
                    <a:pt x="2471" y="711"/>
                    <a:pt x="2471" y="711"/>
                  </a:cubicBezTo>
                  <a:cubicBezTo>
                    <a:pt x="2459" y="716"/>
                    <a:pt x="2459" y="716"/>
                    <a:pt x="2459" y="716"/>
                  </a:cubicBezTo>
                  <a:cubicBezTo>
                    <a:pt x="2436" y="713"/>
                    <a:pt x="2436" y="713"/>
                    <a:pt x="2436" y="713"/>
                  </a:cubicBezTo>
                  <a:cubicBezTo>
                    <a:pt x="2436" y="713"/>
                    <a:pt x="2415" y="723"/>
                    <a:pt x="2406" y="720"/>
                  </a:cubicBezTo>
                  <a:cubicBezTo>
                    <a:pt x="2397" y="717"/>
                    <a:pt x="2432" y="707"/>
                    <a:pt x="2442" y="702"/>
                  </a:cubicBezTo>
                  <a:close/>
                  <a:moveTo>
                    <a:pt x="2739" y="3603"/>
                  </a:moveTo>
                  <a:cubicBezTo>
                    <a:pt x="2739" y="3603"/>
                    <a:pt x="2719" y="3594"/>
                    <a:pt x="2713" y="3592"/>
                  </a:cubicBezTo>
                  <a:cubicBezTo>
                    <a:pt x="2712" y="3592"/>
                    <a:pt x="2712" y="3592"/>
                    <a:pt x="2711" y="3592"/>
                  </a:cubicBezTo>
                  <a:cubicBezTo>
                    <a:pt x="2711" y="3591"/>
                    <a:pt x="2711" y="3591"/>
                    <a:pt x="2711" y="3591"/>
                  </a:cubicBezTo>
                  <a:cubicBezTo>
                    <a:pt x="2708" y="3589"/>
                    <a:pt x="2697" y="3585"/>
                    <a:pt x="2700" y="3581"/>
                  </a:cubicBezTo>
                  <a:cubicBezTo>
                    <a:pt x="2703" y="3577"/>
                    <a:pt x="2718" y="3582"/>
                    <a:pt x="2714" y="3575"/>
                  </a:cubicBezTo>
                  <a:cubicBezTo>
                    <a:pt x="2710" y="3569"/>
                    <a:pt x="2709" y="3569"/>
                    <a:pt x="2709" y="3569"/>
                  </a:cubicBezTo>
                  <a:cubicBezTo>
                    <a:pt x="2709" y="3569"/>
                    <a:pt x="2698" y="3573"/>
                    <a:pt x="2698" y="3571"/>
                  </a:cubicBezTo>
                  <a:cubicBezTo>
                    <a:pt x="2697" y="3569"/>
                    <a:pt x="2691" y="3541"/>
                    <a:pt x="2698" y="3543"/>
                  </a:cubicBezTo>
                  <a:cubicBezTo>
                    <a:pt x="2705" y="3545"/>
                    <a:pt x="2738" y="3571"/>
                    <a:pt x="2742" y="3579"/>
                  </a:cubicBezTo>
                  <a:cubicBezTo>
                    <a:pt x="2745" y="3583"/>
                    <a:pt x="2746" y="3591"/>
                    <a:pt x="2747" y="3598"/>
                  </a:cubicBezTo>
                  <a:cubicBezTo>
                    <a:pt x="2747" y="3598"/>
                    <a:pt x="2747" y="3598"/>
                    <a:pt x="2747" y="3598"/>
                  </a:cubicBezTo>
                  <a:cubicBezTo>
                    <a:pt x="2738" y="3598"/>
                    <a:pt x="2739" y="3603"/>
                    <a:pt x="2739" y="3603"/>
                  </a:cubicBezTo>
                  <a:close/>
                  <a:moveTo>
                    <a:pt x="3523" y="5086"/>
                  </a:moveTo>
                  <a:cubicBezTo>
                    <a:pt x="3517" y="5079"/>
                    <a:pt x="3517" y="5079"/>
                    <a:pt x="3517" y="5079"/>
                  </a:cubicBezTo>
                  <a:cubicBezTo>
                    <a:pt x="3509" y="5070"/>
                    <a:pt x="3509" y="5070"/>
                    <a:pt x="3509" y="5070"/>
                  </a:cubicBezTo>
                  <a:cubicBezTo>
                    <a:pt x="3509" y="5070"/>
                    <a:pt x="3499" y="5063"/>
                    <a:pt x="3491" y="5059"/>
                  </a:cubicBezTo>
                  <a:cubicBezTo>
                    <a:pt x="3483" y="5055"/>
                    <a:pt x="3480" y="5047"/>
                    <a:pt x="3480" y="5047"/>
                  </a:cubicBezTo>
                  <a:cubicBezTo>
                    <a:pt x="3480" y="5047"/>
                    <a:pt x="3466" y="5049"/>
                    <a:pt x="3462" y="5044"/>
                  </a:cubicBezTo>
                  <a:cubicBezTo>
                    <a:pt x="3467" y="5030"/>
                    <a:pt x="3467" y="5030"/>
                    <a:pt x="3467" y="5030"/>
                  </a:cubicBezTo>
                  <a:cubicBezTo>
                    <a:pt x="3467" y="5030"/>
                    <a:pt x="3463" y="5015"/>
                    <a:pt x="3468" y="5011"/>
                  </a:cubicBezTo>
                  <a:cubicBezTo>
                    <a:pt x="3471" y="5008"/>
                    <a:pt x="3485" y="5020"/>
                    <a:pt x="3494" y="5028"/>
                  </a:cubicBezTo>
                  <a:cubicBezTo>
                    <a:pt x="3499" y="5032"/>
                    <a:pt x="3502" y="5036"/>
                    <a:pt x="3502" y="5036"/>
                  </a:cubicBezTo>
                  <a:cubicBezTo>
                    <a:pt x="3517" y="5049"/>
                    <a:pt x="3517" y="5049"/>
                    <a:pt x="3517" y="5049"/>
                  </a:cubicBezTo>
                  <a:cubicBezTo>
                    <a:pt x="3518" y="5061"/>
                    <a:pt x="3518" y="5061"/>
                    <a:pt x="3518" y="5061"/>
                  </a:cubicBezTo>
                  <a:cubicBezTo>
                    <a:pt x="3531" y="5069"/>
                    <a:pt x="3531" y="5069"/>
                    <a:pt x="3531" y="5069"/>
                  </a:cubicBezTo>
                  <a:lnTo>
                    <a:pt x="3523" y="5086"/>
                  </a:lnTo>
                  <a:close/>
                  <a:moveTo>
                    <a:pt x="3432" y="3548"/>
                  </a:moveTo>
                  <a:cubicBezTo>
                    <a:pt x="3432" y="3553"/>
                    <a:pt x="3439" y="3569"/>
                    <a:pt x="3439" y="3569"/>
                  </a:cubicBezTo>
                  <a:cubicBezTo>
                    <a:pt x="3456" y="3568"/>
                    <a:pt x="3456" y="3568"/>
                    <a:pt x="3456" y="3568"/>
                  </a:cubicBezTo>
                  <a:cubicBezTo>
                    <a:pt x="3456" y="3568"/>
                    <a:pt x="3461" y="3541"/>
                    <a:pt x="3449" y="3538"/>
                  </a:cubicBezTo>
                  <a:cubicBezTo>
                    <a:pt x="3438" y="3535"/>
                    <a:pt x="3432" y="3542"/>
                    <a:pt x="3432" y="3548"/>
                  </a:cubicBezTo>
                  <a:close/>
                  <a:moveTo>
                    <a:pt x="2936" y="4356"/>
                  </a:moveTo>
                  <a:cubicBezTo>
                    <a:pt x="2951" y="4352"/>
                    <a:pt x="2953" y="4332"/>
                    <a:pt x="2943" y="4336"/>
                  </a:cubicBezTo>
                  <a:cubicBezTo>
                    <a:pt x="2934" y="4340"/>
                    <a:pt x="2928" y="4357"/>
                    <a:pt x="2936" y="4356"/>
                  </a:cubicBezTo>
                  <a:close/>
                  <a:moveTo>
                    <a:pt x="3616" y="6574"/>
                  </a:moveTo>
                  <a:cubicBezTo>
                    <a:pt x="3603" y="6577"/>
                    <a:pt x="3603" y="6577"/>
                    <a:pt x="3603" y="6577"/>
                  </a:cubicBezTo>
                  <a:cubicBezTo>
                    <a:pt x="3610" y="6590"/>
                    <a:pt x="3610" y="6590"/>
                    <a:pt x="3610" y="6590"/>
                  </a:cubicBezTo>
                  <a:lnTo>
                    <a:pt x="3616" y="6574"/>
                  </a:lnTo>
                  <a:close/>
                  <a:moveTo>
                    <a:pt x="3626" y="6546"/>
                  </a:moveTo>
                  <a:cubicBezTo>
                    <a:pt x="3612" y="6557"/>
                    <a:pt x="3619" y="6567"/>
                    <a:pt x="3629" y="6564"/>
                  </a:cubicBezTo>
                  <a:cubicBezTo>
                    <a:pt x="3641" y="6560"/>
                    <a:pt x="3640" y="6536"/>
                    <a:pt x="3626" y="6546"/>
                  </a:cubicBezTo>
                  <a:close/>
                  <a:moveTo>
                    <a:pt x="3828" y="7023"/>
                  </a:moveTo>
                  <a:cubicBezTo>
                    <a:pt x="3805" y="7010"/>
                    <a:pt x="3805" y="7010"/>
                    <a:pt x="3805" y="7010"/>
                  </a:cubicBezTo>
                  <a:cubicBezTo>
                    <a:pt x="3822" y="7029"/>
                    <a:pt x="3822" y="7029"/>
                    <a:pt x="3822" y="7029"/>
                  </a:cubicBezTo>
                  <a:cubicBezTo>
                    <a:pt x="3853" y="7033"/>
                    <a:pt x="3853" y="7033"/>
                    <a:pt x="3853" y="7033"/>
                  </a:cubicBezTo>
                  <a:cubicBezTo>
                    <a:pt x="3864" y="7040"/>
                    <a:pt x="3864" y="7040"/>
                    <a:pt x="3864" y="7040"/>
                  </a:cubicBezTo>
                  <a:cubicBezTo>
                    <a:pt x="3853" y="7026"/>
                    <a:pt x="3853" y="7026"/>
                    <a:pt x="3853" y="7026"/>
                  </a:cubicBezTo>
                  <a:lnTo>
                    <a:pt x="3828" y="7023"/>
                  </a:lnTo>
                  <a:close/>
                  <a:moveTo>
                    <a:pt x="3646" y="6620"/>
                  </a:moveTo>
                  <a:cubicBezTo>
                    <a:pt x="3648" y="6632"/>
                    <a:pt x="3648" y="6632"/>
                    <a:pt x="3648" y="6632"/>
                  </a:cubicBezTo>
                  <a:cubicBezTo>
                    <a:pt x="3664" y="6642"/>
                    <a:pt x="3664" y="6642"/>
                    <a:pt x="3664" y="6642"/>
                  </a:cubicBezTo>
                  <a:cubicBezTo>
                    <a:pt x="3664" y="6626"/>
                    <a:pt x="3664" y="6626"/>
                    <a:pt x="3664" y="6626"/>
                  </a:cubicBezTo>
                  <a:cubicBezTo>
                    <a:pt x="3655" y="6610"/>
                    <a:pt x="3655" y="6610"/>
                    <a:pt x="3655" y="6610"/>
                  </a:cubicBezTo>
                  <a:cubicBezTo>
                    <a:pt x="3633" y="6611"/>
                    <a:pt x="3633" y="6611"/>
                    <a:pt x="3633" y="6611"/>
                  </a:cubicBezTo>
                  <a:lnTo>
                    <a:pt x="3646" y="6620"/>
                  </a:lnTo>
                  <a:close/>
                  <a:moveTo>
                    <a:pt x="3623" y="6590"/>
                  </a:moveTo>
                  <a:cubicBezTo>
                    <a:pt x="3630" y="6598"/>
                    <a:pt x="3630" y="6598"/>
                    <a:pt x="3630" y="6598"/>
                  </a:cubicBezTo>
                  <a:cubicBezTo>
                    <a:pt x="3648" y="6598"/>
                    <a:pt x="3648" y="6598"/>
                    <a:pt x="3648" y="6598"/>
                  </a:cubicBezTo>
                  <a:cubicBezTo>
                    <a:pt x="3655" y="6585"/>
                    <a:pt x="3655" y="6585"/>
                    <a:pt x="3655" y="6585"/>
                  </a:cubicBezTo>
                  <a:cubicBezTo>
                    <a:pt x="3636" y="6590"/>
                    <a:pt x="3636" y="6590"/>
                    <a:pt x="3636" y="6590"/>
                  </a:cubicBezTo>
                  <a:lnTo>
                    <a:pt x="3623" y="6590"/>
                  </a:lnTo>
                  <a:close/>
                  <a:moveTo>
                    <a:pt x="3708" y="6864"/>
                  </a:moveTo>
                  <a:cubicBezTo>
                    <a:pt x="3713" y="6863"/>
                    <a:pt x="3716" y="6854"/>
                    <a:pt x="3716" y="6854"/>
                  </a:cubicBezTo>
                  <a:cubicBezTo>
                    <a:pt x="3736" y="6871"/>
                    <a:pt x="3736" y="6871"/>
                    <a:pt x="3736" y="6871"/>
                  </a:cubicBezTo>
                  <a:cubicBezTo>
                    <a:pt x="3737" y="6855"/>
                    <a:pt x="3737" y="6855"/>
                    <a:pt x="3737" y="6855"/>
                  </a:cubicBezTo>
                  <a:cubicBezTo>
                    <a:pt x="3717" y="6834"/>
                    <a:pt x="3717" y="6834"/>
                    <a:pt x="3717" y="6834"/>
                  </a:cubicBezTo>
                  <a:cubicBezTo>
                    <a:pt x="3717" y="6834"/>
                    <a:pt x="3701" y="6811"/>
                    <a:pt x="3701" y="6799"/>
                  </a:cubicBezTo>
                  <a:cubicBezTo>
                    <a:pt x="3701" y="6788"/>
                    <a:pt x="3690" y="6776"/>
                    <a:pt x="3679" y="6770"/>
                  </a:cubicBezTo>
                  <a:cubicBezTo>
                    <a:pt x="3669" y="6765"/>
                    <a:pt x="3669" y="6776"/>
                    <a:pt x="3669" y="6776"/>
                  </a:cubicBezTo>
                  <a:cubicBezTo>
                    <a:pt x="3655" y="6772"/>
                    <a:pt x="3655" y="6772"/>
                    <a:pt x="3655" y="6772"/>
                  </a:cubicBezTo>
                  <a:cubicBezTo>
                    <a:pt x="3655" y="6772"/>
                    <a:pt x="3640" y="6799"/>
                    <a:pt x="3651" y="6799"/>
                  </a:cubicBezTo>
                  <a:cubicBezTo>
                    <a:pt x="3661" y="6799"/>
                    <a:pt x="3681" y="6799"/>
                    <a:pt x="3681" y="6799"/>
                  </a:cubicBezTo>
                  <a:cubicBezTo>
                    <a:pt x="3668" y="6825"/>
                    <a:pt x="3668" y="6825"/>
                    <a:pt x="3668" y="6825"/>
                  </a:cubicBezTo>
                  <a:cubicBezTo>
                    <a:pt x="3677" y="6825"/>
                    <a:pt x="3677" y="6825"/>
                    <a:pt x="3677" y="6825"/>
                  </a:cubicBezTo>
                  <a:cubicBezTo>
                    <a:pt x="3691" y="6812"/>
                    <a:pt x="3691" y="6812"/>
                    <a:pt x="3691" y="6812"/>
                  </a:cubicBezTo>
                  <a:cubicBezTo>
                    <a:pt x="3690" y="6828"/>
                    <a:pt x="3690" y="6828"/>
                    <a:pt x="3690" y="6828"/>
                  </a:cubicBezTo>
                  <a:cubicBezTo>
                    <a:pt x="3690" y="6828"/>
                    <a:pt x="3704" y="6866"/>
                    <a:pt x="3708" y="6864"/>
                  </a:cubicBezTo>
                  <a:close/>
                  <a:moveTo>
                    <a:pt x="3703" y="6889"/>
                  </a:moveTo>
                  <a:cubicBezTo>
                    <a:pt x="3714" y="6890"/>
                    <a:pt x="3714" y="6890"/>
                    <a:pt x="3714" y="6890"/>
                  </a:cubicBezTo>
                  <a:cubicBezTo>
                    <a:pt x="3721" y="6912"/>
                    <a:pt x="3721" y="6912"/>
                    <a:pt x="3721" y="6912"/>
                  </a:cubicBezTo>
                  <a:cubicBezTo>
                    <a:pt x="3726" y="6892"/>
                    <a:pt x="3726" y="6892"/>
                    <a:pt x="3726" y="6892"/>
                  </a:cubicBezTo>
                  <a:cubicBezTo>
                    <a:pt x="3727" y="6876"/>
                    <a:pt x="3727" y="6876"/>
                    <a:pt x="3727" y="6876"/>
                  </a:cubicBezTo>
                  <a:cubicBezTo>
                    <a:pt x="3710" y="6871"/>
                    <a:pt x="3710" y="6871"/>
                    <a:pt x="3710" y="6871"/>
                  </a:cubicBezTo>
                  <a:lnTo>
                    <a:pt x="3703" y="6889"/>
                  </a:lnTo>
                  <a:close/>
                  <a:moveTo>
                    <a:pt x="3756" y="6964"/>
                  </a:moveTo>
                  <a:cubicBezTo>
                    <a:pt x="3779" y="6985"/>
                    <a:pt x="3779" y="6985"/>
                    <a:pt x="3779" y="6985"/>
                  </a:cubicBezTo>
                  <a:cubicBezTo>
                    <a:pt x="3786" y="6978"/>
                    <a:pt x="3786" y="6978"/>
                    <a:pt x="3786" y="6978"/>
                  </a:cubicBezTo>
                  <a:cubicBezTo>
                    <a:pt x="3766" y="6955"/>
                    <a:pt x="3766" y="6955"/>
                    <a:pt x="3766" y="6955"/>
                  </a:cubicBezTo>
                  <a:lnTo>
                    <a:pt x="3756" y="6964"/>
                  </a:lnTo>
                  <a:close/>
                  <a:moveTo>
                    <a:pt x="3828" y="6972"/>
                  </a:moveTo>
                  <a:cubicBezTo>
                    <a:pt x="3815" y="6959"/>
                    <a:pt x="3815" y="6959"/>
                    <a:pt x="3815" y="6959"/>
                  </a:cubicBezTo>
                  <a:cubicBezTo>
                    <a:pt x="3811" y="6981"/>
                    <a:pt x="3811" y="6981"/>
                    <a:pt x="3811" y="6981"/>
                  </a:cubicBezTo>
                  <a:cubicBezTo>
                    <a:pt x="3796" y="6985"/>
                    <a:pt x="3796" y="6985"/>
                    <a:pt x="3796" y="6985"/>
                  </a:cubicBezTo>
                  <a:cubicBezTo>
                    <a:pt x="3825" y="6997"/>
                    <a:pt x="3825" y="6997"/>
                    <a:pt x="3825" y="6997"/>
                  </a:cubicBezTo>
                  <a:lnTo>
                    <a:pt x="3828" y="6972"/>
                  </a:lnTo>
                  <a:close/>
                  <a:moveTo>
                    <a:pt x="3802" y="6957"/>
                  </a:moveTo>
                  <a:cubicBezTo>
                    <a:pt x="3795" y="6951"/>
                    <a:pt x="3795" y="6951"/>
                    <a:pt x="3795" y="6951"/>
                  </a:cubicBezTo>
                  <a:cubicBezTo>
                    <a:pt x="3789" y="6961"/>
                    <a:pt x="3789" y="6961"/>
                    <a:pt x="3789" y="6961"/>
                  </a:cubicBezTo>
                  <a:cubicBezTo>
                    <a:pt x="3796" y="6970"/>
                    <a:pt x="3796" y="6970"/>
                    <a:pt x="3796" y="6970"/>
                  </a:cubicBezTo>
                  <a:lnTo>
                    <a:pt x="3802" y="6957"/>
                  </a:lnTo>
                  <a:close/>
                  <a:moveTo>
                    <a:pt x="9720" y="140"/>
                  </a:moveTo>
                  <a:cubicBezTo>
                    <a:pt x="9720" y="148"/>
                    <a:pt x="9786" y="154"/>
                    <a:pt x="9786" y="154"/>
                  </a:cubicBezTo>
                  <a:cubicBezTo>
                    <a:pt x="9820" y="150"/>
                    <a:pt x="9820" y="150"/>
                    <a:pt x="9820" y="150"/>
                  </a:cubicBezTo>
                  <a:cubicBezTo>
                    <a:pt x="9858" y="164"/>
                    <a:pt x="9858" y="164"/>
                    <a:pt x="9858" y="164"/>
                  </a:cubicBezTo>
                  <a:cubicBezTo>
                    <a:pt x="9900" y="162"/>
                    <a:pt x="9900" y="162"/>
                    <a:pt x="9900" y="162"/>
                  </a:cubicBezTo>
                  <a:cubicBezTo>
                    <a:pt x="9894" y="144"/>
                    <a:pt x="9876" y="118"/>
                    <a:pt x="9858" y="120"/>
                  </a:cubicBezTo>
                  <a:cubicBezTo>
                    <a:pt x="9840" y="122"/>
                    <a:pt x="9822" y="134"/>
                    <a:pt x="9822" y="134"/>
                  </a:cubicBezTo>
                  <a:cubicBezTo>
                    <a:pt x="9808" y="118"/>
                    <a:pt x="9808" y="118"/>
                    <a:pt x="9808" y="118"/>
                  </a:cubicBezTo>
                  <a:cubicBezTo>
                    <a:pt x="9808" y="118"/>
                    <a:pt x="9720" y="132"/>
                    <a:pt x="9720" y="140"/>
                  </a:cubicBezTo>
                  <a:close/>
                  <a:moveTo>
                    <a:pt x="9682" y="142"/>
                  </a:moveTo>
                  <a:cubicBezTo>
                    <a:pt x="9692" y="132"/>
                    <a:pt x="9692" y="132"/>
                    <a:pt x="9692" y="132"/>
                  </a:cubicBezTo>
                  <a:cubicBezTo>
                    <a:pt x="9632" y="132"/>
                    <a:pt x="9632" y="132"/>
                    <a:pt x="9632" y="132"/>
                  </a:cubicBezTo>
                  <a:lnTo>
                    <a:pt x="9682" y="142"/>
                  </a:lnTo>
                  <a:close/>
                  <a:moveTo>
                    <a:pt x="9658" y="124"/>
                  </a:moveTo>
                  <a:cubicBezTo>
                    <a:pt x="9658" y="124"/>
                    <a:pt x="9714" y="128"/>
                    <a:pt x="9726" y="124"/>
                  </a:cubicBezTo>
                  <a:cubicBezTo>
                    <a:pt x="9738" y="120"/>
                    <a:pt x="9780" y="124"/>
                    <a:pt x="9772" y="108"/>
                  </a:cubicBezTo>
                  <a:cubicBezTo>
                    <a:pt x="9764" y="92"/>
                    <a:pt x="9690" y="70"/>
                    <a:pt x="9690" y="70"/>
                  </a:cubicBezTo>
                  <a:cubicBezTo>
                    <a:pt x="9690" y="70"/>
                    <a:pt x="9634" y="60"/>
                    <a:pt x="9632" y="80"/>
                  </a:cubicBezTo>
                  <a:cubicBezTo>
                    <a:pt x="9630" y="100"/>
                    <a:pt x="9658" y="124"/>
                    <a:pt x="9658" y="124"/>
                  </a:cubicBezTo>
                  <a:close/>
                  <a:moveTo>
                    <a:pt x="10000" y="192"/>
                  </a:moveTo>
                  <a:cubicBezTo>
                    <a:pt x="10106" y="186"/>
                    <a:pt x="10106" y="186"/>
                    <a:pt x="10106" y="186"/>
                  </a:cubicBezTo>
                  <a:cubicBezTo>
                    <a:pt x="10078" y="170"/>
                    <a:pt x="10078" y="170"/>
                    <a:pt x="10078" y="170"/>
                  </a:cubicBezTo>
                  <a:cubicBezTo>
                    <a:pt x="10078" y="170"/>
                    <a:pt x="10040" y="150"/>
                    <a:pt x="10030" y="150"/>
                  </a:cubicBezTo>
                  <a:cubicBezTo>
                    <a:pt x="10020" y="150"/>
                    <a:pt x="10002" y="162"/>
                    <a:pt x="10002" y="162"/>
                  </a:cubicBezTo>
                  <a:cubicBezTo>
                    <a:pt x="10002" y="162"/>
                    <a:pt x="9996" y="134"/>
                    <a:pt x="9974" y="134"/>
                  </a:cubicBezTo>
                  <a:cubicBezTo>
                    <a:pt x="9952" y="134"/>
                    <a:pt x="9940" y="200"/>
                    <a:pt x="9940" y="200"/>
                  </a:cubicBezTo>
                  <a:cubicBezTo>
                    <a:pt x="9956" y="208"/>
                    <a:pt x="9956" y="208"/>
                    <a:pt x="9956" y="208"/>
                  </a:cubicBezTo>
                  <a:cubicBezTo>
                    <a:pt x="9974" y="204"/>
                    <a:pt x="10000" y="192"/>
                    <a:pt x="10000" y="192"/>
                  </a:cubicBezTo>
                  <a:close/>
                  <a:moveTo>
                    <a:pt x="11360" y="338"/>
                  </a:moveTo>
                  <a:cubicBezTo>
                    <a:pt x="11370" y="320"/>
                    <a:pt x="11370" y="320"/>
                    <a:pt x="11370" y="320"/>
                  </a:cubicBezTo>
                  <a:cubicBezTo>
                    <a:pt x="11370" y="320"/>
                    <a:pt x="11396" y="320"/>
                    <a:pt x="11406" y="320"/>
                  </a:cubicBezTo>
                  <a:cubicBezTo>
                    <a:pt x="11416" y="320"/>
                    <a:pt x="11446" y="318"/>
                    <a:pt x="11446" y="318"/>
                  </a:cubicBezTo>
                  <a:cubicBezTo>
                    <a:pt x="11404" y="298"/>
                    <a:pt x="11404" y="298"/>
                    <a:pt x="11404" y="298"/>
                  </a:cubicBezTo>
                  <a:cubicBezTo>
                    <a:pt x="11412" y="284"/>
                    <a:pt x="11412" y="284"/>
                    <a:pt x="11412" y="284"/>
                  </a:cubicBezTo>
                  <a:cubicBezTo>
                    <a:pt x="11352" y="272"/>
                    <a:pt x="11352" y="272"/>
                    <a:pt x="11352" y="272"/>
                  </a:cubicBezTo>
                  <a:cubicBezTo>
                    <a:pt x="11362" y="290"/>
                    <a:pt x="11362" y="290"/>
                    <a:pt x="11362" y="290"/>
                  </a:cubicBezTo>
                  <a:cubicBezTo>
                    <a:pt x="11362" y="290"/>
                    <a:pt x="11240" y="250"/>
                    <a:pt x="11242" y="280"/>
                  </a:cubicBezTo>
                  <a:cubicBezTo>
                    <a:pt x="11244" y="310"/>
                    <a:pt x="11360" y="338"/>
                    <a:pt x="11360" y="338"/>
                  </a:cubicBezTo>
                  <a:close/>
                  <a:moveTo>
                    <a:pt x="11226" y="294"/>
                  </a:moveTo>
                  <a:cubicBezTo>
                    <a:pt x="11190" y="282"/>
                    <a:pt x="11190" y="282"/>
                    <a:pt x="11190" y="282"/>
                  </a:cubicBezTo>
                  <a:cubicBezTo>
                    <a:pt x="11206" y="304"/>
                    <a:pt x="11206" y="304"/>
                    <a:pt x="11206" y="304"/>
                  </a:cubicBezTo>
                  <a:lnTo>
                    <a:pt x="11226" y="294"/>
                  </a:lnTo>
                  <a:close/>
                  <a:moveTo>
                    <a:pt x="10490" y="348"/>
                  </a:moveTo>
                  <a:cubicBezTo>
                    <a:pt x="10522" y="354"/>
                    <a:pt x="10522" y="354"/>
                    <a:pt x="10522" y="354"/>
                  </a:cubicBezTo>
                  <a:cubicBezTo>
                    <a:pt x="10542" y="356"/>
                    <a:pt x="10562" y="344"/>
                    <a:pt x="10532" y="338"/>
                  </a:cubicBezTo>
                  <a:cubicBezTo>
                    <a:pt x="10502" y="332"/>
                    <a:pt x="10490" y="348"/>
                    <a:pt x="10490" y="348"/>
                  </a:cubicBezTo>
                  <a:close/>
                  <a:moveTo>
                    <a:pt x="9502" y="405"/>
                  </a:moveTo>
                  <a:cubicBezTo>
                    <a:pt x="9477" y="388"/>
                    <a:pt x="9484" y="411"/>
                    <a:pt x="9484" y="411"/>
                  </a:cubicBezTo>
                  <a:cubicBezTo>
                    <a:pt x="9509" y="421"/>
                    <a:pt x="9527" y="422"/>
                    <a:pt x="9502" y="405"/>
                  </a:cubicBezTo>
                  <a:close/>
                  <a:moveTo>
                    <a:pt x="8214" y="2309"/>
                  </a:moveTo>
                  <a:cubicBezTo>
                    <a:pt x="8215" y="2323"/>
                    <a:pt x="8242" y="2338"/>
                    <a:pt x="8249" y="2335"/>
                  </a:cubicBezTo>
                  <a:cubicBezTo>
                    <a:pt x="8256" y="2332"/>
                    <a:pt x="8274" y="2316"/>
                    <a:pt x="8274" y="2316"/>
                  </a:cubicBezTo>
                  <a:cubicBezTo>
                    <a:pt x="8274" y="2316"/>
                    <a:pt x="8290" y="2323"/>
                    <a:pt x="8293" y="2317"/>
                  </a:cubicBezTo>
                  <a:cubicBezTo>
                    <a:pt x="8297" y="2311"/>
                    <a:pt x="8290" y="2302"/>
                    <a:pt x="8290" y="2302"/>
                  </a:cubicBezTo>
                  <a:cubicBezTo>
                    <a:pt x="8311" y="2278"/>
                    <a:pt x="8311" y="2278"/>
                    <a:pt x="8311" y="2278"/>
                  </a:cubicBezTo>
                  <a:cubicBezTo>
                    <a:pt x="8284" y="2295"/>
                    <a:pt x="8284" y="2295"/>
                    <a:pt x="8284" y="2295"/>
                  </a:cubicBezTo>
                  <a:cubicBezTo>
                    <a:pt x="8284" y="2295"/>
                    <a:pt x="8260" y="2291"/>
                    <a:pt x="8251" y="2293"/>
                  </a:cubicBezTo>
                  <a:cubicBezTo>
                    <a:pt x="8242" y="2295"/>
                    <a:pt x="8245" y="2304"/>
                    <a:pt x="8245" y="2304"/>
                  </a:cubicBezTo>
                  <a:cubicBezTo>
                    <a:pt x="8245" y="2304"/>
                    <a:pt x="8213" y="2298"/>
                    <a:pt x="8214" y="2309"/>
                  </a:cubicBezTo>
                  <a:close/>
                  <a:moveTo>
                    <a:pt x="7882" y="2054"/>
                  </a:moveTo>
                  <a:cubicBezTo>
                    <a:pt x="7896" y="2053"/>
                    <a:pt x="7896" y="2053"/>
                    <a:pt x="7896" y="2053"/>
                  </a:cubicBezTo>
                  <a:cubicBezTo>
                    <a:pt x="7899" y="2044"/>
                    <a:pt x="7899" y="2044"/>
                    <a:pt x="7899" y="2044"/>
                  </a:cubicBezTo>
                  <a:cubicBezTo>
                    <a:pt x="7879" y="2044"/>
                    <a:pt x="7879" y="2044"/>
                    <a:pt x="7879" y="2044"/>
                  </a:cubicBezTo>
                  <a:lnTo>
                    <a:pt x="7882" y="2054"/>
                  </a:lnTo>
                  <a:close/>
                  <a:moveTo>
                    <a:pt x="7906" y="2035"/>
                  </a:moveTo>
                  <a:cubicBezTo>
                    <a:pt x="7909" y="2044"/>
                    <a:pt x="7919" y="2050"/>
                    <a:pt x="7918" y="2034"/>
                  </a:cubicBezTo>
                  <a:cubicBezTo>
                    <a:pt x="7917" y="2018"/>
                    <a:pt x="7906" y="2035"/>
                    <a:pt x="7906" y="2035"/>
                  </a:cubicBezTo>
                  <a:close/>
                  <a:moveTo>
                    <a:pt x="9198" y="400"/>
                  </a:moveTo>
                  <a:cubicBezTo>
                    <a:pt x="9231" y="392"/>
                    <a:pt x="9220" y="382"/>
                    <a:pt x="9212" y="378"/>
                  </a:cubicBezTo>
                  <a:cubicBezTo>
                    <a:pt x="9204" y="374"/>
                    <a:pt x="9174" y="378"/>
                    <a:pt x="9174" y="378"/>
                  </a:cubicBezTo>
                  <a:cubicBezTo>
                    <a:pt x="9174" y="378"/>
                    <a:pt x="9180" y="404"/>
                    <a:pt x="9198" y="400"/>
                  </a:cubicBezTo>
                  <a:close/>
                  <a:moveTo>
                    <a:pt x="9474" y="423"/>
                  </a:moveTo>
                  <a:cubicBezTo>
                    <a:pt x="9453" y="418"/>
                    <a:pt x="9453" y="418"/>
                    <a:pt x="9453" y="418"/>
                  </a:cubicBezTo>
                  <a:cubicBezTo>
                    <a:pt x="9436" y="432"/>
                    <a:pt x="9436" y="432"/>
                    <a:pt x="9436" y="432"/>
                  </a:cubicBezTo>
                  <a:cubicBezTo>
                    <a:pt x="9462" y="439"/>
                    <a:pt x="9462" y="439"/>
                    <a:pt x="9462" y="439"/>
                  </a:cubicBezTo>
                  <a:lnTo>
                    <a:pt x="9474" y="423"/>
                  </a:lnTo>
                  <a:close/>
                  <a:moveTo>
                    <a:pt x="7942" y="2021"/>
                  </a:moveTo>
                  <a:cubicBezTo>
                    <a:pt x="7924" y="2021"/>
                    <a:pt x="7924" y="2021"/>
                    <a:pt x="7924" y="2021"/>
                  </a:cubicBezTo>
                  <a:cubicBezTo>
                    <a:pt x="7924" y="2042"/>
                    <a:pt x="7924" y="2042"/>
                    <a:pt x="7924" y="2042"/>
                  </a:cubicBezTo>
                  <a:cubicBezTo>
                    <a:pt x="7931" y="2029"/>
                    <a:pt x="7931" y="2029"/>
                    <a:pt x="7931" y="2029"/>
                  </a:cubicBezTo>
                  <a:lnTo>
                    <a:pt x="7942" y="2021"/>
                  </a:lnTo>
                  <a:close/>
                  <a:moveTo>
                    <a:pt x="11466" y="312"/>
                  </a:moveTo>
                  <a:cubicBezTo>
                    <a:pt x="11504" y="316"/>
                    <a:pt x="11504" y="316"/>
                    <a:pt x="11504" y="316"/>
                  </a:cubicBezTo>
                  <a:cubicBezTo>
                    <a:pt x="11514" y="306"/>
                    <a:pt x="11512" y="294"/>
                    <a:pt x="11494" y="294"/>
                  </a:cubicBezTo>
                  <a:cubicBezTo>
                    <a:pt x="11476" y="294"/>
                    <a:pt x="11416" y="280"/>
                    <a:pt x="11424" y="292"/>
                  </a:cubicBezTo>
                  <a:cubicBezTo>
                    <a:pt x="11432" y="304"/>
                    <a:pt x="11466" y="312"/>
                    <a:pt x="11466" y="312"/>
                  </a:cubicBezTo>
                  <a:close/>
                  <a:moveTo>
                    <a:pt x="12678" y="554"/>
                  </a:moveTo>
                  <a:cubicBezTo>
                    <a:pt x="12686" y="544"/>
                    <a:pt x="12612" y="534"/>
                    <a:pt x="12612" y="534"/>
                  </a:cubicBezTo>
                  <a:cubicBezTo>
                    <a:pt x="12612" y="542"/>
                    <a:pt x="12670" y="564"/>
                    <a:pt x="12678" y="554"/>
                  </a:cubicBezTo>
                  <a:close/>
                  <a:moveTo>
                    <a:pt x="11426" y="348"/>
                  </a:moveTo>
                  <a:cubicBezTo>
                    <a:pt x="11400" y="374"/>
                    <a:pt x="11456" y="372"/>
                    <a:pt x="11464" y="362"/>
                  </a:cubicBezTo>
                  <a:cubicBezTo>
                    <a:pt x="11472" y="352"/>
                    <a:pt x="11433" y="341"/>
                    <a:pt x="11426" y="348"/>
                  </a:cubicBezTo>
                  <a:close/>
                  <a:moveTo>
                    <a:pt x="13194" y="1684"/>
                  </a:moveTo>
                  <a:cubicBezTo>
                    <a:pt x="13195" y="1663"/>
                    <a:pt x="13195" y="1663"/>
                    <a:pt x="13195" y="1663"/>
                  </a:cubicBezTo>
                  <a:cubicBezTo>
                    <a:pt x="13186" y="1680"/>
                    <a:pt x="13186" y="1680"/>
                    <a:pt x="13186" y="1680"/>
                  </a:cubicBezTo>
                  <a:lnTo>
                    <a:pt x="13194" y="1684"/>
                  </a:lnTo>
                  <a:close/>
                  <a:moveTo>
                    <a:pt x="13193" y="1621"/>
                  </a:moveTo>
                  <a:cubicBezTo>
                    <a:pt x="13205" y="1619"/>
                    <a:pt x="13205" y="1619"/>
                    <a:pt x="13205" y="1619"/>
                  </a:cubicBezTo>
                  <a:cubicBezTo>
                    <a:pt x="13193" y="1607"/>
                    <a:pt x="13193" y="1607"/>
                    <a:pt x="13193" y="1607"/>
                  </a:cubicBezTo>
                  <a:lnTo>
                    <a:pt x="13193" y="1621"/>
                  </a:lnTo>
                  <a:close/>
                  <a:moveTo>
                    <a:pt x="11925" y="3120"/>
                  </a:moveTo>
                  <a:cubicBezTo>
                    <a:pt x="11911" y="3110"/>
                    <a:pt x="11863" y="3116"/>
                    <a:pt x="11863" y="3116"/>
                  </a:cubicBezTo>
                  <a:cubicBezTo>
                    <a:pt x="11859" y="3128"/>
                    <a:pt x="11859" y="3128"/>
                    <a:pt x="11859" y="3128"/>
                  </a:cubicBezTo>
                  <a:cubicBezTo>
                    <a:pt x="11848" y="3122"/>
                    <a:pt x="11848" y="3122"/>
                    <a:pt x="11848" y="3122"/>
                  </a:cubicBezTo>
                  <a:cubicBezTo>
                    <a:pt x="11842" y="3139"/>
                    <a:pt x="11842" y="3139"/>
                    <a:pt x="11842" y="3139"/>
                  </a:cubicBezTo>
                  <a:cubicBezTo>
                    <a:pt x="11842" y="3139"/>
                    <a:pt x="11812" y="3162"/>
                    <a:pt x="11831" y="3186"/>
                  </a:cubicBezTo>
                  <a:cubicBezTo>
                    <a:pt x="11851" y="3209"/>
                    <a:pt x="11864" y="3209"/>
                    <a:pt x="11864" y="3209"/>
                  </a:cubicBezTo>
                  <a:cubicBezTo>
                    <a:pt x="11920" y="3208"/>
                    <a:pt x="11916" y="3191"/>
                    <a:pt x="11918" y="3184"/>
                  </a:cubicBezTo>
                  <a:cubicBezTo>
                    <a:pt x="11919" y="3178"/>
                    <a:pt x="11915" y="3163"/>
                    <a:pt x="11915" y="3163"/>
                  </a:cubicBezTo>
                  <a:cubicBezTo>
                    <a:pt x="11915" y="3163"/>
                    <a:pt x="11940" y="3131"/>
                    <a:pt x="11925" y="3120"/>
                  </a:cubicBezTo>
                  <a:close/>
                  <a:moveTo>
                    <a:pt x="11975" y="3291"/>
                  </a:moveTo>
                  <a:cubicBezTo>
                    <a:pt x="11959" y="3291"/>
                    <a:pt x="11970" y="3309"/>
                    <a:pt x="11970" y="3309"/>
                  </a:cubicBezTo>
                  <a:cubicBezTo>
                    <a:pt x="11982" y="3309"/>
                    <a:pt x="11991" y="3291"/>
                    <a:pt x="11975" y="3291"/>
                  </a:cubicBezTo>
                  <a:close/>
                  <a:moveTo>
                    <a:pt x="13029" y="2240"/>
                  </a:moveTo>
                  <a:cubicBezTo>
                    <a:pt x="13030" y="2226"/>
                    <a:pt x="13031" y="2200"/>
                    <a:pt x="13025" y="2188"/>
                  </a:cubicBezTo>
                  <a:cubicBezTo>
                    <a:pt x="13019" y="2176"/>
                    <a:pt x="12995" y="2159"/>
                    <a:pt x="12998" y="2142"/>
                  </a:cubicBezTo>
                  <a:cubicBezTo>
                    <a:pt x="13001" y="2125"/>
                    <a:pt x="13017" y="2130"/>
                    <a:pt x="13017" y="2130"/>
                  </a:cubicBezTo>
                  <a:cubicBezTo>
                    <a:pt x="13014" y="2103"/>
                    <a:pt x="13014" y="2103"/>
                    <a:pt x="13014" y="2103"/>
                  </a:cubicBezTo>
                  <a:cubicBezTo>
                    <a:pt x="13006" y="2097"/>
                    <a:pt x="13006" y="2097"/>
                    <a:pt x="13006" y="2097"/>
                  </a:cubicBezTo>
                  <a:cubicBezTo>
                    <a:pt x="13016" y="2090"/>
                    <a:pt x="13016" y="2090"/>
                    <a:pt x="13016" y="2090"/>
                  </a:cubicBezTo>
                  <a:cubicBezTo>
                    <a:pt x="13016" y="2090"/>
                    <a:pt x="13011" y="2072"/>
                    <a:pt x="13007" y="2062"/>
                  </a:cubicBezTo>
                  <a:cubicBezTo>
                    <a:pt x="13003" y="2052"/>
                    <a:pt x="12989" y="2044"/>
                    <a:pt x="12989" y="2044"/>
                  </a:cubicBezTo>
                  <a:cubicBezTo>
                    <a:pt x="12985" y="2031"/>
                    <a:pt x="12985" y="2031"/>
                    <a:pt x="12985" y="2031"/>
                  </a:cubicBezTo>
                  <a:cubicBezTo>
                    <a:pt x="12985" y="2031"/>
                    <a:pt x="12970" y="2024"/>
                    <a:pt x="12961" y="2017"/>
                  </a:cubicBezTo>
                  <a:cubicBezTo>
                    <a:pt x="12952" y="2010"/>
                    <a:pt x="12937" y="1994"/>
                    <a:pt x="12937" y="1985"/>
                  </a:cubicBezTo>
                  <a:cubicBezTo>
                    <a:pt x="12937" y="1976"/>
                    <a:pt x="12934" y="1972"/>
                    <a:pt x="12934" y="1972"/>
                  </a:cubicBezTo>
                  <a:cubicBezTo>
                    <a:pt x="12934" y="1972"/>
                    <a:pt x="12911" y="1955"/>
                    <a:pt x="12908" y="1967"/>
                  </a:cubicBezTo>
                  <a:cubicBezTo>
                    <a:pt x="12905" y="1979"/>
                    <a:pt x="12917" y="1982"/>
                    <a:pt x="12917" y="1982"/>
                  </a:cubicBezTo>
                  <a:cubicBezTo>
                    <a:pt x="12924" y="1978"/>
                    <a:pt x="12924" y="1978"/>
                    <a:pt x="12924" y="1978"/>
                  </a:cubicBezTo>
                  <a:cubicBezTo>
                    <a:pt x="12924" y="1978"/>
                    <a:pt x="12932" y="1997"/>
                    <a:pt x="12928" y="1997"/>
                  </a:cubicBezTo>
                  <a:cubicBezTo>
                    <a:pt x="12924" y="1997"/>
                    <a:pt x="12919" y="1990"/>
                    <a:pt x="12919" y="1990"/>
                  </a:cubicBezTo>
                  <a:cubicBezTo>
                    <a:pt x="12910" y="1999"/>
                    <a:pt x="12910" y="1999"/>
                    <a:pt x="12910" y="1999"/>
                  </a:cubicBezTo>
                  <a:cubicBezTo>
                    <a:pt x="12897" y="1978"/>
                    <a:pt x="12897" y="1978"/>
                    <a:pt x="12897" y="1978"/>
                  </a:cubicBezTo>
                  <a:cubicBezTo>
                    <a:pt x="12885" y="1978"/>
                    <a:pt x="12885" y="1978"/>
                    <a:pt x="12885" y="1978"/>
                  </a:cubicBezTo>
                  <a:cubicBezTo>
                    <a:pt x="12899" y="2002"/>
                    <a:pt x="12899" y="2002"/>
                    <a:pt x="12899" y="2002"/>
                  </a:cubicBezTo>
                  <a:cubicBezTo>
                    <a:pt x="12887" y="2005"/>
                    <a:pt x="12887" y="2005"/>
                    <a:pt x="12887" y="2005"/>
                  </a:cubicBezTo>
                  <a:cubicBezTo>
                    <a:pt x="12906" y="2037"/>
                    <a:pt x="12906" y="2037"/>
                    <a:pt x="12906" y="2037"/>
                  </a:cubicBezTo>
                  <a:cubicBezTo>
                    <a:pt x="12899" y="2045"/>
                    <a:pt x="12899" y="2045"/>
                    <a:pt x="12899" y="2045"/>
                  </a:cubicBezTo>
                  <a:cubicBezTo>
                    <a:pt x="12899" y="2045"/>
                    <a:pt x="12935" y="2063"/>
                    <a:pt x="12933" y="2078"/>
                  </a:cubicBezTo>
                  <a:cubicBezTo>
                    <a:pt x="12931" y="2093"/>
                    <a:pt x="12925" y="2114"/>
                    <a:pt x="12925" y="2114"/>
                  </a:cubicBezTo>
                  <a:cubicBezTo>
                    <a:pt x="12923" y="2132"/>
                    <a:pt x="12923" y="2132"/>
                    <a:pt x="12923" y="2132"/>
                  </a:cubicBezTo>
                  <a:cubicBezTo>
                    <a:pt x="12923" y="2132"/>
                    <a:pt x="12944" y="2145"/>
                    <a:pt x="12934" y="2152"/>
                  </a:cubicBezTo>
                  <a:cubicBezTo>
                    <a:pt x="12924" y="2159"/>
                    <a:pt x="12916" y="2155"/>
                    <a:pt x="12916" y="2155"/>
                  </a:cubicBezTo>
                  <a:cubicBezTo>
                    <a:pt x="12916" y="2155"/>
                    <a:pt x="12923" y="2185"/>
                    <a:pt x="12912" y="2191"/>
                  </a:cubicBezTo>
                  <a:cubicBezTo>
                    <a:pt x="12901" y="2197"/>
                    <a:pt x="12878" y="2205"/>
                    <a:pt x="12878" y="2205"/>
                  </a:cubicBezTo>
                  <a:cubicBezTo>
                    <a:pt x="12878" y="2214"/>
                    <a:pt x="12878" y="2214"/>
                    <a:pt x="12878" y="2214"/>
                  </a:cubicBezTo>
                  <a:cubicBezTo>
                    <a:pt x="12878" y="2214"/>
                    <a:pt x="12867" y="2218"/>
                    <a:pt x="12858" y="2208"/>
                  </a:cubicBezTo>
                  <a:cubicBezTo>
                    <a:pt x="12849" y="2198"/>
                    <a:pt x="12852" y="2189"/>
                    <a:pt x="12852" y="2189"/>
                  </a:cubicBezTo>
                  <a:cubicBezTo>
                    <a:pt x="12855" y="2176"/>
                    <a:pt x="12855" y="2176"/>
                    <a:pt x="12855" y="2176"/>
                  </a:cubicBezTo>
                  <a:cubicBezTo>
                    <a:pt x="12855" y="2176"/>
                    <a:pt x="12829" y="2181"/>
                    <a:pt x="12833" y="2191"/>
                  </a:cubicBezTo>
                  <a:cubicBezTo>
                    <a:pt x="12837" y="2201"/>
                    <a:pt x="12850" y="2215"/>
                    <a:pt x="12848" y="2222"/>
                  </a:cubicBezTo>
                  <a:cubicBezTo>
                    <a:pt x="12846" y="2229"/>
                    <a:pt x="12832" y="2245"/>
                    <a:pt x="12836" y="2255"/>
                  </a:cubicBezTo>
                  <a:cubicBezTo>
                    <a:pt x="12840" y="2265"/>
                    <a:pt x="12853" y="2280"/>
                    <a:pt x="12843" y="2281"/>
                  </a:cubicBezTo>
                  <a:cubicBezTo>
                    <a:pt x="12833" y="2282"/>
                    <a:pt x="12807" y="2270"/>
                    <a:pt x="12798" y="2271"/>
                  </a:cubicBezTo>
                  <a:cubicBezTo>
                    <a:pt x="12789" y="2272"/>
                    <a:pt x="12750" y="2287"/>
                    <a:pt x="12747" y="2287"/>
                  </a:cubicBezTo>
                  <a:cubicBezTo>
                    <a:pt x="12744" y="2287"/>
                    <a:pt x="12728" y="2287"/>
                    <a:pt x="12728" y="2287"/>
                  </a:cubicBezTo>
                  <a:cubicBezTo>
                    <a:pt x="12720" y="2279"/>
                    <a:pt x="12720" y="2279"/>
                    <a:pt x="12720" y="2279"/>
                  </a:cubicBezTo>
                  <a:cubicBezTo>
                    <a:pt x="12698" y="2296"/>
                    <a:pt x="12698" y="2296"/>
                    <a:pt x="12698" y="2296"/>
                  </a:cubicBezTo>
                  <a:cubicBezTo>
                    <a:pt x="12698" y="2296"/>
                    <a:pt x="12671" y="2341"/>
                    <a:pt x="12667" y="2341"/>
                  </a:cubicBezTo>
                  <a:cubicBezTo>
                    <a:pt x="12663" y="2341"/>
                    <a:pt x="12648" y="2342"/>
                    <a:pt x="12648" y="2342"/>
                  </a:cubicBezTo>
                  <a:cubicBezTo>
                    <a:pt x="12648" y="2342"/>
                    <a:pt x="12653" y="2366"/>
                    <a:pt x="12660" y="2366"/>
                  </a:cubicBezTo>
                  <a:cubicBezTo>
                    <a:pt x="12667" y="2366"/>
                    <a:pt x="12679" y="2362"/>
                    <a:pt x="12679" y="2362"/>
                  </a:cubicBezTo>
                  <a:cubicBezTo>
                    <a:pt x="12679" y="2362"/>
                    <a:pt x="12698" y="2373"/>
                    <a:pt x="12703" y="2371"/>
                  </a:cubicBezTo>
                  <a:cubicBezTo>
                    <a:pt x="12708" y="2369"/>
                    <a:pt x="12710" y="2348"/>
                    <a:pt x="12710" y="2348"/>
                  </a:cubicBezTo>
                  <a:cubicBezTo>
                    <a:pt x="12725" y="2356"/>
                    <a:pt x="12725" y="2356"/>
                    <a:pt x="12725" y="2356"/>
                  </a:cubicBezTo>
                  <a:cubicBezTo>
                    <a:pt x="12725" y="2356"/>
                    <a:pt x="12759" y="2339"/>
                    <a:pt x="12764" y="2336"/>
                  </a:cubicBezTo>
                  <a:cubicBezTo>
                    <a:pt x="12769" y="2333"/>
                    <a:pt x="12782" y="2342"/>
                    <a:pt x="12790" y="2341"/>
                  </a:cubicBezTo>
                  <a:cubicBezTo>
                    <a:pt x="12798" y="2340"/>
                    <a:pt x="12783" y="2325"/>
                    <a:pt x="12800" y="2325"/>
                  </a:cubicBezTo>
                  <a:cubicBezTo>
                    <a:pt x="12817" y="2325"/>
                    <a:pt x="12821" y="2334"/>
                    <a:pt x="12821" y="2334"/>
                  </a:cubicBezTo>
                  <a:cubicBezTo>
                    <a:pt x="12821" y="2334"/>
                    <a:pt x="12841" y="2321"/>
                    <a:pt x="12845" y="2329"/>
                  </a:cubicBezTo>
                  <a:cubicBezTo>
                    <a:pt x="12849" y="2337"/>
                    <a:pt x="12836" y="2356"/>
                    <a:pt x="12836" y="2356"/>
                  </a:cubicBezTo>
                  <a:cubicBezTo>
                    <a:pt x="12836" y="2356"/>
                    <a:pt x="12856" y="2395"/>
                    <a:pt x="12876" y="2395"/>
                  </a:cubicBezTo>
                  <a:cubicBezTo>
                    <a:pt x="12896" y="2395"/>
                    <a:pt x="12894" y="2357"/>
                    <a:pt x="12894" y="2357"/>
                  </a:cubicBezTo>
                  <a:cubicBezTo>
                    <a:pt x="12916" y="2353"/>
                    <a:pt x="12916" y="2353"/>
                    <a:pt x="12916" y="2353"/>
                  </a:cubicBezTo>
                  <a:cubicBezTo>
                    <a:pt x="12916" y="2353"/>
                    <a:pt x="12899" y="2333"/>
                    <a:pt x="12896" y="2332"/>
                  </a:cubicBezTo>
                  <a:cubicBezTo>
                    <a:pt x="12893" y="2331"/>
                    <a:pt x="12884" y="2324"/>
                    <a:pt x="12884" y="2324"/>
                  </a:cubicBezTo>
                  <a:cubicBezTo>
                    <a:pt x="12895" y="2309"/>
                    <a:pt x="12895" y="2309"/>
                    <a:pt x="12895" y="2309"/>
                  </a:cubicBezTo>
                  <a:cubicBezTo>
                    <a:pt x="12904" y="2308"/>
                    <a:pt x="12898" y="2322"/>
                    <a:pt x="12908" y="2322"/>
                  </a:cubicBezTo>
                  <a:cubicBezTo>
                    <a:pt x="12918" y="2322"/>
                    <a:pt x="12921" y="2335"/>
                    <a:pt x="12921" y="2335"/>
                  </a:cubicBezTo>
                  <a:cubicBezTo>
                    <a:pt x="12933" y="2326"/>
                    <a:pt x="12933" y="2326"/>
                    <a:pt x="12933" y="2326"/>
                  </a:cubicBezTo>
                  <a:cubicBezTo>
                    <a:pt x="12933" y="2326"/>
                    <a:pt x="12948" y="2334"/>
                    <a:pt x="12963" y="2330"/>
                  </a:cubicBezTo>
                  <a:cubicBezTo>
                    <a:pt x="12978" y="2326"/>
                    <a:pt x="12960" y="2305"/>
                    <a:pt x="12977" y="2307"/>
                  </a:cubicBezTo>
                  <a:cubicBezTo>
                    <a:pt x="12994" y="2309"/>
                    <a:pt x="12985" y="2337"/>
                    <a:pt x="12996" y="2331"/>
                  </a:cubicBezTo>
                  <a:cubicBezTo>
                    <a:pt x="13007" y="2325"/>
                    <a:pt x="12989" y="2302"/>
                    <a:pt x="12997" y="2297"/>
                  </a:cubicBezTo>
                  <a:cubicBezTo>
                    <a:pt x="13005" y="2292"/>
                    <a:pt x="13010" y="2294"/>
                    <a:pt x="13010" y="2294"/>
                  </a:cubicBezTo>
                  <a:cubicBezTo>
                    <a:pt x="13010" y="2294"/>
                    <a:pt x="13012" y="2263"/>
                    <a:pt x="13024" y="2275"/>
                  </a:cubicBezTo>
                  <a:cubicBezTo>
                    <a:pt x="13036" y="2287"/>
                    <a:pt x="13017" y="2312"/>
                    <a:pt x="13037" y="2311"/>
                  </a:cubicBezTo>
                  <a:cubicBezTo>
                    <a:pt x="13057" y="2310"/>
                    <a:pt x="13047" y="2279"/>
                    <a:pt x="13047" y="2279"/>
                  </a:cubicBezTo>
                  <a:cubicBezTo>
                    <a:pt x="13060" y="2272"/>
                    <a:pt x="13060" y="2272"/>
                    <a:pt x="13060" y="2272"/>
                  </a:cubicBezTo>
                  <a:cubicBezTo>
                    <a:pt x="13060" y="2272"/>
                    <a:pt x="13028" y="2254"/>
                    <a:pt x="13029" y="2240"/>
                  </a:cubicBezTo>
                  <a:close/>
                  <a:moveTo>
                    <a:pt x="13208" y="1561"/>
                  </a:moveTo>
                  <a:cubicBezTo>
                    <a:pt x="13219" y="1547"/>
                    <a:pt x="13219" y="1547"/>
                    <a:pt x="13219" y="1547"/>
                  </a:cubicBezTo>
                  <a:cubicBezTo>
                    <a:pt x="13202" y="1533"/>
                    <a:pt x="13202" y="1533"/>
                    <a:pt x="13202" y="1533"/>
                  </a:cubicBezTo>
                  <a:lnTo>
                    <a:pt x="13208" y="1561"/>
                  </a:lnTo>
                  <a:close/>
                  <a:moveTo>
                    <a:pt x="13141" y="1745"/>
                  </a:moveTo>
                  <a:cubicBezTo>
                    <a:pt x="13152" y="1749"/>
                    <a:pt x="13162" y="1723"/>
                    <a:pt x="13152" y="1720"/>
                  </a:cubicBezTo>
                  <a:cubicBezTo>
                    <a:pt x="13143" y="1718"/>
                    <a:pt x="13133" y="1742"/>
                    <a:pt x="13141" y="1745"/>
                  </a:cubicBezTo>
                  <a:close/>
                  <a:moveTo>
                    <a:pt x="11702" y="332"/>
                  </a:moveTo>
                  <a:cubicBezTo>
                    <a:pt x="11730" y="318"/>
                    <a:pt x="11634" y="318"/>
                    <a:pt x="11634" y="318"/>
                  </a:cubicBezTo>
                  <a:cubicBezTo>
                    <a:pt x="11634" y="318"/>
                    <a:pt x="11614" y="300"/>
                    <a:pt x="11606" y="300"/>
                  </a:cubicBezTo>
                  <a:cubicBezTo>
                    <a:pt x="11598" y="300"/>
                    <a:pt x="11574" y="304"/>
                    <a:pt x="11574" y="304"/>
                  </a:cubicBezTo>
                  <a:cubicBezTo>
                    <a:pt x="11550" y="302"/>
                    <a:pt x="11550" y="302"/>
                    <a:pt x="11550" y="302"/>
                  </a:cubicBezTo>
                  <a:cubicBezTo>
                    <a:pt x="11574" y="318"/>
                    <a:pt x="11574" y="318"/>
                    <a:pt x="11574" y="318"/>
                  </a:cubicBezTo>
                  <a:cubicBezTo>
                    <a:pt x="11574" y="318"/>
                    <a:pt x="11674" y="346"/>
                    <a:pt x="11702" y="332"/>
                  </a:cubicBezTo>
                  <a:close/>
                  <a:moveTo>
                    <a:pt x="7946" y="2117"/>
                  </a:moveTo>
                  <a:cubicBezTo>
                    <a:pt x="7942" y="2113"/>
                    <a:pt x="7940" y="2135"/>
                    <a:pt x="7946" y="2145"/>
                  </a:cubicBezTo>
                  <a:cubicBezTo>
                    <a:pt x="7951" y="2154"/>
                    <a:pt x="7958" y="2136"/>
                    <a:pt x="7960" y="2132"/>
                  </a:cubicBezTo>
                  <a:cubicBezTo>
                    <a:pt x="7962" y="2128"/>
                    <a:pt x="7950" y="2121"/>
                    <a:pt x="7946" y="2117"/>
                  </a:cubicBezTo>
                  <a:close/>
                  <a:moveTo>
                    <a:pt x="11994" y="3265"/>
                  </a:moveTo>
                  <a:cubicBezTo>
                    <a:pt x="11987" y="3273"/>
                    <a:pt x="12006" y="3283"/>
                    <a:pt x="12006" y="3283"/>
                  </a:cubicBezTo>
                  <a:cubicBezTo>
                    <a:pt x="12017" y="3278"/>
                    <a:pt x="12017" y="3278"/>
                    <a:pt x="12017" y="3278"/>
                  </a:cubicBezTo>
                  <a:cubicBezTo>
                    <a:pt x="12017" y="3278"/>
                    <a:pt x="12000" y="3257"/>
                    <a:pt x="11994" y="3265"/>
                  </a:cubicBezTo>
                  <a:close/>
                  <a:moveTo>
                    <a:pt x="11464" y="390"/>
                  </a:moveTo>
                  <a:cubicBezTo>
                    <a:pt x="11512" y="384"/>
                    <a:pt x="11512" y="384"/>
                    <a:pt x="11512" y="384"/>
                  </a:cubicBezTo>
                  <a:cubicBezTo>
                    <a:pt x="11584" y="394"/>
                    <a:pt x="11584" y="394"/>
                    <a:pt x="11584" y="394"/>
                  </a:cubicBezTo>
                  <a:cubicBezTo>
                    <a:pt x="11584" y="394"/>
                    <a:pt x="11562" y="370"/>
                    <a:pt x="11546" y="366"/>
                  </a:cubicBezTo>
                  <a:cubicBezTo>
                    <a:pt x="11530" y="362"/>
                    <a:pt x="11474" y="370"/>
                    <a:pt x="11474" y="370"/>
                  </a:cubicBezTo>
                  <a:lnTo>
                    <a:pt x="11464" y="390"/>
                  </a:lnTo>
                  <a:close/>
                  <a:moveTo>
                    <a:pt x="13118" y="1086"/>
                  </a:moveTo>
                  <a:cubicBezTo>
                    <a:pt x="13138" y="1062"/>
                    <a:pt x="13138" y="1062"/>
                    <a:pt x="13138" y="1062"/>
                  </a:cubicBezTo>
                  <a:cubicBezTo>
                    <a:pt x="13130" y="1048"/>
                    <a:pt x="13130" y="1048"/>
                    <a:pt x="13130" y="1048"/>
                  </a:cubicBezTo>
                  <a:cubicBezTo>
                    <a:pt x="13106" y="1062"/>
                    <a:pt x="13106" y="1062"/>
                    <a:pt x="13106" y="1062"/>
                  </a:cubicBezTo>
                  <a:lnTo>
                    <a:pt x="13118" y="1086"/>
                  </a:lnTo>
                  <a:close/>
                  <a:moveTo>
                    <a:pt x="12936" y="502"/>
                  </a:moveTo>
                  <a:cubicBezTo>
                    <a:pt x="12948" y="498"/>
                    <a:pt x="12966" y="496"/>
                    <a:pt x="12992" y="496"/>
                  </a:cubicBezTo>
                  <a:cubicBezTo>
                    <a:pt x="13018" y="496"/>
                    <a:pt x="13022" y="480"/>
                    <a:pt x="13004" y="478"/>
                  </a:cubicBezTo>
                  <a:cubicBezTo>
                    <a:pt x="12986" y="476"/>
                    <a:pt x="12954" y="464"/>
                    <a:pt x="12942" y="464"/>
                  </a:cubicBezTo>
                  <a:cubicBezTo>
                    <a:pt x="12930" y="464"/>
                    <a:pt x="12902" y="464"/>
                    <a:pt x="12902" y="486"/>
                  </a:cubicBezTo>
                  <a:cubicBezTo>
                    <a:pt x="12902" y="510"/>
                    <a:pt x="12924" y="506"/>
                    <a:pt x="12936" y="502"/>
                  </a:cubicBezTo>
                  <a:close/>
                  <a:moveTo>
                    <a:pt x="13197" y="1517"/>
                  </a:moveTo>
                  <a:cubicBezTo>
                    <a:pt x="13213" y="1515"/>
                    <a:pt x="13213" y="1515"/>
                    <a:pt x="13213" y="1515"/>
                  </a:cubicBezTo>
                  <a:cubicBezTo>
                    <a:pt x="13222" y="1504"/>
                    <a:pt x="13222" y="1504"/>
                    <a:pt x="13222" y="1504"/>
                  </a:cubicBezTo>
                  <a:cubicBezTo>
                    <a:pt x="13213" y="1485"/>
                    <a:pt x="13213" y="1485"/>
                    <a:pt x="13213" y="1485"/>
                  </a:cubicBezTo>
                  <a:cubicBezTo>
                    <a:pt x="13223" y="1483"/>
                    <a:pt x="13223" y="1483"/>
                    <a:pt x="13223" y="1483"/>
                  </a:cubicBezTo>
                  <a:cubicBezTo>
                    <a:pt x="13213" y="1471"/>
                    <a:pt x="13213" y="1471"/>
                    <a:pt x="13213" y="1471"/>
                  </a:cubicBezTo>
                  <a:cubicBezTo>
                    <a:pt x="13201" y="1482"/>
                    <a:pt x="13201" y="1482"/>
                    <a:pt x="13201" y="1482"/>
                  </a:cubicBezTo>
                  <a:cubicBezTo>
                    <a:pt x="13209" y="1497"/>
                    <a:pt x="13209" y="1497"/>
                    <a:pt x="13209" y="1497"/>
                  </a:cubicBezTo>
                  <a:cubicBezTo>
                    <a:pt x="13197" y="1497"/>
                    <a:pt x="13197" y="1497"/>
                    <a:pt x="13197" y="1497"/>
                  </a:cubicBezTo>
                  <a:lnTo>
                    <a:pt x="13197" y="1517"/>
                  </a:lnTo>
                  <a:close/>
                  <a:moveTo>
                    <a:pt x="12365" y="2831"/>
                  </a:moveTo>
                  <a:cubicBezTo>
                    <a:pt x="12348" y="2851"/>
                    <a:pt x="12348" y="2851"/>
                    <a:pt x="12348" y="2851"/>
                  </a:cubicBezTo>
                  <a:cubicBezTo>
                    <a:pt x="12348" y="2851"/>
                    <a:pt x="12309" y="2933"/>
                    <a:pt x="12317" y="2945"/>
                  </a:cubicBezTo>
                  <a:cubicBezTo>
                    <a:pt x="12325" y="2957"/>
                    <a:pt x="12343" y="2978"/>
                    <a:pt x="12343" y="2978"/>
                  </a:cubicBezTo>
                  <a:cubicBezTo>
                    <a:pt x="12343" y="2978"/>
                    <a:pt x="12356" y="3012"/>
                    <a:pt x="12371" y="3012"/>
                  </a:cubicBezTo>
                  <a:cubicBezTo>
                    <a:pt x="12371" y="2979"/>
                    <a:pt x="12371" y="2979"/>
                    <a:pt x="12371" y="2979"/>
                  </a:cubicBezTo>
                  <a:cubicBezTo>
                    <a:pt x="12371" y="2979"/>
                    <a:pt x="12384" y="2970"/>
                    <a:pt x="12384" y="2949"/>
                  </a:cubicBezTo>
                  <a:cubicBezTo>
                    <a:pt x="12384" y="2928"/>
                    <a:pt x="12384" y="2899"/>
                    <a:pt x="12384" y="2899"/>
                  </a:cubicBezTo>
                  <a:cubicBezTo>
                    <a:pt x="12384" y="2899"/>
                    <a:pt x="12394" y="2886"/>
                    <a:pt x="12393" y="2874"/>
                  </a:cubicBezTo>
                  <a:cubicBezTo>
                    <a:pt x="12392" y="2862"/>
                    <a:pt x="12394" y="2848"/>
                    <a:pt x="12394" y="2848"/>
                  </a:cubicBezTo>
                  <a:lnTo>
                    <a:pt x="12365" y="2831"/>
                  </a:lnTo>
                  <a:close/>
                  <a:moveTo>
                    <a:pt x="12652" y="2434"/>
                  </a:moveTo>
                  <a:cubicBezTo>
                    <a:pt x="12641" y="2459"/>
                    <a:pt x="12641" y="2459"/>
                    <a:pt x="12641" y="2459"/>
                  </a:cubicBezTo>
                  <a:cubicBezTo>
                    <a:pt x="12653" y="2456"/>
                    <a:pt x="12653" y="2456"/>
                    <a:pt x="12653" y="2456"/>
                  </a:cubicBezTo>
                  <a:lnTo>
                    <a:pt x="12652" y="2434"/>
                  </a:lnTo>
                  <a:close/>
                  <a:moveTo>
                    <a:pt x="12783" y="2395"/>
                  </a:moveTo>
                  <a:cubicBezTo>
                    <a:pt x="12798" y="2385"/>
                    <a:pt x="12820" y="2413"/>
                    <a:pt x="12820" y="2413"/>
                  </a:cubicBezTo>
                  <a:cubicBezTo>
                    <a:pt x="12820" y="2413"/>
                    <a:pt x="12825" y="2391"/>
                    <a:pt x="12827" y="2379"/>
                  </a:cubicBezTo>
                  <a:cubicBezTo>
                    <a:pt x="12829" y="2367"/>
                    <a:pt x="12820" y="2356"/>
                    <a:pt x="12820" y="2356"/>
                  </a:cubicBezTo>
                  <a:cubicBezTo>
                    <a:pt x="12807" y="2359"/>
                    <a:pt x="12807" y="2359"/>
                    <a:pt x="12807" y="2359"/>
                  </a:cubicBezTo>
                  <a:cubicBezTo>
                    <a:pt x="12807" y="2359"/>
                    <a:pt x="12790" y="2346"/>
                    <a:pt x="12781" y="2347"/>
                  </a:cubicBezTo>
                  <a:cubicBezTo>
                    <a:pt x="12761" y="2349"/>
                    <a:pt x="12768" y="2369"/>
                    <a:pt x="12768" y="2369"/>
                  </a:cubicBezTo>
                  <a:cubicBezTo>
                    <a:pt x="12768" y="2369"/>
                    <a:pt x="12751" y="2363"/>
                    <a:pt x="12741" y="2365"/>
                  </a:cubicBezTo>
                  <a:cubicBezTo>
                    <a:pt x="12731" y="2367"/>
                    <a:pt x="12738" y="2389"/>
                    <a:pt x="12738" y="2389"/>
                  </a:cubicBezTo>
                  <a:cubicBezTo>
                    <a:pt x="12726" y="2400"/>
                    <a:pt x="12726" y="2400"/>
                    <a:pt x="12726" y="2400"/>
                  </a:cubicBezTo>
                  <a:cubicBezTo>
                    <a:pt x="12726" y="2400"/>
                    <a:pt x="12739" y="2408"/>
                    <a:pt x="12745" y="2415"/>
                  </a:cubicBezTo>
                  <a:cubicBezTo>
                    <a:pt x="12751" y="2422"/>
                    <a:pt x="12774" y="2436"/>
                    <a:pt x="12774" y="2436"/>
                  </a:cubicBezTo>
                  <a:cubicBezTo>
                    <a:pt x="12774" y="2436"/>
                    <a:pt x="12768" y="2405"/>
                    <a:pt x="12783" y="2395"/>
                  </a:cubicBezTo>
                  <a:close/>
                  <a:moveTo>
                    <a:pt x="12683" y="2697"/>
                  </a:moveTo>
                  <a:cubicBezTo>
                    <a:pt x="12673" y="2693"/>
                    <a:pt x="12674" y="2702"/>
                    <a:pt x="12674" y="2702"/>
                  </a:cubicBezTo>
                  <a:cubicBezTo>
                    <a:pt x="12689" y="2709"/>
                    <a:pt x="12694" y="2701"/>
                    <a:pt x="12683" y="2697"/>
                  </a:cubicBezTo>
                  <a:close/>
                  <a:moveTo>
                    <a:pt x="12694" y="2675"/>
                  </a:moveTo>
                  <a:cubicBezTo>
                    <a:pt x="12694" y="2675"/>
                    <a:pt x="12709" y="2674"/>
                    <a:pt x="12702" y="2663"/>
                  </a:cubicBezTo>
                  <a:cubicBezTo>
                    <a:pt x="12695" y="2653"/>
                    <a:pt x="12674" y="2665"/>
                    <a:pt x="12677" y="2674"/>
                  </a:cubicBezTo>
                  <a:cubicBezTo>
                    <a:pt x="12679" y="2683"/>
                    <a:pt x="12683" y="2683"/>
                    <a:pt x="12683" y="2683"/>
                  </a:cubicBezTo>
                  <a:cubicBezTo>
                    <a:pt x="12693" y="2685"/>
                    <a:pt x="12694" y="2675"/>
                    <a:pt x="12694" y="2675"/>
                  </a:cubicBezTo>
                  <a:close/>
                  <a:moveTo>
                    <a:pt x="8814" y="1489"/>
                  </a:moveTo>
                  <a:cubicBezTo>
                    <a:pt x="8814" y="1489"/>
                    <a:pt x="8814" y="1489"/>
                    <a:pt x="8814" y="1489"/>
                  </a:cubicBezTo>
                  <a:cubicBezTo>
                    <a:pt x="8814" y="1489"/>
                    <a:pt x="8814" y="1488"/>
                    <a:pt x="8814" y="1488"/>
                  </a:cubicBezTo>
                  <a:cubicBezTo>
                    <a:pt x="8814" y="1489"/>
                    <a:pt x="8814" y="1489"/>
                    <a:pt x="8814" y="1489"/>
                  </a:cubicBezTo>
                  <a:close/>
                  <a:moveTo>
                    <a:pt x="12699" y="2551"/>
                  </a:moveTo>
                  <a:cubicBezTo>
                    <a:pt x="12699" y="2555"/>
                    <a:pt x="12686" y="2561"/>
                    <a:pt x="12686" y="2561"/>
                  </a:cubicBezTo>
                  <a:cubicBezTo>
                    <a:pt x="12703" y="2570"/>
                    <a:pt x="12703" y="2570"/>
                    <a:pt x="12703" y="2570"/>
                  </a:cubicBezTo>
                  <a:cubicBezTo>
                    <a:pt x="12703" y="2570"/>
                    <a:pt x="12699" y="2547"/>
                    <a:pt x="12699" y="2551"/>
                  </a:cubicBezTo>
                  <a:close/>
                  <a:moveTo>
                    <a:pt x="12721" y="2533"/>
                  </a:moveTo>
                  <a:cubicBezTo>
                    <a:pt x="12721" y="2537"/>
                    <a:pt x="12717" y="2546"/>
                    <a:pt x="12717" y="2546"/>
                  </a:cubicBezTo>
                  <a:cubicBezTo>
                    <a:pt x="12726" y="2566"/>
                    <a:pt x="12726" y="2566"/>
                    <a:pt x="12726" y="2566"/>
                  </a:cubicBezTo>
                  <a:cubicBezTo>
                    <a:pt x="12727" y="2555"/>
                    <a:pt x="12727" y="2555"/>
                    <a:pt x="12727" y="2555"/>
                  </a:cubicBezTo>
                  <a:cubicBezTo>
                    <a:pt x="12727" y="2555"/>
                    <a:pt x="12721" y="2529"/>
                    <a:pt x="12721" y="2533"/>
                  </a:cubicBezTo>
                  <a:close/>
                  <a:moveTo>
                    <a:pt x="10617" y="3750"/>
                  </a:moveTo>
                  <a:cubicBezTo>
                    <a:pt x="10600" y="3754"/>
                    <a:pt x="10600" y="3754"/>
                    <a:pt x="10600" y="3754"/>
                  </a:cubicBezTo>
                  <a:cubicBezTo>
                    <a:pt x="10604" y="3733"/>
                    <a:pt x="10604" y="3733"/>
                    <a:pt x="10604" y="3733"/>
                  </a:cubicBezTo>
                  <a:cubicBezTo>
                    <a:pt x="10604" y="3733"/>
                    <a:pt x="10591" y="3718"/>
                    <a:pt x="10575" y="3697"/>
                  </a:cubicBezTo>
                  <a:cubicBezTo>
                    <a:pt x="10559" y="3675"/>
                    <a:pt x="10548" y="3668"/>
                    <a:pt x="10532" y="3677"/>
                  </a:cubicBezTo>
                  <a:cubicBezTo>
                    <a:pt x="10531" y="3700"/>
                    <a:pt x="10531" y="3700"/>
                    <a:pt x="10531" y="3700"/>
                  </a:cubicBezTo>
                  <a:cubicBezTo>
                    <a:pt x="10518" y="3700"/>
                    <a:pt x="10518" y="3700"/>
                    <a:pt x="10518" y="3700"/>
                  </a:cubicBezTo>
                  <a:cubicBezTo>
                    <a:pt x="10538" y="3727"/>
                    <a:pt x="10538" y="3727"/>
                    <a:pt x="10538" y="3727"/>
                  </a:cubicBezTo>
                  <a:cubicBezTo>
                    <a:pt x="10538" y="3727"/>
                    <a:pt x="10534" y="3759"/>
                    <a:pt x="10523" y="3767"/>
                  </a:cubicBezTo>
                  <a:cubicBezTo>
                    <a:pt x="10513" y="3774"/>
                    <a:pt x="10514" y="3828"/>
                    <a:pt x="10532" y="3862"/>
                  </a:cubicBezTo>
                  <a:cubicBezTo>
                    <a:pt x="10550" y="3896"/>
                    <a:pt x="10588" y="3872"/>
                    <a:pt x="10618" y="3858"/>
                  </a:cubicBezTo>
                  <a:cubicBezTo>
                    <a:pt x="10649" y="3844"/>
                    <a:pt x="10618" y="3788"/>
                    <a:pt x="10618" y="3788"/>
                  </a:cubicBezTo>
                  <a:lnTo>
                    <a:pt x="10617" y="3750"/>
                  </a:lnTo>
                  <a:close/>
                  <a:moveTo>
                    <a:pt x="11119" y="3612"/>
                  </a:moveTo>
                  <a:cubicBezTo>
                    <a:pt x="11104" y="3612"/>
                    <a:pt x="11120" y="3644"/>
                    <a:pt x="11120" y="3644"/>
                  </a:cubicBezTo>
                  <a:cubicBezTo>
                    <a:pt x="11120" y="3644"/>
                    <a:pt x="11133" y="3612"/>
                    <a:pt x="11119" y="3612"/>
                  </a:cubicBezTo>
                  <a:close/>
                  <a:moveTo>
                    <a:pt x="12017" y="3299"/>
                  </a:moveTo>
                  <a:cubicBezTo>
                    <a:pt x="12027" y="3305"/>
                    <a:pt x="12035" y="3294"/>
                    <a:pt x="12030" y="3289"/>
                  </a:cubicBezTo>
                  <a:cubicBezTo>
                    <a:pt x="12025" y="3283"/>
                    <a:pt x="12010" y="3295"/>
                    <a:pt x="12017" y="3299"/>
                  </a:cubicBezTo>
                  <a:close/>
                  <a:moveTo>
                    <a:pt x="11183" y="3798"/>
                  </a:moveTo>
                  <a:cubicBezTo>
                    <a:pt x="11175" y="3799"/>
                    <a:pt x="11179" y="3833"/>
                    <a:pt x="11194" y="3833"/>
                  </a:cubicBezTo>
                  <a:cubicBezTo>
                    <a:pt x="11194" y="3833"/>
                    <a:pt x="11191" y="3797"/>
                    <a:pt x="11183" y="3798"/>
                  </a:cubicBezTo>
                  <a:close/>
                  <a:moveTo>
                    <a:pt x="12264" y="1244"/>
                  </a:moveTo>
                  <a:cubicBezTo>
                    <a:pt x="12258" y="1252"/>
                    <a:pt x="12270" y="1280"/>
                    <a:pt x="12292" y="1282"/>
                  </a:cubicBezTo>
                  <a:cubicBezTo>
                    <a:pt x="12310" y="1284"/>
                    <a:pt x="12270" y="1236"/>
                    <a:pt x="12264" y="1244"/>
                  </a:cubicBezTo>
                  <a:close/>
                  <a:moveTo>
                    <a:pt x="11128" y="3451"/>
                  </a:moveTo>
                  <a:cubicBezTo>
                    <a:pt x="11108" y="3453"/>
                    <a:pt x="11112" y="3514"/>
                    <a:pt x="11112" y="3514"/>
                  </a:cubicBezTo>
                  <a:cubicBezTo>
                    <a:pt x="11115" y="3580"/>
                    <a:pt x="11115" y="3580"/>
                    <a:pt x="11115" y="3580"/>
                  </a:cubicBezTo>
                  <a:cubicBezTo>
                    <a:pt x="11126" y="3560"/>
                    <a:pt x="11126" y="3560"/>
                    <a:pt x="11126" y="3560"/>
                  </a:cubicBezTo>
                  <a:cubicBezTo>
                    <a:pt x="11126" y="3492"/>
                    <a:pt x="11126" y="3492"/>
                    <a:pt x="11126" y="3492"/>
                  </a:cubicBezTo>
                  <a:cubicBezTo>
                    <a:pt x="11126" y="3492"/>
                    <a:pt x="11144" y="3449"/>
                    <a:pt x="11128" y="3451"/>
                  </a:cubicBezTo>
                  <a:close/>
                  <a:moveTo>
                    <a:pt x="13079" y="1781"/>
                  </a:moveTo>
                  <a:cubicBezTo>
                    <a:pt x="13112" y="1763"/>
                    <a:pt x="13112" y="1763"/>
                    <a:pt x="13112" y="1763"/>
                  </a:cubicBezTo>
                  <a:cubicBezTo>
                    <a:pt x="13103" y="1747"/>
                    <a:pt x="13103" y="1747"/>
                    <a:pt x="13103" y="1747"/>
                  </a:cubicBezTo>
                  <a:cubicBezTo>
                    <a:pt x="13100" y="1760"/>
                    <a:pt x="13100" y="1760"/>
                    <a:pt x="13100" y="1760"/>
                  </a:cubicBezTo>
                  <a:cubicBezTo>
                    <a:pt x="13073" y="1756"/>
                    <a:pt x="13073" y="1756"/>
                    <a:pt x="13073" y="1756"/>
                  </a:cubicBezTo>
                  <a:cubicBezTo>
                    <a:pt x="13060" y="1803"/>
                    <a:pt x="13060" y="1803"/>
                    <a:pt x="13060" y="1803"/>
                  </a:cubicBezTo>
                  <a:cubicBezTo>
                    <a:pt x="13067" y="1805"/>
                    <a:pt x="13067" y="1805"/>
                    <a:pt x="13067" y="1805"/>
                  </a:cubicBezTo>
                  <a:lnTo>
                    <a:pt x="13079" y="1781"/>
                  </a:lnTo>
                  <a:close/>
                  <a:moveTo>
                    <a:pt x="12541" y="1334"/>
                  </a:moveTo>
                  <a:cubicBezTo>
                    <a:pt x="12536" y="1336"/>
                    <a:pt x="12523" y="1321"/>
                    <a:pt x="12521" y="1336"/>
                  </a:cubicBezTo>
                  <a:cubicBezTo>
                    <a:pt x="12518" y="1352"/>
                    <a:pt x="12547" y="1381"/>
                    <a:pt x="12547" y="1381"/>
                  </a:cubicBezTo>
                  <a:cubicBezTo>
                    <a:pt x="12547" y="1381"/>
                    <a:pt x="12554" y="1399"/>
                    <a:pt x="12561" y="1406"/>
                  </a:cubicBezTo>
                  <a:cubicBezTo>
                    <a:pt x="12568" y="1413"/>
                    <a:pt x="12615" y="1443"/>
                    <a:pt x="12626" y="1457"/>
                  </a:cubicBezTo>
                  <a:cubicBezTo>
                    <a:pt x="12637" y="1471"/>
                    <a:pt x="12636" y="1493"/>
                    <a:pt x="12649" y="1504"/>
                  </a:cubicBezTo>
                  <a:cubicBezTo>
                    <a:pt x="12663" y="1515"/>
                    <a:pt x="12695" y="1571"/>
                    <a:pt x="12695" y="1571"/>
                  </a:cubicBezTo>
                  <a:cubicBezTo>
                    <a:pt x="12695" y="1571"/>
                    <a:pt x="12701" y="1594"/>
                    <a:pt x="12708" y="1594"/>
                  </a:cubicBezTo>
                  <a:cubicBezTo>
                    <a:pt x="12715" y="1594"/>
                    <a:pt x="12728" y="1604"/>
                    <a:pt x="12735" y="1614"/>
                  </a:cubicBezTo>
                  <a:cubicBezTo>
                    <a:pt x="12742" y="1623"/>
                    <a:pt x="12742" y="1643"/>
                    <a:pt x="12742" y="1643"/>
                  </a:cubicBezTo>
                  <a:cubicBezTo>
                    <a:pt x="12770" y="1666"/>
                    <a:pt x="12770" y="1666"/>
                    <a:pt x="12770" y="1666"/>
                  </a:cubicBezTo>
                  <a:cubicBezTo>
                    <a:pt x="12780" y="1702"/>
                    <a:pt x="12780" y="1702"/>
                    <a:pt x="12780" y="1702"/>
                  </a:cubicBezTo>
                  <a:cubicBezTo>
                    <a:pt x="12806" y="1730"/>
                    <a:pt x="12806" y="1730"/>
                    <a:pt x="12806" y="1730"/>
                  </a:cubicBezTo>
                  <a:cubicBezTo>
                    <a:pt x="12806" y="1730"/>
                    <a:pt x="12792" y="1691"/>
                    <a:pt x="12801" y="1688"/>
                  </a:cubicBezTo>
                  <a:cubicBezTo>
                    <a:pt x="12809" y="1686"/>
                    <a:pt x="12813" y="1695"/>
                    <a:pt x="12813" y="1695"/>
                  </a:cubicBezTo>
                  <a:cubicBezTo>
                    <a:pt x="12834" y="1695"/>
                    <a:pt x="12834" y="1695"/>
                    <a:pt x="12834" y="1695"/>
                  </a:cubicBezTo>
                  <a:cubicBezTo>
                    <a:pt x="12856" y="1722"/>
                    <a:pt x="12856" y="1722"/>
                    <a:pt x="12856" y="1722"/>
                  </a:cubicBezTo>
                  <a:cubicBezTo>
                    <a:pt x="12857" y="1705"/>
                    <a:pt x="12857" y="1705"/>
                    <a:pt x="12857" y="1705"/>
                  </a:cubicBezTo>
                  <a:cubicBezTo>
                    <a:pt x="12837" y="1680"/>
                    <a:pt x="12837" y="1680"/>
                    <a:pt x="12837" y="1680"/>
                  </a:cubicBezTo>
                  <a:cubicBezTo>
                    <a:pt x="12821" y="1681"/>
                    <a:pt x="12821" y="1681"/>
                    <a:pt x="12821" y="1681"/>
                  </a:cubicBezTo>
                  <a:cubicBezTo>
                    <a:pt x="12799" y="1658"/>
                    <a:pt x="12799" y="1658"/>
                    <a:pt x="12799" y="1658"/>
                  </a:cubicBezTo>
                  <a:cubicBezTo>
                    <a:pt x="12799" y="1658"/>
                    <a:pt x="12777" y="1652"/>
                    <a:pt x="12764" y="1634"/>
                  </a:cubicBezTo>
                  <a:cubicBezTo>
                    <a:pt x="12752" y="1616"/>
                    <a:pt x="12744" y="1575"/>
                    <a:pt x="12744" y="1575"/>
                  </a:cubicBezTo>
                  <a:cubicBezTo>
                    <a:pt x="12744" y="1575"/>
                    <a:pt x="12720" y="1561"/>
                    <a:pt x="12733" y="1554"/>
                  </a:cubicBezTo>
                  <a:cubicBezTo>
                    <a:pt x="12745" y="1547"/>
                    <a:pt x="12821" y="1585"/>
                    <a:pt x="12821" y="1585"/>
                  </a:cubicBezTo>
                  <a:cubicBezTo>
                    <a:pt x="12771" y="1548"/>
                    <a:pt x="12771" y="1548"/>
                    <a:pt x="12771" y="1548"/>
                  </a:cubicBezTo>
                  <a:cubicBezTo>
                    <a:pt x="12771" y="1548"/>
                    <a:pt x="12752" y="1518"/>
                    <a:pt x="12742" y="1511"/>
                  </a:cubicBezTo>
                  <a:cubicBezTo>
                    <a:pt x="12733" y="1504"/>
                    <a:pt x="12717" y="1494"/>
                    <a:pt x="12717" y="1494"/>
                  </a:cubicBezTo>
                  <a:cubicBezTo>
                    <a:pt x="12665" y="1438"/>
                    <a:pt x="12665" y="1438"/>
                    <a:pt x="12665" y="1438"/>
                  </a:cubicBezTo>
                  <a:cubicBezTo>
                    <a:pt x="12648" y="1439"/>
                    <a:pt x="12648" y="1439"/>
                    <a:pt x="12648" y="1439"/>
                  </a:cubicBezTo>
                  <a:cubicBezTo>
                    <a:pt x="12641" y="1420"/>
                    <a:pt x="12641" y="1420"/>
                    <a:pt x="12641" y="1420"/>
                  </a:cubicBezTo>
                  <a:cubicBezTo>
                    <a:pt x="12641" y="1420"/>
                    <a:pt x="12631" y="1422"/>
                    <a:pt x="12619" y="1410"/>
                  </a:cubicBezTo>
                  <a:cubicBezTo>
                    <a:pt x="12607" y="1397"/>
                    <a:pt x="12611" y="1381"/>
                    <a:pt x="12611" y="1381"/>
                  </a:cubicBezTo>
                  <a:cubicBezTo>
                    <a:pt x="12591" y="1356"/>
                    <a:pt x="12591" y="1356"/>
                    <a:pt x="12591" y="1356"/>
                  </a:cubicBezTo>
                  <a:cubicBezTo>
                    <a:pt x="12577" y="1357"/>
                    <a:pt x="12577" y="1357"/>
                    <a:pt x="12577" y="1357"/>
                  </a:cubicBezTo>
                  <a:cubicBezTo>
                    <a:pt x="12568" y="1338"/>
                    <a:pt x="12568" y="1338"/>
                    <a:pt x="12568" y="1338"/>
                  </a:cubicBezTo>
                  <a:cubicBezTo>
                    <a:pt x="12541" y="1318"/>
                    <a:pt x="12541" y="1318"/>
                    <a:pt x="12541" y="1318"/>
                  </a:cubicBezTo>
                  <a:cubicBezTo>
                    <a:pt x="12533" y="1302"/>
                    <a:pt x="12533" y="1302"/>
                    <a:pt x="12533" y="1302"/>
                  </a:cubicBezTo>
                  <a:cubicBezTo>
                    <a:pt x="12533" y="1302"/>
                    <a:pt x="12515" y="1289"/>
                    <a:pt x="12508" y="1294"/>
                  </a:cubicBezTo>
                  <a:cubicBezTo>
                    <a:pt x="12501" y="1298"/>
                    <a:pt x="12547" y="1331"/>
                    <a:pt x="12541" y="1334"/>
                  </a:cubicBezTo>
                  <a:close/>
                  <a:moveTo>
                    <a:pt x="12478" y="2891"/>
                  </a:moveTo>
                  <a:cubicBezTo>
                    <a:pt x="12490" y="2894"/>
                    <a:pt x="12501" y="2877"/>
                    <a:pt x="12485" y="2875"/>
                  </a:cubicBezTo>
                  <a:cubicBezTo>
                    <a:pt x="12469" y="2874"/>
                    <a:pt x="12478" y="2891"/>
                    <a:pt x="12478" y="2891"/>
                  </a:cubicBezTo>
                  <a:close/>
                  <a:moveTo>
                    <a:pt x="12587" y="2774"/>
                  </a:moveTo>
                  <a:cubicBezTo>
                    <a:pt x="12587" y="2782"/>
                    <a:pt x="12598" y="2782"/>
                    <a:pt x="12598" y="2782"/>
                  </a:cubicBezTo>
                  <a:cubicBezTo>
                    <a:pt x="12605" y="2770"/>
                    <a:pt x="12587" y="2766"/>
                    <a:pt x="12587" y="2774"/>
                  </a:cubicBezTo>
                  <a:close/>
                  <a:moveTo>
                    <a:pt x="12559" y="2866"/>
                  </a:moveTo>
                  <a:cubicBezTo>
                    <a:pt x="12565" y="2858"/>
                    <a:pt x="12550" y="2858"/>
                    <a:pt x="12550" y="2858"/>
                  </a:cubicBezTo>
                  <a:cubicBezTo>
                    <a:pt x="12541" y="2841"/>
                    <a:pt x="12541" y="2841"/>
                    <a:pt x="12541" y="2841"/>
                  </a:cubicBezTo>
                  <a:cubicBezTo>
                    <a:pt x="12541" y="2851"/>
                    <a:pt x="12541" y="2851"/>
                    <a:pt x="12541" y="2851"/>
                  </a:cubicBezTo>
                  <a:cubicBezTo>
                    <a:pt x="12539" y="2867"/>
                    <a:pt x="12554" y="2874"/>
                    <a:pt x="12559" y="2866"/>
                  </a:cubicBezTo>
                  <a:close/>
                  <a:moveTo>
                    <a:pt x="12523" y="2879"/>
                  </a:moveTo>
                  <a:cubicBezTo>
                    <a:pt x="12505" y="2870"/>
                    <a:pt x="12505" y="2870"/>
                    <a:pt x="12505" y="2870"/>
                  </a:cubicBezTo>
                  <a:cubicBezTo>
                    <a:pt x="12505" y="2870"/>
                    <a:pt x="12497" y="2885"/>
                    <a:pt x="12501" y="2885"/>
                  </a:cubicBezTo>
                  <a:cubicBezTo>
                    <a:pt x="12505" y="2885"/>
                    <a:pt x="12523" y="2879"/>
                    <a:pt x="12523" y="2879"/>
                  </a:cubicBezTo>
                  <a:close/>
                  <a:moveTo>
                    <a:pt x="12471" y="2390"/>
                  </a:moveTo>
                  <a:cubicBezTo>
                    <a:pt x="12447" y="2398"/>
                    <a:pt x="12457" y="2407"/>
                    <a:pt x="12472" y="2407"/>
                  </a:cubicBezTo>
                  <a:cubicBezTo>
                    <a:pt x="12491" y="2407"/>
                    <a:pt x="12495" y="2382"/>
                    <a:pt x="12471" y="2390"/>
                  </a:cubicBezTo>
                  <a:close/>
                  <a:moveTo>
                    <a:pt x="11286" y="3255"/>
                  </a:moveTo>
                  <a:cubicBezTo>
                    <a:pt x="11294" y="3249"/>
                    <a:pt x="11309" y="3276"/>
                    <a:pt x="11309" y="3276"/>
                  </a:cubicBezTo>
                  <a:cubicBezTo>
                    <a:pt x="11308" y="3297"/>
                    <a:pt x="11308" y="3297"/>
                    <a:pt x="11308" y="3297"/>
                  </a:cubicBezTo>
                  <a:cubicBezTo>
                    <a:pt x="11308" y="3297"/>
                    <a:pt x="11329" y="3298"/>
                    <a:pt x="11330" y="3315"/>
                  </a:cubicBezTo>
                  <a:cubicBezTo>
                    <a:pt x="11330" y="3332"/>
                    <a:pt x="11337" y="3344"/>
                    <a:pt x="11339" y="3357"/>
                  </a:cubicBezTo>
                  <a:cubicBezTo>
                    <a:pt x="11341" y="3371"/>
                    <a:pt x="11344" y="3404"/>
                    <a:pt x="11344" y="3404"/>
                  </a:cubicBezTo>
                  <a:cubicBezTo>
                    <a:pt x="11344" y="3404"/>
                    <a:pt x="11345" y="3416"/>
                    <a:pt x="11352" y="3425"/>
                  </a:cubicBezTo>
                  <a:cubicBezTo>
                    <a:pt x="11360" y="3434"/>
                    <a:pt x="11363" y="3447"/>
                    <a:pt x="11363" y="3447"/>
                  </a:cubicBezTo>
                  <a:cubicBezTo>
                    <a:pt x="11391" y="3508"/>
                    <a:pt x="11391" y="3508"/>
                    <a:pt x="11391" y="3508"/>
                  </a:cubicBezTo>
                  <a:cubicBezTo>
                    <a:pt x="11401" y="3538"/>
                    <a:pt x="11401" y="3538"/>
                    <a:pt x="11401" y="3538"/>
                  </a:cubicBezTo>
                  <a:cubicBezTo>
                    <a:pt x="11401" y="3538"/>
                    <a:pt x="11387" y="3535"/>
                    <a:pt x="11386" y="3543"/>
                  </a:cubicBezTo>
                  <a:cubicBezTo>
                    <a:pt x="11384" y="3552"/>
                    <a:pt x="11378" y="3577"/>
                    <a:pt x="11378" y="3577"/>
                  </a:cubicBezTo>
                  <a:cubicBezTo>
                    <a:pt x="11407" y="3567"/>
                    <a:pt x="11407" y="3567"/>
                    <a:pt x="11407" y="3567"/>
                  </a:cubicBezTo>
                  <a:cubicBezTo>
                    <a:pt x="11399" y="3604"/>
                    <a:pt x="11399" y="3604"/>
                    <a:pt x="11399" y="3604"/>
                  </a:cubicBezTo>
                  <a:cubicBezTo>
                    <a:pt x="11399" y="3604"/>
                    <a:pt x="11395" y="3616"/>
                    <a:pt x="11396" y="3629"/>
                  </a:cubicBezTo>
                  <a:cubicBezTo>
                    <a:pt x="11397" y="3641"/>
                    <a:pt x="11404" y="3660"/>
                    <a:pt x="11404" y="3660"/>
                  </a:cubicBezTo>
                  <a:cubicBezTo>
                    <a:pt x="11404" y="3660"/>
                    <a:pt x="11392" y="3692"/>
                    <a:pt x="11390" y="3708"/>
                  </a:cubicBezTo>
                  <a:cubicBezTo>
                    <a:pt x="11388" y="3724"/>
                    <a:pt x="11390" y="3769"/>
                    <a:pt x="11390" y="3769"/>
                  </a:cubicBezTo>
                  <a:cubicBezTo>
                    <a:pt x="11390" y="3769"/>
                    <a:pt x="11400" y="3779"/>
                    <a:pt x="11402" y="3769"/>
                  </a:cubicBezTo>
                  <a:cubicBezTo>
                    <a:pt x="11403" y="3759"/>
                    <a:pt x="11403" y="3735"/>
                    <a:pt x="11407" y="3746"/>
                  </a:cubicBezTo>
                  <a:cubicBezTo>
                    <a:pt x="11410" y="3758"/>
                    <a:pt x="11402" y="3758"/>
                    <a:pt x="11416" y="3760"/>
                  </a:cubicBezTo>
                  <a:cubicBezTo>
                    <a:pt x="11430" y="3761"/>
                    <a:pt x="11438" y="3791"/>
                    <a:pt x="11438" y="3791"/>
                  </a:cubicBezTo>
                  <a:cubicBezTo>
                    <a:pt x="11461" y="3811"/>
                    <a:pt x="11461" y="3811"/>
                    <a:pt x="11461" y="3811"/>
                  </a:cubicBezTo>
                  <a:cubicBezTo>
                    <a:pt x="11461" y="3811"/>
                    <a:pt x="11456" y="3822"/>
                    <a:pt x="11465" y="3836"/>
                  </a:cubicBezTo>
                  <a:cubicBezTo>
                    <a:pt x="11471" y="3847"/>
                    <a:pt x="11479" y="3855"/>
                    <a:pt x="11483" y="3859"/>
                  </a:cubicBezTo>
                  <a:cubicBezTo>
                    <a:pt x="11484" y="3859"/>
                    <a:pt x="11484" y="3860"/>
                    <a:pt x="11484" y="3860"/>
                  </a:cubicBezTo>
                  <a:cubicBezTo>
                    <a:pt x="11489" y="3921"/>
                    <a:pt x="11489" y="3921"/>
                    <a:pt x="11489" y="3921"/>
                  </a:cubicBezTo>
                  <a:cubicBezTo>
                    <a:pt x="11489" y="3921"/>
                    <a:pt x="11521" y="3909"/>
                    <a:pt x="11521" y="3929"/>
                  </a:cubicBezTo>
                  <a:cubicBezTo>
                    <a:pt x="11520" y="3949"/>
                    <a:pt x="11511" y="3971"/>
                    <a:pt x="11522" y="3983"/>
                  </a:cubicBezTo>
                  <a:cubicBezTo>
                    <a:pt x="11533" y="3996"/>
                    <a:pt x="11545" y="3983"/>
                    <a:pt x="11545" y="3983"/>
                  </a:cubicBezTo>
                  <a:cubicBezTo>
                    <a:pt x="11545" y="3983"/>
                    <a:pt x="11538" y="4024"/>
                    <a:pt x="11548" y="4033"/>
                  </a:cubicBezTo>
                  <a:cubicBezTo>
                    <a:pt x="11558" y="4042"/>
                    <a:pt x="11597" y="4066"/>
                    <a:pt x="11597" y="4066"/>
                  </a:cubicBezTo>
                  <a:cubicBezTo>
                    <a:pt x="11597" y="4066"/>
                    <a:pt x="11599" y="4086"/>
                    <a:pt x="11604" y="4088"/>
                  </a:cubicBezTo>
                  <a:cubicBezTo>
                    <a:pt x="11609" y="4089"/>
                    <a:pt x="11636" y="4101"/>
                    <a:pt x="11636" y="4101"/>
                  </a:cubicBezTo>
                  <a:cubicBezTo>
                    <a:pt x="11652" y="4123"/>
                    <a:pt x="11652" y="4123"/>
                    <a:pt x="11652" y="4123"/>
                  </a:cubicBezTo>
                  <a:cubicBezTo>
                    <a:pt x="11685" y="4120"/>
                    <a:pt x="11685" y="4120"/>
                    <a:pt x="11685" y="4120"/>
                  </a:cubicBezTo>
                  <a:cubicBezTo>
                    <a:pt x="11685" y="4120"/>
                    <a:pt x="11690" y="4100"/>
                    <a:pt x="11688" y="4082"/>
                  </a:cubicBezTo>
                  <a:cubicBezTo>
                    <a:pt x="11686" y="4065"/>
                    <a:pt x="11656" y="4045"/>
                    <a:pt x="11655" y="4040"/>
                  </a:cubicBezTo>
                  <a:cubicBezTo>
                    <a:pt x="11654" y="4035"/>
                    <a:pt x="11660" y="4023"/>
                    <a:pt x="11653" y="4014"/>
                  </a:cubicBezTo>
                  <a:cubicBezTo>
                    <a:pt x="11645" y="4005"/>
                    <a:pt x="11651" y="4003"/>
                    <a:pt x="11651" y="3990"/>
                  </a:cubicBezTo>
                  <a:cubicBezTo>
                    <a:pt x="11652" y="3978"/>
                    <a:pt x="11655" y="3939"/>
                    <a:pt x="11650" y="3917"/>
                  </a:cubicBezTo>
                  <a:cubicBezTo>
                    <a:pt x="11646" y="3895"/>
                    <a:pt x="11604" y="3880"/>
                    <a:pt x="11598" y="3871"/>
                  </a:cubicBezTo>
                  <a:cubicBezTo>
                    <a:pt x="11596" y="3868"/>
                    <a:pt x="11591" y="3864"/>
                    <a:pt x="11586" y="3861"/>
                  </a:cubicBezTo>
                  <a:cubicBezTo>
                    <a:pt x="11586" y="3861"/>
                    <a:pt x="11586" y="3861"/>
                    <a:pt x="11586" y="3861"/>
                  </a:cubicBezTo>
                  <a:cubicBezTo>
                    <a:pt x="11577" y="3854"/>
                    <a:pt x="11567" y="3848"/>
                    <a:pt x="11567" y="3848"/>
                  </a:cubicBezTo>
                  <a:cubicBezTo>
                    <a:pt x="11567" y="3848"/>
                    <a:pt x="11562" y="3824"/>
                    <a:pt x="11559" y="3814"/>
                  </a:cubicBezTo>
                  <a:cubicBezTo>
                    <a:pt x="11556" y="3804"/>
                    <a:pt x="11529" y="3824"/>
                    <a:pt x="11521" y="3820"/>
                  </a:cubicBezTo>
                  <a:cubicBezTo>
                    <a:pt x="11514" y="3816"/>
                    <a:pt x="11507" y="3779"/>
                    <a:pt x="11502" y="3782"/>
                  </a:cubicBezTo>
                  <a:cubicBezTo>
                    <a:pt x="11497" y="3786"/>
                    <a:pt x="11502" y="3797"/>
                    <a:pt x="11496" y="3798"/>
                  </a:cubicBezTo>
                  <a:cubicBezTo>
                    <a:pt x="11490" y="3799"/>
                    <a:pt x="11475" y="3776"/>
                    <a:pt x="11483" y="3768"/>
                  </a:cubicBezTo>
                  <a:cubicBezTo>
                    <a:pt x="11491" y="3760"/>
                    <a:pt x="11488" y="3775"/>
                    <a:pt x="11496" y="3772"/>
                  </a:cubicBezTo>
                  <a:cubicBezTo>
                    <a:pt x="11504" y="3769"/>
                    <a:pt x="11486" y="3738"/>
                    <a:pt x="11484" y="3732"/>
                  </a:cubicBezTo>
                  <a:cubicBezTo>
                    <a:pt x="11482" y="3726"/>
                    <a:pt x="11471" y="3728"/>
                    <a:pt x="11471" y="3728"/>
                  </a:cubicBezTo>
                  <a:cubicBezTo>
                    <a:pt x="11472" y="3691"/>
                    <a:pt x="11472" y="3691"/>
                    <a:pt x="11472" y="3691"/>
                  </a:cubicBezTo>
                  <a:cubicBezTo>
                    <a:pt x="11437" y="3701"/>
                    <a:pt x="11437" y="3701"/>
                    <a:pt x="11437" y="3701"/>
                  </a:cubicBezTo>
                  <a:cubicBezTo>
                    <a:pt x="11437" y="3701"/>
                    <a:pt x="11433" y="3642"/>
                    <a:pt x="11432" y="3635"/>
                  </a:cubicBezTo>
                  <a:cubicBezTo>
                    <a:pt x="11431" y="3627"/>
                    <a:pt x="11426" y="3617"/>
                    <a:pt x="11426" y="3617"/>
                  </a:cubicBezTo>
                  <a:cubicBezTo>
                    <a:pt x="11426" y="3617"/>
                    <a:pt x="11442" y="3609"/>
                    <a:pt x="11443" y="3591"/>
                  </a:cubicBezTo>
                  <a:cubicBezTo>
                    <a:pt x="11444" y="3572"/>
                    <a:pt x="11444" y="3549"/>
                    <a:pt x="11444" y="3549"/>
                  </a:cubicBezTo>
                  <a:cubicBezTo>
                    <a:pt x="11444" y="3549"/>
                    <a:pt x="11458" y="3542"/>
                    <a:pt x="11459" y="3518"/>
                  </a:cubicBezTo>
                  <a:cubicBezTo>
                    <a:pt x="11460" y="3493"/>
                    <a:pt x="11453" y="3489"/>
                    <a:pt x="11453" y="3489"/>
                  </a:cubicBezTo>
                  <a:cubicBezTo>
                    <a:pt x="11457" y="3467"/>
                    <a:pt x="11457" y="3467"/>
                    <a:pt x="11457" y="3467"/>
                  </a:cubicBezTo>
                  <a:cubicBezTo>
                    <a:pt x="11464" y="3467"/>
                    <a:pt x="11464" y="3467"/>
                    <a:pt x="11464" y="3467"/>
                  </a:cubicBezTo>
                  <a:cubicBezTo>
                    <a:pt x="11464" y="3467"/>
                    <a:pt x="11465" y="3459"/>
                    <a:pt x="11477" y="3460"/>
                  </a:cubicBezTo>
                  <a:cubicBezTo>
                    <a:pt x="11488" y="3460"/>
                    <a:pt x="11507" y="3474"/>
                    <a:pt x="11507" y="3474"/>
                  </a:cubicBezTo>
                  <a:cubicBezTo>
                    <a:pt x="11499" y="3480"/>
                    <a:pt x="11499" y="3480"/>
                    <a:pt x="11499" y="3480"/>
                  </a:cubicBezTo>
                  <a:cubicBezTo>
                    <a:pt x="11499" y="3480"/>
                    <a:pt x="11494" y="3512"/>
                    <a:pt x="11505" y="3512"/>
                  </a:cubicBezTo>
                  <a:cubicBezTo>
                    <a:pt x="11517" y="3513"/>
                    <a:pt x="11553" y="3496"/>
                    <a:pt x="11553" y="3496"/>
                  </a:cubicBezTo>
                  <a:cubicBezTo>
                    <a:pt x="11571" y="3550"/>
                    <a:pt x="11571" y="3550"/>
                    <a:pt x="11571" y="3550"/>
                  </a:cubicBezTo>
                  <a:cubicBezTo>
                    <a:pt x="11571" y="3550"/>
                    <a:pt x="11579" y="3538"/>
                    <a:pt x="11590" y="3543"/>
                  </a:cubicBezTo>
                  <a:cubicBezTo>
                    <a:pt x="11593" y="3544"/>
                    <a:pt x="11596" y="3546"/>
                    <a:pt x="11599" y="3549"/>
                  </a:cubicBezTo>
                  <a:cubicBezTo>
                    <a:pt x="11614" y="3566"/>
                    <a:pt x="11600" y="3578"/>
                    <a:pt x="11600" y="3578"/>
                  </a:cubicBezTo>
                  <a:cubicBezTo>
                    <a:pt x="11600" y="3578"/>
                    <a:pt x="11609" y="3600"/>
                    <a:pt x="11619" y="3601"/>
                  </a:cubicBezTo>
                  <a:cubicBezTo>
                    <a:pt x="11629" y="3601"/>
                    <a:pt x="11632" y="3588"/>
                    <a:pt x="11632" y="3588"/>
                  </a:cubicBezTo>
                  <a:cubicBezTo>
                    <a:pt x="11632" y="3588"/>
                    <a:pt x="11631" y="3612"/>
                    <a:pt x="11641" y="3614"/>
                  </a:cubicBezTo>
                  <a:cubicBezTo>
                    <a:pt x="11652" y="3616"/>
                    <a:pt x="11662" y="3608"/>
                    <a:pt x="11664" y="3618"/>
                  </a:cubicBezTo>
                  <a:cubicBezTo>
                    <a:pt x="11665" y="3622"/>
                    <a:pt x="11668" y="3628"/>
                    <a:pt x="11670" y="3633"/>
                  </a:cubicBezTo>
                  <a:cubicBezTo>
                    <a:pt x="11683" y="3634"/>
                    <a:pt x="11683" y="3634"/>
                    <a:pt x="11683" y="3634"/>
                  </a:cubicBezTo>
                  <a:cubicBezTo>
                    <a:pt x="11682" y="3636"/>
                    <a:pt x="11683" y="3638"/>
                    <a:pt x="11684" y="3640"/>
                  </a:cubicBezTo>
                  <a:cubicBezTo>
                    <a:pt x="11690" y="3648"/>
                    <a:pt x="11713" y="3660"/>
                    <a:pt x="11713" y="3660"/>
                  </a:cubicBezTo>
                  <a:cubicBezTo>
                    <a:pt x="11700" y="3671"/>
                    <a:pt x="11700" y="3671"/>
                    <a:pt x="11700" y="3671"/>
                  </a:cubicBezTo>
                  <a:cubicBezTo>
                    <a:pt x="11700" y="3671"/>
                    <a:pt x="11714" y="3706"/>
                    <a:pt x="11707" y="3712"/>
                  </a:cubicBezTo>
                  <a:cubicBezTo>
                    <a:pt x="11703" y="3715"/>
                    <a:pt x="11700" y="3721"/>
                    <a:pt x="11698" y="3726"/>
                  </a:cubicBezTo>
                  <a:cubicBezTo>
                    <a:pt x="11699" y="3726"/>
                    <a:pt x="11699" y="3726"/>
                    <a:pt x="11699" y="3726"/>
                  </a:cubicBezTo>
                  <a:cubicBezTo>
                    <a:pt x="11708" y="3732"/>
                    <a:pt x="11722" y="3732"/>
                    <a:pt x="11732" y="3720"/>
                  </a:cubicBezTo>
                  <a:cubicBezTo>
                    <a:pt x="11743" y="3709"/>
                    <a:pt x="11756" y="3705"/>
                    <a:pt x="11756" y="3705"/>
                  </a:cubicBezTo>
                  <a:cubicBezTo>
                    <a:pt x="11759" y="3689"/>
                    <a:pt x="11759" y="3689"/>
                    <a:pt x="11759" y="3689"/>
                  </a:cubicBezTo>
                  <a:cubicBezTo>
                    <a:pt x="11759" y="3673"/>
                    <a:pt x="11759" y="3673"/>
                    <a:pt x="11759" y="3673"/>
                  </a:cubicBezTo>
                  <a:cubicBezTo>
                    <a:pt x="11759" y="3673"/>
                    <a:pt x="11784" y="3684"/>
                    <a:pt x="11789" y="3672"/>
                  </a:cubicBezTo>
                  <a:cubicBezTo>
                    <a:pt x="11793" y="3660"/>
                    <a:pt x="11773" y="3648"/>
                    <a:pt x="11777" y="3645"/>
                  </a:cubicBezTo>
                  <a:cubicBezTo>
                    <a:pt x="11781" y="3641"/>
                    <a:pt x="11804" y="3630"/>
                    <a:pt x="11804" y="3630"/>
                  </a:cubicBezTo>
                  <a:cubicBezTo>
                    <a:pt x="11804" y="3630"/>
                    <a:pt x="11815" y="3639"/>
                    <a:pt x="11838" y="3627"/>
                  </a:cubicBezTo>
                  <a:cubicBezTo>
                    <a:pt x="11860" y="3616"/>
                    <a:pt x="11891" y="3593"/>
                    <a:pt x="11895" y="3576"/>
                  </a:cubicBezTo>
                  <a:cubicBezTo>
                    <a:pt x="11898" y="3559"/>
                    <a:pt x="11911" y="3514"/>
                    <a:pt x="11909" y="3504"/>
                  </a:cubicBezTo>
                  <a:cubicBezTo>
                    <a:pt x="11907" y="3494"/>
                    <a:pt x="11889" y="3476"/>
                    <a:pt x="11889" y="3476"/>
                  </a:cubicBezTo>
                  <a:cubicBezTo>
                    <a:pt x="11899" y="3472"/>
                    <a:pt x="11899" y="3472"/>
                    <a:pt x="11899" y="3472"/>
                  </a:cubicBezTo>
                  <a:cubicBezTo>
                    <a:pt x="11899" y="3472"/>
                    <a:pt x="11899" y="3435"/>
                    <a:pt x="11894" y="3422"/>
                  </a:cubicBezTo>
                  <a:cubicBezTo>
                    <a:pt x="11888" y="3408"/>
                    <a:pt x="11872" y="3385"/>
                    <a:pt x="11872" y="3385"/>
                  </a:cubicBezTo>
                  <a:cubicBezTo>
                    <a:pt x="11872" y="3385"/>
                    <a:pt x="11883" y="3371"/>
                    <a:pt x="11867" y="3355"/>
                  </a:cubicBezTo>
                  <a:cubicBezTo>
                    <a:pt x="11851" y="3340"/>
                    <a:pt x="11806" y="3298"/>
                    <a:pt x="11792" y="3291"/>
                  </a:cubicBezTo>
                  <a:cubicBezTo>
                    <a:pt x="11778" y="3285"/>
                    <a:pt x="11763" y="3277"/>
                    <a:pt x="11760" y="3269"/>
                  </a:cubicBezTo>
                  <a:cubicBezTo>
                    <a:pt x="11756" y="3262"/>
                    <a:pt x="11764" y="3256"/>
                    <a:pt x="11758" y="3246"/>
                  </a:cubicBezTo>
                  <a:cubicBezTo>
                    <a:pt x="11752" y="3236"/>
                    <a:pt x="11704" y="3195"/>
                    <a:pt x="11697" y="3172"/>
                  </a:cubicBezTo>
                  <a:cubicBezTo>
                    <a:pt x="11691" y="3148"/>
                    <a:pt x="11686" y="3122"/>
                    <a:pt x="11692" y="3117"/>
                  </a:cubicBezTo>
                  <a:cubicBezTo>
                    <a:pt x="11699" y="3113"/>
                    <a:pt x="11701" y="3097"/>
                    <a:pt x="11701" y="3097"/>
                  </a:cubicBezTo>
                  <a:cubicBezTo>
                    <a:pt x="11701" y="3097"/>
                    <a:pt x="11719" y="3084"/>
                    <a:pt x="11724" y="3080"/>
                  </a:cubicBezTo>
                  <a:cubicBezTo>
                    <a:pt x="11730" y="3077"/>
                    <a:pt x="11733" y="3066"/>
                    <a:pt x="11733" y="3066"/>
                  </a:cubicBezTo>
                  <a:cubicBezTo>
                    <a:pt x="11733" y="3066"/>
                    <a:pt x="11752" y="3069"/>
                    <a:pt x="11758" y="3064"/>
                  </a:cubicBezTo>
                  <a:cubicBezTo>
                    <a:pt x="11763" y="3059"/>
                    <a:pt x="11763" y="3037"/>
                    <a:pt x="11763" y="3037"/>
                  </a:cubicBezTo>
                  <a:cubicBezTo>
                    <a:pt x="11770" y="3032"/>
                    <a:pt x="11770" y="3032"/>
                    <a:pt x="11770" y="3032"/>
                  </a:cubicBezTo>
                  <a:cubicBezTo>
                    <a:pt x="11799" y="3013"/>
                    <a:pt x="11799" y="3013"/>
                    <a:pt x="11799" y="3013"/>
                  </a:cubicBezTo>
                  <a:cubicBezTo>
                    <a:pt x="11811" y="3021"/>
                    <a:pt x="11811" y="3021"/>
                    <a:pt x="11811" y="3021"/>
                  </a:cubicBezTo>
                  <a:cubicBezTo>
                    <a:pt x="11811" y="3021"/>
                    <a:pt x="11856" y="3021"/>
                    <a:pt x="11862" y="3032"/>
                  </a:cubicBezTo>
                  <a:cubicBezTo>
                    <a:pt x="11867" y="3044"/>
                    <a:pt x="11852" y="3066"/>
                    <a:pt x="11859" y="3077"/>
                  </a:cubicBezTo>
                  <a:cubicBezTo>
                    <a:pt x="11867" y="3088"/>
                    <a:pt x="11888" y="3103"/>
                    <a:pt x="11888" y="3103"/>
                  </a:cubicBezTo>
                  <a:cubicBezTo>
                    <a:pt x="11902" y="3101"/>
                    <a:pt x="11902" y="3101"/>
                    <a:pt x="11902" y="3101"/>
                  </a:cubicBezTo>
                  <a:cubicBezTo>
                    <a:pt x="11902" y="3089"/>
                    <a:pt x="11902" y="3089"/>
                    <a:pt x="11902" y="3089"/>
                  </a:cubicBezTo>
                  <a:cubicBezTo>
                    <a:pt x="11902" y="3089"/>
                    <a:pt x="11893" y="3057"/>
                    <a:pt x="11905" y="3040"/>
                  </a:cubicBezTo>
                  <a:cubicBezTo>
                    <a:pt x="11917" y="3024"/>
                    <a:pt x="11944" y="3026"/>
                    <a:pt x="11958" y="3023"/>
                  </a:cubicBezTo>
                  <a:cubicBezTo>
                    <a:pt x="11971" y="3020"/>
                    <a:pt x="12014" y="3011"/>
                    <a:pt x="12014" y="3001"/>
                  </a:cubicBezTo>
                  <a:cubicBezTo>
                    <a:pt x="12015" y="2991"/>
                    <a:pt x="12015" y="2961"/>
                    <a:pt x="12024" y="2959"/>
                  </a:cubicBezTo>
                  <a:cubicBezTo>
                    <a:pt x="12033" y="2957"/>
                    <a:pt x="12040" y="2991"/>
                    <a:pt x="12049" y="2987"/>
                  </a:cubicBezTo>
                  <a:cubicBezTo>
                    <a:pt x="12059" y="2984"/>
                    <a:pt x="12079" y="2953"/>
                    <a:pt x="12079" y="2953"/>
                  </a:cubicBezTo>
                  <a:cubicBezTo>
                    <a:pt x="12090" y="2963"/>
                    <a:pt x="12090" y="2963"/>
                    <a:pt x="12090" y="2963"/>
                  </a:cubicBezTo>
                  <a:cubicBezTo>
                    <a:pt x="12112" y="2956"/>
                    <a:pt x="12112" y="2956"/>
                    <a:pt x="12112" y="2956"/>
                  </a:cubicBezTo>
                  <a:cubicBezTo>
                    <a:pt x="12112" y="2956"/>
                    <a:pt x="12137" y="2963"/>
                    <a:pt x="12149" y="2956"/>
                  </a:cubicBezTo>
                  <a:cubicBezTo>
                    <a:pt x="12162" y="2949"/>
                    <a:pt x="12167" y="2946"/>
                    <a:pt x="12174" y="2941"/>
                  </a:cubicBezTo>
                  <a:cubicBezTo>
                    <a:pt x="12180" y="2936"/>
                    <a:pt x="12209" y="2911"/>
                    <a:pt x="12214" y="2901"/>
                  </a:cubicBezTo>
                  <a:cubicBezTo>
                    <a:pt x="12218" y="2891"/>
                    <a:pt x="12205" y="2871"/>
                    <a:pt x="12205" y="2871"/>
                  </a:cubicBezTo>
                  <a:cubicBezTo>
                    <a:pt x="12218" y="2871"/>
                    <a:pt x="12218" y="2871"/>
                    <a:pt x="12218" y="2871"/>
                  </a:cubicBezTo>
                  <a:cubicBezTo>
                    <a:pt x="12224" y="2851"/>
                    <a:pt x="12224" y="2851"/>
                    <a:pt x="12224" y="2851"/>
                  </a:cubicBezTo>
                  <a:cubicBezTo>
                    <a:pt x="12239" y="2852"/>
                    <a:pt x="12239" y="2852"/>
                    <a:pt x="12239" y="2852"/>
                  </a:cubicBezTo>
                  <a:cubicBezTo>
                    <a:pt x="12246" y="2827"/>
                    <a:pt x="12246" y="2827"/>
                    <a:pt x="12246" y="2827"/>
                  </a:cubicBezTo>
                  <a:cubicBezTo>
                    <a:pt x="12254" y="2827"/>
                    <a:pt x="12254" y="2827"/>
                    <a:pt x="12254" y="2827"/>
                  </a:cubicBezTo>
                  <a:cubicBezTo>
                    <a:pt x="12258" y="2800"/>
                    <a:pt x="12258" y="2800"/>
                    <a:pt x="12258" y="2800"/>
                  </a:cubicBezTo>
                  <a:cubicBezTo>
                    <a:pt x="12258" y="2800"/>
                    <a:pt x="12272" y="2805"/>
                    <a:pt x="12272" y="2783"/>
                  </a:cubicBezTo>
                  <a:cubicBezTo>
                    <a:pt x="12272" y="2761"/>
                    <a:pt x="12259" y="2764"/>
                    <a:pt x="12264" y="2756"/>
                  </a:cubicBezTo>
                  <a:cubicBezTo>
                    <a:pt x="12268" y="2747"/>
                    <a:pt x="12287" y="2750"/>
                    <a:pt x="12287" y="2732"/>
                  </a:cubicBezTo>
                  <a:cubicBezTo>
                    <a:pt x="12288" y="2715"/>
                    <a:pt x="12276" y="2715"/>
                    <a:pt x="12277" y="2708"/>
                  </a:cubicBezTo>
                  <a:cubicBezTo>
                    <a:pt x="12277" y="2700"/>
                    <a:pt x="12288" y="2697"/>
                    <a:pt x="12288" y="2697"/>
                  </a:cubicBezTo>
                  <a:cubicBezTo>
                    <a:pt x="12289" y="2671"/>
                    <a:pt x="12289" y="2671"/>
                    <a:pt x="12289" y="2671"/>
                  </a:cubicBezTo>
                  <a:cubicBezTo>
                    <a:pt x="12289" y="2671"/>
                    <a:pt x="12316" y="2663"/>
                    <a:pt x="12323" y="2647"/>
                  </a:cubicBezTo>
                  <a:cubicBezTo>
                    <a:pt x="12330" y="2631"/>
                    <a:pt x="12313" y="2630"/>
                    <a:pt x="12313" y="2630"/>
                  </a:cubicBezTo>
                  <a:cubicBezTo>
                    <a:pt x="12313" y="2630"/>
                    <a:pt x="12345" y="2625"/>
                    <a:pt x="12345" y="2616"/>
                  </a:cubicBezTo>
                  <a:cubicBezTo>
                    <a:pt x="12346" y="2607"/>
                    <a:pt x="12327" y="2602"/>
                    <a:pt x="12327" y="2602"/>
                  </a:cubicBezTo>
                  <a:cubicBezTo>
                    <a:pt x="12327" y="2602"/>
                    <a:pt x="12365" y="2568"/>
                    <a:pt x="12348" y="2558"/>
                  </a:cubicBezTo>
                  <a:cubicBezTo>
                    <a:pt x="12331" y="2549"/>
                    <a:pt x="12251" y="2571"/>
                    <a:pt x="12251" y="2571"/>
                  </a:cubicBezTo>
                  <a:cubicBezTo>
                    <a:pt x="12241" y="2560"/>
                    <a:pt x="12241" y="2560"/>
                    <a:pt x="12241" y="2560"/>
                  </a:cubicBezTo>
                  <a:cubicBezTo>
                    <a:pt x="12266" y="2559"/>
                    <a:pt x="12266" y="2559"/>
                    <a:pt x="12266" y="2559"/>
                  </a:cubicBezTo>
                  <a:cubicBezTo>
                    <a:pt x="12266" y="2559"/>
                    <a:pt x="12266" y="2544"/>
                    <a:pt x="12276" y="2540"/>
                  </a:cubicBezTo>
                  <a:cubicBezTo>
                    <a:pt x="12286" y="2536"/>
                    <a:pt x="12305" y="2534"/>
                    <a:pt x="12305" y="2534"/>
                  </a:cubicBezTo>
                  <a:cubicBezTo>
                    <a:pt x="12305" y="2534"/>
                    <a:pt x="12292" y="2510"/>
                    <a:pt x="12288" y="2509"/>
                  </a:cubicBezTo>
                  <a:cubicBezTo>
                    <a:pt x="12284" y="2508"/>
                    <a:pt x="12261" y="2502"/>
                    <a:pt x="12261" y="2502"/>
                  </a:cubicBezTo>
                  <a:cubicBezTo>
                    <a:pt x="12253" y="2491"/>
                    <a:pt x="12253" y="2491"/>
                    <a:pt x="12253" y="2491"/>
                  </a:cubicBezTo>
                  <a:cubicBezTo>
                    <a:pt x="12244" y="2492"/>
                    <a:pt x="12244" y="2492"/>
                    <a:pt x="12244" y="2492"/>
                  </a:cubicBezTo>
                  <a:cubicBezTo>
                    <a:pt x="12244" y="2492"/>
                    <a:pt x="12235" y="2480"/>
                    <a:pt x="12228" y="2479"/>
                  </a:cubicBezTo>
                  <a:cubicBezTo>
                    <a:pt x="12221" y="2478"/>
                    <a:pt x="12203" y="2484"/>
                    <a:pt x="12203" y="2484"/>
                  </a:cubicBezTo>
                  <a:cubicBezTo>
                    <a:pt x="12180" y="2453"/>
                    <a:pt x="12180" y="2453"/>
                    <a:pt x="12180" y="2453"/>
                  </a:cubicBezTo>
                  <a:cubicBezTo>
                    <a:pt x="12180" y="2453"/>
                    <a:pt x="12201" y="2474"/>
                    <a:pt x="12207" y="2472"/>
                  </a:cubicBezTo>
                  <a:cubicBezTo>
                    <a:pt x="12213" y="2470"/>
                    <a:pt x="12220" y="2466"/>
                    <a:pt x="12220" y="2466"/>
                  </a:cubicBezTo>
                  <a:cubicBezTo>
                    <a:pt x="12239" y="2471"/>
                    <a:pt x="12239" y="2471"/>
                    <a:pt x="12239" y="2471"/>
                  </a:cubicBezTo>
                  <a:cubicBezTo>
                    <a:pt x="12249" y="2482"/>
                    <a:pt x="12249" y="2482"/>
                    <a:pt x="12249" y="2482"/>
                  </a:cubicBezTo>
                  <a:cubicBezTo>
                    <a:pt x="12258" y="2478"/>
                    <a:pt x="12258" y="2478"/>
                    <a:pt x="12258" y="2478"/>
                  </a:cubicBezTo>
                  <a:cubicBezTo>
                    <a:pt x="12289" y="2488"/>
                    <a:pt x="12289" y="2488"/>
                    <a:pt x="12289" y="2488"/>
                  </a:cubicBezTo>
                  <a:cubicBezTo>
                    <a:pt x="12276" y="2471"/>
                    <a:pt x="12276" y="2471"/>
                    <a:pt x="12276" y="2471"/>
                  </a:cubicBezTo>
                  <a:cubicBezTo>
                    <a:pt x="12265" y="2469"/>
                    <a:pt x="12265" y="2469"/>
                    <a:pt x="12265" y="2469"/>
                  </a:cubicBezTo>
                  <a:cubicBezTo>
                    <a:pt x="12265" y="2469"/>
                    <a:pt x="12264" y="2447"/>
                    <a:pt x="12256" y="2446"/>
                  </a:cubicBezTo>
                  <a:cubicBezTo>
                    <a:pt x="12248" y="2445"/>
                    <a:pt x="12236" y="2442"/>
                    <a:pt x="12231" y="2438"/>
                  </a:cubicBezTo>
                  <a:cubicBezTo>
                    <a:pt x="12226" y="2434"/>
                    <a:pt x="12224" y="2415"/>
                    <a:pt x="12224" y="2415"/>
                  </a:cubicBezTo>
                  <a:cubicBezTo>
                    <a:pt x="12170" y="2349"/>
                    <a:pt x="12170" y="2349"/>
                    <a:pt x="12170" y="2349"/>
                  </a:cubicBezTo>
                  <a:cubicBezTo>
                    <a:pt x="12148" y="2343"/>
                    <a:pt x="12148" y="2343"/>
                    <a:pt x="12148" y="2343"/>
                  </a:cubicBezTo>
                  <a:cubicBezTo>
                    <a:pt x="12125" y="2325"/>
                    <a:pt x="12125" y="2325"/>
                    <a:pt x="12125" y="2325"/>
                  </a:cubicBezTo>
                  <a:cubicBezTo>
                    <a:pt x="12110" y="2327"/>
                    <a:pt x="12110" y="2327"/>
                    <a:pt x="12110" y="2327"/>
                  </a:cubicBezTo>
                  <a:cubicBezTo>
                    <a:pt x="12110" y="2327"/>
                    <a:pt x="12097" y="2302"/>
                    <a:pt x="12103" y="2298"/>
                  </a:cubicBezTo>
                  <a:cubicBezTo>
                    <a:pt x="12109" y="2294"/>
                    <a:pt x="12127" y="2282"/>
                    <a:pt x="12127" y="2273"/>
                  </a:cubicBezTo>
                  <a:cubicBezTo>
                    <a:pt x="12127" y="2264"/>
                    <a:pt x="12120" y="2246"/>
                    <a:pt x="12120" y="2246"/>
                  </a:cubicBezTo>
                  <a:cubicBezTo>
                    <a:pt x="12120" y="2246"/>
                    <a:pt x="12137" y="2263"/>
                    <a:pt x="12145" y="2257"/>
                  </a:cubicBezTo>
                  <a:cubicBezTo>
                    <a:pt x="12153" y="2251"/>
                    <a:pt x="12144" y="2224"/>
                    <a:pt x="12144" y="2224"/>
                  </a:cubicBezTo>
                  <a:cubicBezTo>
                    <a:pt x="12159" y="2225"/>
                    <a:pt x="12159" y="2225"/>
                    <a:pt x="12159" y="2225"/>
                  </a:cubicBezTo>
                  <a:cubicBezTo>
                    <a:pt x="12184" y="2206"/>
                    <a:pt x="12184" y="2206"/>
                    <a:pt x="12184" y="2206"/>
                  </a:cubicBezTo>
                  <a:cubicBezTo>
                    <a:pt x="12184" y="2206"/>
                    <a:pt x="12204" y="2212"/>
                    <a:pt x="12209" y="2211"/>
                  </a:cubicBezTo>
                  <a:cubicBezTo>
                    <a:pt x="12214" y="2210"/>
                    <a:pt x="12205" y="2196"/>
                    <a:pt x="12205" y="2196"/>
                  </a:cubicBezTo>
                  <a:cubicBezTo>
                    <a:pt x="12209" y="2180"/>
                    <a:pt x="12209" y="2180"/>
                    <a:pt x="12209" y="2180"/>
                  </a:cubicBezTo>
                  <a:cubicBezTo>
                    <a:pt x="12187" y="2180"/>
                    <a:pt x="12187" y="2180"/>
                    <a:pt x="12187" y="2180"/>
                  </a:cubicBezTo>
                  <a:cubicBezTo>
                    <a:pt x="12179" y="2173"/>
                    <a:pt x="12179" y="2173"/>
                    <a:pt x="12179" y="2173"/>
                  </a:cubicBezTo>
                  <a:cubicBezTo>
                    <a:pt x="12174" y="2181"/>
                    <a:pt x="12174" y="2181"/>
                    <a:pt x="12174" y="2181"/>
                  </a:cubicBezTo>
                  <a:cubicBezTo>
                    <a:pt x="12153" y="2178"/>
                    <a:pt x="12153" y="2178"/>
                    <a:pt x="12153" y="2178"/>
                  </a:cubicBezTo>
                  <a:cubicBezTo>
                    <a:pt x="12153" y="2178"/>
                    <a:pt x="12137" y="2160"/>
                    <a:pt x="12124" y="2160"/>
                  </a:cubicBezTo>
                  <a:cubicBezTo>
                    <a:pt x="12111" y="2160"/>
                    <a:pt x="12093" y="2183"/>
                    <a:pt x="12092" y="2188"/>
                  </a:cubicBezTo>
                  <a:cubicBezTo>
                    <a:pt x="12091" y="2193"/>
                    <a:pt x="12087" y="2202"/>
                    <a:pt x="12077" y="2200"/>
                  </a:cubicBezTo>
                  <a:cubicBezTo>
                    <a:pt x="12067" y="2198"/>
                    <a:pt x="12045" y="2192"/>
                    <a:pt x="12043" y="2178"/>
                  </a:cubicBezTo>
                  <a:cubicBezTo>
                    <a:pt x="12041" y="2164"/>
                    <a:pt x="12033" y="2147"/>
                    <a:pt x="12027" y="2143"/>
                  </a:cubicBezTo>
                  <a:cubicBezTo>
                    <a:pt x="12021" y="2139"/>
                    <a:pt x="12017" y="2146"/>
                    <a:pt x="12017" y="2146"/>
                  </a:cubicBezTo>
                  <a:cubicBezTo>
                    <a:pt x="12017" y="2155"/>
                    <a:pt x="12017" y="2155"/>
                    <a:pt x="12017" y="2155"/>
                  </a:cubicBezTo>
                  <a:cubicBezTo>
                    <a:pt x="12009" y="2143"/>
                    <a:pt x="12009" y="2143"/>
                    <a:pt x="12009" y="2143"/>
                  </a:cubicBezTo>
                  <a:cubicBezTo>
                    <a:pt x="12009" y="2143"/>
                    <a:pt x="11981" y="2146"/>
                    <a:pt x="11972" y="2137"/>
                  </a:cubicBezTo>
                  <a:cubicBezTo>
                    <a:pt x="11963" y="2128"/>
                    <a:pt x="11952" y="2109"/>
                    <a:pt x="11955" y="2103"/>
                  </a:cubicBezTo>
                  <a:cubicBezTo>
                    <a:pt x="11958" y="2097"/>
                    <a:pt x="11957" y="2087"/>
                    <a:pt x="11957" y="2087"/>
                  </a:cubicBezTo>
                  <a:cubicBezTo>
                    <a:pt x="11968" y="2086"/>
                    <a:pt x="11968" y="2086"/>
                    <a:pt x="11968" y="2086"/>
                  </a:cubicBezTo>
                  <a:cubicBezTo>
                    <a:pt x="11968" y="2086"/>
                    <a:pt x="11974" y="2095"/>
                    <a:pt x="11978" y="2094"/>
                  </a:cubicBezTo>
                  <a:cubicBezTo>
                    <a:pt x="11982" y="2093"/>
                    <a:pt x="11988" y="2085"/>
                    <a:pt x="11988" y="2085"/>
                  </a:cubicBezTo>
                  <a:cubicBezTo>
                    <a:pt x="11988" y="2085"/>
                    <a:pt x="12001" y="2093"/>
                    <a:pt x="12010" y="2085"/>
                  </a:cubicBezTo>
                  <a:cubicBezTo>
                    <a:pt x="12019" y="2077"/>
                    <a:pt x="12011" y="2069"/>
                    <a:pt x="12011" y="2069"/>
                  </a:cubicBezTo>
                  <a:cubicBezTo>
                    <a:pt x="12011" y="2069"/>
                    <a:pt x="12010" y="2045"/>
                    <a:pt x="12016" y="2041"/>
                  </a:cubicBezTo>
                  <a:cubicBezTo>
                    <a:pt x="12022" y="2037"/>
                    <a:pt x="12041" y="2045"/>
                    <a:pt x="12045" y="2034"/>
                  </a:cubicBezTo>
                  <a:cubicBezTo>
                    <a:pt x="12049" y="2023"/>
                    <a:pt x="12050" y="2010"/>
                    <a:pt x="12050" y="2010"/>
                  </a:cubicBezTo>
                  <a:cubicBezTo>
                    <a:pt x="12062" y="2003"/>
                    <a:pt x="12062" y="2003"/>
                    <a:pt x="12062" y="2003"/>
                  </a:cubicBezTo>
                  <a:cubicBezTo>
                    <a:pt x="12056" y="1995"/>
                    <a:pt x="12056" y="1995"/>
                    <a:pt x="12056" y="1995"/>
                  </a:cubicBezTo>
                  <a:cubicBezTo>
                    <a:pt x="12081" y="2002"/>
                    <a:pt x="12081" y="2002"/>
                    <a:pt x="12081" y="2002"/>
                  </a:cubicBezTo>
                  <a:cubicBezTo>
                    <a:pt x="12092" y="1992"/>
                    <a:pt x="12092" y="1992"/>
                    <a:pt x="12092" y="1992"/>
                  </a:cubicBezTo>
                  <a:cubicBezTo>
                    <a:pt x="12092" y="1992"/>
                    <a:pt x="12123" y="2015"/>
                    <a:pt x="12121" y="2029"/>
                  </a:cubicBezTo>
                  <a:cubicBezTo>
                    <a:pt x="12119" y="2043"/>
                    <a:pt x="12101" y="2046"/>
                    <a:pt x="12100" y="2055"/>
                  </a:cubicBezTo>
                  <a:cubicBezTo>
                    <a:pt x="12099" y="2064"/>
                    <a:pt x="12104" y="2079"/>
                    <a:pt x="12111" y="2079"/>
                  </a:cubicBezTo>
                  <a:cubicBezTo>
                    <a:pt x="12118" y="2079"/>
                    <a:pt x="12127" y="2076"/>
                    <a:pt x="12127" y="2076"/>
                  </a:cubicBezTo>
                  <a:cubicBezTo>
                    <a:pt x="12122" y="2094"/>
                    <a:pt x="12122" y="2094"/>
                    <a:pt x="12122" y="2094"/>
                  </a:cubicBezTo>
                  <a:cubicBezTo>
                    <a:pt x="12122" y="2094"/>
                    <a:pt x="12103" y="2111"/>
                    <a:pt x="12112" y="2113"/>
                  </a:cubicBezTo>
                  <a:cubicBezTo>
                    <a:pt x="12121" y="2115"/>
                    <a:pt x="12135" y="2101"/>
                    <a:pt x="12135" y="2101"/>
                  </a:cubicBezTo>
                  <a:cubicBezTo>
                    <a:pt x="12135" y="2101"/>
                    <a:pt x="12139" y="2102"/>
                    <a:pt x="12144" y="2097"/>
                  </a:cubicBezTo>
                  <a:cubicBezTo>
                    <a:pt x="12149" y="2092"/>
                    <a:pt x="12148" y="2077"/>
                    <a:pt x="12148" y="2077"/>
                  </a:cubicBezTo>
                  <a:cubicBezTo>
                    <a:pt x="12148" y="2077"/>
                    <a:pt x="12189" y="2056"/>
                    <a:pt x="12193" y="2053"/>
                  </a:cubicBezTo>
                  <a:cubicBezTo>
                    <a:pt x="12197" y="2050"/>
                    <a:pt x="12218" y="2052"/>
                    <a:pt x="12218" y="2052"/>
                  </a:cubicBezTo>
                  <a:cubicBezTo>
                    <a:pt x="12226" y="2039"/>
                    <a:pt x="12226" y="2039"/>
                    <a:pt x="12226" y="2039"/>
                  </a:cubicBezTo>
                  <a:cubicBezTo>
                    <a:pt x="12232" y="2053"/>
                    <a:pt x="12232" y="2053"/>
                    <a:pt x="12232" y="2053"/>
                  </a:cubicBezTo>
                  <a:cubicBezTo>
                    <a:pt x="12244" y="2067"/>
                    <a:pt x="12244" y="2067"/>
                    <a:pt x="12244" y="2067"/>
                  </a:cubicBezTo>
                  <a:cubicBezTo>
                    <a:pt x="12251" y="2055"/>
                    <a:pt x="12251" y="2055"/>
                    <a:pt x="12251" y="2055"/>
                  </a:cubicBezTo>
                  <a:cubicBezTo>
                    <a:pt x="12251" y="2055"/>
                    <a:pt x="12260" y="2068"/>
                    <a:pt x="12265" y="2068"/>
                  </a:cubicBezTo>
                  <a:cubicBezTo>
                    <a:pt x="12270" y="2068"/>
                    <a:pt x="12278" y="2062"/>
                    <a:pt x="12282" y="2069"/>
                  </a:cubicBezTo>
                  <a:cubicBezTo>
                    <a:pt x="12286" y="2076"/>
                    <a:pt x="12286" y="2110"/>
                    <a:pt x="12286" y="2110"/>
                  </a:cubicBezTo>
                  <a:cubicBezTo>
                    <a:pt x="12311" y="2110"/>
                    <a:pt x="12311" y="2110"/>
                    <a:pt x="12311" y="2110"/>
                  </a:cubicBezTo>
                  <a:cubicBezTo>
                    <a:pt x="12314" y="2120"/>
                    <a:pt x="12314" y="2120"/>
                    <a:pt x="12314" y="2120"/>
                  </a:cubicBezTo>
                  <a:cubicBezTo>
                    <a:pt x="12314" y="2120"/>
                    <a:pt x="12291" y="2108"/>
                    <a:pt x="12287" y="2121"/>
                  </a:cubicBezTo>
                  <a:cubicBezTo>
                    <a:pt x="12283" y="2134"/>
                    <a:pt x="12298" y="2150"/>
                    <a:pt x="12298" y="2150"/>
                  </a:cubicBezTo>
                  <a:cubicBezTo>
                    <a:pt x="12305" y="2161"/>
                    <a:pt x="12305" y="2161"/>
                    <a:pt x="12305" y="2161"/>
                  </a:cubicBezTo>
                  <a:cubicBezTo>
                    <a:pt x="12324" y="2153"/>
                    <a:pt x="12324" y="2153"/>
                    <a:pt x="12324" y="2153"/>
                  </a:cubicBezTo>
                  <a:cubicBezTo>
                    <a:pt x="12324" y="2153"/>
                    <a:pt x="12344" y="2167"/>
                    <a:pt x="12353" y="2166"/>
                  </a:cubicBezTo>
                  <a:cubicBezTo>
                    <a:pt x="12362" y="2165"/>
                    <a:pt x="12371" y="2162"/>
                    <a:pt x="12371" y="2162"/>
                  </a:cubicBezTo>
                  <a:cubicBezTo>
                    <a:pt x="12371" y="2162"/>
                    <a:pt x="12372" y="2173"/>
                    <a:pt x="12379" y="2179"/>
                  </a:cubicBezTo>
                  <a:cubicBezTo>
                    <a:pt x="12386" y="2185"/>
                    <a:pt x="12401" y="2187"/>
                    <a:pt x="12401" y="2187"/>
                  </a:cubicBezTo>
                  <a:cubicBezTo>
                    <a:pt x="12412" y="2212"/>
                    <a:pt x="12412" y="2212"/>
                    <a:pt x="12412" y="2212"/>
                  </a:cubicBezTo>
                  <a:cubicBezTo>
                    <a:pt x="12412" y="2212"/>
                    <a:pt x="12378" y="2198"/>
                    <a:pt x="12377" y="2205"/>
                  </a:cubicBezTo>
                  <a:cubicBezTo>
                    <a:pt x="12376" y="2212"/>
                    <a:pt x="12398" y="2225"/>
                    <a:pt x="12398" y="2225"/>
                  </a:cubicBezTo>
                  <a:cubicBezTo>
                    <a:pt x="12408" y="2253"/>
                    <a:pt x="12408" y="2253"/>
                    <a:pt x="12408" y="2253"/>
                  </a:cubicBezTo>
                  <a:cubicBezTo>
                    <a:pt x="12431" y="2257"/>
                    <a:pt x="12431" y="2257"/>
                    <a:pt x="12431" y="2257"/>
                  </a:cubicBezTo>
                  <a:cubicBezTo>
                    <a:pt x="12431" y="2276"/>
                    <a:pt x="12431" y="2276"/>
                    <a:pt x="12431" y="2276"/>
                  </a:cubicBezTo>
                  <a:cubicBezTo>
                    <a:pt x="12431" y="2276"/>
                    <a:pt x="12420" y="2284"/>
                    <a:pt x="12425" y="2303"/>
                  </a:cubicBezTo>
                  <a:cubicBezTo>
                    <a:pt x="12430" y="2322"/>
                    <a:pt x="12445" y="2322"/>
                    <a:pt x="12445" y="2322"/>
                  </a:cubicBezTo>
                  <a:cubicBezTo>
                    <a:pt x="12445" y="2322"/>
                    <a:pt x="12432" y="2348"/>
                    <a:pt x="12451" y="2345"/>
                  </a:cubicBezTo>
                  <a:cubicBezTo>
                    <a:pt x="12470" y="2342"/>
                    <a:pt x="12471" y="2326"/>
                    <a:pt x="12471" y="2326"/>
                  </a:cubicBezTo>
                  <a:cubicBezTo>
                    <a:pt x="12504" y="2311"/>
                    <a:pt x="12504" y="2311"/>
                    <a:pt x="12504" y="2311"/>
                  </a:cubicBezTo>
                  <a:cubicBezTo>
                    <a:pt x="12521" y="2316"/>
                    <a:pt x="12521" y="2316"/>
                    <a:pt x="12521" y="2316"/>
                  </a:cubicBezTo>
                  <a:cubicBezTo>
                    <a:pt x="12526" y="2304"/>
                    <a:pt x="12526" y="2304"/>
                    <a:pt x="12526" y="2304"/>
                  </a:cubicBezTo>
                  <a:cubicBezTo>
                    <a:pt x="12526" y="2304"/>
                    <a:pt x="12562" y="2307"/>
                    <a:pt x="12556" y="2288"/>
                  </a:cubicBezTo>
                  <a:cubicBezTo>
                    <a:pt x="12550" y="2269"/>
                    <a:pt x="12537" y="2255"/>
                    <a:pt x="12537" y="2255"/>
                  </a:cubicBezTo>
                  <a:cubicBezTo>
                    <a:pt x="12537" y="2255"/>
                    <a:pt x="12542" y="2238"/>
                    <a:pt x="12533" y="2224"/>
                  </a:cubicBezTo>
                  <a:cubicBezTo>
                    <a:pt x="12524" y="2210"/>
                    <a:pt x="12482" y="2173"/>
                    <a:pt x="12482" y="2173"/>
                  </a:cubicBezTo>
                  <a:cubicBezTo>
                    <a:pt x="12469" y="2168"/>
                    <a:pt x="12469" y="2168"/>
                    <a:pt x="12469" y="2168"/>
                  </a:cubicBezTo>
                  <a:cubicBezTo>
                    <a:pt x="12469" y="2168"/>
                    <a:pt x="12465" y="2157"/>
                    <a:pt x="12453" y="2144"/>
                  </a:cubicBezTo>
                  <a:cubicBezTo>
                    <a:pt x="12447" y="2137"/>
                    <a:pt x="12440" y="2129"/>
                    <a:pt x="12435" y="2123"/>
                  </a:cubicBezTo>
                  <a:cubicBezTo>
                    <a:pt x="12430" y="2116"/>
                    <a:pt x="12426" y="2111"/>
                    <a:pt x="12426" y="2111"/>
                  </a:cubicBezTo>
                  <a:cubicBezTo>
                    <a:pt x="12395" y="2094"/>
                    <a:pt x="12395" y="2094"/>
                    <a:pt x="12395" y="2094"/>
                  </a:cubicBezTo>
                  <a:cubicBezTo>
                    <a:pt x="12395" y="2094"/>
                    <a:pt x="12373" y="2102"/>
                    <a:pt x="12380" y="2089"/>
                  </a:cubicBezTo>
                  <a:cubicBezTo>
                    <a:pt x="12387" y="2076"/>
                    <a:pt x="12387" y="2076"/>
                    <a:pt x="12387" y="2076"/>
                  </a:cubicBezTo>
                  <a:cubicBezTo>
                    <a:pt x="12387" y="2076"/>
                    <a:pt x="12362" y="2065"/>
                    <a:pt x="12372" y="2054"/>
                  </a:cubicBezTo>
                  <a:cubicBezTo>
                    <a:pt x="12382" y="2043"/>
                    <a:pt x="12403" y="2047"/>
                    <a:pt x="12408" y="2033"/>
                  </a:cubicBezTo>
                  <a:cubicBezTo>
                    <a:pt x="12413" y="2019"/>
                    <a:pt x="12418" y="2004"/>
                    <a:pt x="12418" y="2004"/>
                  </a:cubicBezTo>
                  <a:cubicBezTo>
                    <a:pt x="12434" y="1996"/>
                    <a:pt x="12434" y="1996"/>
                    <a:pt x="12434" y="1996"/>
                  </a:cubicBezTo>
                  <a:cubicBezTo>
                    <a:pt x="12429" y="1975"/>
                    <a:pt x="12429" y="1975"/>
                    <a:pt x="12429" y="1975"/>
                  </a:cubicBezTo>
                  <a:cubicBezTo>
                    <a:pt x="12429" y="1975"/>
                    <a:pt x="12413" y="1964"/>
                    <a:pt x="12414" y="1947"/>
                  </a:cubicBezTo>
                  <a:cubicBezTo>
                    <a:pt x="12415" y="1930"/>
                    <a:pt x="12438" y="1925"/>
                    <a:pt x="12438" y="1925"/>
                  </a:cubicBezTo>
                  <a:cubicBezTo>
                    <a:pt x="12429" y="1910"/>
                    <a:pt x="12429" y="1910"/>
                    <a:pt x="12429" y="1910"/>
                  </a:cubicBezTo>
                  <a:cubicBezTo>
                    <a:pt x="12452" y="1911"/>
                    <a:pt x="12452" y="1911"/>
                    <a:pt x="12452" y="1911"/>
                  </a:cubicBezTo>
                  <a:cubicBezTo>
                    <a:pt x="12452" y="1911"/>
                    <a:pt x="12446" y="1870"/>
                    <a:pt x="12455" y="1866"/>
                  </a:cubicBezTo>
                  <a:cubicBezTo>
                    <a:pt x="12464" y="1862"/>
                    <a:pt x="12471" y="1875"/>
                    <a:pt x="12471" y="1875"/>
                  </a:cubicBezTo>
                  <a:cubicBezTo>
                    <a:pt x="12480" y="1867"/>
                    <a:pt x="12480" y="1867"/>
                    <a:pt x="12480" y="1867"/>
                  </a:cubicBezTo>
                  <a:cubicBezTo>
                    <a:pt x="12480" y="1867"/>
                    <a:pt x="12496" y="1899"/>
                    <a:pt x="12504" y="1897"/>
                  </a:cubicBezTo>
                  <a:cubicBezTo>
                    <a:pt x="12512" y="1895"/>
                    <a:pt x="12531" y="1889"/>
                    <a:pt x="12531" y="1889"/>
                  </a:cubicBezTo>
                  <a:cubicBezTo>
                    <a:pt x="12531" y="1901"/>
                    <a:pt x="12531" y="1901"/>
                    <a:pt x="12531" y="1901"/>
                  </a:cubicBezTo>
                  <a:cubicBezTo>
                    <a:pt x="12531" y="1901"/>
                    <a:pt x="12586" y="1881"/>
                    <a:pt x="12588" y="1861"/>
                  </a:cubicBezTo>
                  <a:cubicBezTo>
                    <a:pt x="12590" y="1841"/>
                    <a:pt x="12593" y="1813"/>
                    <a:pt x="12593" y="1813"/>
                  </a:cubicBezTo>
                  <a:cubicBezTo>
                    <a:pt x="12607" y="1806"/>
                    <a:pt x="12607" y="1806"/>
                    <a:pt x="12607" y="1806"/>
                  </a:cubicBezTo>
                  <a:cubicBezTo>
                    <a:pt x="12607" y="1806"/>
                    <a:pt x="12605" y="1763"/>
                    <a:pt x="12614" y="1756"/>
                  </a:cubicBezTo>
                  <a:cubicBezTo>
                    <a:pt x="12623" y="1749"/>
                    <a:pt x="12625" y="1725"/>
                    <a:pt x="12627" y="1709"/>
                  </a:cubicBezTo>
                  <a:cubicBezTo>
                    <a:pt x="12629" y="1693"/>
                    <a:pt x="12618" y="1666"/>
                    <a:pt x="12618" y="1666"/>
                  </a:cubicBezTo>
                  <a:cubicBezTo>
                    <a:pt x="12618" y="1666"/>
                    <a:pt x="12632" y="1644"/>
                    <a:pt x="12632" y="1639"/>
                  </a:cubicBezTo>
                  <a:cubicBezTo>
                    <a:pt x="12632" y="1634"/>
                    <a:pt x="12624" y="1624"/>
                    <a:pt x="12624" y="1624"/>
                  </a:cubicBezTo>
                  <a:cubicBezTo>
                    <a:pt x="12624" y="1624"/>
                    <a:pt x="12641" y="1600"/>
                    <a:pt x="12637" y="1591"/>
                  </a:cubicBezTo>
                  <a:cubicBezTo>
                    <a:pt x="12633" y="1582"/>
                    <a:pt x="12621" y="1555"/>
                    <a:pt x="12621" y="1555"/>
                  </a:cubicBezTo>
                  <a:cubicBezTo>
                    <a:pt x="12621" y="1555"/>
                    <a:pt x="12613" y="1527"/>
                    <a:pt x="12606" y="1524"/>
                  </a:cubicBezTo>
                  <a:cubicBezTo>
                    <a:pt x="12599" y="1521"/>
                    <a:pt x="12594" y="1517"/>
                    <a:pt x="12594" y="1517"/>
                  </a:cubicBezTo>
                  <a:cubicBezTo>
                    <a:pt x="12598" y="1510"/>
                    <a:pt x="12598" y="1510"/>
                    <a:pt x="12598" y="1510"/>
                  </a:cubicBezTo>
                  <a:cubicBezTo>
                    <a:pt x="12598" y="1510"/>
                    <a:pt x="12579" y="1502"/>
                    <a:pt x="12573" y="1487"/>
                  </a:cubicBezTo>
                  <a:cubicBezTo>
                    <a:pt x="12567" y="1472"/>
                    <a:pt x="12565" y="1460"/>
                    <a:pt x="12565" y="1460"/>
                  </a:cubicBezTo>
                  <a:cubicBezTo>
                    <a:pt x="12556" y="1454"/>
                    <a:pt x="12556" y="1454"/>
                    <a:pt x="12556" y="1454"/>
                  </a:cubicBezTo>
                  <a:cubicBezTo>
                    <a:pt x="12556" y="1454"/>
                    <a:pt x="12563" y="1424"/>
                    <a:pt x="12556" y="1415"/>
                  </a:cubicBezTo>
                  <a:cubicBezTo>
                    <a:pt x="12549" y="1406"/>
                    <a:pt x="12544" y="1399"/>
                    <a:pt x="12544" y="1399"/>
                  </a:cubicBezTo>
                  <a:cubicBezTo>
                    <a:pt x="12532" y="1395"/>
                    <a:pt x="12532" y="1395"/>
                    <a:pt x="12532" y="1395"/>
                  </a:cubicBezTo>
                  <a:cubicBezTo>
                    <a:pt x="12532" y="1395"/>
                    <a:pt x="12528" y="1381"/>
                    <a:pt x="12521" y="1376"/>
                  </a:cubicBezTo>
                  <a:cubicBezTo>
                    <a:pt x="12514" y="1371"/>
                    <a:pt x="12497" y="1363"/>
                    <a:pt x="12497" y="1363"/>
                  </a:cubicBezTo>
                  <a:cubicBezTo>
                    <a:pt x="12483" y="1359"/>
                    <a:pt x="12483" y="1359"/>
                    <a:pt x="12483" y="1359"/>
                  </a:cubicBezTo>
                  <a:cubicBezTo>
                    <a:pt x="12480" y="1350"/>
                    <a:pt x="12480" y="1350"/>
                    <a:pt x="12480" y="1350"/>
                  </a:cubicBezTo>
                  <a:cubicBezTo>
                    <a:pt x="12480" y="1350"/>
                    <a:pt x="12508" y="1363"/>
                    <a:pt x="12511" y="1357"/>
                  </a:cubicBezTo>
                  <a:cubicBezTo>
                    <a:pt x="12514" y="1351"/>
                    <a:pt x="12493" y="1345"/>
                    <a:pt x="12493" y="1345"/>
                  </a:cubicBezTo>
                  <a:cubicBezTo>
                    <a:pt x="12438" y="1319"/>
                    <a:pt x="12438" y="1319"/>
                    <a:pt x="12438" y="1319"/>
                  </a:cubicBezTo>
                  <a:cubicBezTo>
                    <a:pt x="12438" y="1319"/>
                    <a:pt x="12410" y="1302"/>
                    <a:pt x="12402" y="1297"/>
                  </a:cubicBezTo>
                  <a:cubicBezTo>
                    <a:pt x="12394" y="1292"/>
                    <a:pt x="12380" y="1302"/>
                    <a:pt x="12380" y="1302"/>
                  </a:cubicBezTo>
                  <a:cubicBezTo>
                    <a:pt x="12354" y="1295"/>
                    <a:pt x="12354" y="1295"/>
                    <a:pt x="12354" y="1295"/>
                  </a:cubicBezTo>
                  <a:cubicBezTo>
                    <a:pt x="12379" y="1323"/>
                    <a:pt x="12379" y="1323"/>
                    <a:pt x="12379" y="1323"/>
                  </a:cubicBezTo>
                  <a:cubicBezTo>
                    <a:pt x="12375" y="1340"/>
                    <a:pt x="12375" y="1340"/>
                    <a:pt x="12375" y="1340"/>
                  </a:cubicBezTo>
                  <a:cubicBezTo>
                    <a:pt x="12367" y="1338"/>
                    <a:pt x="12367" y="1338"/>
                    <a:pt x="12367" y="1338"/>
                  </a:cubicBezTo>
                  <a:cubicBezTo>
                    <a:pt x="12366" y="1318"/>
                    <a:pt x="12366" y="1318"/>
                    <a:pt x="12366" y="1318"/>
                  </a:cubicBezTo>
                  <a:cubicBezTo>
                    <a:pt x="12356" y="1311"/>
                    <a:pt x="12356" y="1311"/>
                    <a:pt x="12356" y="1311"/>
                  </a:cubicBezTo>
                  <a:cubicBezTo>
                    <a:pt x="12354" y="1330"/>
                    <a:pt x="12354" y="1330"/>
                    <a:pt x="12354" y="1330"/>
                  </a:cubicBezTo>
                  <a:cubicBezTo>
                    <a:pt x="12325" y="1332"/>
                    <a:pt x="12325" y="1332"/>
                    <a:pt x="12325" y="1332"/>
                  </a:cubicBezTo>
                  <a:cubicBezTo>
                    <a:pt x="12325" y="1332"/>
                    <a:pt x="12332" y="1322"/>
                    <a:pt x="12327" y="1316"/>
                  </a:cubicBezTo>
                  <a:cubicBezTo>
                    <a:pt x="12322" y="1310"/>
                    <a:pt x="12309" y="1312"/>
                    <a:pt x="12309" y="1312"/>
                  </a:cubicBezTo>
                  <a:cubicBezTo>
                    <a:pt x="12304" y="1319"/>
                    <a:pt x="12304" y="1319"/>
                    <a:pt x="12304" y="1319"/>
                  </a:cubicBezTo>
                  <a:cubicBezTo>
                    <a:pt x="12289" y="1320"/>
                    <a:pt x="12289" y="1320"/>
                    <a:pt x="12289" y="1320"/>
                  </a:cubicBezTo>
                  <a:cubicBezTo>
                    <a:pt x="12280" y="1295"/>
                    <a:pt x="12280" y="1295"/>
                    <a:pt x="12280" y="1295"/>
                  </a:cubicBezTo>
                  <a:cubicBezTo>
                    <a:pt x="12276" y="1294"/>
                    <a:pt x="12276" y="1294"/>
                    <a:pt x="12276" y="1294"/>
                  </a:cubicBezTo>
                  <a:cubicBezTo>
                    <a:pt x="12268" y="1281"/>
                    <a:pt x="12268" y="1281"/>
                    <a:pt x="12268" y="1281"/>
                  </a:cubicBezTo>
                  <a:cubicBezTo>
                    <a:pt x="12220" y="1283"/>
                    <a:pt x="12220" y="1283"/>
                    <a:pt x="12220" y="1283"/>
                  </a:cubicBezTo>
                  <a:cubicBezTo>
                    <a:pt x="12214" y="1277"/>
                    <a:pt x="12214" y="1277"/>
                    <a:pt x="12214" y="1277"/>
                  </a:cubicBezTo>
                  <a:cubicBezTo>
                    <a:pt x="12214" y="1277"/>
                    <a:pt x="12188" y="1281"/>
                    <a:pt x="12188" y="1264"/>
                  </a:cubicBezTo>
                  <a:cubicBezTo>
                    <a:pt x="12188" y="1247"/>
                    <a:pt x="12210" y="1245"/>
                    <a:pt x="12210" y="1245"/>
                  </a:cubicBezTo>
                  <a:cubicBezTo>
                    <a:pt x="12210" y="1229"/>
                    <a:pt x="12210" y="1229"/>
                    <a:pt x="12210" y="1229"/>
                  </a:cubicBezTo>
                  <a:cubicBezTo>
                    <a:pt x="12210" y="1229"/>
                    <a:pt x="12229" y="1228"/>
                    <a:pt x="12230" y="1217"/>
                  </a:cubicBezTo>
                  <a:cubicBezTo>
                    <a:pt x="12231" y="1206"/>
                    <a:pt x="12241" y="1191"/>
                    <a:pt x="12241" y="1191"/>
                  </a:cubicBezTo>
                  <a:cubicBezTo>
                    <a:pt x="12231" y="1182"/>
                    <a:pt x="12231" y="1182"/>
                    <a:pt x="12231" y="1182"/>
                  </a:cubicBezTo>
                  <a:cubicBezTo>
                    <a:pt x="12238" y="1169"/>
                    <a:pt x="12238" y="1169"/>
                    <a:pt x="12238" y="1169"/>
                  </a:cubicBezTo>
                  <a:cubicBezTo>
                    <a:pt x="12231" y="1159"/>
                    <a:pt x="12231" y="1159"/>
                    <a:pt x="12231" y="1159"/>
                  </a:cubicBezTo>
                  <a:cubicBezTo>
                    <a:pt x="12245" y="1148"/>
                    <a:pt x="12245" y="1148"/>
                    <a:pt x="12245" y="1148"/>
                  </a:cubicBezTo>
                  <a:cubicBezTo>
                    <a:pt x="12259" y="1145"/>
                    <a:pt x="12259" y="1145"/>
                    <a:pt x="12259" y="1145"/>
                  </a:cubicBezTo>
                  <a:cubicBezTo>
                    <a:pt x="12253" y="1123"/>
                    <a:pt x="12253" y="1123"/>
                    <a:pt x="12253" y="1123"/>
                  </a:cubicBezTo>
                  <a:cubicBezTo>
                    <a:pt x="12268" y="1118"/>
                    <a:pt x="12268" y="1118"/>
                    <a:pt x="12268" y="1118"/>
                  </a:cubicBezTo>
                  <a:cubicBezTo>
                    <a:pt x="12250" y="1095"/>
                    <a:pt x="12250" y="1095"/>
                    <a:pt x="12250" y="1095"/>
                  </a:cubicBezTo>
                  <a:cubicBezTo>
                    <a:pt x="12272" y="1086"/>
                    <a:pt x="12272" y="1086"/>
                    <a:pt x="12272" y="1086"/>
                  </a:cubicBezTo>
                  <a:cubicBezTo>
                    <a:pt x="12272" y="1086"/>
                    <a:pt x="12265" y="1056"/>
                    <a:pt x="12281" y="1046"/>
                  </a:cubicBezTo>
                  <a:cubicBezTo>
                    <a:pt x="12297" y="1036"/>
                    <a:pt x="12303" y="1035"/>
                    <a:pt x="12303" y="1035"/>
                  </a:cubicBezTo>
                  <a:cubicBezTo>
                    <a:pt x="12303" y="1035"/>
                    <a:pt x="12328" y="1039"/>
                    <a:pt x="12340" y="1038"/>
                  </a:cubicBezTo>
                  <a:cubicBezTo>
                    <a:pt x="12352" y="1037"/>
                    <a:pt x="12404" y="1041"/>
                    <a:pt x="12404" y="1041"/>
                  </a:cubicBezTo>
                  <a:cubicBezTo>
                    <a:pt x="12415" y="1052"/>
                    <a:pt x="12415" y="1052"/>
                    <a:pt x="12415" y="1052"/>
                  </a:cubicBezTo>
                  <a:cubicBezTo>
                    <a:pt x="12428" y="1047"/>
                    <a:pt x="12428" y="1047"/>
                    <a:pt x="12428" y="1047"/>
                  </a:cubicBezTo>
                  <a:cubicBezTo>
                    <a:pt x="12423" y="1035"/>
                    <a:pt x="12423" y="1035"/>
                    <a:pt x="12423" y="1035"/>
                  </a:cubicBezTo>
                  <a:cubicBezTo>
                    <a:pt x="12473" y="1048"/>
                    <a:pt x="12473" y="1048"/>
                    <a:pt x="12473" y="1048"/>
                  </a:cubicBezTo>
                  <a:cubicBezTo>
                    <a:pt x="12493" y="1036"/>
                    <a:pt x="12493" y="1036"/>
                    <a:pt x="12493" y="1036"/>
                  </a:cubicBezTo>
                  <a:cubicBezTo>
                    <a:pt x="12512" y="1051"/>
                    <a:pt x="12512" y="1051"/>
                    <a:pt x="12512" y="1051"/>
                  </a:cubicBezTo>
                  <a:cubicBezTo>
                    <a:pt x="12517" y="1027"/>
                    <a:pt x="12517" y="1027"/>
                    <a:pt x="12517" y="1027"/>
                  </a:cubicBezTo>
                  <a:cubicBezTo>
                    <a:pt x="12517" y="1027"/>
                    <a:pt x="12540" y="1025"/>
                    <a:pt x="12556" y="1026"/>
                  </a:cubicBezTo>
                  <a:cubicBezTo>
                    <a:pt x="12572" y="1027"/>
                    <a:pt x="12578" y="1041"/>
                    <a:pt x="12584" y="1039"/>
                  </a:cubicBezTo>
                  <a:cubicBezTo>
                    <a:pt x="12590" y="1037"/>
                    <a:pt x="12608" y="1026"/>
                    <a:pt x="12608" y="1026"/>
                  </a:cubicBezTo>
                  <a:cubicBezTo>
                    <a:pt x="12624" y="1040"/>
                    <a:pt x="12624" y="1040"/>
                    <a:pt x="12624" y="1040"/>
                  </a:cubicBezTo>
                  <a:cubicBezTo>
                    <a:pt x="12652" y="1045"/>
                    <a:pt x="12652" y="1045"/>
                    <a:pt x="12652" y="1045"/>
                  </a:cubicBezTo>
                  <a:cubicBezTo>
                    <a:pt x="12616" y="1052"/>
                    <a:pt x="12616" y="1052"/>
                    <a:pt x="12616" y="1052"/>
                  </a:cubicBezTo>
                  <a:cubicBezTo>
                    <a:pt x="12616" y="1052"/>
                    <a:pt x="12627" y="1073"/>
                    <a:pt x="12638" y="1068"/>
                  </a:cubicBezTo>
                  <a:cubicBezTo>
                    <a:pt x="12649" y="1063"/>
                    <a:pt x="12669" y="1055"/>
                    <a:pt x="12669" y="1055"/>
                  </a:cubicBezTo>
                  <a:cubicBezTo>
                    <a:pt x="12687" y="1064"/>
                    <a:pt x="12687" y="1064"/>
                    <a:pt x="12687" y="1064"/>
                  </a:cubicBezTo>
                  <a:cubicBezTo>
                    <a:pt x="12702" y="1052"/>
                    <a:pt x="12702" y="1052"/>
                    <a:pt x="12702" y="1052"/>
                  </a:cubicBezTo>
                  <a:cubicBezTo>
                    <a:pt x="12702" y="1052"/>
                    <a:pt x="12729" y="1061"/>
                    <a:pt x="12737" y="1057"/>
                  </a:cubicBezTo>
                  <a:cubicBezTo>
                    <a:pt x="12745" y="1053"/>
                    <a:pt x="12739" y="1045"/>
                    <a:pt x="12739" y="1045"/>
                  </a:cubicBezTo>
                  <a:cubicBezTo>
                    <a:pt x="12763" y="1047"/>
                    <a:pt x="12763" y="1047"/>
                    <a:pt x="12763" y="1047"/>
                  </a:cubicBezTo>
                  <a:cubicBezTo>
                    <a:pt x="12730" y="1029"/>
                    <a:pt x="12730" y="1029"/>
                    <a:pt x="12730" y="1029"/>
                  </a:cubicBezTo>
                  <a:cubicBezTo>
                    <a:pt x="12712" y="1036"/>
                    <a:pt x="12712" y="1036"/>
                    <a:pt x="12712" y="1036"/>
                  </a:cubicBezTo>
                  <a:cubicBezTo>
                    <a:pt x="12707" y="1024"/>
                    <a:pt x="12707" y="1024"/>
                    <a:pt x="12707" y="1024"/>
                  </a:cubicBezTo>
                  <a:cubicBezTo>
                    <a:pt x="12707" y="1024"/>
                    <a:pt x="12692" y="1001"/>
                    <a:pt x="12694" y="996"/>
                  </a:cubicBezTo>
                  <a:cubicBezTo>
                    <a:pt x="12696" y="991"/>
                    <a:pt x="12713" y="977"/>
                    <a:pt x="12713" y="977"/>
                  </a:cubicBezTo>
                  <a:cubicBezTo>
                    <a:pt x="12709" y="957"/>
                    <a:pt x="12709" y="957"/>
                    <a:pt x="12709" y="957"/>
                  </a:cubicBezTo>
                  <a:cubicBezTo>
                    <a:pt x="12718" y="949"/>
                    <a:pt x="12718" y="949"/>
                    <a:pt x="12718" y="949"/>
                  </a:cubicBezTo>
                  <a:cubicBezTo>
                    <a:pt x="12718" y="949"/>
                    <a:pt x="12692" y="936"/>
                    <a:pt x="12709" y="925"/>
                  </a:cubicBezTo>
                  <a:cubicBezTo>
                    <a:pt x="12726" y="914"/>
                    <a:pt x="12762" y="925"/>
                    <a:pt x="12762" y="925"/>
                  </a:cubicBezTo>
                  <a:cubicBezTo>
                    <a:pt x="12776" y="911"/>
                    <a:pt x="12776" y="911"/>
                    <a:pt x="12776" y="911"/>
                  </a:cubicBezTo>
                  <a:cubicBezTo>
                    <a:pt x="12798" y="930"/>
                    <a:pt x="12798" y="930"/>
                    <a:pt x="12798" y="930"/>
                  </a:cubicBezTo>
                  <a:cubicBezTo>
                    <a:pt x="12817" y="919"/>
                    <a:pt x="12817" y="919"/>
                    <a:pt x="12817" y="919"/>
                  </a:cubicBezTo>
                  <a:cubicBezTo>
                    <a:pt x="12817" y="919"/>
                    <a:pt x="12830" y="952"/>
                    <a:pt x="12837" y="955"/>
                  </a:cubicBezTo>
                  <a:cubicBezTo>
                    <a:pt x="12844" y="958"/>
                    <a:pt x="12865" y="954"/>
                    <a:pt x="12865" y="954"/>
                  </a:cubicBezTo>
                  <a:cubicBezTo>
                    <a:pt x="12865" y="954"/>
                    <a:pt x="12865" y="985"/>
                    <a:pt x="12876" y="981"/>
                  </a:cubicBezTo>
                  <a:cubicBezTo>
                    <a:pt x="12887" y="977"/>
                    <a:pt x="12902" y="937"/>
                    <a:pt x="12902" y="937"/>
                  </a:cubicBezTo>
                  <a:cubicBezTo>
                    <a:pt x="12918" y="928"/>
                    <a:pt x="12918" y="928"/>
                    <a:pt x="12918" y="928"/>
                  </a:cubicBezTo>
                  <a:cubicBezTo>
                    <a:pt x="12938" y="935"/>
                    <a:pt x="12938" y="935"/>
                    <a:pt x="12938" y="935"/>
                  </a:cubicBezTo>
                  <a:cubicBezTo>
                    <a:pt x="12937" y="926"/>
                    <a:pt x="12937" y="926"/>
                    <a:pt x="12937" y="926"/>
                  </a:cubicBezTo>
                  <a:cubicBezTo>
                    <a:pt x="12918" y="916"/>
                    <a:pt x="12918" y="916"/>
                    <a:pt x="12918" y="916"/>
                  </a:cubicBezTo>
                  <a:cubicBezTo>
                    <a:pt x="12918" y="916"/>
                    <a:pt x="12871" y="882"/>
                    <a:pt x="12882" y="881"/>
                  </a:cubicBezTo>
                  <a:cubicBezTo>
                    <a:pt x="12893" y="880"/>
                    <a:pt x="12947" y="882"/>
                    <a:pt x="12947" y="882"/>
                  </a:cubicBezTo>
                  <a:cubicBezTo>
                    <a:pt x="12981" y="882"/>
                    <a:pt x="12981" y="882"/>
                    <a:pt x="12981" y="882"/>
                  </a:cubicBezTo>
                  <a:cubicBezTo>
                    <a:pt x="12981" y="882"/>
                    <a:pt x="12984" y="896"/>
                    <a:pt x="12980" y="895"/>
                  </a:cubicBezTo>
                  <a:cubicBezTo>
                    <a:pt x="12976" y="894"/>
                    <a:pt x="12937" y="882"/>
                    <a:pt x="12939" y="896"/>
                  </a:cubicBezTo>
                  <a:cubicBezTo>
                    <a:pt x="12941" y="910"/>
                    <a:pt x="12964" y="923"/>
                    <a:pt x="12964" y="923"/>
                  </a:cubicBezTo>
                  <a:cubicBezTo>
                    <a:pt x="12966" y="940"/>
                    <a:pt x="12966" y="940"/>
                    <a:pt x="12966" y="940"/>
                  </a:cubicBezTo>
                  <a:cubicBezTo>
                    <a:pt x="12986" y="943"/>
                    <a:pt x="12986" y="943"/>
                    <a:pt x="12986" y="943"/>
                  </a:cubicBezTo>
                  <a:cubicBezTo>
                    <a:pt x="12982" y="956"/>
                    <a:pt x="12982" y="956"/>
                    <a:pt x="12982" y="956"/>
                  </a:cubicBezTo>
                  <a:cubicBezTo>
                    <a:pt x="12995" y="967"/>
                    <a:pt x="12995" y="967"/>
                    <a:pt x="12995" y="967"/>
                  </a:cubicBezTo>
                  <a:cubicBezTo>
                    <a:pt x="12977" y="970"/>
                    <a:pt x="12977" y="970"/>
                    <a:pt x="12977" y="970"/>
                  </a:cubicBezTo>
                  <a:cubicBezTo>
                    <a:pt x="12972" y="981"/>
                    <a:pt x="12972" y="981"/>
                    <a:pt x="12972" y="981"/>
                  </a:cubicBezTo>
                  <a:cubicBezTo>
                    <a:pt x="12960" y="985"/>
                    <a:pt x="12960" y="985"/>
                    <a:pt x="12960" y="985"/>
                  </a:cubicBezTo>
                  <a:cubicBezTo>
                    <a:pt x="12960" y="985"/>
                    <a:pt x="12973" y="1007"/>
                    <a:pt x="12966" y="1019"/>
                  </a:cubicBezTo>
                  <a:cubicBezTo>
                    <a:pt x="12959" y="1031"/>
                    <a:pt x="12948" y="1051"/>
                    <a:pt x="12948" y="1058"/>
                  </a:cubicBezTo>
                  <a:cubicBezTo>
                    <a:pt x="12948" y="1065"/>
                    <a:pt x="12966" y="1071"/>
                    <a:pt x="12953" y="1088"/>
                  </a:cubicBezTo>
                  <a:cubicBezTo>
                    <a:pt x="12940" y="1105"/>
                    <a:pt x="12918" y="1110"/>
                    <a:pt x="12918" y="1110"/>
                  </a:cubicBezTo>
                  <a:cubicBezTo>
                    <a:pt x="12921" y="1122"/>
                    <a:pt x="12921" y="1122"/>
                    <a:pt x="12921" y="1122"/>
                  </a:cubicBezTo>
                  <a:cubicBezTo>
                    <a:pt x="12908" y="1122"/>
                    <a:pt x="12908" y="1122"/>
                    <a:pt x="12908" y="1122"/>
                  </a:cubicBezTo>
                  <a:cubicBezTo>
                    <a:pt x="12908" y="1122"/>
                    <a:pt x="12932" y="1132"/>
                    <a:pt x="12930" y="1149"/>
                  </a:cubicBezTo>
                  <a:cubicBezTo>
                    <a:pt x="12928" y="1166"/>
                    <a:pt x="12921" y="1177"/>
                    <a:pt x="12928" y="1194"/>
                  </a:cubicBezTo>
                  <a:cubicBezTo>
                    <a:pt x="12935" y="1211"/>
                    <a:pt x="13000" y="1265"/>
                    <a:pt x="13000" y="1265"/>
                  </a:cubicBezTo>
                  <a:cubicBezTo>
                    <a:pt x="13040" y="1306"/>
                    <a:pt x="13040" y="1306"/>
                    <a:pt x="13040" y="1306"/>
                  </a:cubicBezTo>
                  <a:cubicBezTo>
                    <a:pt x="13049" y="1303"/>
                    <a:pt x="13049" y="1303"/>
                    <a:pt x="13049" y="1303"/>
                  </a:cubicBezTo>
                  <a:cubicBezTo>
                    <a:pt x="13102" y="1367"/>
                    <a:pt x="13102" y="1367"/>
                    <a:pt x="13102" y="1367"/>
                  </a:cubicBezTo>
                  <a:cubicBezTo>
                    <a:pt x="13137" y="1378"/>
                    <a:pt x="13137" y="1378"/>
                    <a:pt x="13137" y="1378"/>
                  </a:cubicBezTo>
                  <a:cubicBezTo>
                    <a:pt x="13152" y="1396"/>
                    <a:pt x="13152" y="1396"/>
                    <a:pt x="13152" y="1396"/>
                  </a:cubicBezTo>
                  <a:cubicBezTo>
                    <a:pt x="13152" y="1396"/>
                    <a:pt x="13191" y="1444"/>
                    <a:pt x="13198" y="1448"/>
                  </a:cubicBezTo>
                  <a:cubicBezTo>
                    <a:pt x="13205" y="1452"/>
                    <a:pt x="13216" y="1452"/>
                    <a:pt x="13216" y="1452"/>
                  </a:cubicBezTo>
                  <a:cubicBezTo>
                    <a:pt x="13216" y="1452"/>
                    <a:pt x="13210" y="1470"/>
                    <a:pt x="13225" y="1464"/>
                  </a:cubicBezTo>
                  <a:cubicBezTo>
                    <a:pt x="13240" y="1458"/>
                    <a:pt x="13238" y="1445"/>
                    <a:pt x="13238" y="1445"/>
                  </a:cubicBezTo>
                  <a:cubicBezTo>
                    <a:pt x="13231" y="1437"/>
                    <a:pt x="13231" y="1437"/>
                    <a:pt x="13231" y="1437"/>
                  </a:cubicBezTo>
                  <a:cubicBezTo>
                    <a:pt x="13231" y="1437"/>
                    <a:pt x="13246" y="1417"/>
                    <a:pt x="13243" y="1408"/>
                  </a:cubicBezTo>
                  <a:cubicBezTo>
                    <a:pt x="13240" y="1399"/>
                    <a:pt x="13209" y="1382"/>
                    <a:pt x="13216" y="1369"/>
                  </a:cubicBezTo>
                  <a:cubicBezTo>
                    <a:pt x="13223" y="1356"/>
                    <a:pt x="13232" y="1348"/>
                    <a:pt x="13235" y="1347"/>
                  </a:cubicBezTo>
                  <a:cubicBezTo>
                    <a:pt x="13238" y="1346"/>
                    <a:pt x="13258" y="1354"/>
                    <a:pt x="13258" y="1354"/>
                  </a:cubicBezTo>
                  <a:cubicBezTo>
                    <a:pt x="13258" y="1354"/>
                    <a:pt x="13236" y="1328"/>
                    <a:pt x="13230" y="1324"/>
                  </a:cubicBezTo>
                  <a:cubicBezTo>
                    <a:pt x="13224" y="1320"/>
                    <a:pt x="13209" y="1314"/>
                    <a:pt x="13212" y="1299"/>
                  </a:cubicBezTo>
                  <a:cubicBezTo>
                    <a:pt x="13215" y="1284"/>
                    <a:pt x="13233" y="1279"/>
                    <a:pt x="13233" y="1279"/>
                  </a:cubicBezTo>
                  <a:cubicBezTo>
                    <a:pt x="13233" y="1279"/>
                    <a:pt x="13262" y="1291"/>
                    <a:pt x="13260" y="1276"/>
                  </a:cubicBezTo>
                  <a:cubicBezTo>
                    <a:pt x="13258" y="1261"/>
                    <a:pt x="13245" y="1257"/>
                    <a:pt x="13229" y="1249"/>
                  </a:cubicBezTo>
                  <a:cubicBezTo>
                    <a:pt x="13213" y="1241"/>
                    <a:pt x="13199" y="1222"/>
                    <a:pt x="13198" y="1211"/>
                  </a:cubicBezTo>
                  <a:cubicBezTo>
                    <a:pt x="13197" y="1200"/>
                    <a:pt x="13191" y="1188"/>
                    <a:pt x="13191" y="1188"/>
                  </a:cubicBezTo>
                  <a:cubicBezTo>
                    <a:pt x="13198" y="1185"/>
                    <a:pt x="13198" y="1185"/>
                    <a:pt x="13198" y="1185"/>
                  </a:cubicBezTo>
                  <a:cubicBezTo>
                    <a:pt x="13198" y="1185"/>
                    <a:pt x="13224" y="1210"/>
                    <a:pt x="13230" y="1205"/>
                  </a:cubicBezTo>
                  <a:cubicBezTo>
                    <a:pt x="13236" y="1200"/>
                    <a:pt x="13212" y="1173"/>
                    <a:pt x="13212" y="1173"/>
                  </a:cubicBezTo>
                  <a:cubicBezTo>
                    <a:pt x="13189" y="1170"/>
                    <a:pt x="13189" y="1170"/>
                    <a:pt x="13189" y="1170"/>
                  </a:cubicBezTo>
                  <a:cubicBezTo>
                    <a:pt x="13156" y="1142"/>
                    <a:pt x="13156" y="1142"/>
                    <a:pt x="13156" y="1142"/>
                  </a:cubicBezTo>
                  <a:cubicBezTo>
                    <a:pt x="13156" y="1142"/>
                    <a:pt x="13160" y="1121"/>
                    <a:pt x="13144" y="1114"/>
                  </a:cubicBezTo>
                  <a:cubicBezTo>
                    <a:pt x="13128" y="1107"/>
                    <a:pt x="13116" y="1107"/>
                    <a:pt x="13116" y="1107"/>
                  </a:cubicBezTo>
                  <a:cubicBezTo>
                    <a:pt x="13117" y="1119"/>
                    <a:pt x="13117" y="1119"/>
                    <a:pt x="13117" y="1119"/>
                  </a:cubicBezTo>
                  <a:cubicBezTo>
                    <a:pt x="13117" y="1119"/>
                    <a:pt x="13073" y="1109"/>
                    <a:pt x="13072" y="1093"/>
                  </a:cubicBezTo>
                  <a:cubicBezTo>
                    <a:pt x="13071" y="1077"/>
                    <a:pt x="13079" y="1066"/>
                    <a:pt x="13071" y="1051"/>
                  </a:cubicBezTo>
                  <a:cubicBezTo>
                    <a:pt x="13063" y="1036"/>
                    <a:pt x="13047" y="1028"/>
                    <a:pt x="13047" y="1028"/>
                  </a:cubicBezTo>
                  <a:cubicBezTo>
                    <a:pt x="13047" y="1028"/>
                    <a:pt x="13049" y="1012"/>
                    <a:pt x="13053" y="1010"/>
                  </a:cubicBezTo>
                  <a:cubicBezTo>
                    <a:pt x="13057" y="1008"/>
                    <a:pt x="13066" y="1015"/>
                    <a:pt x="13066" y="1015"/>
                  </a:cubicBezTo>
                  <a:cubicBezTo>
                    <a:pt x="13075" y="1004"/>
                    <a:pt x="13075" y="1004"/>
                    <a:pt x="13075" y="1004"/>
                  </a:cubicBezTo>
                  <a:cubicBezTo>
                    <a:pt x="13100" y="1023"/>
                    <a:pt x="13100" y="1023"/>
                    <a:pt x="13100" y="1023"/>
                  </a:cubicBezTo>
                  <a:cubicBezTo>
                    <a:pt x="13105" y="1018"/>
                    <a:pt x="13105" y="1018"/>
                    <a:pt x="13105" y="1018"/>
                  </a:cubicBezTo>
                  <a:cubicBezTo>
                    <a:pt x="13097" y="1010"/>
                    <a:pt x="13097" y="1010"/>
                    <a:pt x="13097" y="1010"/>
                  </a:cubicBezTo>
                  <a:cubicBezTo>
                    <a:pt x="13097" y="1010"/>
                    <a:pt x="13103" y="978"/>
                    <a:pt x="13114" y="984"/>
                  </a:cubicBezTo>
                  <a:cubicBezTo>
                    <a:pt x="13125" y="990"/>
                    <a:pt x="13152" y="1023"/>
                    <a:pt x="13152" y="1023"/>
                  </a:cubicBezTo>
                  <a:cubicBezTo>
                    <a:pt x="13159" y="990"/>
                    <a:pt x="13159" y="990"/>
                    <a:pt x="13159" y="990"/>
                  </a:cubicBezTo>
                  <a:cubicBezTo>
                    <a:pt x="13159" y="990"/>
                    <a:pt x="13216" y="983"/>
                    <a:pt x="13225" y="983"/>
                  </a:cubicBezTo>
                  <a:cubicBezTo>
                    <a:pt x="13234" y="983"/>
                    <a:pt x="13271" y="1003"/>
                    <a:pt x="13271" y="1003"/>
                  </a:cubicBezTo>
                  <a:cubicBezTo>
                    <a:pt x="13299" y="1014"/>
                    <a:pt x="13299" y="1014"/>
                    <a:pt x="13299" y="1014"/>
                  </a:cubicBezTo>
                  <a:cubicBezTo>
                    <a:pt x="13279" y="974"/>
                    <a:pt x="13279" y="974"/>
                    <a:pt x="13279" y="974"/>
                  </a:cubicBezTo>
                  <a:cubicBezTo>
                    <a:pt x="13279" y="974"/>
                    <a:pt x="13311" y="975"/>
                    <a:pt x="13313" y="964"/>
                  </a:cubicBezTo>
                  <a:cubicBezTo>
                    <a:pt x="13315" y="953"/>
                    <a:pt x="13305" y="935"/>
                    <a:pt x="13305" y="935"/>
                  </a:cubicBezTo>
                  <a:cubicBezTo>
                    <a:pt x="13318" y="936"/>
                    <a:pt x="13318" y="936"/>
                    <a:pt x="13318" y="936"/>
                  </a:cubicBezTo>
                  <a:cubicBezTo>
                    <a:pt x="13321" y="920"/>
                    <a:pt x="13321" y="920"/>
                    <a:pt x="13321" y="920"/>
                  </a:cubicBezTo>
                  <a:cubicBezTo>
                    <a:pt x="13321" y="920"/>
                    <a:pt x="13360" y="929"/>
                    <a:pt x="13366" y="914"/>
                  </a:cubicBezTo>
                  <a:cubicBezTo>
                    <a:pt x="13372" y="899"/>
                    <a:pt x="13392" y="887"/>
                    <a:pt x="13392" y="887"/>
                  </a:cubicBezTo>
                  <a:cubicBezTo>
                    <a:pt x="13378" y="870"/>
                    <a:pt x="13378" y="870"/>
                    <a:pt x="13378" y="870"/>
                  </a:cubicBezTo>
                  <a:cubicBezTo>
                    <a:pt x="13399" y="872"/>
                    <a:pt x="13399" y="872"/>
                    <a:pt x="13399" y="872"/>
                  </a:cubicBezTo>
                  <a:cubicBezTo>
                    <a:pt x="13402" y="884"/>
                    <a:pt x="13402" y="884"/>
                    <a:pt x="13402" y="884"/>
                  </a:cubicBezTo>
                  <a:cubicBezTo>
                    <a:pt x="13443" y="887"/>
                    <a:pt x="13443" y="887"/>
                    <a:pt x="13443" y="887"/>
                  </a:cubicBezTo>
                  <a:cubicBezTo>
                    <a:pt x="13443" y="887"/>
                    <a:pt x="13485" y="897"/>
                    <a:pt x="13485" y="891"/>
                  </a:cubicBezTo>
                  <a:cubicBezTo>
                    <a:pt x="13485" y="885"/>
                    <a:pt x="13481" y="873"/>
                    <a:pt x="13481" y="873"/>
                  </a:cubicBezTo>
                  <a:cubicBezTo>
                    <a:pt x="13456" y="870"/>
                    <a:pt x="13456" y="870"/>
                    <a:pt x="13456" y="870"/>
                  </a:cubicBezTo>
                  <a:cubicBezTo>
                    <a:pt x="13452" y="856"/>
                    <a:pt x="13452" y="856"/>
                    <a:pt x="13452" y="856"/>
                  </a:cubicBezTo>
                  <a:cubicBezTo>
                    <a:pt x="13452" y="856"/>
                    <a:pt x="13415" y="843"/>
                    <a:pt x="13403" y="839"/>
                  </a:cubicBezTo>
                  <a:cubicBezTo>
                    <a:pt x="13391" y="835"/>
                    <a:pt x="13382" y="841"/>
                    <a:pt x="13382" y="841"/>
                  </a:cubicBezTo>
                  <a:cubicBezTo>
                    <a:pt x="13386" y="829"/>
                    <a:pt x="13386" y="829"/>
                    <a:pt x="13386" y="829"/>
                  </a:cubicBezTo>
                  <a:cubicBezTo>
                    <a:pt x="13338" y="795"/>
                    <a:pt x="13338" y="795"/>
                    <a:pt x="13338" y="795"/>
                  </a:cubicBezTo>
                  <a:cubicBezTo>
                    <a:pt x="13327" y="806"/>
                    <a:pt x="13327" y="806"/>
                    <a:pt x="13327" y="806"/>
                  </a:cubicBezTo>
                  <a:cubicBezTo>
                    <a:pt x="13327" y="806"/>
                    <a:pt x="13307" y="801"/>
                    <a:pt x="13299" y="798"/>
                  </a:cubicBezTo>
                  <a:cubicBezTo>
                    <a:pt x="13291" y="795"/>
                    <a:pt x="13280" y="786"/>
                    <a:pt x="13280" y="786"/>
                  </a:cubicBezTo>
                  <a:cubicBezTo>
                    <a:pt x="13257" y="791"/>
                    <a:pt x="13257" y="791"/>
                    <a:pt x="13257" y="791"/>
                  </a:cubicBezTo>
                  <a:cubicBezTo>
                    <a:pt x="13238" y="789"/>
                    <a:pt x="13238" y="789"/>
                    <a:pt x="13238" y="789"/>
                  </a:cubicBezTo>
                  <a:cubicBezTo>
                    <a:pt x="13238" y="789"/>
                    <a:pt x="13207" y="771"/>
                    <a:pt x="13219" y="768"/>
                  </a:cubicBezTo>
                  <a:cubicBezTo>
                    <a:pt x="13231" y="765"/>
                    <a:pt x="13243" y="772"/>
                    <a:pt x="13252" y="774"/>
                  </a:cubicBezTo>
                  <a:cubicBezTo>
                    <a:pt x="13261" y="776"/>
                    <a:pt x="13305" y="783"/>
                    <a:pt x="13305" y="783"/>
                  </a:cubicBezTo>
                  <a:cubicBezTo>
                    <a:pt x="13305" y="783"/>
                    <a:pt x="13357" y="768"/>
                    <a:pt x="13357" y="761"/>
                  </a:cubicBezTo>
                  <a:cubicBezTo>
                    <a:pt x="13357" y="754"/>
                    <a:pt x="13327" y="738"/>
                    <a:pt x="13324" y="736"/>
                  </a:cubicBezTo>
                  <a:cubicBezTo>
                    <a:pt x="13321" y="734"/>
                    <a:pt x="13272" y="717"/>
                    <a:pt x="13287" y="708"/>
                  </a:cubicBezTo>
                  <a:cubicBezTo>
                    <a:pt x="13302" y="699"/>
                    <a:pt x="13327" y="719"/>
                    <a:pt x="13327" y="719"/>
                  </a:cubicBezTo>
                  <a:cubicBezTo>
                    <a:pt x="13327" y="719"/>
                    <a:pt x="13374" y="748"/>
                    <a:pt x="13388" y="746"/>
                  </a:cubicBezTo>
                  <a:cubicBezTo>
                    <a:pt x="13402" y="744"/>
                    <a:pt x="13407" y="730"/>
                    <a:pt x="13446" y="743"/>
                  </a:cubicBezTo>
                  <a:cubicBezTo>
                    <a:pt x="13485" y="756"/>
                    <a:pt x="13519" y="770"/>
                    <a:pt x="13530" y="772"/>
                  </a:cubicBezTo>
                  <a:cubicBezTo>
                    <a:pt x="13541" y="774"/>
                    <a:pt x="13584" y="786"/>
                    <a:pt x="13584" y="786"/>
                  </a:cubicBezTo>
                  <a:cubicBezTo>
                    <a:pt x="13584" y="786"/>
                    <a:pt x="13643" y="821"/>
                    <a:pt x="13639" y="803"/>
                  </a:cubicBezTo>
                  <a:cubicBezTo>
                    <a:pt x="13635" y="785"/>
                    <a:pt x="13615" y="774"/>
                    <a:pt x="13615" y="774"/>
                  </a:cubicBezTo>
                  <a:cubicBezTo>
                    <a:pt x="13627" y="765"/>
                    <a:pt x="13627" y="765"/>
                    <a:pt x="13627" y="765"/>
                  </a:cubicBezTo>
                  <a:cubicBezTo>
                    <a:pt x="13597" y="752"/>
                    <a:pt x="13597" y="752"/>
                    <a:pt x="13597" y="752"/>
                  </a:cubicBezTo>
                  <a:cubicBezTo>
                    <a:pt x="13603" y="748"/>
                    <a:pt x="13603" y="748"/>
                    <a:pt x="13603" y="748"/>
                  </a:cubicBezTo>
                  <a:cubicBezTo>
                    <a:pt x="13570" y="731"/>
                    <a:pt x="13570" y="731"/>
                    <a:pt x="13570" y="731"/>
                  </a:cubicBezTo>
                  <a:cubicBezTo>
                    <a:pt x="13606" y="738"/>
                    <a:pt x="13606" y="738"/>
                    <a:pt x="13606" y="738"/>
                  </a:cubicBezTo>
                  <a:cubicBezTo>
                    <a:pt x="13602" y="725"/>
                    <a:pt x="13602" y="725"/>
                    <a:pt x="13602" y="725"/>
                  </a:cubicBezTo>
                  <a:cubicBezTo>
                    <a:pt x="13602" y="725"/>
                    <a:pt x="13653" y="737"/>
                    <a:pt x="13642" y="723"/>
                  </a:cubicBezTo>
                  <a:cubicBezTo>
                    <a:pt x="13631" y="709"/>
                    <a:pt x="13601" y="704"/>
                    <a:pt x="13601" y="704"/>
                  </a:cubicBezTo>
                  <a:cubicBezTo>
                    <a:pt x="13570" y="690"/>
                    <a:pt x="13570" y="690"/>
                    <a:pt x="13570" y="690"/>
                  </a:cubicBezTo>
                  <a:cubicBezTo>
                    <a:pt x="13543" y="691"/>
                    <a:pt x="13543" y="691"/>
                    <a:pt x="13543" y="691"/>
                  </a:cubicBezTo>
                  <a:cubicBezTo>
                    <a:pt x="13523" y="678"/>
                    <a:pt x="13523" y="678"/>
                    <a:pt x="13523" y="678"/>
                  </a:cubicBezTo>
                  <a:cubicBezTo>
                    <a:pt x="13462" y="674"/>
                    <a:pt x="13462" y="674"/>
                    <a:pt x="13462" y="674"/>
                  </a:cubicBezTo>
                  <a:cubicBezTo>
                    <a:pt x="13437" y="662"/>
                    <a:pt x="13437" y="662"/>
                    <a:pt x="13437" y="662"/>
                  </a:cubicBezTo>
                  <a:cubicBezTo>
                    <a:pt x="13413" y="664"/>
                    <a:pt x="13413" y="664"/>
                    <a:pt x="13413" y="664"/>
                  </a:cubicBezTo>
                  <a:cubicBezTo>
                    <a:pt x="13446" y="689"/>
                    <a:pt x="13446" y="689"/>
                    <a:pt x="13446" y="689"/>
                  </a:cubicBezTo>
                  <a:cubicBezTo>
                    <a:pt x="13482" y="705"/>
                    <a:pt x="13482" y="705"/>
                    <a:pt x="13482" y="705"/>
                  </a:cubicBezTo>
                  <a:cubicBezTo>
                    <a:pt x="13482" y="705"/>
                    <a:pt x="13442" y="711"/>
                    <a:pt x="13430" y="701"/>
                  </a:cubicBezTo>
                  <a:cubicBezTo>
                    <a:pt x="13418" y="691"/>
                    <a:pt x="13417" y="669"/>
                    <a:pt x="13364" y="651"/>
                  </a:cubicBezTo>
                  <a:cubicBezTo>
                    <a:pt x="13311" y="633"/>
                    <a:pt x="13295" y="626"/>
                    <a:pt x="13241" y="617"/>
                  </a:cubicBezTo>
                  <a:cubicBezTo>
                    <a:pt x="13187" y="608"/>
                    <a:pt x="13074" y="582"/>
                    <a:pt x="13020" y="569"/>
                  </a:cubicBezTo>
                  <a:cubicBezTo>
                    <a:pt x="12966" y="556"/>
                    <a:pt x="12905" y="547"/>
                    <a:pt x="12905" y="547"/>
                  </a:cubicBezTo>
                  <a:cubicBezTo>
                    <a:pt x="12783" y="549"/>
                    <a:pt x="12783" y="549"/>
                    <a:pt x="12783" y="549"/>
                  </a:cubicBezTo>
                  <a:cubicBezTo>
                    <a:pt x="12774" y="537"/>
                    <a:pt x="12774" y="537"/>
                    <a:pt x="12774" y="537"/>
                  </a:cubicBezTo>
                  <a:cubicBezTo>
                    <a:pt x="12743" y="539"/>
                    <a:pt x="12743" y="539"/>
                    <a:pt x="12743" y="539"/>
                  </a:cubicBezTo>
                  <a:cubicBezTo>
                    <a:pt x="12732" y="531"/>
                    <a:pt x="12732" y="531"/>
                    <a:pt x="12732" y="531"/>
                  </a:cubicBezTo>
                  <a:cubicBezTo>
                    <a:pt x="12696" y="530"/>
                    <a:pt x="12696" y="530"/>
                    <a:pt x="12696" y="530"/>
                  </a:cubicBezTo>
                  <a:cubicBezTo>
                    <a:pt x="12713" y="542"/>
                    <a:pt x="12713" y="542"/>
                    <a:pt x="12713" y="542"/>
                  </a:cubicBezTo>
                  <a:cubicBezTo>
                    <a:pt x="12708" y="556"/>
                    <a:pt x="12708" y="556"/>
                    <a:pt x="12708" y="556"/>
                  </a:cubicBezTo>
                  <a:cubicBezTo>
                    <a:pt x="12708" y="556"/>
                    <a:pt x="12807" y="579"/>
                    <a:pt x="12778" y="592"/>
                  </a:cubicBezTo>
                  <a:cubicBezTo>
                    <a:pt x="12749" y="605"/>
                    <a:pt x="12731" y="588"/>
                    <a:pt x="12731" y="588"/>
                  </a:cubicBezTo>
                  <a:cubicBezTo>
                    <a:pt x="12714" y="574"/>
                    <a:pt x="12714" y="574"/>
                    <a:pt x="12714" y="574"/>
                  </a:cubicBezTo>
                  <a:cubicBezTo>
                    <a:pt x="12669" y="574"/>
                    <a:pt x="12669" y="574"/>
                    <a:pt x="12669" y="574"/>
                  </a:cubicBezTo>
                  <a:cubicBezTo>
                    <a:pt x="12632" y="551"/>
                    <a:pt x="12632" y="551"/>
                    <a:pt x="12632" y="551"/>
                  </a:cubicBezTo>
                  <a:cubicBezTo>
                    <a:pt x="12632" y="551"/>
                    <a:pt x="12614" y="555"/>
                    <a:pt x="12610" y="558"/>
                  </a:cubicBezTo>
                  <a:cubicBezTo>
                    <a:pt x="12606" y="561"/>
                    <a:pt x="12574" y="560"/>
                    <a:pt x="12574" y="560"/>
                  </a:cubicBezTo>
                  <a:cubicBezTo>
                    <a:pt x="12570" y="552"/>
                    <a:pt x="12570" y="552"/>
                    <a:pt x="12570" y="552"/>
                  </a:cubicBezTo>
                  <a:cubicBezTo>
                    <a:pt x="12508" y="555"/>
                    <a:pt x="12508" y="555"/>
                    <a:pt x="12508" y="555"/>
                  </a:cubicBezTo>
                  <a:cubicBezTo>
                    <a:pt x="12492" y="543"/>
                    <a:pt x="12492" y="543"/>
                    <a:pt x="12492" y="543"/>
                  </a:cubicBezTo>
                  <a:cubicBezTo>
                    <a:pt x="12487" y="549"/>
                    <a:pt x="12487" y="549"/>
                    <a:pt x="12487" y="549"/>
                  </a:cubicBezTo>
                  <a:cubicBezTo>
                    <a:pt x="12487" y="549"/>
                    <a:pt x="12409" y="542"/>
                    <a:pt x="12414" y="552"/>
                  </a:cubicBezTo>
                  <a:cubicBezTo>
                    <a:pt x="12419" y="562"/>
                    <a:pt x="12448" y="586"/>
                    <a:pt x="12448" y="586"/>
                  </a:cubicBezTo>
                  <a:cubicBezTo>
                    <a:pt x="12448" y="586"/>
                    <a:pt x="12412" y="565"/>
                    <a:pt x="12407" y="560"/>
                  </a:cubicBezTo>
                  <a:cubicBezTo>
                    <a:pt x="12402" y="555"/>
                    <a:pt x="12336" y="547"/>
                    <a:pt x="12336" y="547"/>
                  </a:cubicBezTo>
                  <a:cubicBezTo>
                    <a:pt x="12336" y="547"/>
                    <a:pt x="12326" y="529"/>
                    <a:pt x="12301" y="516"/>
                  </a:cubicBezTo>
                  <a:cubicBezTo>
                    <a:pt x="12276" y="503"/>
                    <a:pt x="12238" y="497"/>
                    <a:pt x="12221" y="496"/>
                  </a:cubicBezTo>
                  <a:cubicBezTo>
                    <a:pt x="12204" y="495"/>
                    <a:pt x="12169" y="491"/>
                    <a:pt x="12169" y="491"/>
                  </a:cubicBezTo>
                  <a:cubicBezTo>
                    <a:pt x="12135" y="484"/>
                    <a:pt x="12135" y="484"/>
                    <a:pt x="12135" y="484"/>
                  </a:cubicBezTo>
                  <a:cubicBezTo>
                    <a:pt x="12126" y="488"/>
                    <a:pt x="12126" y="488"/>
                    <a:pt x="12126" y="488"/>
                  </a:cubicBezTo>
                  <a:cubicBezTo>
                    <a:pt x="12086" y="486"/>
                    <a:pt x="12086" y="486"/>
                    <a:pt x="12086" y="486"/>
                  </a:cubicBezTo>
                  <a:cubicBezTo>
                    <a:pt x="12086" y="486"/>
                    <a:pt x="12081" y="506"/>
                    <a:pt x="12059" y="503"/>
                  </a:cubicBezTo>
                  <a:cubicBezTo>
                    <a:pt x="12037" y="500"/>
                    <a:pt x="12008" y="498"/>
                    <a:pt x="12008" y="498"/>
                  </a:cubicBezTo>
                  <a:cubicBezTo>
                    <a:pt x="12008" y="498"/>
                    <a:pt x="11978" y="478"/>
                    <a:pt x="11961" y="477"/>
                  </a:cubicBezTo>
                  <a:cubicBezTo>
                    <a:pt x="11944" y="476"/>
                    <a:pt x="11935" y="479"/>
                    <a:pt x="11935" y="479"/>
                  </a:cubicBezTo>
                  <a:cubicBezTo>
                    <a:pt x="11929" y="468"/>
                    <a:pt x="11929" y="468"/>
                    <a:pt x="11929" y="468"/>
                  </a:cubicBezTo>
                  <a:cubicBezTo>
                    <a:pt x="11904" y="466"/>
                    <a:pt x="11904" y="466"/>
                    <a:pt x="11904" y="466"/>
                  </a:cubicBezTo>
                  <a:cubicBezTo>
                    <a:pt x="11861" y="462"/>
                    <a:pt x="11861" y="462"/>
                    <a:pt x="11861" y="462"/>
                  </a:cubicBezTo>
                  <a:cubicBezTo>
                    <a:pt x="11885" y="454"/>
                    <a:pt x="11885" y="454"/>
                    <a:pt x="11885" y="454"/>
                  </a:cubicBezTo>
                  <a:cubicBezTo>
                    <a:pt x="11859" y="441"/>
                    <a:pt x="11859" y="441"/>
                    <a:pt x="11859" y="441"/>
                  </a:cubicBezTo>
                  <a:cubicBezTo>
                    <a:pt x="11859" y="441"/>
                    <a:pt x="11766" y="428"/>
                    <a:pt x="11763" y="434"/>
                  </a:cubicBezTo>
                  <a:cubicBezTo>
                    <a:pt x="11760" y="440"/>
                    <a:pt x="11772" y="459"/>
                    <a:pt x="11757" y="460"/>
                  </a:cubicBezTo>
                  <a:cubicBezTo>
                    <a:pt x="11742" y="461"/>
                    <a:pt x="11722" y="457"/>
                    <a:pt x="11722" y="457"/>
                  </a:cubicBezTo>
                  <a:cubicBezTo>
                    <a:pt x="11734" y="449"/>
                    <a:pt x="11734" y="449"/>
                    <a:pt x="11734" y="449"/>
                  </a:cubicBezTo>
                  <a:cubicBezTo>
                    <a:pt x="11724" y="439"/>
                    <a:pt x="11724" y="439"/>
                    <a:pt x="11724" y="439"/>
                  </a:cubicBezTo>
                  <a:cubicBezTo>
                    <a:pt x="11724" y="439"/>
                    <a:pt x="11718" y="439"/>
                    <a:pt x="11704" y="441"/>
                  </a:cubicBezTo>
                  <a:cubicBezTo>
                    <a:pt x="11690" y="443"/>
                    <a:pt x="11676" y="438"/>
                    <a:pt x="11676" y="438"/>
                  </a:cubicBezTo>
                  <a:cubicBezTo>
                    <a:pt x="11687" y="433"/>
                    <a:pt x="11687" y="433"/>
                    <a:pt x="11687" y="433"/>
                  </a:cubicBezTo>
                  <a:cubicBezTo>
                    <a:pt x="11717" y="430"/>
                    <a:pt x="11717" y="430"/>
                    <a:pt x="11717" y="430"/>
                  </a:cubicBezTo>
                  <a:cubicBezTo>
                    <a:pt x="11755" y="453"/>
                    <a:pt x="11755" y="453"/>
                    <a:pt x="11755" y="453"/>
                  </a:cubicBezTo>
                  <a:cubicBezTo>
                    <a:pt x="11757" y="434"/>
                    <a:pt x="11757" y="434"/>
                    <a:pt x="11757" y="434"/>
                  </a:cubicBezTo>
                  <a:cubicBezTo>
                    <a:pt x="11718" y="421"/>
                    <a:pt x="11718" y="421"/>
                    <a:pt x="11718" y="421"/>
                  </a:cubicBezTo>
                  <a:cubicBezTo>
                    <a:pt x="11645" y="425"/>
                    <a:pt x="11645" y="425"/>
                    <a:pt x="11645" y="425"/>
                  </a:cubicBezTo>
                  <a:cubicBezTo>
                    <a:pt x="11644" y="416"/>
                    <a:pt x="11644" y="416"/>
                    <a:pt x="11644" y="416"/>
                  </a:cubicBezTo>
                  <a:cubicBezTo>
                    <a:pt x="11563" y="421"/>
                    <a:pt x="11563" y="421"/>
                    <a:pt x="11563" y="421"/>
                  </a:cubicBezTo>
                  <a:cubicBezTo>
                    <a:pt x="11532" y="408"/>
                    <a:pt x="11532" y="408"/>
                    <a:pt x="11532" y="408"/>
                  </a:cubicBezTo>
                  <a:cubicBezTo>
                    <a:pt x="11519" y="408"/>
                    <a:pt x="11519" y="408"/>
                    <a:pt x="11519" y="408"/>
                  </a:cubicBezTo>
                  <a:cubicBezTo>
                    <a:pt x="11544" y="424"/>
                    <a:pt x="11544" y="424"/>
                    <a:pt x="11544" y="424"/>
                  </a:cubicBezTo>
                  <a:cubicBezTo>
                    <a:pt x="11544" y="424"/>
                    <a:pt x="11492" y="423"/>
                    <a:pt x="11500" y="431"/>
                  </a:cubicBezTo>
                  <a:cubicBezTo>
                    <a:pt x="11508" y="439"/>
                    <a:pt x="11518" y="444"/>
                    <a:pt x="11518" y="444"/>
                  </a:cubicBezTo>
                  <a:cubicBezTo>
                    <a:pt x="11539" y="442"/>
                    <a:pt x="11539" y="442"/>
                    <a:pt x="11539" y="442"/>
                  </a:cubicBezTo>
                  <a:cubicBezTo>
                    <a:pt x="11539" y="447"/>
                    <a:pt x="11539" y="447"/>
                    <a:pt x="11539" y="447"/>
                  </a:cubicBezTo>
                  <a:cubicBezTo>
                    <a:pt x="11578" y="473"/>
                    <a:pt x="11578" y="473"/>
                    <a:pt x="11578" y="473"/>
                  </a:cubicBezTo>
                  <a:cubicBezTo>
                    <a:pt x="11578" y="473"/>
                    <a:pt x="11572" y="474"/>
                    <a:pt x="11557" y="473"/>
                  </a:cubicBezTo>
                  <a:cubicBezTo>
                    <a:pt x="11542" y="472"/>
                    <a:pt x="11522" y="457"/>
                    <a:pt x="11517" y="462"/>
                  </a:cubicBezTo>
                  <a:cubicBezTo>
                    <a:pt x="11512" y="467"/>
                    <a:pt x="11508" y="470"/>
                    <a:pt x="11508" y="470"/>
                  </a:cubicBezTo>
                  <a:cubicBezTo>
                    <a:pt x="11525" y="484"/>
                    <a:pt x="11525" y="484"/>
                    <a:pt x="11525" y="484"/>
                  </a:cubicBezTo>
                  <a:cubicBezTo>
                    <a:pt x="11489" y="479"/>
                    <a:pt x="11489" y="479"/>
                    <a:pt x="11489" y="479"/>
                  </a:cubicBezTo>
                  <a:cubicBezTo>
                    <a:pt x="11489" y="479"/>
                    <a:pt x="11440" y="463"/>
                    <a:pt x="11432" y="464"/>
                  </a:cubicBezTo>
                  <a:cubicBezTo>
                    <a:pt x="11424" y="465"/>
                    <a:pt x="11396" y="477"/>
                    <a:pt x="11396" y="477"/>
                  </a:cubicBezTo>
                  <a:cubicBezTo>
                    <a:pt x="11351" y="473"/>
                    <a:pt x="11351" y="473"/>
                    <a:pt x="11351" y="473"/>
                  </a:cubicBezTo>
                  <a:cubicBezTo>
                    <a:pt x="11351" y="473"/>
                    <a:pt x="11313" y="455"/>
                    <a:pt x="11310" y="451"/>
                  </a:cubicBezTo>
                  <a:cubicBezTo>
                    <a:pt x="11307" y="447"/>
                    <a:pt x="11300" y="457"/>
                    <a:pt x="11303" y="465"/>
                  </a:cubicBezTo>
                  <a:cubicBezTo>
                    <a:pt x="11306" y="473"/>
                    <a:pt x="11333" y="501"/>
                    <a:pt x="11317" y="502"/>
                  </a:cubicBezTo>
                  <a:cubicBezTo>
                    <a:pt x="11301" y="503"/>
                    <a:pt x="11222" y="474"/>
                    <a:pt x="11219" y="472"/>
                  </a:cubicBezTo>
                  <a:cubicBezTo>
                    <a:pt x="11216" y="470"/>
                    <a:pt x="11197" y="453"/>
                    <a:pt x="11197" y="453"/>
                  </a:cubicBezTo>
                  <a:cubicBezTo>
                    <a:pt x="11195" y="463"/>
                    <a:pt x="11195" y="463"/>
                    <a:pt x="11195" y="463"/>
                  </a:cubicBezTo>
                  <a:cubicBezTo>
                    <a:pt x="11158" y="452"/>
                    <a:pt x="11158" y="452"/>
                    <a:pt x="11158" y="452"/>
                  </a:cubicBezTo>
                  <a:cubicBezTo>
                    <a:pt x="11141" y="440"/>
                    <a:pt x="11141" y="440"/>
                    <a:pt x="11141" y="440"/>
                  </a:cubicBezTo>
                  <a:cubicBezTo>
                    <a:pt x="11141" y="440"/>
                    <a:pt x="11179" y="450"/>
                    <a:pt x="11185" y="445"/>
                  </a:cubicBezTo>
                  <a:cubicBezTo>
                    <a:pt x="11191" y="440"/>
                    <a:pt x="11162" y="426"/>
                    <a:pt x="11162" y="426"/>
                  </a:cubicBezTo>
                  <a:cubicBezTo>
                    <a:pt x="11139" y="426"/>
                    <a:pt x="11139" y="426"/>
                    <a:pt x="11139" y="426"/>
                  </a:cubicBezTo>
                  <a:cubicBezTo>
                    <a:pt x="11139" y="426"/>
                    <a:pt x="11150" y="420"/>
                    <a:pt x="11143" y="415"/>
                  </a:cubicBezTo>
                  <a:cubicBezTo>
                    <a:pt x="11136" y="410"/>
                    <a:pt x="11116" y="410"/>
                    <a:pt x="11116" y="410"/>
                  </a:cubicBezTo>
                  <a:cubicBezTo>
                    <a:pt x="11124" y="401"/>
                    <a:pt x="11124" y="401"/>
                    <a:pt x="11124" y="401"/>
                  </a:cubicBezTo>
                  <a:cubicBezTo>
                    <a:pt x="11124" y="401"/>
                    <a:pt x="11092" y="392"/>
                    <a:pt x="11088" y="392"/>
                  </a:cubicBezTo>
                  <a:cubicBezTo>
                    <a:pt x="11084" y="392"/>
                    <a:pt x="11069" y="382"/>
                    <a:pt x="11069" y="382"/>
                  </a:cubicBezTo>
                  <a:cubicBezTo>
                    <a:pt x="11038" y="382"/>
                    <a:pt x="11038" y="382"/>
                    <a:pt x="11038" y="382"/>
                  </a:cubicBezTo>
                  <a:cubicBezTo>
                    <a:pt x="11038" y="382"/>
                    <a:pt x="11047" y="385"/>
                    <a:pt x="11024" y="386"/>
                  </a:cubicBezTo>
                  <a:cubicBezTo>
                    <a:pt x="11001" y="387"/>
                    <a:pt x="10986" y="379"/>
                    <a:pt x="10986" y="379"/>
                  </a:cubicBezTo>
                  <a:cubicBezTo>
                    <a:pt x="10972" y="385"/>
                    <a:pt x="10972" y="385"/>
                    <a:pt x="10972" y="385"/>
                  </a:cubicBezTo>
                  <a:cubicBezTo>
                    <a:pt x="10970" y="376"/>
                    <a:pt x="10970" y="376"/>
                    <a:pt x="10970" y="376"/>
                  </a:cubicBezTo>
                  <a:cubicBezTo>
                    <a:pt x="10938" y="370"/>
                    <a:pt x="10938" y="370"/>
                    <a:pt x="10938" y="370"/>
                  </a:cubicBezTo>
                  <a:cubicBezTo>
                    <a:pt x="10931" y="364"/>
                    <a:pt x="10931" y="364"/>
                    <a:pt x="10931" y="364"/>
                  </a:cubicBezTo>
                  <a:cubicBezTo>
                    <a:pt x="10926" y="377"/>
                    <a:pt x="10926" y="377"/>
                    <a:pt x="10926" y="377"/>
                  </a:cubicBezTo>
                  <a:cubicBezTo>
                    <a:pt x="10917" y="378"/>
                    <a:pt x="10917" y="378"/>
                    <a:pt x="10917" y="378"/>
                  </a:cubicBezTo>
                  <a:cubicBezTo>
                    <a:pt x="10935" y="393"/>
                    <a:pt x="10935" y="393"/>
                    <a:pt x="10935" y="393"/>
                  </a:cubicBezTo>
                  <a:cubicBezTo>
                    <a:pt x="10952" y="413"/>
                    <a:pt x="10952" y="413"/>
                    <a:pt x="10952" y="413"/>
                  </a:cubicBezTo>
                  <a:cubicBezTo>
                    <a:pt x="10918" y="409"/>
                    <a:pt x="10918" y="409"/>
                    <a:pt x="10918" y="409"/>
                  </a:cubicBezTo>
                  <a:cubicBezTo>
                    <a:pt x="10914" y="403"/>
                    <a:pt x="10914" y="403"/>
                    <a:pt x="10914" y="403"/>
                  </a:cubicBezTo>
                  <a:cubicBezTo>
                    <a:pt x="10870" y="406"/>
                    <a:pt x="10870" y="406"/>
                    <a:pt x="10870" y="406"/>
                  </a:cubicBezTo>
                  <a:cubicBezTo>
                    <a:pt x="10859" y="410"/>
                    <a:pt x="10859" y="410"/>
                    <a:pt x="10859" y="410"/>
                  </a:cubicBezTo>
                  <a:cubicBezTo>
                    <a:pt x="10858" y="402"/>
                    <a:pt x="10858" y="402"/>
                    <a:pt x="10858" y="402"/>
                  </a:cubicBezTo>
                  <a:cubicBezTo>
                    <a:pt x="10829" y="408"/>
                    <a:pt x="10829" y="408"/>
                    <a:pt x="10829" y="408"/>
                  </a:cubicBezTo>
                  <a:cubicBezTo>
                    <a:pt x="10824" y="400"/>
                    <a:pt x="10824" y="400"/>
                    <a:pt x="10824" y="400"/>
                  </a:cubicBezTo>
                  <a:cubicBezTo>
                    <a:pt x="10786" y="401"/>
                    <a:pt x="10786" y="401"/>
                    <a:pt x="10786" y="401"/>
                  </a:cubicBezTo>
                  <a:cubicBezTo>
                    <a:pt x="10764" y="394"/>
                    <a:pt x="10764" y="394"/>
                    <a:pt x="10764" y="394"/>
                  </a:cubicBezTo>
                  <a:cubicBezTo>
                    <a:pt x="10775" y="380"/>
                    <a:pt x="10775" y="380"/>
                    <a:pt x="10775" y="380"/>
                  </a:cubicBezTo>
                  <a:cubicBezTo>
                    <a:pt x="10690" y="379"/>
                    <a:pt x="10690" y="379"/>
                    <a:pt x="10690" y="379"/>
                  </a:cubicBezTo>
                  <a:cubicBezTo>
                    <a:pt x="10685" y="373"/>
                    <a:pt x="10685" y="373"/>
                    <a:pt x="10685" y="373"/>
                  </a:cubicBezTo>
                  <a:cubicBezTo>
                    <a:pt x="10679" y="376"/>
                    <a:pt x="10679" y="376"/>
                    <a:pt x="10679" y="376"/>
                  </a:cubicBezTo>
                  <a:cubicBezTo>
                    <a:pt x="10673" y="372"/>
                    <a:pt x="10673" y="372"/>
                    <a:pt x="10673" y="372"/>
                  </a:cubicBezTo>
                  <a:cubicBezTo>
                    <a:pt x="10638" y="374"/>
                    <a:pt x="10638" y="374"/>
                    <a:pt x="10638" y="374"/>
                  </a:cubicBezTo>
                  <a:cubicBezTo>
                    <a:pt x="10642" y="382"/>
                    <a:pt x="10642" y="382"/>
                    <a:pt x="10642" y="382"/>
                  </a:cubicBezTo>
                  <a:cubicBezTo>
                    <a:pt x="10605" y="378"/>
                    <a:pt x="10605" y="378"/>
                    <a:pt x="10605" y="378"/>
                  </a:cubicBezTo>
                  <a:cubicBezTo>
                    <a:pt x="10595" y="383"/>
                    <a:pt x="10595" y="383"/>
                    <a:pt x="10595" y="383"/>
                  </a:cubicBezTo>
                  <a:cubicBezTo>
                    <a:pt x="10616" y="390"/>
                    <a:pt x="10616" y="390"/>
                    <a:pt x="10616" y="390"/>
                  </a:cubicBezTo>
                  <a:cubicBezTo>
                    <a:pt x="10589" y="389"/>
                    <a:pt x="10589" y="389"/>
                    <a:pt x="10589" y="389"/>
                  </a:cubicBezTo>
                  <a:cubicBezTo>
                    <a:pt x="10586" y="377"/>
                    <a:pt x="10586" y="377"/>
                    <a:pt x="10586" y="377"/>
                  </a:cubicBezTo>
                  <a:cubicBezTo>
                    <a:pt x="10569" y="362"/>
                    <a:pt x="10569" y="362"/>
                    <a:pt x="10569" y="362"/>
                  </a:cubicBezTo>
                  <a:cubicBezTo>
                    <a:pt x="10555" y="362"/>
                    <a:pt x="10555" y="362"/>
                    <a:pt x="10555" y="362"/>
                  </a:cubicBezTo>
                  <a:cubicBezTo>
                    <a:pt x="10562" y="377"/>
                    <a:pt x="10562" y="377"/>
                    <a:pt x="10562" y="377"/>
                  </a:cubicBezTo>
                  <a:cubicBezTo>
                    <a:pt x="10527" y="377"/>
                    <a:pt x="10527" y="377"/>
                    <a:pt x="10527" y="377"/>
                  </a:cubicBezTo>
                  <a:cubicBezTo>
                    <a:pt x="10523" y="372"/>
                    <a:pt x="10523" y="372"/>
                    <a:pt x="10523" y="372"/>
                  </a:cubicBezTo>
                  <a:cubicBezTo>
                    <a:pt x="10514" y="372"/>
                    <a:pt x="10514" y="372"/>
                    <a:pt x="10514" y="372"/>
                  </a:cubicBezTo>
                  <a:cubicBezTo>
                    <a:pt x="10510" y="362"/>
                    <a:pt x="10510" y="362"/>
                    <a:pt x="10510" y="362"/>
                  </a:cubicBezTo>
                  <a:cubicBezTo>
                    <a:pt x="10501" y="362"/>
                    <a:pt x="10501" y="362"/>
                    <a:pt x="10501" y="362"/>
                  </a:cubicBezTo>
                  <a:cubicBezTo>
                    <a:pt x="10490" y="365"/>
                    <a:pt x="10490" y="365"/>
                    <a:pt x="10490" y="365"/>
                  </a:cubicBezTo>
                  <a:cubicBezTo>
                    <a:pt x="10474" y="357"/>
                    <a:pt x="10474" y="357"/>
                    <a:pt x="10474" y="357"/>
                  </a:cubicBezTo>
                  <a:cubicBezTo>
                    <a:pt x="10454" y="371"/>
                    <a:pt x="10454" y="371"/>
                    <a:pt x="10454" y="371"/>
                  </a:cubicBezTo>
                  <a:cubicBezTo>
                    <a:pt x="10490" y="375"/>
                    <a:pt x="10490" y="375"/>
                    <a:pt x="10490" y="375"/>
                  </a:cubicBezTo>
                  <a:cubicBezTo>
                    <a:pt x="10498" y="376"/>
                    <a:pt x="10498" y="376"/>
                    <a:pt x="10498" y="376"/>
                  </a:cubicBezTo>
                  <a:cubicBezTo>
                    <a:pt x="10498" y="376"/>
                    <a:pt x="10485" y="387"/>
                    <a:pt x="10478" y="387"/>
                  </a:cubicBezTo>
                  <a:cubicBezTo>
                    <a:pt x="10471" y="387"/>
                    <a:pt x="10466" y="386"/>
                    <a:pt x="10460" y="388"/>
                  </a:cubicBezTo>
                  <a:cubicBezTo>
                    <a:pt x="10454" y="390"/>
                    <a:pt x="10452" y="396"/>
                    <a:pt x="10447" y="396"/>
                  </a:cubicBezTo>
                  <a:cubicBezTo>
                    <a:pt x="10442" y="396"/>
                    <a:pt x="10398" y="397"/>
                    <a:pt x="10398" y="397"/>
                  </a:cubicBezTo>
                  <a:cubicBezTo>
                    <a:pt x="10376" y="400"/>
                    <a:pt x="10376" y="400"/>
                    <a:pt x="10376" y="400"/>
                  </a:cubicBezTo>
                  <a:cubicBezTo>
                    <a:pt x="10366" y="417"/>
                    <a:pt x="10366" y="417"/>
                    <a:pt x="10366" y="417"/>
                  </a:cubicBezTo>
                  <a:cubicBezTo>
                    <a:pt x="10350" y="413"/>
                    <a:pt x="10350" y="413"/>
                    <a:pt x="10350" y="413"/>
                  </a:cubicBezTo>
                  <a:cubicBezTo>
                    <a:pt x="10350" y="413"/>
                    <a:pt x="10353" y="397"/>
                    <a:pt x="10361" y="393"/>
                  </a:cubicBezTo>
                  <a:cubicBezTo>
                    <a:pt x="10369" y="389"/>
                    <a:pt x="10381" y="389"/>
                    <a:pt x="10381" y="389"/>
                  </a:cubicBezTo>
                  <a:cubicBezTo>
                    <a:pt x="10386" y="378"/>
                    <a:pt x="10386" y="378"/>
                    <a:pt x="10386" y="378"/>
                  </a:cubicBezTo>
                  <a:cubicBezTo>
                    <a:pt x="10414" y="375"/>
                    <a:pt x="10414" y="375"/>
                    <a:pt x="10414" y="375"/>
                  </a:cubicBezTo>
                  <a:cubicBezTo>
                    <a:pt x="10444" y="353"/>
                    <a:pt x="10444" y="353"/>
                    <a:pt x="10444" y="353"/>
                  </a:cubicBezTo>
                  <a:cubicBezTo>
                    <a:pt x="10444" y="353"/>
                    <a:pt x="10443" y="340"/>
                    <a:pt x="10455" y="335"/>
                  </a:cubicBezTo>
                  <a:cubicBezTo>
                    <a:pt x="10467" y="330"/>
                    <a:pt x="10516" y="331"/>
                    <a:pt x="10514" y="313"/>
                  </a:cubicBezTo>
                  <a:cubicBezTo>
                    <a:pt x="10512" y="295"/>
                    <a:pt x="10497" y="291"/>
                    <a:pt x="10497" y="291"/>
                  </a:cubicBezTo>
                  <a:cubicBezTo>
                    <a:pt x="10470" y="293"/>
                    <a:pt x="10470" y="293"/>
                    <a:pt x="10470" y="293"/>
                  </a:cubicBezTo>
                  <a:cubicBezTo>
                    <a:pt x="10493" y="283"/>
                    <a:pt x="10493" y="283"/>
                    <a:pt x="10493" y="283"/>
                  </a:cubicBezTo>
                  <a:cubicBezTo>
                    <a:pt x="10493" y="283"/>
                    <a:pt x="10473" y="268"/>
                    <a:pt x="10468" y="269"/>
                  </a:cubicBezTo>
                  <a:cubicBezTo>
                    <a:pt x="10463" y="270"/>
                    <a:pt x="10446" y="271"/>
                    <a:pt x="10446" y="271"/>
                  </a:cubicBezTo>
                  <a:cubicBezTo>
                    <a:pt x="10446" y="271"/>
                    <a:pt x="10440" y="255"/>
                    <a:pt x="10427" y="255"/>
                  </a:cubicBezTo>
                  <a:cubicBezTo>
                    <a:pt x="10414" y="255"/>
                    <a:pt x="10400" y="260"/>
                    <a:pt x="10400" y="260"/>
                  </a:cubicBezTo>
                  <a:cubicBezTo>
                    <a:pt x="10364" y="251"/>
                    <a:pt x="10364" y="251"/>
                    <a:pt x="10364" y="251"/>
                  </a:cubicBezTo>
                  <a:cubicBezTo>
                    <a:pt x="10270" y="248"/>
                    <a:pt x="10270" y="248"/>
                    <a:pt x="10270" y="248"/>
                  </a:cubicBezTo>
                  <a:cubicBezTo>
                    <a:pt x="10273" y="260"/>
                    <a:pt x="10273" y="260"/>
                    <a:pt x="10273" y="260"/>
                  </a:cubicBezTo>
                  <a:cubicBezTo>
                    <a:pt x="10228" y="260"/>
                    <a:pt x="10228" y="260"/>
                    <a:pt x="10228" y="260"/>
                  </a:cubicBezTo>
                  <a:cubicBezTo>
                    <a:pt x="10228" y="260"/>
                    <a:pt x="10247" y="243"/>
                    <a:pt x="10235" y="238"/>
                  </a:cubicBezTo>
                  <a:cubicBezTo>
                    <a:pt x="10223" y="233"/>
                    <a:pt x="10172" y="239"/>
                    <a:pt x="10172" y="239"/>
                  </a:cubicBezTo>
                  <a:cubicBezTo>
                    <a:pt x="10131" y="235"/>
                    <a:pt x="10131" y="235"/>
                    <a:pt x="10131" y="235"/>
                  </a:cubicBezTo>
                  <a:cubicBezTo>
                    <a:pt x="10131" y="235"/>
                    <a:pt x="10178" y="233"/>
                    <a:pt x="10172" y="224"/>
                  </a:cubicBezTo>
                  <a:cubicBezTo>
                    <a:pt x="10166" y="215"/>
                    <a:pt x="10119" y="214"/>
                    <a:pt x="10119" y="214"/>
                  </a:cubicBezTo>
                  <a:cubicBezTo>
                    <a:pt x="10091" y="210"/>
                    <a:pt x="10091" y="210"/>
                    <a:pt x="10091" y="210"/>
                  </a:cubicBezTo>
                  <a:cubicBezTo>
                    <a:pt x="10088" y="220"/>
                    <a:pt x="10088" y="220"/>
                    <a:pt x="10088" y="220"/>
                  </a:cubicBezTo>
                  <a:cubicBezTo>
                    <a:pt x="10088" y="220"/>
                    <a:pt x="10039" y="218"/>
                    <a:pt x="10043" y="232"/>
                  </a:cubicBezTo>
                  <a:cubicBezTo>
                    <a:pt x="10047" y="246"/>
                    <a:pt x="10093" y="261"/>
                    <a:pt x="10093" y="261"/>
                  </a:cubicBezTo>
                  <a:cubicBezTo>
                    <a:pt x="9997" y="255"/>
                    <a:pt x="9997" y="255"/>
                    <a:pt x="9997" y="255"/>
                  </a:cubicBezTo>
                  <a:cubicBezTo>
                    <a:pt x="10031" y="269"/>
                    <a:pt x="10031" y="269"/>
                    <a:pt x="10031" y="269"/>
                  </a:cubicBezTo>
                  <a:cubicBezTo>
                    <a:pt x="9996" y="274"/>
                    <a:pt x="9996" y="274"/>
                    <a:pt x="9996" y="274"/>
                  </a:cubicBezTo>
                  <a:cubicBezTo>
                    <a:pt x="9996" y="274"/>
                    <a:pt x="9939" y="292"/>
                    <a:pt x="9929" y="286"/>
                  </a:cubicBezTo>
                  <a:cubicBezTo>
                    <a:pt x="9919" y="280"/>
                    <a:pt x="9934" y="268"/>
                    <a:pt x="9934" y="268"/>
                  </a:cubicBezTo>
                  <a:cubicBezTo>
                    <a:pt x="9934" y="268"/>
                    <a:pt x="9886" y="268"/>
                    <a:pt x="9877" y="270"/>
                  </a:cubicBezTo>
                  <a:cubicBezTo>
                    <a:pt x="9868" y="272"/>
                    <a:pt x="9854" y="284"/>
                    <a:pt x="9854" y="284"/>
                  </a:cubicBezTo>
                  <a:cubicBezTo>
                    <a:pt x="9854" y="284"/>
                    <a:pt x="9791" y="289"/>
                    <a:pt x="9776" y="292"/>
                  </a:cubicBezTo>
                  <a:cubicBezTo>
                    <a:pt x="9761" y="295"/>
                    <a:pt x="9728" y="302"/>
                    <a:pt x="9728" y="302"/>
                  </a:cubicBezTo>
                  <a:cubicBezTo>
                    <a:pt x="9699" y="325"/>
                    <a:pt x="9699" y="325"/>
                    <a:pt x="9699" y="325"/>
                  </a:cubicBezTo>
                  <a:cubicBezTo>
                    <a:pt x="9699" y="325"/>
                    <a:pt x="9667" y="323"/>
                    <a:pt x="9681" y="337"/>
                  </a:cubicBezTo>
                  <a:cubicBezTo>
                    <a:pt x="9695" y="351"/>
                    <a:pt x="9720" y="361"/>
                    <a:pt x="9720" y="361"/>
                  </a:cubicBezTo>
                  <a:cubicBezTo>
                    <a:pt x="9690" y="367"/>
                    <a:pt x="9690" y="367"/>
                    <a:pt x="9690" y="367"/>
                  </a:cubicBezTo>
                  <a:cubicBezTo>
                    <a:pt x="9676" y="376"/>
                    <a:pt x="9676" y="376"/>
                    <a:pt x="9676" y="376"/>
                  </a:cubicBezTo>
                  <a:cubicBezTo>
                    <a:pt x="9609" y="374"/>
                    <a:pt x="9609" y="374"/>
                    <a:pt x="9609" y="374"/>
                  </a:cubicBezTo>
                  <a:cubicBezTo>
                    <a:pt x="9604" y="379"/>
                    <a:pt x="9604" y="379"/>
                    <a:pt x="9604" y="379"/>
                  </a:cubicBezTo>
                  <a:cubicBezTo>
                    <a:pt x="9579" y="370"/>
                    <a:pt x="9579" y="370"/>
                    <a:pt x="9579" y="370"/>
                  </a:cubicBezTo>
                  <a:cubicBezTo>
                    <a:pt x="9568" y="377"/>
                    <a:pt x="9568" y="377"/>
                    <a:pt x="9568" y="377"/>
                  </a:cubicBezTo>
                  <a:cubicBezTo>
                    <a:pt x="9568" y="377"/>
                    <a:pt x="9530" y="373"/>
                    <a:pt x="9528" y="381"/>
                  </a:cubicBezTo>
                  <a:cubicBezTo>
                    <a:pt x="9526" y="389"/>
                    <a:pt x="9527" y="404"/>
                    <a:pt x="9538" y="406"/>
                  </a:cubicBezTo>
                  <a:cubicBezTo>
                    <a:pt x="9549" y="408"/>
                    <a:pt x="9555" y="424"/>
                    <a:pt x="9555" y="424"/>
                  </a:cubicBezTo>
                  <a:cubicBezTo>
                    <a:pt x="9555" y="424"/>
                    <a:pt x="9590" y="434"/>
                    <a:pt x="9599" y="434"/>
                  </a:cubicBezTo>
                  <a:cubicBezTo>
                    <a:pt x="9608" y="434"/>
                    <a:pt x="9627" y="439"/>
                    <a:pt x="9634" y="442"/>
                  </a:cubicBezTo>
                  <a:cubicBezTo>
                    <a:pt x="9641" y="445"/>
                    <a:pt x="9657" y="461"/>
                    <a:pt x="9646" y="461"/>
                  </a:cubicBezTo>
                  <a:cubicBezTo>
                    <a:pt x="9635" y="461"/>
                    <a:pt x="9611" y="463"/>
                    <a:pt x="9611" y="463"/>
                  </a:cubicBezTo>
                  <a:cubicBezTo>
                    <a:pt x="9611" y="463"/>
                    <a:pt x="9565" y="443"/>
                    <a:pt x="9549" y="439"/>
                  </a:cubicBezTo>
                  <a:cubicBezTo>
                    <a:pt x="9533" y="435"/>
                    <a:pt x="9509" y="432"/>
                    <a:pt x="9501" y="432"/>
                  </a:cubicBezTo>
                  <a:cubicBezTo>
                    <a:pt x="9493" y="432"/>
                    <a:pt x="9472" y="430"/>
                    <a:pt x="9474" y="438"/>
                  </a:cubicBezTo>
                  <a:cubicBezTo>
                    <a:pt x="9476" y="446"/>
                    <a:pt x="9502" y="456"/>
                    <a:pt x="9485" y="457"/>
                  </a:cubicBezTo>
                  <a:cubicBezTo>
                    <a:pt x="9468" y="458"/>
                    <a:pt x="9462" y="446"/>
                    <a:pt x="9452" y="446"/>
                  </a:cubicBezTo>
                  <a:cubicBezTo>
                    <a:pt x="9442" y="446"/>
                    <a:pt x="9428" y="436"/>
                    <a:pt x="9427" y="449"/>
                  </a:cubicBezTo>
                  <a:cubicBezTo>
                    <a:pt x="9426" y="462"/>
                    <a:pt x="9440" y="475"/>
                    <a:pt x="9455" y="474"/>
                  </a:cubicBezTo>
                  <a:cubicBezTo>
                    <a:pt x="9470" y="473"/>
                    <a:pt x="9493" y="480"/>
                    <a:pt x="9503" y="480"/>
                  </a:cubicBezTo>
                  <a:cubicBezTo>
                    <a:pt x="9513" y="480"/>
                    <a:pt x="9529" y="496"/>
                    <a:pt x="9529" y="496"/>
                  </a:cubicBezTo>
                  <a:cubicBezTo>
                    <a:pt x="9508" y="496"/>
                    <a:pt x="9508" y="496"/>
                    <a:pt x="9508" y="496"/>
                  </a:cubicBezTo>
                  <a:cubicBezTo>
                    <a:pt x="9508" y="496"/>
                    <a:pt x="9502" y="486"/>
                    <a:pt x="9488" y="486"/>
                  </a:cubicBezTo>
                  <a:cubicBezTo>
                    <a:pt x="9474" y="486"/>
                    <a:pt x="9431" y="484"/>
                    <a:pt x="9431" y="484"/>
                  </a:cubicBezTo>
                  <a:cubicBezTo>
                    <a:pt x="9428" y="476"/>
                    <a:pt x="9428" y="476"/>
                    <a:pt x="9428" y="476"/>
                  </a:cubicBezTo>
                  <a:cubicBezTo>
                    <a:pt x="9411" y="476"/>
                    <a:pt x="9411" y="476"/>
                    <a:pt x="9411" y="476"/>
                  </a:cubicBezTo>
                  <a:cubicBezTo>
                    <a:pt x="9408" y="465"/>
                    <a:pt x="9408" y="465"/>
                    <a:pt x="9408" y="465"/>
                  </a:cubicBezTo>
                  <a:cubicBezTo>
                    <a:pt x="9386" y="454"/>
                    <a:pt x="9386" y="454"/>
                    <a:pt x="9386" y="454"/>
                  </a:cubicBezTo>
                  <a:cubicBezTo>
                    <a:pt x="9386" y="454"/>
                    <a:pt x="9411" y="442"/>
                    <a:pt x="9401" y="433"/>
                  </a:cubicBezTo>
                  <a:cubicBezTo>
                    <a:pt x="9391" y="424"/>
                    <a:pt x="9377" y="413"/>
                    <a:pt x="9377" y="413"/>
                  </a:cubicBezTo>
                  <a:cubicBezTo>
                    <a:pt x="9356" y="412"/>
                    <a:pt x="9356" y="412"/>
                    <a:pt x="9356" y="412"/>
                  </a:cubicBezTo>
                  <a:cubicBezTo>
                    <a:pt x="9356" y="412"/>
                    <a:pt x="9386" y="429"/>
                    <a:pt x="9377" y="437"/>
                  </a:cubicBezTo>
                  <a:cubicBezTo>
                    <a:pt x="9368" y="445"/>
                    <a:pt x="9348" y="448"/>
                    <a:pt x="9348" y="448"/>
                  </a:cubicBezTo>
                  <a:cubicBezTo>
                    <a:pt x="9335" y="475"/>
                    <a:pt x="9335" y="475"/>
                    <a:pt x="9335" y="475"/>
                  </a:cubicBezTo>
                  <a:cubicBezTo>
                    <a:pt x="9384" y="500"/>
                    <a:pt x="9384" y="500"/>
                    <a:pt x="9384" y="500"/>
                  </a:cubicBezTo>
                  <a:cubicBezTo>
                    <a:pt x="9384" y="500"/>
                    <a:pt x="9397" y="495"/>
                    <a:pt x="9397" y="501"/>
                  </a:cubicBezTo>
                  <a:cubicBezTo>
                    <a:pt x="9397" y="507"/>
                    <a:pt x="9390" y="538"/>
                    <a:pt x="9390" y="538"/>
                  </a:cubicBezTo>
                  <a:cubicBezTo>
                    <a:pt x="9397" y="551"/>
                    <a:pt x="9397" y="551"/>
                    <a:pt x="9397" y="551"/>
                  </a:cubicBezTo>
                  <a:cubicBezTo>
                    <a:pt x="9421" y="555"/>
                    <a:pt x="9421" y="555"/>
                    <a:pt x="9421" y="555"/>
                  </a:cubicBezTo>
                  <a:cubicBezTo>
                    <a:pt x="9420" y="573"/>
                    <a:pt x="9420" y="573"/>
                    <a:pt x="9420" y="573"/>
                  </a:cubicBezTo>
                  <a:cubicBezTo>
                    <a:pt x="9460" y="581"/>
                    <a:pt x="9460" y="581"/>
                    <a:pt x="9460" y="581"/>
                  </a:cubicBezTo>
                  <a:cubicBezTo>
                    <a:pt x="9460" y="581"/>
                    <a:pt x="9490" y="569"/>
                    <a:pt x="9504" y="570"/>
                  </a:cubicBezTo>
                  <a:cubicBezTo>
                    <a:pt x="9518" y="571"/>
                    <a:pt x="9536" y="583"/>
                    <a:pt x="9536" y="583"/>
                  </a:cubicBezTo>
                  <a:cubicBezTo>
                    <a:pt x="9536" y="583"/>
                    <a:pt x="9565" y="587"/>
                    <a:pt x="9578" y="596"/>
                  </a:cubicBezTo>
                  <a:cubicBezTo>
                    <a:pt x="9591" y="605"/>
                    <a:pt x="9594" y="616"/>
                    <a:pt x="9594" y="616"/>
                  </a:cubicBezTo>
                  <a:cubicBezTo>
                    <a:pt x="9594" y="616"/>
                    <a:pt x="9561" y="620"/>
                    <a:pt x="9574" y="628"/>
                  </a:cubicBezTo>
                  <a:cubicBezTo>
                    <a:pt x="9587" y="636"/>
                    <a:pt x="9601" y="643"/>
                    <a:pt x="9601" y="643"/>
                  </a:cubicBezTo>
                  <a:cubicBezTo>
                    <a:pt x="9629" y="642"/>
                    <a:pt x="9629" y="642"/>
                    <a:pt x="9629" y="642"/>
                  </a:cubicBezTo>
                  <a:cubicBezTo>
                    <a:pt x="9629" y="642"/>
                    <a:pt x="9613" y="650"/>
                    <a:pt x="9600" y="650"/>
                  </a:cubicBezTo>
                  <a:cubicBezTo>
                    <a:pt x="9587" y="650"/>
                    <a:pt x="9571" y="641"/>
                    <a:pt x="9571" y="641"/>
                  </a:cubicBezTo>
                  <a:cubicBezTo>
                    <a:pt x="9571" y="641"/>
                    <a:pt x="9572" y="618"/>
                    <a:pt x="9557" y="609"/>
                  </a:cubicBezTo>
                  <a:cubicBezTo>
                    <a:pt x="9542" y="600"/>
                    <a:pt x="9530" y="595"/>
                    <a:pt x="9530" y="595"/>
                  </a:cubicBezTo>
                  <a:cubicBezTo>
                    <a:pt x="9530" y="595"/>
                    <a:pt x="9526" y="580"/>
                    <a:pt x="9514" y="581"/>
                  </a:cubicBezTo>
                  <a:cubicBezTo>
                    <a:pt x="9502" y="582"/>
                    <a:pt x="9470" y="588"/>
                    <a:pt x="9470" y="588"/>
                  </a:cubicBezTo>
                  <a:cubicBezTo>
                    <a:pt x="9470" y="588"/>
                    <a:pt x="9452" y="590"/>
                    <a:pt x="9453" y="601"/>
                  </a:cubicBezTo>
                  <a:cubicBezTo>
                    <a:pt x="9454" y="612"/>
                    <a:pt x="9486" y="630"/>
                    <a:pt x="9486" y="634"/>
                  </a:cubicBezTo>
                  <a:cubicBezTo>
                    <a:pt x="9486" y="638"/>
                    <a:pt x="9467" y="650"/>
                    <a:pt x="9467" y="650"/>
                  </a:cubicBezTo>
                  <a:cubicBezTo>
                    <a:pt x="9465" y="679"/>
                    <a:pt x="9465" y="679"/>
                    <a:pt x="9465" y="679"/>
                  </a:cubicBezTo>
                  <a:cubicBezTo>
                    <a:pt x="9437" y="693"/>
                    <a:pt x="9437" y="693"/>
                    <a:pt x="9437" y="693"/>
                  </a:cubicBezTo>
                  <a:cubicBezTo>
                    <a:pt x="9437" y="693"/>
                    <a:pt x="9431" y="714"/>
                    <a:pt x="9418" y="708"/>
                  </a:cubicBezTo>
                  <a:cubicBezTo>
                    <a:pt x="9405" y="702"/>
                    <a:pt x="9379" y="704"/>
                    <a:pt x="9379" y="704"/>
                  </a:cubicBezTo>
                  <a:cubicBezTo>
                    <a:pt x="9341" y="700"/>
                    <a:pt x="9341" y="700"/>
                    <a:pt x="9341" y="700"/>
                  </a:cubicBezTo>
                  <a:cubicBezTo>
                    <a:pt x="9341" y="700"/>
                    <a:pt x="9298" y="685"/>
                    <a:pt x="9309" y="684"/>
                  </a:cubicBezTo>
                  <a:cubicBezTo>
                    <a:pt x="9320" y="683"/>
                    <a:pt x="9343" y="682"/>
                    <a:pt x="9343" y="682"/>
                  </a:cubicBezTo>
                  <a:cubicBezTo>
                    <a:pt x="9356" y="686"/>
                    <a:pt x="9356" y="686"/>
                    <a:pt x="9356" y="686"/>
                  </a:cubicBezTo>
                  <a:cubicBezTo>
                    <a:pt x="9371" y="675"/>
                    <a:pt x="9371" y="675"/>
                    <a:pt x="9371" y="675"/>
                  </a:cubicBezTo>
                  <a:cubicBezTo>
                    <a:pt x="9371" y="675"/>
                    <a:pt x="9409" y="684"/>
                    <a:pt x="9409" y="673"/>
                  </a:cubicBezTo>
                  <a:cubicBezTo>
                    <a:pt x="9409" y="662"/>
                    <a:pt x="9411" y="647"/>
                    <a:pt x="9411" y="647"/>
                  </a:cubicBezTo>
                  <a:cubicBezTo>
                    <a:pt x="9427" y="642"/>
                    <a:pt x="9427" y="642"/>
                    <a:pt x="9427" y="642"/>
                  </a:cubicBezTo>
                  <a:cubicBezTo>
                    <a:pt x="9429" y="628"/>
                    <a:pt x="9429" y="628"/>
                    <a:pt x="9429" y="628"/>
                  </a:cubicBezTo>
                  <a:cubicBezTo>
                    <a:pt x="9418" y="626"/>
                    <a:pt x="9418" y="626"/>
                    <a:pt x="9418" y="626"/>
                  </a:cubicBezTo>
                  <a:cubicBezTo>
                    <a:pt x="9418" y="626"/>
                    <a:pt x="9434" y="606"/>
                    <a:pt x="9424" y="602"/>
                  </a:cubicBezTo>
                  <a:cubicBezTo>
                    <a:pt x="9414" y="598"/>
                    <a:pt x="9371" y="600"/>
                    <a:pt x="9369" y="584"/>
                  </a:cubicBezTo>
                  <a:cubicBezTo>
                    <a:pt x="9367" y="568"/>
                    <a:pt x="9369" y="549"/>
                    <a:pt x="9360" y="544"/>
                  </a:cubicBezTo>
                  <a:cubicBezTo>
                    <a:pt x="9351" y="539"/>
                    <a:pt x="9338" y="523"/>
                    <a:pt x="9338" y="523"/>
                  </a:cubicBezTo>
                  <a:cubicBezTo>
                    <a:pt x="9334" y="499"/>
                    <a:pt x="9334" y="499"/>
                    <a:pt x="9334" y="499"/>
                  </a:cubicBezTo>
                  <a:cubicBezTo>
                    <a:pt x="9292" y="476"/>
                    <a:pt x="9292" y="476"/>
                    <a:pt x="9292" y="476"/>
                  </a:cubicBezTo>
                  <a:cubicBezTo>
                    <a:pt x="9292" y="476"/>
                    <a:pt x="9319" y="455"/>
                    <a:pt x="9305" y="435"/>
                  </a:cubicBezTo>
                  <a:cubicBezTo>
                    <a:pt x="9291" y="415"/>
                    <a:pt x="9259" y="415"/>
                    <a:pt x="9259" y="415"/>
                  </a:cubicBezTo>
                  <a:cubicBezTo>
                    <a:pt x="9170" y="407"/>
                    <a:pt x="9170" y="407"/>
                    <a:pt x="9170" y="407"/>
                  </a:cubicBezTo>
                  <a:cubicBezTo>
                    <a:pt x="9163" y="427"/>
                    <a:pt x="9163" y="427"/>
                    <a:pt x="9163" y="427"/>
                  </a:cubicBezTo>
                  <a:cubicBezTo>
                    <a:pt x="9174" y="438"/>
                    <a:pt x="9174" y="438"/>
                    <a:pt x="9174" y="438"/>
                  </a:cubicBezTo>
                  <a:cubicBezTo>
                    <a:pt x="9169" y="461"/>
                    <a:pt x="9169" y="461"/>
                    <a:pt x="9169" y="461"/>
                  </a:cubicBezTo>
                  <a:cubicBezTo>
                    <a:pt x="9131" y="477"/>
                    <a:pt x="9131" y="477"/>
                    <a:pt x="9131" y="477"/>
                  </a:cubicBezTo>
                  <a:cubicBezTo>
                    <a:pt x="9125" y="496"/>
                    <a:pt x="9125" y="496"/>
                    <a:pt x="9125" y="496"/>
                  </a:cubicBezTo>
                  <a:cubicBezTo>
                    <a:pt x="9146" y="498"/>
                    <a:pt x="9146" y="498"/>
                    <a:pt x="9146" y="498"/>
                  </a:cubicBezTo>
                  <a:cubicBezTo>
                    <a:pt x="9169" y="533"/>
                    <a:pt x="9169" y="533"/>
                    <a:pt x="9169" y="533"/>
                  </a:cubicBezTo>
                  <a:cubicBezTo>
                    <a:pt x="9160" y="545"/>
                    <a:pt x="9160" y="545"/>
                    <a:pt x="9160" y="545"/>
                  </a:cubicBezTo>
                  <a:cubicBezTo>
                    <a:pt x="9179" y="560"/>
                    <a:pt x="9179" y="560"/>
                    <a:pt x="9179" y="560"/>
                  </a:cubicBezTo>
                  <a:cubicBezTo>
                    <a:pt x="9202" y="554"/>
                    <a:pt x="9202" y="554"/>
                    <a:pt x="9202" y="554"/>
                  </a:cubicBezTo>
                  <a:cubicBezTo>
                    <a:pt x="9202" y="554"/>
                    <a:pt x="9220" y="575"/>
                    <a:pt x="9233" y="578"/>
                  </a:cubicBezTo>
                  <a:cubicBezTo>
                    <a:pt x="9246" y="581"/>
                    <a:pt x="9259" y="581"/>
                    <a:pt x="9259" y="581"/>
                  </a:cubicBezTo>
                  <a:cubicBezTo>
                    <a:pt x="9256" y="618"/>
                    <a:pt x="9256" y="618"/>
                    <a:pt x="9256" y="618"/>
                  </a:cubicBezTo>
                  <a:cubicBezTo>
                    <a:pt x="9243" y="604"/>
                    <a:pt x="9243" y="604"/>
                    <a:pt x="9243" y="604"/>
                  </a:cubicBezTo>
                  <a:cubicBezTo>
                    <a:pt x="9233" y="610"/>
                    <a:pt x="9233" y="610"/>
                    <a:pt x="9233" y="610"/>
                  </a:cubicBezTo>
                  <a:cubicBezTo>
                    <a:pt x="9233" y="610"/>
                    <a:pt x="9216" y="601"/>
                    <a:pt x="9198" y="593"/>
                  </a:cubicBezTo>
                  <a:cubicBezTo>
                    <a:pt x="9185" y="587"/>
                    <a:pt x="9171" y="581"/>
                    <a:pt x="9164" y="580"/>
                  </a:cubicBezTo>
                  <a:cubicBezTo>
                    <a:pt x="9148" y="577"/>
                    <a:pt x="9124" y="579"/>
                    <a:pt x="9124" y="579"/>
                  </a:cubicBezTo>
                  <a:cubicBezTo>
                    <a:pt x="9113" y="567"/>
                    <a:pt x="9113" y="567"/>
                    <a:pt x="9113" y="567"/>
                  </a:cubicBezTo>
                  <a:cubicBezTo>
                    <a:pt x="9107" y="581"/>
                    <a:pt x="9107" y="581"/>
                    <a:pt x="9107" y="581"/>
                  </a:cubicBezTo>
                  <a:cubicBezTo>
                    <a:pt x="9091" y="563"/>
                    <a:pt x="9091" y="563"/>
                    <a:pt x="9091" y="563"/>
                  </a:cubicBezTo>
                  <a:cubicBezTo>
                    <a:pt x="9091" y="563"/>
                    <a:pt x="9049" y="549"/>
                    <a:pt x="9042" y="549"/>
                  </a:cubicBezTo>
                  <a:cubicBezTo>
                    <a:pt x="9035" y="549"/>
                    <a:pt x="9014" y="550"/>
                    <a:pt x="9014" y="550"/>
                  </a:cubicBezTo>
                  <a:cubicBezTo>
                    <a:pt x="9014" y="550"/>
                    <a:pt x="8965" y="544"/>
                    <a:pt x="8961" y="547"/>
                  </a:cubicBezTo>
                  <a:cubicBezTo>
                    <a:pt x="8957" y="550"/>
                    <a:pt x="8948" y="550"/>
                    <a:pt x="8948" y="558"/>
                  </a:cubicBezTo>
                  <a:cubicBezTo>
                    <a:pt x="8948" y="566"/>
                    <a:pt x="8974" y="580"/>
                    <a:pt x="8974" y="580"/>
                  </a:cubicBezTo>
                  <a:cubicBezTo>
                    <a:pt x="8961" y="600"/>
                    <a:pt x="8961" y="600"/>
                    <a:pt x="8961" y="600"/>
                  </a:cubicBezTo>
                  <a:cubicBezTo>
                    <a:pt x="8952" y="593"/>
                    <a:pt x="8952" y="593"/>
                    <a:pt x="8952" y="593"/>
                  </a:cubicBezTo>
                  <a:cubicBezTo>
                    <a:pt x="8952" y="610"/>
                    <a:pt x="8952" y="610"/>
                    <a:pt x="8952" y="610"/>
                  </a:cubicBezTo>
                  <a:cubicBezTo>
                    <a:pt x="8952" y="610"/>
                    <a:pt x="8928" y="609"/>
                    <a:pt x="8928" y="604"/>
                  </a:cubicBezTo>
                  <a:cubicBezTo>
                    <a:pt x="8928" y="599"/>
                    <a:pt x="8933" y="577"/>
                    <a:pt x="8919" y="578"/>
                  </a:cubicBezTo>
                  <a:cubicBezTo>
                    <a:pt x="8905" y="579"/>
                    <a:pt x="8869" y="602"/>
                    <a:pt x="8864" y="605"/>
                  </a:cubicBezTo>
                  <a:cubicBezTo>
                    <a:pt x="8859" y="608"/>
                    <a:pt x="8848" y="594"/>
                    <a:pt x="8827" y="596"/>
                  </a:cubicBezTo>
                  <a:cubicBezTo>
                    <a:pt x="8806" y="598"/>
                    <a:pt x="8782" y="609"/>
                    <a:pt x="8780" y="617"/>
                  </a:cubicBezTo>
                  <a:cubicBezTo>
                    <a:pt x="8778" y="625"/>
                    <a:pt x="8731" y="621"/>
                    <a:pt x="8731" y="621"/>
                  </a:cubicBezTo>
                  <a:cubicBezTo>
                    <a:pt x="8739" y="604"/>
                    <a:pt x="8739" y="604"/>
                    <a:pt x="8739" y="604"/>
                  </a:cubicBezTo>
                  <a:cubicBezTo>
                    <a:pt x="8738" y="580"/>
                    <a:pt x="8738" y="580"/>
                    <a:pt x="8738" y="580"/>
                  </a:cubicBezTo>
                  <a:cubicBezTo>
                    <a:pt x="8738" y="580"/>
                    <a:pt x="8694" y="588"/>
                    <a:pt x="8694" y="597"/>
                  </a:cubicBezTo>
                  <a:cubicBezTo>
                    <a:pt x="8694" y="606"/>
                    <a:pt x="8700" y="613"/>
                    <a:pt x="8700" y="613"/>
                  </a:cubicBezTo>
                  <a:cubicBezTo>
                    <a:pt x="8682" y="614"/>
                    <a:pt x="8682" y="614"/>
                    <a:pt x="8682" y="614"/>
                  </a:cubicBezTo>
                  <a:cubicBezTo>
                    <a:pt x="8682" y="599"/>
                    <a:pt x="8682" y="599"/>
                    <a:pt x="8682" y="599"/>
                  </a:cubicBezTo>
                  <a:cubicBezTo>
                    <a:pt x="8668" y="604"/>
                    <a:pt x="8668" y="604"/>
                    <a:pt x="8668" y="604"/>
                  </a:cubicBezTo>
                  <a:cubicBezTo>
                    <a:pt x="8633" y="607"/>
                    <a:pt x="8633" y="607"/>
                    <a:pt x="8633" y="607"/>
                  </a:cubicBezTo>
                  <a:cubicBezTo>
                    <a:pt x="8604" y="627"/>
                    <a:pt x="8604" y="627"/>
                    <a:pt x="8604" y="627"/>
                  </a:cubicBezTo>
                  <a:cubicBezTo>
                    <a:pt x="8571" y="630"/>
                    <a:pt x="8571" y="630"/>
                    <a:pt x="8571" y="630"/>
                  </a:cubicBezTo>
                  <a:cubicBezTo>
                    <a:pt x="8578" y="643"/>
                    <a:pt x="8578" y="643"/>
                    <a:pt x="8578" y="643"/>
                  </a:cubicBezTo>
                  <a:cubicBezTo>
                    <a:pt x="8578" y="643"/>
                    <a:pt x="8552" y="637"/>
                    <a:pt x="8549" y="648"/>
                  </a:cubicBezTo>
                  <a:cubicBezTo>
                    <a:pt x="8546" y="659"/>
                    <a:pt x="8549" y="674"/>
                    <a:pt x="8549" y="674"/>
                  </a:cubicBezTo>
                  <a:cubicBezTo>
                    <a:pt x="8498" y="680"/>
                    <a:pt x="8498" y="680"/>
                    <a:pt x="8498" y="680"/>
                  </a:cubicBezTo>
                  <a:cubicBezTo>
                    <a:pt x="8498" y="680"/>
                    <a:pt x="8483" y="669"/>
                    <a:pt x="8478" y="668"/>
                  </a:cubicBezTo>
                  <a:cubicBezTo>
                    <a:pt x="8473" y="667"/>
                    <a:pt x="8451" y="673"/>
                    <a:pt x="8451" y="659"/>
                  </a:cubicBezTo>
                  <a:cubicBezTo>
                    <a:pt x="8451" y="645"/>
                    <a:pt x="8451" y="628"/>
                    <a:pt x="8468" y="634"/>
                  </a:cubicBezTo>
                  <a:cubicBezTo>
                    <a:pt x="8485" y="640"/>
                    <a:pt x="8506" y="634"/>
                    <a:pt x="8506" y="634"/>
                  </a:cubicBezTo>
                  <a:cubicBezTo>
                    <a:pt x="8506" y="634"/>
                    <a:pt x="8468" y="603"/>
                    <a:pt x="8462" y="600"/>
                  </a:cubicBezTo>
                  <a:cubicBezTo>
                    <a:pt x="8456" y="597"/>
                    <a:pt x="8381" y="598"/>
                    <a:pt x="8381" y="598"/>
                  </a:cubicBezTo>
                  <a:cubicBezTo>
                    <a:pt x="8387" y="607"/>
                    <a:pt x="8387" y="607"/>
                    <a:pt x="8387" y="607"/>
                  </a:cubicBezTo>
                  <a:cubicBezTo>
                    <a:pt x="8387" y="607"/>
                    <a:pt x="8418" y="602"/>
                    <a:pt x="8413" y="622"/>
                  </a:cubicBezTo>
                  <a:cubicBezTo>
                    <a:pt x="8408" y="642"/>
                    <a:pt x="8398" y="671"/>
                    <a:pt x="8405" y="671"/>
                  </a:cubicBezTo>
                  <a:cubicBezTo>
                    <a:pt x="8412" y="671"/>
                    <a:pt x="8438" y="679"/>
                    <a:pt x="8438" y="679"/>
                  </a:cubicBezTo>
                  <a:cubicBezTo>
                    <a:pt x="8436" y="704"/>
                    <a:pt x="8436" y="704"/>
                    <a:pt x="8436" y="704"/>
                  </a:cubicBezTo>
                  <a:cubicBezTo>
                    <a:pt x="8442" y="723"/>
                    <a:pt x="8442" y="723"/>
                    <a:pt x="8442" y="723"/>
                  </a:cubicBezTo>
                  <a:cubicBezTo>
                    <a:pt x="8421" y="709"/>
                    <a:pt x="8421" y="709"/>
                    <a:pt x="8421" y="709"/>
                  </a:cubicBezTo>
                  <a:cubicBezTo>
                    <a:pt x="8406" y="725"/>
                    <a:pt x="8406" y="725"/>
                    <a:pt x="8406" y="725"/>
                  </a:cubicBezTo>
                  <a:cubicBezTo>
                    <a:pt x="8403" y="703"/>
                    <a:pt x="8403" y="703"/>
                    <a:pt x="8403" y="703"/>
                  </a:cubicBezTo>
                  <a:cubicBezTo>
                    <a:pt x="8357" y="691"/>
                    <a:pt x="8357" y="691"/>
                    <a:pt x="8357" y="691"/>
                  </a:cubicBezTo>
                  <a:cubicBezTo>
                    <a:pt x="8337" y="716"/>
                    <a:pt x="8337" y="716"/>
                    <a:pt x="8337" y="716"/>
                  </a:cubicBezTo>
                  <a:cubicBezTo>
                    <a:pt x="8319" y="717"/>
                    <a:pt x="8319" y="717"/>
                    <a:pt x="8319" y="717"/>
                  </a:cubicBezTo>
                  <a:cubicBezTo>
                    <a:pt x="8319" y="717"/>
                    <a:pt x="8313" y="728"/>
                    <a:pt x="8303" y="732"/>
                  </a:cubicBezTo>
                  <a:cubicBezTo>
                    <a:pt x="8293" y="736"/>
                    <a:pt x="8273" y="740"/>
                    <a:pt x="8281" y="747"/>
                  </a:cubicBezTo>
                  <a:cubicBezTo>
                    <a:pt x="8289" y="754"/>
                    <a:pt x="8321" y="777"/>
                    <a:pt x="8321" y="777"/>
                  </a:cubicBezTo>
                  <a:cubicBezTo>
                    <a:pt x="8333" y="794"/>
                    <a:pt x="8333" y="794"/>
                    <a:pt x="8333" y="794"/>
                  </a:cubicBezTo>
                  <a:cubicBezTo>
                    <a:pt x="8313" y="785"/>
                    <a:pt x="8313" y="785"/>
                    <a:pt x="8313" y="785"/>
                  </a:cubicBezTo>
                  <a:cubicBezTo>
                    <a:pt x="8313" y="785"/>
                    <a:pt x="8295" y="795"/>
                    <a:pt x="8282" y="789"/>
                  </a:cubicBezTo>
                  <a:cubicBezTo>
                    <a:pt x="8269" y="783"/>
                    <a:pt x="8226" y="776"/>
                    <a:pt x="8226" y="776"/>
                  </a:cubicBezTo>
                  <a:cubicBezTo>
                    <a:pt x="8226" y="776"/>
                    <a:pt x="8220" y="752"/>
                    <a:pt x="8205" y="758"/>
                  </a:cubicBezTo>
                  <a:cubicBezTo>
                    <a:pt x="8190" y="764"/>
                    <a:pt x="8182" y="770"/>
                    <a:pt x="8182" y="770"/>
                  </a:cubicBezTo>
                  <a:cubicBezTo>
                    <a:pt x="8170" y="771"/>
                    <a:pt x="8170" y="771"/>
                    <a:pt x="8170" y="771"/>
                  </a:cubicBezTo>
                  <a:cubicBezTo>
                    <a:pt x="8200" y="797"/>
                    <a:pt x="8200" y="797"/>
                    <a:pt x="8200" y="797"/>
                  </a:cubicBezTo>
                  <a:cubicBezTo>
                    <a:pt x="8200" y="797"/>
                    <a:pt x="8240" y="798"/>
                    <a:pt x="8240" y="805"/>
                  </a:cubicBezTo>
                  <a:cubicBezTo>
                    <a:pt x="8240" y="812"/>
                    <a:pt x="8222" y="823"/>
                    <a:pt x="8222" y="823"/>
                  </a:cubicBezTo>
                  <a:cubicBezTo>
                    <a:pt x="8180" y="813"/>
                    <a:pt x="8180" y="813"/>
                    <a:pt x="8180" y="813"/>
                  </a:cubicBezTo>
                  <a:cubicBezTo>
                    <a:pt x="8180" y="813"/>
                    <a:pt x="8165" y="799"/>
                    <a:pt x="8155" y="798"/>
                  </a:cubicBezTo>
                  <a:cubicBezTo>
                    <a:pt x="8145" y="797"/>
                    <a:pt x="8119" y="808"/>
                    <a:pt x="8117" y="794"/>
                  </a:cubicBezTo>
                  <a:cubicBezTo>
                    <a:pt x="8115" y="780"/>
                    <a:pt x="8116" y="764"/>
                    <a:pt x="8116" y="764"/>
                  </a:cubicBezTo>
                  <a:cubicBezTo>
                    <a:pt x="8103" y="756"/>
                    <a:pt x="8103" y="756"/>
                    <a:pt x="8103" y="756"/>
                  </a:cubicBezTo>
                  <a:cubicBezTo>
                    <a:pt x="8103" y="756"/>
                    <a:pt x="8124" y="738"/>
                    <a:pt x="8116" y="729"/>
                  </a:cubicBezTo>
                  <a:cubicBezTo>
                    <a:pt x="8108" y="720"/>
                    <a:pt x="8052" y="705"/>
                    <a:pt x="8052" y="705"/>
                  </a:cubicBezTo>
                  <a:cubicBezTo>
                    <a:pt x="8032" y="690"/>
                    <a:pt x="8032" y="690"/>
                    <a:pt x="8032" y="690"/>
                  </a:cubicBezTo>
                  <a:cubicBezTo>
                    <a:pt x="8016" y="679"/>
                    <a:pt x="8016" y="679"/>
                    <a:pt x="8016" y="679"/>
                  </a:cubicBezTo>
                  <a:cubicBezTo>
                    <a:pt x="8006" y="669"/>
                    <a:pt x="8006" y="669"/>
                    <a:pt x="8006" y="669"/>
                  </a:cubicBezTo>
                  <a:cubicBezTo>
                    <a:pt x="8032" y="668"/>
                    <a:pt x="8032" y="668"/>
                    <a:pt x="8032" y="668"/>
                  </a:cubicBezTo>
                  <a:cubicBezTo>
                    <a:pt x="8032" y="668"/>
                    <a:pt x="8027" y="677"/>
                    <a:pt x="8046" y="681"/>
                  </a:cubicBezTo>
                  <a:cubicBezTo>
                    <a:pt x="8065" y="685"/>
                    <a:pt x="8090" y="682"/>
                    <a:pt x="8090" y="682"/>
                  </a:cubicBezTo>
                  <a:cubicBezTo>
                    <a:pt x="8090" y="682"/>
                    <a:pt x="8106" y="700"/>
                    <a:pt x="8118" y="702"/>
                  </a:cubicBezTo>
                  <a:cubicBezTo>
                    <a:pt x="8130" y="704"/>
                    <a:pt x="8184" y="709"/>
                    <a:pt x="8184" y="709"/>
                  </a:cubicBezTo>
                  <a:cubicBezTo>
                    <a:pt x="8184" y="709"/>
                    <a:pt x="8221" y="725"/>
                    <a:pt x="8264" y="714"/>
                  </a:cubicBezTo>
                  <a:cubicBezTo>
                    <a:pt x="8307" y="703"/>
                    <a:pt x="8349" y="688"/>
                    <a:pt x="8327" y="668"/>
                  </a:cubicBezTo>
                  <a:cubicBezTo>
                    <a:pt x="8305" y="648"/>
                    <a:pt x="8304" y="635"/>
                    <a:pt x="8275" y="629"/>
                  </a:cubicBezTo>
                  <a:cubicBezTo>
                    <a:pt x="8246" y="623"/>
                    <a:pt x="8206" y="608"/>
                    <a:pt x="8187" y="601"/>
                  </a:cubicBezTo>
                  <a:cubicBezTo>
                    <a:pt x="8168" y="594"/>
                    <a:pt x="8134" y="577"/>
                    <a:pt x="8114" y="576"/>
                  </a:cubicBezTo>
                  <a:cubicBezTo>
                    <a:pt x="8094" y="575"/>
                    <a:pt x="8075" y="575"/>
                    <a:pt x="8063" y="575"/>
                  </a:cubicBezTo>
                  <a:cubicBezTo>
                    <a:pt x="8051" y="575"/>
                    <a:pt x="8029" y="575"/>
                    <a:pt x="8029" y="575"/>
                  </a:cubicBezTo>
                  <a:cubicBezTo>
                    <a:pt x="8021" y="565"/>
                    <a:pt x="8021" y="565"/>
                    <a:pt x="8021" y="565"/>
                  </a:cubicBezTo>
                  <a:cubicBezTo>
                    <a:pt x="8002" y="566"/>
                    <a:pt x="8002" y="566"/>
                    <a:pt x="8002" y="566"/>
                  </a:cubicBezTo>
                  <a:cubicBezTo>
                    <a:pt x="7981" y="557"/>
                    <a:pt x="7981" y="557"/>
                    <a:pt x="7981" y="557"/>
                  </a:cubicBezTo>
                  <a:cubicBezTo>
                    <a:pt x="8002" y="552"/>
                    <a:pt x="8002" y="552"/>
                    <a:pt x="8002" y="552"/>
                  </a:cubicBezTo>
                  <a:cubicBezTo>
                    <a:pt x="8014" y="544"/>
                    <a:pt x="8014" y="544"/>
                    <a:pt x="8014" y="544"/>
                  </a:cubicBezTo>
                  <a:cubicBezTo>
                    <a:pt x="8014" y="544"/>
                    <a:pt x="7971" y="528"/>
                    <a:pt x="7965" y="534"/>
                  </a:cubicBezTo>
                  <a:cubicBezTo>
                    <a:pt x="7959" y="540"/>
                    <a:pt x="7956" y="549"/>
                    <a:pt x="7956" y="549"/>
                  </a:cubicBezTo>
                  <a:cubicBezTo>
                    <a:pt x="7939" y="549"/>
                    <a:pt x="7939" y="549"/>
                    <a:pt x="7939" y="549"/>
                  </a:cubicBezTo>
                  <a:cubicBezTo>
                    <a:pt x="7922" y="552"/>
                    <a:pt x="7922" y="552"/>
                    <a:pt x="7922" y="552"/>
                  </a:cubicBezTo>
                  <a:cubicBezTo>
                    <a:pt x="7894" y="545"/>
                    <a:pt x="7894" y="545"/>
                    <a:pt x="7894" y="545"/>
                  </a:cubicBezTo>
                  <a:cubicBezTo>
                    <a:pt x="7874" y="534"/>
                    <a:pt x="7874" y="534"/>
                    <a:pt x="7874" y="534"/>
                  </a:cubicBezTo>
                  <a:cubicBezTo>
                    <a:pt x="7874" y="534"/>
                    <a:pt x="7900" y="538"/>
                    <a:pt x="7911" y="533"/>
                  </a:cubicBezTo>
                  <a:cubicBezTo>
                    <a:pt x="7922" y="528"/>
                    <a:pt x="7940" y="522"/>
                    <a:pt x="7940" y="522"/>
                  </a:cubicBezTo>
                  <a:cubicBezTo>
                    <a:pt x="7940" y="522"/>
                    <a:pt x="7914" y="507"/>
                    <a:pt x="7900" y="507"/>
                  </a:cubicBezTo>
                  <a:cubicBezTo>
                    <a:pt x="7886" y="507"/>
                    <a:pt x="7865" y="496"/>
                    <a:pt x="7865" y="496"/>
                  </a:cubicBezTo>
                  <a:cubicBezTo>
                    <a:pt x="7865" y="496"/>
                    <a:pt x="7857" y="522"/>
                    <a:pt x="7841" y="519"/>
                  </a:cubicBezTo>
                  <a:cubicBezTo>
                    <a:pt x="7825" y="516"/>
                    <a:pt x="7853" y="498"/>
                    <a:pt x="7853" y="498"/>
                  </a:cubicBezTo>
                  <a:cubicBezTo>
                    <a:pt x="7809" y="483"/>
                    <a:pt x="7809" y="483"/>
                    <a:pt x="7809" y="483"/>
                  </a:cubicBezTo>
                  <a:cubicBezTo>
                    <a:pt x="7809" y="483"/>
                    <a:pt x="7801" y="532"/>
                    <a:pt x="7787" y="526"/>
                  </a:cubicBezTo>
                  <a:cubicBezTo>
                    <a:pt x="7773" y="520"/>
                    <a:pt x="7784" y="494"/>
                    <a:pt x="7784" y="494"/>
                  </a:cubicBezTo>
                  <a:cubicBezTo>
                    <a:pt x="7784" y="494"/>
                    <a:pt x="7746" y="538"/>
                    <a:pt x="7736" y="531"/>
                  </a:cubicBezTo>
                  <a:cubicBezTo>
                    <a:pt x="7726" y="524"/>
                    <a:pt x="7772" y="488"/>
                    <a:pt x="7772" y="488"/>
                  </a:cubicBezTo>
                  <a:cubicBezTo>
                    <a:pt x="7749" y="486"/>
                    <a:pt x="7749" y="486"/>
                    <a:pt x="7749" y="486"/>
                  </a:cubicBezTo>
                  <a:cubicBezTo>
                    <a:pt x="7737" y="496"/>
                    <a:pt x="7737" y="496"/>
                    <a:pt x="7737" y="496"/>
                  </a:cubicBezTo>
                  <a:cubicBezTo>
                    <a:pt x="7721" y="494"/>
                    <a:pt x="7721" y="494"/>
                    <a:pt x="7721" y="494"/>
                  </a:cubicBezTo>
                  <a:cubicBezTo>
                    <a:pt x="7691" y="512"/>
                    <a:pt x="7691" y="512"/>
                    <a:pt x="7691" y="512"/>
                  </a:cubicBezTo>
                  <a:cubicBezTo>
                    <a:pt x="7675" y="513"/>
                    <a:pt x="7675" y="513"/>
                    <a:pt x="7675" y="513"/>
                  </a:cubicBezTo>
                  <a:cubicBezTo>
                    <a:pt x="7673" y="533"/>
                    <a:pt x="7673" y="533"/>
                    <a:pt x="7673" y="533"/>
                  </a:cubicBezTo>
                  <a:cubicBezTo>
                    <a:pt x="7649" y="524"/>
                    <a:pt x="7649" y="524"/>
                    <a:pt x="7649" y="524"/>
                  </a:cubicBezTo>
                  <a:cubicBezTo>
                    <a:pt x="7623" y="529"/>
                    <a:pt x="7623" y="529"/>
                    <a:pt x="7623" y="529"/>
                  </a:cubicBezTo>
                  <a:cubicBezTo>
                    <a:pt x="7631" y="547"/>
                    <a:pt x="7631" y="547"/>
                    <a:pt x="7631" y="547"/>
                  </a:cubicBezTo>
                  <a:cubicBezTo>
                    <a:pt x="7600" y="538"/>
                    <a:pt x="7600" y="538"/>
                    <a:pt x="7600" y="538"/>
                  </a:cubicBezTo>
                  <a:cubicBezTo>
                    <a:pt x="7589" y="544"/>
                    <a:pt x="7589" y="544"/>
                    <a:pt x="7589" y="544"/>
                  </a:cubicBezTo>
                  <a:cubicBezTo>
                    <a:pt x="7592" y="560"/>
                    <a:pt x="7592" y="560"/>
                    <a:pt x="7592" y="560"/>
                  </a:cubicBezTo>
                  <a:cubicBezTo>
                    <a:pt x="7562" y="566"/>
                    <a:pt x="7562" y="566"/>
                    <a:pt x="7562" y="566"/>
                  </a:cubicBezTo>
                  <a:cubicBezTo>
                    <a:pt x="7565" y="545"/>
                    <a:pt x="7565" y="545"/>
                    <a:pt x="7565" y="545"/>
                  </a:cubicBezTo>
                  <a:cubicBezTo>
                    <a:pt x="7545" y="545"/>
                    <a:pt x="7545" y="545"/>
                    <a:pt x="7545" y="545"/>
                  </a:cubicBezTo>
                  <a:cubicBezTo>
                    <a:pt x="7551" y="558"/>
                    <a:pt x="7551" y="558"/>
                    <a:pt x="7551" y="558"/>
                  </a:cubicBezTo>
                  <a:cubicBezTo>
                    <a:pt x="7535" y="548"/>
                    <a:pt x="7535" y="548"/>
                    <a:pt x="7535" y="548"/>
                  </a:cubicBezTo>
                  <a:cubicBezTo>
                    <a:pt x="7537" y="568"/>
                    <a:pt x="7537" y="568"/>
                    <a:pt x="7537" y="568"/>
                  </a:cubicBezTo>
                  <a:cubicBezTo>
                    <a:pt x="7520" y="567"/>
                    <a:pt x="7520" y="567"/>
                    <a:pt x="7520" y="567"/>
                  </a:cubicBezTo>
                  <a:cubicBezTo>
                    <a:pt x="7520" y="567"/>
                    <a:pt x="7517" y="554"/>
                    <a:pt x="7519" y="551"/>
                  </a:cubicBezTo>
                  <a:cubicBezTo>
                    <a:pt x="7521" y="548"/>
                    <a:pt x="7532" y="538"/>
                    <a:pt x="7532" y="538"/>
                  </a:cubicBezTo>
                  <a:cubicBezTo>
                    <a:pt x="7509" y="535"/>
                    <a:pt x="7509" y="535"/>
                    <a:pt x="7509" y="535"/>
                  </a:cubicBezTo>
                  <a:cubicBezTo>
                    <a:pt x="7506" y="564"/>
                    <a:pt x="7506" y="564"/>
                    <a:pt x="7506" y="564"/>
                  </a:cubicBezTo>
                  <a:cubicBezTo>
                    <a:pt x="7488" y="573"/>
                    <a:pt x="7488" y="573"/>
                    <a:pt x="7488" y="573"/>
                  </a:cubicBezTo>
                  <a:cubicBezTo>
                    <a:pt x="7498" y="581"/>
                    <a:pt x="7498" y="581"/>
                    <a:pt x="7498" y="581"/>
                  </a:cubicBezTo>
                  <a:cubicBezTo>
                    <a:pt x="7476" y="584"/>
                    <a:pt x="7476" y="584"/>
                    <a:pt x="7476" y="584"/>
                  </a:cubicBezTo>
                  <a:cubicBezTo>
                    <a:pt x="7484" y="592"/>
                    <a:pt x="7484" y="592"/>
                    <a:pt x="7484" y="592"/>
                  </a:cubicBezTo>
                  <a:cubicBezTo>
                    <a:pt x="7456" y="593"/>
                    <a:pt x="7456" y="593"/>
                    <a:pt x="7456" y="593"/>
                  </a:cubicBezTo>
                  <a:cubicBezTo>
                    <a:pt x="7456" y="601"/>
                    <a:pt x="7456" y="601"/>
                    <a:pt x="7456" y="601"/>
                  </a:cubicBezTo>
                  <a:cubicBezTo>
                    <a:pt x="7477" y="606"/>
                    <a:pt x="7477" y="606"/>
                    <a:pt x="7477" y="606"/>
                  </a:cubicBezTo>
                  <a:cubicBezTo>
                    <a:pt x="7470" y="615"/>
                    <a:pt x="7470" y="615"/>
                    <a:pt x="7470" y="615"/>
                  </a:cubicBezTo>
                  <a:cubicBezTo>
                    <a:pt x="7446" y="605"/>
                    <a:pt x="7446" y="605"/>
                    <a:pt x="7446" y="605"/>
                  </a:cubicBezTo>
                  <a:cubicBezTo>
                    <a:pt x="7437" y="606"/>
                    <a:pt x="7437" y="606"/>
                    <a:pt x="7437" y="606"/>
                  </a:cubicBezTo>
                  <a:cubicBezTo>
                    <a:pt x="7453" y="617"/>
                    <a:pt x="7453" y="617"/>
                    <a:pt x="7453" y="617"/>
                  </a:cubicBezTo>
                  <a:cubicBezTo>
                    <a:pt x="7438" y="628"/>
                    <a:pt x="7438" y="628"/>
                    <a:pt x="7438" y="628"/>
                  </a:cubicBezTo>
                  <a:cubicBezTo>
                    <a:pt x="7430" y="615"/>
                    <a:pt x="7430" y="615"/>
                    <a:pt x="7430" y="615"/>
                  </a:cubicBezTo>
                  <a:cubicBezTo>
                    <a:pt x="7420" y="621"/>
                    <a:pt x="7420" y="621"/>
                    <a:pt x="7420" y="621"/>
                  </a:cubicBezTo>
                  <a:cubicBezTo>
                    <a:pt x="7421" y="626"/>
                    <a:pt x="7421" y="626"/>
                    <a:pt x="7421" y="626"/>
                  </a:cubicBezTo>
                  <a:cubicBezTo>
                    <a:pt x="7398" y="627"/>
                    <a:pt x="7398" y="627"/>
                    <a:pt x="7398" y="627"/>
                  </a:cubicBezTo>
                  <a:cubicBezTo>
                    <a:pt x="7395" y="636"/>
                    <a:pt x="7395" y="636"/>
                    <a:pt x="7395" y="636"/>
                  </a:cubicBezTo>
                  <a:cubicBezTo>
                    <a:pt x="7412" y="645"/>
                    <a:pt x="7412" y="645"/>
                    <a:pt x="7412" y="645"/>
                  </a:cubicBezTo>
                  <a:cubicBezTo>
                    <a:pt x="7410" y="655"/>
                    <a:pt x="7410" y="655"/>
                    <a:pt x="7410" y="655"/>
                  </a:cubicBezTo>
                  <a:cubicBezTo>
                    <a:pt x="7388" y="647"/>
                    <a:pt x="7388" y="647"/>
                    <a:pt x="7388" y="647"/>
                  </a:cubicBezTo>
                  <a:cubicBezTo>
                    <a:pt x="7385" y="657"/>
                    <a:pt x="7385" y="657"/>
                    <a:pt x="7385" y="657"/>
                  </a:cubicBezTo>
                  <a:cubicBezTo>
                    <a:pt x="7403" y="662"/>
                    <a:pt x="7403" y="662"/>
                    <a:pt x="7403" y="662"/>
                  </a:cubicBezTo>
                  <a:cubicBezTo>
                    <a:pt x="7403" y="662"/>
                    <a:pt x="7382" y="663"/>
                    <a:pt x="7375" y="664"/>
                  </a:cubicBezTo>
                  <a:cubicBezTo>
                    <a:pt x="7368" y="665"/>
                    <a:pt x="7372" y="675"/>
                    <a:pt x="7372" y="675"/>
                  </a:cubicBezTo>
                  <a:cubicBezTo>
                    <a:pt x="7372" y="675"/>
                    <a:pt x="7359" y="668"/>
                    <a:pt x="7351" y="674"/>
                  </a:cubicBezTo>
                  <a:cubicBezTo>
                    <a:pt x="7343" y="680"/>
                    <a:pt x="7336" y="685"/>
                    <a:pt x="7341" y="688"/>
                  </a:cubicBezTo>
                  <a:cubicBezTo>
                    <a:pt x="7346" y="691"/>
                    <a:pt x="7335" y="697"/>
                    <a:pt x="7335" y="697"/>
                  </a:cubicBezTo>
                  <a:cubicBezTo>
                    <a:pt x="7335" y="697"/>
                    <a:pt x="7328" y="706"/>
                    <a:pt x="7331" y="707"/>
                  </a:cubicBezTo>
                  <a:cubicBezTo>
                    <a:pt x="7334" y="708"/>
                    <a:pt x="7354" y="709"/>
                    <a:pt x="7354" y="709"/>
                  </a:cubicBezTo>
                  <a:cubicBezTo>
                    <a:pt x="7347" y="717"/>
                    <a:pt x="7347" y="717"/>
                    <a:pt x="7347" y="717"/>
                  </a:cubicBezTo>
                  <a:cubicBezTo>
                    <a:pt x="7324" y="713"/>
                    <a:pt x="7324" y="713"/>
                    <a:pt x="7324" y="713"/>
                  </a:cubicBezTo>
                  <a:cubicBezTo>
                    <a:pt x="7324" y="713"/>
                    <a:pt x="7311" y="715"/>
                    <a:pt x="7311" y="723"/>
                  </a:cubicBezTo>
                  <a:cubicBezTo>
                    <a:pt x="7311" y="731"/>
                    <a:pt x="7321" y="737"/>
                    <a:pt x="7317" y="740"/>
                  </a:cubicBezTo>
                  <a:cubicBezTo>
                    <a:pt x="7313" y="743"/>
                    <a:pt x="7309" y="743"/>
                    <a:pt x="7304" y="743"/>
                  </a:cubicBezTo>
                  <a:cubicBezTo>
                    <a:pt x="7299" y="743"/>
                    <a:pt x="7293" y="744"/>
                    <a:pt x="7295" y="751"/>
                  </a:cubicBezTo>
                  <a:cubicBezTo>
                    <a:pt x="7297" y="758"/>
                    <a:pt x="7305" y="762"/>
                    <a:pt x="7305" y="762"/>
                  </a:cubicBezTo>
                  <a:cubicBezTo>
                    <a:pt x="7305" y="762"/>
                    <a:pt x="7311" y="773"/>
                    <a:pt x="7304" y="774"/>
                  </a:cubicBezTo>
                  <a:cubicBezTo>
                    <a:pt x="7297" y="775"/>
                    <a:pt x="7290" y="774"/>
                    <a:pt x="7287" y="774"/>
                  </a:cubicBezTo>
                  <a:cubicBezTo>
                    <a:pt x="7284" y="774"/>
                    <a:pt x="7281" y="775"/>
                    <a:pt x="7278" y="779"/>
                  </a:cubicBezTo>
                  <a:cubicBezTo>
                    <a:pt x="7275" y="783"/>
                    <a:pt x="7275" y="790"/>
                    <a:pt x="7275" y="790"/>
                  </a:cubicBezTo>
                  <a:cubicBezTo>
                    <a:pt x="7275" y="790"/>
                    <a:pt x="7277" y="797"/>
                    <a:pt x="7270" y="797"/>
                  </a:cubicBezTo>
                  <a:cubicBezTo>
                    <a:pt x="7263" y="797"/>
                    <a:pt x="7260" y="790"/>
                    <a:pt x="7254" y="791"/>
                  </a:cubicBezTo>
                  <a:cubicBezTo>
                    <a:pt x="7248" y="792"/>
                    <a:pt x="7250" y="792"/>
                    <a:pt x="7245" y="796"/>
                  </a:cubicBezTo>
                  <a:cubicBezTo>
                    <a:pt x="7240" y="800"/>
                    <a:pt x="7240" y="801"/>
                    <a:pt x="7237" y="805"/>
                  </a:cubicBezTo>
                  <a:cubicBezTo>
                    <a:pt x="7234" y="809"/>
                    <a:pt x="7225" y="809"/>
                    <a:pt x="7225" y="809"/>
                  </a:cubicBezTo>
                  <a:cubicBezTo>
                    <a:pt x="7225" y="809"/>
                    <a:pt x="7221" y="810"/>
                    <a:pt x="7218" y="816"/>
                  </a:cubicBezTo>
                  <a:cubicBezTo>
                    <a:pt x="7215" y="822"/>
                    <a:pt x="7224" y="826"/>
                    <a:pt x="7219" y="829"/>
                  </a:cubicBezTo>
                  <a:cubicBezTo>
                    <a:pt x="7214" y="832"/>
                    <a:pt x="7213" y="834"/>
                    <a:pt x="7208" y="834"/>
                  </a:cubicBezTo>
                  <a:cubicBezTo>
                    <a:pt x="7203" y="834"/>
                    <a:pt x="7194" y="829"/>
                    <a:pt x="7191" y="829"/>
                  </a:cubicBezTo>
                  <a:cubicBezTo>
                    <a:pt x="7188" y="829"/>
                    <a:pt x="7195" y="821"/>
                    <a:pt x="7182" y="828"/>
                  </a:cubicBezTo>
                  <a:cubicBezTo>
                    <a:pt x="7169" y="835"/>
                    <a:pt x="7168" y="836"/>
                    <a:pt x="7164" y="835"/>
                  </a:cubicBezTo>
                  <a:cubicBezTo>
                    <a:pt x="7160" y="834"/>
                    <a:pt x="7155" y="832"/>
                    <a:pt x="7156" y="842"/>
                  </a:cubicBezTo>
                  <a:cubicBezTo>
                    <a:pt x="7157" y="852"/>
                    <a:pt x="7163" y="851"/>
                    <a:pt x="7164" y="854"/>
                  </a:cubicBezTo>
                  <a:cubicBezTo>
                    <a:pt x="7165" y="857"/>
                    <a:pt x="7168" y="865"/>
                    <a:pt x="7160" y="861"/>
                  </a:cubicBezTo>
                  <a:cubicBezTo>
                    <a:pt x="7152" y="857"/>
                    <a:pt x="7151" y="848"/>
                    <a:pt x="7146" y="851"/>
                  </a:cubicBezTo>
                  <a:cubicBezTo>
                    <a:pt x="7141" y="854"/>
                    <a:pt x="7135" y="861"/>
                    <a:pt x="7140" y="864"/>
                  </a:cubicBezTo>
                  <a:cubicBezTo>
                    <a:pt x="7145" y="867"/>
                    <a:pt x="7160" y="863"/>
                    <a:pt x="7157" y="869"/>
                  </a:cubicBezTo>
                  <a:cubicBezTo>
                    <a:pt x="7154" y="875"/>
                    <a:pt x="7164" y="878"/>
                    <a:pt x="7149" y="876"/>
                  </a:cubicBezTo>
                  <a:cubicBezTo>
                    <a:pt x="7134" y="874"/>
                    <a:pt x="7130" y="874"/>
                    <a:pt x="7130" y="874"/>
                  </a:cubicBezTo>
                  <a:cubicBezTo>
                    <a:pt x="7130" y="874"/>
                    <a:pt x="7132" y="868"/>
                    <a:pt x="7126" y="873"/>
                  </a:cubicBezTo>
                  <a:cubicBezTo>
                    <a:pt x="7120" y="878"/>
                    <a:pt x="7122" y="887"/>
                    <a:pt x="7122" y="887"/>
                  </a:cubicBezTo>
                  <a:cubicBezTo>
                    <a:pt x="7122" y="887"/>
                    <a:pt x="7093" y="874"/>
                    <a:pt x="7097" y="882"/>
                  </a:cubicBezTo>
                  <a:cubicBezTo>
                    <a:pt x="7101" y="890"/>
                    <a:pt x="7123" y="895"/>
                    <a:pt x="7123" y="895"/>
                  </a:cubicBezTo>
                  <a:cubicBezTo>
                    <a:pt x="7110" y="909"/>
                    <a:pt x="7110" y="909"/>
                    <a:pt x="7110" y="909"/>
                  </a:cubicBezTo>
                  <a:cubicBezTo>
                    <a:pt x="7110" y="909"/>
                    <a:pt x="7111" y="899"/>
                    <a:pt x="7104" y="898"/>
                  </a:cubicBezTo>
                  <a:cubicBezTo>
                    <a:pt x="7097" y="897"/>
                    <a:pt x="7091" y="905"/>
                    <a:pt x="7091" y="905"/>
                  </a:cubicBezTo>
                  <a:cubicBezTo>
                    <a:pt x="7078" y="894"/>
                    <a:pt x="7078" y="894"/>
                    <a:pt x="7078" y="894"/>
                  </a:cubicBezTo>
                  <a:cubicBezTo>
                    <a:pt x="7072" y="903"/>
                    <a:pt x="7072" y="903"/>
                    <a:pt x="7072" y="903"/>
                  </a:cubicBezTo>
                  <a:cubicBezTo>
                    <a:pt x="7081" y="906"/>
                    <a:pt x="7081" y="906"/>
                    <a:pt x="7081" y="906"/>
                  </a:cubicBezTo>
                  <a:cubicBezTo>
                    <a:pt x="7058" y="905"/>
                    <a:pt x="7058" y="905"/>
                    <a:pt x="7058" y="905"/>
                  </a:cubicBezTo>
                  <a:cubicBezTo>
                    <a:pt x="7057" y="914"/>
                    <a:pt x="7057" y="914"/>
                    <a:pt x="7057" y="914"/>
                  </a:cubicBezTo>
                  <a:cubicBezTo>
                    <a:pt x="7090" y="916"/>
                    <a:pt x="7090" y="916"/>
                    <a:pt x="7090" y="916"/>
                  </a:cubicBezTo>
                  <a:cubicBezTo>
                    <a:pt x="7073" y="921"/>
                    <a:pt x="7073" y="921"/>
                    <a:pt x="7073" y="921"/>
                  </a:cubicBezTo>
                  <a:cubicBezTo>
                    <a:pt x="7049" y="915"/>
                    <a:pt x="7049" y="915"/>
                    <a:pt x="7049" y="915"/>
                  </a:cubicBezTo>
                  <a:cubicBezTo>
                    <a:pt x="7049" y="915"/>
                    <a:pt x="7041" y="922"/>
                    <a:pt x="7041" y="928"/>
                  </a:cubicBezTo>
                  <a:cubicBezTo>
                    <a:pt x="7041" y="934"/>
                    <a:pt x="7059" y="935"/>
                    <a:pt x="7059" y="935"/>
                  </a:cubicBezTo>
                  <a:cubicBezTo>
                    <a:pt x="7048" y="940"/>
                    <a:pt x="7048" y="940"/>
                    <a:pt x="7048" y="940"/>
                  </a:cubicBezTo>
                  <a:cubicBezTo>
                    <a:pt x="7048" y="940"/>
                    <a:pt x="7039" y="947"/>
                    <a:pt x="7048" y="948"/>
                  </a:cubicBezTo>
                  <a:cubicBezTo>
                    <a:pt x="7057" y="949"/>
                    <a:pt x="7080" y="949"/>
                    <a:pt x="7080" y="949"/>
                  </a:cubicBezTo>
                  <a:cubicBezTo>
                    <a:pt x="7090" y="955"/>
                    <a:pt x="7090" y="955"/>
                    <a:pt x="7090" y="955"/>
                  </a:cubicBezTo>
                  <a:cubicBezTo>
                    <a:pt x="7101" y="947"/>
                    <a:pt x="7101" y="947"/>
                    <a:pt x="7101" y="947"/>
                  </a:cubicBezTo>
                  <a:cubicBezTo>
                    <a:pt x="7109" y="955"/>
                    <a:pt x="7109" y="955"/>
                    <a:pt x="7109" y="955"/>
                  </a:cubicBezTo>
                  <a:cubicBezTo>
                    <a:pt x="7127" y="946"/>
                    <a:pt x="7127" y="946"/>
                    <a:pt x="7127" y="946"/>
                  </a:cubicBezTo>
                  <a:cubicBezTo>
                    <a:pt x="7127" y="946"/>
                    <a:pt x="7124" y="959"/>
                    <a:pt x="7118" y="959"/>
                  </a:cubicBezTo>
                  <a:cubicBezTo>
                    <a:pt x="7112" y="959"/>
                    <a:pt x="7100" y="958"/>
                    <a:pt x="7100" y="958"/>
                  </a:cubicBezTo>
                  <a:cubicBezTo>
                    <a:pt x="7082" y="959"/>
                    <a:pt x="7082" y="959"/>
                    <a:pt x="7082" y="959"/>
                  </a:cubicBezTo>
                  <a:cubicBezTo>
                    <a:pt x="7082" y="959"/>
                    <a:pt x="7066" y="957"/>
                    <a:pt x="7063" y="957"/>
                  </a:cubicBezTo>
                  <a:cubicBezTo>
                    <a:pt x="7060" y="957"/>
                    <a:pt x="7038" y="959"/>
                    <a:pt x="7038" y="959"/>
                  </a:cubicBezTo>
                  <a:cubicBezTo>
                    <a:pt x="7038" y="959"/>
                    <a:pt x="7040" y="971"/>
                    <a:pt x="7045" y="973"/>
                  </a:cubicBezTo>
                  <a:cubicBezTo>
                    <a:pt x="7050" y="975"/>
                    <a:pt x="7058" y="975"/>
                    <a:pt x="7058" y="975"/>
                  </a:cubicBezTo>
                  <a:cubicBezTo>
                    <a:pt x="7058" y="975"/>
                    <a:pt x="7045" y="985"/>
                    <a:pt x="7051" y="992"/>
                  </a:cubicBezTo>
                  <a:cubicBezTo>
                    <a:pt x="7057" y="999"/>
                    <a:pt x="7067" y="1000"/>
                    <a:pt x="7067" y="1000"/>
                  </a:cubicBezTo>
                  <a:cubicBezTo>
                    <a:pt x="7085" y="989"/>
                    <a:pt x="7085" y="989"/>
                    <a:pt x="7085" y="989"/>
                  </a:cubicBezTo>
                  <a:cubicBezTo>
                    <a:pt x="7103" y="985"/>
                    <a:pt x="7103" y="985"/>
                    <a:pt x="7103" y="985"/>
                  </a:cubicBezTo>
                  <a:cubicBezTo>
                    <a:pt x="7097" y="999"/>
                    <a:pt x="7097" y="999"/>
                    <a:pt x="7097" y="999"/>
                  </a:cubicBezTo>
                  <a:cubicBezTo>
                    <a:pt x="7087" y="996"/>
                    <a:pt x="7087" y="996"/>
                    <a:pt x="7087" y="996"/>
                  </a:cubicBezTo>
                  <a:cubicBezTo>
                    <a:pt x="7081" y="1008"/>
                    <a:pt x="7081" y="1008"/>
                    <a:pt x="7081" y="1008"/>
                  </a:cubicBezTo>
                  <a:cubicBezTo>
                    <a:pt x="7081" y="1008"/>
                    <a:pt x="7051" y="1002"/>
                    <a:pt x="7055" y="1009"/>
                  </a:cubicBezTo>
                  <a:cubicBezTo>
                    <a:pt x="7059" y="1016"/>
                    <a:pt x="7068" y="1019"/>
                    <a:pt x="7068" y="1019"/>
                  </a:cubicBezTo>
                  <a:cubicBezTo>
                    <a:pt x="7052" y="1027"/>
                    <a:pt x="7052" y="1027"/>
                    <a:pt x="7052" y="1027"/>
                  </a:cubicBezTo>
                  <a:cubicBezTo>
                    <a:pt x="7040" y="1027"/>
                    <a:pt x="7040" y="1027"/>
                    <a:pt x="7040" y="1027"/>
                  </a:cubicBezTo>
                  <a:cubicBezTo>
                    <a:pt x="7040" y="1027"/>
                    <a:pt x="7042" y="1039"/>
                    <a:pt x="7045" y="1039"/>
                  </a:cubicBezTo>
                  <a:cubicBezTo>
                    <a:pt x="7048" y="1039"/>
                    <a:pt x="7080" y="1040"/>
                    <a:pt x="7080" y="1040"/>
                  </a:cubicBezTo>
                  <a:cubicBezTo>
                    <a:pt x="7071" y="1054"/>
                    <a:pt x="7071" y="1054"/>
                    <a:pt x="7071" y="1054"/>
                  </a:cubicBezTo>
                  <a:cubicBezTo>
                    <a:pt x="7079" y="1056"/>
                    <a:pt x="7079" y="1056"/>
                    <a:pt x="7079" y="1056"/>
                  </a:cubicBezTo>
                  <a:cubicBezTo>
                    <a:pt x="7074" y="1068"/>
                    <a:pt x="7074" y="1068"/>
                    <a:pt x="7074" y="1068"/>
                  </a:cubicBezTo>
                  <a:cubicBezTo>
                    <a:pt x="7074" y="1068"/>
                    <a:pt x="7048" y="1055"/>
                    <a:pt x="7049" y="1063"/>
                  </a:cubicBezTo>
                  <a:cubicBezTo>
                    <a:pt x="7050" y="1071"/>
                    <a:pt x="7061" y="1082"/>
                    <a:pt x="7061" y="1082"/>
                  </a:cubicBezTo>
                  <a:cubicBezTo>
                    <a:pt x="7093" y="1096"/>
                    <a:pt x="7093" y="1096"/>
                    <a:pt x="7093" y="1096"/>
                  </a:cubicBezTo>
                  <a:cubicBezTo>
                    <a:pt x="7093" y="1096"/>
                    <a:pt x="7086" y="1101"/>
                    <a:pt x="7093" y="1104"/>
                  </a:cubicBezTo>
                  <a:cubicBezTo>
                    <a:pt x="7100" y="1107"/>
                    <a:pt x="7121" y="1102"/>
                    <a:pt x="7121" y="1102"/>
                  </a:cubicBezTo>
                  <a:cubicBezTo>
                    <a:pt x="7121" y="1102"/>
                    <a:pt x="7124" y="1111"/>
                    <a:pt x="7141" y="1105"/>
                  </a:cubicBezTo>
                  <a:cubicBezTo>
                    <a:pt x="7158" y="1099"/>
                    <a:pt x="7186" y="1074"/>
                    <a:pt x="7186" y="1074"/>
                  </a:cubicBezTo>
                  <a:cubicBezTo>
                    <a:pt x="7210" y="1055"/>
                    <a:pt x="7210" y="1055"/>
                    <a:pt x="7210" y="1055"/>
                  </a:cubicBezTo>
                  <a:cubicBezTo>
                    <a:pt x="7210" y="1055"/>
                    <a:pt x="7221" y="1060"/>
                    <a:pt x="7231" y="1051"/>
                  </a:cubicBezTo>
                  <a:cubicBezTo>
                    <a:pt x="7241" y="1042"/>
                    <a:pt x="7231" y="1023"/>
                    <a:pt x="7231" y="1023"/>
                  </a:cubicBezTo>
                  <a:cubicBezTo>
                    <a:pt x="7243" y="1021"/>
                    <a:pt x="7243" y="1021"/>
                    <a:pt x="7243" y="1021"/>
                  </a:cubicBezTo>
                  <a:cubicBezTo>
                    <a:pt x="7243" y="1021"/>
                    <a:pt x="7230" y="1038"/>
                    <a:pt x="7245" y="1043"/>
                  </a:cubicBezTo>
                  <a:cubicBezTo>
                    <a:pt x="7260" y="1048"/>
                    <a:pt x="7271" y="1050"/>
                    <a:pt x="7271" y="1050"/>
                  </a:cubicBezTo>
                  <a:cubicBezTo>
                    <a:pt x="7273" y="1091"/>
                    <a:pt x="7273" y="1091"/>
                    <a:pt x="7273" y="1091"/>
                  </a:cubicBezTo>
                  <a:cubicBezTo>
                    <a:pt x="7273" y="1091"/>
                    <a:pt x="7287" y="1080"/>
                    <a:pt x="7294" y="1092"/>
                  </a:cubicBezTo>
                  <a:cubicBezTo>
                    <a:pt x="7301" y="1104"/>
                    <a:pt x="7290" y="1096"/>
                    <a:pt x="7290" y="1096"/>
                  </a:cubicBezTo>
                  <a:cubicBezTo>
                    <a:pt x="7290" y="1096"/>
                    <a:pt x="7285" y="1130"/>
                    <a:pt x="7289" y="1134"/>
                  </a:cubicBezTo>
                  <a:cubicBezTo>
                    <a:pt x="7293" y="1138"/>
                    <a:pt x="7305" y="1143"/>
                    <a:pt x="7305" y="1143"/>
                  </a:cubicBezTo>
                  <a:cubicBezTo>
                    <a:pt x="7305" y="1143"/>
                    <a:pt x="7314" y="1160"/>
                    <a:pt x="7320" y="1167"/>
                  </a:cubicBezTo>
                  <a:cubicBezTo>
                    <a:pt x="7326" y="1174"/>
                    <a:pt x="7337" y="1178"/>
                    <a:pt x="7337" y="1178"/>
                  </a:cubicBezTo>
                  <a:cubicBezTo>
                    <a:pt x="7336" y="1186"/>
                    <a:pt x="7336" y="1186"/>
                    <a:pt x="7336" y="1186"/>
                  </a:cubicBezTo>
                  <a:cubicBezTo>
                    <a:pt x="7324" y="1188"/>
                    <a:pt x="7324" y="1188"/>
                    <a:pt x="7324" y="1188"/>
                  </a:cubicBezTo>
                  <a:cubicBezTo>
                    <a:pt x="7324" y="1188"/>
                    <a:pt x="7322" y="1196"/>
                    <a:pt x="7323" y="1202"/>
                  </a:cubicBezTo>
                  <a:cubicBezTo>
                    <a:pt x="7324" y="1208"/>
                    <a:pt x="7339" y="1221"/>
                    <a:pt x="7339" y="1221"/>
                  </a:cubicBezTo>
                  <a:cubicBezTo>
                    <a:pt x="7339" y="1221"/>
                    <a:pt x="7335" y="1234"/>
                    <a:pt x="7340" y="1237"/>
                  </a:cubicBezTo>
                  <a:cubicBezTo>
                    <a:pt x="7345" y="1240"/>
                    <a:pt x="7365" y="1238"/>
                    <a:pt x="7365" y="1238"/>
                  </a:cubicBezTo>
                  <a:cubicBezTo>
                    <a:pt x="7365" y="1238"/>
                    <a:pt x="7393" y="1245"/>
                    <a:pt x="7392" y="1236"/>
                  </a:cubicBezTo>
                  <a:cubicBezTo>
                    <a:pt x="7391" y="1227"/>
                    <a:pt x="7391" y="1212"/>
                    <a:pt x="7391" y="1212"/>
                  </a:cubicBezTo>
                  <a:cubicBezTo>
                    <a:pt x="7403" y="1206"/>
                    <a:pt x="7403" y="1206"/>
                    <a:pt x="7403" y="1206"/>
                  </a:cubicBezTo>
                  <a:cubicBezTo>
                    <a:pt x="7404" y="1196"/>
                    <a:pt x="7404" y="1196"/>
                    <a:pt x="7404" y="1196"/>
                  </a:cubicBezTo>
                  <a:cubicBezTo>
                    <a:pt x="7447" y="1199"/>
                    <a:pt x="7447" y="1199"/>
                    <a:pt x="7447" y="1199"/>
                  </a:cubicBezTo>
                  <a:cubicBezTo>
                    <a:pt x="7456" y="1204"/>
                    <a:pt x="7456" y="1204"/>
                    <a:pt x="7456" y="1204"/>
                  </a:cubicBezTo>
                  <a:cubicBezTo>
                    <a:pt x="7470" y="1162"/>
                    <a:pt x="7470" y="1162"/>
                    <a:pt x="7470" y="1162"/>
                  </a:cubicBezTo>
                  <a:cubicBezTo>
                    <a:pt x="7470" y="1162"/>
                    <a:pt x="7479" y="1136"/>
                    <a:pt x="7477" y="1130"/>
                  </a:cubicBezTo>
                  <a:cubicBezTo>
                    <a:pt x="7475" y="1124"/>
                    <a:pt x="7469" y="1113"/>
                    <a:pt x="7469" y="1113"/>
                  </a:cubicBezTo>
                  <a:cubicBezTo>
                    <a:pt x="7469" y="1113"/>
                    <a:pt x="7490" y="1110"/>
                    <a:pt x="7488" y="1099"/>
                  </a:cubicBezTo>
                  <a:cubicBezTo>
                    <a:pt x="7486" y="1088"/>
                    <a:pt x="7467" y="1088"/>
                    <a:pt x="7467" y="1088"/>
                  </a:cubicBezTo>
                  <a:cubicBezTo>
                    <a:pt x="7480" y="1083"/>
                    <a:pt x="7480" y="1083"/>
                    <a:pt x="7480" y="1083"/>
                  </a:cubicBezTo>
                  <a:cubicBezTo>
                    <a:pt x="7471" y="1079"/>
                    <a:pt x="7471" y="1079"/>
                    <a:pt x="7471" y="1079"/>
                  </a:cubicBezTo>
                  <a:cubicBezTo>
                    <a:pt x="7471" y="1079"/>
                    <a:pt x="7505" y="1081"/>
                    <a:pt x="7508" y="1070"/>
                  </a:cubicBezTo>
                  <a:cubicBezTo>
                    <a:pt x="7511" y="1059"/>
                    <a:pt x="7516" y="1053"/>
                    <a:pt x="7516" y="1053"/>
                  </a:cubicBezTo>
                  <a:cubicBezTo>
                    <a:pt x="7516" y="1053"/>
                    <a:pt x="7527" y="1071"/>
                    <a:pt x="7537" y="1059"/>
                  </a:cubicBezTo>
                  <a:cubicBezTo>
                    <a:pt x="7547" y="1047"/>
                    <a:pt x="7541" y="1037"/>
                    <a:pt x="7541" y="1037"/>
                  </a:cubicBezTo>
                  <a:cubicBezTo>
                    <a:pt x="7541" y="1037"/>
                    <a:pt x="7568" y="1032"/>
                    <a:pt x="7561" y="1018"/>
                  </a:cubicBezTo>
                  <a:cubicBezTo>
                    <a:pt x="7554" y="1004"/>
                    <a:pt x="7542" y="1001"/>
                    <a:pt x="7542" y="1001"/>
                  </a:cubicBezTo>
                  <a:cubicBezTo>
                    <a:pt x="7542" y="990"/>
                    <a:pt x="7542" y="990"/>
                    <a:pt x="7542" y="990"/>
                  </a:cubicBezTo>
                  <a:cubicBezTo>
                    <a:pt x="7518" y="980"/>
                    <a:pt x="7518" y="980"/>
                    <a:pt x="7518" y="980"/>
                  </a:cubicBezTo>
                  <a:cubicBezTo>
                    <a:pt x="7518" y="980"/>
                    <a:pt x="7507" y="987"/>
                    <a:pt x="7499" y="980"/>
                  </a:cubicBezTo>
                  <a:cubicBezTo>
                    <a:pt x="7491" y="973"/>
                    <a:pt x="7488" y="931"/>
                    <a:pt x="7488" y="931"/>
                  </a:cubicBezTo>
                  <a:cubicBezTo>
                    <a:pt x="7488" y="931"/>
                    <a:pt x="7499" y="921"/>
                    <a:pt x="7500" y="910"/>
                  </a:cubicBezTo>
                  <a:cubicBezTo>
                    <a:pt x="7501" y="899"/>
                    <a:pt x="7490" y="889"/>
                    <a:pt x="7490" y="889"/>
                  </a:cubicBezTo>
                  <a:cubicBezTo>
                    <a:pt x="7490" y="889"/>
                    <a:pt x="7504" y="892"/>
                    <a:pt x="7508" y="884"/>
                  </a:cubicBezTo>
                  <a:cubicBezTo>
                    <a:pt x="7512" y="876"/>
                    <a:pt x="7503" y="864"/>
                    <a:pt x="7503" y="864"/>
                  </a:cubicBezTo>
                  <a:cubicBezTo>
                    <a:pt x="7503" y="864"/>
                    <a:pt x="7520" y="873"/>
                    <a:pt x="7525" y="868"/>
                  </a:cubicBezTo>
                  <a:cubicBezTo>
                    <a:pt x="7530" y="863"/>
                    <a:pt x="7542" y="851"/>
                    <a:pt x="7542" y="851"/>
                  </a:cubicBezTo>
                  <a:cubicBezTo>
                    <a:pt x="7562" y="854"/>
                    <a:pt x="7562" y="854"/>
                    <a:pt x="7562" y="854"/>
                  </a:cubicBezTo>
                  <a:cubicBezTo>
                    <a:pt x="7570" y="839"/>
                    <a:pt x="7570" y="839"/>
                    <a:pt x="7570" y="839"/>
                  </a:cubicBezTo>
                  <a:cubicBezTo>
                    <a:pt x="7570" y="839"/>
                    <a:pt x="7601" y="840"/>
                    <a:pt x="7611" y="830"/>
                  </a:cubicBezTo>
                  <a:cubicBezTo>
                    <a:pt x="7621" y="820"/>
                    <a:pt x="7635" y="794"/>
                    <a:pt x="7635" y="794"/>
                  </a:cubicBezTo>
                  <a:cubicBezTo>
                    <a:pt x="7623" y="779"/>
                    <a:pt x="7623" y="779"/>
                    <a:pt x="7623" y="779"/>
                  </a:cubicBezTo>
                  <a:cubicBezTo>
                    <a:pt x="7643" y="756"/>
                    <a:pt x="7643" y="756"/>
                    <a:pt x="7643" y="756"/>
                  </a:cubicBezTo>
                  <a:cubicBezTo>
                    <a:pt x="7632" y="743"/>
                    <a:pt x="7632" y="743"/>
                    <a:pt x="7632" y="743"/>
                  </a:cubicBezTo>
                  <a:cubicBezTo>
                    <a:pt x="7657" y="737"/>
                    <a:pt x="7657" y="737"/>
                    <a:pt x="7657" y="737"/>
                  </a:cubicBezTo>
                  <a:cubicBezTo>
                    <a:pt x="7667" y="725"/>
                    <a:pt x="7667" y="725"/>
                    <a:pt x="7667" y="725"/>
                  </a:cubicBezTo>
                  <a:cubicBezTo>
                    <a:pt x="7720" y="727"/>
                    <a:pt x="7720" y="727"/>
                    <a:pt x="7720" y="727"/>
                  </a:cubicBezTo>
                  <a:cubicBezTo>
                    <a:pt x="7728" y="740"/>
                    <a:pt x="7728" y="740"/>
                    <a:pt x="7728" y="740"/>
                  </a:cubicBezTo>
                  <a:cubicBezTo>
                    <a:pt x="7730" y="738"/>
                    <a:pt x="7730" y="738"/>
                    <a:pt x="7730" y="738"/>
                  </a:cubicBezTo>
                  <a:cubicBezTo>
                    <a:pt x="7740" y="732"/>
                    <a:pt x="7740" y="732"/>
                    <a:pt x="7740" y="732"/>
                  </a:cubicBezTo>
                  <a:cubicBezTo>
                    <a:pt x="7740" y="732"/>
                    <a:pt x="7769" y="739"/>
                    <a:pt x="7771" y="751"/>
                  </a:cubicBezTo>
                  <a:cubicBezTo>
                    <a:pt x="7773" y="763"/>
                    <a:pt x="7774" y="773"/>
                    <a:pt x="7774" y="773"/>
                  </a:cubicBezTo>
                  <a:cubicBezTo>
                    <a:pt x="7774" y="773"/>
                    <a:pt x="7762" y="767"/>
                    <a:pt x="7759" y="768"/>
                  </a:cubicBezTo>
                  <a:cubicBezTo>
                    <a:pt x="7756" y="769"/>
                    <a:pt x="7734" y="794"/>
                    <a:pt x="7734" y="794"/>
                  </a:cubicBezTo>
                  <a:cubicBezTo>
                    <a:pt x="7711" y="817"/>
                    <a:pt x="7711" y="817"/>
                    <a:pt x="7711" y="817"/>
                  </a:cubicBezTo>
                  <a:cubicBezTo>
                    <a:pt x="7688" y="822"/>
                    <a:pt x="7688" y="822"/>
                    <a:pt x="7688" y="822"/>
                  </a:cubicBezTo>
                  <a:cubicBezTo>
                    <a:pt x="7688" y="822"/>
                    <a:pt x="7673" y="834"/>
                    <a:pt x="7673" y="843"/>
                  </a:cubicBezTo>
                  <a:cubicBezTo>
                    <a:pt x="7673" y="852"/>
                    <a:pt x="7653" y="852"/>
                    <a:pt x="7653" y="852"/>
                  </a:cubicBezTo>
                  <a:cubicBezTo>
                    <a:pt x="7637" y="870"/>
                    <a:pt x="7637" y="870"/>
                    <a:pt x="7637" y="870"/>
                  </a:cubicBezTo>
                  <a:cubicBezTo>
                    <a:pt x="7637" y="870"/>
                    <a:pt x="7633" y="882"/>
                    <a:pt x="7635" y="886"/>
                  </a:cubicBezTo>
                  <a:cubicBezTo>
                    <a:pt x="7637" y="890"/>
                    <a:pt x="7641" y="898"/>
                    <a:pt x="7641" y="898"/>
                  </a:cubicBezTo>
                  <a:cubicBezTo>
                    <a:pt x="7639" y="914"/>
                    <a:pt x="7639" y="914"/>
                    <a:pt x="7639" y="914"/>
                  </a:cubicBezTo>
                  <a:cubicBezTo>
                    <a:pt x="7654" y="927"/>
                    <a:pt x="7654" y="927"/>
                    <a:pt x="7654" y="927"/>
                  </a:cubicBezTo>
                  <a:cubicBezTo>
                    <a:pt x="7654" y="927"/>
                    <a:pt x="7644" y="959"/>
                    <a:pt x="7648" y="968"/>
                  </a:cubicBezTo>
                  <a:cubicBezTo>
                    <a:pt x="7652" y="977"/>
                    <a:pt x="7663" y="986"/>
                    <a:pt x="7663" y="986"/>
                  </a:cubicBezTo>
                  <a:cubicBezTo>
                    <a:pt x="7678" y="997"/>
                    <a:pt x="7678" y="997"/>
                    <a:pt x="7678" y="997"/>
                  </a:cubicBezTo>
                  <a:cubicBezTo>
                    <a:pt x="7706" y="994"/>
                    <a:pt x="7706" y="994"/>
                    <a:pt x="7706" y="994"/>
                  </a:cubicBezTo>
                  <a:cubicBezTo>
                    <a:pt x="7706" y="994"/>
                    <a:pt x="7697" y="1010"/>
                    <a:pt x="7717" y="1012"/>
                  </a:cubicBezTo>
                  <a:cubicBezTo>
                    <a:pt x="7737" y="1014"/>
                    <a:pt x="7772" y="1009"/>
                    <a:pt x="7772" y="1009"/>
                  </a:cubicBezTo>
                  <a:cubicBezTo>
                    <a:pt x="7791" y="999"/>
                    <a:pt x="7791" y="999"/>
                    <a:pt x="7791" y="999"/>
                  </a:cubicBezTo>
                  <a:cubicBezTo>
                    <a:pt x="7814" y="999"/>
                    <a:pt x="7814" y="999"/>
                    <a:pt x="7814" y="999"/>
                  </a:cubicBezTo>
                  <a:cubicBezTo>
                    <a:pt x="7847" y="982"/>
                    <a:pt x="7847" y="982"/>
                    <a:pt x="7847" y="982"/>
                  </a:cubicBezTo>
                  <a:cubicBezTo>
                    <a:pt x="7896" y="985"/>
                    <a:pt x="7896" y="985"/>
                    <a:pt x="7896" y="985"/>
                  </a:cubicBezTo>
                  <a:cubicBezTo>
                    <a:pt x="7901" y="982"/>
                    <a:pt x="7901" y="982"/>
                    <a:pt x="7901" y="982"/>
                  </a:cubicBezTo>
                  <a:cubicBezTo>
                    <a:pt x="7921" y="971"/>
                    <a:pt x="7921" y="971"/>
                    <a:pt x="7921" y="971"/>
                  </a:cubicBezTo>
                  <a:cubicBezTo>
                    <a:pt x="7923" y="982"/>
                    <a:pt x="7923" y="982"/>
                    <a:pt x="7923" y="982"/>
                  </a:cubicBezTo>
                  <a:cubicBezTo>
                    <a:pt x="7923" y="982"/>
                    <a:pt x="7936" y="995"/>
                    <a:pt x="7942" y="998"/>
                  </a:cubicBezTo>
                  <a:cubicBezTo>
                    <a:pt x="7948" y="1001"/>
                    <a:pt x="7975" y="1001"/>
                    <a:pt x="7975" y="1001"/>
                  </a:cubicBezTo>
                  <a:cubicBezTo>
                    <a:pt x="7984" y="1013"/>
                    <a:pt x="7984" y="1013"/>
                    <a:pt x="7984" y="1013"/>
                  </a:cubicBezTo>
                  <a:cubicBezTo>
                    <a:pt x="7984" y="1013"/>
                    <a:pt x="7945" y="1004"/>
                    <a:pt x="7943" y="1010"/>
                  </a:cubicBezTo>
                  <a:cubicBezTo>
                    <a:pt x="7941" y="1016"/>
                    <a:pt x="7941" y="1020"/>
                    <a:pt x="7941" y="1020"/>
                  </a:cubicBezTo>
                  <a:cubicBezTo>
                    <a:pt x="7915" y="1021"/>
                    <a:pt x="7915" y="1021"/>
                    <a:pt x="7915" y="1021"/>
                  </a:cubicBezTo>
                  <a:cubicBezTo>
                    <a:pt x="7911" y="1039"/>
                    <a:pt x="7911" y="1039"/>
                    <a:pt x="7911" y="1039"/>
                  </a:cubicBezTo>
                  <a:cubicBezTo>
                    <a:pt x="7911" y="1039"/>
                    <a:pt x="7908" y="1038"/>
                    <a:pt x="7903" y="1037"/>
                  </a:cubicBezTo>
                  <a:cubicBezTo>
                    <a:pt x="7887" y="1034"/>
                    <a:pt x="7852" y="1028"/>
                    <a:pt x="7842" y="1027"/>
                  </a:cubicBezTo>
                  <a:cubicBezTo>
                    <a:pt x="7829" y="1026"/>
                    <a:pt x="7782" y="1032"/>
                    <a:pt x="7782" y="1032"/>
                  </a:cubicBezTo>
                  <a:cubicBezTo>
                    <a:pt x="7782" y="1032"/>
                    <a:pt x="7732" y="1050"/>
                    <a:pt x="7732" y="1057"/>
                  </a:cubicBezTo>
                  <a:cubicBezTo>
                    <a:pt x="7732" y="1064"/>
                    <a:pt x="7738" y="1082"/>
                    <a:pt x="7738" y="1082"/>
                  </a:cubicBezTo>
                  <a:cubicBezTo>
                    <a:pt x="7777" y="1087"/>
                    <a:pt x="7777" y="1087"/>
                    <a:pt x="7777" y="1087"/>
                  </a:cubicBezTo>
                  <a:cubicBezTo>
                    <a:pt x="7769" y="1113"/>
                    <a:pt x="7769" y="1113"/>
                    <a:pt x="7769" y="1113"/>
                  </a:cubicBezTo>
                  <a:cubicBezTo>
                    <a:pt x="7769" y="1113"/>
                    <a:pt x="7786" y="1156"/>
                    <a:pt x="7773" y="1156"/>
                  </a:cubicBezTo>
                  <a:cubicBezTo>
                    <a:pt x="7760" y="1156"/>
                    <a:pt x="7736" y="1153"/>
                    <a:pt x="7736" y="1153"/>
                  </a:cubicBezTo>
                  <a:cubicBezTo>
                    <a:pt x="7729" y="1138"/>
                    <a:pt x="7729" y="1138"/>
                    <a:pt x="7729" y="1138"/>
                  </a:cubicBezTo>
                  <a:cubicBezTo>
                    <a:pt x="7706" y="1119"/>
                    <a:pt x="7706" y="1119"/>
                    <a:pt x="7706" y="1119"/>
                  </a:cubicBezTo>
                  <a:cubicBezTo>
                    <a:pt x="7706" y="1119"/>
                    <a:pt x="7674" y="1124"/>
                    <a:pt x="7671" y="1131"/>
                  </a:cubicBezTo>
                  <a:cubicBezTo>
                    <a:pt x="7668" y="1138"/>
                    <a:pt x="7666" y="1147"/>
                    <a:pt x="7666" y="1147"/>
                  </a:cubicBezTo>
                  <a:cubicBezTo>
                    <a:pt x="7666" y="1147"/>
                    <a:pt x="7650" y="1165"/>
                    <a:pt x="7650" y="1170"/>
                  </a:cubicBezTo>
                  <a:cubicBezTo>
                    <a:pt x="7650" y="1175"/>
                    <a:pt x="7656" y="1205"/>
                    <a:pt x="7656" y="1205"/>
                  </a:cubicBezTo>
                  <a:cubicBezTo>
                    <a:pt x="7656" y="1205"/>
                    <a:pt x="7657" y="1240"/>
                    <a:pt x="7666" y="1242"/>
                  </a:cubicBezTo>
                  <a:cubicBezTo>
                    <a:pt x="7668" y="1242"/>
                    <a:pt x="7669" y="1244"/>
                    <a:pt x="7669" y="1246"/>
                  </a:cubicBezTo>
                  <a:cubicBezTo>
                    <a:pt x="7669" y="1251"/>
                    <a:pt x="7661" y="1260"/>
                    <a:pt x="7661" y="1260"/>
                  </a:cubicBezTo>
                  <a:cubicBezTo>
                    <a:pt x="7661" y="1260"/>
                    <a:pt x="7620" y="1255"/>
                    <a:pt x="7614" y="1262"/>
                  </a:cubicBezTo>
                  <a:cubicBezTo>
                    <a:pt x="7608" y="1269"/>
                    <a:pt x="7621" y="1278"/>
                    <a:pt x="7621" y="1278"/>
                  </a:cubicBezTo>
                  <a:cubicBezTo>
                    <a:pt x="7616" y="1287"/>
                    <a:pt x="7616" y="1287"/>
                    <a:pt x="7616" y="1287"/>
                  </a:cubicBezTo>
                  <a:cubicBezTo>
                    <a:pt x="7616" y="1287"/>
                    <a:pt x="7580" y="1291"/>
                    <a:pt x="7574" y="1290"/>
                  </a:cubicBezTo>
                  <a:cubicBezTo>
                    <a:pt x="7568" y="1289"/>
                    <a:pt x="7563" y="1272"/>
                    <a:pt x="7563" y="1272"/>
                  </a:cubicBezTo>
                  <a:cubicBezTo>
                    <a:pt x="7563" y="1272"/>
                    <a:pt x="7549" y="1268"/>
                    <a:pt x="7534" y="1268"/>
                  </a:cubicBezTo>
                  <a:cubicBezTo>
                    <a:pt x="7519" y="1268"/>
                    <a:pt x="7479" y="1285"/>
                    <a:pt x="7479" y="1285"/>
                  </a:cubicBezTo>
                  <a:cubicBezTo>
                    <a:pt x="7466" y="1296"/>
                    <a:pt x="7466" y="1296"/>
                    <a:pt x="7466" y="1296"/>
                  </a:cubicBezTo>
                  <a:cubicBezTo>
                    <a:pt x="7426" y="1301"/>
                    <a:pt x="7426" y="1301"/>
                    <a:pt x="7426" y="1301"/>
                  </a:cubicBezTo>
                  <a:cubicBezTo>
                    <a:pt x="7426" y="1301"/>
                    <a:pt x="7395" y="1312"/>
                    <a:pt x="7397" y="1316"/>
                  </a:cubicBezTo>
                  <a:cubicBezTo>
                    <a:pt x="7399" y="1320"/>
                    <a:pt x="7399" y="1330"/>
                    <a:pt x="7399" y="1330"/>
                  </a:cubicBezTo>
                  <a:cubicBezTo>
                    <a:pt x="7392" y="1326"/>
                    <a:pt x="7392" y="1326"/>
                    <a:pt x="7392" y="1326"/>
                  </a:cubicBezTo>
                  <a:cubicBezTo>
                    <a:pt x="7388" y="1324"/>
                    <a:pt x="7388" y="1324"/>
                    <a:pt x="7388" y="1324"/>
                  </a:cubicBezTo>
                  <a:cubicBezTo>
                    <a:pt x="7375" y="1319"/>
                    <a:pt x="7375" y="1319"/>
                    <a:pt x="7375" y="1319"/>
                  </a:cubicBezTo>
                  <a:cubicBezTo>
                    <a:pt x="7375" y="1319"/>
                    <a:pt x="7377" y="1314"/>
                    <a:pt x="7372" y="1308"/>
                  </a:cubicBezTo>
                  <a:cubicBezTo>
                    <a:pt x="7367" y="1302"/>
                    <a:pt x="7355" y="1305"/>
                    <a:pt x="7355" y="1305"/>
                  </a:cubicBezTo>
                  <a:cubicBezTo>
                    <a:pt x="7350" y="1299"/>
                    <a:pt x="7350" y="1299"/>
                    <a:pt x="7350" y="1299"/>
                  </a:cubicBezTo>
                  <a:cubicBezTo>
                    <a:pt x="7350" y="1299"/>
                    <a:pt x="7324" y="1287"/>
                    <a:pt x="7319" y="1290"/>
                  </a:cubicBezTo>
                  <a:cubicBezTo>
                    <a:pt x="7314" y="1293"/>
                    <a:pt x="7307" y="1300"/>
                    <a:pt x="7307" y="1300"/>
                  </a:cubicBezTo>
                  <a:cubicBezTo>
                    <a:pt x="7280" y="1299"/>
                    <a:pt x="7280" y="1299"/>
                    <a:pt x="7280" y="1299"/>
                  </a:cubicBezTo>
                  <a:cubicBezTo>
                    <a:pt x="7280" y="1311"/>
                    <a:pt x="7280" y="1311"/>
                    <a:pt x="7280" y="1311"/>
                  </a:cubicBezTo>
                  <a:cubicBezTo>
                    <a:pt x="7254" y="1310"/>
                    <a:pt x="7254" y="1310"/>
                    <a:pt x="7254" y="1310"/>
                  </a:cubicBezTo>
                  <a:cubicBezTo>
                    <a:pt x="7254" y="1310"/>
                    <a:pt x="7252" y="1302"/>
                    <a:pt x="7256" y="1299"/>
                  </a:cubicBezTo>
                  <a:cubicBezTo>
                    <a:pt x="7260" y="1296"/>
                    <a:pt x="7263" y="1284"/>
                    <a:pt x="7263" y="1284"/>
                  </a:cubicBezTo>
                  <a:cubicBezTo>
                    <a:pt x="7250" y="1291"/>
                    <a:pt x="7250" y="1291"/>
                    <a:pt x="7250" y="1291"/>
                  </a:cubicBezTo>
                  <a:cubicBezTo>
                    <a:pt x="7222" y="1286"/>
                    <a:pt x="7222" y="1286"/>
                    <a:pt x="7222" y="1286"/>
                  </a:cubicBezTo>
                  <a:cubicBezTo>
                    <a:pt x="7222" y="1286"/>
                    <a:pt x="7214" y="1278"/>
                    <a:pt x="7210" y="1268"/>
                  </a:cubicBezTo>
                  <a:cubicBezTo>
                    <a:pt x="7210" y="1268"/>
                    <a:pt x="7210" y="1268"/>
                    <a:pt x="7210" y="1268"/>
                  </a:cubicBezTo>
                  <a:cubicBezTo>
                    <a:pt x="7206" y="1258"/>
                    <a:pt x="7203" y="1252"/>
                    <a:pt x="7203" y="1252"/>
                  </a:cubicBezTo>
                  <a:cubicBezTo>
                    <a:pt x="7214" y="1239"/>
                    <a:pt x="7214" y="1239"/>
                    <a:pt x="7214" y="1239"/>
                  </a:cubicBezTo>
                  <a:cubicBezTo>
                    <a:pt x="7214" y="1239"/>
                    <a:pt x="7196" y="1224"/>
                    <a:pt x="7206" y="1222"/>
                  </a:cubicBezTo>
                  <a:cubicBezTo>
                    <a:pt x="7216" y="1220"/>
                    <a:pt x="7224" y="1213"/>
                    <a:pt x="7224" y="1213"/>
                  </a:cubicBezTo>
                  <a:cubicBezTo>
                    <a:pt x="7228" y="1194"/>
                    <a:pt x="7228" y="1194"/>
                    <a:pt x="7228" y="1194"/>
                  </a:cubicBezTo>
                  <a:cubicBezTo>
                    <a:pt x="7242" y="1194"/>
                    <a:pt x="7242" y="1194"/>
                    <a:pt x="7242" y="1194"/>
                  </a:cubicBezTo>
                  <a:cubicBezTo>
                    <a:pt x="7247" y="1179"/>
                    <a:pt x="7247" y="1179"/>
                    <a:pt x="7247" y="1179"/>
                  </a:cubicBezTo>
                  <a:cubicBezTo>
                    <a:pt x="7224" y="1179"/>
                    <a:pt x="7224" y="1179"/>
                    <a:pt x="7224" y="1179"/>
                  </a:cubicBezTo>
                  <a:cubicBezTo>
                    <a:pt x="7224" y="1179"/>
                    <a:pt x="7220" y="1163"/>
                    <a:pt x="7224" y="1160"/>
                  </a:cubicBezTo>
                  <a:cubicBezTo>
                    <a:pt x="7228" y="1157"/>
                    <a:pt x="7241" y="1143"/>
                    <a:pt x="7238" y="1138"/>
                  </a:cubicBezTo>
                  <a:cubicBezTo>
                    <a:pt x="7235" y="1133"/>
                    <a:pt x="7231" y="1126"/>
                    <a:pt x="7231" y="1126"/>
                  </a:cubicBezTo>
                  <a:cubicBezTo>
                    <a:pt x="7231" y="1126"/>
                    <a:pt x="7213" y="1124"/>
                    <a:pt x="7212" y="1127"/>
                  </a:cubicBezTo>
                  <a:cubicBezTo>
                    <a:pt x="7211" y="1130"/>
                    <a:pt x="7191" y="1155"/>
                    <a:pt x="7191" y="1160"/>
                  </a:cubicBezTo>
                  <a:cubicBezTo>
                    <a:pt x="7191" y="1165"/>
                    <a:pt x="7194" y="1177"/>
                    <a:pt x="7194" y="1177"/>
                  </a:cubicBezTo>
                  <a:cubicBezTo>
                    <a:pt x="7181" y="1166"/>
                    <a:pt x="7181" y="1166"/>
                    <a:pt x="7181" y="1166"/>
                  </a:cubicBezTo>
                  <a:cubicBezTo>
                    <a:pt x="7175" y="1145"/>
                    <a:pt x="7175" y="1145"/>
                    <a:pt x="7175" y="1145"/>
                  </a:cubicBezTo>
                  <a:cubicBezTo>
                    <a:pt x="7175" y="1145"/>
                    <a:pt x="7150" y="1161"/>
                    <a:pt x="7151" y="1164"/>
                  </a:cubicBezTo>
                  <a:cubicBezTo>
                    <a:pt x="7152" y="1167"/>
                    <a:pt x="7165" y="1165"/>
                    <a:pt x="7166" y="1168"/>
                  </a:cubicBezTo>
                  <a:cubicBezTo>
                    <a:pt x="7167" y="1171"/>
                    <a:pt x="7176" y="1185"/>
                    <a:pt x="7176" y="1185"/>
                  </a:cubicBezTo>
                  <a:cubicBezTo>
                    <a:pt x="7153" y="1181"/>
                    <a:pt x="7153" y="1181"/>
                    <a:pt x="7153" y="1181"/>
                  </a:cubicBezTo>
                  <a:cubicBezTo>
                    <a:pt x="7153" y="1181"/>
                    <a:pt x="7141" y="1196"/>
                    <a:pt x="7142" y="1204"/>
                  </a:cubicBezTo>
                  <a:cubicBezTo>
                    <a:pt x="7143" y="1212"/>
                    <a:pt x="7159" y="1214"/>
                    <a:pt x="7159" y="1214"/>
                  </a:cubicBezTo>
                  <a:cubicBezTo>
                    <a:pt x="7159" y="1214"/>
                    <a:pt x="7145" y="1230"/>
                    <a:pt x="7148" y="1232"/>
                  </a:cubicBezTo>
                  <a:cubicBezTo>
                    <a:pt x="7151" y="1234"/>
                    <a:pt x="7165" y="1234"/>
                    <a:pt x="7165" y="1234"/>
                  </a:cubicBezTo>
                  <a:cubicBezTo>
                    <a:pt x="7164" y="1249"/>
                    <a:pt x="7164" y="1249"/>
                    <a:pt x="7164" y="1249"/>
                  </a:cubicBezTo>
                  <a:cubicBezTo>
                    <a:pt x="7156" y="1259"/>
                    <a:pt x="7156" y="1259"/>
                    <a:pt x="7156" y="1259"/>
                  </a:cubicBezTo>
                  <a:cubicBezTo>
                    <a:pt x="7166" y="1264"/>
                    <a:pt x="7166" y="1264"/>
                    <a:pt x="7166" y="1264"/>
                  </a:cubicBezTo>
                  <a:cubicBezTo>
                    <a:pt x="7180" y="1287"/>
                    <a:pt x="7180" y="1287"/>
                    <a:pt x="7180" y="1287"/>
                  </a:cubicBezTo>
                  <a:cubicBezTo>
                    <a:pt x="7171" y="1295"/>
                    <a:pt x="7171" y="1295"/>
                    <a:pt x="7171" y="1295"/>
                  </a:cubicBezTo>
                  <a:cubicBezTo>
                    <a:pt x="7184" y="1313"/>
                    <a:pt x="7184" y="1313"/>
                    <a:pt x="7184" y="1313"/>
                  </a:cubicBezTo>
                  <a:cubicBezTo>
                    <a:pt x="7196" y="1322"/>
                    <a:pt x="7196" y="1322"/>
                    <a:pt x="7196" y="1322"/>
                  </a:cubicBezTo>
                  <a:cubicBezTo>
                    <a:pt x="7177" y="1315"/>
                    <a:pt x="7177" y="1315"/>
                    <a:pt x="7177" y="1315"/>
                  </a:cubicBezTo>
                  <a:cubicBezTo>
                    <a:pt x="7159" y="1319"/>
                    <a:pt x="7159" y="1319"/>
                    <a:pt x="7159" y="1319"/>
                  </a:cubicBezTo>
                  <a:cubicBezTo>
                    <a:pt x="7159" y="1319"/>
                    <a:pt x="7164" y="1334"/>
                    <a:pt x="7158" y="1336"/>
                  </a:cubicBezTo>
                  <a:cubicBezTo>
                    <a:pt x="7152" y="1338"/>
                    <a:pt x="7142" y="1336"/>
                    <a:pt x="7142" y="1336"/>
                  </a:cubicBezTo>
                  <a:cubicBezTo>
                    <a:pt x="7136" y="1326"/>
                    <a:pt x="7136" y="1326"/>
                    <a:pt x="7136" y="1326"/>
                  </a:cubicBezTo>
                  <a:cubicBezTo>
                    <a:pt x="7136" y="1326"/>
                    <a:pt x="7109" y="1323"/>
                    <a:pt x="7108" y="1328"/>
                  </a:cubicBezTo>
                  <a:cubicBezTo>
                    <a:pt x="7107" y="1333"/>
                    <a:pt x="7107" y="1346"/>
                    <a:pt x="7107" y="1346"/>
                  </a:cubicBezTo>
                  <a:cubicBezTo>
                    <a:pt x="7107" y="1346"/>
                    <a:pt x="7091" y="1340"/>
                    <a:pt x="7085" y="1340"/>
                  </a:cubicBezTo>
                  <a:cubicBezTo>
                    <a:pt x="7079" y="1340"/>
                    <a:pt x="7056" y="1339"/>
                    <a:pt x="7056" y="1339"/>
                  </a:cubicBezTo>
                  <a:cubicBezTo>
                    <a:pt x="7056" y="1339"/>
                    <a:pt x="7042" y="1344"/>
                    <a:pt x="7034" y="1349"/>
                  </a:cubicBezTo>
                  <a:cubicBezTo>
                    <a:pt x="7035" y="1353"/>
                    <a:pt x="7038" y="1358"/>
                    <a:pt x="7038" y="1360"/>
                  </a:cubicBezTo>
                  <a:cubicBezTo>
                    <a:pt x="7039" y="1363"/>
                    <a:pt x="7042" y="1373"/>
                    <a:pt x="7042" y="1373"/>
                  </a:cubicBezTo>
                  <a:cubicBezTo>
                    <a:pt x="7042" y="1373"/>
                    <a:pt x="7045" y="1379"/>
                    <a:pt x="7047" y="1379"/>
                  </a:cubicBezTo>
                  <a:cubicBezTo>
                    <a:pt x="7050" y="1379"/>
                    <a:pt x="7053" y="1382"/>
                    <a:pt x="7053" y="1387"/>
                  </a:cubicBezTo>
                  <a:cubicBezTo>
                    <a:pt x="7054" y="1391"/>
                    <a:pt x="7042" y="1398"/>
                    <a:pt x="7035" y="1399"/>
                  </a:cubicBezTo>
                  <a:cubicBezTo>
                    <a:pt x="7029" y="1399"/>
                    <a:pt x="7026" y="1394"/>
                    <a:pt x="7023" y="1391"/>
                  </a:cubicBezTo>
                  <a:cubicBezTo>
                    <a:pt x="7019" y="1387"/>
                    <a:pt x="7025" y="1384"/>
                    <a:pt x="7031" y="1376"/>
                  </a:cubicBezTo>
                  <a:cubicBezTo>
                    <a:pt x="7037" y="1368"/>
                    <a:pt x="7033" y="1363"/>
                    <a:pt x="7033" y="1363"/>
                  </a:cubicBezTo>
                  <a:cubicBezTo>
                    <a:pt x="7033" y="1363"/>
                    <a:pt x="7030" y="1360"/>
                    <a:pt x="7028" y="1355"/>
                  </a:cubicBezTo>
                  <a:cubicBezTo>
                    <a:pt x="7023" y="1362"/>
                    <a:pt x="7012" y="1369"/>
                    <a:pt x="7012" y="1369"/>
                  </a:cubicBezTo>
                  <a:cubicBezTo>
                    <a:pt x="7012" y="1369"/>
                    <a:pt x="6995" y="1381"/>
                    <a:pt x="6995" y="1388"/>
                  </a:cubicBezTo>
                  <a:cubicBezTo>
                    <a:pt x="6995" y="1395"/>
                    <a:pt x="6991" y="1408"/>
                    <a:pt x="6991" y="1408"/>
                  </a:cubicBezTo>
                  <a:cubicBezTo>
                    <a:pt x="6973" y="1428"/>
                    <a:pt x="6973" y="1428"/>
                    <a:pt x="6973" y="1428"/>
                  </a:cubicBezTo>
                  <a:cubicBezTo>
                    <a:pt x="6979" y="1436"/>
                    <a:pt x="6979" y="1436"/>
                    <a:pt x="6979" y="1436"/>
                  </a:cubicBezTo>
                  <a:cubicBezTo>
                    <a:pt x="6962" y="1437"/>
                    <a:pt x="6962" y="1437"/>
                    <a:pt x="6962" y="1437"/>
                  </a:cubicBezTo>
                  <a:cubicBezTo>
                    <a:pt x="6945" y="1443"/>
                    <a:pt x="6945" y="1443"/>
                    <a:pt x="6945" y="1443"/>
                  </a:cubicBezTo>
                  <a:cubicBezTo>
                    <a:pt x="6934" y="1453"/>
                    <a:pt x="6934" y="1453"/>
                    <a:pt x="6934" y="1453"/>
                  </a:cubicBezTo>
                  <a:cubicBezTo>
                    <a:pt x="6924" y="1461"/>
                    <a:pt x="6924" y="1461"/>
                    <a:pt x="6924" y="1461"/>
                  </a:cubicBezTo>
                  <a:cubicBezTo>
                    <a:pt x="6924" y="1461"/>
                    <a:pt x="6908" y="1458"/>
                    <a:pt x="6898" y="1462"/>
                  </a:cubicBezTo>
                  <a:cubicBezTo>
                    <a:pt x="6888" y="1466"/>
                    <a:pt x="6863" y="1462"/>
                    <a:pt x="6867" y="1470"/>
                  </a:cubicBezTo>
                  <a:cubicBezTo>
                    <a:pt x="6871" y="1478"/>
                    <a:pt x="6874" y="1485"/>
                    <a:pt x="6874" y="1485"/>
                  </a:cubicBezTo>
                  <a:cubicBezTo>
                    <a:pt x="6874" y="1485"/>
                    <a:pt x="6882" y="1502"/>
                    <a:pt x="6871" y="1510"/>
                  </a:cubicBezTo>
                  <a:cubicBezTo>
                    <a:pt x="6860" y="1518"/>
                    <a:pt x="6838" y="1518"/>
                    <a:pt x="6838" y="1518"/>
                  </a:cubicBezTo>
                  <a:cubicBezTo>
                    <a:pt x="6813" y="1538"/>
                    <a:pt x="6813" y="1538"/>
                    <a:pt x="6813" y="1538"/>
                  </a:cubicBezTo>
                  <a:cubicBezTo>
                    <a:pt x="6822" y="1544"/>
                    <a:pt x="6822" y="1544"/>
                    <a:pt x="6822" y="1544"/>
                  </a:cubicBezTo>
                  <a:cubicBezTo>
                    <a:pt x="6822" y="1544"/>
                    <a:pt x="6802" y="1556"/>
                    <a:pt x="6787" y="1555"/>
                  </a:cubicBezTo>
                  <a:cubicBezTo>
                    <a:pt x="6772" y="1554"/>
                    <a:pt x="6763" y="1549"/>
                    <a:pt x="6763" y="1549"/>
                  </a:cubicBezTo>
                  <a:cubicBezTo>
                    <a:pt x="6752" y="1534"/>
                    <a:pt x="6752" y="1534"/>
                    <a:pt x="6752" y="1534"/>
                  </a:cubicBezTo>
                  <a:cubicBezTo>
                    <a:pt x="6752" y="1534"/>
                    <a:pt x="6731" y="1526"/>
                    <a:pt x="6732" y="1533"/>
                  </a:cubicBezTo>
                  <a:cubicBezTo>
                    <a:pt x="6733" y="1540"/>
                    <a:pt x="6744" y="1554"/>
                    <a:pt x="6744" y="1554"/>
                  </a:cubicBezTo>
                  <a:cubicBezTo>
                    <a:pt x="6744" y="1554"/>
                    <a:pt x="6757" y="1578"/>
                    <a:pt x="6739" y="1581"/>
                  </a:cubicBezTo>
                  <a:cubicBezTo>
                    <a:pt x="6721" y="1584"/>
                    <a:pt x="6702" y="1583"/>
                    <a:pt x="6702" y="1583"/>
                  </a:cubicBezTo>
                  <a:cubicBezTo>
                    <a:pt x="6695" y="1594"/>
                    <a:pt x="6695" y="1594"/>
                    <a:pt x="6695" y="1594"/>
                  </a:cubicBezTo>
                  <a:cubicBezTo>
                    <a:pt x="6695" y="1594"/>
                    <a:pt x="6679" y="1574"/>
                    <a:pt x="6673" y="1575"/>
                  </a:cubicBezTo>
                  <a:cubicBezTo>
                    <a:pt x="6667" y="1576"/>
                    <a:pt x="6647" y="1582"/>
                    <a:pt x="6647" y="1582"/>
                  </a:cubicBezTo>
                  <a:cubicBezTo>
                    <a:pt x="6647" y="1582"/>
                    <a:pt x="6611" y="1587"/>
                    <a:pt x="6608" y="1594"/>
                  </a:cubicBezTo>
                  <a:cubicBezTo>
                    <a:pt x="6605" y="1601"/>
                    <a:pt x="6627" y="1607"/>
                    <a:pt x="6626" y="1610"/>
                  </a:cubicBezTo>
                  <a:cubicBezTo>
                    <a:pt x="6625" y="1613"/>
                    <a:pt x="6596" y="1611"/>
                    <a:pt x="6602" y="1619"/>
                  </a:cubicBezTo>
                  <a:cubicBezTo>
                    <a:pt x="6608" y="1627"/>
                    <a:pt x="6627" y="1628"/>
                    <a:pt x="6627" y="1628"/>
                  </a:cubicBezTo>
                  <a:cubicBezTo>
                    <a:pt x="6634" y="1624"/>
                    <a:pt x="6634" y="1624"/>
                    <a:pt x="6634" y="1624"/>
                  </a:cubicBezTo>
                  <a:cubicBezTo>
                    <a:pt x="6666" y="1642"/>
                    <a:pt x="6666" y="1642"/>
                    <a:pt x="6666" y="1642"/>
                  </a:cubicBezTo>
                  <a:cubicBezTo>
                    <a:pt x="6686" y="1642"/>
                    <a:pt x="6686" y="1642"/>
                    <a:pt x="6686" y="1642"/>
                  </a:cubicBezTo>
                  <a:cubicBezTo>
                    <a:pt x="6698" y="1654"/>
                    <a:pt x="6698" y="1654"/>
                    <a:pt x="6698" y="1654"/>
                  </a:cubicBezTo>
                  <a:cubicBezTo>
                    <a:pt x="6724" y="1657"/>
                    <a:pt x="6724" y="1657"/>
                    <a:pt x="6724" y="1657"/>
                  </a:cubicBezTo>
                  <a:cubicBezTo>
                    <a:pt x="6705" y="1667"/>
                    <a:pt x="6705" y="1667"/>
                    <a:pt x="6705" y="1667"/>
                  </a:cubicBezTo>
                  <a:cubicBezTo>
                    <a:pt x="6705" y="1667"/>
                    <a:pt x="6724" y="1698"/>
                    <a:pt x="6728" y="1702"/>
                  </a:cubicBezTo>
                  <a:cubicBezTo>
                    <a:pt x="6732" y="1706"/>
                    <a:pt x="6749" y="1706"/>
                    <a:pt x="6749" y="1706"/>
                  </a:cubicBezTo>
                  <a:cubicBezTo>
                    <a:pt x="6747" y="1735"/>
                    <a:pt x="6747" y="1735"/>
                    <a:pt x="6747" y="1735"/>
                  </a:cubicBezTo>
                  <a:cubicBezTo>
                    <a:pt x="6760" y="1755"/>
                    <a:pt x="6760" y="1755"/>
                    <a:pt x="6760" y="1755"/>
                  </a:cubicBezTo>
                  <a:cubicBezTo>
                    <a:pt x="6769" y="1778"/>
                    <a:pt x="6769" y="1778"/>
                    <a:pt x="6769" y="1778"/>
                  </a:cubicBezTo>
                  <a:cubicBezTo>
                    <a:pt x="6748" y="1752"/>
                    <a:pt x="6748" y="1752"/>
                    <a:pt x="6748" y="1752"/>
                  </a:cubicBezTo>
                  <a:cubicBezTo>
                    <a:pt x="6748" y="1752"/>
                    <a:pt x="6746" y="1781"/>
                    <a:pt x="6745" y="1791"/>
                  </a:cubicBezTo>
                  <a:cubicBezTo>
                    <a:pt x="6744" y="1801"/>
                    <a:pt x="6733" y="1841"/>
                    <a:pt x="6728" y="1849"/>
                  </a:cubicBezTo>
                  <a:cubicBezTo>
                    <a:pt x="6724" y="1856"/>
                    <a:pt x="6726" y="1865"/>
                    <a:pt x="6714" y="1867"/>
                  </a:cubicBezTo>
                  <a:cubicBezTo>
                    <a:pt x="6712" y="1867"/>
                    <a:pt x="6710" y="1867"/>
                    <a:pt x="6708" y="1867"/>
                  </a:cubicBezTo>
                  <a:cubicBezTo>
                    <a:pt x="6689" y="1867"/>
                    <a:pt x="6642" y="1858"/>
                    <a:pt x="6642" y="1858"/>
                  </a:cubicBezTo>
                  <a:cubicBezTo>
                    <a:pt x="6622" y="1866"/>
                    <a:pt x="6622" y="1866"/>
                    <a:pt x="6622" y="1866"/>
                  </a:cubicBezTo>
                  <a:cubicBezTo>
                    <a:pt x="6584" y="1862"/>
                    <a:pt x="6584" y="1862"/>
                    <a:pt x="6584" y="1862"/>
                  </a:cubicBezTo>
                  <a:cubicBezTo>
                    <a:pt x="6584" y="1862"/>
                    <a:pt x="6559" y="1848"/>
                    <a:pt x="6544" y="1851"/>
                  </a:cubicBezTo>
                  <a:cubicBezTo>
                    <a:pt x="6529" y="1854"/>
                    <a:pt x="6508" y="1855"/>
                    <a:pt x="6503" y="1855"/>
                  </a:cubicBezTo>
                  <a:cubicBezTo>
                    <a:pt x="6498" y="1855"/>
                    <a:pt x="6479" y="1852"/>
                    <a:pt x="6479" y="1852"/>
                  </a:cubicBezTo>
                  <a:cubicBezTo>
                    <a:pt x="6479" y="1852"/>
                    <a:pt x="6469" y="1844"/>
                    <a:pt x="6463" y="1844"/>
                  </a:cubicBezTo>
                  <a:cubicBezTo>
                    <a:pt x="6457" y="1844"/>
                    <a:pt x="6437" y="1862"/>
                    <a:pt x="6437" y="1862"/>
                  </a:cubicBezTo>
                  <a:cubicBezTo>
                    <a:pt x="6437" y="1862"/>
                    <a:pt x="6392" y="1869"/>
                    <a:pt x="6390" y="1882"/>
                  </a:cubicBezTo>
                  <a:cubicBezTo>
                    <a:pt x="6388" y="1895"/>
                    <a:pt x="6409" y="1911"/>
                    <a:pt x="6409" y="1911"/>
                  </a:cubicBezTo>
                  <a:cubicBezTo>
                    <a:pt x="6401" y="1934"/>
                    <a:pt x="6401" y="1934"/>
                    <a:pt x="6401" y="1934"/>
                  </a:cubicBezTo>
                  <a:cubicBezTo>
                    <a:pt x="6401" y="1934"/>
                    <a:pt x="6402" y="1938"/>
                    <a:pt x="6403" y="1945"/>
                  </a:cubicBezTo>
                  <a:cubicBezTo>
                    <a:pt x="6406" y="1955"/>
                    <a:pt x="6409" y="1972"/>
                    <a:pt x="6408" y="1985"/>
                  </a:cubicBezTo>
                  <a:cubicBezTo>
                    <a:pt x="6407" y="2006"/>
                    <a:pt x="6385" y="2046"/>
                    <a:pt x="6385" y="2046"/>
                  </a:cubicBezTo>
                  <a:cubicBezTo>
                    <a:pt x="6371" y="2078"/>
                    <a:pt x="6371" y="2078"/>
                    <a:pt x="6371" y="2078"/>
                  </a:cubicBezTo>
                  <a:cubicBezTo>
                    <a:pt x="6371" y="2078"/>
                    <a:pt x="6362" y="2105"/>
                    <a:pt x="6368" y="2112"/>
                  </a:cubicBezTo>
                  <a:cubicBezTo>
                    <a:pt x="6374" y="2119"/>
                    <a:pt x="6385" y="2123"/>
                    <a:pt x="6385" y="2123"/>
                  </a:cubicBezTo>
                  <a:cubicBezTo>
                    <a:pt x="6392" y="2160"/>
                    <a:pt x="6392" y="2160"/>
                    <a:pt x="6392" y="2160"/>
                  </a:cubicBezTo>
                  <a:cubicBezTo>
                    <a:pt x="6392" y="2160"/>
                    <a:pt x="6376" y="2202"/>
                    <a:pt x="6382" y="2203"/>
                  </a:cubicBezTo>
                  <a:cubicBezTo>
                    <a:pt x="6388" y="2204"/>
                    <a:pt x="6414" y="2200"/>
                    <a:pt x="6414" y="2200"/>
                  </a:cubicBezTo>
                  <a:cubicBezTo>
                    <a:pt x="6414" y="2200"/>
                    <a:pt x="6418" y="2209"/>
                    <a:pt x="6424" y="2208"/>
                  </a:cubicBezTo>
                  <a:cubicBezTo>
                    <a:pt x="6429" y="2207"/>
                    <a:pt x="6446" y="2197"/>
                    <a:pt x="6449" y="2195"/>
                  </a:cubicBezTo>
                  <a:cubicBezTo>
                    <a:pt x="6450" y="2195"/>
                    <a:pt x="6450" y="2195"/>
                    <a:pt x="6450" y="2195"/>
                  </a:cubicBezTo>
                  <a:cubicBezTo>
                    <a:pt x="6469" y="2194"/>
                    <a:pt x="6469" y="2194"/>
                    <a:pt x="6469" y="2194"/>
                  </a:cubicBezTo>
                  <a:cubicBezTo>
                    <a:pt x="6485" y="2209"/>
                    <a:pt x="6485" y="2209"/>
                    <a:pt x="6485" y="2209"/>
                  </a:cubicBezTo>
                  <a:cubicBezTo>
                    <a:pt x="6497" y="2209"/>
                    <a:pt x="6497" y="2209"/>
                    <a:pt x="6497" y="2209"/>
                  </a:cubicBezTo>
                  <a:cubicBezTo>
                    <a:pt x="6491" y="2226"/>
                    <a:pt x="6491" y="2226"/>
                    <a:pt x="6491" y="2226"/>
                  </a:cubicBezTo>
                  <a:cubicBezTo>
                    <a:pt x="6498" y="2227"/>
                    <a:pt x="6498" y="2227"/>
                    <a:pt x="6498" y="2227"/>
                  </a:cubicBezTo>
                  <a:cubicBezTo>
                    <a:pt x="6498" y="2227"/>
                    <a:pt x="6498" y="2247"/>
                    <a:pt x="6505" y="2250"/>
                  </a:cubicBezTo>
                  <a:cubicBezTo>
                    <a:pt x="6512" y="2253"/>
                    <a:pt x="6524" y="2257"/>
                    <a:pt x="6524" y="2257"/>
                  </a:cubicBezTo>
                  <a:cubicBezTo>
                    <a:pt x="6524" y="2257"/>
                    <a:pt x="6541" y="2245"/>
                    <a:pt x="6544" y="2239"/>
                  </a:cubicBezTo>
                  <a:cubicBezTo>
                    <a:pt x="6547" y="2233"/>
                    <a:pt x="6565" y="2233"/>
                    <a:pt x="6565" y="2233"/>
                  </a:cubicBezTo>
                  <a:cubicBezTo>
                    <a:pt x="6584" y="2221"/>
                    <a:pt x="6584" y="2221"/>
                    <a:pt x="6584" y="2221"/>
                  </a:cubicBezTo>
                  <a:cubicBezTo>
                    <a:pt x="6584" y="2221"/>
                    <a:pt x="6617" y="2223"/>
                    <a:pt x="6623" y="2221"/>
                  </a:cubicBezTo>
                  <a:cubicBezTo>
                    <a:pt x="6629" y="2219"/>
                    <a:pt x="6639" y="2215"/>
                    <a:pt x="6639" y="2215"/>
                  </a:cubicBezTo>
                  <a:cubicBezTo>
                    <a:pt x="6639" y="2215"/>
                    <a:pt x="6647" y="2223"/>
                    <a:pt x="6653" y="2222"/>
                  </a:cubicBezTo>
                  <a:cubicBezTo>
                    <a:pt x="6659" y="2221"/>
                    <a:pt x="6675" y="2214"/>
                    <a:pt x="6675" y="2214"/>
                  </a:cubicBezTo>
                  <a:cubicBezTo>
                    <a:pt x="6675" y="2214"/>
                    <a:pt x="6674" y="2226"/>
                    <a:pt x="6685" y="2218"/>
                  </a:cubicBezTo>
                  <a:cubicBezTo>
                    <a:pt x="6696" y="2210"/>
                    <a:pt x="6698" y="2191"/>
                    <a:pt x="6698" y="2191"/>
                  </a:cubicBezTo>
                  <a:cubicBezTo>
                    <a:pt x="6719" y="2173"/>
                    <a:pt x="6719" y="2173"/>
                    <a:pt x="6719" y="2173"/>
                  </a:cubicBezTo>
                  <a:cubicBezTo>
                    <a:pt x="6742" y="2172"/>
                    <a:pt x="6742" y="2172"/>
                    <a:pt x="6742" y="2172"/>
                  </a:cubicBezTo>
                  <a:cubicBezTo>
                    <a:pt x="6744" y="2159"/>
                    <a:pt x="6744" y="2159"/>
                    <a:pt x="6744" y="2159"/>
                  </a:cubicBezTo>
                  <a:cubicBezTo>
                    <a:pt x="6744" y="2159"/>
                    <a:pt x="6755" y="2130"/>
                    <a:pt x="6758" y="2128"/>
                  </a:cubicBezTo>
                  <a:cubicBezTo>
                    <a:pt x="6761" y="2126"/>
                    <a:pt x="6788" y="2123"/>
                    <a:pt x="6789" y="2114"/>
                  </a:cubicBezTo>
                  <a:cubicBezTo>
                    <a:pt x="6790" y="2105"/>
                    <a:pt x="6767" y="2093"/>
                    <a:pt x="6767" y="2093"/>
                  </a:cubicBezTo>
                  <a:cubicBezTo>
                    <a:pt x="6767" y="2093"/>
                    <a:pt x="6765" y="2070"/>
                    <a:pt x="6773" y="2059"/>
                  </a:cubicBezTo>
                  <a:cubicBezTo>
                    <a:pt x="6781" y="2048"/>
                    <a:pt x="6792" y="2035"/>
                    <a:pt x="6792" y="2035"/>
                  </a:cubicBezTo>
                  <a:cubicBezTo>
                    <a:pt x="6792" y="2035"/>
                    <a:pt x="6809" y="2017"/>
                    <a:pt x="6812" y="2016"/>
                  </a:cubicBezTo>
                  <a:cubicBezTo>
                    <a:pt x="6815" y="2015"/>
                    <a:pt x="6827" y="2007"/>
                    <a:pt x="6824" y="2005"/>
                  </a:cubicBezTo>
                  <a:cubicBezTo>
                    <a:pt x="6821" y="2003"/>
                    <a:pt x="6816" y="1995"/>
                    <a:pt x="6826" y="1990"/>
                  </a:cubicBezTo>
                  <a:cubicBezTo>
                    <a:pt x="6836" y="1985"/>
                    <a:pt x="6860" y="1980"/>
                    <a:pt x="6873" y="1975"/>
                  </a:cubicBezTo>
                  <a:cubicBezTo>
                    <a:pt x="6886" y="1970"/>
                    <a:pt x="6902" y="1957"/>
                    <a:pt x="6902" y="1957"/>
                  </a:cubicBezTo>
                  <a:cubicBezTo>
                    <a:pt x="6902" y="1957"/>
                    <a:pt x="6922" y="1948"/>
                    <a:pt x="6923" y="1945"/>
                  </a:cubicBezTo>
                  <a:cubicBezTo>
                    <a:pt x="6924" y="1942"/>
                    <a:pt x="6922" y="1930"/>
                    <a:pt x="6922" y="1930"/>
                  </a:cubicBezTo>
                  <a:cubicBezTo>
                    <a:pt x="6930" y="1925"/>
                    <a:pt x="6930" y="1925"/>
                    <a:pt x="6930" y="1925"/>
                  </a:cubicBezTo>
                  <a:cubicBezTo>
                    <a:pt x="6930" y="1925"/>
                    <a:pt x="6918" y="1919"/>
                    <a:pt x="6915" y="1911"/>
                  </a:cubicBezTo>
                  <a:cubicBezTo>
                    <a:pt x="6915" y="1910"/>
                    <a:pt x="6915" y="1909"/>
                    <a:pt x="6915" y="1908"/>
                  </a:cubicBezTo>
                  <a:cubicBezTo>
                    <a:pt x="6915" y="1898"/>
                    <a:pt x="6930" y="1875"/>
                    <a:pt x="6937" y="1871"/>
                  </a:cubicBezTo>
                  <a:cubicBezTo>
                    <a:pt x="6944" y="1867"/>
                    <a:pt x="6965" y="1850"/>
                    <a:pt x="6974" y="1855"/>
                  </a:cubicBezTo>
                  <a:cubicBezTo>
                    <a:pt x="6983" y="1860"/>
                    <a:pt x="6991" y="1865"/>
                    <a:pt x="6991" y="1865"/>
                  </a:cubicBezTo>
                  <a:cubicBezTo>
                    <a:pt x="6991" y="1865"/>
                    <a:pt x="7014" y="1859"/>
                    <a:pt x="7019" y="1864"/>
                  </a:cubicBezTo>
                  <a:cubicBezTo>
                    <a:pt x="7024" y="1869"/>
                    <a:pt x="7031" y="1877"/>
                    <a:pt x="7034" y="1879"/>
                  </a:cubicBezTo>
                  <a:cubicBezTo>
                    <a:pt x="7034" y="1879"/>
                    <a:pt x="7059" y="1889"/>
                    <a:pt x="7072" y="1879"/>
                  </a:cubicBezTo>
                  <a:cubicBezTo>
                    <a:pt x="7085" y="1869"/>
                    <a:pt x="7089" y="1850"/>
                    <a:pt x="7095" y="1848"/>
                  </a:cubicBezTo>
                  <a:cubicBezTo>
                    <a:pt x="7097" y="1847"/>
                    <a:pt x="7103" y="1847"/>
                    <a:pt x="7109" y="1846"/>
                  </a:cubicBezTo>
                  <a:cubicBezTo>
                    <a:pt x="7118" y="1845"/>
                    <a:pt x="7128" y="1844"/>
                    <a:pt x="7132" y="1840"/>
                  </a:cubicBezTo>
                  <a:cubicBezTo>
                    <a:pt x="7139" y="1833"/>
                    <a:pt x="7157" y="1812"/>
                    <a:pt x="7167" y="1812"/>
                  </a:cubicBezTo>
                  <a:cubicBezTo>
                    <a:pt x="7177" y="1812"/>
                    <a:pt x="7206" y="1819"/>
                    <a:pt x="7218" y="1829"/>
                  </a:cubicBezTo>
                  <a:cubicBezTo>
                    <a:pt x="7230" y="1839"/>
                    <a:pt x="7234" y="1859"/>
                    <a:pt x="7234" y="1859"/>
                  </a:cubicBezTo>
                  <a:cubicBezTo>
                    <a:pt x="7242" y="1867"/>
                    <a:pt x="7242" y="1867"/>
                    <a:pt x="7242" y="1867"/>
                  </a:cubicBezTo>
                  <a:cubicBezTo>
                    <a:pt x="7242" y="1867"/>
                    <a:pt x="7234" y="1888"/>
                    <a:pt x="7243" y="1893"/>
                  </a:cubicBezTo>
                  <a:cubicBezTo>
                    <a:pt x="7252" y="1898"/>
                    <a:pt x="7267" y="1903"/>
                    <a:pt x="7267" y="1903"/>
                  </a:cubicBezTo>
                  <a:cubicBezTo>
                    <a:pt x="7271" y="1916"/>
                    <a:pt x="7271" y="1916"/>
                    <a:pt x="7271" y="1916"/>
                  </a:cubicBezTo>
                  <a:cubicBezTo>
                    <a:pt x="7291" y="1917"/>
                    <a:pt x="7291" y="1917"/>
                    <a:pt x="7291" y="1917"/>
                  </a:cubicBezTo>
                  <a:cubicBezTo>
                    <a:pt x="7291" y="1917"/>
                    <a:pt x="7324" y="1951"/>
                    <a:pt x="7333" y="1961"/>
                  </a:cubicBezTo>
                  <a:cubicBezTo>
                    <a:pt x="7342" y="1971"/>
                    <a:pt x="7350" y="1980"/>
                    <a:pt x="7350" y="1980"/>
                  </a:cubicBezTo>
                  <a:cubicBezTo>
                    <a:pt x="7377" y="1981"/>
                    <a:pt x="7377" y="1981"/>
                    <a:pt x="7377" y="1981"/>
                  </a:cubicBezTo>
                  <a:cubicBezTo>
                    <a:pt x="7377" y="1981"/>
                    <a:pt x="7384" y="1996"/>
                    <a:pt x="7399" y="2001"/>
                  </a:cubicBezTo>
                  <a:cubicBezTo>
                    <a:pt x="7414" y="2006"/>
                    <a:pt x="7433" y="2002"/>
                    <a:pt x="7436" y="2009"/>
                  </a:cubicBezTo>
                  <a:cubicBezTo>
                    <a:pt x="7439" y="2016"/>
                    <a:pt x="7440" y="2039"/>
                    <a:pt x="7453" y="2042"/>
                  </a:cubicBezTo>
                  <a:cubicBezTo>
                    <a:pt x="7466" y="2045"/>
                    <a:pt x="7471" y="2040"/>
                    <a:pt x="7471" y="2040"/>
                  </a:cubicBezTo>
                  <a:cubicBezTo>
                    <a:pt x="7471" y="2040"/>
                    <a:pt x="7474" y="2059"/>
                    <a:pt x="7476" y="2073"/>
                  </a:cubicBezTo>
                  <a:cubicBezTo>
                    <a:pt x="7478" y="2087"/>
                    <a:pt x="7491" y="2086"/>
                    <a:pt x="7491" y="2096"/>
                  </a:cubicBezTo>
                  <a:cubicBezTo>
                    <a:pt x="7491" y="2106"/>
                    <a:pt x="7492" y="2113"/>
                    <a:pt x="7492" y="2113"/>
                  </a:cubicBezTo>
                  <a:cubicBezTo>
                    <a:pt x="7479" y="2112"/>
                    <a:pt x="7479" y="2112"/>
                    <a:pt x="7479" y="2112"/>
                  </a:cubicBezTo>
                  <a:cubicBezTo>
                    <a:pt x="7478" y="2127"/>
                    <a:pt x="7478" y="2127"/>
                    <a:pt x="7478" y="2127"/>
                  </a:cubicBezTo>
                  <a:cubicBezTo>
                    <a:pt x="7478" y="2127"/>
                    <a:pt x="7458" y="2156"/>
                    <a:pt x="7469" y="2156"/>
                  </a:cubicBezTo>
                  <a:cubicBezTo>
                    <a:pt x="7480" y="2156"/>
                    <a:pt x="7488" y="2150"/>
                    <a:pt x="7488" y="2150"/>
                  </a:cubicBezTo>
                  <a:cubicBezTo>
                    <a:pt x="7496" y="2135"/>
                    <a:pt x="7496" y="2135"/>
                    <a:pt x="7496" y="2135"/>
                  </a:cubicBezTo>
                  <a:cubicBezTo>
                    <a:pt x="7509" y="2133"/>
                    <a:pt x="7509" y="2133"/>
                    <a:pt x="7509" y="2133"/>
                  </a:cubicBezTo>
                  <a:cubicBezTo>
                    <a:pt x="7509" y="2133"/>
                    <a:pt x="7506" y="2111"/>
                    <a:pt x="7510" y="2108"/>
                  </a:cubicBezTo>
                  <a:cubicBezTo>
                    <a:pt x="7514" y="2105"/>
                    <a:pt x="7535" y="2099"/>
                    <a:pt x="7535" y="2099"/>
                  </a:cubicBezTo>
                  <a:cubicBezTo>
                    <a:pt x="7535" y="2099"/>
                    <a:pt x="7530" y="2079"/>
                    <a:pt x="7526" y="2075"/>
                  </a:cubicBezTo>
                  <a:cubicBezTo>
                    <a:pt x="7522" y="2071"/>
                    <a:pt x="7504" y="2066"/>
                    <a:pt x="7505" y="2059"/>
                  </a:cubicBezTo>
                  <a:cubicBezTo>
                    <a:pt x="7506" y="2052"/>
                    <a:pt x="7519" y="2018"/>
                    <a:pt x="7527" y="2021"/>
                  </a:cubicBezTo>
                  <a:cubicBezTo>
                    <a:pt x="7535" y="2024"/>
                    <a:pt x="7542" y="2028"/>
                    <a:pt x="7542" y="2028"/>
                  </a:cubicBezTo>
                  <a:cubicBezTo>
                    <a:pt x="7562" y="2028"/>
                    <a:pt x="7562" y="2028"/>
                    <a:pt x="7562" y="2028"/>
                  </a:cubicBezTo>
                  <a:cubicBezTo>
                    <a:pt x="7562" y="2028"/>
                    <a:pt x="7565" y="2051"/>
                    <a:pt x="7579" y="2052"/>
                  </a:cubicBezTo>
                  <a:cubicBezTo>
                    <a:pt x="7593" y="2053"/>
                    <a:pt x="7597" y="2039"/>
                    <a:pt x="7589" y="2030"/>
                  </a:cubicBezTo>
                  <a:cubicBezTo>
                    <a:pt x="7581" y="2021"/>
                    <a:pt x="7555" y="2004"/>
                    <a:pt x="7555" y="2004"/>
                  </a:cubicBezTo>
                  <a:cubicBezTo>
                    <a:pt x="7525" y="1988"/>
                    <a:pt x="7525" y="1988"/>
                    <a:pt x="7525" y="1988"/>
                  </a:cubicBezTo>
                  <a:cubicBezTo>
                    <a:pt x="7525" y="1988"/>
                    <a:pt x="7472" y="1975"/>
                    <a:pt x="7476" y="1966"/>
                  </a:cubicBezTo>
                  <a:cubicBezTo>
                    <a:pt x="7480" y="1957"/>
                    <a:pt x="7489" y="1956"/>
                    <a:pt x="7488" y="1948"/>
                  </a:cubicBezTo>
                  <a:cubicBezTo>
                    <a:pt x="7487" y="1940"/>
                    <a:pt x="7439" y="1938"/>
                    <a:pt x="7439" y="1938"/>
                  </a:cubicBezTo>
                  <a:cubicBezTo>
                    <a:pt x="7439" y="1938"/>
                    <a:pt x="7425" y="1933"/>
                    <a:pt x="7408" y="1916"/>
                  </a:cubicBezTo>
                  <a:cubicBezTo>
                    <a:pt x="7391" y="1899"/>
                    <a:pt x="7385" y="1883"/>
                    <a:pt x="7385" y="1883"/>
                  </a:cubicBezTo>
                  <a:cubicBezTo>
                    <a:pt x="7385" y="1883"/>
                    <a:pt x="7380" y="1859"/>
                    <a:pt x="7370" y="1853"/>
                  </a:cubicBezTo>
                  <a:cubicBezTo>
                    <a:pt x="7360" y="1847"/>
                    <a:pt x="7349" y="1837"/>
                    <a:pt x="7349" y="1837"/>
                  </a:cubicBezTo>
                  <a:cubicBezTo>
                    <a:pt x="7323" y="1815"/>
                    <a:pt x="7323" y="1815"/>
                    <a:pt x="7323" y="1815"/>
                  </a:cubicBezTo>
                  <a:cubicBezTo>
                    <a:pt x="7323" y="1815"/>
                    <a:pt x="7309" y="1793"/>
                    <a:pt x="7314" y="1791"/>
                  </a:cubicBezTo>
                  <a:cubicBezTo>
                    <a:pt x="7319" y="1789"/>
                    <a:pt x="7327" y="1787"/>
                    <a:pt x="7327" y="1782"/>
                  </a:cubicBezTo>
                  <a:cubicBezTo>
                    <a:pt x="7327" y="1777"/>
                    <a:pt x="7310" y="1768"/>
                    <a:pt x="7318" y="1759"/>
                  </a:cubicBezTo>
                  <a:cubicBezTo>
                    <a:pt x="7326" y="1750"/>
                    <a:pt x="7349" y="1744"/>
                    <a:pt x="7349" y="1744"/>
                  </a:cubicBezTo>
                  <a:cubicBezTo>
                    <a:pt x="7363" y="1738"/>
                    <a:pt x="7363" y="1738"/>
                    <a:pt x="7363" y="1738"/>
                  </a:cubicBezTo>
                  <a:cubicBezTo>
                    <a:pt x="7363" y="1738"/>
                    <a:pt x="7386" y="1742"/>
                    <a:pt x="7383" y="1746"/>
                  </a:cubicBezTo>
                  <a:cubicBezTo>
                    <a:pt x="7382" y="1748"/>
                    <a:pt x="7380" y="1752"/>
                    <a:pt x="7378" y="1756"/>
                  </a:cubicBezTo>
                  <a:cubicBezTo>
                    <a:pt x="7376" y="1760"/>
                    <a:pt x="7374" y="1765"/>
                    <a:pt x="7374" y="1765"/>
                  </a:cubicBezTo>
                  <a:cubicBezTo>
                    <a:pt x="7374" y="1765"/>
                    <a:pt x="7373" y="1795"/>
                    <a:pt x="7381" y="1786"/>
                  </a:cubicBezTo>
                  <a:cubicBezTo>
                    <a:pt x="7389" y="1777"/>
                    <a:pt x="7400" y="1762"/>
                    <a:pt x="7404" y="1768"/>
                  </a:cubicBezTo>
                  <a:cubicBezTo>
                    <a:pt x="7408" y="1774"/>
                    <a:pt x="7408" y="1789"/>
                    <a:pt x="7408" y="1789"/>
                  </a:cubicBezTo>
                  <a:cubicBezTo>
                    <a:pt x="7427" y="1785"/>
                    <a:pt x="7427" y="1785"/>
                    <a:pt x="7427" y="1785"/>
                  </a:cubicBezTo>
                  <a:cubicBezTo>
                    <a:pt x="7427" y="1785"/>
                    <a:pt x="7421" y="1805"/>
                    <a:pt x="7433" y="1809"/>
                  </a:cubicBezTo>
                  <a:cubicBezTo>
                    <a:pt x="7445" y="1813"/>
                    <a:pt x="7441" y="1821"/>
                    <a:pt x="7441" y="1821"/>
                  </a:cubicBezTo>
                  <a:cubicBezTo>
                    <a:pt x="7470" y="1842"/>
                    <a:pt x="7470" y="1842"/>
                    <a:pt x="7470" y="1842"/>
                  </a:cubicBezTo>
                  <a:cubicBezTo>
                    <a:pt x="7471" y="1859"/>
                    <a:pt x="7471" y="1859"/>
                    <a:pt x="7471" y="1859"/>
                  </a:cubicBezTo>
                  <a:cubicBezTo>
                    <a:pt x="7498" y="1860"/>
                    <a:pt x="7498" y="1860"/>
                    <a:pt x="7498" y="1860"/>
                  </a:cubicBezTo>
                  <a:cubicBezTo>
                    <a:pt x="7498" y="1860"/>
                    <a:pt x="7515" y="1861"/>
                    <a:pt x="7519" y="1869"/>
                  </a:cubicBezTo>
                  <a:cubicBezTo>
                    <a:pt x="7519" y="1869"/>
                    <a:pt x="7515" y="1878"/>
                    <a:pt x="7521" y="1882"/>
                  </a:cubicBezTo>
                  <a:cubicBezTo>
                    <a:pt x="7538" y="1884"/>
                    <a:pt x="7538" y="1884"/>
                    <a:pt x="7538" y="1884"/>
                  </a:cubicBezTo>
                  <a:cubicBezTo>
                    <a:pt x="7546" y="1885"/>
                    <a:pt x="7546" y="1885"/>
                    <a:pt x="7546" y="1885"/>
                  </a:cubicBezTo>
                  <a:cubicBezTo>
                    <a:pt x="7546" y="1885"/>
                    <a:pt x="7573" y="1912"/>
                    <a:pt x="7582" y="1917"/>
                  </a:cubicBezTo>
                  <a:cubicBezTo>
                    <a:pt x="7583" y="1918"/>
                    <a:pt x="7584" y="1918"/>
                    <a:pt x="7584" y="1918"/>
                  </a:cubicBezTo>
                  <a:cubicBezTo>
                    <a:pt x="7591" y="1920"/>
                    <a:pt x="7602" y="1915"/>
                    <a:pt x="7602" y="1915"/>
                  </a:cubicBezTo>
                  <a:cubicBezTo>
                    <a:pt x="7602" y="1927"/>
                    <a:pt x="7602" y="1927"/>
                    <a:pt x="7602" y="1927"/>
                  </a:cubicBezTo>
                  <a:cubicBezTo>
                    <a:pt x="7619" y="1943"/>
                    <a:pt x="7619" y="1943"/>
                    <a:pt x="7619" y="1943"/>
                  </a:cubicBezTo>
                  <a:cubicBezTo>
                    <a:pt x="7623" y="1947"/>
                    <a:pt x="7623" y="1947"/>
                    <a:pt x="7623" y="1947"/>
                  </a:cubicBezTo>
                  <a:cubicBezTo>
                    <a:pt x="7639" y="1947"/>
                    <a:pt x="7639" y="1947"/>
                    <a:pt x="7639" y="1947"/>
                  </a:cubicBezTo>
                  <a:cubicBezTo>
                    <a:pt x="7639" y="1947"/>
                    <a:pt x="7634" y="1986"/>
                    <a:pt x="7633" y="1998"/>
                  </a:cubicBezTo>
                  <a:cubicBezTo>
                    <a:pt x="7632" y="2010"/>
                    <a:pt x="7621" y="2026"/>
                    <a:pt x="7626" y="2031"/>
                  </a:cubicBezTo>
                  <a:cubicBezTo>
                    <a:pt x="7631" y="2036"/>
                    <a:pt x="7649" y="2046"/>
                    <a:pt x="7649" y="2046"/>
                  </a:cubicBezTo>
                  <a:cubicBezTo>
                    <a:pt x="7649" y="2046"/>
                    <a:pt x="7646" y="2066"/>
                    <a:pt x="7650" y="2065"/>
                  </a:cubicBezTo>
                  <a:cubicBezTo>
                    <a:pt x="7654" y="2064"/>
                    <a:pt x="7673" y="2067"/>
                    <a:pt x="7673" y="2067"/>
                  </a:cubicBezTo>
                  <a:cubicBezTo>
                    <a:pt x="7673" y="2067"/>
                    <a:pt x="7668" y="2084"/>
                    <a:pt x="7677" y="2087"/>
                  </a:cubicBezTo>
                  <a:cubicBezTo>
                    <a:pt x="7686" y="2090"/>
                    <a:pt x="7697" y="2107"/>
                    <a:pt x="7697" y="2107"/>
                  </a:cubicBezTo>
                  <a:cubicBezTo>
                    <a:pt x="7697" y="2107"/>
                    <a:pt x="7707" y="2130"/>
                    <a:pt x="7715" y="2130"/>
                  </a:cubicBezTo>
                  <a:cubicBezTo>
                    <a:pt x="7723" y="2130"/>
                    <a:pt x="7744" y="2129"/>
                    <a:pt x="7744" y="2129"/>
                  </a:cubicBezTo>
                  <a:cubicBezTo>
                    <a:pt x="7744" y="2129"/>
                    <a:pt x="7758" y="2124"/>
                    <a:pt x="7765" y="2127"/>
                  </a:cubicBezTo>
                  <a:cubicBezTo>
                    <a:pt x="7772" y="2130"/>
                    <a:pt x="7809" y="2144"/>
                    <a:pt x="7809" y="2144"/>
                  </a:cubicBezTo>
                  <a:cubicBezTo>
                    <a:pt x="7809" y="2144"/>
                    <a:pt x="7831" y="2167"/>
                    <a:pt x="7836" y="2161"/>
                  </a:cubicBezTo>
                  <a:cubicBezTo>
                    <a:pt x="7841" y="2155"/>
                    <a:pt x="7842" y="2146"/>
                    <a:pt x="7834" y="2139"/>
                  </a:cubicBezTo>
                  <a:cubicBezTo>
                    <a:pt x="7826" y="2132"/>
                    <a:pt x="7810" y="2119"/>
                    <a:pt x="7807" y="2118"/>
                  </a:cubicBezTo>
                  <a:cubicBezTo>
                    <a:pt x="7804" y="2117"/>
                    <a:pt x="7785" y="2108"/>
                    <a:pt x="7785" y="2108"/>
                  </a:cubicBezTo>
                  <a:cubicBezTo>
                    <a:pt x="7785" y="2108"/>
                    <a:pt x="7792" y="2102"/>
                    <a:pt x="7796" y="2103"/>
                  </a:cubicBezTo>
                  <a:cubicBezTo>
                    <a:pt x="7800" y="2104"/>
                    <a:pt x="7823" y="2127"/>
                    <a:pt x="7837" y="2129"/>
                  </a:cubicBezTo>
                  <a:cubicBezTo>
                    <a:pt x="7851" y="2131"/>
                    <a:pt x="7857" y="2115"/>
                    <a:pt x="7844" y="2113"/>
                  </a:cubicBezTo>
                  <a:cubicBezTo>
                    <a:pt x="7831" y="2111"/>
                    <a:pt x="7821" y="2107"/>
                    <a:pt x="7821" y="2107"/>
                  </a:cubicBezTo>
                  <a:cubicBezTo>
                    <a:pt x="7821" y="2107"/>
                    <a:pt x="7807" y="2099"/>
                    <a:pt x="7805" y="2092"/>
                  </a:cubicBezTo>
                  <a:cubicBezTo>
                    <a:pt x="7803" y="2085"/>
                    <a:pt x="7791" y="2068"/>
                    <a:pt x="7791" y="2068"/>
                  </a:cubicBezTo>
                  <a:cubicBezTo>
                    <a:pt x="7791" y="2068"/>
                    <a:pt x="7780" y="2051"/>
                    <a:pt x="7775" y="2045"/>
                  </a:cubicBezTo>
                  <a:cubicBezTo>
                    <a:pt x="7770" y="2039"/>
                    <a:pt x="7765" y="2018"/>
                    <a:pt x="7772" y="2015"/>
                  </a:cubicBezTo>
                  <a:cubicBezTo>
                    <a:pt x="7779" y="2012"/>
                    <a:pt x="7781" y="2029"/>
                    <a:pt x="7789" y="2029"/>
                  </a:cubicBezTo>
                  <a:cubicBezTo>
                    <a:pt x="7791" y="2029"/>
                    <a:pt x="7794" y="2029"/>
                    <a:pt x="7797" y="2029"/>
                  </a:cubicBezTo>
                  <a:cubicBezTo>
                    <a:pt x="7801" y="2037"/>
                    <a:pt x="7805" y="2046"/>
                    <a:pt x="7807" y="2047"/>
                  </a:cubicBezTo>
                  <a:cubicBezTo>
                    <a:pt x="7810" y="2049"/>
                    <a:pt x="7816" y="2045"/>
                    <a:pt x="7816" y="2045"/>
                  </a:cubicBezTo>
                  <a:cubicBezTo>
                    <a:pt x="7808" y="2030"/>
                    <a:pt x="7808" y="2030"/>
                    <a:pt x="7808" y="2030"/>
                  </a:cubicBezTo>
                  <a:cubicBezTo>
                    <a:pt x="7809" y="2030"/>
                    <a:pt x="7810" y="2030"/>
                    <a:pt x="7811" y="2030"/>
                  </a:cubicBezTo>
                  <a:cubicBezTo>
                    <a:pt x="7829" y="2041"/>
                    <a:pt x="7829" y="2041"/>
                    <a:pt x="7829" y="2041"/>
                  </a:cubicBezTo>
                  <a:cubicBezTo>
                    <a:pt x="7820" y="2028"/>
                    <a:pt x="7820" y="2028"/>
                    <a:pt x="7820" y="2028"/>
                  </a:cubicBezTo>
                  <a:cubicBezTo>
                    <a:pt x="7820" y="2028"/>
                    <a:pt x="7821" y="2028"/>
                    <a:pt x="7821" y="2028"/>
                  </a:cubicBezTo>
                  <a:cubicBezTo>
                    <a:pt x="7824" y="2025"/>
                    <a:pt x="7825" y="2017"/>
                    <a:pt x="7824" y="2009"/>
                  </a:cubicBezTo>
                  <a:cubicBezTo>
                    <a:pt x="7823" y="2001"/>
                    <a:pt x="7841" y="1997"/>
                    <a:pt x="7850" y="2000"/>
                  </a:cubicBezTo>
                  <a:cubicBezTo>
                    <a:pt x="7859" y="2003"/>
                    <a:pt x="7852" y="2016"/>
                    <a:pt x="7861" y="2013"/>
                  </a:cubicBezTo>
                  <a:cubicBezTo>
                    <a:pt x="7870" y="2010"/>
                    <a:pt x="7873" y="1995"/>
                    <a:pt x="7878" y="1994"/>
                  </a:cubicBezTo>
                  <a:cubicBezTo>
                    <a:pt x="7883" y="1993"/>
                    <a:pt x="7926" y="2003"/>
                    <a:pt x="7926" y="2003"/>
                  </a:cubicBezTo>
                  <a:cubicBezTo>
                    <a:pt x="7926" y="2003"/>
                    <a:pt x="7914" y="2015"/>
                    <a:pt x="7929" y="2014"/>
                  </a:cubicBezTo>
                  <a:cubicBezTo>
                    <a:pt x="7944" y="2013"/>
                    <a:pt x="7955" y="2008"/>
                    <a:pt x="7955" y="2008"/>
                  </a:cubicBezTo>
                  <a:cubicBezTo>
                    <a:pt x="7955" y="2008"/>
                    <a:pt x="7951" y="2018"/>
                    <a:pt x="7959" y="2015"/>
                  </a:cubicBezTo>
                  <a:cubicBezTo>
                    <a:pt x="7967" y="2012"/>
                    <a:pt x="7986" y="1993"/>
                    <a:pt x="7986" y="1993"/>
                  </a:cubicBezTo>
                  <a:cubicBezTo>
                    <a:pt x="7986" y="1993"/>
                    <a:pt x="8020" y="1981"/>
                    <a:pt x="8031" y="1989"/>
                  </a:cubicBezTo>
                  <a:cubicBezTo>
                    <a:pt x="8042" y="1997"/>
                    <a:pt x="8076" y="2002"/>
                    <a:pt x="8076" y="2002"/>
                  </a:cubicBezTo>
                  <a:cubicBezTo>
                    <a:pt x="8076" y="2002"/>
                    <a:pt x="8045" y="2006"/>
                    <a:pt x="8044" y="2009"/>
                  </a:cubicBezTo>
                  <a:cubicBezTo>
                    <a:pt x="8043" y="2012"/>
                    <a:pt x="8038" y="2021"/>
                    <a:pt x="8038" y="2021"/>
                  </a:cubicBezTo>
                  <a:cubicBezTo>
                    <a:pt x="8005" y="2022"/>
                    <a:pt x="8005" y="2022"/>
                    <a:pt x="8005" y="2022"/>
                  </a:cubicBezTo>
                  <a:cubicBezTo>
                    <a:pt x="7971" y="2019"/>
                    <a:pt x="7971" y="2019"/>
                    <a:pt x="7971" y="2019"/>
                  </a:cubicBezTo>
                  <a:cubicBezTo>
                    <a:pt x="7971" y="2019"/>
                    <a:pt x="7945" y="2025"/>
                    <a:pt x="7941" y="2033"/>
                  </a:cubicBezTo>
                  <a:cubicBezTo>
                    <a:pt x="7937" y="2041"/>
                    <a:pt x="7928" y="2071"/>
                    <a:pt x="7928" y="2071"/>
                  </a:cubicBezTo>
                  <a:cubicBezTo>
                    <a:pt x="7955" y="2070"/>
                    <a:pt x="7955" y="2070"/>
                    <a:pt x="7955" y="2070"/>
                  </a:cubicBezTo>
                  <a:cubicBezTo>
                    <a:pt x="7955" y="2070"/>
                    <a:pt x="7951" y="2079"/>
                    <a:pt x="7956" y="2087"/>
                  </a:cubicBezTo>
                  <a:cubicBezTo>
                    <a:pt x="7961" y="2095"/>
                    <a:pt x="7967" y="2103"/>
                    <a:pt x="7967" y="2103"/>
                  </a:cubicBezTo>
                  <a:cubicBezTo>
                    <a:pt x="7962" y="2114"/>
                    <a:pt x="7962" y="2114"/>
                    <a:pt x="7962" y="2114"/>
                  </a:cubicBezTo>
                  <a:cubicBezTo>
                    <a:pt x="7972" y="2129"/>
                    <a:pt x="7972" y="2129"/>
                    <a:pt x="7972" y="2129"/>
                  </a:cubicBezTo>
                  <a:cubicBezTo>
                    <a:pt x="7963" y="2140"/>
                    <a:pt x="7963" y="2140"/>
                    <a:pt x="7963" y="2140"/>
                  </a:cubicBezTo>
                  <a:cubicBezTo>
                    <a:pt x="7987" y="2162"/>
                    <a:pt x="7987" y="2162"/>
                    <a:pt x="7987" y="2162"/>
                  </a:cubicBezTo>
                  <a:cubicBezTo>
                    <a:pt x="7985" y="2186"/>
                    <a:pt x="7985" y="2186"/>
                    <a:pt x="7985" y="2186"/>
                  </a:cubicBezTo>
                  <a:cubicBezTo>
                    <a:pt x="8019" y="2203"/>
                    <a:pt x="8019" y="2203"/>
                    <a:pt x="8019" y="2203"/>
                  </a:cubicBezTo>
                  <a:cubicBezTo>
                    <a:pt x="8025" y="2225"/>
                    <a:pt x="8025" y="2225"/>
                    <a:pt x="8025" y="2225"/>
                  </a:cubicBezTo>
                  <a:cubicBezTo>
                    <a:pt x="8025" y="2225"/>
                    <a:pt x="8022" y="2213"/>
                    <a:pt x="8041" y="2218"/>
                  </a:cubicBezTo>
                  <a:cubicBezTo>
                    <a:pt x="8060" y="2223"/>
                    <a:pt x="8057" y="2240"/>
                    <a:pt x="8087" y="2243"/>
                  </a:cubicBezTo>
                  <a:cubicBezTo>
                    <a:pt x="8117" y="2246"/>
                    <a:pt x="8129" y="2245"/>
                    <a:pt x="8129" y="2238"/>
                  </a:cubicBezTo>
                  <a:cubicBezTo>
                    <a:pt x="8129" y="2231"/>
                    <a:pt x="8131" y="2212"/>
                    <a:pt x="8141" y="2211"/>
                  </a:cubicBezTo>
                  <a:cubicBezTo>
                    <a:pt x="8151" y="2210"/>
                    <a:pt x="8178" y="2217"/>
                    <a:pt x="8192" y="2222"/>
                  </a:cubicBezTo>
                  <a:cubicBezTo>
                    <a:pt x="8206" y="2227"/>
                    <a:pt x="8192" y="2254"/>
                    <a:pt x="8238" y="2253"/>
                  </a:cubicBezTo>
                  <a:cubicBezTo>
                    <a:pt x="8284" y="2252"/>
                    <a:pt x="8285" y="2227"/>
                    <a:pt x="8301" y="2222"/>
                  </a:cubicBezTo>
                  <a:cubicBezTo>
                    <a:pt x="8317" y="2217"/>
                    <a:pt x="8329" y="2213"/>
                    <a:pt x="8336" y="2219"/>
                  </a:cubicBezTo>
                  <a:cubicBezTo>
                    <a:pt x="8343" y="2225"/>
                    <a:pt x="8345" y="2231"/>
                    <a:pt x="8356" y="2226"/>
                  </a:cubicBezTo>
                  <a:cubicBezTo>
                    <a:pt x="8367" y="2221"/>
                    <a:pt x="8374" y="2205"/>
                    <a:pt x="8381" y="2212"/>
                  </a:cubicBezTo>
                  <a:cubicBezTo>
                    <a:pt x="8388" y="2219"/>
                    <a:pt x="8380" y="2228"/>
                    <a:pt x="8377" y="2234"/>
                  </a:cubicBezTo>
                  <a:cubicBezTo>
                    <a:pt x="8374" y="2240"/>
                    <a:pt x="8367" y="2252"/>
                    <a:pt x="8374" y="2257"/>
                  </a:cubicBezTo>
                  <a:cubicBezTo>
                    <a:pt x="8375" y="2258"/>
                    <a:pt x="8376" y="2259"/>
                    <a:pt x="8375" y="2261"/>
                  </a:cubicBezTo>
                  <a:cubicBezTo>
                    <a:pt x="8373" y="2266"/>
                    <a:pt x="8363" y="2274"/>
                    <a:pt x="8366" y="2281"/>
                  </a:cubicBezTo>
                  <a:cubicBezTo>
                    <a:pt x="8362" y="2282"/>
                    <a:pt x="8362" y="2282"/>
                    <a:pt x="8362" y="2282"/>
                  </a:cubicBezTo>
                  <a:cubicBezTo>
                    <a:pt x="8361" y="2314"/>
                    <a:pt x="8361" y="2314"/>
                    <a:pt x="8361" y="2314"/>
                  </a:cubicBezTo>
                  <a:cubicBezTo>
                    <a:pt x="8361" y="2314"/>
                    <a:pt x="8375" y="2322"/>
                    <a:pt x="8378" y="2330"/>
                  </a:cubicBezTo>
                  <a:cubicBezTo>
                    <a:pt x="8378" y="2332"/>
                    <a:pt x="8378" y="2334"/>
                    <a:pt x="8377" y="2335"/>
                  </a:cubicBezTo>
                  <a:cubicBezTo>
                    <a:pt x="8370" y="2345"/>
                    <a:pt x="8361" y="2351"/>
                    <a:pt x="8361" y="2351"/>
                  </a:cubicBezTo>
                  <a:cubicBezTo>
                    <a:pt x="8352" y="2375"/>
                    <a:pt x="8352" y="2375"/>
                    <a:pt x="8352" y="2375"/>
                  </a:cubicBezTo>
                  <a:cubicBezTo>
                    <a:pt x="8352" y="2375"/>
                    <a:pt x="8342" y="2399"/>
                    <a:pt x="8341" y="2419"/>
                  </a:cubicBezTo>
                  <a:cubicBezTo>
                    <a:pt x="8341" y="2424"/>
                    <a:pt x="8341" y="2430"/>
                    <a:pt x="8342" y="2435"/>
                  </a:cubicBezTo>
                  <a:cubicBezTo>
                    <a:pt x="8343" y="2448"/>
                    <a:pt x="8347" y="2459"/>
                    <a:pt x="8347" y="2459"/>
                  </a:cubicBezTo>
                  <a:cubicBezTo>
                    <a:pt x="8333" y="2485"/>
                    <a:pt x="8333" y="2485"/>
                    <a:pt x="8333" y="2485"/>
                  </a:cubicBezTo>
                  <a:cubicBezTo>
                    <a:pt x="8331" y="2501"/>
                    <a:pt x="8331" y="2501"/>
                    <a:pt x="8331" y="2501"/>
                  </a:cubicBezTo>
                  <a:cubicBezTo>
                    <a:pt x="8320" y="2509"/>
                    <a:pt x="8320" y="2509"/>
                    <a:pt x="8320" y="2509"/>
                  </a:cubicBezTo>
                  <a:cubicBezTo>
                    <a:pt x="8320" y="2509"/>
                    <a:pt x="8282" y="2524"/>
                    <a:pt x="8273" y="2520"/>
                  </a:cubicBezTo>
                  <a:cubicBezTo>
                    <a:pt x="8264" y="2516"/>
                    <a:pt x="8258" y="2512"/>
                    <a:pt x="8258" y="2512"/>
                  </a:cubicBezTo>
                  <a:cubicBezTo>
                    <a:pt x="8258" y="2512"/>
                    <a:pt x="8249" y="2523"/>
                    <a:pt x="8235" y="2516"/>
                  </a:cubicBezTo>
                  <a:cubicBezTo>
                    <a:pt x="8221" y="2509"/>
                    <a:pt x="8226" y="2500"/>
                    <a:pt x="8210" y="2497"/>
                  </a:cubicBezTo>
                  <a:cubicBezTo>
                    <a:pt x="8194" y="2494"/>
                    <a:pt x="8173" y="2504"/>
                    <a:pt x="8173" y="2504"/>
                  </a:cubicBezTo>
                  <a:cubicBezTo>
                    <a:pt x="8173" y="2504"/>
                    <a:pt x="8158" y="2497"/>
                    <a:pt x="8147" y="2501"/>
                  </a:cubicBezTo>
                  <a:cubicBezTo>
                    <a:pt x="8136" y="2505"/>
                    <a:pt x="8128" y="2520"/>
                    <a:pt x="8128" y="2520"/>
                  </a:cubicBezTo>
                  <a:cubicBezTo>
                    <a:pt x="8128" y="2520"/>
                    <a:pt x="8116" y="2518"/>
                    <a:pt x="8112" y="2520"/>
                  </a:cubicBezTo>
                  <a:cubicBezTo>
                    <a:pt x="8108" y="2522"/>
                    <a:pt x="8095" y="2533"/>
                    <a:pt x="8095" y="2533"/>
                  </a:cubicBezTo>
                  <a:cubicBezTo>
                    <a:pt x="8095" y="2533"/>
                    <a:pt x="8061" y="2519"/>
                    <a:pt x="8055" y="2519"/>
                  </a:cubicBezTo>
                  <a:cubicBezTo>
                    <a:pt x="8049" y="2519"/>
                    <a:pt x="8038" y="2522"/>
                    <a:pt x="8025" y="2519"/>
                  </a:cubicBezTo>
                  <a:cubicBezTo>
                    <a:pt x="8012" y="2516"/>
                    <a:pt x="8010" y="2504"/>
                    <a:pt x="7997" y="2503"/>
                  </a:cubicBezTo>
                  <a:cubicBezTo>
                    <a:pt x="7984" y="2502"/>
                    <a:pt x="7974" y="2502"/>
                    <a:pt x="7974" y="2502"/>
                  </a:cubicBezTo>
                  <a:cubicBezTo>
                    <a:pt x="7974" y="2502"/>
                    <a:pt x="7954" y="2491"/>
                    <a:pt x="7945" y="2491"/>
                  </a:cubicBezTo>
                  <a:cubicBezTo>
                    <a:pt x="7936" y="2491"/>
                    <a:pt x="7931" y="2505"/>
                    <a:pt x="7916" y="2496"/>
                  </a:cubicBezTo>
                  <a:cubicBezTo>
                    <a:pt x="7913" y="2494"/>
                    <a:pt x="7911" y="2492"/>
                    <a:pt x="7909" y="2490"/>
                  </a:cubicBezTo>
                  <a:cubicBezTo>
                    <a:pt x="7903" y="2481"/>
                    <a:pt x="7905" y="2472"/>
                    <a:pt x="7905" y="2472"/>
                  </a:cubicBezTo>
                  <a:cubicBezTo>
                    <a:pt x="7890" y="2477"/>
                    <a:pt x="7890" y="2477"/>
                    <a:pt x="7890" y="2477"/>
                  </a:cubicBezTo>
                  <a:cubicBezTo>
                    <a:pt x="7883" y="2468"/>
                    <a:pt x="7883" y="2468"/>
                    <a:pt x="7883" y="2468"/>
                  </a:cubicBezTo>
                  <a:cubicBezTo>
                    <a:pt x="7883" y="2468"/>
                    <a:pt x="7878" y="2476"/>
                    <a:pt x="7871" y="2476"/>
                  </a:cubicBezTo>
                  <a:cubicBezTo>
                    <a:pt x="7864" y="2476"/>
                    <a:pt x="7856" y="2459"/>
                    <a:pt x="7847" y="2459"/>
                  </a:cubicBezTo>
                  <a:cubicBezTo>
                    <a:pt x="7838" y="2459"/>
                    <a:pt x="7828" y="2466"/>
                    <a:pt x="7817" y="2458"/>
                  </a:cubicBezTo>
                  <a:cubicBezTo>
                    <a:pt x="7806" y="2450"/>
                    <a:pt x="7815" y="2441"/>
                    <a:pt x="7806" y="2437"/>
                  </a:cubicBezTo>
                  <a:cubicBezTo>
                    <a:pt x="7797" y="2433"/>
                    <a:pt x="7779" y="2432"/>
                    <a:pt x="7779" y="2432"/>
                  </a:cubicBezTo>
                  <a:cubicBezTo>
                    <a:pt x="7779" y="2432"/>
                    <a:pt x="7758" y="2424"/>
                    <a:pt x="7750" y="2424"/>
                  </a:cubicBezTo>
                  <a:cubicBezTo>
                    <a:pt x="7742" y="2424"/>
                    <a:pt x="7742" y="2432"/>
                    <a:pt x="7742" y="2432"/>
                  </a:cubicBezTo>
                  <a:cubicBezTo>
                    <a:pt x="7742" y="2432"/>
                    <a:pt x="7712" y="2430"/>
                    <a:pt x="7699" y="2440"/>
                  </a:cubicBezTo>
                  <a:cubicBezTo>
                    <a:pt x="7686" y="2450"/>
                    <a:pt x="7669" y="2463"/>
                    <a:pt x="7669" y="2479"/>
                  </a:cubicBezTo>
                  <a:cubicBezTo>
                    <a:pt x="7669" y="2495"/>
                    <a:pt x="7685" y="2514"/>
                    <a:pt x="7685" y="2523"/>
                  </a:cubicBezTo>
                  <a:cubicBezTo>
                    <a:pt x="7685" y="2532"/>
                    <a:pt x="7664" y="2561"/>
                    <a:pt x="7652" y="2563"/>
                  </a:cubicBezTo>
                  <a:cubicBezTo>
                    <a:pt x="7640" y="2565"/>
                    <a:pt x="7622" y="2568"/>
                    <a:pt x="7608" y="2553"/>
                  </a:cubicBezTo>
                  <a:cubicBezTo>
                    <a:pt x="7594" y="2538"/>
                    <a:pt x="7555" y="2515"/>
                    <a:pt x="7540" y="2514"/>
                  </a:cubicBezTo>
                  <a:cubicBezTo>
                    <a:pt x="7525" y="2513"/>
                    <a:pt x="7491" y="2522"/>
                    <a:pt x="7478" y="2506"/>
                  </a:cubicBezTo>
                  <a:cubicBezTo>
                    <a:pt x="7465" y="2490"/>
                    <a:pt x="7469" y="2478"/>
                    <a:pt x="7460" y="2462"/>
                  </a:cubicBezTo>
                  <a:cubicBezTo>
                    <a:pt x="7451" y="2446"/>
                    <a:pt x="7433" y="2449"/>
                    <a:pt x="7433" y="2449"/>
                  </a:cubicBezTo>
                  <a:cubicBezTo>
                    <a:pt x="7433" y="2449"/>
                    <a:pt x="7409" y="2431"/>
                    <a:pt x="7401" y="2430"/>
                  </a:cubicBezTo>
                  <a:cubicBezTo>
                    <a:pt x="7393" y="2429"/>
                    <a:pt x="7369" y="2428"/>
                    <a:pt x="7362" y="2429"/>
                  </a:cubicBezTo>
                  <a:cubicBezTo>
                    <a:pt x="7355" y="2430"/>
                    <a:pt x="7343" y="2437"/>
                    <a:pt x="7332" y="2433"/>
                  </a:cubicBezTo>
                  <a:cubicBezTo>
                    <a:pt x="7321" y="2429"/>
                    <a:pt x="7301" y="2413"/>
                    <a:pt x="7296" y="2412"/>
                  </a:cubicBezTo>
                  <a:cubicBezTo>
                    <a:pt x="7293" y="2411"/>
                    <a:pt x="7289" y="2410"/>
                    <a:pt x="7285" y="2409"/>
                  </a:cubicBezTo>
                  <a:cubicBezTo>
                    <a:pt x="7280" y="2408"/>
                    <a:pt x="7277" y="2407"/>
                    <a:pt x="7277" y="2407"/>
                  </a:cubicBezTo>
                  <a:cubicBezTo>
                    <a:pt x="7270" y="2388"/>
                    <a:pt x="7270" y="2388"/>
                    <a:pt x="7270" y="2388"/>
                  </a:cubicBezTo>
                  <a:cubicBezTo>
                    <a:pt x="7260" y="2382"/>
                    <a:pt x="7260" y="2382"/>
                    <a:pt x="7260" y="2382"/>
                  </a:cubicBezTo>
                  <a:cubicBezTo>
                    <a:pt x="7258" y="2393"/>
                    <a:pt x="7258" y="2393"/>
                    <a:pt x="7258" y="2393"/>
                  </a:cubicBezTo>
                  <a:cubicBezTo>
                    <a:pt x="7252" y="2384"/>
                    <a:pt x="7252" y="2384"/>
                    <a:pt x="7252" y="2384"/>
                  </a:cubicBezTo>
                  <a:cubicBezTo>
                    <a:pt x="7252" y="2384"/>
                    <a:pt x="7221" y="2383"/>
                    <a:pt x="7221" y="2364"/>
                  </a:cubicBezTo>
                  <a:cubicBezTo>
                    <a:pt x="7221" y="2345"/>
                    <a:pt x="7219" y="2355"/>
                    <a:pt x="7242" y="2335"/>
                  </a:cubicBezTo>
                  <a:cubicBezTo>
                    <a:pt x="7265" y="2315"/>
                    <a:pt x="7279" y="2299"/>
                    <a:pt x="7266" y="2283"/>
                  </a:cubicBezTo>
                  <a:cubicBezTo>
                    <a:pt x="7253" y="2267"/>
                    <a:pt x="7238" y="2270"/>
                    <a:pt x="7242" y="2254"/>
                  </a:cubicBezTo>
                  <a:cubicBezTo>
                    <a:pt x="7246" y="2238"/>
                    <a:pt x="7245" y="2240"/>
                    <a:pt x="7255" y="2231"/>
                  </a:cubicBezTo>
                  <a:cubicBezTo>
                    <a:pt x="7265" y="2222"/>
                    <a:pt x="7273" y="2200"/>
                    <a:pt x="7266" y="2199"/>
                  </a:cubicBezTo>
                  <a:cubicBezTo>
                    <a:pt x="7259" y="2198"/>
                    <a:pt x="7240" y="2224"/>
                    <a:pt x="7235" y="2226"/>
                  </a:cubicBezTo>
                  <a:cubicBezTo>
                    <a:pt x="7230" y="2228"/>
                    <a:pt x="7218" y="2214"/>
                    <a:pt x="7218" y="2214"/>
                  </a:cubicBezTo>
                  <a:cubicBezTo>
                    <a:pt x="7218" y="2214"/>
                    <a:pt x="7237" y="2197"/>
                    <a:pt x="7220" y="2189"/>
                  </a:cubicBezTo>
                  <a:cubicBezTo>
                    <a:pt x="7203" y="2181"/>
                    <a:pt x="7176" y="2200"/>
                    <a:pt x="7170" y="2204"/>
                  </a:cubicBezTo>
                  <a:cubicBezTo>
                    <a:pt x="7168" y="2205"/>
                    <a:pt x="7166" y="2206"/>
                    <a:pt x="7163" y="2206"/>
                  </a:cubicBezTo>
                  <a:cubicBezTo>
                    <a:pt x="7163" y="2216"/>
                    <a:pt x="7163" y="2216"/>
                    <a:pt x="7163" y="2216"/>
                  </a:cubicBezTo>
                  <a:cubicBezTo>
                    <a:pt x="7163" y="2206"/>
                    <a:pt x="7163" y="2206"/>
                    <a:pt x="7163" y="2206"/>
                  </a:cubicBezTo>
                  <a:cubicBezTo>
                    <a:pt x="7154" y="2206"/>
                    <a:pt x="7143" y="2205"/>
                    <a:pt x="7143" y="2205"/>
                  </a:cubicBezTo>
                  <a:cubicBezTo>
                    <a:pt x="7134" y="2210"/>
                    <a:pt x="7134" y="2210"/>
                    <a:pt x="7134" y="2210"/>
                  </a:cubicBezTo>
                  <a:cubicBezTo>
                    <a:pt x="7107" y="2198"/>
                    <a:pt x="7107" y="2198"/>
                    <a:pt x="7107" y="2198"/>
                  </a:cubicBezTo>
                  <a:cubicBezTo>
                    <a:pt x="7097" y="2200"/>
                    <a:pt x="7097" y="2200"/>
                    <a:pt x="7097" y="2200"/>
                  </a:cubicBezTo>
                  <a:cubicBezTo>
                    <a:pt x="7097" y="2209"/>
                    <a:pt x="7097" y="2209"/>
                    <a:pt x="7097" y="2209"/>
                  </a:cubicBezTo>
                  <a:cubicBezTo>
                    <a:pt x="7072" y="2207"/>
                    <a:pt x="7072" y="2207"/>
                    <a:pt x="7072" y="2207"/>
                  </a:cubicBezTo>
                  <a:cubicBezTo>
                    <a:pt x="7056" y="2195"/>
                    <a:pt x="7056" y="2195"/>
                    <a:pt x="7056" y="2195"/>
                  </a:cubicBezTo>
                  <a:cubicBezTo>
                    <a:pt x="7052" y="2214"/>
                    <a:pt x="7052" y="2214"/>
                    <a:pt x="7052" y="2214"/>
                  </a:cubicBezTo>
                  <a:cubicBezTo>
                    <a:pt x="7032" y="2209"/>
                    <a:pt x="7032" y="2209"/>
                    <a:pt x="7032" y="2209"/>
                  </a:cubicBezTo>
                  <a:cubicBezTo>
                    <a:pt x="7014" y="2224"/>
                    <a:pt x="7014" y="2224"/>
                    <a:pt x="7014" y="2224"/>
                  </a:cubicBezTo>
                  <a:cubicBezTo>
                    <a:pt x="7014" y="2224"/>
                    <a:pt x="6990" y="2212"/>
                    <a:pt x="6959" y="2213"/>
                  </a:cubicBezTo>
                  <a:cubicBezTo>
                    <a:pt x="6928" y="2214"/>
                    <a:pt x="6927" y="2221"/>
                    <a:pt x="6913" y="2222"/>
                  </a:cubicBezTo>
                  <a:cubicBezTo>
                    <a:pt x="6899" y="2223"/>
                    <a:pt x="6873" y="2222"/>
                    <a:pt x="6873" y="2222"/>
                  </a:cubicBezTo>
                  <a:cubicBezTo>
                    <a:pt x="6870" y="2229"/>
                    <a:pt x="6870" y="2229"/>
                    <a:pt x="6870" y="2229"/>
                  </a:cubicBezTo>
                  <a:cubicBezTo>
                    <a:pt x="6831" y="2228"/>
                    <a:pt x="6831" y="2228"/>
                    <a:pt x="6831" y="2228"/>
                  </a:cubicBezTo>
                  <a:cubicBezTo>
                    <a:pt x="6831" y="2228"/>
                    <a:pt x="6784" y="2238"/>
                    <a:pt x="6783" y="2246"/>
                  </a:cubicBezTo>
                  <a:cubicBezTo>
                    <a:pt x="6782" y="2254"/>
                    <a:pt x="6774" y="2267"/>
                    <a:pt x="6774" y="2267"/>
                  </a:cubicBezTo>
                  <a:cubicBezTo>
                    <a:pt x="6774" y="2267"/>
                    <a:pt x="6724" y="2269"/>
                    <a:pt x="6722" y="2278"/>
                  </a:cubicBezTo>
                  <a:cubicBezTo>
                    <a:pt x="6720" y="2287"/>
                    <a:pt x="6698" y="2308"/>
                    <a:pt x="6683" y="2308"/>
                  </a:cubicBezTo>
                  <a:cubicBezTo>
                    <a:pt x="6681" y="2308"/>
                    <a:pt x="6679" y="2308"/>
                    <a:pt x="6677" y="2307"/>
                  </a:cubicBezTo>
                  <a:cubicBezTo>
                    <a:pt x="6677" y="2307"/>
                    <a:pt x="6677" y="2307"/>
                    <a:pt x="6677" y="2307"/>
                  </a:cubicBezTo>
                  <a:cubicBezTo>
                    <a:pt x="6664" y="2304"/>
                    <a:pt x="6652" y="2294"/>
                    <a:pt x="6643" y="2294"/>
                  </a:cubicBezTo>
                  <a:cubicBezTo>
                    <a:pt x="6633" y="2294"/>
                    <a:pt x="6626" y="2302"/>
                    <a:pt x="6626" y="2302"/>
                  </a:cubicBezTo>
                  <a:cubicBezTo>
                    <a:pt x="6626" y="2302"/>
                    <a:pt x="6603" y="2297"/>
                    <a:pt x="6595" y="2297"/>
                  </a:cubicBezTo>
                  <a:cubicBezTo>
                    <a:pt x="6587" y="2297"/>
                    <a:pt x="6579" y="2306"/>
                    <a:pt x="6564" y="2301"/>
                  </a:cubicBezTo>
                  <a:cubicBezTo>
                    <a:pt x="6549" y="2296"/>
                    <a:pt x="6534" y="2272"/>
                    <a:pt x="6530" y="2270"/>
                  </a:cubicBezTo>
                  <a:cubicBezTo>
                    <a:pt x="6526" y="2268"/>
                    <a:pt x="6510" y="2268"/>
                    <a:pt x="6510" y="2268"/>
                  </a:cubicBezTo>
                  <a:cubicBezTo>
                    <a:pt x="6510" y="2268"/>
                    <a:pt x="6499" y="2303"/>
                    <a:pt x="6493" y="2316"/>
                  </a:cubicBezTo>
                  <a:cubicBezTo>
                    <a:pt x="6487" y="2329"/>
                    <a:pt x="6468" y="2366"/>
                    <a:pt x="6456" y="2375"/>
                  </a:cubicBezTo>
                  <a:cubicBezTo>
                    <a:pt x="6444" y="2384"/>
                    <a:pt x="6428" y="2380"/>
                    <a:pt x="6423" y="2384"/>
                  </a:cubicBezTo>
                  <a:cubicBezTo>
                    <a:pt x="6418" y="2388"/>
                    <a:pt x="6407" y="2399"/>
                    <a:pt x="6407" y="2399"/>
                  </a:cubicBezTo>
                  <a:cubicBezTo>
                    <a:pt x="6395" y="2396"/>
                    <a:pt x="6395" y="2396"/>
                    <a:pt x="6395" y="2396"/>
                  </a:cubicBezTo>
                  <a:cubicBezTo>
                    <a:pt x="6378" y="2405"/>
                    <a:pt x="6378" y="2405"/>
                    <a:pt x="6378" y="2405"/>
                  </a:cubicBezTo>
                  <a:cubicBezTo>
                    <a:pt x="6378" y="2405"/>
                    <a:pt x="6373" y="2418"/>
                    <a:pt x="6367" y="2426"/>
                  </a:cubicBezTo>
                  <a:cubicBezTo>
                    <a:pt x="6367" y="2426"/>
                    <a:pt x="6347" y="2438"/>
                    <a:pt x="6347" y="2442"/>
                  </a:cubicBezTo>
                  <a:cubicBezTo>
                    <a:pt x="6347" y="2446"/>
                    <a:pt x="6351" y="2460"/>
                    <a:pt x="6344" y="2467"/>
                  </a:cubicBezTo>
                  <a:cubicBezTo>
                    <a:pt x="6337" y="2474"/>
                    <a:pt x="6320" y="2498"/>
                    <a:pt x="6321" y="2512"/>
                  </a:cubicBezTo>
                  <a:cubicBezTo>
                    <a:pt x="6322" y="2526"/>
                    <a:pt x="6322" y="2537"/>
                    <a:pt x="6322" y="2537"/>
                  </a:cubicBezTo>
                  <a:cubicBezTo>
                    <a:pt x="6322" y="2537"/>
                    <a:pt x="6314" y="2541"/>
                    <a:pt x="6314" y="2544"/>
                  </a:cubicBezTo>
                  <a:cubicBezTo>
                    <a:pt x="6314" y="2547"/>
                    <a:pt x="6329" y="2545"/>
                    <a:pt x="6326" y="2560"/>
                  </a:cubicBezTo>
                  <a:cubicBezTo>
                    <a:pt x="6323" y="2575"/>
                    <a:pt x="6325" y="2584"/>
                    <a:pt x="6325" y="2584"/>
                  </a:cubicBezTo>
                  <a:cubicBezTo>
                    <a:pt x="6325" y="2584"/>
                    <a:pt x="6319" y="2578"/>
                    <a:pt x="6310" y="2589"/>
                  </a:cubicBezTo>
                  <a:cubicBezTo>
                    <a:pt x="6301" y="2600"/>
                    <a:pt x="6294" y="2616"/>
                    <a:pt x="6286" y="2627"/>
                  </a:cubicBezTo>
                  <a:cubicBezTo>
                    <a:pt x="6278" y="2638"/>
                    <a:pt x="6264" y="2634"/>
                    <a:pt x="6257" y="2644"/>
                  </a:cubicBezTo>
                  <a:cubicBezTo>
                    <a:pt x="6250" y="2654"/>
                    <a:pt x="6242" y="2666"/>
                    <a:pt x="6236" y="2672"/>
                  </a:cubicBezTo>
                  <a:cubicBezTo>
                    <a:pt x="6230" y="2678"/>
                    <a:pt x="6192" y="2688"/>
                    <a:pt x="6188" y="2689"/>
                  </a:cubicBezTo>
                  <a:cubicBezTo>
                    <a:pt x="6184" y="2690"/>
                    <a:pt x="6165" y="2691"/>
                    <a:pt x="6165" y="2691"/>
                  </a:cubicBezTo>
                  <a:cubicBezTo>
                    <a:pt x="6165" y="2691"/>
                    <a:pt x="6160" y="2697"/>
                    <a:pt x="6156" y="2706"/>
                  </a:cubicBezTo>
                  <a:cubicBezTo>
                    <a:pt x="6154" y="2709"/>
                    <a:pt x="6152" y="2714"/>
                    <a:pt x="6150" y="2718"/>
                  </a:cubicBezTo>
                  <a:cubicBezTo>
                    <a:pt x="6145" y="2731"/>
                    <a:pt x="6140" y="2753"/>
                    <a:pt x="6140" y="2753"/>
                  </a:cubicBezTo>
                  <a:cubicBezTo>
                    <a:pt x="6140" y="2753"/>
                    <a:pt x="6128" y="2763"/>
                    <a:pt x="6124" y="2767"/>
                  </a:cubicBezTo>
                  <a:cubicBezTo>
                    <a:pt x="6120" y="2771"/>
                    <a:pt x="6104" y="2772"/>
                    <a:pt x="6104" y="2772"/>
                  </a:cubicBezTo>
                  <a:cubicBezTo>
                    <a:pt x="6104" y="2772"/>
                    <a:pt x="6093" y="2769"/>
                    <a:pt x="6089" y="2778"/>
                  </a:cubicBezTo>
                  <a:cubicBezTo>
                    <a:pt x="6085" y="2787"/>
                    <a:pt x="6087" y="2803"/>
                    <a:pt x="6087" y="2803"/>
                  </a:cubicBezTo>
                  <a:cubicBezTo>
                    <a:pt x="6087" y="2803"/>
                    <a:pt x="6068" y="2822"/>
                    <a:pt x="6068" y="2828"/>
                  </a:cubicBezTo>
                  <a:cubicBezTo>
                    <a:pt x="6068" y="2834"/>
                    <a:pt x="6079" y="2851"/>
                    <a:pt x="6072" y="2864"/>
                  </a:cubicBezTo>
                  <a:cubicBezTo>
                    <a:pt x="6065" y="2877"/>
                    <a:pt x="6056" y="2877"/>
                    <a:pt x="6056" y="2877"/>
                  </a:cubicBezTo>
                  <a:cubicBezTo>
                    <a:pt x="6056" y="2877"/>
                    <a:pt x="6047" y="2891"/>
                    <a:pt x="6042" y="2896"/>
                  </a:cubicBezTo>
                  <a:cubicBezTo>
                    <a:pt x="6037" y="2901"/>
                    <a:pt x="6026" y="2903"/>
                    <a:pt x="6022" y="2907"/>
                  </a:cubicBezTo>
                  <a:cubicBezTo>
                    <a:pt x="6018" y="2911"/>
                    <a:pt x="6016" y="2918"/>
                    <a:pt x="6016" y="2918"/>
                  </a:cubicBezTo>
                  <a:cubicBezTo>
                    <a:pt x="6024" y="2922"/>
                    <a:pt x="6024" y="2922"/>
                    <a:pt x="6024" y="2922"/>
                  </a:cubicBezTo>
                  <a:cubicBezTo>
                    <a:pt x="6024" y="2922"/>
                    <a:pt x="6013" y="2933"/>
                    <a:pt x="6009" y="2943"/>
                  </a:cubicBezTo>
                  <a:cubicBezTo>
                    <a:pt x="6005" y="2953"/>
                    <a:pt x="6005" y="2965"/>
                    <a:pt x="6005" y="2965"/>
                  </a:cubicBezTo>
                  <a:cubicBezTo>
                    <a:pt x="5996" y="2965"/>
                    <a:pt x="5996" y="2965"/>
                    <a:pt x="5996" y="2965"/>
                  </a:cubicBezTo>
                  <a:cubicBezTo>
                    <a:pt x="5996" y="2965"/>
                    <a:pt x="6006" y="2977"/>
                    <a:pt x="5995" y="2987"/>
                  </a:cubicBezTo>
                  <a:cubicBezTo>
                    <a:pt x="5984" y="2997"/>
                    <a:pt x="5982" y="2992"/>
                    <a:pt x="5982" y="2992"/>
                  </a:cubicBezTo>
                  <a:cubicBezTo>
                    <a:pt x="5982" y="2992"/>
                    <a:pt x="5965" y="3010"/>
                    <a:pt x="5965" y="3024"/>
                  </a:cubicBezTo>
                  <a:cubicBezTo>
                    <a:pt x="5965" y="3031"/>
                    <a:pt x="5965" y="3041"/>
                    <a:pt x="5964" y="3049"/>
                  </a:cubicBezTo>
                  <a:cubicBezTo>
                    <a:pt x="5964" y="3049"/>
                    <a:pt x="5964" y="3049"/>
                    <a:pt x="5964" y="3049"/>
                  </a:cubicBezTo>
                  <a:cubicBezTo>
                    <a:pt x="5964" y="3056"/>
                    <a:pt x="5964" y="3062"/>
                    <a:pt x="5964" y="3062"/>
                  </a:cubicBezTo>
                  <a:cubicBezTo>
                    <a:pt x="5964" y="3062"/>
                    <a:pt x="5975" y="3061"/>
                    <a:pt x="5975" y="3066"/>
                  </a:cubicBezTo>
                  <a:cubicBezTo>
                    <a:pt x="5975" y="3071"/>
                    <a:pt x="5975" y="3084"/>
                    <a:pt x="5979" y="3087"/>
                  </a:cubicBezTo>
                  <a:cubicBezTo>
                    <a:pt x="5983" y="3090"/>
                    <a:pt x="5988" y="3079"/>
                    <a:pt x="5988" y="3079"/>
                  </a:cubicBezTo>
                  <a:cubicBezTo>
                    <a:pt x="5996" y="3102"/>
                    <a:pt x="5996" y="3102"/>
                    <a:pt x="5996" y="3102"/>
                  </a:cubicBezTo>
                  <a:cubicBezTo>
                    <a:pt x="5994" y="3133"/>
                    <a:pt x="5994" y="3133"/>
                    <a:pt x="5994" y="3133"/>
                  </a:cubicBezTo>
                  <a:cubicBezTo>
                    <a:pt x="5985" y="3133"/>
                    <a:pt x="5985" y="3133"/>
                    <a:pt x="5985" y="3133"/>
                  </a:cubicBezTo>
                  <a:cubicBezTo>
                    <a:pt x="5988" y="3147"/>
                    <a:pt x="5988" y="3147"/>
                    <a:pt x="5988" y="3147"/>
                  </a:cubicBezTo>
                  <a:cubicBezTo>
                    <a:pt x="5980" y="3153"/>
                    <a:pt x="5980" y="3153"/>
                    <a:pt x="5980" y="3153"/>
                  </a:cubicBezTo>
                  <a:cubicBezTo>
                    <a:pt x="5980" y="3153"/>
                    <a:pt x="6003" y="3182"/>
                    <a:pt x="6003" y="3200"/>
                  </a:cubicBezTo>
                  <a:cubicBezTo>
                    <a:pt x="6003" y="3218"/>
                    <a:pt x="5997" y="3239"/>
                    <a:pt x="5997" y="3239"/>
                  </a:cubicBezTo>
                  <a:cubicBezTo>
                    <a:pt x="5995" y="3268"/>
                    <a:pt x="5995" y="3268"/>
                    <a:pt x="5995" y="3268"/>
                  </a:cubicBezTo>
                  <a:cubicBezTo>
                    <a:pt x="5995" y="3268"/>
                    <a:pt x="5979" y="3285"/>
                    <a:pt x="5976" y="3300"/>
                  </a:cubicBezTo>
                  <a:cubicBezTo>
                    <a:pt x="5974" y="3309"/>
                    <a:pt x="5974" y="3324"/>
                    <a:pt x="5974" y="3335"/>
                  </a:cubicBezTo>
                  <a:cubicBezTo>
                    <a:pt x="5973" y="3342"/>
                    <a:pt x="5973" y="3348"/>
                    <a:pt x="5973" y="3349"/>
                  </a:cubicBezTo>
                  <a:cubicBezTo>
                    <a:pt x="5972" y="3352"/>
                    <a:pt x="5962" y="3359"/>
                    <a:pt x="5955" y="3372"/>
                  </a:cubicBezTo>
                  <a:cubicBezTo>
                    <a:pt x="5948" y="3385"/>
                    <a:pt x="5933" y="3398"/>
                    <a:pt x="5933" y="3398"/>
                  </a:cubicBezTo>
                  <a:cubicBezTo>
                    <a:pt x="5935" y="3405"/>
                    <a:pt x="5935" y="3405"/>
                    <a:pt x="5935" y="3405"/>
                  </a:cubicBezTo>
                  <a:cubicBezTo>
                    <a:pt x="5941" y="3404"/>
                    <a:pt x="5941" y="3404"/>
                    <a:pt x="5941" y="3404"/>
                  </a:cubicBezTo>
                  <a:cubicBezTo>
                    <a:pt x="5941" y="3404"/>
                    <a:pt x="5950" y="3413"/>
                    <a:pt x="5950" y="3420"/>
                  </a:cubicBezTo>
                  <a:cubicBezTo>
                    <a:pt x="5950" y="3427"/>
                    <a:pt x="5953" y="3433"/>
                    <a:pt x="5953" y="3433"/>
                  </a:cubicBezTo>
                  <a:cubicBezTo>
                    <a:pt x="5962" y="3441"/>
                    <a:pt x="5962" y="3441"/>
                    <a:pt x="5962" y="3441"/>
                  </a:cubicBezTo>
                  <a:cubicBezTo>
                    <a:pt x="5962" y="3441"/>
                    <a:pt x="5961" y="3442"/>
                    <a:pt x="5961" y="3449"/>
                  </a:cubicBezTo>
                  <a:cubicBezTo>
                    <a:pt x="5961" y="3454"/>
                    <a:pt x="5965" y="3458"/>
                    <a:pt x="5967" y="3461"/>
                  </a:cubicBezTo>
                  <a:cubicBezTo>
                    <a:pt x="5968" y="3462"/>
                    <a:pt x="5969" y="3463"/>
                    <a:pt x="5969" y="3463"/>
                  </a:cubicBezTo>
                  <a:cubicBezTo>
                    <a:pt x="5969" y="3463"/>
                    <a:pt x="5959" y="3478"/>
                    <a:pt x="5958" y="3485"/>
                  </a:cubicBezTo>
                  <a:cubicBezTo>
                    <a:pt x="5958" y="3486"/>
                    <a:pt x="5958" y="3486"/>
                    <a:pt x="5958" y="3487"/>
                  </a:cubicBezTo>
                  <a:cubicBezTo>
                    <a:pt x="5957" y="3494"/>
                    <a:pt x="5957" y="3504"/>
                    <a:pt x="5957" y="3504"/>
                  </a:cubicBezTo>
                  <a:cubicBezTo>
                    <a:pt x="5951" y="3507"/>
                    <a:pt x="5951" y="3507"/>
                    <a:pt x="5951" y="3507"/>
                  </a:cubicBezTo>
                  <a:cubicBezTo>
                    <a:pt x="5951" y="3507"/>
                    <a:pt x="5955" y="3528"/>
                    <a:pt x="5964" y="3533"/>
                  </a:cubicBezTo>
                  <a:cubicBezTo>
                    <a:pt x="5973" y="3538"/>
                    <a:pt x="5983" y="3533"/>
                    <a:pt x="5983" y="3533"/>
                  </a:cubicBezTo>
                  <a:cubicBezTo>
                    <a:pt x="5979" y="3556"/>
                    <a:pt x="5979" y="3556"/>
                    <a:pt x="5979" y="3556"/>
                  </a:cubicBezTo>
                  <a:cubicBezTo>
                    <a:pt x="5979" y="3556"/>
                    <a:pt x="5987" y="3564"/>
                    <a:pt x="5994" y="3558"/>
                  </a:cubicBezTo>
                  <a:cubicBezTo>
                    <a:pt x="6001" y="3552"/>
                    <a:pt x="6025" y="3553"/>
                    <a:pt x="6025" y="3553"/>
                  </a:cubicBezTo>
                  <a:cubicBezTo>
                    <a:pt x="6042" y="3547"/>
                    <a:pt x="6042" y="3547"/>
                    <a:pt x="6042" y="3547"/>
                  </a:cubicBezTo>
                  <a:cubicBezTo>
                    <a:pt x="6042" y="3562"/>
                    <a:pt x="6042" y="3562"/>
                    <a:pt x="6042" y="3562"/>
                  </a:cubicBezTo>
                  <a:cubicBezTo>
                    <a:pt x="6042" y="3562"/>
                    <a:pt x="6018" y="3550"/>
                    <a:pt x="6016" y="3560"/>
                  </a:cubicBezTo>
                  <a:cubicBezTo>
                    <a:pt x="6014" y="3570"/>
                    <a:pt x="6021" y="3576"/>
                    <a:pt x="6021" y="3576"/>
                  </a:cubicBezTo>
                  <a:cubicBezTo>
                    <a:pt x="6042" y="3571"/>
                    <a:pt x="6042" y="3571"/>
                    <a:pt x="6042" y="3571"/>
                  </a:cubicBezTo>
                  <a:cubicBezTo>
                    <a:pt x="6018" y="3583"/>
                    <a:pt x="6018" y="3583"/>
                    <a:pt x="6018" y="3583"/>
                  </a:cubicBezTo>
                  <a:cubicBezTo>
                    <a:pt x="6037" y="3611"/>
                    <a:pt x="6037" y="3611"/>
                    <a:pt x="6037" y="3611"/>
                  </a:cubicBezTo>
                  <a:cubicBezTo>
                    <a:pt x="6042" y="3596"/>
                    <a:pt x="6042" y="3596"/>
                    <a:pt x="6042" y="3596"/>
                  </a:cubicBezTo>
                  <a:cubicBezTo>
                    <a:pt x="6042" y="3596"/>
                    <a:pt x="6046" y="3610"/>
                    <a:pt x="6051" y="3612"/>
                  </a:cubicBezTo>
                  <a:cubicBezTo>
                    <a:pt x="6056" y="3614"/>
                    <a:pt x="6061" y="3613"/>
                    <a:pt x="6061" y="3613"/>
                  </a:cubicBezTo>
                  <a:cubicBezTo>
                    <a:pt x="6061" y="3613"/>
                    <a:pt x="6052" y="3637"/>
                    <a:pt x="6067" y="3644"/>
                  </a:cubicBezTo>
                  <a:cubicBezTo>
                    <a:pt x="6082" y="3651"/>
                    <a:pt x="6087" y="3648"/>
                    <a:pt x="6087" y="3648"/>
                  </a:cubicBezTo>
                  <a:cubicBezTo>
                    <a:pt x="6087" y="3648"/>
                    <a:pt x="6084" y="3660"/>
                    <a:pt x="6088" y="3664"/>
                  </a:cubicBezTo>
                  <a:cubicBezTo>
                    <a:pt x="6092" y="3668"/>
                    <a:pt x="6101" y="3659"/>
                    <a:pt x="6101" y="3659"/>
                  </a:cubicBezTo>
                  <a:cubicBezTo>
                    <a:pt x="6101" y="3659"/>
                    <a:pt x="6105" y="3679"/>
                    <a:pt x="6109" y="3686"/>
                  </a:cubicBezTo>
                  <a:cubicBezTo>
                    <a:pt x="6113" y="3693"/>
                    <a:pt x="6128" y="3704"/>
                    <a:pt x="6128" y="3704"/>
                  </a:cubicBezTo>
                  <a:cubicBezTo>
                    <a:pt x="6119" y="3709"/>
                    <a:pt x="6119" y="3709"/>
                    <a:pt x="6119" y="3709"/>
                  </a:cubicBezTo>
                  <a:cubicBezTo>
                    <a:pt x="6128" y="3716"/>
                    <a:pt x="6128" y="3716"/>
                    <a:pt x="6128" y="3716"/>
                  </a:cubicBezTo>
                  <a:cubicBezTo>
                    <a:pt x="6128" y="3716"/>
                    <a:pt x="6120" y="3725"/>
                    <a:pt x="6120" y="3734"/>
                  </a:cubicBezTo>
                  <a:cubicBezTo>
                    <a:pt x="6120" y="3743"/>
                    <a:pt x="6135" y="3753"/>
                    <a:pt x="6135" y="3753"/>
                  </a:cubicBezTo>
                  <a:cubicBezTo>
                    <a:pt x="6134" y="3771"/>
                    <a:pt x="6134" y="3771"/>
                    <a:pt x="6134" y="3771"/>
                  </a:cubicBezTo>
                  <a:cubicBezTo>
                    <a:pt x="6148" y="3782"/>
                    <a:pt x="6148" y="3782"/>
                    <a:pt x="6148" y="3782"/>
                  </a:cubicBezTo>
                  <a:cubicBezTo>
                    <a:pt x="6148" y="3782"/>
                    <a:pt x="6147" y="3789"/>
                    <a:pt x="6156" y="3798"/>
                  </a:cubicBezTo>
                  <a:cubicBezTo>
                    <a:pt x="6165" y="3807"/>
                    <a:pt x="6184" y="3807"/>
                    <a:pt x="6184" y="3807"/>
                  </a:cubicBezTo>
                  <a:cubicBezTo>
                    <a:pt x="6204" y="3829"/>
                    <a:pt x="6204" y="3829"/>
                    <a:pt x="6204" y="3829"/>
                  </a:cubicBezTo>
                  <a:cubicBezTo>
                    <a:pt x="6190" y="3813"/>
                    <a:pt x="6190" y="3813"/>
                    <a:pt x="6190" y="3813"/>
                  </a:cubicBezTo>
                  <a:cubicBezTo>
                    <a:pt x="6213" y="3839"/>
                    <a:pt x="6213" y="3839"/>
                    <a:pt x="6213" y="3839"/>
                  </a:cubicBezTo>
                  <a:cubicBezTo>
                    <a:pt x="6230" y="3841"/>
                    <a:pt x="6230" y="3841"/>
                    <a:pt x="6230" y="3841"/>
                  </a:cubicBezTo>
                  <a:cubicBezTo>
                    <a:pt x="6238" y="3859"/>
                    <a:pt x="6238" y="3859"/>
                    <a:pt x="6238" y="3859"/>
                  </a:cubicBezTo>
                  <a:cubicBezTo>
                    <a:pt x="6238" y="3859"/>
                    <a:pt x="6256" y="3855"/>
                    <a:pt x="6260" y="3863"/>
                  </a:cubicBezTo>
                  <a:cubicBezTo>
                    <a:pt x="6264" y="3871"/>
                    <a:pt x="6279" y="3897"/>
                    <a:pt x="6295" y="3911"/>
                  </a:cubicBezTo>
                  <a:cubicBezTo>
                    <a:pt x="6311" y="3925"/>
                    <a:pt x="6339" y="3932"/>
                    <a:pt x="6346" y="3937"/>
                  </a:cubicBezTo>
                  <a:cubicBezTo>
                    <a:pt x="6353" y="3942"/>
                    <a:pt x="6370" y="3960"/>
                    <a:pt x="6385" y="3960"/>
                  </a:cubicBezTo>
                  <a:cubicBezTo>
                    <a:pt x="6386" y="3960"/>
                    <a:pt x="6387" y="3960"/>
                    <a:pt x="6388" y="3960"/>
                  </a:cubicBezTo>
                  <a:cubicBezTo>
                    <a:pt x="6400" y="3958"/>
                    <a:pt x="6403" y="3948"/>
                    <a:pt x="6403" y="3948"/>
                  </a:cubicBezTo>
                  <a:cubicBezTo>
                    <a:pt x="6412" y="3948"/>
                    <a:pt x="6412" y="3948"/>
                    <a:pt x="6412" y="3948"/>
                  </a:cubicBezTo>
                  <a:cubicBezTo>
                    <a:pt x="6422" y="3940"/>
                    <a:pt x="6422" y="3940"/>
                    <a:pt x="6422" y="3940"/>
                  </a:cubicBezTo>
                  <a:cubicBezTo>
                    <a:pt x="6422" y="3940"/>
                    <a:pt x="6468" y="3915"/>
                    <a:pt x="6488" y="3917"/>
                  </a:cubicBezTo>
                  <a:cubicBezTo>
                    <a:pt x="6508" y="3919"/>
                    <a:pt x="6515" y="3913"/>
                    <a:pt x="6515" y="3913"/>
                  </a:cubicBezTo>
                  <a:cubicBezTo>
                    <a:pt x="6515" y="3913"/>
                    <a:pt x="6546" y="3902"/>
                    <a:pt x="6555" y="3907"/>
                  </a:cubicBezTo>
                  <a:cubicBezTo>
                    <a:pt x="6564" y="3912"/>
                    <a:pt x="6566" y="3917"/>
                    <a:pt x="6573" y="3916"/>
                  </a:cubicBezTo>
                  <a:cubicBezTo>
                    <a:pt x="6580" y="3915"/>
                    <a:pt x="6593" y="3906"/>
                    <a:pt x="6593" y="3906"/>
                  </a:cubicBezTo>
                  <a:cubicBezTo>
                    <a:pt x="6593" y="3906"/>
                    <a:pt x="6594" y="3916"/>
                    <a:pt x="6610" y="3923"/>
                  </a:cubicBezTo>
                  <a:cubicBezTo>
                    <a:pt x="6614" y="3925"/>
                    <a:pt x="6618" y="3926"/>
                    <a:pt x="6622" y="3927"/>
                  </a:cubicBezTo>
                  <a:cubicBezTo>
                    <a:pt x="6631" y="3929"/>
                    <a:pt x="6637" y="3929"/>
                    <a:pt x="6637" y="3929"/>
                  </a:cubicBezTo>
                  <a:cubicBezTo>
                    <a:pt x="6637" y="3929"/>
                    <a:pt x="6641" y="3944"/>
                    <a:pt x="6651" y="3940"/>
                  </a:cubicBezTo>
                  <a:cubicBezTo>
                    <a:pt x="6661" y="3936"/>
                    <a:pt x="6682" y="3918"/>
                    <a:pt x="6689" y="3916"/>
                  </a:cubicBezTo>
                  <a:cubicBezTo>
                    <a:pt x="6696" y="3914"/>
                    <a:pt x="6707" y="3916"/>
                    <a:pt x="6707" y="3916"/>
                  </a:cubicBezTo>
                  <a:cubicBezTo>
                    <a:pt x="6707" y="3916"/>
                    <a:pt x="6728" y="3898"/>
                    <a:pt x="6731" y="3897"/>
                  </a:cubicBezTo>
                  <a:cubicBezTo>
                    <a:pt x="6734" y="3896"/>
                    <a:pt x="6749" y="3893"/>
                    <a:pt x="6749" y="3893"/>
                  </a:cubicBezTo>
                  <a:cubicBezTo>
                    <a:pt x="6749" y="3893"/>
                    <a:pt x="6755" y="3877"/>
                    <a:pt x="6763" y="3878"/>
                  </a:cubicBezTo>
                  <a:cubicBezTo>
                    <a:pt x="6771" y="3879"/>
                    <a:pt x="6777" y="3887"/>
                    <a:pt x="6786" y="3882"/>
                  </a:cubicBezTo>
                  <a:cubicBezTo>
                    <a:pt x="6791" y="3879"/>
                    <a:pt x="6797" y="3873"/>
                    <a:pt x="6803" y="3868"/>
                  </a:cubicBezTo>
                  <a:cubicBezTo>
                    <a:pt x="6808" y="3862"/>
                    <a:pt x="6814" y="3858"/>
                    <a:pt x="6820" y="3857"/>
                  </a:cubicBezTo>
                  <a:cubicBezTo>
                    <a:pt x="6824" y="3856"/>
                    <a:pt x="6828" y="3856"/>
                    <a:pt x="6833" y="3856"/>
                  </a:cubicBezTo>
                  <a:cubicBezTo>
                    <a:pt x="6833" y="3856"/>
                    <a:pt x="6833" y="3856"/>
                    <a:pt x="6833" y="3856"/>
                  </a:cubicBezTo>
                  <a:cubicBezTo>
                    <a:pt x="6844" y="3857"/>
                    <a:pt x="6856" y="3859"/>
                    <a:pt x="6856" y="3859"/>
                  </a:cubicBezTo>
                  <a:cubicBezTo>
                    <a:pt x="6864" y="3845"/>
                    <a:pt x="6864" y="3845"/>
                    <a:pt x="6864" y="3845"/>
                  </a:cubicBezTo>
                  <a:cubicBezTo>
                    <a:pt x="6864" y="3845"/>
                    <a:pt x="6868" y="3847"/>
                    <a:pt x="6874" y="3850"/>
                  </a:cubicBezTo>
                  <a:cubicBezTo>
                    <a:pt x="6881" y="3853"/>
                    <a:pt x="6891" y="3856"/>
                    <a:pt x="6897" y="3854"/>
                  </a:cubicBezTo>
                  <a:cubicBezTo>
                    <a:pt x="6908" y="3850"/>
                    <a:pt x="6918" y="3842"/>
                    <a:pt x="6918" y="3842"/>
                  </a:cubicBezTo>
                  <a:cubicBezTo>
                    <a:pt x="6921" y="3849"/>
                    <a:pt x="6921" y="3849"/>
                    <a:pt x="6921" y="3849"/>
                  </a:cubicBezTo>
                  <a:cubicBezTo>
                    <a:pt x="6921" y="3849"/>
                    <a:pt x="6954" y="3842"/>
                    <a:pt x="6970" y="3861"/>
                  </a:cubicBezTo>
                  <a:cubicBezTo>
                    <a:pt x="6986" y="3880"/>
                    <a:pt x="6987" y="3889"/>
                    <a:pt x="6987" y="3889"/>
                  </a:cubicBezTo>
                  <a:cubicBezTo>
                    <a:pt x="7001" y="3888"/>
                    <a:pt x="7001" y="3888"/>
                    <a:pt x="7001" y="3888"/>
                  </a:cubicBezTo>
                  <a:cubicBezTo>
                    <a:pt x="7001" y="3888"/>
                    <a:pt x="6991" y="3903"/>
                    <a:pt x="6994" y="3904"/>
                  </a:cubicBezTo>
                  <a:cubicBezTo>
                    <a:pt x="6997" y="3905"/>
                    <a:pt x="7007" y="3898"/>
                    <a:pt x="7007" y="3901"/>
                  </a:cubicBezTo>
                  <a:cubicBezTo>
                    <a:pt x="7007" y="3904"/>
                    <a:pt x="7002" y="3912"/>
                    <a:pt x="7002" y="3920"/>
                  </a:cubicBezTo>
                  <a:cubicBezTo>
                    <a:pt x="7002" y="3928"/>
                    <a:pt x="7010" y="3957"/>
                    <a:pt x="7031" y="3958"/>
                  </a:cubicBezTo>
                  <a:cubicBezTo>
                    <a:pt x="7052" y="3959"/>
                    <a:pt x="7065" y="3957"/>
                    <a:pt x="7065" y="3957"/>
                  </a:cubicBezTo>
                  <a:cubicBezTo>
                    <a:pt x="7068" y="3939"/>
                    <a:pt x="7068" y="3939"/>
                    <a:pt x="7068" y="3939"/>
                  </a:cubicBezTo>
                  <a:cubicBezTo>
                    <a:pt x="7086" y="3949"/>
                    <a:pt x="7086" y="3949"/>
                    <a:pt x="7086" y="3949"/>
                  </a:cubicBezTo>
                  <a:cubicBezTo>
                    <a:pt x="7102" y="3944"/>
                    <a:pt x="7102" y="3944"/>
                    <a:pt x="7102" y="3944"/>
                  </a:cubicBezTo>
                  <a:cubicBezTo>
                    <a:pt x="7111" y="3953"/>
                    <a:pt x="7111" y="3953"/>
                    <a:pt x="7111" y="3953"/>
                  </a:cubicBezTo>
                  <a:cubicBezTo>
                    <a:pt x="7139" y="3952"/>
                    <a:pt x="7139" y="3952"/>
                    <a:pt x="7139" y="3952"/>
                  </a:cubicBezTo>
                  <a:cubicBezTo>
                    <a:pt x="7139" y="3936"/>
                    <a:pt x="7139" y="3936"/>
                    <a:pt x="7139" y="3936"/>
                  </a:cubicBezTo>
                  <a:cubicBezTo>
                    <a:pt x="7156" y="3935"/>
                    <a:pt x="7156" y="3935"/>
                    <a:pt x="7156" y="3935"/>
                  </a:cubicBezTo>
                  <a:cubicBezTo>
                    <a:pt x="7155" y="3938"/>
                    <a:pt x="7155" y="3938"/>
                    <a:pt x="7155" y="3938"/>
                  </a:cubicBezTo>
                  <a:cubicBezTo>
                    <a:pt x="7151" y="3947"/>
                    <a:pt x="7151" y="3947"/>
                    <a:pt x="7151" y="3947"/>
                  </a:cubicBezTo>
                  <a:cubicBezTo>
                    <a:pt x="7169" y="3944"/>
                    <a:pt x="7169" y="3944"/>
                    <a:pt x="7169" y="3944"/>
                  </a:cubicBezTo>
                  <a:cubicBezTo>
                    <a:pt x="7169" y="3944"/>
                    <a:pt x="7168" y="3966"/>
                    <a:pt x="7178" y="3975"/>
                  </a:cubicBezTo>
                  <a:cubicBezTo>
                    <a:pt x="7188" y="3984"/>
                    <a:pt x="7195" y="3986"/>
                    <a:pt x="7195" y="3986"/>
                  </a:cubicBezTo>
                  <a:cubicBezTo>
                    <a:pt x="7209" y="3973"/>
                    <a:pt x="7209" y="3973"/>
                    <a:pt x="7209" y="3973"/>
                  </a:cubicBezTo>
                  <a:cubicBezTo>
                    <a:pt x="7196" y="3993"/>
                    <a:pt x="7196" y="3993"/>
                    <a:pt x="7196" y="3993"/>
                  </a:cubicBezTo>
                  <a:cubicBezTo>
                    <a:pt x="7208" y="4011"/>
                    <a:pt x="7208" y="4011"/>
                    <a:pt x="7208" y="4011"/>
                  </a:cubicBezTo>
                  <a:cubicBezTo>
                    <a:pt x="7221" y="4016"/>
                    <a:pt x="7221" y="4016"/>
                    <a:pt x="7221" y="4016"/>
                  </a:cubicBezTo>
                  <a:cubicBezTo>
                    <a:pt x="7219" y="4046"/>
                    <a:pt x="7219" y="4046"/>
                    <a:pt x="7219" y="4046"/>
                  </a:cubicBezTo>
                  <a:cubicBezTo>
                    <a:pt x="7212" y="4048"/>
                    <a:pt x="7212" y="4048"/>
                    <a:pt x="7212" y="4048"/>
                  </a:cubicBezTo>
                  <a:cubicBezTo>
                    <a:pt x="7213" y="4069"/>
                    <a:pt x="7213" y="4069"/>
                    <a:pt x="7213" y="4069"/>
                  </a:cubicBezTo>
                  <a:cubicBezTo>
                    <a:pt x="7207" y="4072"/>
                    <a:pt x="7207" y="4072"/>
                    <a:pt x="7207" y="4072"/>
                  </a:cubicBezTo>
                  <a:cubicBezTo>
                    <a:pt x="7207" y="4072"/>
                    <a:pt x="7211" y="4090"/>
                    <a:pt x="7206" y="4098"/>
                  </a:cubicBezTo>
                  <a:cubicBezTo>
                    <a:pt x="7201" y="4106"/>
                    <a:pt x="7183" y="4119"/>
                    <a:pt x="7187" y="4126"/>
                  </a:cubicBezTo>
                  <a:cubicBezTo>
                    <a:pt x="7190" y="4132"/>
                    <a:pt x="7200" y="4135"/>
                    <a:pt x="7204" y="4136"/>
                  </a:cubicBezTo>
                  <a:cubicBezTo>
                    <a:pt x="7212" y="4134"/>
                    <a:pt x="7212" y="4134"/>
                    <a:pt x="7212" y="4134"/>
                  </a:cubicBezTo>
                  <a:cubicBezTo>
                    <a:pt x="7204" y="4136"/>
                    <a:pt x="7204" y="4136"/>
                    <a:pt x="7204" y="4136"/>
                  </a:cubicBezTo>
                  <a:cubicBezTo>
                    <a:pt x="7205" y="4137"/>
                    <a:pt x="7206" y="4137"/>
                    <a:pt x="7206" y="4137"/>
                  </a:cubicBezTo>
                  <a:cubicBezTo>
                    <a:pt x="7198" y="4142"/>
                    <a:pt x="7198" y="4142"/>
                    <a:pt x="7198" y="4142"/>
                  </a:cubicBezTo>
                  <a:cubicBezTo>
                    <a:pt x="7198" y="4142"/>
                    <a:pt x="7207" y="4170"/>
                    <a:pt x="7203" y="4172"/>
                  </a:cubicBezTo>
                  <a:cubicBezTo>
                    <a:pt x="7199" y="4174"/>
                    <a:pt x="7188" y="4172"/>
                    <a:pt x="7188" y="4172"/>
                  </a:cubicBezTo>
                  <a:cubicBezTo>
                    <a:pt x="7188" y="4172"/>
                    <a:pt x="7191" y="4213"/>
                    <a:pt x="7181" y="4224"/>
                  </a:cubicBezTo>
                  <a:cubicBezTo>
                    <a:pt x="7171" y="4235"/>
                    <a:pt x="7158" y="4231"/>
                    <a:pt x="7158" y="4231"/>
                  </a:cubicBezTo>
                  <a:cubicBezTo>
                    <a:pt x="7175" y="4268"/>
                    <a:pt x="7175" y="4268"/>
                    <a:pt x="7175" y="4268"/>
                  </a:cubicBezTo>
                  <a:cubicBezTo>
                    <a:pt x="7186" y="4260"/>
                    <a:pt x="7186" y="4260"/>
                    <a:pt x="7186" y="4260"/>
                  </a:cubicBezTo>
                  <a:cubicBezTo>
                    <a:pt x="7192" y="4273"/>
                    <a:pt x="7192" y="4273"/>
                    <a:pt x="7192" y="4273"/>
                  </a:cubicBezTo>
                  <a:cubicBezTo>
                    <a:pt x="7192" y="4273"/>
                    <a:pt x="7183" y="4286"/>
                    <a:pt x="7185" y="4293"/>
                  </a:cubicBezTo>
                  <a:cubicBezTo>
                    <a:pt x="7187" y="4300"/>
                    <a:pt x="7200" y="4297"/>
                    <a:pt x="7200" y="4297"/>
                  </a:cubicBezTo>
                  <a:cubicBezTo>
                    <a:pt x="7204" y="4324"/>
                    <a:pt x="7204" y="4324"/>
                    <a:pt x="7204" y="4324"/>
                  </a:cubicBezTo>
                  <a:cubicBezTo>
                    <a:pt x="7224" y="4328"/>
                    <a:pt x="7224" y="4328"/>
                    <a:pt x="7224" y="4328"/>
                  </a:cubicBezTo>
                  <a:cubicBezTo>
                    <a:pt x="7219" y="4336"/>
                    <a:pt x="7219" y="4336"/>
                    <a:pt x="7219" y="4336"/>
                  </a:cubicBezTo>
                  <a:cubicBezTo>
                    <a:pt x="7252" y="4371"/>
                    <a:pt x="7252" y="4371"/>
                    <a:pt x="7252" y="4371"/>
                  </a:cubicBezTo>
                  <a:cubicBezTo>
                    <a:pt x="7249" y="4376"/>
                    <a:pt x="7249" y="4376"/>
                    <a:pt x="7249" y="4376"/>
                  </a:cubicBezTo>
                  <a:cubicBezTo>
                    <a:pt x="7271" y="4403"/>
                    <a:pt x="7271" y="4403"/>
                    <a:pt x="7271" y="4403"/>
                  </a:cubicBezTo>
                  <a:cubicBezTo>
                    <a:pt x="7272" y="4404"/>
                    <a:pt x="7272" y="4404"/>
                    <a:pt x="7272" y="4404"/>
                  </a:cubicBezTo>
                  <a:cubicBezTo>
                    <a:pt x="7308" y="4435"/>
                    <a:pt x="7308" y="4435"/>
                    <a:pt x="7308" y="4435"/>
                  </a:cubicBezTo>
                  <a:cubicBezTo>
                    <a:pt x="7309" y="4447"/>
                    <a:pt x="7309" y="4447"/>
                    <a:pt x="7309" y="4447"/>
                  </a:cubicBezTo>
                  <a:cubicBezTo>
                    <a:pt x="7321" y="4463"/>
                    <a:pt x="7321" y="4463"/>
                    <a:pt x="7321" y="4463"/>
                  </a:cubicBezTo>
                  <a:cubicBezTo>
                    <a:pt x="7325" y="4501"/>
                    <a:pt x="7325" y="4501"/>
                    <a:pt x="7325" y="4501"/>
                  </a:cubicBezTo>
                  <a:cubicBezTo>
                    <a:pt x="7325" y="4501"/>
                    <a:pt x="7326" y="4502"/>
                    <a:pt x="7327" y="4503"/>
                  </a:cubicBezTo>
                  <a:cubicBezTo>
                    <a:pt x="7331" y="4501"/>
                    <a:pt x="7334" y="4499"/>
                    <a:pt x="7337" y="4497"/>
                  </a:cubicBezTo>
                  <a:cubicBezTo>
                    <a:pt x="7334" y="4499"/>
                    <a:pt x="7331" y="4501"/>
                    <a:pt x="7327" y="4503"/>
                  </a:cubicBezTo>
                  <a:cubicBezTo>
                    <a:pt x="7331" y="4506"/>
                    <a:pt x="7338" y="4513"/>
                    <a:pt x="7339" y="4518"/>
                  </a:cubicBezTo>
                  <a:cubicBezTo>
                    <a:pt x="7339" y="4519"/>
                    <a:pt x="7339" y="4520"/>
                    <a:pt x="7338" y="4521"/>
                  </a:cubicBezTo>
                  <a:cubicBezTo>
                    <a:pt x="7332" y="4525"/>
                    <a:pt x="7327" y="4526"/>
                    <a:pt x="7327" y="4526"/>
                  </a:cubicBezTo>
                  <a:cubicBezTo>
                    <a:pt x="7327" y="4526"/>
                    <a:pt x="7340" y="4545"/>
                    <a:pt x="7343" y="4552"/>
                  </a:cubicBezTo>
                  <a:cubicBezTo>
                    <a:pt x="7346" y="4559"/>
                    <a:pt x="7355" y="4562"/>
                    <a:pt x="7355" y="4562"/>
                  </a:cubicBezTo>
                  <a:cubicBezTo>
                    <a:pt x="7351" y="4581"/>
                    <a:pt x="7351" y="4581"/>
                    <a:pt x="7351" y="4581"/>
                  </a:cubicBezTo>
                  <a:cubicBezTo>
                    <a:pt x="7351" y="4581"/>
                    <a:pt x="7383" y="4618"/>
                    <a:pt x="7380" y="4645"/>
                  </a:cubicBezTo>
                  <a:cubicBezTo>
                    <a:pt x="7377" y="4672"/>
                    <a:pt x="7364" y="4678"/>
                    <a:pt x="7364" y="4678"/>
                  </a:cubicBezTo>
                  <a:cubicBezTo>
                    <a:pt x="7363" y="4695"/>
                    <a:pt x="7363" y="4695"/>
                    <a:pt x="7363" y="4695"/>
                  </a:cubicBezTo>
                  <a:cubicBezTo>
                    <a:pt x="7370" y="4694"/>
                    <a:pt x="7370" y="4694"/>
                    <a:pt x="7370" y="4694"/>
                  </a:cubicBezTo>
                  <a:cubicBezTo>
                    <a:pt x="7370" y="4694"/>
                    <a:pt x="7366" y="4717"/>
                    <a:pt x="7380" y="4738"/>
                  </a:cubicBezTo>
                  <a:cubicBezTo>
                    <a:pt x="7394" y="4759"/>
                    <a:pt x="7406" y="4797"/>
                    <a:pt x="7403" y="4812"/>
                  </a:cubicBezTo>
                  <a:cubicBezTo>
                    <a:pt x="7400" y="4827"/>
                    <a:pt x="7389" y="4844"/>
                    <a:pt x="7389" y="4844"/>
                  </a:cubicBezTo>
                  <a:cubicBezTo>
                    <a:pt x="7389" y="4844"/>
                    <a:pt x="7396" y="4860"/>
                    <a:pt x="7388" y="4866"/>
                  </a:cubicBezTo>
                  <a:cubicBezTo>
                    <a:pt x="7380" y="4872"/>
                    <a:pt x="7367" y="4870"/>
                    <a:pt x="7367" y="4870"/>
                  </a:cubicBezTo>
                  <a:cubicBezTo>
                    <a:pt x="7361" y="4884"/>
                    <a:pt x="7361" y="4884"/>
                    <a:pt x="7361" y="4884"/>
                  </a:cubicBezTo>
                  <a:cubicBezTo>
                    <a:pt x="7363" y="4899"/>
                    <a:pt x="7363" y="4899"/>
                    <a:pt x="7363" y="4899"/>
                  </a:cubicBezTo>
                  <a:cubicBezTo>
                    <a:pt x="7363" y="4899"/>
                    <a:pt x="7338" y="4896"/>
                    <a:pt x="7339" y="4908"/>
                  </a:cubicBezTo>
                  <a:cubicBezTo>
                    <a:pt x="7340" y="4920"/>
                    <a:pt x="7336" y="4938"/>
                    <a:pt x="7336" y="4938"/>
                  </a:cubicBezTo>
                  <a:cubicBezTo>
                    <a:pt x="7329" y="4948"/>
                    <a:pt x="7329" y="4948"/>
                    <a:pt x="7329" y="4948"/>
                  </a:cubicBezTo>
                  <a:cubicBezTo>
                    <a:pt x="7329" y="4948"/>
                    <a:pt x="7333" y="4980"/>
                    <a:pt x="7330" y="4990"/>
                  </a:cubicBezTo>
                  <a:cubicBezTo>
                    <a:pt x="7327" y="5000"/>
                    <a:pt x="7316" y="5003"/>
                    <a:pt x="7316" y="5003"/>
                  </a:cubicBezTo>
                  <a:cubicBezTo>
                    <a:pt x="7316" y="5030"/>
                    <a:pt x="7316" y="5030"/>
                    <a:pt x="7316" y="5030"/>
                  </a:cubicBezTo>
                  <a:cubicBezTo>
                    <a:pt x="7301" y="5042"/>
                    <a:pt x="7301" y="5042"/>
                    <a:pt x="7301" y="5042"/>
                  </a:cubicBezTo>
                  <a:cubicBezTo>
                    <a:pt x="7301" y="5069"/>
                    <a:pt x="7301" y="5069"/>
                    <a:pt x="7301" y="5069"/>
                  </a:cubicBezTo>
                  <a:cubicBezTo>
                    <a:pt x="7308" y="5078"/>
                    <a:pt x="7308" y="5078"/>
                    <a:pt x="7308" y="5078"/>
                  </a:cubicBezTo>
                  <a:cubicBezTo>
                    <a:pt x="7295" y="5093"/>
                    <a:pt x="7295" y="5093"/>
                    <a:pt x="7295" y="5093"/>
                  </a:cubicBezTo>
                  <a:cubicBezTo>
                    <a:pt x="7298" y="5120"/>
                    <a:pt x="7298" y="5120"/>
                    <a:pt x="7298" y="5120"/>
                  </a:cubicBezTo>
                  <a:cubicBezTo>
                    <a:pt x="7302" y="5166"/>
                    <a:pt x="7302" y="5166"/>
                    <a:pt x="7302" y="5166"/>
                  </a:cubicBezTo>
                  <a:cubicBezTo>
                    <a:pt x="7302" y="5166"/>
                    <a:pt x="7311" y="5183"/>
                    <a:pt x="7320" y="5196"/>
                  </a:cubicBezTo>
                  <a:cubicBezTo>
                    <a:pt x="7329" y="5209"/>
                    <a:pt x="7362" y="5257"/>
                    <a:pt x="7363" y="5274"/>
                  </a:cubicBezTo>
                  <a:cubicBezTo>
                    <a:pt x="7364" y="5291"/>
                    <a:pt x="7377" y="5308"/>
                    <a:pt x="7381" y="5321"/>
                  </a:cubicBezTo>
                  <a:cubicBezTo>
                    <a:pt x="7385" y="5334"/>
                    <a:pt x="7400" y="5349"/>
                    <a:pt x="7400" y="5349"/>
                  </a:cubicBezTo>
                  <a:cubicBezTo>
                    <a:pt x="7400" y="5363"/>
                    <a:pt x="7400" y="5363"/>
                    <a:pt x="7400" y="5363"/>
                  </a:cubicBezTo>
                  <a:cubicBezTo>
                    <a:pt x="7400" y="5363"/>
                    <a:pt x="7429" y="5384"/>
                    <a:pt x="7429" y="5400"/>
                  </a:cubicBezTo>
                  <a:cubicBezTo>
                    <a:pt x="7429" y="5416"/>
                    <a:pt x="7427" y="5490"/>
                    <a:pt x="7427" y="5490"/>
                  </a:cubicBezTo>
                  <a:cubicBezTo>
                    <a:pt x="7427" y="5490"/>
                    <a:pt x="7442" y="5515"/>
                    <a:pt x="7444" y="5535"/>
                  </a:cubicBezTo>
                  <a:cubicBezTo>
                    <a:pt x="7446" y="5555"/>
                    <a:pt x="7438" y="5555"/>
                    <a:pt x="7438" y="5555"/>
                  </a:cubicBezTo>
                  <a:cubicBezTo>
                    <a:pt x="7447" y="5588"/>
                    <a:pt x="7447" y="5588"/>
                    <a:pt x="7447" y="5588"/>
                  </a:cubicBezTo>
                  <a:cubicBezTo>
                    <a:pt x="7449" y="5612"/>
                    <a:pt x="7449" y="5612"/>
                    <a:pt x="7449" y="5612"/>
                  </a:cubicBezTo>
                  <a:cubicBezTo>
                    <a:pt x="7457" y="5612"/>
                    <a:pt x="7457" y="5612"/>
                    <a:pt x="7457" y="5612"/>
                  </a:cubicBezTo>
                  <a:cubicBezTo>
                    <a:pt x="7457" y="5612"/>
                    <a:pt x="7454" y="5632"/>
                    <a:pt x="7455" y="5636"/>
                  </a:cubicBezTo>
                  <a:cubicBezTo>
                    <a:pt x="7456" y="5640"/>
                    <a:pt x="7466" y="5648"/>
                    <a:pt x="7466" y="5648"/>
                  </a:cubicBezTo>
                  <a:cubicBezTo>
                    <a:pt x="7467" y="5667"/>
                    <a:pt x="7467" y="5667"/>
                    <a:pt x="7467" y="5667"/>
                  </a:cubicBezTo>
                  <a:cubicBezTo>
                    <a:pt x="7467" y="5667"/>
                    <a:pt x="7482" y="5699"/>
                    <a:pt x="7488" y="5710"/>
                  </a:cubicBezTo>
                  <a:cubicBezTo>
                    <a:pt x="7494" y="5721"/>
                    <a:pt x="7514" y="5728"/>
                    <a:pt x="7514" y="5728"/>
                  </a:cubicBezTo>
                  <a:cubicBezTo>
                    <a:pt x="7514" y="5728"/>
                    <a:pt x="7521" y="5751"/>
                    <a:pt x="7525" y="5755"/>
                  </a:cubicBezTo>
                  <a:cubicBezTo>
                    <a:pt x="7529" y="5759"/>
                    <a:pt x="7545" y="5777"/>
                    <a:pt x="7545" y="5790"/>
                  </a:cubicBezTo>
                  <a:cubicBezTo>
                    <a:pt x="7545" y="5803"/>
                    <a:pt x="7542" y="5829"/>
                    <a:pt x="7552" y="5844"/>
                  </a:cubicBezTo>
                  <a:cubicBezTo>
                    <a:pt x="7562" y="5859"/>
                    <a:pt x="7597" y="5892"/>
                    <a:pt x="7597" y="5906"/>
                  </a:cubicBezTo>
                  <a:cubicBezTo>
                    <a:pt x="7597" y="5920"/>
                    <a:pt x="7596" y="5947"/>
                    <a:pt x="7592" y="5951"/>
                  </a:cubicBezTo>
                  <a:cubicBezTo>
                    <a:pt x="7588" y="5955"/>
                    <a:pt x="7576" y="5947"/>
                    <a:pt x="7575" y="5955"/>
                  </a:cubicBezTo>
                  <a:cubicBezTo>
                    <a:pt x="7574" y="5963"/>
                    <a:pt x="7577" y="5971"/>
                    <a:pt x="7587" y="5988"/>
                  </a:cubicBezTo>
                  <a:cubicBezTo>
                    <a:pt x="7597" y="6005"/>
                    <a:pt x="7589" y="6024"/>
                    <a:pt x="7595" y="6032"/>
                  </a:cubicBezTo>
                  <a:cubicBezTo>
                    <a:pt x="7601" y="6040"/>
                    <a:pt x="7598" y="6029"/>
                    <a:pt x="7604" y="6026"/>
                  </a:cubicBezTo>
                  <a:cubicBezTo>
                    <a:pt x="7610" y="6023"/>
                    <a:pt x="7617" y="6033"/>
                    <a:pt x="7617" y="6033"/>
                  </a:cubicBezTo>
                  <a:cubicBezTo>
                    <a:pt x="7635" y="6039"/>
                    <a:pt x="7635" y="6039"/>
                    <a:pt x="7635" y="6039"/>
                  </a:cubicBezTo>
                  <a:cubicBezTo>
                    <a:pt x="7635" y="6039"/>
                    <a:pt x="7640" y="6065"/>
                    <a:pt x="7659" y="6062"/>
                  </a:cubicBezTo>
                  <a:cubicBezTo>
                    <a:pt x="7678" y="6059"/>
                    <a:pt x="7679" y="6045"/>
                    <a:pt x="7691" y="6041"/>
                  </a:cubicBezTo>
                  <a:cubicBezTo>
                    <a:pt x="7703" y="6037"/>
                    <a:pt x="7738" y="6048"/>
                    <a:pt x="7747" y="6045"/>
                  </a:cubicBezTo>
                  <a:cubicBezTo>
                    <a:pt x="7756" y="6042"/>
                    <a:pt x="7752" y="6021"/>
                    <a:pt x="7775" y="6021"/>
                  </a:cubicBezTo>
                  <a:cubicBezTo>
                    <a:pt x="7798" y="6021"/>
                    <a:pt x="7806" y="6029"/>
                    <a:pt x="7806" y="6029"/>
                  </a:cubicBezTo>
                  <a:cubicBezTo>
                    <a:pt x="7806" y="6029"/>
                    <a:pt x="7817" y="6018"/>
                    <a:pt x="7840" y="6019"/>
                  </a:cubicBezTo>
                  <a:cubicBezTo>
                    <a:pt x="7863" y="6020"/>
                    <a:pt x="7875" y="6030"/>
                    <a:pt x="7880" y="6029"/>
                  </a:cubicBezTo>
                  <a:cubicBezTo>
                    <a:pt x="7885" y="6028"/>
                    <a:pt x="7897" y="6018"/>
                    <a:pt x="7897" y="6018"/>
                  </a:cubicBezTo>
                  <a:cubicBezTo>
                    <a:pt x="7897" y="6018"/>
                    <a:pt x="7911" y="6025"/>
                    <a:pt x="7920" y="6020"/>
                  </a:cubicBezTo>
                  <a:cubicBezTo>
                    <a:pt x="7929" y="6015"/>
                    <a:pt x="7941" y="6007"/>
                    <a:pt x="7941" y="6007"/>
                  </a:cubicBezTo>
                  <a:cubicBezTo>
                    <a:pt x="7941" y="6007"/>
                    <a:pt x="7965" y="6015"/>
                    <a:pt x="7987" y="6000"/>
                  </a:cubicBezTo>
                  <a:cubicBezTo>
                    <a:pt x="8009" y="5985"/>
                    <a:pt x="8039" y="5956"/>
                    <a:pt x="8039" y="5956"/>
                  </a:cubicBezTo>
                  <a:cubicBezTo>
                    <a:pt x="8052" y="5948"/>
                    <a:pt x="8052" y="5948"/>
                    <a:pt x="8052" y="5948"/>
                  </a:cubicBezTo>
                  <a:cubicBezTo>
                    <a:pt x="8114" y="5882"/>
                    <a:pt x="8114" y="5882"/>
                    <a:pt x="8114" y="5882"/>
                  </a:cubicBezTo>
                  <a:cubicBezTo>
                    <a:pt x="8129" y="5883"/>
                    <a:pt x="8129" y="5883"/>
                    <a:pt x="8129" y="5883"/>
                  </a:cubicBezTo>
                  <a:cubicBezTo>
                    <a:pt x="8129" y="5883"/>
                    <a:pt x="8166" y="5832"/>
                    <a:pt x="8170" y="5818"/>
                  </a:cubicBezTo>
                  <a:cubicBezTo>
                    <a:pt x="8174" y="5804"/>
                    <a:pt x="8191" y="5768"/>
                    <a:pt x="8200" y="5762"/>
                  </a:cubicBezTo>
                  <a:cubicBezTo>
                    <a:pt x="8209" y="5756"/>
                    <a:pt x="8240" y="5743"/>
                    <a:pt x="8243" y="5732"/>
                  </a:cubicBezTo>
                  <a:cubicBezTo>
                    <a:pt x="8246" y="5721"/>
                    <a:pt x="8262" y="5680"/>
                    <a:pt x="8262" y="5680"/>
                  </a:cubicBezTo>
                  <a:cubicBezTo>
                    <a:pt x="8262" y="5680"/>
                    <a:pt x="8268" y="5663"/>
                    <a:pt x="8273" y="5647"/>
                  </a:cubicBezTo>
                  <a:cubicBezTo>
                    <a:pt x="8275" y="5639"/>
                    <a:pt x="8277" y="5632"/>
                    <a:pt x="8277" y="5627"/>
                  </a:cubicBezTo>
                  <a:cubicBezTo>
                    <a:pt x="8278" y="5612"/>
                    <a:pt x="8269" y="5601"/>
                    <a:pt x="8269" y="5601"/>
                  </a:cubicBezTo>
                  <a:cubicBezTo>
                    <a:pt x="8269" y="5601"/>
                    <a:pt x="8250" y="5595"/>
                    <a:pt x="8271" y="5575"/>
                  </a:cubicBezTo>
                  <a:cubicBezTo>
                    <a:pt x="8292" y="5555"/>
                    <a:pt x="8327" y="5541"/>
                    <a:pt x="8348" y="5529"/>
                  </a:cubicBezTo>
                  <a:cubicBezTo>
                    <a:pt x="8369" y="5517"/>
                    <a:pt x="8404" y="5500"/>
                    <a:pt x="8404" y="5491"/>
                  </a:cubicBezTo>
                  <a:cubicBezTo>
                    <a:pt x="8404" y="5482"/>
                    <a:pt x="8404" y="5474"/>
                    <a:pt x="8404" y="5474"/>
                  </a:cubicBezTo>
                  <a:cubicBezTo>
                    <a:pt x="8404" y="5474"/>
                    <a:pt x="8393" y="5483"/>
                    <a:pt x="8392" y="5469"/>
                  </a:cubicBezTo>
                  <a:cubicBezTo>
                    <a:pt x="8391" y="5455"/>
                    <a:pt x="8411" y="5440"/>
                    <a:pt x="8409" y="5430"/>
                  </a:cubicBezTo>
                  <a:cubicBezTo>
                    <a:pt x="8407" y="5420"/>
                    <a:pt x="8403" y="5406"/>
                    <a:pt x="8403" y="5406"/>
                  </a:cubicBezTo>
                  <a:cubicBezTo>
                    <a:pt x="8410" y="5387"/>
                    <a:pt x="8410" y="5387"/>
                    <a:pt x="8410" y="5387"/>
                  </a:cubicBezTo>
                  <a:cubicBezTo>
                    <a:pt x="8408" y="5382"/>
                    <a:pt x="8408" y="5382"/>
                    <a:pt x="8408" y="5382"/>
                  </a:cubicBezTo>
                  <a:cubicBezTo>
                    <a:pt x="8397" y="5395"/>
                    <a:pt x="8397" y="5395"/>
                    <a:pt x="8397" y="5395"/>
                  </a:cubicBezTo>
                  <a:cubicBezTo>
                    <a:pt x="8400" y="5368"/>
                    <a:pt x="8400" y="5368"/>
                    <a:pt x="8400" y="5368"/>
                  </a:cubicBezTo>
                  <a:cubicBezTo>
                    <a:pt x="8400" y="5368"/>
                    <a:pt x="8385" y="5353"/>
                    <a:pt x="8384" y="5343"/>
                  </a:cubicBezTo>
                  <a:cubicBezTo>
                    <a:pt x="8383" y="5333"/>
                    <a:pt x="8392" y="5323"/>
                    <a:pt x="8387" y="5311"/>
                  </a:cubicBezTo>
                  <a:cubicBezTo>
                    <a:pt x="8382" y="5299"/>
                    <a:pt x="8370" y="5310"/>
                    <a:pt x="8370" y="5297"/>
                  </a:cubicBezTo>
                  <a:cubicBezTo>
                    <a:pt x="8370" y="5284"/>
                    <a:pt x="8381" y="5263"/>
                    <a:pt x="8384" y="5259"/>
                  </a:cubicBezTo>
                  <a:cubicBezTo>
                    <a:pt x="8387" y="5255"/>
                    <a:pt x="8411" y="5249"/>
                    <a:pt x="8414" y="5240"/>
                  </a:cubicBezTo>
                  <a:cubicBezTo>
                    <a:pt x="8417" y="5231"/>
                    <a:pt x="8422" y="5216"/>
                    <a:pt x="8429" y="5211"/>
                  </a:cubicBezTo>
                  <a:cubicBezTo>
                    <a:pt x="8436" y="5206"/>
                    <a:pt x="8441" y="5211"/>
                    <a:pt x="8449" y="5205"/>
                  </a:cubicBezTo>
                  <a:cubicBezTo>
                    <a:pt x="8457" y="5199"/>
                    <a:pt x="8472" y="5191"/>
                    <a:pt x="8474" y="5175"/>
                  </a:cubicBezTo>
                  <a:cubicBezTo>
                    <a:pt x="8476" y="5159"/>
                    <a:pt x="8493" y="5141"/>
                    <a:pt x="8510" y="5133"/>
                  </a:cubicBezTo>
                  <a:cubicBezTo>
                    <a:pt x="8527" y="5125"/>
                    <a:pt x="8571" y="5111"/>
                    <a:pt x="8579" y="5104"/>
                  </a:cubicBezTo>
                  <a:cubicBezTo>
                    <a:pt x="8587" y="5097"/>
                    <a:pt x="8620" y="5080"/>
                    <a:pt x="8620" y="5080"/>
                  </a:cubicBezTo>
                  <a:cubicBezTo>
                    <a:pt x="8620" y="5070"/>
                    <a:pt x="8620" y="5070"/>
                    <a:pt x="8620" y="5070"/>
                  </a:cubicBezTo>
                  <a:cubicBezTo>
                    <a:pt x="8620" y="5070"/>
                    <a:pt x="8638" y="5051"/>
                    <a:pt x="8638" y="5046"/>
                  </a:cubicBezTo>
                  <a:cubicBezTo>
                    <a:pt x="8638" y="5041"/>
                    <a:pt x="8660" y="5019"/>
                    <a:pt x="8660" y="5019"/>
                  </a:cubicBezTo>
                  <a:cubicBezTo>
                    <a:pt x="8658" y="5010"/>
                    <a:pt x="8658" y="5010"/>
                    <a:pt x="8658" y="5010"/>
                  </a:cubicBezTo>
                  <a:cubicBezTo>
                    <a:pt x="8658" y="5010"/>
                    <a:pt x="8670" y="4993"/>
                    <a:pt x="8670" y="4985"/>
                  </a:cubicBezTo>
                  <a:cubicBezTo>
                    <a:pt x="8670" y="4977"/>
                    <a:pt x="8669" y="4966"/>
                    <a:pt x="8669" y="4966"/>
                  </a:cubicBezTo>
                  <a:cubicBezTo>
                    <a:pt x="8661" y="4967"/>
                    <a:pt x="8661" y="4967"/>
                    <a:pt x="8661" y="4967"/>
                  </a:cubicBezTo>
                  <a:cubicBezTo>
                    <a:pt x="8661" y="4926"/>
                    <a:pt x="8661" y="4926"/>
                    <a:pt x="8661" y="4926"/>
                  </a:cubicBezTo>
                  <a:cubicBezTo>
                    <a:pt x="8653" y="4918"/>
                    <a:pt x="8653" y="4918"/>
                    <a:pt x="8653" y="4918"/>
                  </a:cubicBezTo>
                  <a:cubicBezTo>
                    <a:pt x="8664" y="4911"/>
                    <a:pt x="8664" y="4911"/>
                    <a:pt x="8664" y="4911"/>
                  </a:cubicBezTo>
                  <a:cubicBezTo>
                    <a:pt x="8657" y="4880"/>
                    <a:pt x="8657" y="4880"/>
                    <a:pt x="8657" y="4880"/>
                  </a:cubicBezTo>
                  <a:cubicBezTo>
                    <a:pt x="8665" y="4860"/>
                    <a:pt x="8665" y="4860"/>
                    <a:pt x="8665" y="4860"/>
                  </a:cubicBezTo>
                  <a:cubicBezTo>
                    <a:pt x="8655" y="4834"/>
                    <a:pt x="8655" y="4834"/>
                    <a:pt x="8655" y="4834"/>
                  </a:cubicBezTo>
                  <a:cubicBezTo>
                    <a:pt x="8655" y="4834"/>
                    <a:pt x="8667" y="4777"/>
                    <a:pt x="8667" y="4769"/>
                  </a:cubicBezTo>
                  <a:cubicBezTo>
                    <a:pt x="8667" y="4761"/>
                    <a:pt x="8659" y="4756"/>
                    <a:pt x="8659" y="4756"/>
                  </a:cubicBezTo>
                  <a:cubicBezTo>
                    <a:pt x="8659" y="4756"/>
                    <a:pt x="8659" y="4756"/>
                    <a:pt x="8659" y="4756"/>
                  </a:cubicBezTo>
                  <a:cubicBezTo>
                    <a:pt x="8656" y="4745"/>
                    <a:pt x="8656" y="4745"/>
                    <a:pt x="8656" y="4745"/>
                  </a:cubicBezTo>
                  <a:cubicBezTo>
                    <a:pt x="8656" y="4745"/>
                    <a:pt x="8628" y="4738"/>
                    <a:pt x="8626" y="4727"/>
                  </a:cubicBezTo>
                  <a:cubicBezTo>
                    <a:pt x="8624" y="4716"/>
                    <a:pt x="8622" y="4685"/>
                    <a:pt x="8622" y="4685"/>
                  </a:cubicBezTo>
                  <a:cubicBezTo>
                    <a:pt x="8607" y="4654"/>
                    <a:pt x="8607" y="4654"/>
                    <a:pt x="8607" y="4654"/>
                  </a:cubicBezTo>
                  <a:cubicBezTo>
                    <a:pt x="8616" y="4623"/>
                    <a:pt x="8616" y="4623"/>
                    <a:pt x="8616" y="4623"/>
                  </a:cubicBezTo>
                  <a:cubicBezTo>
                    <a:pt x="8605" y="4609"/>
                    <a:pt x="8605" y="4609"/>
                    <a:pt x="8605" y="4609"/>
                  </a:cubicBezTo>
                  <a:cubicBezTo>
                    <a:pt x="8605" y="4609"/>
                    <a:pt x="8625" y="4574"/>
                    <a:pt x="8620" y="4566"/>
                  </a:cubicBezTo>
                  <a:cubicBezTo>
                    <a:pt x="8615" y="4558"/>
                    <a:pt x="8588" y="4551"/>
                    <a:pt x="8585" y="4539"/>
                  </a:cubicBezTo>
                  <a:cubicBezTo>
                    <a:pt x="8582" y="4527"/>
                    <a:pt x="8599" y="4488"/>
                    <a:pt x="8600" y="4481"/>
                  </a:cubicBezTo>
                  <a:cubicBezTo>
                    <a:pt x="8601" y="4475"/>
                    <a:pt x="8603" y="4452"/>
                    <a:pt x="8604" y="4447"/>
                  </a:cubicBezTo>
                  <a:cubicBezTo>
                    <a:pt x="8604" y="4446"/>
                    <a:pt x="8604" y="4446"/>
                    <a:pt x="8604" y="4446"/>
                  </a:cubicBezTo>
                  <a:cubicBezTo>
                    <a:pt x="8617" y="4443"/>
                    <a:pt x="8617" y="4443"/>
                    <a:pt x="8617" y="4443"/>
                  </a:cubicBezTo>
                  <a:cubicBezTo>
                    <a:pt x="8637" y="4401"/>
                    <a:pt x="8637" y="4401"/>
                    <a:pt x="8637" y="4401"/>
                  </a:cubicBezTo>
                  <a:cubicBezTo>
                    <a:pt x="8637" y="4401"/>
                    <a:pt x="8635" y="4386"/>
                    <a:pt x="8635" y="4379"/>
                  </a:cubicBezTo>
                  <a:cubicBezTo>
                    <a:pt x="8635" y="4372"/>
                    <a:pt x="8656" y="4372"/>
                    <a:pt x="8655" y="4362"/>
                  </a:cubicBezTo>
                  <a:cubicBezTo>
                    <a:pt x="8654" y="4352"/>
                    <a:pt x="8649" y="4339"/>
                    <a:pt x="8657" y="4336"/>
                  </a:cubicBezTo>
                  <a:cubicBezTo>
                    <a:pt x="8665" y="4333"/>
                    <a:pt x="8680" y="4326"/>
                    <a:pt x="8680" y="4326"/>
                  </a:cubicBezTo>
                  <a:cubicBezTo>
                    <a:pt x="8684" y="4299"/>
                    <a:pt x="8684" y="4299"/>
                    <a:pt x="8684" y="4299"/>
                  </a:cubicBezTo>
                  <a:cubicBezTo>
                    <a:pt x="8684" y="4299"/>
                    <a:pt x="8708" y="4304"/>
                    <a:pt x="8716" y="4289"/>
                  </a:cubicBezTo>
                  <a:cubicBezTo>
                    <a:pt x="8717" y="4287"/>
                    <a:pt x="8718" y="4284"/>
                    <a:pt x="8720" y="4281"/>
                  </a:cubicBezTo>
                  <a:cubicBezTo>
                    <a:pt x="8719" y="4283"/>
                    <a:pt x="8719" y="4284"/>
                    <a:pt x="8718" y="4285"/>
                  </a:cubicBezTo>
                  <a:cubicBezTo>
                    <a:pt x="8727" y="4268"/>
                    <a:pt x="8744" y="4236"/>
                    <a:pt x="8750" y="4226"/>
                  </a:cubicBezTo>
                  <a:cubicBezTo>
                    <a:pt x="8757" y="4215"/>
                    <a:pt x="8789" y="4200"/>
                    <a:pt x="8792" y="4185"/>
                  </a:cubicBezTo>
                  <a:cubicBezTo>
                    <a:pt x="8795" y="4170"/>
                    <a:pt x="8838" y="4132"/>
                    <a:pt x="8849" y="4119"/>
                  </a:cubicBezTo>
                  <a:cubicBezTo>
                    <a:pt x="8860" y="4106"/>
                    <a:pt x="8894" y="4087"/>
                    <a:pt x="8902" y="4082"/>
                  </a:cubicBezTo>
                  <a:cubicBezTo>
                    <a:pt x="8910" y="4077"/>
                    <a:pt x="8967" y="4030"/>
                    <a:pt x="8973" y="4019"/>
                  </a:cubicBezTo>
                  <a:cubicBezTo>
                    <a:pt x="8979" y="4008"/>
                    <a:pt x="9023" y="3959"/>
                    <a:pt x="9027" y="3945"/>
                  </a:cubicBezTo>
                  <a:cubicBezTo>
                    <a:pt x="9031" y="3931"/>
                    <a:pt x="9056" y="3885"/>
                    <a:pt x="9062" y="3880"/>
                  </a:cubicBezTo>
                  <a:cubicBezTo>
                    <a:pt x="9068" y="3875"/>
                    <a:pt x="9076" y="3862"/>
                    <a:pt x="9076" y="3854"/>
                  </a:cubicBezTo>
                  <a:cubicBezTo>
                    <a:pt x="9076" y="3846"/>
                    <a:pt x="9082" y="3817"/>
                    <a:pt x="9089" y="3808"/>
                  </a:cubicBezTo>
                  <a:cubicBezTo>
                    <a:pt x="9096" y="3799"/>
                    <a:pt x="9109" y="3787"/>
                    <a:pt x="9109" y="3774"/>
                  </a:cubicBezTo>
                  <a:cubicBezTo>
                    <a:pt x="9109" y="3761"/>
                    <a:pt x="9119" y="3751"/>
                    <a:pt x="9119" y="3751"/>
                  </a:cubicBezTo>
                  <a:cubicBezTo>
                    <a:pt x="9132" y="3715"/>
                    <a:pt x="9132" y="3715"/>
                    <a:pt x="9132" y="3715"/>
                  </a:cubicBezTo>
                  <a:cubicBezTo>
                    <a:pt x="9132" y="3715"/>
                    <a:pt x="9149" y="3719"/>
                    <a:pt x="9149" y="3693"/>
                  </a:cubicBezTo>
                  <a:cubicBezTo>
                    <a:pt x="9149" y="3667"/>
                    <a:pt x="9149" y="3639"/>
                    <a:pt x="9149" y="3639"/>
                  </a:cubicBezTo>
                  <a:cubicBezTo>
                    <a:pt x="9163" y="3630"/>
                    <a:pt x="9163" y="3630"/>
                    <a:pt x="9163" y="3630"/>
                  </a:cubicBezTo>
                  <a:cubicBezTo>
                    <a:pt x="9159" y="3584"/>
                    <a:pt x="9159" y="3584"/>
                    <a:pt x="9159" y="3584"/>
                  </a:cubicBezTo>
                  <a:cubicBezTo>
                    <a:pt x="9159" y="3584"/>
                    <a:pt x="9172" y="3560"/>
                    <a:pt x="9166" y="3554"/>
                  </a:cubicBezTo>
                  <a:cubicBezTo>
                    <a:pt x="9160" y="3548"/>
                    <a:pt x="9139" y="3546"/>
                    <a:pt x="9139" y="3546"/>
                  </a:cubicBezTo>
                  <a:cubicBezTo>
                    <a:pt x="9139" y="3546"/>
                    <a:pt x="9131" y="3560"/>
                    <a:pt x="9124" y="3567"/>
                  </a:cubicBezTo>
                  <a:cubicBezTo>
                    <a:pt x="9117" y="3574"/>
                    <a:pt x="9080" y="3583"/>
                    <a:pt x="9074" y="3583"/>
                  </a:cubicBezTo>
                  <a:cubicBezTo>
                    <a:pt x="9068" y="3583"/>
                    <a:pt x="9047" y="3577"/>
                    <a:pt x="9037" y="3581"/>
                  </a:cubicBezTo>
                  <a:cubicBezTo>
                    <a:pt x="9027" y="3585"/>
                    <a:pt x="9014" y="3600"/>
                    <a:pt x="9010" y="3600"/>
                  </a:cubicBezTo>
                  <a:cubicBezTo>
                    <a:pt x="9006" y="3600"/>
                    <a:pt x="8996" y="3588"/>
                    <a:pt x="8988" y="3589"/>
                  </a:cubicBezTo>
                  <a:cubicBezTo>
                    <a:pt x="8980" y="3590"/>
                    <a:pt x="8953" y="3618"/>
                    <a:pt x="8944" y="3619"/>
                  </a:cubicBezTo>
                  <a:cubicBezTo>
                    <a:pt x="8935" y="3620"/>
                    <a:pt x="8927" y="3604"/>
                    <a:pt x="8913" y="3608"/>
                  </a:cubicBezTo>
                  <a:cubicBezTo>
                    <a:pt x="8899" y="3612"/>
                    <a:pt x="8881" y="3629"/>
                    <a:pt x="8873" y="3630"/>
                  </a:cubicBezTo>
                  <a:cubicBezTo>
                    <a:pt x="8865" y="3631"/>
                    <a:pt x="8833" y="3631"/>
                    <a:pt x="8833" y="3631"/>
                  </a:cubicBezTo>
                  <a:cubicBezTo>
                    <a:pt x="8833" y="3631"/>
                    <a:pt x="8803" y="3604"/>
                    <a:pt x="8803" y="3594"/>
                  </a:cubicBezTo>
                  <a:cubicBezTo>
                    <a:pt x="8803" y="3586"/>
                    <a:pt x="8794" y="3582"/>
                    <a:pt x="8791" y="3581"/>
                  </a:cubicBezTo>
                  <a:cubicBezTo>
                    <a:pt x="8790" y="3581"/>
                    <a:pt x="8790" y="3581"/>
                    <a:pt x="8790" y="3581"/>
                  </a:cubicBezTo>
                  <a:cubicBezTo>
                    <a:pt x="8783" y="3571"/>
                    <a:pt x="8783" y="3571"/>
                    <a:pt x="8783" y="3571"/>
                  </a:cubicBezTo>
                  <a:cubicBezTo>
                    <a:pt x="8760" y="3573"/>
                    <a:pt x="8760" y="3573"/>
                    <a:pt x="8760" y="3573"/>
                  </a:cubicBezTo>
                  <a:cubicBezTo>
                    <a:pt x="8760" y="3573"/>
                    <a:pt x="8801" y="3540"/>
                    <a:pt x="8792" y="3527"/>
                  </a:cubicBezTo>
                  <a:cubicBezTo>
                    <a:pt x="8789" y="3522"/>
                    <a:pt x="8784" y="3516"/>
                    <a:pt x="8779" y="3510"/>
                  </a:cubicBezTo>
                  <a:cubicBezTo>
                    <a:pt x="8771" y="3500"/>
                    <a:pt x="8763" y="3491"/>
                    <a:pt x="8763" y="3491"/>
                  </a:cubicBezTo>
                  <a:cubicBezTo>
                    <a:pt x="8763" y="3491"/>
                    <a:pt x="8746" y="3494"/>
                    <a:pt x="8744" y="3487"/>
                  </a:cubicBezTo>
                  <a:cubicBezTo>
                    <a:pt x="8742" y="3480"/>
                    <a:pt x="8742" y="3462"/>
                    <a:pt x="8742" y="3462"/>
                  </a:cubicBezTo>
                  <a:cubicBezTo>
                    <a:pt x="8742" y="3462"/>
                    <a:pt x="8703" y="3448"/>
                    <a:pt x="8700" y="3439"/>
                  </a:cubicBezTo>
                  <a:cubicBezTo>
                    <a:pt x="8697" y="3430"/>
                    <a:pt x="8697" y="3408"/>
                    <a:pt x="8690" y="3404"/>
                  </a:cubicBezTo>
                  <a:cubicBezTo>
                    <a:pt x="8683" y="3400"/>
                    <a:pt x="8666" y="3404"/>
                    <a:pt x="8663" y="3400"/>
                  </a:cubicBezTo>
                  <a:cubicBezTo>
                    <a:pt x="8660" y="3396"/>
                    <a:pt x="8649" y="3382"/>
                    <a:pt x="8649" y="3382"/>
                  </a:cubicBezTo>
                  <a:cubicBezTo>
                    <a:pt x="8636" y="3388"/>
                    <a:pt x="8636" y="3388"/>
                    <a:pt x="8636" y="3388"/>
                  </a:cubicBezTo>
                  <a:cubicBezTo>
                    <a:pt x="8628" y="3375"/>
                    <a:pt x="8628" y="3375"/>
                    <a:pt x="8628" y="3375"/>
                  </a:cubicBezTo>
                  <a:cubicBezTo>
                    <a:pt x="8616" y="3372"/>
                    <a:pt x="8616" y="3372"/>
                    <a:pt x="8616" y="3372"/>
                  </a:cubicBezTo>
                  <a:cubicBezTo>
                    <a:pt x="8616" y="3372"/>
                    <a:pt x="8596" y="3352"/>
                    <a:pt x="8593" y="3340"/>
                  </a:cubicBezTo>
                  <a:cubicBezTo>
                    <a:pt x="8590" y="3328"/>
                    <a:pt x="8594" y="3308"/>
                    <a:pt x="8587" y="3285"/>
                  </a:cubicBezTo>
                  <a:cubicBezTo>
                    <a:pt x="8580" y="3262"/>
                    <a:pt x="8559" y="3224"/>
                    <a:pt x="8559" y="3224"/>
                  </a:cubicBezTo>
                  <a:cubicBezTo>
                    <a:pt x="8557" y="3223"/>
                    <a:pt x="8557" y="3223"/>
                    <a:pt x="8557" y="3223"/>
                  </a:cubicBezTo>
                  <a:cubicBezTo>
                    <a:pt x="8532" y="3208"/>
                    <a:pt x="8532" y="3208"/>
                    <a:pt x="8532" y="3208"/>
                  </a:cubicBezTo>
                  <a:cubicBezTo>
                    <a:pt x="8532" y="3208"/>
                    <a:pt x="8529" y="3192"/>
                    <a:pt x="8523" y="3188"/>
                  </a:cubicBezTo>
                  <a:cubicBezTo>
                    <a:pt x="8517" y="3184"/>
                    <a:pt x="8502" y="3194"/>
                    <a:pt x="8498" y="3180"/>
                  </a:cubicBezTo>
                  <a:cubicBezTo>
                    <a:pt x="8494" y="3166"/>
                    <a:pt x="8493" y="3128"/>
                    <a:pt x="8493" y="3128"/>
                  </a:cubicBezTo>
                  <a:cubicBezTo>
                    <a:pt x="8486" y="3126"/>
                    <a:pt x="8486" y="3126"/>
                    <a:pt x="8486" y="3126"/>
                  </a:cubicBezTo>
                  <a:cubicBezTo>
                    <a:pt x="8486" y="3126"/>
                    <a:pt x="8484" y="3084"/>
                    <a:pt x="8484" y="3079"/>
                  </a:cubicBezTo>
                  <a:cubicBezTo>
                    <a:pt x="8484" y="3074"/>
                    <a:pt x="8479" y="3063"/>
                    <a:pt x="8479" y="3063"/>
                  </a:cubicBezTo>
                  <a:cubicBezTo>
                    <a:pt x="8491" y="3060"/>
                    <a:pt x="8491" y="3060"/>
                    <a:pt x="8491" y="3060"/>
                  </a:cubicBezTo>
                  <a:cubicBezTo>
                    <a:pt x="8491" y="3060"/>
                    <a:pt x="8473" y="3045"/>
                    <a:pt x="8472" y="3036"/>
                  </a:cubicBezTo>
                  <a:cubicBezTo>
                    <a:pt x="8471" y="3027"/>
                    <a:pt x="8477" y="3011"/>
                    <a:pt x="8469" y="3005"/>
                  </a:cubicBezTo>
                  <a:cubicBezTo>
                    <a:pt x="8461" y="2999"/>
                    <a:pt x="8450" y="2991"/>
                    <a:pt x="8450" y="2991"/>
                  </a:cubicBezTo>
                  <a:cubicBezTo>
                    <a:pt x="8450" y="2991"/>
                    <a:pt x="8441" y="2979"/>
                    <a:pt x="8437" y="2975"/>
                  </a:cubicBezTo>
                  <a:cubicBezTo>
                    <a:pt x="8433" y="2971"/>
                    <a:pt x="8432" y="2978"/>
                    <a:pt x="8426" y="2974"/>
                  </a:cubicBezTo>
                  <a:cubicBezTo>
                    <a:pt x="8422" y="2971"/>
                    <a:pt x="8415" y="2962"/>
                    <a:pt x="8410" y="2952"/>
                  </a:cubicBezTo>
                  <a:cubicBezTo>
                    <a:pt x="8407" y="2946"/>
                    <a:pt x="8405" y="2940"/>
                    <a:pt x="8405" y="2935"/>
                  </a:cubicBezTo>
                  <a:cubicBezTo>
                    <a:pt x="8404" y="2920"/>
                    <a:pt x="8403" y="2906"/>
                    <a:pt x="8403" y="2906"/>
                  </a:cubicBezTo>
                  <a:cubicBezTo>
                    <a:pt x="8415" y="2905"/>
                    <a:pt x="8415" y="2905"/>
                    <a:pt x="8415" y="2905"/>
                  </a:cubicBezTo>
                  <a:cubicBezTo>
                    <a:pt x="8415" y="2905"/>
                    <a:pt x="8388" y="2887"/>
                    <a:pt x="8375" y="2859"/>
                  </a:cubicBezTo>
                  <a:cubicBezTo>
                    <a:pt x="8362" y="2831"/>
                    <a:pt x="8363" y="2816"/>
                    <a:pt x="8354" y="2805"/>
                  </a:cubicBezTo>
                  <a:cubicBezTo>
                    <a:pt x="8345" y="2794"/>
                    <a:pt x="8341" y="2792"/>
                    <a:pt x="8333" y="2778"/>
                  </a:cubicBezTo>
                  <a:cubicBezTo>
                    <a:pt x="8325" y="2764"/>
                    <a:pt x="8325" y="2742"/>
                    <a:pt x="8325" y="2742"/>
                  </a:cubicBezTo>
                  <a:cubicBezTo>
                    <a:pt x="8300" y="2715"/>
                    <a:pt x="8300" y="2715"/>
                    <a:pt x="8300" y="2715"/>
                  </a:cubicBezTo>
                  <a:cubicBezTo>
                    <a:pt x="8300" y="2715"/>
                    <a:pt x="8303" y="2706"/>
                    <a:pt x="8297" y="2694"/>
                  </a:cubicBezTo>
                  <a:cubicBezTo>
                    <a:pt x="8291" y="2682"/>
                    <a:pt x="8265" y="2660"/>
                    <a:pt x="8263" y="2651"/>
                  </a:cubicBezTo>
                  <a:cubicBezTo>
                    <a:pt x="8261" y="2642"/>
                    <a:pt x="8253" y="2637"/>
                    <a:pt x="8253" y="2637"/>
                  </a:cubicBezTo>
                  <a:cubicBezTo>
                    <a:pt x="8253" y="2637"/>
                    <a:pt x="8261" y="2627"/>
                    <a:pt x="8253" y="2616"/>
                  </a:cubicBezTo>
                  <a:cubicBezTo>
                    <a:pt x="8245" y="2605"/>
                    <a:pt x="8235" y="2602"/>
                    <a:pt x="8235" y="2602"/>
                  </a:cubicBezTo>
                  <a:cubicBezTo>
                    <a:pt x="8246" y="2589"/>
                    <a:pt x="8246" y="2589"/>
                    <a:pt x="8246" y="2589"/>
                  </a:cubicBezTo>
                  <a:cubicBezTo>
                    <a:pt x="8258" y="2597"/>
                    <a:pt x="8258" y="2597"/>
                    <a:pt x="8258" y="2597"/>
                  </a:cubicBezTo>
                  <a:cubicBezTo>
                    <a:pt x="8258" y="2597"/>
                    <a:pt x="8257" y="2614"/>
                    <a:pt x="8266" y="2620"/>
                  </a:cubicBezTo>
                  <a:cubicBezTo>
                    <a:pt x="8275" y="2626"/>
                    <a:pt x="8280" y="2635"/>
                    <a:pt x="8280" y="2635"/>
                  </a:cubicBezTo>
                  <a:cubicBezTo>
                    <a:pt x="8279" y="2652"/>
                    <a:pt x="8279" y="2652"/>
                    <a:pt x="8279" y="2652"/>
                  </a:cubicBezTo>
                  <a:cubicBezTo>
                    <a:pt x="8279" y="2652"/>
                    <a:pt x="8311" y="2704"/>
                    <a:pt x="8323" y="2697"/>
                  </a:cubicBezTo>
                  <a:cubicBezTo>
                    <a:pt x="8335" y="2690"/>
                    <a:pt x="8341" y="2685"/>
                    <a:pt x="8341" y="2685"/>
                  </a:cubicBezTo>
                  <a:cubicBezTo>
                    <a:pt x="8334" y="2673"/>
                    <a:pt x="8334" y="2673"/>
                    <a:pt x="8334" y="2673"/>
                  </a:cubicBezTo>
                  <a:cubicBezTo>
                    <a:pt x="8334" y="2673"/>
                    <a:pt x="8347" y="2647"/>
                    <a:pt x="8347" y="2633"/>
                  </a:cubicBezTo>
                  <a:cubicBezTo>
                    <a:pt x="8347" y="2619"/>
                    <a:pt x="8356" y="2602"/>
                    <a:pt x="8356" y="2602"/>
                  </a:cubicBezTo>
                  <a:cubicBezTo>
                    <a:pt x="8361" y="2612"/>
                    <a:pt x="8361" y="2612"/>
                    <a:pt x="8361" y="2612"/>
                  </a:cubicBezTo>
                  <a:cubicBezTo>
                    <a:pt x="8363" y="2618"/>
                    <a:pt x="8363" y="2618"/>
                    <a:pt x="8363" y="2618"/>
                  </a:cubicBezTo>
                  <a:cubicBezTo>
                    <a:pt x="8363" y="2618"/>
                    <a:pt x="8364" y="2618"/>
                    <a:pt x="8364" y="2618"/>
                  </a:cubicBezTo>
                  <a:cubicBezTo>
                    <a:pt x="8358" y="2619"/>
                    <a:pt x="8358" y="2623"/>
                    <a:pt x="8358" y="2624"/>
                  </a:cubicBezTo>
                  <a:cubicBezTo>
                    <a:pt x="8358" y="2624"/>
                    <a:pt x="8358" y="2624"/>
                    <a:pt x="8358" y="2624"/>
                  </a:cubicBezTo>
                  <a:cubicBezTo>
                    <a:pt x="8358" y="2633"/>
                    <a:pt x="8346" y="2700"/>
                    <a:pt x="8358" y="2712"/>
                  </a:cubicBezTo>
                  <a:cubicBezTo>
                    <a:pt x="8370" y="2723"/>
                    <a:pt x="8395" y="2723"/>
                    <a:pt x="8400" y="2737"/>
                  </a:cubicBezTo>
                  <a:cubicBezTo>
                    <a:pt x="8406" y="2751"/>
                    <a:pt x="8422" y="2788"/>
                    <a:pt x="8431" y="2797"/>
                  </a:cubicBezTo>
                  <a:cubicBezTo>
                    <a:pt x="8440" y="2806"/>
                    <a:pt x="8459" y="2821"/>
                    <a:pt x="8466" y="2833"/>
                  </a:cubicBezTo>
                  <a:cubicBezTo>
                    <a:pt x="8474" y="2846"/>
                    <a:pt x="8478" y="2884"/>
                    <a:pt x="8491" y="2896"/>
                  </a:cubicBezTo>
                  <a:cubicBezTo>
                    <a:pt x="8503" y="2908"/>
                    <a:pt x="8530" y="2897"/>
                    <a:pt x="8547" y="2916"/>
                  </a:cubicBezTo>
                  <a:cubicBezTo>
                    <a:pt x="8564" y="2935"/>
                    <a:pt x="8578" y="2994"/>
                    <a:pt x="8578" y="3023"/>
                  </a:cubicBezTo>
                  <a:cubicBezTo>
                    <a:pt x="8578" y="3053"/>
                    <a:pt x="8613" y="3089"/>
                    <a:pt x="8613" y="3089"/>
                  </a:cubicBezTo>
                  <a:cubicBezTo>
                    <a:pt x="8613" y="3089"/>
                    <a:pt x="8637" y="3086"/>
                    <a:pt x="8646" y="3094"/>
                  </a:cubicBezTo>
                  <a:cubicBezTo>
                    <a:pt x="8654" y="3102"/>
                    <a:pt x="8690" y="3167"/>
                    <a:pt x="8704" y="3191"/>
                  </a:cubicBezTo>
                  <a:cubicBezTo>
                    <a:pt x="8718" y="3215"/>
                    <a:pt x="8766" y="3273"/>
                    <a:pt x="8765" y="3289"/>
                  </a:cubicBezTo>
                  <a:cubicBezTo>
                    <a:pt x="8765" y="3296"/>
                    <a:pt x="8763" y="3305"/>
                    <a:pt x="8760" y="3314"/>
                  </a:cubicBezTo>
                  <a:cubicBezTo>
                    <a:pt x="8758" y="3323"/>
                    <a:pt x="8755" y="3332"/>
                    <a:pt x="8754" y="3337"/>
                  </a:cubicBezTo>
                  <a:cubicBezTo>
                    <a:pt x="8752" y="3347"/>
                    <a:pt x="8776" y="3366"/>
                    <a:pt x="8776" y="3366"/>
                  </a:cubicBezTo>
                  <a:cubicBezTo>
                    <a:pt x="8767" y="3443"/>
                    <a:pt x="8767" y="3443"/>
                    <a:pt x="8767" y="3443"/>
                  </a:cubicBezTo>
                  <a:cubicBezTo>
                    <a:pt x="8788" y="3465"/>
                    <a:pt x="8788" y="3465"/>
                    <a:pt x="8788" y="3465"/>
                  </a:cubicBezTo>
                  <a:cubicBezTo>
                    <a:pt x="8788" y="3465"/>
                    <a:pt x="8793" y="3494"/>
                    <a:pt x="8812" y="3498"/>
                  </a:cubicBezTo>
                  <a:cubicBezTo>
                    <a:pt x="8831" y="3503"/>
                    <a:pt x="8846" y="3502"/>
                    <a:pt x="8858" y="3494"/>
                  </a:cubicBezTo>
                  <a:cubicBezTo>
                    <a:pt x="8870" y="3486"/>
                    <a:pt x="8874" y="3460"/>
                    <a:pt x="8885" y="3460"/>
                  </a:cubicBezTo>
                  <a:cubicBezTo>
                    <a:pt x="8897" y="3459"/>
                    <a:pt x="8912" y="3466"/>
                    <a:pt x="8934" y="3463"/>
                  </a:cubicBezTo>
                  <a:cubicBezTo>
                    <a:pt x="8956" y="3460"/>
                    <a:pt x="8982" y="3455"/>
                    <a:pt x="8995" y="3455"/>
                  </a:cubicBezTo>
                  <a:cubicBezTo>
                    <a:pt x="9008" y="3456"/>
                    <a:pt x="9029" y="3422"/>
                    <a:pt x="9044" y="3416"/>
                  </a:cubicBezTo>
                  <a:cubicBezTo>
                    <a:pt x="9060" y="3411"/>
                    <a:pt x="9068" y="3391"/>
                    <a:pt x="9086" y="3386"/>
                  </a:cubicBezTo>
                  <a:cubicBezTo>
                    <a:pt x="9104" y="3380"/>
                    <a:pt x="9149" y="3354"/>
                    <a:pt x="9149" y="3354"/>
                  </a:cubicBezTo>
                  <a:cubicBezTo>
                    <a:pt x="9198" y="3353"/>
                    <a:pt x="9198" y="3353"/>
                    <a:pt x="9198" y="3353"/>
                  </a:cubicBezTo>
                  <a:cubicBezTo>
                    <a:pt x="9198" y="3353"/>
                    <a:pt x="9218" y="3308"/>
                    <a:pt x="9231" y="3298"/>
                  </a:cubicBezTo>
                  <a:cubicBezTo>
                    <a:pt x="9232" y="3296"/>
                    <a:pt x="9235" y="3295"/>
                    <a:pt x="9239" y="3293"/>
                  </a:cubicBezTo>
                  <a:cubicBezTo>
                    <a:pt x="9266" y="3282"/>
                    <a:pt x="9344" y="3263"/>
                    <a:pt x="9347" y="3258"/>
                  </a:cubicBezTo>
                  <a:cubicBezTo>
                    <a:pt x="9352" y="3252"/>
                    <a:pt x="9354" y="3223"/>
                    <a:pt x="9354" y="3223"/>
                  </a:cubicBezTo>
                  <a:cubicBezTo>
                    <a:pt x="9354" y="3223"/>
                    <a:pt x="9396" y="3217"/>
                    <a:pt x="9405" y="3206"/>
                  </a:cubicBezTo>
                  <a:cubicBezTo>
                    <a:pt x="9413" y="3196"/>
                    <a:pt x="9413" y="3178"/>
                    <a:pt x="9413" y="3178"/>
                  </a:cubicBezTo>
                  <a:cubicBezTo>
                    <a:pt x="9413" y="3178"/>
                    <a:pt x="9445" y="3167"/>
                    <a:pt x="9454" y="3152"/>
                  </a:cubicBezTo>
                  <a:cubicBezTo>
                    <a:pt x="9464" y="3136"/>
                    <a:pt x="9459" y="3098"/>
                    <a:pt x="9468" y="3097"/>
                  </a:cubicBezTo>
                  <a:cubicBezTo>
                    <a:pt x="9477" y="3096"/>
                    <a:pt x="9487" y="3108"/>
                    <a:pt x="9497" y="3097"/>
                  </a:cubicBezTo>
                  <a:cubicBezTo>
                    <a:pt x="9508" y="3086"/>
                    <a:pt x="9503" y="3066"/>
                    <a:pt x="9503" y="3066"/>
                  </a:cubicBezTo>
                  <a:cubicBezTo>
                    <a:pt x="9540" y="3032"/>
                    <a:pt x="9540" y="3032"/>
                    <a:pt x="9540" y="3032"/>
                  </a:cubicBezTo>
                  <a:cubicBezTo>
                    <a:pt x="9540" y="3032"/>
                    <a:pt x="9549" y="2992"/>
                    <a:pt x="9544" y="2982"/>
                  </a:cubicBezTo>
                  <a:cubicBezTo>
                    <a:pt x="9540" y="2972"/>
                    <a:pt x="9524" y="2975"/>
                    <a:pt x="9524" y="2975"/>
                  </a:cubicBezTo>
                  <a:cubicBezTo>
                    <a:pt x="9524" y="2975"/>
                    <a:pt x="9502" y="2935"/>
                    <a:pt x="9487" y="2922"/>
                  </a:cubicBezTo>
                  <a:cubicBezTo>
                    <a:pt x="9472" y="2909"/>
                    <a:pt x="9422" y="2900"/>
                    <a:pt x="9422" y="2900"/>
                  </a:cubicBezTo>
                  <a:cubicBezTo>
                    <a:pt x="9422" y="2900"/>
                    <a:pt x="9379" y="2886"/>
                    <a:pt x="9376" y="2871"/>
                  </a:cubicBezTo>
                  <a:cubicBezTo>
                    <a:pt x="9375" y="2866"/>
                    <a:pt x="9372" y="2861"/>
                    <a:pt x="9369" y="2855"/>
                  </a:cubicBezTo>
                  <a:cubicBezTo>
                    <a:pt x="9364" y="2842"/>
                    <a:pt x="9357" y="2827"/>
                    <a:pt x="9359" y="2815"/>
                  </a:cubicBezTo>
                  <a:cubicBezTo>
                    <a:pt x="9362" y="2798"/>
                    <a:pt x="9367" y="2770"/>
                    <a:pt x="9360" y="2767"/>
                  </a:cubicBezTo>
                  <a:cubicBezTo>
                    <a:pt x="9352" y="2764"/>
                    <a:pt x="9331" y="2815"/>
                    <a:pt x="9331" y="2815"/>
                  </a:cubicBezTo>
                  <a:cubicBezTo>
                    <a:pt x="9331" y="2815"/>
                    <a:pt x="9317" y="2817"/>
                    <a:pt x="9311" y="2825"/>
                  </a:cubicBezTo>
                  <a:cubicBezTo>
                    <a:pt x="9306" y="2834"/>
                    <a:pt x="9276" y="2866"/>
                    <a:pt x="9276" y="2866"/>
                  </a:cubicBezTo>
                  <a:cubicBezTo>
                    <a:pt x="9276" y="2866"/>
                    <a:pt x="9276" y="2894"/>
                    <a:pt x="9267" y="2895"/>
                  </a:cubicBezTo>
                  <a:cubicBezTo>
                    <a:pt x="9258" y="2896"/>
                    <a:pt x="9214" y="2891"/>
                    <a:pt x="9207" y="2891"/>
                  </a:cubicBezTo>
                  <a:cubicBezTo>
                    <a:pt x="9201" y="2891"/>
                    <a:pt x="9170" y="2908"/>
                    <a:pt x="9161" y="2904"/>
                  </a:cubicBezTo>
                  <a:cubicBezTo>
                    <a:pt x="9156" y="2902"/>
                    <a:pt x="9150" y="2896"/>
                    <a:pt x="9146" y="2891"/>
                  </a:cubicBezTo>
                  <a:cubicBezTo>
                    <a:pt x="9146" y="2891"/>
                    <a:pt x="9146" y="2891"/>
                    <a:pt x="9146" y="2891"/>
                  </a:cubicBezTo>
                  <a:cubicBezTo>
                    <a:pt x="9142" y="2886"/>
                    <a:pt x="9139" y="2880"/>
                    <a:pt x="9140" y="2876"/>
                  </a:cubicBezTo>
                  <a:cubicBezTo>
                    <a:pt x="9140" y="2876"/>
                    <a:pt x="9140" y="2875"/>
                    <a:pt x="9140" y="2875"/>
                  </a:cubicBezTo>
                  <a:cubicBezTo>
                    <a:pt x="9145" y="2866"/>
                    <a:pt x="9159" y="2836"/>
                    <a:pt x="9157" y="2815"/>
                  </a:cubicBezTo>
                  <a:cubicBezTo>
                    <a:pt x="9155" y="2794"/>
                    <a:pt x="9141" y="2780"/>
                    <a:pt x="9132" y="2783"/>
                  </a:cubicBezTo>
                  <a:cubicBezTo>
                    <a:pt x="9122" y="2786"/>
                    <a:pt x="9120" y="2812"/>
                    <a:pt x="9119" y="2827"/>
                  </a:cubicBezTo>
                  <a:cubicBezTo>
                    <a:pt x="9119" y="2842"/>
                    <a:pt x="9119" y="2863"/>
                    <a:pt x="9111" y="2864"/>
                  </a:cubicBezTo>
                  <a:cubicBezTo>
                    <a:pt x="9111" y="2864"/>
                    <a:pt x="9111" y="2864"/>
                    <a:pt x="9110" y="2863"/>
                  </a:cubicBezTo>
                  <a:cubicBezTo>
                    <a:pt x="9103" y="2861"/>
                    <a:pt x="9096" y="2822"/>
                    <a:pt x="9090" y="2817"/>
                  </a:cubicBezTo>
                  <a:cubicBezTo>
                    <a:pt x="9084" y="2812"/>
                    <a:pt x="9068" y="2809"/>
                    <a:pt x="9065" y="2795"/>
                  </a:cubicBezTo>
                  <a:cubicBezTo>
                    <a:pt x="9061" y="2781"/>
                    <a:pt x="9066" y="2759"/>
                    <a:pt x="9053" y="2749"/>
                  </a:cubicBezTo>
                  <a:cubicBezTo>
                    <a:pt x="9039" y="2738"/>
                    <a:pt x="9021" y="2740"/>
                    <a:pt x="9015" y="2728"/>
                  </a:cubicBezTo>
                  <a:cubicBezTo>
                    <a:pt x="9009" y="2715"/>
                    <a:pt x="9016" y="2702"/>
                    <a:pt x="9010" y="2698"/>
                  </a:cubicBezTo>
                  <a:cubicBezTo>
                    <a:pt x="9004" y="2694"/>
                    <a:pt x="8992" y="2681"/>
                    <a:pt x="8992" y="2681"/>
                  </a:cubicBezTo>
                  <a:cubicBezTo>
                    <a:pt x="8991" y="2664"/>
                    <a:pt x="8991" y="2664"/>
                    <a:pt x="8991" y="2664"/>
                  </a:cubicBezTo>
                  <a:cubicBezTo>
                    <a:pt x="8991" y="2664"/>
                    <a:pt x="8988" y="2661"/>
                    <a:pt x="8983" y="2658"/>
                  </a:cubicBezTo>
                  <a:cubicBezTo>
                    <a:pt x="8973" y="2650"/>
                    <a:pt x="8957" y="2636"/>
                    <a:pt x="8958" y="2625"/>
                  </a:cubicBezTo>
                  <a:cubicBezTo>
                    <a:pt x="8958" y="2625"/>
                    <a:pt x="8958" y="2625"/>
                    <a:pt x="8958" y="2624"/>
                  </a:cubicBezTo>
                  <a:cubicBezTo>
                    <a:pt x="8950" y="2619"/>
                    <a:pt x="8950" y="2619"/>
                    <a:pt x="8950" y="2619"/>
                  </a:cubicBezTo>
                  <a:cubicBezTo>
                    <a:pt x="8949" y="2605"/>
                    <a:pt x="8949" y="2605"/>
                    <a:pt x="8949" y="2605"/>
                  </a:cubicBezTo>
                  <a:cubicBezTo>
                    <a:pt x="8949" y="2605"/>
                    <a:pt x="8963" y="2603"/>
                    <a:pt x="8967" y="2603"/>
                  </a:cubicBezTo>
                  <a:cubicBezTo>
                    <a:pt x="8971" y="2603"/>
                    <a:pt x="8971" y="2594"/>
                    <a:pt x="8971" y="2594"/>
                  </a:cubicBezTo>
                  <a:cubicBezTo>
                    <a:pt x="8971" y="2594"/>
                    <a:pt x="8971" y="2586"/>
                    <a:pt x="8962" y="2586"/>
                  </a:cubicBezTo>
                  <a:cubicBezTo>
                    <a:pt x="8953" y="2586"/>
                    <a:pt x="8953" y="2591"/>
                    <a:pt x="8953" y="2591"/>
                  </a:cubicBezTo>
                  <a:cubicBezTo>
                    <a:pt x="8949" y="2578"/>
                    <a:pt x="8949" y="2578"/>
                    <a:pt x="8949" y="2578"/>
                  </a:cubicBezTo>
                  <a:cubicBezTo>
                    <a:pt x="8951" y="2583"/>
                    <a:pt x="8951" y="2583"/>
                    <a:pt x="8951" y="2583"/>
                  </a:cubicBezTo>
                  <a:cubicBezTo>
                    <a:pt x="8969" y="2577"/>
                    <a:pt x="8969" y="2577"/>
                    <a:pt x="8969" y="2577"/>
                  </a:cubicBezTo>
                  <a:cubicBezTo>
                    <a:pt x="8972" y="2572"/>
                    <a:pt x="8972" y="2572"/>
                    <a:pt x="8972" y="2572"/>
                  </a:cubicBezTo>
                  <a:cubicBezTo>
                    <a:pt x="8972" y="2572"/>
                    <a:pt x="8972" y="2572"/>
                    <a:pt x="8972" y="2572"/>
                  </a:cubicBezTo>
                  <a:cubicBezTo>
                    <a:pt x="8979" y="2579"/>
                    <a:pt x="8990" y="2584"/>
                    <a:pt x="8995" y="2581"/>
                  </a:cubicBezTo>
                  <a:cubicBezTo>
                    <a:pt x="9002" y="2576"/>
                    <a:pt x="8980" y="2565"/>
                    <a:pt x="8996" y="2558"/>
                  </a:cubicBezTo>
                  <a:cubicBezTo>
                    <a:pt x="9012" y="2551"/>
                    <a:pt x="9011" y="2569"/>
                    <a:pt x="9011" y="2569"/>
                  </a:cubicBezTo>
                  <a:cubicBezTo>
                    <a:pt x="9018" y="2575"/>
                    <a:pt x="9018" y="2575"/>
                    <a:pt x="9018" y="2575"/>
                  </a:cubicBezTo>
                  <a:cubicBezTo>
                    <a:pt x="9019" y="2574"/>
                    <a:pt x="9021" y="2574"/>
                    <a:pt x="9024" y="2575"/>
                  </a:cubicBezTo>
                  <a:cubicBezTo>
                    <a:pt x="9026" y="2576"/>
                    <a:pt x="9027" y="2576"/>
                    <a:pt x="9029" y="2577"/>
                  </a:cubicBezTo>
                  <a:cubicBezTo>
                    <a:pt x="9030" y="2576"/>
                    <a:pt x="9031" y="2574"/>
                    <a:pt x="9031" y="2573"/>
                  </a:cubicBezTo>
                  <a:cubicBezTo>
                    <a:pt x="9032" y="2569"/>
                    <a:pt x="9043" y="2566"/>
                    <a:pt x="9046" y="2568"/>
                  </a:cubicBezTo>
                  <a:cubicBezTo>
                    <a:pt x="9049" y="2570"/>
                    <a:pt x="9044" y="2591"/>
                    <a:pt x="9051" y="2594"/>
                  </a:cubicBezTo>
                  <a:cubicBezTo>
                    <a:pt x="9058" y="2597"/>
                    <a:pt x="9073" y="2608"/>
                    <a:pt x="9073" y="2608"/>
                  </a:cubicBezTo>
                  <a:cubicBezTo>
                    <a:pt x="9073" y="2608"/>
                    <a:pt x="9071" y="2613"/>
                    <a:pt x="9071" y="2618"/>
                  </a:cubicBezTo>
                  <a:cubicBezTo>
                    <a:pt x="9076" y="2624"/>
                    <a:pt x="9081" y="2630"/>
                    <a:pt x="9084" y="2636"/>
                  </a:cubicBezTo>
                  <a:cubicBezTo>
                    <a:pt x="9084" y="2636"/>
                    <a:pt x="9084" y="2636"/>
                    <a:pt x="9084" y="2636"/>
                  </a:cubicBezTo>
                  <a:cubicBezTo>
                    <a:pt x="9088" y="2638"/>
                    <a:pt x="9091" y="2640"/>
                    <a:pt x="9091" y="2640"/>
                  </a:cubicBezTo>
                  <a:cubicBezTo>
                    <a:pt x="9100" y="2653"/>
                    <a:pt x="9100" y="2653"/>
                    <a:pt x="9100" y="2653"/>
                  </a:cubicBezTo>
                  <a:cubicBezTo>
                    <a:pt x="9100" y="2653"/>
                    <a:pt x="9102" y="2677"/>
                    <a:pt x="9112" y="2679"/>
                  </a:cubicBezTo>
                  <a:cubicBezTo>
                    <a:pt x="9122" y="2681"/>
                    <a:pt x="9122" y="2697"/>
                    <a:pt x="9122" y="2697"/>
                  </a:cubicBezTo>
                  <a:cubicBezTo>
                    <a:pt x="9144" y="2697"/>
                    <a:pt x="9144" y="2697"/>
                    <a:pt x="9144" y="2697"/>
                  </a:cubicBezTo>
                  <a:cubicBezTo>
                    <a:pt x="9156" y="2709"/>
                    <a:pt x="9156" y="2709"/>
                    <a:pt x="9156" y="2709"/>
                  </a:cubicBezTo>
                  <a:cubicBezTo>
                    <a:pt x="9164" y="2707"/>
                    <a:pt x="9171" y="2705"/>
                    <a:pt x="9178" y="2709"/>
                  </a:cubicBezTo>
                  <a:cubicBezTo>
                    <a:pt x="9188" y="2714"/>
                    <a:pt x="9217" y="2739"/>
                    <a:pt x="9239" y="2756"/>
                  </a:cubicBezTo>
                  <a:cubicBezTo>
                    <a:pt x="9240" y="2757"/>
                    <a:pt x="9241" y="2757"/>
                    <a:pt x="9242" y="2757"/>
                  </a:cubicBezTo>
                  <a:cubicBezTo>
                    <a:pt x="9248" y="2757"/>
                    <a:pt x="9259" y="2759"/>
                    <a:pt x="9259" y="2759"/>
                  </a:cubicBezTo>
                  <a:cubicBezTo>
                    <a:pt x="9259" y="2759"/>
                    <a:pt x="9262" y="2773"/>
                    <a:pt x="9278" y="2768"/>
                  </a:cubicBezTo>
                  <a:cubicBezTo>
                    <a:pt x="9294" y="2763"/>
                    <a:pt x="9297" y="2756"/>
                    <a:pt x="9297" y="2756"/>
                  </a:cubicBezTo>
                  <a:cubicBezTo>
                    <a:pt x="9313" y="2758"/>
                    <a:pt x="9313" y="2758"/>
                    <a:pt x="9313" y="2758"/>
                  </a:cubicBezTo>
                  <a:cubicBezTo>
                    <a:pt x="9319" y="2744"/>
                    <a:pt x="9319" y="2744"/>
                    <a:pt x="9319" y="2744"/>
                  </a:cubicBezTo>
                  <a:cubicBezTo>
                    <a:pt x="9333" y="2742"/>
                    <a:pt x="9333" y="2742"/>
                    <a:pt x="9333" y="2742"/>
                  </a:cubicBezTo>
                  <a:cubicBezTo>
                    <a:pt x="9349" y="2727"/>
                    <a:pt x="9349" y="2727"/>
                    <a:pt x="9349" y="2727"/>
                  </a:cubicBezTo>
                  <a:cubicBezTo>
                    <a:pt x="9354" y="2735"/>
                    <a:pt x="9354" y="2735"/>
                    <a:pt x="9354" y="2735"/>
                  </a:cubicBezTo>
                  <a:cubicBezTo>
                    <a:pt x="9362" y="2733"/>
                    <a:pt x="9369" y="2732"/>
                    <a:pt x="9372" y="2736"/>
                  </a:cubicBezTo>
                  <a:cubicBezTo>
                    <a:pt x="9385" y="2747"/>
                    <a:pt x="9399" y="2770"/>
                    <a:pt x="9401" y="2788"/>
                  </a:cubicBezTo>
                  <a:cubicBezTo>
                    <a:pt x="9403" y="2807"/>
                    <a:pt x="9431" y="2805"/>
                    <a:pt x="9431" y="2805"/>
                  </a:cubicBezTo>
                  <a:cubicBezTo>
                    <a:pt x="9431" y="2805"/>
                    <a:pt x="9430" y="2812"/>
                    <a:pt x="9443" y="2815"/>
                  </a:cubicBezTo>
                  <a:cubicBezTo>
                    <a:pt x="9456" y="2818"/>
                    <a:pt x="9487" y="2814"/>
                    <a:pt x="9487" y="2814"/>
                  </a:cubicBezTo>
                  <a:cubicBezTo>
                    <a:pt x="9487" y="2814"/>
                    <a:pt x="9513" y="2834"/>
                    <a:pt x="9518" y="2834"/>
                  </a:cubicBezTo>
                  <a:cubicBezTo>
                    <a:pt x="9523" y="2834"/>
                    <a:pt x="9541" y="2825"/>
                    <a:pt x="9541" y="2825"/>
                  </a:cubicBezTo>
                  <a:cubicBezTo>
                    <a:pt x="9541" y="2825"/>
                    <a:pt x="9567" y="2841"/>
                    <a:pt x="9585" y="2842"/>
                  </a:cubicBezTo>
                  <a:cubicBezTo>
                    <a:pt x="9591" y="2842"/>
                    <a:pt x="9597" y="2841"/>
                    <a:pt x="9602" y="2839"/>
                  </a:cubicBezTo>
                  <a:cubicBezTo>
                    <a:pt x="9603" y="2839"/>
                    <a:pt x="9603" y="2839"/>
                    <a:pt x="9603" y="2839"/>
                  </a:cubicBezTo>
                  <a:cubicBezTo>
                    <a:pt x="9613" y="2835"/>
                    <a:pt x="9621" y="2830"/>
                    <a:pt x="9621" y="2830"/>
                  </a:cubicBezTo>
                  <a:cubicBezTo>
                    <a:pt x="9621" y="2830"/>
                    <a:pt x="9643" y="2837"/>
                    <a:pt x="9653" y="2837"/>
                  </a:cubicBezTo>
                  <a:cubicBezTo>
                    <a:pt x="9663" y="2838"/>
                    <a:pt x="9692" y="2822"/>
                    <a:pt x="9692" y="2822"/>
                  </a:cubicBezTo>
                  <a:cubicBezTo>
                    <a:pt x="9692" y="2822"/>
                    <a:pt x="9708" y="2830"/>
                    <a:pt x="9718" y="2828"/>
                  </a:cubicBezTo>
                  <a:cubicBezTo>
                    <a:pt x="9729" y="2826"/>
                    <a:pt x="9751" y="2817"/>
                    <a:pt x="9751" y="2817"/>
                  </a:cubicBezTo>
                  <a:cubicBezTo>
                    <a:pt x="9777" y="2824"/>
                    <a:pt x="9777" y="2824"/>
                    <a:pt x="9777" y="2824"/>
                  </a:cubicBezTo>
                  <a:cubicBezTo>
                    <a:pt x="9777" y="2824"/>
                    <a:pt x="9792" y="2803"/>
                    <a:pt x="9810" y="2815"/>
                  </a:cubicBezTo>
                  <a:cubicBezTo>
                    <a:pt x="9827" y="2826"/>
                    <a:pt x="9828" y="2861"/>
                    <a:pt x="9842" y="2864"/>
                  </a:cubicBezTo>
                  <a:cubicBezTo>
                    <a:pt x="9856" y="2867"/>
                    <a:pt x="9882" y="2867"/>
                    <a:pt x="9891" y="2876"/>
                  </a:cubicBezTo>
                  <a:cubicBezTo>
                    <a:pt x="9901" y="2885"/>
                    <a:pt x="9902" y="2906"/>
                    <a:pt x="9913" y="2907"/>
                  </a:cubicBezTo>
                  <a:cubicBezTo>
                    <a:pt x="9916" y="2907"/>
                    <a:pt x="9920" y="2907"/>
                    <a:pt x="9924" y="2907"/>
                  </a:cubicBezTo>
                  <a:cubicBezTo>
                    <a:pt x="9935" y="2908"/>
                    <a:pt x="9947" y="2908"/>
                    <a:pt x="9947" y="2908"/>
                  </a:cubicBezTo>
                  <a:cubicBezTo>
                    <a:pt x="9947" y="2908"/>
                    <a:pt x="9937" y="2932"/>
                    <a:pt x="9950" y="2941"/>
                  </a:cubicBezTo>
                  <a:cubicBezTo>
                    <a:pt x="9962" y="2951"/>
                    <a:pt x="9995" y="2954"/>
                    <a:pt x="10002" y="2952"/>
                  </a:cubicBezTo>
                  <a:cubicBezTo>
                    <a:pt x="10008" y="2950"/>
                    <a:pt x="10032" y="2933"/>
                    <a:pt x="10032" y="2933"/>
                  </a:cubicBezTo>
                  <a:cubicBezTo>
                    <a:pt x="10032" y="2933"/>
                    <a:pt x="10042" y="2945"/>
                    <a:pt x="10030" y="2956"/>
                  </a:cubicBezTo>
                  <a:cubicBezTo>
                    <a:pt x="10018" y="2967"/>
                    <a:pt x="9994" y="2974"/>
                    <a:pt x="9994" y="2974"/>
                  </a:cubicBezTo>
                  <a:cubicBezTo>
                    <a:pt x="9994" y="2974"/>
                    <a:pt x="9956" y="2979"/>
                    <a:pt x="9954" y="2990"/>
                  </a:cubicBezTo>
                  <a:cubicBezTo>
                    <a:pt x="9952" y="3001"/>
                    <a:pt x="9982" y="3025"/>
                    <a:pt x="9994" y="3034"/>
                  </a:cubicBezTo>
                  <a:cubicBezTo>
                    <a:pt x="10007" y="3043"/>
                    <a:pt x="10030" y="3071"/>
                    <a:pt x="10060" y="3073"/>
                  </a:cubicBezTo>
                  <a:cubicBezTo>
                    <a:pt x="10091" y="3076"/>
                    <a:pt x="10129" y="3049"/>
                    <a:pt x="10125" y="3030"/>
                  </a:cubicBezTo>
                  <a:cubicBezTo>
                    <a:pt x="10121" y="3012"/>
                    <a:pt x="10131" y="2997"/>
                    <a:pt x="10141" y="2988"/>
                  </a:cubicBezTo>
                  <a:cubicBezTo>
                    <a:pt x="10150" y="2978"/>
                    <a:pt x="10172" y="2973"/>
                    <a:pt x="10162" y="2990"/>
                  </a:cubicBezTo>
                  <a:cubicBezTo>
                    <a:pt x="10153" y="3007"/>
                    <a:pt x="10130" y="3022"/>
                    <a:pt x="10137" y="3036"/>
                  </a:cubicBezTo>
                  <a:cubicBezTo>
                    <a:pt x="10144" y="3050"/>
                    <a:pt x="10162" y="3048"/>
                    <a:pt x="10162" y="3063"/>
                  </a:cubicBezTo>
                  <a:cubicBezTo>
                    <a:pt x="10161" y="3077"/>
                    <a:pt x="10157" y="3093"/>
                    <a:pt x="10151" y="3116"/>
                  </a:cubicBezTo>
                  <a:cubicBezTo>
                    <a:pt x="10144" y="3140"/>
                    <a:pt x="10144" y="3162"/>
                    <a:pt x="10151" y="3191"/>
                  </a:cubicBezTo>
                  <a:cubicBezTo>
                    <a:pt x="10159" y="3219"/>
                    <a:pt x="10171" y="3269"/>
                    <a:pt x="10182" y="3284"/>
                  </a:cubicBezTo>
                  <a:cubicBezTo>
                    <a:pt x="10193" y="3300"/>
                    <a:pt x="10196" y="3294"/>
                    <a:pt x="10191" y="3317"/>
                  </a:cubicBezTo>
                  <a:cubicBezTo>
                    <a:pt x="10186" y="3340"/>
                    <a:pt x="10223" y="3347"/>
                    <a:pt x="10223" y="3347"/>
                  </a:cubicBezTo>
                  <a:cubicBezTo>
                    <a:pt x="10223" y="3347"/>
                    <a:pt x="10228" y="3379"/>
                    <a:pt x="10236" y="3390"/>
                  </a:cubicBezTo>
                  <a:cubicBezTo>
                    <a:pt x="10245" y="3402"/>
                    <a:pt x="10263" y="3411"/>
                    <a:pt x="10263" y="3411"/>
                  </a:cubicBezTo>
                  <a:cubicBezTo>
                    <a:pt x="10263" y="3411"/>
                    <a:pt x="10268" y="3477"/>
                    <a:pt x="10278" y="3507"/>
                  </a:cubicBezTo>
                  <a:cubicBezTo>
                    <a:pt x="10289" y="3537"/>
                    <a:pt x="10326" y="3578"/>
                    <a:pt x="10331" y="3590"/>
                  </a:cubicBezTo>
                  <a:cubicBezTo>
                    <a:pt x="10336" y="3603"/>
                    <a:pt x="10338" y="3629"/>
                    <a:pt x="10337" y="3641"/>
                  </a:cubicBezTo>
                  <a:cubicBezTo>
                    <a:pt x="10335" y="3653"/>
                    <a:pt x="10403" y="3757"/>
                    <a:pt x="10403" y="3757"/>
                  </a:cubicBezTo>
                  <a:cubicBezTo>
                    <a:pt x="10403" y="3757"/>
                    <a:pt x="10436" y="3748"/>
                    <a:pt x="10442" y="3739"/>
                  </a:cubicBezTo>
                  <a:cubicBezTo>
                    <a:pt x="10447" y="3729"/>
                    <a:pt x="10439" y="3707"/>
                    <a:pt x="10450" y="3700"/>
                  </a:cubicBezTo>
                  <a:cubicBezTo>
                    <a:pt x="10460" y="3693"/>
                    <a:pt x="10464" y="3701"/>
                    <a:pt x="10474" y="3698"/>
                  </a:cubicBezTo>
                  <a:cubicBezTo>
                    <a:pt x="10485" y="3695"/>
                    <a:pt x="10502" y="3682"/>
                    <a:pt x="10502" y="3682"/>
                  </a:cubicBezTo>
                  <a:cubicBezTo>
                    <a:pt x="10502" y="3682"/>
                    <a:pt x="10487" y="3686"/>
                    <a:pt x="10490" y="3669"/>
                  </a:cubicBezTo>
                  <a:cubicBezTo>
                    <a:pt x="10492" y="3652"/>
                    <a:pt x="10499" y="3649"/>
                    <a:pt x="10511" y="3643"/>
                  </a:cubicBezTo>
                  <a:cubicBezTo>
                    <a:pt x="10523" y="3637"/>
                    <a:pt x="10537" y="3634"/>
                    <a:pt x="10537" y="3626"/>
                  </a:cubicBezTo>
                  <a:cubicBezTo>
                    <a:pt x="10538" y="3617"/>
                    <a:pt x="10525" y="3585"/>
                    <a:pt x="10525" y="3566"/>
                  </a:cubicBezTo>
                  <a:cubicBezTo>
                    <a:pt x="10524" y="3548"/>
                    <a:pt x="10523" y="3519"/>
                    <a:pt x="10529" y="3516"/>
                  </a:cubicBezTo>
                  <a:cubicBezTo>
                    <a:pt x="10536" y="3512"/>
                    <a:pt x="10533" y="3504"/>
                    <a:pt x="10534" y="3472"/>
                  </a:cubicBezTo>
                  <a:cubicBezTo>
                    <a:pt x="10536" y="3440"/>
                    <a:pt x="10516" y="3440"/>
                    <a:pt x="10514" y="3427"/>
                  </a:cubicBezTo>
                  <a:cubicBezTo>
                    <a:pt x="10512" y="3415"/>
                    <a:pt x="10522" y="3409"/>
                    <a:pt x="10523" y="3397"/>
                  </a:cubicBezTo>
                  <a:cubicBezTo>
                    <a:pt x="10525" y="3385"/>
                    <a:pt x="10518" y="3378"/>
                    <a:pt x="10518" y="3362"/>
                  </a:cubicBezTo>
                  <a:cubicBezTo>
                    <a:pt x="10519" y="3346"/>
                    <a:pt x="10555" y="3344"/>
                    <a:pt x="10555" y="3337"/>
                  </a:cubicBezTo>
                  <a:cubicBezTo>
                    <a:pt x="10555" y="3330"/>
                    <a:pt x="10555" y="3314"/>
                    <a:pt x="10562" y="3309"/>
                  </a:cubicBezTo>
                  <a:cubicBezTo>
                    <a:pt x="10570" y="3304"/>
                    <a:pt x="10584" y="3305"/>
                    <a:pt x="10584" y="3305"/>
                  </a:cubicBezTo>
                  <a:cubicBezTo>
                    <a:pt x="10587" y="3299"/>
                    <a:pt x="10587" y="3299"/>
                    <a:pt x="10587" y="3299"/>
                  </a:cubicBezTo>
                  <a:cubicBezTo>
                    <a:pt x="10587" y="3299"/>
                    <a:pt x="10610" y="3310"/>
                    <a:pt x="10612" y="3299"/>
                  </a:cubicBezTo>
                  <a:cubicBezTo>
                    <a:pt x="10614" y="3288"/>
                    <a:pt x="10633" y="3253"/>
                    <a:pt x="10639" y="3243"/>
                  </a:cubicBezTo>
                  <a:cubicBezTo>
                    <a:pt x="10646" y="3234"/>
                    <a:pt x="10668" y="3235"/>
                    <a:pt x="10675" y="3221"/>
                  </a:cubicBezTo>
                  <a:cubicBezTo>
                    <a:pt x="10682" y="3208"/>
                    <a:pt x="10693" y="3180"/>
                    <a:pt x="10703" y="3171"/>
                  </a:cubicBezTo>
                  <a:cubicBezTo>
                    <a:pt x="10712" y="3161"/>
                    <a:pt x="10751" y="3141"/>
                    <a:pt x="10751" y="3141"/>
                  </a:cubicBezTo>
                  <a:cubicBezTo>
                    <a:pt x="10744" y="3121"/>
                    <a:pt x="10744" y="3121"/>
                    <a:pt x="10744" y="3121"/>
                  </a:cubicBezTo>
                  <a:cubicBezTo>
                    <a:pt x="10750" y="3116"/>
                    <a:pt x="10750" y="3116"/>
                    <a:pt x="10750" y="3116"/>
                  </a:cubicBezTo>
                  <a:cubicBezTo>
                    <a:pt x="10763" y="3135"/>
                    <a:pt x="10763" y="3135"/>
                    <a:pt x="10763" y="3135"/>
                  </a:cubicBezTo>
                  <a:cubicBezTo>
                    <a:pt x="10804" y="3096"/>
                    <a:pt x="10804" y="3096"/>
                    <a:pt x="10804" y="3096"/>
                  </a:cubicBezTo>
                  <a:cubicBezTo>
                    <a:pt x="10811" y="3078"/>
                    <a:pt x="10811" y="3078"/>
                    <a:pt x="10811" y="3078"/>
                  </a:cubicBezTo>
                  <a:cubicBezTo>
                    <a:pt x="10811" y="3078"/>
                    <a:pt x="10797" y="3061"/>
                    <a:pt x="10797" y="3050"/>
                  </a:cubicBezTo>
                  <a:cubicBezTo>
                    <a:pt x="10798" y="3039"/>
                    <a:pt x="10821" y="3043"/>
                    <a:pt x="10833" y="3028"/>
                  </a:cubicBezTo>
                  <a:cubicBezTo>
                    <a:pt x="10845" y="3012"/>
                    <a:pt x="10841" y="2999"/>
                    <a:pt x="10841" y="2999"/>
                  </a:cubicBezTo>
                  <a:cubicBezTo>
                    <a:pt x="10852" y="3004"/>
                    <a:pt x="10852" y="3004"/>
                    <a:pt x="10852" y="3004"/>
                  </a:cubicBezTo>
                  <a:cubicBezTo>
                    <a:pt x="10858" y="3022"/>
                    <a:pt x="10858" y="3022"/>
                    <a:pt x="10858" y="3022"/>
                  </a:cubicBezTo>
                  <a:cubicBezTo>
                    <a:pt x="10866" y="2999"/>
                    <a:pt x="10866" y="2999"/>
                    <a:pt x="10866" y="2999"/>
                  </a:cubicBezTo>
                  <a:cubicBezTo>
                    <a:pt x="10866" y="2999"/>
                    <a:pt x="10874" y="3041"/>
                    <a:pt x="10881" y="3044"/>
                  </a:cubicBezTo>
                  <a:cubicBezTo>
                    <a:pt x="10889" y="3046"/>
                    <a:pt x="10892" y="3018"/>
                    <a:pt x="10892" y="3018"/>
                  </a:cubicBezTo>
                  <a:cubicBezTo>
                    <a:pt x="10909" y="3041"/>
                    <a:pt x="10909" y="3041"/>
                    <a:pt x="10909" y="3041"/>
                  </a:cubicBezTo>
                  <a:cubicBezTo>
                    <a:pt x="10911" y="3002"/>
                    <a:pt x="10911" y="3002"/>
                    <a:pt x="10911" y="3002"/>
                  </a:cubicBezTo>
                  <a:cubicBezTo>
                    <a:pt x="10911" y="3002"/>
                    <a:pt x="10953" y="3018"/>
                    <a:pt x="10961" y="3016"/>
                  </a:cubicBezTo>
                  <a:cubicBezTo>
                    <a:pt x="10969" y="3013"/>
                    <a:pt x="10953" y="2995"/>
                    <a:pt x="10962" y="2993"/>
                  </a:cubicBezTo>
                  <a:cubicBezTo>
                    <a:pt x="10971" y="2991"/>
                    <a:pt x="10988" y="3011"/>
                    <a:pt x="11001" y="3006"/>
                  </a:cubicBezTo>
                  <a:cubicBezTo>
                    <a:pt x="11014" y="3002"/>
                    <a:pt x="11009" y="2989"/>
                    <a:pt x="11009" y="2989"/>
                  </a:cubicBezTo>
                  <a:cubicBezTo>
                    <a:pt x="11001" y="2968"/>
                    <a:pt x="11001" y="2968"/>
                    <a:pt x="11001" y="2968"/>
                  </a:cubicBezTo>
                  <a:cubicBezTo>
                    <a:pt x="11032" y="3001"/>
                    <a:pt x="11032" y="3001"/>
                    <a:pt x="11032" y="3001"/>
                  </a:cubicBezTo>
                  <a:cubicBezTo>
                    <a:pt x="11032" y="3001"/>
                    <a:pt x="11020" y="3040"/>
                    <a:pt x="11029" y="3046"/>
                  </a:cubicBezTo>
                  <a:cubicBezTo>
                    <a:pt x="11032" y="3048"/>
                    <a:pt x="11037" y="3049"/>
                    <a:pt x="11041" y="3050"/>
                  </a:cubicBezTo>
                  <a:cubicBezTo>
                    <a:pt x="11041" y="3050"/>
                    <a:pt x="11041" y="3050"/>
                    <a:pt x="11041" y="3050"/>
                  </a:cubicBezTo>
                  <a:cubicBezTo>
                    <a:pt x="11046" y="3050"/>
                    <a:pt x="11050" y="3050"/>
                    <a:pt x="11050" y="3050"/>
                  </a:cubicBezTo>
                  <a:cubicBezTo>
                    <a:pt x="11050" y="3081"/>
                    <a:pt x="11050" y="3081"/>
                    <a:pt x="11050" y="3081"/>
                  </a:cubicBezTo>
                  <a:cubicBezTo>
                    <a:pt x="11050" y="3081"/>
                    <a:pt x="11073" y="3087"/>
                    <a:pt x="11082" y="3097"/>
                  </a:cubicBezTo>
                  <a:cubicBezTo>
                    <a:pt x="11092" y="3107"/>
                    <a:pt x="11100" y="3129"/>
                    <a:pt x="11100" y="3129"/>
                  </a:cubicBezTo>
                  <a:cubicBezTo>
                    <a:pt x="11122" y="3124"/>
                    <a:pt x="11122" y="3124"/>
                    <a:pt x="11122" y="3124"/>
                  </a:cubicBezTo>
                  <a:cubicBezTo>
                    <a:pt x="11108" y="3153"/>
                    <a:pt x="11108" y="3153"/>
                    <a:pt x="11108" y="3153"/>
                  </a:cubicBezTo>
                  <a:cubicBezTo>
                    <a:pt x="11108" y="3153"/>
                    <a:pt x="11139" y="3160"/>
                    <a:pt x="11151" y="3169"/>
                  </a:cubicBezTo>
                  <a:cubicBezTo>
                    <a:pt x="11163" y="3178"/>
                    <a:pt x="11171" y="3214"/>
                    <a:pt x="11173" y="3221"/>
                  </a:cubicBezTo>
                  <a:cubicBezTo>
                    <a:pt x="11175" y="3227"/>
                    <a:pt x="11189" y="3240"/>
                    <a:pt x="11189" y="3240"/>
                  </a:cubicBezTo>
                  <a:cubicBezTo>
                    <a:pt x="11178" y="3252"/>
                    <a:pt x="11178" y="3252"/>
                    <a:pt x="11178" y="3252"/>
                  </a:cubicBezTo>
                  <a:cubicBezTo>
                    <a:pt x="11186" y="3313"/>
                    <a:pt x="11186" y="3313"/>
                    <a:pt x="11186" y="3313"/>
                  </a:cubicBezTo>
                  <a:cubicBezTo>
                    <a:pt x="11175" y="3321"/>
                    <a:pt x="11175" y="3321"/>
                    <a:pt x="11175" y="3321"/>
                  </a:cubicBezTo>
                  <a:cubicBezTo>
                    <a:pt x="11175" y="3321"/>
                    <a:pt x="11181" y="3340"/>
                    <a:pt x="11190" y="3339"/>
                  </a:cubicBezTo>
                  <a:cubicBezTo>
                    <a:pt x="11199" y="3338"/>
                    <a:pt x="11209" y="3330"/>
                    <a:pt x="11209" y="3330"/>
                  </a:cubicBezTo>
                  <a:cubicBezTo>
                    <a:pt x="11209" y="3330"/>
                    <a:pt x="11213" y="3345"/>
                    <a:pt x="11224" y="3340"/>
                  </a:cubicBezTo>
                  <a:cubicBezTo>
                    <a:pt x="11236" y="3336"/>
                    <a:pt x="11247" y="3313"/>
                    <a:pt x="11247" y="3313"/>
                  </a:cubicBezTo>
                  <a:cubicBezTo>
                    <a:pt x="11247" y="3313"/>
                    <a:pt x="11269" y="3309"/>
                    <a:pt x="11281" y="3300"/>
                  </a:cubicBezTo>
                  <a:cubicBezTo>
                    <a:pt x="11293" y="3290"/>
                    <a:pt x="11279" y="3261"/>
                    <a:pt x="11286" y="3255"/>
                  </a:cubicBezTo>
                  <a:close/>
                  <a:moveTo>
                    <a:pt x="8218" y="4658"/>
                  </a:moveTo>
                  <a:cubicBezTo>
                    <a:pt x="8216" y="4663"/>
                    <a:pt x="8213" y="4668"/>
                    <a:pt x="8210" y="4670"/>
                  </a:cubicBezTo>
                  <a:cubicBezTo>
                    <a:pt x="8202" y="4674"/>
                    <a:pt x="8201" y="4657"/>
                    <a:pt x="8201" y="4657"/>
                  </a:cubicBezTo>
                  <a:cubicBezTo>
                    <a:pt x="8201" y="4657"/>
                    <a:pt x="8193" y="4652"/>
                    <a:pt x="8182" y="4648"/>
                  </a:cubicBezTo>
                  <a:cubicBezTo>
                    <a:pt x="8175" y="4645"/>
                    <a:pt x="8180" y="4638"/>
                    <a:pt x="8184" y="4632"/>
                  </a:cubicBezTo>
                  <a:cubicBezTo>
                    <a:pt x="8187" y="4629"/>
                    <a:pt x="8189" y="4627"/>
                    <a:pt x="8189" y="4627"/>
                  </a:cubicBezTo>
                  <a:cubicBezTo>
                    <a:pt x="8189" y="4627"/>
                    <a:pt x="8182" y="4615"/>
                    <a:pt x="8177" y="4611"/>
                  </a:cubicBezTo>
                  <a:cubicBezTo>
                    <a:pt x="8173" y="4607"/>
                    <a:pt x="8176" y="4589"/>
                    <a:pt x="8176" y="4582"/>
                  </a:cubicBezTo>
                  <a:cubicBezTo>
                    <a:pt x="8176" y="4575"/>
                    <a:pt x="8164" y="4579"/>
                    <a:pt x="8161" y="4578"/>
                  </a:cubicBezTo>
                  <a:cubicBezTo>
                    <a:pt x="8158" y="4577"/>
                    <a:pt x="8155" y="4567"/>
                    <a:pt x="8155" y="4559"/>
                  </a:cubicBezTo>
                  <a:cubicBezTo>
                    <a:pt x="8155" y="4551"/>
                    <a:pt x="8146" y="4550"/>
                    <a:pt x="8139" y="4543"/>
                  </a:cubicBezTo>
                  <a:cubicBezTo>
                    <a:pt x="8132" y="4536"/>
                    <a:pt x="8130" y="4519"/>
                    <a:pt x="8131" y="4513"/>
                  </a:cubicBezTo>
                  <a:cubicBezTo>
                    <a:pt x="8132" y="4507"/>
                    <a:pt x="8137" y="4497"/>
                    <a:pt x="8137" y="4490"/>
                  </a:cubicBezTo>
                  <a:cubicBezTo>
                    <a:pt x="8137" y="4483"/>
                    <a:pt x="8127" y="4483"/>
                    <a:pt x="8123" y="4473"/>
                  </a:cubicBezTo>
                  <a:cubicBezTo>
                    <a:pt x="8119" y="4463"/>
                    <a:pt x="8123" y="4451"/>
                    <a:pt x="8124" y="4439"/>
                  </a:cubicBezTo>
                  <a:cubicBezTo>
                    <a:pt x="8125" y="4427"/>
                    <a:pt x="8126" y="4416"/>
                    <a:pt x="8129" y="4403"/>
                  </a:cubicBezTo>
                  <a:cubicBezTo>
                    <a:pt x="8131" y="4395"/>
                    <a:pt x="8137" y="4396"/>
                    <a:pt x="8141" y="4399"/>
                  </a:cubicBezTo>
                  <a:cubicBezTo>
                    <a:pt x="8141" y="4406"/>
                    <a:pt x="8142" y="4425"/>
                    <a:pt x="8147" y="4435"/>
                  </a:cubicBezTo>
                  <a:cubicBezTo>
                    <a:pt x="8148" y="4435"/>
                    <a:pt x="8150" y="4434"/>
                    <a:pt x="8152" y="4434"/>
                  </a:cubicBezTo>
                  <a:cubicBezTo>
                    <a:pt x="8152" y="4434"/>
                    <a:pt x="8151" y="4434"/>
                    <a:pt x="8151" y="4434"/>
                  </a:cubicBezTo>
                  <a:cubicBezTo>
                    <a:pt x="8149" y="4443"/>
                    <a:pt x="8149" y="4443"/>
                    <a:pt x="8149" y="4443"/>
                  </a:cubicBezTo>
                  <a:cubicBezTo>
                    <a:pt x="8149" y="4443"/>
                    <a:pt x="8155" y="4454"/>
                    <a:pt x="8158" y="4458"/>
                  </a:cubicBezTo>
                  <a:cubicBezTo>
                    <a:pt x="8161" y="4462"/>
                    <a:pt x="8157" y="4475"/>
                    <a:pt x="8157" y="4475"/>
                  </a:cubicBezTo>
                  <a:cubicBezTo>
                    <a:pt x="8157" y="4475"/>
                    <a:pt x="8168" y="4505"/>
                    <a:pt x="8164" y="4510"/>
                  </a:cubicBezTo>
                  <a:cubicBezTo>
                    <a:pt x="8160" y="4515"/>
                    <a:pt x="8157" y="4518"/>
                    <a:pt x="8158" y="4528"/>
                  </a:cubicBezTo>
                  <a:cubicBezTo>
                    <a:pt x="8159" y="4538"/>
                    <a:pt x="8167" y="4543"/>
                    <a:pt x="8173" y="4545"/>
                  </a:cubicBezTo>
                  <a:cubicBezTo>
                    <a:pt x="8179" y="4547"/>
                    <a:pt x="8196" y="4565"/>
                    <a:pt x="8200" y="4571"/>
                  </a:cubicBezTo>
                  <a:cubicBezTo>
                    <a:pt x="8204" y="4577"/>
                    <a:pt x="8200" y="4586"/>
                    <a:pt x="8198" y="4594"/>
                  </a:cubicBezTo>
                  <a:cubicBezTo>
                    <a:pt x="8196" y="4602"/>
                    <a:pt x="8205" y="4619"/>
                    <a:pt x="8205" y="4619"/>
                  </a:cubicBezTo>
                  <a:cubicBezTo>
                    <a:pt x="8223" y="4643"/>
                    <a:pt x="8223" y="4643"/>
                    <a:pt x="8223" y="4643"/>
                  </a:cubicBezTo>
                  <a:cubicBezTo>
                    <a:pt x="8223" y="4643"/>
                    <a:pt x="8221" y="4650"/>
                    <a:pt x="8218" y="4658"/>
                  </a:cubicBezTo>
                  <a:close/>
                  <a:moveTo>
                    <a:pt x="8429" y="4817"/>
                  </a:moveTo>
                  <a:cubicBezTo>
                    <a:pt x="8429" y="4817"/>
                    <a:pt x="8429" y="4817"/>
                    <a:pt x="8428" y="4817"/>
                  </a:cubicBezTo>
                  <a:cubicBezTo>
                    <a:pt x="8429" y="4817"/>
                    <a:pt x="8429" y="4817"/>
                    <a:pt x="8429" y="4817"/>
                  </a:cubicBezTo>
                  <a:close/>
                  <a:moveTo>
                    <a:pt x="8428" y="4817"/>
                  </a:moveTo>
                  <a:cubicBezTo>
                    <a:pt x="8425" y="4817"/>
                    <a:pt x="8417" y="4818"/>
                    <a:pt x="8408" y="4818"/>
                  </a:cubicBezTo>
                  <a:cubicBezTo>
                    <a:pt x="8417" y="4818"/>
                    <a:pt x="8425" y="4817"/>
                    <a:pt x="8428" y="4817"/>
                  </a:cubicBezTo>
                  <a:close/>
                  <a:moveTo>
                    <a:pt x="8400" y="4818"/>
                  </a:moveTo>
                  <a:cubicBezTo>
                    <a:pt x="8400" y="4818"/>
                    <a:pt x="8400" y="4818"/>
                    <a:pt x="8399" y="4818"/>
                  </a:cubicBezTo>
                  <a:cubicBezTo>
                    <a:pt x="8398" y="4822"/>
                    <a:pt x="8398" y="4826"/>
                    <a:pt x="8398" y="4828"/>
                  </a:cubicBezTo>
                  <a:cubicBezTo>
                    <a:pt x="8398" y="4831"/>
                    <a:pt x="8395" y="4837"/>
                    <a:pt x="8386" y="4845"/>
                  </a:cubicBezTo>
                  <a:cubicBezTo>
                    <a:pt x="8377" y="4853"/>
                    <a:pt x="8387" y="4860"/>
                    <a:pt x="8391" y="4865"/>
                  </a:cubicBezTo>
                  <a:cubicBezTo>
                    <a:pt x="8395" y="4870"/>
                    <a:pt x="8395" y="4888"/>
                    <a:pt x="8390" y="4900"/>
                  </a:cubicBezTo>
                  <a:cubicBezTo>
                    <a:pt x="8387" y="4907"/>
                    <a:pt x="8387" y="4915"/>
                    <a:pt x="8388" y="4920"/>
                  </a:cubicBezTo>
                  <a:cubicBezTo>
                    <a:pt x="8388" y="4925"/>
                    <a:pt x="8390" y="4928"/>
                    <a:pt x="8392" y="4929"/>
                  </a:cubicBezTo>
                  <a:cubicBezTo>
                    <a:pt x="8397" y="4931"/>
                    <a:pt x="8401" y="4937"/>
                    <a:pt x="8401" y="4937"/>
                  </a:cubicBezTo>
                  <a:cubicBezTo>
                    <a:pt x="8401" y="4937"/>
                    <a:pt x="8406" y="4962"/>
                    <a:pt x="8400" y="4964"/>
                  </a:cubicBezTo>
                  <a:cubicBezTo>
                    <a:pt x="8394" y="4966"/>
                    <a:pt x="8392" y="4953"/>
                    <a:pt x="8392" y="4953"/>
                  </a:cubicBezTo>
                  <a:cubicBezTo>
                    <a:pt x="8392" y="4953"/>
                    <a:pt x="8380" y="4959"/>
                    <a:pt x="8377" y="4957"/>
                  </a:cubicBezTo>
                  <a:cubicBezTo>
                    <a:pt x="8374" y="4955"/>
                    <a:pt x="8374" y="4941"/>
                    <a:pt x="8373" y="4934"/>
                  </a:cubicBezTo>
                  <a:cubicBezTo>
                    <a:pt x="8372" y="4927"/>
                    <a:pt x="8370" y="4924"/>
                    <a:pt x="8368" y="4920"/>
                  </a:cubicBezTo>
                  <a:cubicBezTo>
                    <a:pt x="8366" y="4916"/>
                    <a:pt x="8368" y="4903"/>
                    <a:pt x="8368" y="4895"/>
                  </a:cubicBezTo>
                  <a:cubicBezTo>
                    <a:pt x="8368" y="4887"/>
                    <a:pt x="8363" y="4881"/>
                    <a:pt x="8351" y="4871"/>
                  </a:cubicBezTo>
                  <a:cubicBezTo>
                    <a:pt x="8339" y="4861"/>
                    <a:pt x="8348" y="4863"/>
                    <a:pt x="8346" y="4854"/>
                  </a:cubicBezTo>
                  <a:cubicBezTo>
                    <a:pt x="8344" y="4845"/>
                    <a:pt x="8354" y="4837"/>
                    <a:pt x="8364" y="4826"/>
                  </a:cubicBezTo>
                  <a:cubicBezTo>
                    <a:pt x="8374" y="4815"/>
                    <a:pt x="8370" y="4813"/>
                    <a:pt x="8371" y="4808"/>
                  </a:cubicBezTo>
                  <a:cubicBezTo>
                    <a:pt x="8372" y="4803"/>
                    <a:pt x="8368" y="4798"/>
                    <a:pt x="8368" y="4790"/>
                  </a:cubicBezTo>
                  <a:cubicBezTo>
                    <a:pt x="8368" y="4782"/>
                    <a:pt x="8366" y="4767"/>
                    <a:pt x="8365" y="4751"/>
                  </a:cubicBezTo>
                  <a:cubicBezTo>
                    <a:pt x="8364" y="4735"/>
                    <a:pt x="8362" y="4744"/>
                    <a:pt x="8351" y="4737"/>
                  </a:cubicBezTo>
                  <a:cubicBezTo>
                    <a:pt x="8340" y="4730"/>
                    <a:pt x="8348" y="4721"/>
                    <a:pt x="8347" y="4710"/>
                  </a:cubicBezTo>
                  <a:cubicBezTo>
                    <a:pt x="8347" y="4710"/>
                    <a:pt x="8351" y="4697"/>
                    <a:pt x="8361" y="4702"/>
                  </a:cubicBezTo>
                  <a:cubicBezTo>
                    <a:pt x="8371" y="4707"/>
                    <a:pt x="8379" y="4728"/>
                    <a:pt x="8379" y="4728"/>
                  </a:cubicBezTo>
                  <a:cubicBezTo>
                    <a:pt x="8381" y="4763"/>
                    <a:pt x="8381" y="4763"/>
                    <a:pt x="8381" y="4763"/>
                  </a:cubicBezTo>
                  <a:cubicBezTo>
                    <a:pt x="8381" y="4763"/>
                    <a:pt x="8386" y="4764"/>
                    <a:pt x="8386" y="4771"/>
                  </a:cubicBezTo>
                  <a:cubicBezTo>
                    <a:pt x="8386" y="4778"/>
                    <a:pt x="8383" y="4780"/>
                    <a:pt x="8380" y="4788"/>
                  </a:cubicBezTo>
                  <a:cubicBezTo>
                    <a:pt x="8377" y="4796"/>
                    <a:pt x="8399" y="4806"/>
                    <a:pt x="8399" y="4806"/>
                  </a:cubicBezTo>
                  <a:cubicBezTo>
                    <a:pt x="8398" y="4818"/>
                    <a:pt x="8398" y="4818"/>
                    <a:pt x="8398" y="4818"/>
                  </a:cubicBezTo>
                  <a:cubicBezTo>
                    <a:pt x="8399" y="4818"/>
                    <a:pt x="8399" y="4818"/>
                    <a:pt x="8400" y="4818"/>
                  </a:cubicBezTo>
                  <a:close/>
                  <a:moveTo>
                    <a:pt x="8250" y="4289"/>
                  </a:moveTo>
                  <a:cubicBezTo>
                    <a:pt x="8252" y="4275"/>
                    <a:pt x="8260" y="4257"/>
                    <a:pt x="8261" y="4251"/>
                  </a:cubicBezTo>
                  <a:cubicBezTo>
                    <a:pt x="8261" y="4250"/>
                    <a:pt x="8261" y="4250"/>
                    <a:pt x="8261" y="4249"/>
                  </a:cubicBezTo>
                  <a:cubicBezTo>
                    <a:pt x="8261" y="4244"/>
                    <a:pt x="8255" y="4238"/>
                    <a:pt x="8253" y="4232"/>
                  </a:cubicBezTo>
                  <a:cubicBezTo>
                    <a:pt x="8251" y="4225"/>
                    <a:pt x="8258" y="4217"/>
                    <a:pt x="8262" y="4213"/>
                  </a:cubicBezTo>
                  <a:cubicBezTo>
                    <a:pt x="8266" y="4209"/>
                    <a:pt x="8260" y="4197"/>
                    <a:pt x="8269" y="4190"/>
                  </a:cubicBezTo>
                  <a:cubicBezTo>
                    <a:pt x="8278" y="4183"/>
                    <a:pt x="8308" y="4185"/>
                    <a:pt x="8311" y="4183"/>
                  </a:cubicBezTo>
                  <a:cubicBezTo>
                    <a:pt x="8314" y="4181"/>
                    <a:pt x="8321" y="4169"/>
                    <a:pt x="8327" y="4169"/>
                  </a:cubicBezTo>
                  <a:cubicBezTo>
                    <a:pt x="8333" y="4169"/>
                    <a:pt x="8333" y="4186"/>
                    <a:pt x="8333" y="4186"/>
                  </a:cubicBezTo>
                  <a:cubicBezTo>
                    <a:pt x="8333" y="4186"/>
                    <a:pt x="8340" y="4179"/>
                    <a:pt x="8351" y="4182"/>
                  </a:cubicBezTo>
                  <a:cubicBezTo>
                    <a:pt x="8353" y="4182"/>
                    <a:pt x="8355" y="4183"/>
                    <a:pt x="8358" y="4184"/>
                  </a:cubicBezTo>
                  <a:cubicBezTo>
                    <a:pt x="8358" y="4185"/>
                    <a:pt x="8358" y="4185"/>
                    <a:pt x="8358" y="4186"/>
                  </a:cubicBezTo>
                  <a:cubicBezTo>
                    <a:pt x="8358" y="4197"/>
                    <a:pt x="8367" y="4207"/>
                    <a:pt x="8374" y="4208"/>
                  </a:cubicBezTo>
                  <a:cubicBezTo>
                    <a:pt x="8381" y="4209"/>
                    <a:pt x="8381" y="4200"/>
                    <a:pt x="8381" y="4200"/>
                  </a:cubicBezTo>
                  <a:cubicBezTo>
                    <a:pt x="8395" y="4199"/>
                    <a:pt x="8395" y="4199"/>
                    <a:pt x="8395" y="4199"/>
                  </a:cubicBezTo>
                  <a:cubicBezTo>
                    <a:pt x="8398" y="4211"/>
                    <a:pt x="8398" y="4211"/>
                    <a:pt x="8398" y="4211"/>
                  </a:cubicBezTo>
                  <a:cubicBezTo>
                    <a:pt x="8389" y="4213"/>
                    <a:pt x="8389" y="4213"/>
                    <a:pt x="8389" y="4213"/>
                  </a:cubicBezTo>
                  <a:cubicBezTo>
                    <a:pt x="8379" y="4221"/>
                    <a:pt x="8379" y="4221"/>
                    <a:pt x="8379" y="4221"/>
                  </a:cubicBezTo>
                  <a:cubicBezTo>
                    <a:pt x="8379" y="4221"/>
                    <a:pt x="8374" y="4211"/>
                    <a:pt x="8365" y="4221"/>
                  </a:cubicBezTo>
                  <a:cubicBezTo>
                    <a:pt x="8356" y="4231"/>
                    <a:pt x="8369" y="4240"/>
                    <a:pt x="8369" y="4240"/>
                  </a:cubicBezTo>
                  <a:cubicBezTo>
                    <a:pt x="8366" y="4249"/>
                    <a:pt x="8366" y="4249"/>
                    <a:pt x="8366" y="4249"/>
                  </a:cubicBezTo>
                  <a:cubicBezTo>
                    <a:pt x="8360" y="4249"/>
                    <a:pt x="8355" y="4249"/>
                    <a:pt x="8355" y="4250"/>
                  </a:cubicBezTo>
                  <a:cubicBezTo>
                    <a:pt x="8355" y="4250"/>
                    <a:pt x="8355" y="4250"/>
                    <a:pt x="8355" y="4250"/>
                  </a:cubicBezTo>
                  <a:cubicBezTo>
                    <a:pt x="8355" y="4259"/>
                    <a:pt x="8358" y="4273"/>
                    <a:pt x="8358" y="4273"/>
                  </a:cubicBezTo>
                  <a:cubicBezTo>
                    <a:pt x="8343" y="4280"/>
                    <a:pt x="8343" y="4280"/>
                    <a:pt x="8343" y="4280"/>
                  </a:cubicBezTo>
                  <a:cubicBezTo>
                    <a:pt x="8343" y="4280"/>
                    <a:pt x="8330" y="4289"/>
                    <a:pt x="8325" y="4304"/>
                  </a:cubicBezTo>
                  <a:cubicBezTo>
                    <a:pt x="8320" y="4319"/>
                    <a:pt x="8355" y="4308"/>
                    <a:pt x="8355" y="4308"/>
                  </a:cubicBezTo>
                  <a:cubicBezTo>
                    <a:pt x="8355" y="4308"/>
                    <a:pt x="8336" y="4324"/>
                    <a:pt x="8330" y="4327"/>
                  </a:cubicBezTo>
                  <a:cubicBezTo>
                    <a:pt x="8324" y="4330"/>
                    <a:pt x="8320" y="4321"/>
                    <a:pt x="8311" y="4320"/>
                  </a:cubicBezTo>
                  <a:cubicBezTo>
                    <a:pt x="8302" y="4319"/>
                    <a:pt x="8303" y="4338"/>
                    <a:pt x="8303" y="4338"/>
                  </a:cubicBezTo>
                  <a:cubicBezTo>
                    <a:pt x="8310" y="4348"/>
                    <a:pt x="8310" y="4348"/>
                    <a:pt x="8310" y="4348"/>
                  </a:cubicBezTo>
                  <a:cubicBezTo>
                    <a:pt x="8310" y="4348"/>
                    <a:pt x="8307" y="4349"/>
                    <a:pt x="8297" y="4348"/>
                  </a:cubicBezTo>
                  <a:cubicBezTo>
                    <a:pt x="8287" y="4347"/>
                    <a:pt x="8299" y="4322"/>
                    <a:pt x="8299" y="4322"/>
                  </a:cubicBezTo>
                  <a:cubicBezTo>
                    <a:pt x="8287" y="4327"/>
                    <a:pt x="8287" y="4327"/>
                    <a:pt x="8287" y="4327"/>
                  </a:cubicBezTo>
                  <a:cubicBezTo>
                    <a:pt x="8287" y="4327"/>
                    <a:pt x="8279" y="4315"/>
                    <a:pt x="8272" y="4315"/>
                  </a:cubicBezTo>
                  <a:cubicBezTo>
                    <a:pt x="8262" y="4315"/>
                    <a:pt x="8263" y="4341"/>
                    <a:pt x="8258" y="4341"/>
                  </a:cubicBezTo>
                  <a:cubicBezTo>
                    <a:pt x="8253" y="4341"/>
                    <a:pt x="8253" y="4329"/>
                    <a:pt x="8253" y="4329"/>
                  </a:cubicBezTo>
                  <a:cubicBezTo>
                    <a:pt x="8253" y="4329"/>
                    <a:pt x="8248" y="4303"/>
                    <a:pt x="8250" y="4289"/>
                  </a:cubicBezTo>
                  <a:close/>
                  <a:moveTo>
                    <a:pt x="8586" y="1964"/>
                  </a:moveTo>
                  <a:cubicBezTo>
                    <a:pt x="8578" y="1973"/>
                    <a:pt x="8560" y="1988"/>
                    <a:pt x="8550" y="1992"/>
                  </a:cubicBezTo>
                  <a:cubicBezTo>
                    <a:pt x="8536" y="1997"/>
                    <a:pt x="8492" y="1991"/>
                    <a:pt x="8492" y="1991"/>
                  </a:cubicBezTo>
                  <a:cubicBezTo>
                    <a:pt x="8456" y="2002"/>
                    <a:pt x="8456" y="2002"/>
                    <a:pt x="8456" y="2002"/>
                  </a:cubicBezTo>
                  <a:cubicBezTo>
                    <a:pt x="8413" y="1986"/>
                    <a:pt x="8413" y="1986"/>
                    <a:pt x="8413" y="1986"/>
                  </a:cubicBezTo>
                  <a:cubicBezTo>
                    <a:pt x="8395" y="1992"/>
                    <a:pt x="8395" y="1992"/>
                    <a:pt x="8395" y="1992"/>
                  </a:cubicBezTo>
                  <a:cubicBezTo>
                    <a:pt x="8395" y="1992"/>
                    <a:pt x="8386" y="1970"/>
                    <a:pt x="8378" y="1972"/>
                  </a:cubicBezTo>
                  <a:cubicBezTo>
                    <a:pt x="8370" y="1973"/>
                    <a:pt x="8361" y="1980"/>
                    <a:pt x="8361" y="1980"/>
                  </a:cubicBezTo>
                  <a:cubicBezTo>
                    <a:pt x="8345" y="1970"/>
                    <a:pt x="8345" y="1970"/>
                    <a:pt x="8345" y="1970"/>
                  </a:cubicBezTo>
                  <a:cubicBezTo>
                    <a:pt x="8342" y="1955"/>
                    <a:pt x="8342" y="1955"/>
                    <a:pt x="8342" y="1955"/>
                  </a:cubicBezTo>
                  <a:cubicBezTo>
                    <a:pt x="8312" y="1960"/>
                    <a:pt x="8312" y="1960"/>
                    <a:pt x="8312" y="1960"/>
                  </a:cubicBezTo>
                  <a:cubicBezTo>
                    <a:pt x="8293" y="1950"/>
                    <a:pt x="8293" y="1950"/>
                    <a:pt x="8293" y="1950"/>
                  </a:cubicBezTo>
                  <a:cubicBezTo>
                    <a:pt x="8290" y="1935"/>
                    <a:pt x="8290" y="1935"/>
                    <a:pt x="8290" y="1935"/>
                  </a:cubicBezTo>
                  <a:cubicBezTo>
                    <a:pt x="8290" y="1935"/>
                    <a:pt x="8268" y="1946"/>
                    <a:pt x="8255" y="1946"/>
                  </a:cubicBezTo>
                  <a:cubicBezTo>
                    <a:pt x="8242" y="1946"/>
                    <a:pt x="8224" y="1940"/>
                    <a:pt x="8212" y="1941"/>
                  </a:cubicBezTo>
                  <a:cubicBezTo>
                    <a:pt x="8201" y="1942"/>
                    <a:pt x="8166" y="1956"/>
                    <a:pt x="8160" y="1962"/>
                  </a:cubicBezTo>
                  <a:cubicBezTo>
                    <a:pt x="8155" y="1969"/>
                    <a:pt x="8140" y="1972"/>
                    <a:pt x="8140" y="1972"/>
                  </a:cubicBezTo>
                  <a:cubicBezTo>
                    <a:pt x="8134" y="1987"/>
                    <a:pt x="8134" y="1987"/>
                    <a:pt x="8134" y="1987"/>
                  </a:cubicBezTo>
                  <a:cubicBezTo>
                    <a:pt x="8134" y="1987"/>
                    <a:pt x="8134" y="1991"/>
                    <a:pt x="8120" y="1988"/>
                  </a:cubicBezTo>
                  <a:cubicBezTo>
                    <a:pt x="8108" y="1985"/>
                    <a:pt x="8084" y="1982"/>
                    <a:pt x="8071" y="1982"/>
                  </a:cubicBezTo>
                  <a:cubicBezTo>
                    <a:pt x="8059" y="1982"/>
                    <a:pt x="8019" y="1973"/>
                    <a:pt x="8019" y="1973"/>
                  </a:cubicBezTo>
                  <a:cubicBezTo>
                    <a:pt x="8019" y="1973"/>
                    <a:pt x="7994" y="1976"/>
                    <a:pt x="7991" y="1963"/>
                  </a:cubicBezTo>
                  <a:cubicBezTo>
                    <a:pt x="7989" y="1956"/>
                    <a:pt x="7988" y="1949"/>
                    <a:pt x="7987" y="1944"/>
                  </a:cubicBezTo>
                  <a:cubicBezTo>
                    <a:pt x="7978" y="1945"/>
                    <a:pt x="7964" y="1943"/>
                    <a:pt x="7964" y="1943"/>
                  </a:cubicBezTo>
                  <a:cubicBezTo>
                    <a:pt x="7962" y="1940"/>
                    <a:pt x="7961" y="1938"/>
                    <a:pt x="7960" y="1936"/>
                  </a:cubicBezTo>
                  <a:cubicBezTo>
                    <a:pt x="7966" y="1928"/>
                    <a:pt x="7966" y="1928"/>
                    <a:pt x="7966" y="1928"/>
                  </a:cubicBezTo>
                  <a:cubicBezTo>
                    <a:pt x="7976" y="1941"/>
                    <a:pt x="7976" y="1941"/>
                    <a:pt x="7976" y="1941"/>
                  </a:cubicBezTo>
                  <a:cubicBezTo>
                    <a:pt x="7976" y="1941"/>
                    <a:pt x="7990" y="1943"/>
                    <a:pt x="7999" y="1942"/>
                  </a:cubicBezTo>
                  <a:cubicBezTo>
                    <a:pt x="7998" y="1939"/>
                    <a:pt x="7998" y="1937"/>
                    <a:pt x="7998" y="1937"/>
                  </a:cubicBezTo>
                  <a:cubicBezTo>
                    <a:pt x="7975" y="1909"/>
                    <a:pt x="7975" y="1909"/>
                    <a:pt x="7975" y="1909"/>
                  </a:cubicBezTo>
                  <a:cubicBezTo>
                    <a:pt x="7975" y="1909"/>
                    <a:pt x="7985" y="1904"/>
                    <a:pt x="7989" y="1897"/>
                  </a:cubicBezTo>
                  <a:cubicBezTo>
                    <a:pt x="7993" y="1890"/>
                    <a:pt x="7982" y="1876"/>
                    <a:pt x="7991" y="1869"/>
                  </a:cubicBezTo>
                  <a:cubicBezTo>
                    <a:pt x="8000" y="1862"/>
                    <a:pt x="8017" y="1866"/>
                    <a:pt x="8017" y="1866"/>
                  </a:cubicBezTo>
                  <a:cubicBezTo>
                    <a:pt x="8017" y="1866"/>
                    <a:pt x="8015" y="1857"/>
                    <a:pt x="8014" y="1845"/>
                  </a:cubicBezTo>
                  <a:cubicBezTo>
                    <a:pt x="8012" y="1834"/>
                    <a:pt x="8013" y="1820"/>
                    <a:pt x="8018" y="1813"/>
                  </a:cubicBezTo>
                  <a:cubicBezTo>
                    <a:pt x="8027" y="1801"/>
                    <a:pt x="8033" y="1791"/>
                    <a:pt x="8033" y="1791"/>
                  </a:cubicBezTo>
                  <a:cubicBezTo>
                    <a:pt x="8033" y="1791"/>
                    <a:pt x="8065" y="1801"/>
                    <a:pt x="8061" y="1778"/>
                  </a:cubicBezTo>
                  <a:cubicBezTo>
                    <a:pt x="8058" y="1762"/>
                    <a:pt x="8053" y="1753"/>
                    <a:pt x="8050" y="1750"/>
                  </a:cubicBezTo>
                  <a:cubicBezTo>
                    <a:pt x="8050" y="1748"/>
                    <a:pt x="8049" y="1748"/>
                    <a:pt x="8049" y="1748"/>
                  </a:cubicBezTo>
                  <a:cubicBezTo>
                    <a:pt x="8049" y="1748"/>
                    <a:pt x="8066" y="1741"/>
                    <a:pt x="8074" y="1735"/>
                  </a:cubicBezTo>
                  <a:cubicBezTo>
                    <a:pt x="8083" y="1729"/>
                    <a:pt x="8096" y="1705"/>
                    <a:pt x="8096" y="1705"/>
                  </a:cubicBezTo>
                  <a:cubicBezTo>
                    <a:pt x="8117" y="1696"/>
                    <a:pt x="8117" y="1696"/>
                    <a:pt x="8117" y="1696"/>
                  </a:cubicBezTo>
                  <a:cubicBezTo>
                    <a:pt x="8126" y="1685"/>
                    <a:pt x="8126" y="1685"/>
                    <a:pt x="8126" y="1685"/>
                  </a:cubicBezTo>
                  <a:cubicBezTo>
                    <a:pt x="8137" y="1690"/>
                    <a:pt x="8137" y="1690"/>
                    <a:pt x="8137" y="1690"/>
                  </a:cubicBezTo>
                  <a:cubicBezTo>
                    <a:pt x="8137" y="1690"/>
                    <a:pt x="8159" y="1694"/>
                    <a:pt x="8162" y="1694"/>
                  </a:cubicBezTo>
                  <a:cubicBezTo>
                    <a:pt x="8165" y="1694"/>
                    <a:pt x="8173" y="1688"/>
                    <a:pt x="8173" y="1688"/>
                  </a:cubicBezTo>
                  <a:cubicBezTo>
                    <a:pt x="8161" y="1704"/>
                    <a:pt x="8161" y="1704"/>
                    <a:pt x="8161" y="1704"/>
                  </a:cubicBezTo>
                  <a:cubicBezTo>
                    <a:pt x="8161" y="1704"/>
                    <a:pt x="8143" y="1698"/>
                    <a:pt x="8146" y="1705"/>
                  </a:cubicBezTo>
                  <a:cubicBezTo>
                    <a:pt x="8149" y="1712"/>
                    <a:pt x="8169" y="1717"/>
                    <a:pt x="8169" y="1717"/>
                  </a:cubicBezTo>
                  <a:cubicBezTo>
                    <a:pt x="8201" y="1718"/>
                    <a:pt x="8201" y="1718"/>
                    <a:pt x="8201" y="1718"/>
                  </a:cubicBezTo>
                  <a:cubicBezTo>
                    <a:pt x="8214" y="1719"/>
                    <a:pt x="8214" y="1719"/>
                    <a:pt x="8214" y="1719"/>
                  </a:cubicBezTo>
                  <a:cubicBezTo>
                    <a:pt x="8221" y="1730"/>
                    <a:pt x="8221" y="1730"/>
                    <a:pt x="8221" y="1730"/>
                  </a:cubicBezTo>
                  <a:cubicBezTo>
                    <a:pt x="8221" y="1730"/>
                    <a:pt x="8175" y="1756"/>
                    <a:pt x="8178" y="1759"/>
                  </a:cubicBezTo>
                  <a:cubicBezTo>
                    <a:pt x="8181" y="1762"/>
                    <a:pt x="8223" y="1763"/>
                    <a:pt x="8225" y="1776"/>
                  </a:cubicBezTo>
                  <a:cubicBezTo>
                    <a:pt x="8227" y="1790"/>
                    <a:pt x="8215" y="1804"/>
                    <a:pt x="8220" y="1806"/>
                  </a:cubicBezTo>
                  <a:cubicBezTo>
                    <a:pt x="8226" y="1808"/>
                    <a:pt x="8247" y="1810"/>
                    <a:pt x="8247" y="1810"/>
                  </a:cubicBezTo>
                  <a:cubicBezTo>
                    <a:pt x="8247" y="1810"/>
                    <a:pt x="8261" y="1791"/>
                    <a:pt x="8268" y="1791"/>
                  </a:cubicBezTo>
                  <a:cubicBezTo>
                    <a:pt x="8276" y="1791"/>
                    <a:pt x="8279" y="1797"/>
                    <a:pt x="8289" y="1791"/>
                  </a:cubicBezTo>
                  <a:cubicBezTo>
                    <a:pt x="8299" y="1785"/>
                    <a:pt x="8297" y="1773"/>
                    <a:pt x="8304" y="1772"/>
                  </a:cubicBezTo>
                  <a:cubicBezTo>
                    <a:pt x="8311" y="1771"/>
                    <a:pt x="8317" y="1780"/>
                    <a:pt x="8317" y="1780"/>
                  </a:cubicBezTo>
                  <a:cubicBezTo>
                    <a:pt x="8340" y="1776"/>
                    <a:pt x="8340" y="1776"/>
                    <a:pt x="8340" y="1776"/>
                  </a:cubicBezTo>
                  <a:cubicBezTo>
                    <a:pt x="8342" y="1765"/>
                    <a:pt x="8342" y="1765"/>
                    <a:pt x="8342" y="1765"/>
                  </a:cubicBezTo>
                  <a:cubicBezTo>
                    <a:pt x="8348" y="1756"/>
                    <a:pt x="8348" y="1756"/>
                    <a:pt x="8348" y="1756"/>
                  </a:cubicBezTo>
                  <a:cubicBezTo>
                    <a:pt x="8348" y="1756"/>
                    <a:pt x="8334" y="1750"/>
                    <a:pt x="8328" y="1756"/>
                  </a:cubicBezTo>
                  <a:cubicBezTo>
                    <a:pt x="8322" y="1762"/>
                    <a:pt x="8298" y="1763"/>
                    <a:pt x="8298" y="1763"/>
                  </a:cubicBezTo>
                  <a:cubicBezTo>
                    <a:pt x="8298" y="1763"/>
                    <a:pt x="8280" y="1757"/>
                    <a:pt x="8279" y="1747"/>
                  </a:cubicBezTo>
                  <a:cubicBezTo>
                    <a:pt x="8278" y="1737"/>
                    <a:pt x="8266" y="1738"/>
                    <a:pt x="8266" y="1738"/>
                  </a:cubicBezTo>
                  <a:cubicBezTo>
                    <a:pt x="8254" y="1725"/>
                    <a:pt x="8254" y="1725"/>
                    <a:pt x="8254" y="1725"/>
                  </a:cubicBezTo>
                  <a:cubicBezTo>
                    <a:pt x="8229" y="1723"/>
                    <a:pt x="8229" y="1723"/>
                    <a:pt x="8229" y="1723"/>
                  </a:cubicBezTo>
                  <a:cubicBezTo>
                    <a:pt x="8222" y="1715"/>
                    <a:pt x="8222" y="1715"/>
                    <a:pt x="8222" y="1715"/>
                  </a:cubicBezTo>
                  <a:cubicBezTo>
                    <a:pt x="8238" y="1714"/>
                    <a:pt x="8238" y="1714"/>
                    <a:pt x="8238" y="1714"/>
                  </a:cubicBezTo>
                  <a:cubicBezTo>
                    <a:pt x="8238" y="1714"/>
                    <a:pt x="8257" y="1718"/>
                    <a:pt x="8263" y="1717"/>
                  </a:cubicBezTo>
                  <a:cubicBezTo>
                    <a:pt x="8270" y="1715"/>
                    <a:pt x="8285" y="1703"/>
                    <a:pt x="8285" y="1703"/>
                  </a:cubicBezTo>
                  <a:cubicBezTo>
                    <a:pt x="8291" y="1708"/>
                    <a:pt x="8291" y="1708"/>
                    <a:pt x="8291" y="1708"/>
                  </a:cubicBezTo>
                  <a:cubicBezTo>
                    <a:pt x="8291" y="1708"/>
                    <a:pt x="8305" y="1695"/>
                    <a:pt x="8314" y="1692"/>
                  </a:cubicBezTo>
                  <a:cubicBezTo>
                    <a:pt x="8324" y="1689"/>
                    <a:pt x="8350" y="1688"/>
                    <a:pt x="8350" y="1688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80" y="1666"/>
                  </a:cubicBezTo>
                  <a:cubicBezTo>
                    <a:pt x="8380" y="1666"/>
                    <a:pt x="8380" y="1666"/>
                    <a:pt x="8380" y="1666"/>
                  </a:cubicBezTo>
                  <a:cubicBezTo>
                    <a:pt x="8381" y="1667"/>
                    <a:pt x="8381" y="1667"/>
                    <a:pt x="8382" y="1667"/>
                  </a:cubicBezTo>
                  <a:cubicBezTo>
                    <a:pt x="8387" y="1669"/>
                    <a:pt x="8397" y="1671"/>
                    <a:pt x="8405" y="1668"/>
                  </a:cubicBezTo>
                  <a:cubicBezTo>
                    <a:pt x="8404" y="1669"/>
                    <a:pt x="8403" y="1669"/>
                    <a:pt x="8403" y="1669"/>
                  </a:cubicBezTo>
                  <a:cubicBezTo>
                    <a:pt x="8404" y="1669"/>
                    <a:pt x="8405" y="1668"/>
                    <a:pt x="8407" y="1668"/>
                  </a:cubicBezTo>
                  <a:cubicBezTo>
                    <a:pt x="8418" y="1662"/>
                    <a:pt x="8447" y="1653"/>
                    <a:pt x="8448" y="1662"/>
                  </a:cubicBezTo>
                  <a:cubicBezTo>
                    <a:pt x="8449" y="1670"/>
                    <a:pt x="8427" y="1686"/>
                    <a:pt x="8427" y="1686"/>
                  </a:cubicBezTo>
                  <a:cubicBezTo>
                    <a:pt x="8394" y="1696"/>
                    <a:pt x="8394" y="1696"/>
                    <a:pt x="8394" y="1696"/>
                  </a:cubicBezTo>
                  <a:cubicBezTo>
                    <a:pt x="8424" y="1719"/>
                    <a:pt x="8424" y="1719"/>
                    <a:pt x="8424" y="1719"/>
                  </a:cubicBezTo>
                  <a:cubicBezTo>
                    <a:pt x="8424" y="1719"/>
                    <a:pt x="8400" y="1724"/>
                    <a:pt x="8399" y="1734"/>
                  </a:cubicBezTo>
                  <a:cubicBezTo>
                    <a:pt x="8398" y="1744"/>
                    <a:pt x="8398" y="1755"/>
                    <a:pt x="8398" y="1755"/>
                  </a:cubicBezTo>
                  <a:cubicBezTo>
                    <a:pt x="8398" y="1755"/>
                    <a:pt x="8385" y="1764"/>
                    <a:pt x="8380" y="1764"/>
                  </a:cubicBezTo>
                  <a:cubicBezTo>
                    <a:pt x="8375" y="1764"/>
                    <a:pt x="8360" y="1753"/>
                    <a:pt x="8360" y="1753"/>
                  </a:cubicBezTo>
                  <a:cubicBezTo>
                    <a:pt x="8356" y="1764"/>
                    <a:pt x="8356" y="1764"/>
                    <a:pt x="8356" y="1764"/>
                  </a:cubicBezTo>
                  <a:cubicBezTo>
                    <a:pt x="8356" y="1764"/>
                    <a:pt x="8368" y="1777"/>
                    <a:pt x="8371" y="1777"/>
                  </a:cubicBezTo>
                  <a:cubicBezTo>
                    <a:pt x="8374" y="1777"/>
                    <a:pt x="8383" y="1796"/>
                    <a:pt x="8383" y="1796"/>
                  </a:cubicBezTo>
                  <a:cubicBezTo>
                    <a:pt x="8408" y="1794"/>
                    <a:pt x="8408" y="1794"/>
                    <a:pt x="8408" y="1794"/>
                  </a:cubicBezTo>
                  <a:cubicBezTo>
                    <a:pt x="8408" y="1794"/>
                    <a:pt x="8426" y="1813"/>
                    <a:pt x="8432" y="1813"/>
                  </a:cubicBezTo>
                  <a:cubicBezTo>
                    <a:pt x="8438" y="1813"/>
                    <a:pt x="8450" y="1814"/>
                    <a:pt x="8450" y="1814"/>
                  </a:cubicBezTo>
                  <a:cubicBezTo>
                    <a:pt x="8450" y="1814"/>
                    <a:pt x="8481" y="1851"/>
                    <a:pt x="8489" y="1854"/>
                  </a:cubicBezTo>
                  <a:cubicBezTo>
                    <a:pt x="8493" y="1855"/>
                    <a:pt x="8500" y="1858"/>
                    <a:pt x="8505" y="1861"/>
                  </a:cubicBezTo>
                  <a:cubicBezTo>
                    <a:pt x="8504" y="1861"/>
                    <a:pt x="8503" y="1862"/>
                    <a:pt x="8503" y="1863"/>
                  </a:cubicBezTo>
                  <a:cubicBezTo>
                    <a:pt x="8504" y="1864"/>
                    <a:pt x="8505" y="1865"/>
                    <a:pt x="8505" y="1865"/>
                  </a:cubicBezTo>
                  <a:cubicBezTo>
                    <a:pt x="8505" y="1865"/>
                    <a:pt x="8545" y="1888"/>
                    <a:pt x="8554" y="1891"/>
                  </a:cubicBezTo>
                  <a:cubicBezTo>
                    <a:pt x="8562" y="1894"/>
                    <a:pt x="8577" y="1907"/>
                    <a:pt x="8577" y="1907"/>
                  </a:cubicBezTo>
                  <a:cubicBezTo>
                    <a:pt x="8577" y="1907"/>
                    <a:pt x="8581" y="1935"/>
                    <a:pt x="8581" y="1938"/>
                  </a:cubicBezTo>
                  <a:cubicBezTo>
                    <a:pt x="8581" y="1942"/>
                    <a:pt x="8593" y="1957"/>
                    <a:pt x="8593" y="1957"/>
                  </a:cubicBezTo>
                  <a:cubicBezTo>
                    <a:pt x="8593" y="1957"/>
                    <a:pt x="8591" y="1959"/>
                    <a:pt x="8586" y="1964"/>
                  </a:cubicBezTo>
                  <a:close/>
                  <a:moveTo>
                    <a:pt x="8770" y="1610"/>
                  </a:moveTo>
                  <a:cubicBezTo>
                    <a:pt x="8770" y="1610"/>
                    <a:pt x="8770" y="1610"/>
                    <a:pt x="8770" y="1610"/>
                  </a:cubicBezTo>
                  <a:cubicBezTo>
                    <a:pt x="8770" y="1610"/>
                    <a:pt x="8770" y="1610"/>
                    <a:pt x="8770" y="1610"/>
                  </a:cubicBezTo>
                  <a:cubicBezTo>
                    <a:pt x="8770" y="1610"/>
                    <a:pt x="8770" y="1610"/>
                    <a:pt x="8770" y="1610"/>
                  </a:cubicBezTo>
                  <a:close/>
                  <a:moveTo>
                    <a:pt x="8771" y="1494"/>
                  </a:moveTo>
                  <a:cubicBezTo>
                    <a:pt x="8770" y="1493"/>
                    <a:pt x="8769" y="1492"/>
                    <a:pt x="8768" y="1492"/>
                  </a:cubicBezTo>
                  <a:cubicBezTo>
                    <a:pt x="8769" y="1492"/>
                    <a:pt x="8770" y="1493"/>
                    <a:pt x="8771" y="1494"/>
                  </a:cubicBezTo>
                  <a:cubicBezTo>
                    <a:pt x="8771" y="1494"/>
                    <a:pt x="8771" y="1494"/>
                    <a:pt x="8771" y="1494"/>
                  </a:cubicBezTo>
                  <a:close/>
                  <a:moveTo>
                    <a:pt x="9119" y="1937"/>
                  </a:moveTo>
                  <a:cubicBezTo>
                    <a:pt x="9119" y="1941"/>
                    <a:pt x="9122" y="1941"/>
                    <a:pt x="9129" y="1953"/>
                  </a:cubicBezTo>
                  <a:cubicBezTo>
                    <a:pt x="9135" y="1965"/>
                    <a:pt x="9171" y="1974"/>
                    <a:pt x="9169" y="1985"/>
                  </a:cubicBezTo>
                  <a:cubicBezTo>
                    <a:pt x="9166" y="1995"/>
                    <a:pt x="9166" y="2001"/>
                    <a:pt x="9159" y="1999"/>
                  </a:cubicBezTo>
                  <a:cubicBezTo>
                    <a:pt x="9153" y="1998"/>
                    <a:pt x="9138" y="1985"/>
                    <a:pt x="9141" y="1989"/>
                  </a:cubicBezTo>
                  <a:cubicBezTo>
                    <a:pt x="9143" y="1993"/>
                    <a:pt x="9138" y="2002"/>
                    <a:pt x="9138" y="2002"/>
                  </a:cubicBezTo>
                  <a:cubicBezTo>
                    <a:pt x="9111" y="2003"/>
                    <a:pt x="9111" y="2003"/>
                    <a:pt x="9111" y="2003"/>
                  </a:cubicBezTo>
                  <a:cubicBezTo>
                    <a:pt x="9103" y="1990"/>
                    <a:pt x="9103" y="1990"/>
                    <a:pt x="9103" y="1990"/>
                  </a:cubicBezTo>
                  <a:cubicBezTo>
                    <a:pt x="9099" y="1995"/>
                    <a:pt x="9099" y="1995"/>
                    <a:pt x="9099" y="1995"/>
                  </a:cubicBezTo>
                  <a:cubicBezTo>
                    <a:pt x="9099" y="1995"/>
                    <a:pt x="9089" y="1985"/>
                    <a:pt x="9083" y="1975"/>
                  </a:cubicBezTo>
                  <a:cubicBezTo>
                    <a:pt x="9078" y="1966"/>
                    <a:pt x="9082" y="1951"/>
                    <a:pt x="9078" y="1950"/>
                  </a:cubicBezTo>
                  <a:cubicBezTo>
                    <a:pt x="9077" y="1950"/>
                    <a:pt x="9075" y="1949"/>
                    <a:pt x="9073" y="1948"/>
                  </a:cubicBezTo>
                  <a:cubicBezTo>
                    <a:pt x="9073" y="1948"/>
                    <a:pt x="9073" y="1948"/>
                    <a:pt x="9073" y="1948"/>
                  </a:cubicBezTo>
                  <a:cubicBezTo>
                    <a:pt x="9075" y="1942"/>
                    <a:pt x="9081" y="1922"/>
                    <a:pt x="9089" y="1921"/>
                  </a:cubicBezTo>
                  <a:cubicBezTo>
                    <a:pt x="9094" y="1920"/>
                    <a:pt x="9102" y="1921"/>
                    <a:pt x="9108" y="1922"/>
                  </a:cubicBezTo>
                  <a:cubicBezTo>
                    <a:pt x="9108" y="1925"/>
                    <a:pt x="9109" y="1927"/>
                    <a:pt x="9109" y="1927"/>
                  </a:cubicBezTo>
                  <a:cubicBezTo>
                    <a:pt x="9109" y="1927"/>
                    <a:pt x="9119" y="1933"/>
                    <a:pt x="9119" y="1937"/>
                  </a:cubicBezTo>
                  <a:close/>
                  <a:moveTo>
                    <a:pt x="8999" y="1443"/>
                  </a:moveTo>
                  <a:cubicBezTo>
                    <a:pt x="8998" y="1442"/>
                    <a:pt x="8997" y="1441"/>
                    <a:pt x="8997" y="1441"/>
                  </a:cubicBezTo>
                  <a:cubicBezTo>
                    <a:pt x="8997" y="1441"/>
                    <a:pt x="8998" y="1442"/>
                    <a:pt x="8999" y="1443"/>
                  </a:cubicBezTo>
                  <a:close/>
                  <a:moveTo>
                    <a:pt x="8994" y="1439"/>
                  </a:moveTo>
                  <a:cubicBezTo>
                    <a:pt x="8993" y="1439"/>
                    <a:pt x="8991" y="1439"/>
                    <a:pt x="8990" y="1439"/>
                  </a:cubicBezTo>
                  <a:cubicBezTo>
                    <a:pt x="8991" y="1439"/>
                    <a:pt x="8993" y="1439"/>
                    <a:pt x="8994" y="1439"/>
                  </a:cubicBezTo>
                  <a:close/>
                  <a:moveTo>
                    <a:pt x="8852" y="1687"/>
                  </a:moveTo>
                  <a:cubicBezTo>
                    <a:pt x="8851" y="1687"/>
                    <a:pt x="8851" y="1687"/>
                    <a:pt x="8851" y="1687"/>
                  </a:cubicBezTo>
                  <a:cubicBezTo>
                    <a:pt x="8850" y="1687"/>
                    <a:pt x="8850" y="1687"/>
                    <a:pt x="8849" y="1686"/>
                  </a:cubicBezTo>
                  <a:cubicBezTo>
                    <a:pt x="8850" y="1687"/>
                    <a:pt x="8851" y="1687"/>
                    <a:pt x="8852" y="1687"/>
                  </a:cubicBezTo>
                  <a:close/>
                  <a:moveTo>
                    <a:pt x="8846" y="1660"/>
                  </a:moveTo>
                  <a:cubicBezTo>
                    <a:pt x="8846" y="1660"/>
                    <a:pt x="8846" y="1660"/>
                    <a:pt x="8846" y="1660"/>
                  </a:cubicBezTo>
                  <a:cubicBezTo>
                    <a:pt x="8845" y="1683"/>
                    <a:pt x="8845" y="1683"/>
                    <a:pt x="8845" y="1683"/>
                  </a:cubicBezTo>
                  <a:lnTo>
                    <a:pt x="8846" y="1660"/>
                  </a:lnTo>
                  <a:close/>
                  <a:moveTo>
                    <a:pt x="8820" y="1496"/>
                  </a:moveTo>
                  <a:cubicBezTo>
                    <a:pt x="8820" y="1496"/>
                    <a:pt x="8820" y="1496"/>
                    <a:pt x="8820" y="1496"/>
                  </a:cubicBezTo>
                  <a:cubicBezTo>
                    <a:pt x="8820" y="1496"/>
                    <a:pt x="8819" y="1495"/>
                    <a:pt x="8819" y="1495"/>
                  </a:cubicBezTo>
                  <a:cubicBezTo>
                    <a:pt x="8819" y="1495"/>
                    <a:pt x="8820" y="1495"/>
                    <a:pt x="8820" y="1496"/>
                  </a:cubicBezTo>
                  <a:close/>
                  <a:moveTo>
                    <a:pt x="8818" y="1493"/>
                  </a:moveTo>
                  <a:cubicBezTo>
                    <a:pt x="8818" y="1493"/>
                    <a:pt x="8818" y="1493"/>
                    <a:pt x="8818" y="1494"/>
                  </a:cubicBezTo>
                  <a:cubicBezTo>
                    <a:pt x="8818" y="1494"/>
                    <a:pt x="8818" y="1494"/>
                    <a:pt x="8818" y="1494"/>
                  </a:cubicBezTo>
                  <a:cubicBezTo>
                    <a:pt x="8818" y="1493"/>
                    <a:pt x="8818" y="1493"/>
                    <a:pt x="8818" y="1492"/>
                  </a:cubicBezTo>
                  <a:cubicBezTo>
                    <a:pt x="8818" y="1493"/>
                    <a:pt x="8818" y="1493"/>
                    <a:pt x="8818" y="1493"/>
                  </a:cubicBezTo>
                  <a:close/>
                  <a:moveTo>
                    <a:pt x="8817" y="1491"/>
                  </a:moveTo>
                  <a:cubicBezTo>
                    <a:pt x="8817" y="1491"/>
                    <a:pt x="8817" y="1491"/>
                    <a:pt x="8817" y="1491"/>
                  </a:cubicBezTo>
                  <a:cubicBezTo>
                    <a:pt x="8817" y="1491"/>
                    <a:pt x="8816" y="1491"/>
                    <a:pt x="8816" y="1490"/>
                  </a:cubicBezTo>
                  <a:cubicBezTo>
                    <a:pt x="8816" y="1491"/>
                    <a:pt x="8816" y="1491"/>
                    <a:pt x="8817" y="1491"/>
                  </a:cubicBezTo>
                  <a:close/>
                  <a:moveTo>
                    <a:pt x="8814" y="1488"/>
                  </a:moveTo>
                  <a:cubicBezTo>
                    <a:pt x="8814" y="1488"/>
                    <a:pt x="8814" y="1489"/>
                    <a:pt x="8814" y="1489"/>
                  </a:cubicBezTo>
                  <a:cubicBezTo>
                    <a:pt x="8814" y="1489"/>
                    <a:pt x="8815" y="1489"/>
                    <a:pt x="8815" y="1490"/>
                  </a:cubicBezTo>
                  <a:cubicBezTo>
                    <a:pt x="8815" y="1489"/>
                    <a:pt x="8815" y="1489"/>
                    <a:pt x="8814" y="1489"/>
                  </a:cubicBezTo>
                  <a:cubicBezTo>
                    <a:pt x="8815" y="1489"/>
                    <a:pt x="8815" y="1489"/>
                    <a:pt x="8815" y="1490"/>
                  </a:cubicBezTo>
                  <a:cubicBezTo>
                    <a:pt x="8815" y="1490"/>
                    <a:pt x="8815" y="1490"/>
                    <a:pt x="8815" y="1490"/>
                  </a:cubicBezTo>
                  <a:cubicBezTo>
                    <a:pt x="8815" y="1489"/>
                    <a:pt x="8814" y="1489"/>
                    <a:pt x="8814" y="1488"/>
                  </a:cubicBezTo>
                  <a:cubicBezTo>
                    <a:pt x="8814" y="1488"/>
                    <a:pt x="8814" y="1488"/>
                    <a:pt x="8814" y="1488"/>
                  </a:cubicBezTo>
                  <a:close/>
                  <a:moveTo>
                    <a:pt x="8931" y="2133"/>
                  </a:moveTo>
                  <a:cubicBezTo>
                    <a:pt x="8931" y="2133"/>
                    <a:pt x="8931" y="2134"/>
                    <a:pt x="8932" y="2136"/>
                  </a:cubicBezTo>
                  <a:cubicBezTo>
                    <a:pt x="8931" y="2134"/>
                    <a:pt x="8931" y="2133"/>
                    <a:pt x="8931" y="2133"/>
                  </a:cubicBezTo>
                  <a:close/>
                  <a:moveTo>
                    <a:pt x="9173" y="2214"/>
                  </a:moveTo>
                  <a:cubicBezTo>
                    <a:pt x="9161" y="2216"/>
                    <a:pt x="9150" y="2209"/>
                    <a:pt x="9150" y="2209"/>
                  </a:cubicBezTo>
                  <a:cubicBezTo>
                    <a:pt x="9150" y="2209"/>
                    <a:pt x="9125" y="2214"/>
                    <a:pt x="9112" y="2217"/>
                  </a:cubicBezTo>
                  <a:cubicBezTo>
                    <a:pt x="9099" y="2220"/>
                    <a:pt x="9092" y="2229"/>
                    <a:pt x="9084" y="2228"/>
                  </a:cubicBezTo>
                  <a:cubicBezTo>
                    <a:pt x="9076" y="2227"/>
                    <a:pt x="9068" y="2218"/>
                    <a:pt x="9058" y="2218"/>
                  </a:cubicBezTo>
                  <a:cubicBezTo>
                    <a:pt x="9048" y="2218"/>
                    <a:pt x="9036" y="2218"/>
                    <a:pt x="9022" y="2208"/>
                  </a:cubicBezTo>
                  <a:cubicBezTo>
                    <a:pt x="9008" y="2198"/>
                    <a:pt x="9000" y="2181"/>
                    <a:pt x="9000" y="2181"/>
                  </a:cubicBezTo>
                  <a:cubicBezTo>
                    <a:pt x="9000" y="2181"/>
                    <a:pt x="8971" y="2178"/>
                    <a:pt x="8968" y="2178"/>
                  </a:cubicBezTo>
                  <a:cubicBezTo>
                    <a:pt x="8965" y="2178"/>
                    <a:pt x="8953" y="2171"/>
                    <a:pt x="8946" y="2163"/>
                  </a:cubicBezTo>
                  <a:cubicBezTo>
                    <a:pt x="8941" y="2157"/>
                    <a:pt x="8935" y="2143"/>
                    <a:pt x="8932" y="2136"/>
                  </a:cubicBezTo>
                  <a:cubicBezTo>
                    <a:pt x="8934" y="2129"/>
                    <a:pt x="8936" y="2120"/>
                    <a:pt x="8935" y="2116"/>
                  </a:cubicBezTo>
                  <a:cubicBezTo>
                    <a:pt x="8933" y="2110"/>
                    <a:pt x="8923" y="2107"/>
                    <a:pt x="8923" y="2107"/>
                  </a:cubicBezTo>
                  <a:cubicBezTo>
                    <a:pt x="8934" y="2103"/>
                    <a:pt x="8934" y="2103"/>
                    <a:pt x="8934" y="2103"/>
                  </a:cubicBezTo>
                  <a:cubicBezTo>
                    <a:pt x="8934" y="2084"/>
                    <a:pt x="8934" y="2084"/>
                    <a:pt x="8934" y="2084"/>
                  </a:cubicBezTo>
                  <a:cubicBezTo>
                    <a:pt x="8934" y="2084"/>
                    <a:pt x="8946" y="2097"/>
                    <a:pt x="8952" y="2089"/>
                  </a:cubicBezTo>
                  <a:cubicBezTo>
                    <a:pt x="8958" y="2081"/>
                    <a:pt x="8942" y="2071"/>
                    <a:pt x="8942" y="2071"/>
                  </a:cubicBezTo>
                  <a:cubicBezTo>
                    <a:pt x="8945" y="2058"/>
                    <a:pt x="8945" y="2058"/>
                    <a:pt x="8945" y="2058"/>
                  </a:cubicBezTo>
                  <a:cubicBezTo>
                    <a:pt x="8944" y="2035"/>
                    <a:pt x="8944" y="2035"/>
                    <a:pt x="8944" y="2035"/>
                  </a:cubicBezTo>
                  <a:cubicBezTo>
                    <a:pt x="8954" y="2037"/>
                    <a:pt x="8954" y="2037"/>
                    <a:pt x="8954" y="2037"/>
                  </a:cubicBezTo>
                  <a:cubicBezTo>
                    <a:pt x="8962" y="2028"/>
                    <a:pt x="8962" y="2028"/>
                    <a:pt x="8962" y="2028"/>
                  </a:cubicBezTo>
                  <a:cubicBezTo>
                    <a:pt x="8984" y="2030"/>
                    <a:pt x="8984" y="2030"/>
                    <a:pt x="8984" y="2030"/>
                  </a:cubicBezTo>
                  <a:cubicBezTo>
                    <a:pt x="8984" y="2030"/>
                    <a:pt x="8983" y="2025"/>
                    <a:pt x="8979" y="2017"/>
                  </a:cubicBezTo>
                  <a:cubicBezTo>
                    <a:pt x="8975" y="2009"/>
                    <a:pt x="8959" y="2016"/>
                    <a:pt x="8949" y="2016"/>
                  </a:cubicBezTo>
                  <a:cubicBezTo>
                    <a:pt x="8939" y="2016"/>
                    <a:pt x="8937" y="1998"/>
                    <a:pt x="8937" y="1998"/>
                  </a:cubicBezTo>
                  <a:cubicBezTo>
                    <a:pt x="8920" y="1980"/>
                    <a:pt x="8920" y="1980"/>
                    <a:pt x="8920" y="1980"/>
                  </a:cubicBezTo>
                  <a:cubicBezTo>
                    <a:pt x="8921" y="1971"/>
                    <a:pt x="8921" y="1971"/>
                    <a:pt x="8921" y="1971"/>
                  </a:cubicBezTo>
                  <a:cubicBezTo>
                    <a:pt x="8889" y="1944"/>
                    <a:pt x="8889" y="1944"/>
                    <a:pt x="8889" y="1944"/>
                  </a:cubicBezTo>
                  <a:cubicBezTo>
                    <a:pt x="8882" y="1941"/>
                    <a:pt x="8882" y="1941"/>
                    <a:pt x="8882" y="1941"/>
                  </a:cubicBezTo>
                  <a:cubicBezTo>
                    <a:pt x="8882" y="1941"/>
                    <a:pt x="8877" y="1927"/>
                    <a:pt x="8872" y="1919"/>
                  </a:cubicBezTo>
                  <a:cubicBezTo>
                    <a:pt x="8867" y="1911"/>
                    <a:pt x="8848" y="1907"/>
                    <a:pt x="8848" y="1907"/>
                  </a:cubicBezTo>
                  <a:cubicBezTo>
                    <a:pt x="8848" y="1892"/>
                    <a:pt x="8848" y="1892"/>
                    <a:pt x="8848" y="1892"/>
                  </a:cubicBezTo>
                  <a:cubicBezTo>
                    <a:pt x="8848" y="1892"/>
                    <a:pt x="8840" y="1888"/>
                    <a:pt x="8831" y="1877"/>
                  </a:cubicBezTo>
                  <a:cubicBezTo>
                    <a:pt x="8822" y="1866"/>
                    <a:pt x="8834" y="1852"/>
                    <a:pt x="8829" y="1839"/>
                  </a:cubicBezTo>
                  <a:cubicBezTo>
                    <a:pt x="8824" y="1826"/>
                    <a:pt x="8803" y="1812"/>
                    <a:pt x="8803" y="1812"/>
                  </a:cubicBezTo>
                  <a:cubicBezTo>
                    <a:pt x="8803" y="1812"/>
                    <a:pt x="8794" y="1811"/>
                    <a:pt x="8785" y="1806"/>
                  </a:cubicBezTo>
                  <a:cubicBezTo>
                    <a:pt x="8776" y="1801"/>
                    <a:pt x="8798" y="1780"/>
                    <a:pt x="8798" y="1780"/>
                  </a:cubicBezTo>
                  <a:cubicBezTo>
                    <a:pt x="8798" y="1780"/>
                    <a:pt x="8813" y="1767"/>
                    <a:pt x="8816" y="1760"/>
                  </a:cubicBezTo>
                  <a:cubicBezTo>
                    <a:pt x="8819" y="1753"/>
                    <a:pt x="8805" y="1738"/>
                    <a:pt x="8805" y="1738"/>
                  </a:cubicBezTo>
                  <a:cubicBezTo>
                    <a:pt x="8805" y="1738"/>
                    <a:pt x="8819" y="1744"/>
                    <a:pt x="8822" y="1744"/>
                  </a:cubicBezTo>
                  <a:cubicBezTo>
                    <a:pt x="8825" y="1744"/>
                    <a:pt x="8837" y="1743"/>
                    <a:pt x="8840" y="1737"/>
                  </a:cubicBezTo>
                  <a:cubicBezTo>
                    <a:pt x="8843" y="1731"/>
                    <a:pt x="8846" y="1737"/>
                    <a:pt x="8858" y="1735"/>
                  </a:cubicBezTo>
                  <a:cubicBezTo>
                    <a:pt x="8870" y="1733"/>
                    <a:pt x="8853" y="1720"/>
                    <a:pt x="8853" y="1720"/>
                  </a:cubicBezTo>
                  <a:cubicBezTo>
                    <a:pt x="8853" y="1720"/>
                    <a:pt x="8869" y="1721"/>
                    <a:pt x="8872" y="1721"/>
                  </a:cubicBezTo>
                  <a:cubicBezTo>
                    <a:pt x="8874" y="1721"/>
                    <a:pt x="8873" y="1711"/>
                    <a:pt x="8872" y="1708"/>
                  </a:cubicBezTo>
                  <a:cubicBezTo>
                    <a:pt x="8873" y="1708"/>
                    <a:pt x="8874" y="1709"/>
                    <a:pt x="8874" y="1709"/>
                  </a:cubicBezTo>
                  <a:cubicBezTo>
                    <a:pt x="8881" y="1699"/>
                    <a:pt x="8881" y="1699"/>
                    <a:pt x="8881" y="1699"/>
                  </a:cubicBezTo>
                  <a:cubicBezTo>
                    <a:pt x="8881" y="1699"/>
                    <a:pt x="8890" y="1701"/>
                    <a:pt x="8897" y="1694"/>
                  </a:cubicBezTo>
                  <a:cubicBezTo>
                    <a:pt x="8903" y="1687"/>
                    <a:pt x="8953" y="1666"/>
                    <a:pt x="8959" y="1669"/>
                  </a:cubicBezTo>
                  <a:cubicBezTo>
                    <a:pt x="8966" y="1671"/>
                    <a:pt x="8987" y="1687"/>
                    <a:pt x="8997" y="1687"/>
                  </a:cubicBezTo>
                  <a:cubicBezTo>
                    <a:pt x="9006" y="1687"/>
                    <a:pt x="9014" y="1669"/>
                    <a:pt x="9034" y="1694"/>
                  </a:cubicBezTo>
                  <a:cubicBezTo>
                    <a:pt x="9054" y="1719"/>
                    <a:pt x="9038" y="1727"/>
                    <a:pt x="9035" y="1735"/>
                  </a:cubicBezTo>
                  <a:cubicBezTo>
                    <a:pt x="9033" y="1743"/>
                    <a:pt x="9054" y="1759"/>
                    <a:pt x="9061" y="1762"/>
                  </a:cubicBezTo>
                  <a:cubicBezTo>
                    <a:pt x="9067" y="1765"/>
                    <a:pt x="9078" y="1750"/>
                    <a:pt x="9086" y="1746"/>
                  </a:cubicBezTo>
                  <a:cubicBezTo>
                    <a:pt x="9094" y="1742"/>
                    <a:pt x="9097" y="1755"/>
                    <a:pt x="9097" y="1763"/>
                  </a:cubicBezTo>
                  <a:cubicBezTo>
                    <a:pt x="9097" y="1771"/>
                    <a:pt x="9109" y="1781"/>
                    <a:pt x="9109" y="1781"/>
                  </a:cubicBezTo>
                  <a:cubicBezTo>
                    <a:pt x="9082" y="1782"/>
                    <a:pt x="9082" y="1782"/>
                    <a:pt x="9082" y="1782"/>
                  </a:cubicBezTo>
                  <a:cubicBezTo>
                    <a:pt x="9082" y="1782"/>
                    <a:pt x="9083" y="1802"/>
                    <a:pt x="9070" y="1793"/>
                  </a:cubicBezTo>
                  <a:cubicBezTo>
                    <a:pt x="9057" y="1783"/>
                    <a:pt x="9083" y="1770"/>
                    <a:pt x="9083" y="1770"/>
                  </a:cubicBezTo>
                  <a:cubicBezTo>
                    <a:pt x="9083" y="1770"/>
                    <a:pt x="9035" y="1767"/>
                    <a:pt x="9027" y="1765"/>
                  </a:cubicBezTo>
                  <a:cubicBezTo>
                    <a:pt x="9019" y="1762"/>
                    <a:pt x="8977" y="1754"/>
                    <a:pt x="8977" y="1754"/>
                  </a:cubicBezTo>
                  <a:cubicBezTo>
                    <a:pt x="8985" y="1777"/>
                    <a:pt x="8985" y="1777"/>
                    <a:pt x="8985" y="1777"/>
                  </a:cubicBezTo>
                  <a:cubicBezTo>
                    <a:pt x="8985" y="1777"/>
                    <a:pt x="8969" y="1770"/>
                    <a:pt x="8963" y="1783"/>
                  </a:cubicBezTo>
                  <a:cubicBezTo>
                    <a:pt x="8958" y="1797"/>
                    <a:pt x="8994" y="1798"/>
                    <a:pt x="8993" y="1806"/>
                  </a:cubicBezTo>
                  <a:cubicBezTo>
                    <a:pt x="8991" y="1814"/>
                    <a:pt x="8943" y="1789"/>
                    <a:pt x="8938" y="1801"/>
                  </a:cubicBezTo>
                  <a:cubicBezTo>
                    <a:pt x="8933" y="1813"/>
                    <a:pt x="8966" y="1821"/>
                    <a:pt x="8966" y="1821"/>
                  </a:cubicBezTo>
                  <a:cubicBezTo>
                    <a:pt x="8966" y="1821"/>
                    <a:pt x="8966" y="1829"/>
                    <a:pt x="8973" y="1837"/>
                  </a:cubicBezTo>
                  <a:cubicBezTo>
                    <a:pt x="8979" y="1845"/>
                    <a:pt x="8993" y="1861"/>
                    <a:pt x="8993" y="1861"/>
                  </a:cubicBezTo>
                  <a:cubicBezTo>
                    <a:pt x="8991" y="1875"/>
                    <a:pt x="8991" y="1875"/>
                    <a:pt x="8991" y="1875"/>
                  </a:cubicBezTo>
                  <a:cubicBezTo>
                    <a:pt x="9014" y="1878"/>
                    <a:pt x="9014" y="1878"/>
                    <a:pt x="9014" y="1878"/>
                  </a:cubicBezTo>
                  <a:cubicBezTo>
                    <a:pt x="9019" y="1893"/>
                    <a:pt x="9019" y="1893"/>
                    <a:pt x="9019" y="1893"/>
                  </a:cubicBezTo>
                  <a:cubicBezTo>
                    <a:pt x="9019" y="1893"/>
                    <a:pt x="9054" y="1893"/>
                    <a:pt x="9065" y="1903"/>
                  </a:cubicBezTo>
                  <a:cubicBezTo>
                    <a:pt x="9075" y="1914"/>
                    <a:pt x="9053" y="1925"/>
                    <a:pt x="9051" y="1935"/>
                  </a:cubicBezTo>
                  <a:cubicBezTo>
                    <a:pt x="9050" y="1946"/>
                    <a:pt x="9061" y="1947"/>
                    <a:pt x="9061" y="1947"/>
                  </a:cubicBezTo>
                  <a:cubicBezTo>
                    <a:pt x="9059" y="1953"/>
                    <a:pt x="9073" y="1967"/>
                    <a:pt x="9073" y="1967"/>
                  </a:cubicBezTo>
                  <a:cubicBezTo>
                    <a:pt x="9073" y="1967"/>
                    <a:pt x="9093" y="1991"/>
                    <a:pt x="9093" y="1995"/>
                  </a:cubicBezTo>
                  <a:cubicBezTo>
                    <a:pt x="9093" y="1999"/>
                    <a:pt x="9083" y="2010"/>
                    <a:pt x="9083" y="2015"/>
                  </a:cubicBezTo>
                  <a:cubicBezTo>
                    <a:pt x="9083" y="2021"/>
                    <a:pt x="9099" y="2046"/>
                    <a:pt x="9099" y="2046"/>
                  </a:cubicBezTo>
                  <a:cubicBezTo>
                    <a:pt x="9119" y="2043"/>
                    <a:pt x="9119" y="2043"/>
                    <a:pt x="9119" y="2043"/>
                  </a:cubicBezTo>
                  <a:cubicBezTo>
                    <a:pt x="9121" y="2061"/>
                    <a:pt x="9121" y="2061"/>
                    <a:pt x="9121" y="2061"/>
                  </a:cubicBezTo>
                  <a:cubicBezTo>
                    <a:pt x="9134" y="2067"/>
                    <a:pt x="9134" y="2067"/>
                    <a:pt x="9134" y="2067"/>
                  </a:cubicBezTo>
                  <a:cubicBezTo>
                    <a:pt x="9134" y="2067"/>
                    <a:pt x="9105" y="2066"/>
                    <a:pt x="9109" y="2075"/>
                  </a:cubicBezTo>
                  <a:cubicBezTo>
                    <a:pt x="9113" y="2085"/>
                    <a:pt x="9123" y="2079"/>
                    <a:pt x="9130" y="2082"/>
                  </a:cubicBezTo>
                  <a:cubicBezTo>
                    <a:pt x="9137" y="2085"/>
                    <a:pt x="9149" y="2098"/>
                    <a:pt x="9149" y="2098"/>
                  </a:cubicBezTo>
                  <a:cubicBezTo>
                    <a:pt x="9153" y="2133"/>
                    <a:pt x="9153" y="2133"/>
                    <a:pt x="9153" y="2133"/>
                  </a:cubicBezTo>
                  <a:cubicBezTo>
                    <a:pt x="9158" y="2135"/>
                    <a:pt x="9158" y="2135"/>
                    <a:pt x="9158" y="2135"/>
                  </a:cubicBezTo>
                  <a:cubicBezTo>
                    <a:pt x="9158" y="2135"/>
                    <a:pt x="9155" y="2149"/>
                    <a:pt x="9155" y="2157"/>
                  </a:cubicBezTo>
                  <a:cubicBezTo>
                    <a:pt x="9155" y="2165"/>
                    <a:pt x="9165" y="2186"/>
                    <a:pt x="9165" y="2186"/>
                  </a:cubicBezTo>
                  <a:cubicBezTo>
                    <a:pt x="9165" y="2186"/>
                    <a:pt x="9185" y="2212"/>
                    <a:pt x="9173" y="2214"/>
                  </a:cubicBezTo>
                  <a:close/>
                  <a:moveTo>
                    <a:pt x="9387" y="1710"/>
                  </a:moveTo>
                  <a:cubicBezTo>
                    <a:pt x="9384" y="1716"/>
                    <a:pt x="9370" y="1720"/>
                    <a:pt x="9370" y="1720"/>
                  </a:cubicBezTo>
                  <a:cubicBezTo>
                    <a:pt x="9370" y="1720"/>
                    <a:pt x="9362" y="1727"/>
                    <a:pt x="9358" y="1731"/>
                  </a:cubicBezTo>
                  <a:cubicBezTo>
                    <a:pt x="9354" y="1735"/>
                    <a:pt x="9338" y="1730"/>
                    <a:pt x="9335" y="1732"/>
                  </a:cubicBezTo>
                  <a:cubicBezTo>
                    <a:pt x="9332" y="1734"/>
                    <a:pt x="9332" y="1745"/>
                    <a:pt x="9332" y="1745"/>
                  </a:cubicBezTo>
                  <a:cubicBezTo>
                    <a:pt x="9332" y="1745"/>
                    <a:pt x="9347" y="1751"/>
                    <a:pt x="9351" y="1752"/>
                  </a:cubicBezTo>
                  <a:cubicBezTo>
                    <a:pt x="9355" y="1753"/>
                    <a:pt x="9358" y="1762"/>
                    <a:pt x="9352" y="1771"/>
                  </a:cubicBezTo>
                  <a:cubicBezTo>
                    <a:pt x="9349" y="1775"/>
                    <a:pt x="9352" y="1781"/>
                    <a:pt x="9355" y="1788"/>
                  </a:cubicBezTo>
                  <a:cubicBezTo>
                    <a:pt x="9359" y="1797"/>
                    <a:pt x="9364" y="1806"/>
                    <a:pt x="9361" y="1811"/>
                  </a:cubicBezTo>
                  <a:cubicBezTo>
                    <a:pt x="9356" y="1820"/>
                    <a:pt x="9352" y="1825"/>
                    <a:pt x="9352" y="1825"/>
                  </a:cubicBezTo>
                  <a:cubicBezTo>
                    <a:pt x="9352" y="1825"/>
                    <a:pt x="9340" y="1826"/>
                    <a:pt x="9332" y="1820"/>
                  </a:cubicBezTo>
                  <a:cubicBezTo>
                    <a:pt x="9324" y="1814"/>
                    <a:pt x="9327" y="1805"/>
                    <a:pt x="9327" y="1805"/>
                  </a:cubicBezTo>
                  <a:cubicBezTo>
                    <a:pt x="9320" y="1786"/>
                    <a:pt x="9320" y="1786"/>
                    <a:pt x="9320" y="1786"/>
                  </a:cubicBezTo>
                  <a:cubicBezTo>
                    <a:pt x="9323" y="1773"/>
                    <a:pt x="9323" y="1773"/>
                    <a:pt x="9323" y="1773"/>
                  </a:cubicBezTo>
                  <a:cubicBezTo>
                    <a:pt x="9325" y="1764"/>
                    <a:pt x="9325" y="1764"/>
                    <a:pt x="9325" y="1764"/>
                  </a:cubicBezTo>
                  <a:cubicBezTo>
                    <a:pt x="9325" y="1764"/>
                    <a:pt x="9317" y="1749"/>
                    <a:pt x="9310" y="1744"/>
                  </a:cubicBezTo>
                  <a:cubicBezTo>
                    <a:pt x="9303" y="1739"/>
                    <a:pt x="9302" y="1736"/>
                    <a:pt x="9302" y="1736"/>
                  </a:cubicBezTo>
                  <a:cubicBezTo>
                    <a:pt x="9293" y="1750"/>
                    <a:pt x="9293" y="1750"/>
                    <a:pt x="9293" y="1750"/>
                  </a:cubicBezTo>
                  <a:cubicBezTo>
                    <a:pt x="9290" y="1757"/>
                    <a:pt x="9290" y="1757"/>
                    <a:pt x="9290" y="1757"/>
                  </a:cubicBezTo>
                  <a:cubicBezTo>
                    <a:pt x="9284" y="1770"/>
                    <a:pt x="9284" y="1770"/>
                    <a:pt x="9284" y="1770"/>
                  </a:cubicBezTo>
                  <a:cubicBezTo>
                    <a:pt x="9284" y="1770"/>
                    <a:pt x="9297" y="1778"/>
                    <a:pt x="9297" y="1787"/>
                  </a:cubicBezTo>
                  <a:cubicBezTo>
                    <a:pt x="9297" y="1796"/>
                    <a:pt x="9294" y="1795"/>
                    <a:pt x="9294" y="1795"/>
                  </a:cubicBezTo>
                  <a:cubicBezTo>
                    <a:pt x="9294" y="1795"/>
                    <a:pt x="9295" y="1805"/>
                    <a:pt x="9284" y="1807"/>
                  </a:cubicBezTo>
                  <a:cubicBezTo>
                    <a:pt x="9273" y="1809"/>
                    <a:pt x="9276" y="1789"/>
                    <a:pt x="9270" y="1787"/>
                  </a:cubicBezTo>
                  <a:cubicBezTo>
                    <a:pt x="9264" y="1785"/>
                    <a:pt x="9277" y="1771"/>
                    <a:pt x="9277" y="1771"/>
                  </a:cubicBezTo>
                  <a:cubicBezTo>
                    <a:pt x="9281" y="1753"/>
                    <a:pt x="9281" y="1753"/>
                    <a:pt x="9281" y="1753"/>
                  </a:cubicBezTo>
                  <a:cubicBezTo>
                    <a:pt x="9281" y="1752"/>
                    <a:pt x="9281" y="1752"/>
                    <a:pt x="9281" y="1752"/>
                  </a:cubicBezTo>
                  <a:cubicBezTo>
                    <a:pt x="9281" y="1752"/>
                    <a:pt x="9285" y="1740"/>
                    <a:pt x="9286" y="1730"/>
                  </a:cubicBezTo>
                  <a:cubicBezTo>
                    <a:pt x="9287" y="1720"/>
                    <a:pt x="9306" y="1725"/>
                    <a:pt x="9306" y="1725"/>
                  </a:cubicBezTo>
                  <a:cubicBezTo>
                    <a:pt x="9311" y="1740"/>
                    <a:pt x="9311" y="1740"/>
                    <a:pt x="9311" y="1740"/>
                  </a:cubicBezTo>
                  <a:cubicBezTo>
                    <a:pt x="9311" y="1740"/>
                    <a:pt x="9325" y="1734"/>
                    <a:pt x="9327" y="1731"/>
                  </a:cubicBezTo>
                  <a:cubicBezTo>
                    <a:pt x="9329" y="1728"/>
                    <a:pt x="9313" y="1710"/>
                    <a:pt x="9313" y="1710"/>
                  </a:cubicBezTo>
                  <a:cubicBezTo>
                    <a:pt x="9323" y="1710"/>
                    <a:pt x="9323" y="1710"/>
                    <a:pt x="9323" y="1710"/>
                  </a:cubicBezTo>
                  <a:cubicBezTo>
                    <a:pt x="9332" y="1719"/>
                    <a:pt x="9332" y="1719"/>
                    <a:pt x="9332" y="1719"/>
                  </a:cubicBezTo>
                  <a:cubicBezTo>
                    <a:pt x="9349" y="1718"/>
                    <a:pt x="9349" y="1718"/>
                    <a:pt x="9349" y="1718"/>
                  </a:cubicBezTo>
                  <a:cubicBezTo>
                    <a:pt x="9349" y="1718"/>
                    <a:pt x="9363" y="1722"/>
                    <a:pt x="9366" y="1718"/>
                  </a:cubicBezTo>
                  <a:cubicBezTo>
                    <a:pt x="9369" y="1714"/>
                    <a:pt x="9364" y="1710"/>
                    <a:pt x="9360" y="1710"/>
                  </a:cubicBezTo>
                  <a:cubicBezTo>
                    <a:pt x="9356" y="1710"/>
                    <a:pt x="9348" y="1705"/>
                    <a:pt x="9348" y="1705"/>
                  </a:cubicBezTo>
                  <a:cubicBezTo>
                    <a:pt x="9348" y="1705"/>
                    <a:pt x="9332" y="1709"/>
                    <a:pt x="9329" y="1699"/>
                  </a:cubicBezTo>
                  <a:cubicBezTo>
                    <a:pt x="9326" y="1689"/>
                    <a:pt x="9349" y="1691"/>
                    <a:pt x="9349" y="1691"/>
                  </a:cubicBezTo>
                  <a:cubicBezTo>
                    <a:pt x="9358" y="1683"/>
                    <a:pt x="9358" y="1683"/>
                    <a:pt x="9358" y="1683"/>
                  </a:cubicBezTo>
                  <a:cubicBezTo>
                    <a:pt x="9358" y="1683"/>
                    <a:pt x="9370" y="1700"/>
                    <a:pt x="9373" y="1700"/>
                  </a:cubicBezTo>
                  <a:cubicBezTo>
                    <a:pt x="9376" y="1700"/>
                    <a:pt x="9381" y="1694"/>
                    <a:pt x="9381" y="1694"/>
                  </a:cubicBezTo>
                  <a:cubicBezTo>
                    <a:pt x="9381" y="1694"/>
                    <a:pt x="9390" y="1704"/>
                    <a:pt x="9387" y="1710"/>
                  </a:cubicBezTo>
                  <a:close/>
                  <a:moveTo>
                    <a:pt x="10130" y="1704"/>
                  </a:moveTo>
                  <a:cubicBezTo>
                    <a:pt x="10125" y="1709"/>
                    <a:pt x="10108" y="1705"/>
                    <a:pt x="10108" y="1705"/>
                  </a:cubicBezTo>
                  <a:cubicBezTo>
                    <a:pt x="10108" y="1705"/>
                    <a:pt x="10106" y="1711"/>
                    <a:pt x="10101" y="1712"/>
                  </a:cubicBezTo>
                  <a:cubicBezTo>
                    <a:pt x="10096" y="1713"/>
                    <a:pt x="10085" y="1703"/>
                    <a:pt x="10085" y="1703"/>
                  </a:cubicBezTo>
                  <a:cubicBezTo>
                    <a:pt x="10065" y="1706"/>
                    <a:pt x="10065" y="1706"/>
                    <a:pt x="10065" y="1706"/>
                  </a:cubicBezTo>
                  <a:cubicBezTo>
                    <a:pt x="10044" y="1702"/>
                    <a:pt x="10044" y="1702"/>
                    <a:pt x="10044" y="1702"/>
                  </a:cubicBezTo>
                  <a:cubicBezTo>
                    <a:pt x="10032" y="1703"/>
                    <a:pt x="10032" y="1703"/>
                    <a:pt x="10032" y="1703"/>
                  </a:cubicBezTo>
                  <a:cubicBezTo>
                    <a:pt x="10015" y="1698"/>
                    <a:pt x="10015" y="1698"/>
                    <a:pt x="10015" y="1698"/>
                  </a:cubicBezTo>
                  <a:cubicBezTo>
                    <a:pt x="10015" y="1698"/>
                    <a:pt x="10004" y="1699"/>
                    <a:pt x="9991" y="1699"/>
                  </a:cubicBezTo>
                  <a:cubicBezTo>
                    <a:pt x="9978" y="1699"/>
                    <a:pt x="9981" y="1693"/>
                    <a:pt x="9981" y="1693"/>
                  </a:cubicBezTo>
                  <a:cubicBezTo>
                    <a:pt x="9981" y="1693"/>
                    <a:pt x="9973" y="1701"/>
                    <a:pt x="9967" y="1703"/>
                  </a:cubicBezTo>
                  <a:cubicBezTo>
                    <a:pt x="9961" y="1705"/>
                    <a:pt x="9960" y="1715"/>
                    <a:pt x="9954" y="1723"/>
                  </a:cubicBezTo>
                  <a:cubicBezTo>
                    <a:pt x="9948" y="1731"/>
                    <a:pt x="9940" y="1728"/>
                    <a:pt x="9940" y="1728"/>
                  </a:cubicBezTo>
                  <a:cubicBezTo>
                    <a:pt x="9944" y="1746"/>
                    <a:pt x="9944" y="1746"/>
                    <a:pt x="9944" y="1746"/>
                  </a:cubicBezTo>
                  <a:cubicBezTo>
                    <a:pt x="9936" y="1753"/>
                    <a:pt x="9936" y="1753"/>
                    <a:pt x="9936" y="1753"/>
                  </a:cubicBezTo>
                  <a:cubicBezTo>
                    <a:pt x="9946" y="1764"/>
                    <a:pt x="9946" y="1764"/>
                    <a:pt x="9946" y="1764"/>
                  </a:cubicBezTo>
                  <a:cubicBezTo>
                    <a:pt x="9945" y="1781"/>
                    <a:pt x="9945" y="1781"/>
                    <a:pt x="9945" y="1781"/>
                  </a:cubicBezTo>
                  <a:cubicBezTo>
                    <a:pt x="9941" y="1780"/>
                    <a:pt x="9912" y="1746"/>
                    <a:pt x="9912" y="1746"/>
                  </a:cubicBezTo>
                  <a:cubicBezTo>
                    <a:pt x="9912" y="1746"/>
                    <a:pt x="9908" y="1731"/>
                    <a:pt x="9908" y="1720"/>
                  </a:cubicBezTo>
                  <a:cubicBezTo>
                    <a:pt x="9908" y="1709"/>
                    <a:pt x="9926" y="1706"/>
                    <a:pt x="9930" y="1705"/>
                  </a:cubicBezTo>
                  <a:cubicBezTo>
                    <a:pt x="9934" y="1704"/>
                    <a:pt x="9932" y="1693"/>
                    <a:pt x="9938" y="1687"/>
                  </a:cubicBezTo>
                  <a:cubicBezTo>
                    <a:pt x="9944" y="1681"/>
                    <a:pt x="9969" y="1687"/>
                    <a:pt x="9973" y="1687"/>
                  </a:cubicBezTo>
                  <a:cubicBezTo>
                    <a:pt x="9977" y="1687"/>
                    <a:pt x="9985" y="1681"/>
                    <a:pt x="9998" y="1682"/>
                  </a:cubicBezTo>
                  <a:cubicBezTo>
                    <a:pt x="10011" y="1683"/>
                    <a:pt x="10019" y="1690"/>
                    <a:pt x="10026" y="1691"/>
                  </a:cubicBezTo>
                  <a:cubicBezTo>
                    <a:pt x="10033" y="1692"/>
                    <a:pt x="10038" y="1695"/>
                    <a:pt x="10051" y="1697"/>
                  </a:cubicBezTo>
                  <a:cubicBezTo>
                    <a:pt x="10064" y="1699"/>
                    <a:pt x="10060" y="1688"/>
                    <a:pt x="10073" y="1688"/>
                  </a:cubicBezTo>
                  <a:cubicBezTo>
                    <a:pt x="10086" y="1688"/>
                    <a:pt x="10105" y="1693"/>
                    <a:pt x="10105" y="1693"/>
                  </a:cubicBezTo>
                  <a:cubicBezTo>
                    <a:pt x="10105" y="1693"/>
                    <a:pt x="10115" y="1684"/>
                    <a:pt x="10129" y="1682"/>
                  </a:cubicBezTo>
                  <a:cubicBezTo>
                    <a:pt x="10143" y="1680"/>
                    <a:pt x="10135" y="1699"/>
                    <a:pt x="10130" y="1704"/>
                  </a:cubicBezTo>
                  <a:close/>
                  <a:moveTo>
                    <a:pt x="11182" y="1348"/>
                  </a:moveTo>
                  <a:cubicBezTo>
                    <a:pt x="11182" y="1348"/>
                    <a:pt x="11179" y="1362"/>
                    <a:pt x="11178" y="1365"/>
                  </a:cubicBezTo>
                  <a:cubicBezTo>
                    <a:pt x="11177" y="1368"/>
                    <a:pt x="11164" y="1375"/>
                    <a:pt x="11164" y="1375"/>
                  </a:cubicBezTo>
                  <a:cubicBezTo>
                    <a:pt x="11164" y="1375"/>
                    <a:pt x="11152" y="1381"/>
                    <a:pt x="11148" y="1381"/>
                  </a:cubicBezTo>
                  <a:cubicBezTo>
                    <a:pt x="11143" y="1381"/>
                    <a:pt x="11144" y="1393"/>
                    <a:pt x="11144" y="1393"/>
                  </a:cubicBezTo>
                  <a:cubicBezTo>
                    <a:pt x="11144" y="1393"/>
                    <a:pt x="11142" y="1386"/>
                    <a:pt x="11122" y="1393"/>
                  </a:cubicBezTo>
                  <a:cubicBezTo>
                    <a:pt x="11101" y="1399"/>
                    <a:pt x="11130" y="1409"/>
                    <a:pt x="11130" y="1409"/>
                  </a:cubicBezTo>
                  <a:cubicBezTo>
                    <a:pt x="11130" y="1409"/>
                    <a:pt x="11120" y="1417"/>
                    <a:pt x="11118" y="1426"/>
                  </a:cubicBezTo>
                  <a:cubicBezTo>
                    <a:pt x="11117" y="1436"/>
                    <a:pt x="11102" y="1427"/>
                    <a:pt x="11102" y="1427"/>
                  </a:cubicBezTo>
                  <a:cubicBezTo>
                    <a:pt x="11102" y="1427"/>
                    <a:pt x="11099" y="1441"/>
                    <a:pt x="11079" y="1441"/>
                  </a:cubicBezTo>
                  <a:cubicBezTo>
                    <a:pt x="11058" y="1441"/>
                    <a:pt x="11059" y="1436"/>
                    <a:pt x="11059" y="1436"/>
                  </a:cubicBezTo>
                  <a:cubicBezTo>
                    <a:pt x="11036" y="1430"/>
                    <a:pt x="11036" y="1430"/>
                    <a:pt x="11036" y="1430"/>
                  </a:cubicBezTo>
                  <a:cubicBezTo>
                    <a:pt x="11047" y="1424"/>
                    <a:pt x="11047" y="1424"/>
                    <a:pt x="11047" y="1424"/>
                  </a:cubicBezTo>
                  <a:cubicBezTo>
                    <a:pt x="11069" y="1424"/>
                    <a:pt x="11069" y="1424"/>
                    <a:pt x="11069" y="1424"/>
                  </a:cubicBezTo>
                  <a:cubicBezTo>
                    <a:pt x="11070" y="1419"/>
                    <a:pt x="11070" y="1419"/>
                    <a:pt x="11070" y="1419"/>
                  </a:cubicBezTo>
                  <a:cubicBezTo>
                    <a:pt x="11070" y="1419"/>
                    <a:pt x="11086" y="1419"/>
                    <a:pt x="11093" y="1412"/>
                  </a:cubicBezTo>
                  <a:cubicBezTo>
                    <a:pt x="11099" y="1406"/>
                    <a:pt x="11100" y="1387"/>
                    <a:pt x="11100" y="1387"/>
                  </a:cubicBezTo>
                  <a:cubicBezTo>
                    <a:pt x="11100" y="1387"/>
                    <a:pt x="11104" y="1386"/>
                    <a:pt x="11113" y="1384"/>
                  </a:cubicBezTo>
                  <a:cubicBezTo>
                    <a:pt x="11122" y="1382"/>
                    <a:pt x="11122" y="1366"/>
                    <a:pt x="11122" y="1366"/>
                  </a:cubicBezTo>
                  <a:cubicBezTo>
                    <a:pt x="11122" y="1366"/>
                    <a:pt x="11115" y="1362"/>
                    <a:pt x="11116" y="1356"/>
                  </a:cubicBezTo>
                  <a:cubicBezTo>
                    <a:pt x="11117" y="1351"/>
                    <a:pt x="11136" y="1334"/>
                    <a:pt x="11136" y="1334"/>
                  </a:cubicBezTo>
                  <a:cubicBezTo>
                    <a:pt x="11136" y="1323"/>
                    <a:pt x="11136" y="1323"/>
                    <a:pt x="11136" y="1323"/>
                  </a:cubicBezTo>
                  <a:cubicBezTo>
                    <a:pt x="11150" y="1310"/>
                    <a:pt x="11150" y="1310"/>
                    <a:pt x="11150" y="1310"/>
                  </a:cubicBezTo>
                  <a:cubicBezTo>
                    <a:pt x="11142" y="1299"/>
                    <a:pt x="11142" y="1299"/>
                    <a:pt x="11142" y="1299"/>
                  </a:cubicBezTo>
                  <a:cubicBezTo>
                    <a:pt x="11141" y="1246"/>
                    <a:pt x="11141" y="1246"/>
                    <a:pt x="11141" y="1246"/>
                  </a:cubicBezTo>
                  <a:cubicBezTo>
                    <a:pt x="11141" y="1246"/>
                    <a:pt x="11126" y="1224"/>
                    <a:pt x="11144" y="1219"/>
                  </a:cubicBezTo>
                  <a:cubicBezTo>
                    <a:pt x="11163" y="1215"/>
                    <a:pt x="11159" y="1240"/>
                    <a:pt x="11159" y="1240"/>
                  </a:cubicBezTo>
                  <a:cubicBezTo>
                    <a:pt x="11159" y="1240"/>
                    <a:pt x="11168" y="1247"/>
                    <a:pt x="11172" y="1262"/>
                  </a:cubicBezTo>
                  <a:cubicBezTo>
                    <a:pt x="11177" y="1278"/>
                    <a:pt x="11179" y="1288"/>
                    <a:pt x="11179" y="1288"/>
                  </a:cubicBezTo>
                  <a:cubicBezTo>
                    <a:pt x="11193" y="1307"/>
                    <a:pt x="11193" y="1307"/>
                    <a:pt x="11193" y="1307"/>
                  </a:cubicBezTo>
                  <a:cubicBezTo>
                    <a:pt x="11187" y="1318"/>
                    <a:pt x="11187" y="1318"/>
                    <a:pt x="11187" y="1318"/>
                  </a:cubicBezTo>
                  <a:cubicBezTo>
                    <a:pt x="11187" y="1318"/>
                    <a:pt x="11174" y="1324"/>
                    <a:pt x="11176" y="1331"/>
                  </a:cubicBezTo>
                  <a:cubicBezTo>
                    <a:pt x="11177" y="1339"/>
                    <a:pt x="11193" y="1330"/>
                    <a:pt x="11193" y="1330"/>
                  </a:cubicBezTo>
                  <a:cubicBezTo>
                    <a:pt x="11195" y="1341"/>
                    <a:pt x="11195" y="1341"/>
                    <a:pt x="11195" y="1341"/>
                  </a:cubicBezTo>
                  <a:lnTo>
                    <a:pt x="11182" y="1348"/>
                  </a:lnTo>
                  <a:close/>
                  <a:moveTo>
                    <a:pt x="13036" y="1803"/>
                  </a:moveTo>
                  <a:cubicBezTo>
                    <a:pt x="13024" y="1842"/>
                    <a:pt x="13024" y="1842"/>
                    <a:pt x="13024" y="1842"/>
                  </a:cubicBezTo>
                  <a:cubicBezTo>
                    <a:pt x="13033" y="1839"/>
                    <a:pt x="13033" y="1839"/>
                    <a:pt x="13033" y="1839"/>
                  </a:cubicBezTo>
                  <a:cubicBezTo>
                    <a:pt x="13049" y="1812"/>
                    <a:pt x="13049" y="1812"/>
                    <a:pt x="13049" y="1812"/>
                  </a:cubicBezTo>
                  <a:lnTo>
                    <a:pt x="13036" y="1803"/>
                  </a:lnTo>
                  <a:close/>
                  <a:moveTo>
                    <a:pt x="12612" y="2401"/>
                  </a:moveTo>
                  <a:cubicBezTo>
                    <a:pt x="12631" y="2434"/>
                    <a:pt x="12631" y="2434"/>
                    <a:pt x="12631" y="2434"/>
                  </a:cubicBezTo>
                  <a:cubicBezTo>
                    <a:pt x="12643" y="2428"/>
                    <a:pt x="12643" y="2428"/>
                    <a:pt x="12643" y="2428"/>
                  </a:cubicBezTo>
                  <a:cubicBezTo>
                    <a:pt x="12643" y="2428"/>
                    <a:pt x="12636" y="2409"/>
                    <a:pt x="12644" y="2413"/>
                  </a:cubicBezTo>
                  <a:cubicBezTo>
                    <a:pt x="12652" y="2417"/>
                    <a:pt x="12664" y="2438"/>
                    <a:pt x="12664" y="2438"/>
                  </a:cubicBezTo>
                  <a:cubicBezTo>
                    <a:pt x="12663" y="2463"/>
                    <a:pt x="12663" y="2463"/>
                    <a:pt x="12663" y="2463"/>
                  </a:cubicBezTo>
                  <a:cubicBezTo>
                    <a:pt x="12651" y="2468"/>
                    <a:pt x="12651" y="2468"/>
                    <a:pt x="12651" y="2468"/>
                  </a:cubicBezTo>
                  <a:cubicBezTo>
                    <a:pt x="12651" y="2468"/>
                    <a:pt x="12662" y="2515"/>
                    <a:pt x="12672" y="2517"/>
                  </a:cubicBezTo>
                  <a:cubicBezTo>
                    <a:pt x="12682" y="2519"/>
                    <a:pt x="12680" y="2487"/>
                    <a:pt x="12680" y="2487"/>
                  </a:cubicBezTo>
                  <a:cubicBezTo>
                    <a:pt x="12701" y="2494"/>
                    <a:pt x="12701" y="2494"/>
                    <a:pt x="12701" y="2494"/>
                  </a:cubicBezTo>
                  <a:cubicBezTo>
                    <a:pt x="12701" y="2494"/>
                    <a:pt x="12698" y="2521"/>
                    <a:pt x="12702" y="2521"/>
                  </a:cubicBezTo>
                  <a:cubicBezTo>
                    <a:pt x="12706" y="2521"/>
                    <a:pt x="12720" y="2497"/>
                    <a:pt x="12720" y="2497"/>
                  </a:cubicBezTo>
                  <a:cubicBezTo>
                    <a:pt x="12720" y="2497"/>
                    <a:pt x="12710" y="2461"/>
                    <a:pt x="12710" y="2450"/>
                  </a:cubicBezTo>
                  <a:cubicBezTo>
                    <a:pt x="12710" y="2439"/>
                    <a:pt x="12725" y="2430"/>
                    <a:pt x="12725" y="2430"/>
                  </a:cubicBezTo>
                  <a:cubicBezTo>
                    <a:pt x="12724" y="2418"/>
                    <a:pt x="12701" y="2403"/>
                    <a:pt x="12701" y="2403"/>
                  </a:cubicBezTo>
                  <a:cubicBezTo>
                    <a:pt x="12701" y="2403"/>
                    <a:pt x="12700" y="2393"/>
                    <a:pt x="12693" y="2390"/>
                  </a:cubicBezTo>
                  <a:cubicBezTo>
                    <a:pt x="12686" y="2387"/>
                    <a:pt x="12681" y="2389"/>
                    <a:pt x="12681" y="2389"/>
                  </a:cubicBezTo>
                  <a:cubicBezTo>
                    <a:pt x="12681" y="2389"/>
                    <a:pt x="12660" y="2375"/>
                    <a:pt x="12653" y="2375"/>
                  </a:cubicBezTo>
                  <a:cubicBezTo>
                    <a:pt x="12646" y="2375"/>
                    <a:pt x="12637" y="2387"/>
                    <a:pt x="12637" y="2387"/>
                  </a:cubicBezTo>
                  <a:lnTo>
                    <a:pt x="12612" y="2401"/>
                  </a:lnTo>
                  <a:close/>
                  <a:moveTo>
                    <a:pt x="12893" y="2165"/>
                  </a:moveTo>
                  <a:cubicBezTo>
                    <a:pt x="12901" y="2164"/>
                    <a:pt x="12901" y="2164"/>
                    <a:pt x="12901" y="2164"/>
                  </a:cubicBezTo>
                  <a:cubicBezTo>
                    <a:pt x="12900" y="2148"/>
                    <a:pt x="12900" y="2148"/>
                    <a:pt x="12900" y="2148"/>
                  </a:cubicBezTo>
                  <a:cubicBezTo>
                    <a:pt x="12894" y="2146"/>
                    <a:pt x="12894" y="2146"/>
                    <a:pt x="12894" y="2146"/>
                  </a:cubicBezTo>
                  <a:cubicBezTo>
                    <a:pt x="12884" y="2133"/>
                    <a:pt x="12884" y="2133"/>
                    <a:pt x="12884" y="2133"/>
                  </a:cubicBezTo>
                  <a:cubicBezTo>
                    <a:pt x="12880" y="2141"/>
                    <a:pt x="12880" y="2141"/>
                    <a:pt x="12880" y="2141"/>
                  </a:cubicBezTo>
                  <a:cubicBezTo>
                    <a:pt x="12888" y="2150"/>
                    <a:pt x="12888" y="2150"/>
                    <a:pt x="12888" y="2150"/>
                  </a:cubicBezTo>
                  <a:lnTo>
                    <a:pt x="12893" y="2165"/>
                  </a:lnTo>
                  <a:close/>
                  <a:moveTo>
                    <a:pt x="12653" y="2749"/>
                  </a:moveTo>
                  <a:cubicBezTo>
                    <a:pt x="12643" y="2759"/>
                    <a:pt x="12634" y="2791"/>
                    <a:pt x="12634" y="2791"/>
                  </a:cubicBezTo>
                  <a:cubicBezTo>
                    <a:pt x="12647" y="2794"/>
                    <a:pt x="12647" y="2794"/>
                    <a:pt x="12647" y="2794"/>
                  </a:cubicBezTo>
                  <a:cubicBezTo>
                    <a:pt x="12647" y="2794"/>
                    <a:pt x="12659" y="2773"/>
                    <a:pt x="12655" y="2773"/>
                  </a:cubicBezTo>
                  <a:cubicBezTo>
                    <a:pt x="12651" y="2773"/>
                    <a:pt x="12667" y="2755"/>
                    <a:pt x="12667" y="2755"/>
                  </a:cubicBezTo>
                  <a:cubicBezTo>
                    <a:pt x="12667" y="2755"/>
                    <a:pt x="12662" y="2738"/>
                    <a:pt x="12653" y="2749"/>
                  </a:cubicBezTo>
                  <a:close/>
                  <a:moveTo>
                    <a:pt x="12661" y="2713"/>
                  </a:moveTo>
                  <a:cubicBezTo>
                    <a:pt x="12663" y="2725"/>
                    <a:pt x="12663" y="2725"/>
                    <a:pt x="12663" y="2725"/>
                  </a:cubicBezTo>
                  <a:cubicBezTo>
                    <a:pt x="12678" y="2725"/>
                    <a:pt x="12678" y="2725"/>
                    <a:pt x="12678" y="2725"/>
                  </a:cubicBezTo>
                  <a:lnTo>
                    <a:pt x="12661" y="2713"/>
                  </a:lnTo>
                  <a:close/>
                  <a:moveTo>
                    <a:pt x="13004" y="1819"/>
                  </a:moveTo>
                  <a:cubicBezTo>
                    <a:pt x="12997" y="1813"/>
                    <a:pt x="12992" y="1837"/>
                    <a:pt x="12992" y="1837"/>
                  </a:cubicBezTo>
                  <a:cubicBezTo>
                    <a:pt x="12992" y="1837"/>
                    <a:pt x="12924" y="1821"/>
                    <a:pt x="12909" y="1810"/>
                  </a:cubicBezTo>
                  <a:cubicBezTo>
                    <a:pt x="12893" y="1799"/>
                    <a:pt x="12819" y="1741"/>
                    <a:pt x="12809" y="1752"/>
                  </a:cubicBezTo>
                  <a:cubicBezTo>
                    <a:pt x="12799" y="1763"/>
                    <a:pt x="12841" y="1798"/>
                    <a:pt x="12841" y="1798"/>
                  </a:cubicBezTo>
                  <a:cubicBezTo>
                    <a:pt x="12843" y="1813"/>
                    <a:pt x="12843" y="1813"/>
                    <a:pt x="12843" y="1813"/>
                  </a:cubicBezTo>
                  <a:cubicBezTo>
                    <a:pt x="12843" y="1813"/>
                    <a:pt x="12860" y="1824"/>
                    <a:pt x="12860" y="1831"/>
                  </a:cubicBezTo>
                  <a:cubicBezTo>
                    <a:pt x="12860" y="1838"/>
                    <a:pt x="12853" y="1851"/>
                    <a:pt x="12853" y="1851"/>
                  </a:cubicBezTo>
                  <a:cubicBezTo>
                    <a:pt x="12853" y="1851"/>
                    <a:pt x="12871" y="1873"/>
                    <a:pt x="12866" y="1874"/>
                  </a:cubicBezTo>
                  <a:cubicBezTo>
                    <a:pt x="12860" y="1875"/>
                    <a:pt x="12828" y="1866"/>
                    <a:pt x="12823" y="1864"/>
                  </a:cubicBezTo>
                  <a:cubicBezTo>
                    <a:pt x="12817" y="1863"/>
                    <a:pt x="12838" y="1884"/>
                    <a:pt x="12838" y="1884"/>
                  </a:cubicBezTo>
                  <a:cubicBezTo>
                    <a:pt x="12821" y="1902"/>
                    <a:pt x="12821" y="1902"/>
                    <a:pt x="12821" y="1902"/>
                  </a:cubicBezTo>
                  <a:cubicBezTo>
                    <a:pt x="12821" y="1902"/>
                    <a:pt x="12827" y="1914"/>
                    <a:pt x="12830" y="1920"/>
                  </a:cubicBezTo>
                  <a:cubicBezTo>
                    <a:pt x="12832" y="1925"/>
                    <a:pt x="12859" y="1939"/>
                    <a:pt x="12859" y="1939"/>
                  </a:cubicBezTo>
                  <a:cubicBezTo>
                    <a:pt x="12859" y="1939"/>
                    <a:pt x="12850" y="1972"/>
                    <a:pt x="12873" y="1971"/>
                  </a:cubicBezTo>
                  <a:cubicBezTo>
                    <a:pt x="12883" y="1970"/>
                    <a:pt x="12867" y="1952"/>
                    <a:pt x="12879" y="1952"/>
                  </a:cubicBezTo>
                  <a:cubicBezTo>
                    <a:pt x="12892" y="1952"/>
                    <a:pt x="12902" y="1952"/>
                    <a:pt x="12902" y="1952"/>
                  </a:cubicBezTo>
                  <a:cubicBezTo>
                    <a:pt x="12906" y="1946"/>
                    <a:pt x="12906" y="1946"/>
                    <a:pt x="12906" y="1946"/>
                  </a:cubicBezTo>
                  <a:cubicBezTo>
                    <a:pt x="12881" y="1930"/>
                    <a:pt x="12881" y="1930"/>
                    <a:pt x="12881" y="1930"/>
                  </a:cubicBezTo>
                  <a:cubicBezTo>
                    <a:pt x="12868" y="1930"/>
                    <a:pt x="12868" y="1930"/>
                    <a:pt x="12868" y="1930"/>
                  </a:cubicBezTo>
                  <a:cubicBezTo>
                    <a:pt x="12868" y="1930"/>
                    <a:pt x="12834" y="1917"/>
                    <a:pt x="12850" y="1910"/>
                  </a:cubicBezTo>
                  <a:cubicBezTo>
                    <a:pt x="12867" y="1903"/>
                    <a:pt x="12878" y="1920"/>
                    <a:pt x="12878" y="1920"/>
                  </a:cubicBezTo>
                  <a:cubicBezTo>
                    <a:pt x="12878" y="1920"/>
                    <a:pt x="12892" y="1909"/>
                    <a:pt x="12902" y="1907"/>
                  </a:cubicBezTo>
                  <a:cubicBezTo>
                    <a:pt x="12911" y="1906"/>
                    <a:pt x="12982" y="1943"/>
                    <a:pt x="12988" y="1939"/>
                  </a:cubicBezTo>
                  <a:cubicBezTo>
                    <a:pt x="12993" y="1935"/>
                    <a:pt x="12974" y="1896"/>
                    <a:pt x="12992" y="1889"/>
                  </a:cubicBezTo>
                  <a:cubicBezTo>
                    <a:pt x="13010" y="1882"/>
                    <a:pt x="13008" y="1898"/>
                    <a:pt x="13026" y="1888"/>
                  </a:cubicBezTo>
                  <a:cubicBezTo>
                    <a:pt x="13044" y="1878"/>
                    <a:pt x="13047" y="1871"/>
                    <a:pt x="13047" y="1871"/>
                  </a:cubicBezTo>
                  <a:cubicBezTo>
                    <a:pt x="13011" y="1848"/>
                    <a:pt x="13011" y="1848"/>
                    <a:pt x="13011" y="1848"/>
                  </a:cubicBezTo>
                  <a:cubicBezTo>
                    <a:pt x="13011" y="1848"/>
                    <a:pt x="13011" y="1824"/>
                    <a:pt x="13004" y="1819"/>
                  </a:cubicBezTo>
                  <a:close/>
                  <a:moveTo>
                    <a:pt x="8625" y="4453"/>
                  </a:moveTo>
                  <a:cubicBezTo>
                    <a:pt x="8617" y="4461"/>
                    <a:pt x="8617" y="4488"/>
                    <a:pt x="8630" y="4486"/>
                  </a:cubicBezTo>
                  <a:cubicBezTo>
                    <a:pt x="8646" y="4484"/>
                    <a:pt x="8632" y="4445"/>
                    <a:pt x="8625" y="4453"/>
                  </a:cubicBezTo>
                  <a:close/>
                  <a:moveTo>
                    <a:pt x="8607" y="4500"/>
                  </a:moveTo>
                  <a:cubicBezTo>
                    <a:pt x="8591" y="4500"/>
                    <a:pt x="8601" y="4527"/>
                    <a:pt x="8601" y="4527"/>
                  </a:cubicBezTo>
                  <a:cubicBezTo>
                    <a:pt x="8601" y="4527"/>
                    <a:pt x="8617" y="4545"/>
                    <a:pt x="8627" y="4543"/>
                  </a:cubicBezTo>
                  <a:cubicBezTo>
                    <a:pt x="8636" y="4541"/>
                    <a:pt x="8619" y="4521"/>
                    <a:pt x="8619" y="4521"/>
                  </a:cubicBezTo>
                  <a:cubicBezTo>
                    <a:pt x="8619" y="4521"/>
                    <a:pt x="8623" y="4500"/>
                    <a:pt x="8607" y="4500"/>
                  </a:cubicBezTo>
                  <a:close/>
                  <a:moveTo>
                    <a:pt x="9132" y="4961"/>
                  </a:moveTo>
                  <a:cubicBezTo>
                    <a:pt x="9132" y="4961"/>
                    <a:pt x="9109" y="4913"/>
                    <a:pt x="9109" y="4907"/>
                  </a:cubicBezTo>
                  <a:cubicBezTo>
                    <a:pt x="9109" y="4902"/>
                    <a:pt x="9109" y="4892"/>
                    <a:pt x="9109" y="4892"/>
                  </a:cubicBezTo>
                  <a:cubicBezTo>
                    <a:pt x="9073" y="4851"/>
                    <a:pt x="9073" y="4851"/>
                    <a:pt x="9073" y="4851"/>
                  </a:cubicBezTo>
                  <a:cubicBezTo>
                    <a:pt x="9052" y="4877"/>
                    <a:pt x="9052" y="4877"/>
                    <a:pt x="9052" y="4877"/>
                  </a:cubicBezTo>
                  <a:cubicBezTo>
                    <a:pt x="9052" y="4877"/>
                    <a:pt x="9054" y="4900"/>
                    <a:pt x="9049" y="4913"/>
                  </a:cubicBezTo>
                  <a:cubicBezTo>
                    <a:pt x="9043" y="4925"/>
                    <a:pt x="9025" y="4939"/>
                    <a:pt x="9025" y="4939"/>
                  </a:cubicBezTo>
                  <a:cubicBezTo>
                    <a:pt x="9025" y="4939"/>
                    <a:pt x="9015" y="4932"/>
                    <a:pt x="9008" y="4939"/>
                  </a:cubicBezTo>
                  <a:cubicBezTo>
                    <a:pt x="9001" y="4946"/>
                    <a:pt x="9015" y="4966"/>
                    <a:pt x="9006" y="4977"/>
                  </a:cubicBezTo>
                  <a:cubicBezTo>
                    <a:pt x="8997" y="4987"/>
                    <a:pt x="8992" y="4989"/>
                    <a:pt x="8992" y="4989"/>
                  </a:cubicBezTo>
                  <a:cubicBezTo>
                    <a:pt x="8992" y="4989"/>
                    <a:pt x="8988" y="4969"/>
                    <a:pt x="8981" y="4975"/>
                  </a:cubicBezTo>
                  <a:cubicBezTo>
                    <a:pt x="8974" y="4980"/>
                    <a:pt x="8976" y="5010"/>
                    <a:pt x="8976" y="5010"/>
                  </a:cubicBezTo>
                  <a:cubicBezTo>
                    <a:pt x="8967" y="5037"/>
                    <a:pt x="8967" y="5037"/>
                    <a:pt x="8967" y="5037"/>
                  </a:cubicBezTo>
                  <a:cubicBezTo>
                    <a:pt x="8962" y="5023"/>
                    <a:pt x="8962" y="5023"/>
                    <a:pt x="8962" y="5023"/>
                  </a:cubicBezTo>
                  <a:cubicBezTo>
                    <a:pt x="8960" y="5001"/>
                    <a:pt x="8960" y="5001"/>
                    <a:pt x="8960" y="5001"/>
                  </a:cubicBezTo>
                  <a:cubicBezTo>
                    <a:pt x="8951" y="5023"/>
                    <a:pt x="8951" y="5023"/>
                    <a:pt x="8951" y="5023"/>
                  </a:cubicBezTo>
                  <a:cubicBezTo>
                    <a:pt x="8953" y="5044"/>
                    <a:pt x="8953" y="5044"/>
                    <a:pt x="8953" y="5044"/>
                  </a:cubicBezTo>
                  <a:cubicBezTo>
                    <a:pt x="8923" y="5039"/>
                    <a:pt x="8923" y="5039"/>
                    <a:pt x="8923" y="5039"/>
                  </a:cubicBezTo>
                  <a:cubicBezTo>
                    <a:pt x="8910" y="5058"/>
                    <a:pt x="8910" y="5058"/>
                    <a:pt x="8910" y="5058"/>
                  </a:cubicBezTo>
                  <a:cubicBezTo>
                    <a:pt x="8871" y="5053"/>
                    <a:pt x="8871" y="5053"/>
                    <a:pt x="8871" y="5053"/>
                  </a:cubicBezTo>
                  <a:cubicBezTo>
                    <a:pt x="8871" y="5069"/>
                    <a:pt x="8871" y="5069"/>
                    <a:pt x="8871" y="5069"/>
                  </a:cubicBezTo>
                  <a:cubicBezTo>
                    <a:pt x="8841" y="5065"/>
                    <a:pt x="8841" y="5065"/>
                    <a:pt x="8841" y="5065"/>
                  </a:cubicBezTo>
                  <a:cubicBezTo>
                    <a:pt x="8825" y="5070"/>
                    <a:pt x="8825" y="5070"/>
                    <a:pt x="8825" y="5070"/>
                  </a:cubicBezTo>
                  <a:cubicBezTo>
                    <a:pt x="8831" y="5090"/>
                    <a:pt x="8831" y="5090"/>
                    <a:pt x="8831" y="5090"/>
                  </a:cubicBezTo>
                  <a:cubicBezTo>
                    <a:pt x="8831" y="5090"/>
                    <a:pt x="8818" y="5110"/>
                    <a:pt x="8804" y="5122"/>
                  </a:cubicBezTo>
                  <a:cubicBezTo>
                    <a:pt x="8790" y="5134"/>
                    <a:pt x="8806" y="5178"/>
                    <a:pt x="8808" y="5200"/>
                  </a:cubicBezTo>
                  <a:cubicBezTo>
                    <a:pt x="8809" y="5221"/>
                    <a:pt x="8816" y="5287"/>
                    <a:pt x="8816" y="5287"/>
                  </a:cubicBezTo>
                  <a:cubicBezTo>
                    <a:pt x="8816" y="5287"/>
                    <a:pt x="8792" y="5304"/>
                    <a:pt x="8776" y="5324"/>
                  </a:cubicBezTo>
                  <a:cubicBezTo>
                    <a:pt x="8760" y="5343"/>
                    <a:pt x="8737" y="5341"/>
                    <a:pt x="8742" y="5407"/>
                  </a:cubicBezTo>
                  <a:cubicBezTo>
                    <a:pt x="8747" y="5473"/>
                    <a:pt x="8778" y="5510"/>
                    <a:pt x="8778" y="5510"/>
                  </a:cubicBezTo>
                  <a:cubicBezTo>
                    <a:pt x="8765" y="5526"/>
                    <a:pt x="8765" y="5526"/>
                    <a:pt x="8765" y="5526"/>
                  </a:cubicBezTo>
                  <a:cubicBezTo>
                    <a:pt x="8765" y="5526"/>
                    <a:pt x="8767" y="5540"/>
                    <a:pt x="8797" y="5568"/>
                  </a:cubicBezTo>
                  <a:cubicBezTo>
                    <a:pt x="8827" y="5597"/>
                    <a:pt x="8870" y="5561"/>
                    <a:pt x="8870" y="5561"/>
                  </a:cubicBezTo>
                  <a:cubicBezTo>
                    <a:pt x="8870" y="5561"/>
                    <a:pt x="8878" y="5566"/>
                    <a:pt x="8886" y="5563"/>
                  </a:cubicBezTo>
                  <a:cubicBezTo>
                    <a:pt x="8893" y="5559"/>
                    <a:pt x="8902" y="5550"/>
                    <a:pt x="8926" y="5527"/>
                  </a:cubicBezTo>
                  <a:cubicBezTo>
                    <a:pt x="8951" y="5504"/>
                    <a:pt x="8948" y="5460"/>
                    <a:pt x="8948" y="5460"/>
                  </a:cubicBezTo>
                  <a:cubicBezTo>
                    <a:pt x="8948" y="5460"/>
                    <a:pt x="8965" y="5398"/>
                    <a:pt x="9004" y="5329"/>
                  </a:cubicBezTo>
                  <a:cubicBezTo>
                    <a:pt x="9043" y="5260"/>
                    <a:pt x="9068" y="5187"/>
                    <a:pt x="9075" y="5163"/>
                  </a:cubicBezTo>
                  <a:cubicBezTo>
                    <a:pt x="9082" y="5138"/>
                    <a:pt x="9068" y="5124"/>
                    <a:pt x="9070" y="5110"/>
                  </a:cubicBezTo>
                  <a:cubicBezTo>
                    <a:pt x="9072" y="5096"/>
                    <a:pt x="9095" y="5072"/>
                    <a:pt x="9095" y="5072"/>
                  </a:cubicBezTo>
                  <a:cubicBezTo>
                    <a:pt x="9091" y="5044"/>
                    <a:pt x="9091" y="5044"/>
                    <a:pt x="9091" y="5044"/>
                  </a:cubicBezTo>
                  <a:cubicBezTo>
                    <a:pt x="9112" y="5039"/>
                    <a:pt x="9112" y="5039"/>
                    <a:pt x="9112" y="5039"/>
                  </a:cubicBezTo>
                  <a:cubicBezTo>
                    <a:pt x="9112" y="5039"/>
                    <a:pt x="9132" y="5049"/>
                    <a:pt x="9139" y="5044"/>
                  </a:cubicBezTo>
                  <a:cubicBezTo>
                    <a:pt x="9146" y="5039"/>
                    <a:pt x="9119" y="4994"/>
                    <a:pt x="9119" y="4994"/>
                  </a:cubicBezTo>
                  <a:lnTo>
                    <a:pt x="9132" y="496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33" name="Gruppieren 432"/>
            <p:cNvGrpSpPr/>
            <p:nvPr/>
          </p:nvGrpSpPr>
          <p:grpSpPr bwMode="gray">
            <a:xfrm>
              <a:off x="4697413" y="3749675"/>
              <a:ext cx="1212851" cy="917575"/>
              <a:chOff x="4697413" y="3749675"/>
              <a:chExt cx="1212851" cy="917575"/>
            </a:xfrm>
          </p:grpSpPr>
          <p:sp>
            <p:nvSpPr>
              <p:cNvPr id="21509" name="Freeform 5"/>
              <p:cNvSpPr>
                <a:spLocks/>
              </p:cNvSpPr>
              <p:nvPr/>
            </p:nvSpPr>
            <p:spPr bwMode="gray">
              <a:xfrm>
                <a:off x="5686426" y="3978275"/>
                <a:ext cx="6350" cy="7938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3" y="1"/>
                  </a:cxn>
                  <a:cxn ang="0">
                    <a:pos x="1" y="1"/>
                  </a:cxn>
                  <a:cxn ang="0">
                    <a:pos x="0" y="5"/>
                  </a:cxn>
                  <a:cxn ang="0">
                    <a:pos x="1" y="5"/>
                  </a:cxn>
                  <a:cxn ang="0">
                    <a:pos x="2" y="3"/>
                  </a:cxn>
                </a:cxnLst>
                <a:rect l="0" t="0" r="r" b="b"/>
                <a:pathLst>
                  <a:path w="4" h="5">
                    <a:moveTo>
                      <a:pt x="2" y="3"/>
                    </a:moveTo>
                    <a:lnTo>
                      <a:pt x="4" y="1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0" name="Freeform 6"/>
              <p:cNvSpPr>
                <a:spLocks/>
              </p:cNvSpPr>
              <p:nvPr/>
            </p:nvSpPr>
            <p:spPr bwMode="gray">
              <a:xfrm>
                <a:off x="5702301" y="3965575"/>
                <a:ext cx="1588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1" name="Freeform 7"/>
              <p:cNvSpPr>
                <a:spLocks/>
              </p:cNvSpPr>
              <p:nvPr/>
            </p:nvSpPr>
            <p:spPr bwMode="gray">
              <a:xfrm>
                <a:off x="5692776" y="3881438"/>
                <a:ext cx="3175" cy="476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2" y="1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2" name="Freeform 8"/>
              <p:cNvSpPr>
                <a:spLocks/>
              </p:cNvSpPr>
              <p:nvPr/>
            </p:nvSpPr>
            <p:spPr bwMode="gray">
              <a:xfrm>
                <a:off x="5695951" y="3975100"/>
                <a:ext cx="3175" cy="31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3" name="Freeform 9"/>
              <p:cNvSpPr>
                <a:spLocks/>
              </p:cNvSpPr>
              <p:nvPr/>
            </p:nvSpPr>
            <p:spPr bwMode="gray">
              <a:xfrm>
                <a:off x="5705476" y="3948113"/>
                <a:ext cx="1588" cy="3175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1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4" name="Freeform 10"/>
              <p:cNvSpPr>
                <a:spLocks/>
              </p:cNvSpPr>
              <p:nvPr/>
            </p:nvSpPr>
            <p:spPr bwMode="gray">
              <a:xfrm>
                <a:off x="5703888" y="3940175"/>
                <a:ext cx="3175" cy="6350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3"/>
                  </a:cxn>
                </a:cxnLst>
                <a:rect l="0" t="0" r="r" b="b"/>
                <a:pathLst>
                  <a:path w="2" h="4">
                    <a:moveTo>
                      <a:pt x="2" y="3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5" name="Freeform 11"/>
              <p:cNvSpPr>
                <a:spLocks/>
              </p:cNvSpPr>
              <p:nvPr/>
            </p:nvSpPr>
            <p:spPr bwMode="gray">
              <a:xfrm>
                <a:off x="5703888" y="3959225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6" name="Freeform 12"/>
              <p:cNvSpPr>
                <a:spLocks/>
              </p:cNvSpPr>
              <p:nvPr/>
            </p:nvSpPr>
            <p:spPr bwMode="gray">
              <a:xfrm>
                <a:off x="5681663" y="3986213"/>
                <a:ext cx="3175" cy="476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7" name="Freeform 13"/>
              <p:cNvSpPr>
                <a:spLocks/>
              </p:cNvSpPr>
              <p:nvPr/>
            </p:nvSpPr>
            <p:spPr bwMode="gray">
              <a:xfrm>
                <a:off x="5581651" y="4129088"/>
                <a:ext cx="11113" cy="25400"/>
              </a:xfrm>
              <a:custGeom>
                <a:avLst/>
                <a:gdLst/>
                <a:ahLst/>
                <a:cxnLst>
                  <a:cxn ang="0">
                    <a:pos x="1" y="11"/>
                  </a:cxn>
                  <a:cxn ang="0">
                    <a:pos x="1" y="12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2" y="14"/>
                  </a:cxn>
                  <a:cxn ang="0">
                    <a:pos x="3" y="14"/>
                  </a:cxn>
                  <a:cxn ang="0">
                    <a:pos x="3" y="16"/>
                  </a:cxn>
                  <a:cxn ang="0">
                    <a:pos x="5" y="16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6" y="11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7" y="2"/>
                  </a:cxn>
                  <a:cxn ang="0">
                    <a:pos x="7" y="1"/>
                  </a:cxn>
                  <a:cxn ang="0">
                    <a:pos x="4" y="0"/>
                  </a:cxn>
                  <a:cxn ang="0">
                    <a:pos x="3" y="2"/>
                  </a:cxn>
                  <a:cxn ang="0">
                    <a:pos x="2" y="2"/>
                  </a:cxn>
                  <a:cxn ang="0">
                    <a:pos x="2" y="5"/>
                  </a:cxn>
                  <a:cxn ang="0">
                    <a:pos x="1" y="7"/>
                  </a:cxn>
                  <a:cxn ang="0">
                    <a:pos x="0" y="9"/>
                  </a:cxn>
                  <a:cxn ang="0">
                    <a:pos x="0" y="10"/>
                  </a:cxn>
                  <a:cxn ang="0">
                    <a:pos x="0" y="11"/>
                  </a:cxn>
                  <a:cxn ang="0">
                    <a:pos x="1" y="11"/>
                  </a:cxn>
                </a:cxnLst>
                <a:rect l="0" t="0" r="r" b="b"/>
                <a:pathLst>
                  <a:path w="7" h="16">
                    <a:moveTo>
                      <a:pt x="1" y="11"/>
                    </a:moveTo>
                    <a:lnTo>
                      <a:pt x="1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3" y="14"/>
                    </a:lnTo>
                    <a:lnTo>
                      <a:pt x="3" y="16"/>
                    </a:lnTo>
                    <a:lnTo>
                      <a:pt x="5" y="16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6" y="11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1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8" name="Rectangle 14"/>
              <p:cNvSpPr>
                <a:spLocks noChangeArrowheads="1"/>
              </p:cNvSpPr>
              <p:nvPr/>
            </p:nvSpPr>
            <p:spPr bwMode="gray">
              <a:xfrm>
                <a:off x="5842001" y="4379913"/>
                <a:ext cx="4763" cy="15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19" name="Freeform 15"/>
              <p:cNvSpPr>
                <a:spLocks/>
              </p:cNvSpPr>
              <p:nvPr/>
            </p:nvSpPr>
            <p:spPr bwMode="gray">
              <a:xfrm>
                <a:off x="5856288" y="4387850"/>
                <a:ext cx="7938" cy="635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3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0" name="Freeform 16"/>
              <p:cNvSpPr>
                <a:spLocks/>
              </p:cNvSpPr>
              <p:nvPr/>
            </p:nvSpPr>
            <p:spPr bwMode="gray">
              <a:xfrm>
                <a:off x="5864226" y="4379913"/>
                <a:ext cx="4763" cy="11113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3" y="7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3" y="7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3" y="7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3" y="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1" name="Freeform 17"/>
              <p:cNvSpPr>
                <a:spLocks/>
              </p:cNvSpPr>
              <p:nvPr/>
            </p:nvSpPr>
            <p:spPr bwMode="gray">
              <a:xfrm>
                <a:off x="5838826" y="4368800"/>
                <a:ext cx="3175" cy="476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2" y="1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2" name="Freeform 18"/>
              <p:cNvSpPr>
                <a:spLocks/>
              </p:cNvSpPr>
              <p:nvPr/>
            </p:nvSpPr>
            <p:spPr bwMode="gray">
              <a:xfrm>
                <a:off x="5867401" y="4395788"/>
                <a:ext cx="6350" cy="4763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0" y="0"/>
                  </a:cxn>
                  <a:cxn ang="0">
                    <a:pos x="3" y="3"/>
                  </a:cxn>
                  <a:cxn ang="0">
                    <a:pos x="4" y="2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3" name="Freeform 19"/>
              <p:cNvSpPr>
                <a:spLocks/>
              </p:cNvSpPr>
              <p:nvPr/>
            </p:nvSpPr>
            <p:spPr bwMode="gray">
              <a:xfrm>
                <a:off x="5849938" y="4373563"/>
                <a:ext cx="9525" cy="952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2" y="3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5" y="6"/>
                  </a:cxn>
                  <a:cxn ang="0">
                    <a:pos x="6" y="6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4" y="3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2"/>
                  </a:cxn>
                </a:cxnLst>
                <a:rect l="0" t="0" r="r" b="b"/>
                <a:pathLst>
                  <a:path w="6" h="6">
                    <a:moveTo>
                      <a:pt x="1" y="2"/>
                    </a:moveTo>
                    <a:lnTo>
                      <a:pt x="2" y="3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4" name="Freeform 20"/>
              <p:cNvSpPr>
                <a:spLocks/>
              </p:cNvSpPr>
              <p:nvPr/>
            </p:nvSpPr>
            <p:spPr bwMode="gray">
              <a:xfrm>
                <a:off x="5843588" y="4383088"/>
                <a:ext cx="4763" cy="317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5" name="Freeform 21"/>
              <p:cNvSpPr>
                <a:spLocks/>
              </p:cNvSpPr>
              <p:nvPr/>
            </p:nvSpPr>
            <p:spPr bwMode="gray">
              <a:xfrm>
                <a:off x="5838826" y="4378325"/>
                <a:ext cx="3175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6" name="Freeform 22"/>
              <p:cNvSpPr>
                <a:spLocks/>
              </p:cNvSpPr>
              <p:nvPr/>
            </p:nvSpPr>
            <p:spPr bwMode="gray">
              <a:xfrm>
                <a:off x="5621338" y="4225925"/>
                <a:ext cx="12700" cy="1270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4" y="5"/>
                  </a:cxn>
                  <a:cxn ang="0">
                    <a:pos x="3" y="5"/>
                  </a:cxn>
                  <a:cxn ang="0">
                    <a:pos x="7" y="8"/>
                  </a:cxn>
                  <a:cxn ang="0">
                    <a:pos x="7" y="6"/>
                  </a:cxn>
                  <a:cxn ang="0">
                    <a:pos x="8" y="7"/>
                  </a:cxn>
                  <a:cxn ang="0">
                    <a:pos x="7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6" y="2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8" h="8">
                    <a:moveTo>
                      <a:pt x="0" y="1"/>
                    </a:moveTo>
                    <a:lnTo>
                      <a:pt x="2" y="3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7" y="8"/>
                    </a:lnTo>
                    <a:lnTo>
                      <a:pt x="7" y="6"/>
                    </a:lnTo>
                    <a:lnTo>
                      <a:pt x="8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2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7" name="Freeform 23"/>
              <p:cNvSpPr>
                <a:spLocks/>
              </p:cNvSpPr>
              <p:nvPr/>
            </p:nvSpPr>
            <p:spPr bwMode="gray">
              <a:xfrm>
                <a:off x="5589588" y="4178300"/>
                <a:ext cx="30163" cy="42863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2" y="8"/>
                  </a:cxn>
                  <a:cxn ang="0">
                    <a:pos x="3" y="9"/>
                  </a:cxn>
                  <a:cxn ang="0">
                    <a:pos x="2" y="10"/>
                  </a:cxn>
                  <a:cxn ang="0">
                    <a:pos x="2" y="11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1" y="14"/>
                  </a:cxn>
                  <a:cxn ang="0">
                    <a:pos x="1" y="13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5" y="23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2" y="25"/>
                  </a:cxn>
                  <a:cxn ang="0">
                    <a:pos x="13" y="24"/>
                  </a:cxn>
                  <a:cxn ang="0">
                    <a:pos x="13" y="23"/>
                  </a:cxn>
                  <a:cxn ang="0">
                    <a:pos x="14" y="23"/>
                  </a:cxn>
                  <a:cxn ang="0">
                    <a:pos x="15" y="24"/>
                  </a:cxn>
                  <a:cxn ang="0">
                    <a:pos x="16" y="26"/>
                  </a:cxn>
                  <a:cxn ang="0">
                    <a:pos x="17" y="27"/>
                  </a:cxn>
                  <a:cxn ang="0">
                    <a:pos x="19" y="26"/>
                  </a:cxn>
                  <a:cxn ang="0">
                    <a:pos x="18" y="24"/>
                  </a:cxn>
                  <a:cxn ang="0">
                    <a:pos x="17" y="24"/>
                  </a:cxn>
                  <a:cxn ang="0">
                    <a:pos x="17" y="23"/>
                  </a:cxn>
                  <a:cxn ang="0">
                    <a:pos x="18" y="22"/>
                  </a:cxn>
                  <a:cxn ang="0">
                    <a:pos x="16" y="22"/>
                  </a:cxn>
                  <a:cxn ang="0">
                    <a:pos x="15" y="21"/>
                  </a:cxn>
                  <a:cxn ang="0">
                    <a:pos x="14" y="22"/>
                  </a:cxn>
                  <a:cxn ang="0">
                    <a:pos x="13" y="21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8" y="20"/>
                  </a:cxn>
                  <a:cxn ang="0">
                    <a:pos x="9" y="14"/>
                  </a:cxn>
                  <a:cxn ang="0">
                    <a:pos x="10" y="12"/>
                  </a:cxn>
                  <a:cxn ang="0">
                    <a:pos x="9" y="9"/>
                  </a:cxn>
                  <a:cxn ang="0">
                    <a:pos x="10" y="7"/>
                  </a:cxn>
                  <a:cxn ang="0">
                    <a:pos x="9" y="3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5" y="2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3" y="3"/>
                  </a:cxn>
                  <a:cxn ang="0">
                    <a:pos x="2" y="4"/>
                  </a:cxn>
                  <a:cxn ang="0">
                    <a:pos x="1" y="6"/>
                  </a:cxn>
                </a:cxnLst>
                <a:rect l="0" t="0" r="r" b="b"/>
                <a:pathLst>
                  <a:path w="19" h="27">
                    <a:moveTo>
                      <a:pt x="1" y="6"/>
                    </a:moveTo>
                    <a:lnTo>
                      <a:pt x="2" y="7"/>
                    </a:lnTo>
                    <a:lnTo>
                      <a:pt x="2" y="7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1" y="13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4" y="21"/>
                    </a:lnTo>
                    <a:lnTo>
                      <a:pt x="5" y="23"/>
                    </a:lnTo>
                    <a:lnTo>
                      <a:pt x="6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2" y="25"/>
                    </a:lnTo>
                    <a:lnTo>
                      <a:pt x="13" y="25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5" y="25"/>
                    </a:lnTo>
                    <a:lnTo>
                      <a:pt x="16" y="26"/>
                    </a:lnTo>
                    <a:lnTo>
                      <a:pt x="16" y="27"/>
                    </a:lnTo>
                    <a:lnTo>
                      <a:pt x="17" y="27"/>
                    </a:lnTo>
                    <a:lnTo>
                      <a:pt x="18" y="27"/>
                    </a:lnTo>
                    <a:lnTo>
                      <a:pt x="19" y="26"/>
                    </a:lnTo>
                    <a:lnTo>
                      <a:pt x="19" y="25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7" y="24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8" y="22"/>
                    </a:lnTo>
                    <a:lnTo>
                      <a:pt x="17" y="22"/>
                    </a:lnTo>
                    <a:lnTo>
                      <a:pt x="16" y="22"/>
                    </a:lnTo>
                    <a:lnTo>
                      <a:pt x="16" y="21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4" y="22"/>
                    </a:lnTo>
                    <a:lnTo>
                      <a:pt x="13" y="21"/>
                    </a:lnTo>
                    <a:lnTo>
                      <a:pt x="13" y="21"/>
                    </a:lnTo>
                    <a:lnTo>
                      <a:pt x="12" y="21"/>
                    </a:lnTo>
                    <a:lnTo>
                      <a:pt x="11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9" y="21"/>
                    </a:lnTo>
                    <a:lnTo>
                      <a:pt x="8" y="20"/>
                    </a:lnTo>
                    <a:lnTo>
                      <a:pt x="8" y="15"/>
                    </a:lnTo>
                    <a:lnTo>
                      <a:pt x="9" y="14"/>
                    </a:lnTo>
                    <a:lnTo>
                      <a:pt x="9" y="13"/>
                    </a:lnTo>
                    <a:lnTo>
                      <a:pt x="10" y="12"/>
                    </a:lnTo>
                    <a:lnTo>
                      <a:pt x="10" y="11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9" y="3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1" y="5"/>
                    </a:lnTo>
                    <a:lnTo>
                      <a:pt x="1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8" name="Rectangle 24"/>
              <p:cNvSpPr>
                <a:spLocks noChangeArrowheads="1"/>
              </p:cNvSpPr>
              <p:nvPr/>
            </p:nvSpPr>
            <p:spPr bwMode="gray">
              <a:xfrm>
                <a:off x="5624513" y="4244975"/>
                <a:ext cx="3175" cy="317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29" name="Freeform 25"/>
              <p:cNvSpPr>
                <a:spLocks/>
              </p:cNvSpPr>
              <p:nvPr/>
            </p:nvSpPr>
            <p:spPr bwMode="gray">
              <a:xfrm>
                <a:off x="5580063" y="4232275"/>
                <a:ext cx="15875" cy="26988"/>
              </a:xfrm>
              <a:custGeom>
                <a:avLst/>
                <a:gdLst/>
                <a:ahLst/>
                <a:cxnLst>
                  <a:cxn ang="0">
                    <a:pos x="1" y="14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4" y="11"/>
                  </a:cxn>
                  <a:cxn ang="0">
                    <a:pos x="5" y="10"/>
                  </a:cxn>
                  <a:cxn ang="0">
                    <a:pos x="5" y="10"/>
                  </a:cxn>
                  <a:cxn ang="0">
                    <a:pos x="6" y="10"/>
                  </a:cxn>
                  <a:cxn ang="0">
                    <a:pos x="7" y="9"/>
                  </a:cxn>
                  <a:cxn ang="0">
                    <a:pos x="8" y="9"/>
                  </a:cxn>
                  <a:cxn ang="0">
                    <a:pos x="9" y="8"/>
                  </a:cxn>
                  <a:cxn ang="0">
                    <a:pos x="9" y="8"/>
                  </a:cxn>
                  <a:cxn ang="0">
                    <a:pos x="10" y="7"/>
                  </a:cxn>
                  <a:cxn ang="0">
                    <a:pos x="10" y="7"/>
                  </a:cxn>
                  <a:cxn ang="0">
                    <a:pos x="9" y="4"/>
                  </a:cxn>
                  <a:cxn ang="0">
                    <a:pos x="9" y="3"/>
                  </a:cxn>
                  <a:cxn ang="0">
                    <a:pos x="9" y="2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8" y="2"/>
                  </a:cxn>
                  <a:cxn ang="0">
                    <a:pos x="7" y="2"/>
                  </a:cxn>
                  <a:cxn ang="0">
                    <a:pos x="7" y="3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5"/>
                  </a:cxn>
                  <a:cxn ang="0">
                    <a:pos x="8" y="5"/>
                  </a:cxn>
                  <a:cxn ang="0">
                    <a:pos x="8" y="6"/>
                  </a:cxn>
                  <a:cxn ang="0">
                    <a:pos x="8" y="7"/>
                  </a:cxn>
                  <a:cxn ang="0">
                    <a:pos x="7" y="7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5" y="9"/>
                  </a:cxn>
                  <a:cxn ang="0">
                    <a:pos x="4" y="10"/>
                  </a:cxn>
                  <a:cxn ang="0">
                    <a:pos x="4" y="11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0" y="14"/>
                  </a:cxn>
                  <a:cxn ang="0">
                    <a:pos x="0" y="15"/>
                  </a:cxn>
                  <a:cxn ang="0">
                    <a:pos x="0" y="17"/>
                  </a:cxn>
                  <a:cxn ang="0">
                    <a:pos x="1" y="15"/>
                  </a:cxn>
                  <a:cxn ang="0">
                    <a:pos x="1" y="14"/>
                  </a:cxn>
                </a:cxnLst>
                <a:rect l="0" t="0" r="r" b="b"/>
                <a:pathLst>
                  <a:path w="10" h="17">
                    <a:moveTo>
                      <a:pt x="1" y="14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6" y="10"/>
                    </a:lnTo>
                    <a:lnTo>
                      <a:pt x="7" y="9"/>
                    </a:lnTo>
                    <a:lnTo>
                      <a:pt x="8" y="9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8" y="7"/>
                    </a:lnTo>
                    <a:lnTo>
                      <a:pt x="7" y="7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5" y="9"/>
                    </a:lnTo>
                    <a:lnTo>
                      <a:pt x="4" y="10"/>
                    </a:lnTo>
                    <a:lnTo>
                      <a:pt x="4" y="11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1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0" name="Freeform 26"/>
              <p:cNvSpPr>
                <a:spLocks/>
              </p:cNvSpPr>
              <p:nvPr/>
            </p:nvSpPr>
            <p:spPr bwMode="gray">
              <a:xfrm>
                <a:off x="5608638" y="4230688"/>
                <a:ext cx="11113" cy="222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5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2" y="6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5" y="9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3" y="12"/>
                  </a:cxn>
                  <a:cxn ang="0">
                    <a:pos x="3" y="13"/>
                  </a:cxn>
                  <a:cxn ang="0">
                    <a:pos x="3" y="14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5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7" y="13"/>
                  </a:cxn>
                  <a:cxn ang="0">
                    <a:pos x="7" y="12"/>
                  </a:cxn>
                  <a:cxn ang="0">
                    <a:pos x="6" y="12"/>
                  </a:cxn>
                  <a:cxn ang="0">
                    <a:pos x="6" y="11"/>
                  </a:cxn>
                  <a:cxn ang="0">
                    <a:pos x="6" y="10"/>
                  </a:cxn>
                  <a:cxn ang="0">
                    <a:pos x="6" y="9"/>
                  </a:cxn>
                  <a:cxn ang="0">
                    <a:pos x="7" y="7"/>
                  </a:cxn>
                  <a:cxn ang="0">
                    <a:pos x="7" y="6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5" y="5"/>
                  </a:cxn>
                  <a:cxn ang="0">
                    <a:pos x="5" y="6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5" y="4"/>
                  </a:cxn>
                </a:cxnLst>
                <a:rect l="0" t="0" r="r" b="b"/>
                <a:pathLst>
                  <a:path w="7" h="14">
                    <a:moveTo>
                      <a:pt x="5" y="4"/>
                    </a:moveTo>
                    <a:lnTo>
                      <a:pt x="5" y="3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1" y="6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5" y="9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3" y="12"/>
                    </a:lnTo>
                    <a:lnTo>
                      <a:pt x="3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5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7" y="13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7" y="7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1" name="Freeform 27"/>
              <p:cNvSpPr>
                <a:spLocks/>
              </p:cNvSpPr>
              <p:nvPr/>
            </p:nvSpPr>
            <p:spPr bwMode="gray">
              <a:xfrm>
                <a:off x="5602288" y="4271963"/>
                <a:ext cx="3175" cy="476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2" name="Freeform 28"/>
              <p:cNvSpPr>
                <a:spLocks/>
              </p:cNvSpPr>
              <p:nvPr/>
            </p:nvSpPr>
            <p:spPr bwMode="gray">
              <a:xfrm>
                <a:off x="5597526" y="4217988"/>
                <a:ext cx="7938" cy="11113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7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4" y="1"/>
                  </a:cxn>
                </a:cxnLst>
                <a:rect l="0" t="0" r="r" b="b"/>
                <a:pathLst>
                  <a:path w="5" h="7">
                    <a:moveTo>
                      <a:pt x="4" y="1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7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3" name="Freeform 29"/>
              <p:cNvSpPr>
                <a:spLocks/>
              </p:cNvSpPr>
              <p:nvPr/>
            </p:nvSpPr>
            <p:spPr bwMode="gray">
              <a:xfrm>
                <a:off x="5643563" y="4284663"/>
                <a:ext cx="1588" cy="476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4" name="Freeform 30"/>
              <p:cNvSpPr>
                <a:spLocks/>
              </p:cNvSpPr>
              <p:nvPr/>
            </p:nvSpPr>
            <p:spPr bwMode="gray">
              <a:xfrm>
                <a:off x="5619751" y="4235450"/>
                <a:ext cx="3175" cy="12700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2" y="3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2" y="8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3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2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5" name="Freeform 31"/>
              <p:cNvSpPr>
                <a:spLocks/>
              </p:cNvSpPr>
              <p:nvPr/>
            </p:nvSpPr>
            <p:spPr bwMode="gray">
              <a:xfrm>
                <a:off x="5611813" y="4248150"/>
                <a:ext cx="30163" cy="30163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8" y="9"/>
                  </a:cxn>
                  <a:cxn ang="0">
                    <a:pos x="18" y="4"/>
                  </a:cxn>
                  <a:cxn ang="0">
                    <a:pos x="17" y="3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3" y="0"/>
                  </a:cxn>
                  <a:cxn ang="0">
                    <a:pos x="14" y="1"/>
                  </a:cxn>
                  <a:cxn ang="0">
                    <a:pos x="15" y="2"/>
                  </a:cxn>
                  <a:cxn ang="0">
                    <a:pos x="14" y="2"/>
                  </a:cxn>
                  <a:cxn ang="0">
                    <a:pos x="13" y="3"/>
                  </a:cxn>
                  <a:cxn ang="0">
                    <a:pos x="11" y="3"/>
                  </a:cxn>
                  <a:cxn ang="0">
                    <a:pos x="10" y="5"/>
                  </a:cxn>
                  <a:cxn ang="0">
                    <a:pos x="8" y="7"/>
                  </a:cxn>
                  <a:cxn ang="0">
                    <a:pos x="7" y="6"/>
                  </a:cxn>
                  <a:cxn ang="0">
                    <a:pos x="6" y="6"/>
                  </a:cxn>
                  <a:cxn ang="0">
                    <a:pos x="5" y="6"/>
                  </a:cxn>
                  <a:cxn ang="0">
                    <a:pos x="4" y="8"/>
                  </a:cxn>
                  <a:cxn ang="0">
                    <a:pos x="3" y="9"/>
                  </a:cxn>
                  <a:cxn ang="0">
                    <a:pos x="2" y="8"/>
                  </a:cxn>
                  <a:cxn ang="0">
                    <a:pos x="1" y="10"/>
                  </a:cxn>
                  <a:cxn ang="0">
                    <a:pos x="1" y="11"/>
                  </a:cxn>
                  <a:cxn ang="0">
                    <a:pos x="2" y="12"/>
                  </a:cxn>
                  <a:cxn ang="0">
                    <a:pos x="3" y="13"/>
                  </a:cxn>
                  <a:cxn ang="0">
                    <a:pos x="4" y="12"/>
                  </a:cxn>
                  <a:cxn ang="0">
                    <a:pos x="6" y="11"/>
                  </a:cxn>
                  <a:cxn ang="0">
                    <a:pos x="8" y="12"/>
                  </a:cxn>
                  <a:cxn ang="0">
                    <a:pos x="8" y="14"/>
                  </a:cxn>
                  <a:cxn ang="0">
                    <a:pos x="9" y="16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3" y="19"/>
                  </a:cxn>
                  <a:cxn ang="0">
                    <a:pos x="15" y="19"/>
                  </a:cxn>
                  <a:cxn ang="0">
                    <a:pos x="16" y="17"/>
                  </a:cxn>
                  <a:cxn ang="0">
                    <a:pos x="15" y="15"/>
                  </a:cxn>
                  <a:cxn ang="0">
                    <a:pos x="15" y="13"/>
                  </a:cxn>
                  <a:cxn ang="0">
                    <a:pos x="17" y="16"/>
                  </a:cxn>
                  <a:cxn ang="0">
                    <a:pos x="18" y="15"/>
                  </a:cxn>
                  <a:cxn ang="0">
                    <a:pos x="19" y="12"/>
                  </a:cxn>
                </a:cxnLst>
                <a:rect l="0" t="0" r="r" b="b"/>
                <a:pathLst>
                  <a:path w="19" h="19">
                    <a:moveTo>
                      <a:pt x="19" y="11"/>
                    </a:moveTo>
                    <a:lnTo>
                      <a:pt x="18" y="10"/>
                    </a:lnTo>
                    <a:lnTo>
                      <a:pt x="18" y="10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7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4" y="3"/>
                    </a:lnTo>
                    <a:lnTo>
                      <a:pt x="13" y="3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0" y="5"/>
                    </a:lnTo>
                    <a:lnTo>
                      <a:pt x="10" y="6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6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4" y="7"/>
                    </a:lnTo>
                    <a:lnTo>
                      <a:pt x="4" y="8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1" y="9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9" y="16"/>
                    </a:lnTo>
                    <a:lnTo>
                      <a:pt x="10" y="17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12" y="18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5" y="18"/>
                    </a:lnTo>
                    <a:lnTo>
                      <a:pt x="15" y="19"/>
                    </a:lnTo>
                    <a:lnTo>
                      <a:pt x="16" y="19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5" y="15"/>
                    </a:lnTo>
                    <a:lnTo>
                      <a:pt x="15" y="14"/>
                    </a:lnTo>
                    <a:lnTo>
                      <a:pt x="15" y="13"/>
                    </a:lnTo>
                    <a:lnTo>
                      <a:pt x="16" y="12"/>
                    </a:lnTo>
                    <a:lnTo>
                      <a:pt x="17" y="16"/>
                    </a:lnTo>
                    <a:lnTo>
                      <a:pt x="17" y="15"/>
                    </a:lnTo>
                    <a:lnTo>
                      <a:pt x="18" y="15"/>
                    </a:lnTo>
                    <a:lnTo>
                      <a:pt x="18" y="14"/>
                    </a:lnTo>
                    <a:lnTo>
                      <a:pt x="19" y="12"/>
                    </a:lnTo>
                    <a:lnTo>
                      <a:pt x="19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6" name="Freeform 32"/>
              <p:cNvSpPr>
                <a:spLocks/>
              </p:cNvSpPr>
              <p:nvPr/>
            </p:nvSpPr>
            <p:spPr bwMode="gray">
              <a:xfrm>
                <a:off x="5622926" y="4235450"/>
                <a:ext cx="9525" cy="952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6" y="6"/>
                  </a:cxn>
                  <a:cxn ang="0">
                    <a:pos x="6" y="3"/>
                  </a:cxn>
                  <a:cxn ang="0">
                    <a:pos x="4" y="2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7" name="Freeform 33"/>
              <p:cNvSpPr>
                <a:spLocks/>
              </p:cNvSpPr>
              <p:nvPr/>
            </p:nvSpPr>
            <p:spPr bwMode="gray">
              <a:xfrm>
                <a:off x="5632451" y="4284663"/>
                <a:ext cx="1588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8" name="Freeform 34"/>
              <p:cNvSpPr>
                <a:spLocks/>
              </p:cNvSpPr>
              <p:nvPr/>
            </p:nvSpPr>
            <p:spPr bwMode="gray">
              <a:xfrm>
                <a:off x="5610226" y="4271963"/>
                <a:ext cx="3175" cy="4763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3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39" name="Freeform 35"/>
              <p:cNvSpPr>
                <a:spLocks/>
              </p:cNvSpPr>
              <p:nvPr/>
            </p:nvSpPr>
            <p:spPr bwMode="gray">
              <a:xfrm>
                <a:off x="5773738" y="4330700"/>
                <a:ext cx="6350" cy="4763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2" y="3"/>
                  </a:cxn>
                  <a:cxn ang="0">
                    <a:pos x="3" y="3"/>
                  </a:cxn>
                </a:cxnLst>
                <a:rect l="0" t="0" r="r" b="b"/>
                <a:pathLst>
                  <a:path w="4" h="3">
                    <a:moveTo>
                      <a:pt x="3" y="3"/>
                    </a:moveTo>
                    <a:lnTo>
                      <a:pt x="3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0" name="Freeform 36"/>
              <p:cNvSpPr>
                <a:spLocks noEditPoints="1"/>
              </p:cNvSpPr>
              <p:nvPr/>
            </p:nvSpPr>
            <p:spPr bwMode="gray">
              <a:xfrm>
                <a:off x="5670551" y="4321175"/>
                <a:ext cx="127000" cy="77788"/>
              </a:xfrm>
              <a:custGeom>
                <a:avLst/>
                <a:gdLst/>
                <a:ahLst/>
                <a:cxnLst>
                  <a:cxn ang="0">
                    <a:pos x="79" y="48"/>
                  </a:cxn>
                  <a:cxn ang="0">
                    <a:pos x="78" y="44"/>
                  </a:cxn>
                  <a:cxn ang="0">
                    <a:pos x="74" y="42"/>
                  </a:cxn>
                  <a:cxn ang="0">
                    <a:pos x="74" y="40"/>
                  </a:cxn>
                  <a:cxn ang="0">
                    <a:pos x="71" y="38"/>
                  </a:cxn>
                  <a:cxn ang="0">
                    <a:pos x="68" y="29"/>
                  </a:cxn>
                  <a:cxn ang="0">
                    <a:pos x="67" y="25"/>
                  </a:cxn>
                  <a:cxn ang="0">
                    <a:pos x="64" y="24"/>
                  </a:cxn>
                  <a:cxn ang="0">
                    <a:pos x="61" y="20"/>
                  </a:cxn>
                  <a:cxn ang="0">
                    <a:pos x="53" y="14"/>
                  </a:cxn>
                  <a:cxn ang="0">
                    <a:pos x="40" y="10"/>
                  </a:cxn>
                  <a:cxn ang="0">
                    <a:pos x="35" y="9"/>
                  </a:cxn>
                  <a:cxn ang="0">
                    <a:pos x="28" y="6"/>
                  </a:cxn>
                  <a:cxn ang="0">
                    <a:pos x="23" y="11"/>
                  </a:cxn>
                  <a:cxn ang="0">
                    <a:pos x="19" y="14"/>
                  </a:cxn>
                  <a:cxn ang="0">
                    <a:pos x="17" y="12"/>
                  </a:cxn>
                  <a:cxn ang="0">
                    <a:pos x="16" y="12"/>
                  </a:cxn>
                  <a:cxn ang="0">
                    <a:pos x="15" y="5"/>
                  </a:cxn>
                  <a:cxn ang="0">
                    <a:pos x="9" y="1"/>
                  </a:cxn>
                  <a:cxn ang="0">
                    <a:pos x="5" y="2"/>
                  </a:cxn>
                  <a:cxn ang="0">
                    <a:pos x="2" y="3"/>
                  </a:cxn>
                  <a:cxn ang="0">
                    <a:pos x="2" y="6"/>
                  </a:cxn>
                  <a:cxn ang="0">
                    <a:pos x="6" y="8"/>
                  </a:cxn>
                  <a:cxn ang="0">
                    <a:pos x="10" y="9"/>
                  </a:cxn>
                  <a:cxn ang="0">
                    <a:pos x="9" y="11"/>
                  </a:cxn>
                  <a:cxn ang="0">
                    <a:pos x="5" y="13"/>
                  </a:cxn>
                  <a:cxn ang="0">
                    <a:pos x="9" y="15"/>
                  </a:cxn>
                  <a:cxn ang="0">
                    <a:pos x="8" y="18"/>
                  </a:cxn>
                  <a:cxn ang="0">
                    <a:pos x="11" y="16"/>
                  </a:cxn>
                  <a:cxn ang="0">
                    <a:pos x="13" y="13"/>
                  </a:cxn>
                  <a:cxn ang="0">
                    <a:pos x="15" y="17"/>
                  </a:cxn>
                  <a:cxn ang="0">
                    <a:pos x="16" y="18"/>
                  </a:cxn>
                  <a:cxn ang="0">
                    <a:pos x="28" y="23"/>
                  </a:cxn>
                  <a:cxn ang="0">
                    <a:pos x="33" y="30"/>
                  </a:cxn>
                  <a:cxn ang="0">
                    <a:pos x="33" y="32"/>
                  </a:cxn>
                  <a:cxn ang="0">
                    <a:pos x="34" y="36"/>
                  </a:cxn>
                  <a:cxn ang="0">
                    <a:pos x="36" y="37"/>
                  </a:cxn>
                  <a:cxn ang="0">
                    <a:pos x="41" y="41"/>
                  </a:cxn>
                  <a:cxn ang="0">
                    <a:pos x="44" y="41"/>
                  </a:cxn>
                  <a:cxn ang="0">
                    <a:pos x="48" y="41"/>
                  </a:cxn>
                  <a:cxn ang="0">
                    <a:pos x="50" y="39"/>
                  </a:cxn>
                  <a:cxn ang="0">
                    <a:pos x="46" y="37"/>
                  </a:cxn>
                  <a:cxn ang="0">
                    <a:pos x="52" y="36"/>
                  </a:cxn>
                  <a:cxn ang="0">
                    <a:pos x="51" y="35"/>
                  </a:cxn>
                  <a:cxn ang="0">
                    <a:pos x="53" y="35"/>
                  </a:cxn>
                  <a:cxn ang="0">
                    <a:pos x="53" y="34"/>
                  </a:cxn>
                  <a:cxn ang="0">
                    <a:pos x="56" y="33"/>
                  </a:cxn>
                  <a:cxn ang="0">
                    <a:pos x="59" y="35"/>
                  </a:cxn>
                  <a:cxn ang="0">
                    <a:pos x="64" y="39"/>
                  </a:cxn>
                  <a:cxn ang="0">
                    <a:pos x="66" y="42"/>
                  </a:cxn>
                  <a:cxn ang="0">
                    <a:pos x="72" y="47"/>
                  </a:cxn>
                  <a:cxn ang="0">
                    <a:pos x="40" y="31"/>
                  </a:cxn>
                  <a:cxn ang="0">
                    <a:pos x="42" y="31"/>
                  </a:cxn>
                </a:cxnLst>
                <a:rect l="0" t="0" r="r" b="b"/>
                <a:pathLst>
                  <a:path w="80" h="49">
                    <a:moveTo>
                      <a:pt x="79" y="49"/>
                    </a:moveTo>
                    <a:lnTo>
                      <a:pt x="80" y="49"/>
                    </a:lnTo>
                    <a:lnTo>
                      <a:pt x="80" y="49"/>
                    </a:lnTo>
                    <a:lnTo>
                      <a:pt x="79" y="48"/>
                    </a:lnTo>
                    <a:lnTo>
                      <a:pt x="79" y="48"/>
                    </a:lnTo>
                    <a:lnTo>
                      <a:pt x="79" y="47"/>
                    </a:lnTo>
                    <a:lnTo>
                      <a:pt x="79" y="47"/>
                    </a:lnTo>
                    <a:lnTo>
                      <a:pt x="79" y="46"/>
                    </a:lnTo>
                    <a:lnTo>
                      <a:pt x="77" y="44"/>
                    </a:lnTo>
                    <a:lnTo>
                      <a:pt x="78" y="44"/>
                    </a:lnTo>
                    <a:lnTo>
                      <a:pt x="77" y="44"/>
                    </a:lnTo>
                    <a:lnTo>
                      <a:pt x="76" y="43"/>
                    </a:lnTo>
                    <a:lnTo>
                      <a:pt x="76" y="43"/>
                    </a:lnTo>
                    <a:lnTo>
                      <a:pt x="75" y="43"/>
                    </a:lnTo>
                    <a:lnTo>
                      <a:pt x="74" y="42"/>
                    </a:lnTo>
                    <a:lnTo>
                      <a:pt x="74" y="41"/>
                    </a:lnTo>
                    <a:lnTo>
                      <a:pt x="75" y="40"/>
                    </a:lnTo>
                    <a:lnTo>
                      <a:pt x="75" y="39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3" y="40"/>
                    </a:lnTo>
                    <a:lnTo>
                      <a:pt x="73" y="40"/>
                    </a:lnTo>
                    <a:lnTo>
                      <a:pt x="72" y="40"/>
                    </a:lnTo>
                    <a:lnTo>
                      <a:pt x="72" y="39"/>
                    </a:lnTo>
                    <a:lnTo>
                      <a:pt x="71" y="38"/>
                    </a:lnTo>
                    <a:lnTo>
                      <a:pt x="71" y="35"/>
                    </a:lnTo>
                    <a:lnTo>
                      <a:pt x="68" y="33"/>
                    </a:lnTo>
                    <a:lnTo>
                      <a:pt x="66" y="30"/>
                    </a:lnTo>
                    <a:lnTo>
                      <a:pt x="68" y="29"/>
                    </a:lnTo>
                    <a:lnTo>
                      <a:pt x="68" y="29"/>
                    </a:lnTo>
                    <a:lnTo>
                      <a:pt x="69" y="29"/>
                    </a:lnTo>
                    <a:lnTo>
                      <a:pt x="69" y="28"/>
                    </a:lnTo>
                    <a:lnTo>
                      <a:pt x="69" y="27"/>
                    </a:lnTo>
                    <a:lnTo>
                      <a:pt x="69" y="26"/>
                    </a:lnTo>
                    <a:lnTo>
                      <a:pt x="67" y="25"/>
                    </a:lnTo>
                    <a:lnTo>
                      <a:pt x="67" y="25"/>
                    </a:lnTo>
                    <a:lnTo>
                      <a:pt x="67" y="25"/>
                    </a:lnTo>
                    <a:lnTo>
                      <a:pt x="66" y="25"/>
                    </a:lnTo>
                    <a:lnTo>
                      <a:pt x="66" y="25"/>
                    </a:lnTo>
                    <a:lnTo>
                      <a:pt x="64" y="24"/>
                    </a:lnTo>
                    <a:lnTo>
                      <a:pt x="63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0"/>
                    </a:lnTo>
                    <a:lnTo>
                      <a:pt x="61" y="20"/>
                    </a:lnTo>
                    <a:lnTo>
                      <a:pt x="60" y="19"/>
                    </a:lnTo>
                    <a:lnTo>
                      <a:pt x="60" y="19"/>
                    </a:lnTo>
                    <a:lnTo>
                      <a:pt x="57" y="16"/>
                    </a:lnTo>
                    <a:lnTo>
                      <a:pt x="55" y="16"/>
                    </a:lnTo>
                    <a:lnTo>
                      <a:pt x="53" y="14"/>
                    </a:lnTo>
                    <a:lnTo>
                      <a:pt x="51" y="13"/>
                    </a:lnTo>
                    <a:lnTo>
                      <a:pt x="44" y="10"/>
                    </a:lnTo>
                    <a:lnTo>
                      <a:pt x="43" y="11"/>
                    </a:lnTo>
                    <a:lnTo>
                      <a:pt x="42" y="11"/>
                    </a:lnTo>
                    <a:lnTo>
                      <a:pt x="40" y="10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38" y="10"/>
                    </a:lnTo>
                    <a:lnTo>
                      <a:pt x="37" y="10"/>
                    </a:lnTo>
                    <a:lnTo>
                      <a:pt x="35" y="9"/>
                    </a:lnTo>
                    <a:lnTo>
                      <a:pt x="33" y="7"/>
                    </a:lnTo>
                    <a:lnTo>
                      <a:pt x="31" y="6"/>
                    </a:lnTo>
                    <a:lnTo>
                      <a:pt x="30" y="6"/>
                    </a:lnTo>
                    <a:lnTo>
                      <a:pt x="29" y="6"/>
                    </a:lnTo>
                    <a:lnTo>
                      <a:pt x="28" y="6"/>
                    </a:lnTo>
                    <a:lnTo>
                      <a:pt x="27" y="7"/>
                    </a:lnTo>
                    <a:lnTo>
                      <a:pt x="26" y="7"/>
                    </a:lnTo>
                    <a:lnTo>
                      <a:pt x="28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2" y="13"/>
                    </a:lnTo>
                    <a:lnTo>
                      <a:pt x="20" y="14"/>
                    </a:lnTo>
                    <a:lnTo>
                      <a:pt x="19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7" y="14"/>
                    </a:lnTo>
                    <a:lnTo>
                      <a:pt x="17" y="13"/>
                    </a:lnTo>
                    <a:lnTo>
                      <a:pt x="17" y="12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11"/>
                    </a:lnTo>
                    <a:lnTo>
                      <a:pt x="15" y="11"/>
                    </a:lnTo>
                    <a:lnTo>
                      <a:pt x="15" y="5"/>
                    </a:lnTo>
                    <a:lnTo>
                      <a:pt x="14" y="4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0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0" y="11"/>
                    </a:lnTo>
                    <a:lnTo>
                      <a:pt x="9" y="11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8" y="14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5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3" y="15"/>
                    </a:lnTo>
                    <a:lnTo>
                      <a:pt x="13" y="16"/>
                    </a:lnTo>
                    <a:lnTo>
                      <a:pt x="14" y="16"/>
                    </a:lnTo>
                    <a:lnTo>
                      <a:pt x="14" y="17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6" y="18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4" y="21"/>
                    </a:lnTo>
                    <a:lnTo>
                      <a:pt x="26" y="22"/>
                    </a:lnTo>
                    <a:lnTo>
                      <a:pt x="28" y="23"/>
                    </a:lnTo>
                    <a:lnTo>
                      <a:pt x="30" y="24"/>
                    </a:lnTo>
                    <a:lnTo>
                      <a:pt x="31" y="26"/>
                    </a:lnTo>
                    <a:lnTo>
                      <a:pt x="31" y="28"/>
                    </a:lnTo>
                    <a:lnTo>
                      <a:pt x="33" y="30"/>
                    </a:lnTo>
                    <a:lnTo>
                      <a:pt x="33" y="30"/>
                    </a:lnTo>
                    <a:lnTo>
                      <a:pt x="33" y="30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2" y="31"/>
                    </a:lnTo>
                    <a:lnTo>
                      <a:pt x="33" y="32"/>
                    </a:lnTo>
                    <a:lnTo>
                      <a:pt x="34" y="32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3" y="34"/>
                    </a:lnTo>
                    <a:lnTo>
                      <a:pt x="34" y="36"/>
                    </a:lnTo>
                    <a:lnTo>
                      <a:pt x="33" y="37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7" y="36"/>
                    </a:lnTo>
                    <a:lnTo>
                      <a:pt x="37" y="36"/>
                    </a:lnTo>
                    <a:lnTo>
                      <a:pt x="37" y="38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2" y="41"/>
                    </a:lnTo>
                    <a:lnTo>
                      <a:pt x="43" y="41"/>
                    </a:lnTo>
                    <a:lnTo>
                      <a:pt x="44" y="41"/>
                    </a:lnTo>
                    <a:lnTo>
                      <a:pt x="45" y="41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7" y="41"/>
                    </a:lnTo>
                    <a:lnTo>
                      <a:pt x="48" y="41"/>
                    </a:lnTo>
                    <a:lnTo>
                      <a:pt x="48" y="41"/>
                    </a:lnTo>
                    <a:lnTo>
                      <a:pt x="49" y="41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9"/>
                    </a:lnTo>
                    <a:lnTo>
                      <a:pt x="50" y="39"/>
                    </a:lnTo>
                    <a:lnTo>
                      <a:pt x="49" y="38"/>
                    </a:lnTo>
                    <a:lnTo>
                      <a:pt x="48" y="38"/>
                    </a:lnTo>
                    <a:lnTo>
                      <a:pt x="47" y="37"/>
                    </a:lnTo>
                    <a:lnTo>
                      <a:pt x="46" y="37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8" y="37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1" y="35"/>
                    </a:lnTo>
                    <a:lnTo>
                      <a:pt x="51" y="35"/>
                    </a:lnTo>
                    <a:lnTo>
                      <a:pt x="51" y="35"/>
                    </a:lnTo>
                    <a:lnTo>
                      <a:pt x="51" y="35"/>
                    </a:lnTo>
                    <a:lnTo>
                      <a:pt x="52" y="35"/>
                    </a:lnTo>
                    <a:lnTo>
                      <a:pt x="52" y="36"/>
                    </a:lnTo>
                    <a:lnTo>
                      <a:pt x="53" y="36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4"/>
                    </a:lnTo>
                    <a:lnTo>
                      <a:pt x="52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34"/>
                    </a:lnTo>
                    <a:lnTo>
                      <a:pt x="55" y="34"/>
                    </a:lnTo>
                    <a:lnTo>
                      <a:pt x="55" y="34"/>
                    </a:lnTo>
                    <a:lnTo>
                      <a:pt x="56" y="33"/>
                    </a:lnTo>
                    <a:lnTo>
                      <a:pt x="57" y="34"/>
                    </a:lnTo>
                    <a:lnTo>
                      <a:pt x="57" y="35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9" y="35"/>
                    </a:lnTo>
                    <a:lnTo>
                      <a:pt x="60" y="35"/>
                    </a:lnTo>
                    <a:lnTo>
                      <a:pt x="62" y="36"/>
                    </a:lnTo>
                    <a:lnTo>
                      <a:pt x="63" y="36"/>
                    </a:lnTo>
                    <a:lnTo>
                      <a:pt x="64" y="38"/>
                    </a:lnTo>
                    <a:lnTo>
                      <a:pt x="64" y="39"/>
                    </a:lnTo>
                    <a:lnTo>
                      <a:pt x="64" y="40"/>
                    </a:lnTo>
                    <a:lnTo>
                      <a:pt x="65" y="40"/>
                    </a:lnTo>
                    <a:lnTo>
                      <a:pt x="66" y="40"/>
                    </a:lnTo>
                    <a:lnTo>
                      <a:pt x="66" y="41"/>
                    </a:lnTo>
                    <a:lnTo>
                      <a:pt x="66" y="42"/>
                    </a:lnTo>
                    <a:lnTo>
                      <a:pt x="67" y="43"/>
                    </a:lnTo>
                    <a:lnTo>
                      <a:pt x="67" y="45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2" y="47"/>
                    </a:lnTo>
                    <a:lnTo>
                      <a:pt x="76" y="47"/>
                    </a:lnTo>
                    <a:lnTo>
                      <a:pt x="77" y="47"/>
                    </a:lnTo>
                    <a:lnTo>
                      <a:pt x="78" y="48"/>
                    </a:lnTo>
                    <a:lnTo>
                      <a:pt x="79" y="49"/>
                    </a:lnTo>
                    <a:close/>
                    <a:moveTo>
                      <a:pt x="40" y="31"/>
                    </a:moveTo>
                    <a:lnTo>
                      <a:pt x="40" y="30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0" y="3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1" name="Freeform 37"/>
              <p:cNvSpPr>
                <a:spLocks/>
              </p:cNvSpPr>
              <p:nvPr/>
            </p:nvSpPr>
            <p:spPr bwMode="gray">
              <a:xfrm>
                <a:off x="5786438" y="4348163"/>
                <a:ext cx="23813" cy="19050"/>
              </a:xfrm>
              <a:custGeom>
                <a:avLst/>
                <a:gdLst/>
                <a:ahLst/>
                <a:cxnLst>
                  <a:cxn ang="0">
                    <a:pos x="7" y="12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11" y="10"/>
                  </a:cxn>
                  <a:cxn ang="0">
                    <a:pos x="12" y="9"/>
                  </a:cxn>
                  <a:cxn ang="0">
                    <a:pos x="12" y="9"/>
                  </a:cxn>
                  <a:cxn ang="0">
                    <a:pos x="14" y="8"/>
                  </a:cxn>
                  <a:cxn ang="0">
                    <a:pos x="13" y="7"/>
                  </a:cxn>
                  <a:cxn ang="0">
                    <a:pos x="15" y="7"/>
                  </a:cxn>
                  <a:cxn ang="0">
                    <a:pos x="15" y="6"/>
                  </a:cxn>
                  <a:cxn ang="0">
                    <a:pos x="15" y="5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14" y="0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5"/>
                  </a:cxn>
                  <a:cxn ang="0">
                    <a:pos x="8" y="7"/>
                  </a:cxn>
                  <a:cxn ang="0">
                    <a:pos x="6" y="7"/>
                  </a:cxn>
                  <a:cxn ang="0">
                    <a:pos x="4" y="8"/>
                  </a:cxn>
                  <a:cxn ang="0">
                    <a:pos x="1" y="9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2"/>
                  </a:cxn>
                </a:cxnLst>
                <a:rect l="0" t="0" r="r" b="b"/>
                <a:pathLst>
                  <a:path w="15" h="12">
                    <a:moveTo>
                      <a:pt x="7" y="12"/>
                    </a:moveTo>
                    <a:lnTo>
                      <a:pt x="8" y="11"/>
                    </a:lnTo>
                    <a:lnTo>
                      <a:pt x="10" y="11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4" y="0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5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4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12"/>
                    </a:lnTo>
                    <a:lnTo>
                      <a:pt x="7" y="1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2" name="Freeform 38"/>
              <p:cNvSpPr>
                <a:spLocks/>
              </p:cNvSpPr>
              <p:nvPr/>
            </p:nvSpPr>
            <p:spPr bwMode="gray">
              <a:xfrm>
                <a:off x="5800726" y="4335463"/>
                <a:ext cx="15875" cy="20638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3"/>
                  </a:cxn>
                  <a:cxn ang="0">
                    <a:pos x="9" y="13"/>
                  </a:cxn>
                  <a:cxn ang="0">
                    <a:pos x="10" y="12"/>
                  </a:cxn>
                  <a:cxn ang="0">
                    <a:pos x="10" y="11"/>
                  </a:cxn>
                  <a:cxn ang="0">
                    <a:pos x="10" y="11"/>
                  </a:cxn>
                  <a:cxn ang="0">
                    <a:pos x="10" y="8"/>
                  </a:cxn>
                  <a:cxn ang="0">
                    <a:pos x="9" y="8"/>
                  </a:cxn>
                  <a:cxn ang="0">
                    <a:pos x="8" y="7"/>
                  </a:cxn>
                  <a:cxn ang="0">
                    <a:pos x="8" y="6"/>
                  </a:cxn>
                  <a:cxn ang="0">
                    <a:pos x="7" y="6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6" y="6"/>
                  </a:cxn>
                </a:cxnLst>
                <a:rect l="0" t="0" r="r" b="b"/>
                <a:pathLst>
                  <a:path w="10" h="13">
                    <a:moveTo>
                      <a:pt x="6" y="6"/>
                    </a:moveTo>
                    <a:lnTo>
                      <a:pt x="6" y="6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3"/>
                    </a:lnTo>
                    <a:lnTo>
                      <a:pt x="9" y="13"/>
                    </a:lnTo>
                    <a:lnTo>
                      <a:pt x="10" y="12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3" name="Freeform 39"/>
              <p:cNvSpPr>
                <a:spLocks/>
              </p:cNvSpPr>
              <p:nvPr/>
            </p:nvSpPr>
            <p:spPr bwMode="gray">
              <a:xfrm>
                <a:off x="5824538" y="4356100"/>
                <a:ext cx="9525" cy="15875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6" y="10"/>
                  </a:cxn>
                  <a:cxn ang="0">
                    <a:pos x="6" y="5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4"/>
                  </a:cxn>
                  <a:cxn ang="0">
                    <a:pos x="2" y="7"/>
                  </a:cxn>
                </a:cxnLst>
                <a:rect l="0" t="0" r="r" b="b"/>
                <a:pathLst>
                  <a:path w="6" h="10">
                    <a:moveTo>
                      <a:pt x="2" y="7"/>
                    </a:moveTo>
                    <a:lnTo>
                      <a:pt x="6" y="10"/>
                    </a:lnTo>
                    <a:lnTo>
                      <a:pt x="6" y="5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4" name="Freeform 40"/>
              <p:cNvSpPr>
                <a:spLocks/>
              </p:cNvSpPr>
              <p:nvPr/>
            </p:nvSpPr>
            <p:spPr bwMode="gray">
              <a:xfrm>
                <a:off x="5540376" y="4192588"/>
                <a:ext cx="1588" cy="158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5" name="Freeform 41"/>
              <p:cNvSpPr>
                <a:spLocks/>
              </p:cNvSpPr>
              <p:nvPr/>
            </p:nvSpPr>
            <p:spPr bwMode="gray">
              <a:xfrm>
                <a:off x="5537201" y="4189413"/>
                <a:ext cx="3175" cy="317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6" name="Freeform 42"/>
              <p:cNvSpPr>
                <a:spLocks/>
              </p:cNvSpPr>
              <p:nvPr/>
            </p:nvSpPr>
            <p:spPr bwMode="gray">
              <a:xfrm>
                <a:off x="5534026" y="4192588"/>
                <a:ext cx="1588" cy="1588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7" name="Freeform 43"/>
              <p:cNvSpPr>
                <a:spLocks/>
              </p:cNvSpPr>
              <p:nvPr/>
            </p:nvSpPr>
            <p:spPr bwMode="gray">
              <a:xfrm>
                <a:off x="5870576" y="4575175"/>
                <a:ext cx="39688" cy="55563"/>
              </a:xfrm>
              <a:custGeom>
                <a:avLst/>
                <a:gdLst/>
                <a:ahLst/>
                <a:cxnLst>
                  <a:cxn ang="0">
                    <a:pos x="24" y="16"/>
                  </a:cxn>
                  <a:cxn ang="0">
                    <a:pos x="23" y="16"/>
                  </a:cxn>
                  <a:cxn ang="0">
                    <a:pos x="22" y="17"/>
                  </a:cxn>
                  <a:cxn ang="0">
                    <a:pos x="21" y="16"/>
                  </a:cxn>
                  <a:cxn ang="0">
                    <a:pos x="20" y="17"/>
                  </a:cxn>
                  <a:cxn ang="0">
                    <a:pos x="18" y="16"/>
                  </a:cxn>
                  <a:cxn ang="0">
                    <a:pos x="19" y="11"/>
                  </a:cxn>
                  <a:cxn ang="0">
                    <a:pos x="19" y="10"/>
                  </a:cxn>
                  <a:cxn ang="0">
                    <a:pos x="18" y="9"/>
                  </a:cxn>
                  <a:cxn ang="0">
                    <a:pos x="17" y="10"/>
                  </a:cxn>
                  <a:cxn ang="0">
                    <a:pos x="17" y="13"/>
                  </a:cxn>
                  <a:cxn ang="0">
                    <a:pos x="16" y="12"/>
                  </a:cxn>
                  <a:cxn ang="0">
                    <a:pos x="15" y="9"/>
                  </a:cxn>
                  <a:cxn ang="0">
                    <a:pos x="16" y="7"/>
                  </a:cxn>
                  <a:cxn ang="0">
                    <a:pos x="17" y="5"/>
                  </a:cxn>
                  <a:cxn ang="0">
                    <a:pos x="16" y="4"/>
                  </a:cxn>
                  <a:cxn ang="0">
                    <a:pos x="15" y="4"/>
                  </a:cxn>
                  <a:cxn ang="0">
                    <a:pos x="14" y="3"/>
                  </a:cxn>
                  <a:cxn ang="0">
                    <a:pos x="12" y="1"/>
                  </a:cxn>
                  <a:cxn ang="0">
                    <a:pos x="11" y="1"/>
                  </a:cxn>
                  <a:cxn ang="0">
                    <a:pos x="11" y="5"/>
                  </a:cxn>
                  <a:cxn ang="0">
                    <a:pos x="12" y="6"/>
                  </a:cxn>
                  <a:cxn ang="0">
                    <a:pos x="13" y="8"/>
                  </a:cxn>
                  <a:cxn ang="0">
                    <a:pos x="13" y="9"/>
                  </a:cxn>
                  <a:cxn ang="0">
                    <a:pos x="13" y="10"/>
                  </a:cxn>
                  <a:cxn ang="0">
                    <a:pos x="13" y="12"/>
                  </a:cxn>
                  <a:cxn ang="0">
                    <a:pos x="13" y="13"/>
                  </a:cxn>
                  <a:cxn ang="0">
                    <a:pos x="13" y="14"/>
                  </a:cxn>
                  <a:cxn ang="0">
                    <a:pos x="11" y="16"/>
                  </a:cxn>
                  <a:cxn ang="0">
                    <a:pos x="11" y="17"/>
                  </a:cxn>
                  <a:cxn ang="0">
                    <a:pos x="11" y="18"/>
                  </a:cxn>
                  <a:cxn ang="0">
                    <a:pos x="10" y="18"/>
                  </a:cxn>
                  <a:cxn ang="0">
                    <a:pos x="6" y="21"/>
                  </a:cxn>
                  <a:cxn ang="0">
                    <a:pos x="3" y="22"/>
                  </a:cxn>
                  <a:cxn ang="0">
                    <a:pos x="1" y="23"/>
                  </a:cxn>
                  <a:cxn ang="0">
                    <a:pos x="1" y="26"/>
                  </a:cxn>
                  <a:cxn ang="0">
                    <a:pos x="2" y="27"/>
                  </a:cxn>
                  <a:cxn ang="0">
                    <a:pos x="5" y="28"/>
                  </a:cxn>
                  <a:cxn ang="0">
                    <a:pos x="4" y="31"/>
                  </a:cxn>
                  <a:cxn ang="0">
                    <a:pos x="2" y="32"/>
                  </a:cxn>
                  <a:cxn ang="0">
                    <a:pos x="1" y="32"/>
                  </a:cxn>
                  <a:cxn ang="0">
                    <a:pos x="0" y="34"/>
                  </a:cxn>
                  <a:cxn ang="0">
                    <a:pos x="1" y="34"/>
                  </a:cxn>
                  <a:cxn ang="0">
                    <a:pos x="3" y="35"/>
                  </a:cxn>
                  <a:cxn ang="0">
                    <a:pos x="5" y="33"/>
                  </a:cxn>
                  <a:cxn ang="0">
                    <a:pos x="9" y="29"/>
                  </a:cxn>
                  <a:cxn ang="0">
                    <a:pos x="11" y="29"/>
                  </a:cxn>
                  <a:cxn ang="0">
                    <a:pos x="12" y="28"/>
                  </a:cxn>
                  <a:cxn ang="0">
                    <a:pos x="12" y="27"/>
                  </a:cxn>
                  <a:cxn ang="0">
                    <a:pos x="13" y="27"/>
                  </a:cxn>
                  <a:cxn ang="0">
                    <a:pos x="14" y="26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17" y="23"/>
                  </a:cxn>
                  <a:cxn ang="0">
                    <a:pos x="19" y="24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22" y="21"/>
                  </a:cxn>
                  <a:cxn ang="0">
                    <a:pos x="23" y="19"/>
                  </a:cxn>
                  <a:cxn ang="0">
                    <a:pos x="25" y="18"/>
                  </a:cxn>
                  <a:cxn ang="0">
                    <a:pos x="25" y="17"/>
                  </a:cxn>
                </a:cxnLst>
                <a:rect l="0" t="0" r="r" b="b"/>
                <a:pathLst>
                  <a:path w="25" h="35">
                    <a:moveTo>
                      <a:pt x="25" y="16"/>
                    </a:moveTo>
                    <a:lnTo>
                      <a:pt x="24" y="16"/>
                    </a:lnTo>
                    <a:lnTo>
                      <a:pt x="24" y="16"/>
                    </a:lnTo>
                    <a:lnTo>
                      <a:pt x="23" y="16"/>
                    </a:lnTo>
                    <a:lnTo>
                      <a:pt x="23" y="17"/>
                    </a:lnTo>
                    <a:lnTo>
                      <a:pt x="22" y="17"/>
                    </a:lnTo>
                    <a:lnTo>
                      <a:pt x="22" y="16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8" y="16"/>
                    </a:lnTo>
                    <a:lnTo>
                      <a:pt x="18" y="13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9"/>
                    </a:lnTo>
                    <a:lnTo>
                      <a:pt x="18" y="9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3"/>
                    </a:lnTo>
                    <a:lnTo>
                      <a:pt x="16" y="13"/>
                    </a:lnTo>
                    <a:lnTo>
                      <a:pt x="16" y="12"/>
                    </a:lnTo>
                    <a:lnTo>
                      <a:pt x="15" y="10"/>
                    </a:lnTo>
                    <a:lnTo>
                      <a:pt x="15" y="9"/>
                    </a:lnTo>
                    <a:lnTo>
                      <a:pt x="16" y="8"/>
                    </a:lnTo>
                    <a:lnTo>
                      <a:pt x="16" y="7"/>
                    </a:lnTo>
                    <a:lnTo>
                      <a:pt x="17" y="6"/>
                    </a:lnTo>
                    <a:lnTo>
                      <a:pt x="17" y="5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4" y="4"/>
                    </a:lnTo>
                    <a:lnTo>
                      <a:pt x="14" y="3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12" y="3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2" y="6"/>
                    </a:lnTo>
                    <a:lnTo>
                      <a:pt x="12" y="7"/>
                    </a:lnTo>
                    <a:lnTo>
                      <a:pt x="13" y="8"/>
                    </a:lnTo>
                    <a:lnTo>
                      <a:pt x="12" y="9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4" y="12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13" y="14"/>
                    </a:lnTo>
                    <a:lnTo>
                      <a:pt x="12" y="15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7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9"/>
                    </a:lnTo>
                    <a:lnTo>
                      <a:pt x="6" y="21"/>
                    </a:lnTo>
                    <a:lnTo>
                      <a:pt x="5" y="21"/>
                    </a:lnTo>
                    <a:lnTo>
                      <a:pt x="3" y="22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1" y="25"/>
                    </a:lnTo>
                    <a:lnTo>
                      <a:pt x="1" y="26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5" y="27"/>
                    </a:lnTo>
                    <a:lnTo>
                      <a:pt x="5" y="28"/>
                    </a:lnTo>
                    <a:lnTo>
                      <a:pt x="4" y="29"/>
                    </a:lnTo>
                    <a:lnTo>
                      <a:pt x="4" y="31"/>
                    </a:lnTo>
                    <a:lnTo>
                      <a:pt x="3" y="32"/>
                    </a:lnTo>
                    <a:lnTo>
                      <a:pt x="2" y="32"/>
                    </a:lnTo>
                    <a:lnTo>
                      <a:pt x="1" y="32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0" y="34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5"/>
                    </a:lnTo>
                    <a:lnTo>
                      <a:pt x="3" y="35"/>
                    </a:lnTo>
                    <a:lnTo>
                      <a:pt x="4" y="34"/>
                    </a:lnTo>
                    <a:lnTo>
                      <a:pt x="5" y="33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0" y="29"/>
                    </a:lnTo>
                    <a:lnTo>
                      <a:pt x="11" y="29"/>
                    </a:lnTo>
                    <a:lnTo>
                      <a:pt x="11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4" y="27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3"/>
                    </a:lnTo>
                    <a:lnTo>
                      <a:pt x="17" y="23"/>
                    </a:lnTo>
                    <a:lnTo>
                      <a:pt x="18" y="24"/>
                    </a:lnTo>
                    <a:lnTo>
                      <a:pt x="19" y="24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1" y="21"/>
                    </a:lnTo>
                    <a:lnTo>
                      <a:pt x="22" y="21"/>
                    </a:lnTo>
                    <a:lnTo>
                      <a:pt x="22" y="21"/>
                    </a:lnTo>
                    <a:lnTo>
                      <a:pt x="22" y="21"/>
                    </a:lnTo>
                    <a:lnTo>
                      <a:pt x="22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5" y="16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8" name="Freeform 44"/>
              <p:cNvSpPr>
                <a:spLocks/>
              </p:cNvSpPr>
              <p:nvPr/>
            </p:nvSpPr>
            <p:spPr bwMode="gray">
              <a:xfrm>
                <a:off x="5792788" y="4622800"/>
                <a:ext cx="73025" cy="44450"/>
              </a:xfrm>
              <a:custGeom>
                <a:avLst/>
                <a:gdLst/>
                <a:ahLst/>
                <a:cxnLst>
                  <a:cxn ang="0">
                    <a:pos x="44" y="3"/>
                  </a:cxn>
                  <a:cxn ang="0">
                    <a:pos x="43" y="1"/>
                  </a:cxn>
                  <a:cxn ang="0">
                    <a:pos x="42" y="2"/>
                  </a:cxn>
                  <a:cxn ang="0">
                    <a:pos x="41" y="0"/>
                  </a:cxn>
                  <a:cxn ang="0">
                    <a:pos x="41" y="1"/>
                  </a:cxn>
                  <a:cxn ang="0">
                    <a:pos x="39" y="2"/>
                  </a:cxn>
                  <a:cxn ang="0">
                    <a:pos x="38" y="3"/>
                  </a:cxn>
                  <a:cxn ang="0">
                    <a:pos x="37" y="4"/>
                  </a:cxn>
                  <a:cxn ang="0">
                    <a:pos x="35" y="5"/>
                  </a:cxn>
                  <a:cxn ang="0">
                    <a:pos x="34" y="6"/>
                  </a:cxn>
                  <a:cxn ang="0">
                    <a:pos x="31" y="8"/>
                  </a:cxn>
                  <a:cxn ang="0">
                    <a:pos x="31" y="8"/>
                  </a:cxn>
                  <a:cxn ang="0">
                    <a:pos x="29" y="9"/>
                  </a:cxn>
                  <a:cxn ang="0">
                    <a:pos x="26" y="11"/>
                  </a:cxn>
                  <a:cxn ang="0">
                    <a:pos x="24" y="12"/>
                  </a:cxn>
                  <a:cxn ang="0">
                    <a:pos x="23" y="13"/>
                  </a:cxn>
                  <a:cxn ang="0">
                    <a:pos x="22" y="13"/>
                  </a:cxn>
                  <a:cxn ang="0">
                    <a:pos x="17" y="15"/>
                  </a:cxn>
                  <a:cxn ang="0">
                    <a:pos x="14" y="16"/>
                  </a:cxn>
                  <a:cxn ang="0">
                    <a:pos x="12" y="17"/>
                  </a:cxn>
                  <a:cxn ang="0">
                    <a:pos x="10" y="18"/>
                  </a:cxn>
                  <a:cxn ang="0">
                    <a:pos x="10" y="20"/>
                  </a:cxn>
                  <a:cxn ang="0">
                    <a:pos x="9" y="19"/>
                  </a:cxn>
                  <a:cxn ang="0">
                    <a:pos x="7" y="20"/>
                  </a:cxn>
                  <a:cxn ang="0">
                    <a:pos x="4" y="22"/>
                  </a:cxn>
                  <a:cxn ang="0">
                    <a:pos x="3" y="22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2" y="26"/>
                  </a:cxn>
                  <a:cxn ang="0">
                    <a:pos x="3" y="25"/>
                  </a:cxn>
                  <a:cxn ang="0">
                    <a:pos x="4" y="26"/>
                  </a:cxn>
                  <a:cxn ang="0">
                    <a:pos x="6" y="26"/>
                  </a:cxn>
                  <a:cxn ang="0">
                    <a:pos x="9" y="27"/>
                  </a:cxn>
                  <a:cxn ang="0">
                    <a:pos x="11" y="27"/>
                  </a:cxn>
                  <a:cxn ang="0">
                    <a:pos x="13" y="28"/>
                  </a:cxn>
                  <a:cxn ang="0">
                    <a:pos x="15" y="27"/>
                  </a:cxn>
                  <a:cxn ang="0">
                    <a:pos x="17" y="25"/>
                  </a:cxn>
                  <a:cxn ang="0">
                    <a:pos x="20" y="24"/>
                  </a:cxn>
                  <a:cxn ang="0">
                    <a:pos x="20" y="22"/>
                  </a:cxn>
                  <a:cxn ang="0">
                    <a:pos x="22" y="21"/>
                  </a:cxn>
                  <a:cxn ang="0">
                    <a:pos x="24" y="20"/>
                  </a:cxn>
                  <a:cxn ang="0">
                    <a:pos x="24" y="19"/>
                  </a:cxn>
                  <a:cxn ang="0">
                    <a:pos x="28" y="17"/>
                  </a:cxn>
                  <a:cxn ang="0">
                    <a:pos x="29" y="17"/>
                  </a:cxn>
                  <a:cxn ang="0">
                    <a:pos x="30" y="15"/>
                  </a:cxn>
                  <a:cxn ang="0">
                    <a:pos x="32" y="16"/>
                  </a:cxn>
                  <a:cxn ang="0">
                    <a:pos x="33" y="16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9" y="9"/>
                  </a:cxn>
                  <a:cxn ang="0">
                    <a:pos x="39" y="8"/>
                  </a:cxn>
                  <a:cxn ang="0">
                    <a:pos x="41" y="8"/>
                  </a:cxn>
                  <a:cxn ang="0">
                    <a:pos x="43" y="6"/>
                  </a:cxn>
                  <a:cxn ang="0">
                    <a:pos x="44" y="6"/>
                  </a:cxn>
                  <a:cxn ang="0">
                    <a:pos x="46" y="4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46" h="28">
                    <a:moveTo>
                      <a:pt x="46" y="2"/>
                    </a:moveTo>
                    <a:lnTo>
                      <a:pt x="44" y="3"/>
                    </a:lnTo>
                    <a:lnTo>
                      <a:pt x="43" y="3"/>
                    </a:lnTo>
                    <a:lnTo>
                      <a:pt x="43" y="1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1"/>
                    </a:lnTo>
                    <a:lnTo>
                      <a:pt x="40" y="1"/>
                    </a:lnTo>
                    <a:lnTo>
                      <a:pt x="39" y="2"/>
                    </a:lnTo>
                    <a:lnTo>
                      <a:pt x="39" y="2"/>
                    </a:lnTo>
                    <a:lnTo>
                      <a:pt x="38" y="3"/>
                    </a:lnTo>
                    <a:lnTo>
                      <a:pt x="38" y="4"/>
                    </a:lnTo>
                    <a:lnTo>
                      <a:pt x="37" y="4"/>
                    </a:lnTo>
                    <a:lnTo>
                      <a:pt x="36" y="5"/>
                    </a:lnTo>
                    <a:lnTo>
                      <a:pt x="35" y="5"/>
                    </a:lnTo>
                    <a:lnTo>
                      <a:pt x="34" y="5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0" y="9"/>
                    </a:lnTo>
                    <a:lnTo>
                      <a:pt x="29" y="9"/>
                    </a:lnTo>
                    <a:lnTo>
                      <a:pt x="27" y="10"/>
                    </a:lnTo>
                    <a:lnTo>
                      <a:pt x="26" y="11"/>
                    </a:lnTo>
                    <a:lnTo>
                      <a:pt x="25" y="11"/>
                    </a:lnTo>
                    <a:lnTo>
                      <a:pt x="24" y="12"/>
                    </a:lnTo>
                    <a:lnTo>
                      <a:pt x="24" y="13"/>
                    </a:lnTo>
                    <a:lnTo>
                      <a:pt x="23" y="13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18" y="14"/>
                    </a:lnTo>
                    <a:lnTo>
                      <a:pt x="17" y="15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3" y="17"/>
                    </a:lnTo>
                    <a:lnTo>
                      <a:pt x="12" y="17"/>
                    </a:lnTo>
                    <a:lnTo>
                      <a:pt x="11" y="18"/>
                    </a:lnTo>
                    <a:lnTo>
                      <a:pt x="10" y="18"/>
                    </a:lnTo>
                    <a:lnTo>
                      <a:pt x="10" y="19"/>
                    </a:lnTo>
                    <a:lnTo>
                      <a:pt x="10" y="20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8" y="19"/>
                    </a:lnTo>
                    <a:lnTo>
                      <a:pt x="7" y="20"/>
                    </a:lnTo>
                    <a:lnTo>
                      <a:pt x="6" y="21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3" y="22"/>
                    </a:lnTo>
                    <a:lnTo>
                      <a:pt x="2" y="22"/>
                    </a:lnTo>
                    <a:lnTo>
                      <a:pt x="1" y="22"/>
                    </a:lnTo>
                    <a:lnTo>
                      <a:pt x="1" y="23"/>
                    </a:lnTo>
                    <a:lnTo>
                      <a:pt x="0" y="24"/>
                    </a:lnTo>
                    <a:lnTo>
                      <a:pt x="1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5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3" y="25"/>
                    </a:lnTo>
                    <a:lnTo>
                      <a:pt x="4" y="25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9" y="27"/>
                    </a:lnTo>
                    <a:lnTo>
                      <a:pt x="11" y="27"/>
                    </a:lnTo>
                    <a:lnTo>
                      <a:pt x="11" y="27"/>
                    </a:lnTo>
                    <a:lnTo>
                      <a:pt x="12" y="27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5" y="27"/>
                    </a:lnTo>
                    <a:lnTo>
                      <a:pt x="15" y="26"/>
                    </a:lnTo>
                    <a:lnTo>
                      <a:pt x="17" y="25"/>
                    </a:lnTo>
                    <a:lnTo>
                      <a:pt x="18" y="25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3" y="21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5" y="19"/>
                    </a:lnTo>
                    <a:lnTo>
                      <a:pt x="28" y="17"/>
                    </a:lnTo>
                    <a:lnTo>
                      <a:pt x="27" y="16"/>
                    </a:lnTo>
                    <a:lnTo>
                      <a:pt x="29" y="17"/>
                    </a:lnTo>
                    <a:lnTo>
                      <a:pt x="29" y="16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3" y="14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9" y="10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8"/>
                    </a:lnTo>
                    <a:lnTo>
                      <a:pt x="41" y="8"/>
                    </a:lnTo>
                    <a:lnTo>
                      <a:pt x="41" y="8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6"/>
                    </a:lnTo>
                    <a:lnTo>
                      <a:pt x="45" y="5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49" name="Freeform 45"/>
              <p:cNvSpPr>
                <a:spLocks/>
              </p:cNvSpPr>
              <p:nvPr/>
            </p:nvSpPr>
            <p:spPr bwMode="gray">
              <a:xfrm>
                <a:off x="5465763" y="4268788"/>
                <a:ext cx="28575" cy="4127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3" y="8"/>
                  </a:cxn>
                  <a:cxn ang="0">
                    <a:pos x="3" y="10"/>
                  </a:cxn>
                  <a:cxn ang="0">
                    <a:pos x="3" y="13"/>
                  </a:cxn>
                  <a:cxn ang="0">
                    <a:pos x="4" y="14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6" y="18"/>
                  </a:cxn>
                  <a:cxn ang="0">
                    <a:pos x="7" y="19"/>
                  </a:cxn>
                  <a:cxn ang="0">
                    <a:pos x="9" y="20"/>
                  </a:cxn>
                  <a:cxn ang="0">
                    <a:pos x="10" y="21"/>
                  </a:cxn>
                  <a:cxn ang="0">
                    <a:pos x="10" y="22"/>
                  </a:cxn>
                  <a:cxn ang="0">
                    <a:pos x="11" y="23"/>
                  </a:cxn>
                  <a:cxn ang="0">
                    <a:pos x="12" y="23"/>
                  </a:cxn>
                  <a:cxn ang="0">
                    <a:pos x="13" y="23"/>
                  </a:cxn>
                  <a:cxn ang="0">
                    <a:pos x="13" y="24"/>
                  </a:cxn>
                  <a:cxn ang="0">
                    <a:pos x="18" y="25"/>
                  </a:cxn>
                  <a:cxn ang="0">
                    <a:pos x="18" y="24"/>
                  </a:cxn>
                  <a:cxn ang="0">
                    <a:pos x="17" y="21"/>
                  </a:cxn>
                  <a:cxn ang="0">
                    <a:pos x="16" y="19"/>
                  </a:cxn>
                  <a:cxn ang="0">
                    <a:pos x="15" y="17"/>
                  </a:cxn>
                  <a:cxn ang="0">
                    <a:pos x="15" y="16"/>
                  </a:cxn>
                  <a:cxn ang="0">
                    <a:pos x="15" y="15"/>
                  </a:cxn>
                  <a:cxn ang="0">
                    <a:pos x="15" y="7"/>
                  </a:cxn>
                  <a:cxn ang="0">
                    <a:pos x="12" y="5"/>
                  </a:cxn>
                  <a:cxn ang="0">
                    <a:pos x="11" y="4"/>
                  </a:cxn>
                  <a:cxn ang="0">
                    <a:pos x="9" y="3"/>
                  </a:cxn>
                  <a:cxn ang="0">
                    <a:pos x="8" y="4"/>
                  </a:cxn>
                  <a:cxn ang="0">
                    <a:pos x="8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8"/>
                  </a:cxn>
                </a:cxnLst>
                <a:rect l="0" t="0" r="r" b="b"/>
                <a:pathLst>
                  <a:path w="18" h="26">
                    <a:moveTo>
                      <a:pt x="1" y="8"/>
                    </a:moveTo>
                    <a:lnTo>
                      <a:pt x="2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4" y="14"/>
                    </a:lnTo>
                    <a:lnTo>
                      <a:pt x="5" y="14"/>
                    </a:lnTo>
                    <a:lnTo>
                      <a:pt x="5" y="13"/>
                    </a:lnTo>
                    <a:lnTo>
                      <a:pt x="5" y="14"/>
                    </a:lnTo>
                    <a:lnTo>
                      <a:pt x="5" y="15"/>
                    </a:lnTo>
                    <a:lnTo>
                      <a:pt x="5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7" y="19"/>
                    </a:lnTo>
                    <a:lnTo>
                      <a:pt x="8" y="19"/>
                    </a:lnTo>
                    <a:lnTo>
                      <a:pt x="9" y="20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13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6"/>
                    </a:lnTo>
                    <a:lnTo>
                      <a:pt x="18" y="25"/>
                    </a:lnTo>
                    <a:lnTo>
                      <a:pt x="18" y="25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17" y="21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5" y="18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7"/>
                    </a:lnTo>
                    <a:lnTo>
                      <a:pt x="15" y="7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5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0" name="Freeform 46"/>
              <p:cNvSpPr>
                <a:spLocks/>
              </p:cNvSpPr>
              <p:nvPr/>
            </p:nvSpPr>
            <p:spPr bwMode="gray">
              <a:xfrm>
                <a:off x="5640388" y="4062413"/>
                <a:ext cx="14288" cy="11113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8" y="5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3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8" y="1"/>
                  </a:cxn>
                  <a:cxn ang="0">
                    <a:pos x="8" y="1"/>
                  </a:cxn>
                  <a:cxn ang="0">
                    <a:pos x="8" y="0"/>
                  </a:cxn>
                  <a:cxn ang="0">
                    <a:pos x="7" y="1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5"/>
                  </a:cxn>
                  <a:cxn ang="0">
                    <a:pos x="2" y="6"/>
                  </a:cxn>
                  <a:cxn ang="0">
                    <a:pos x="3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6" y="3"/>
                  </a:cxn>
                </a:cxnLst>
                <a:rect l="0" t="0" r="r" b="b"/>
                <a:pathLst>
                  <a:path w="9" h="7">
                    <a:moveTo>
                      <a:pt x="6" y="3"/>
                    </a:moveTo>
                    <a:lnTo>
                      <a:pt x="6" y="3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3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1" name="Freeform 47"/>
              <p:cNvSpPr>
                <a:spLocks/>
              </p:cNvSpPr>
              <p:nvPr/>
            </p:nvSpPr>
            <p:spPr bwMode="gray">
              <a:xfrm>
                <a:off x="5632451" y="4110038"/>
                <a:ext cx="1588" cy="158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2" name="Freeform 48"/>
              <p:cNvSpPr>
                <a:spLocks/>
              </p:cNvSpPr>
              <p:nvPr/>
            </p:nvSpPr>
            <p:spPr bwMode="gray">
              <a:xfrm>
                <a:off x="5634038" y="4090988"/>
                <a:ext cx="3175" cy="15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3" name="Freeform 49"/>
              <p:cNvSpPr>
                <a:spLocks/>
              </p:cNvSpPr>
              <p:nvPr/>
            </p:nvSpPr>
            <p:spPr bwMode="gray">
              <a:xfrm>
                <a:off x="5638801" y="4087813"/>
                <a:ext cx="1588" cy="476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4" name="Freeform 50"/>
              <p:cNvSpPr>
                <a:spLocks/>
              </p:cNvSpPr>
              <p:nvPr/>
            </p:nvSpPr>
            <p:spPr bwMode="gray">
              <a:xfrm>
                <a:off x="5627688" y="4117975"/>
                <a:ext cx="4763" cy="635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w="3" h="4">
                    <a:moveTo>
                      <a:pt x="0" y="3"/>
                    </a:move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5" name="Freeform 51"/>
              <p:cNvSpPr>
                <a:spLocks/>
              </p:cNvSpPr>
              <p:nvPr/>
            </p:nvSpPr>
            <p:spPr bwMode="gray">
              <a:xfrm>
                <a:off x="5630863" y="4111625"/>
                <a:ext cx="3175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6" name="Freeform 52"/>
              <p:cNvSpPr>
                <a:spLocks/>
              </p:cNvSpPr>
              <p:nvPr/>
            </p:nvSpPr>
            <p:spPr bwMode="gray">
              <a:xfrm>
                <a:off x="5627688" y="4073525"/>
                <a:ext cx="1588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7" name="Freeform 53"/>
              <p:cNvSpPr>
                <a:spLocks/>
              </p:cNvSpPr>
              <p:nvPr/>
            </p:nvSpPr>
            <p:spPr bwMode="gray">
              <a:xfrm>
                <a:off x="5632451" y="4105275"/>
                <a:ext cx="4763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8" name="Freeform 54"/>
              <p:cNvSpPr>
                <a:spLocks/>
              </p:cNvSpPr>
              <p:nvPr/>
            </p:nvSpPr>
            <p:spPr bwMode="gray">
              <a:xfrm>
                <a:off x="5624513" y="4065588"/>
                <a:ext cx="15875" cy="20638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4" y="9"/>
                  </a:cxn>
                  <a:cxn ang="0">
                    <a:pos x="4" y="10"/>
                  </a:cxn>
                  <a:cxn ang="0">
                    <a:pos x="4" y="11"/>
                  </a:cxn>
                  <a:cxn ang="0">
                    <a:pos x="4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6" y="10"/>
                  </a:cxn>
                  <a:cxn ang="0">
                    <a:pos x="8" y="11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3"/>
                  </a:cxn>
                  <a:cxn ang="0">
                    <a:pos x="8" y="13"/>
                  </a:cxn>
                  <a:cxn ang="0">
                    <a:pos x="8" y="12"/>
                  </a:cxn>
                  <a:cxn ang="0">
                    <a:pos x="9" y="11"/>
                  </a:cxn>
                  <a:cxn ang="0">
                    <a:pos x="9" y="11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9" y="8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9" y="4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6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0" y="2"/>
                  </a:cxn>
                  <a:cxn ang="0">
                    <a:pos x="2" y="5"/>
                  </a:cxn>
                  <a:cxn ang="0">
                    <a:pos x="3" y="5"/>
                  </a:cxn>
                </a:cxnLst>
                <a:rect l="0" t="0" r="r" b="b"/>
                <a:pathLst>
                  <a:path w="10" h="13">
                    <a:moveTo>
                      <a:pt x="3" y="5"/>
                    </a:moveTo>
                    <a:lnTo>
                      <a:pt x="3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4" y="10"/>
                    </a:lnTo>
                    <a:lnTo>
                      <a:pt x="4" y="11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8" y="11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2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10" y="5"/>
                    </a:lnTo>
                    <a:lnTo>
                      <a:pt x="10" y="4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59" name="Freeform 55"/>
              <p:cNvSpPr>
                <a:spLocks/>
              </p:cNvSpPr>
              <p:nvPr/>
            </p:nvSpPr>
            <p:spPr bwMode="gray">
              <a:xfrm>
                <a:off x="5651501" y="3978275"/>
                <a:ext cx="33338" cy="31750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5" y="10"/>
                  </a:cxn>
                  <a:cxn ang="0">
                    <a:pos x="4" y="11"/>
                  </a:cxn>
                  <a:cxn ang="0">
                    <a:pos x="3" y="11"/>
                  </a:cxn>
                  <a:cxn ang="0">
                    <a:pos x="2" y="10"/>
                  </a:cxn>
                  <a:cxn ang="0">
                    <a:pos x="1" y="11"/>
                  </a:cxn>
                  <a:cxn ang="0">
                    <a:pos x="1" y="13"/>
                  </a:cxn>
                  <a:cxn ang="0">
                    <a:pos x="2" y="14"/>
                  </a:cxn>
                  <a:cxn ang="0">
                    <a:pos x="2" y="15"/>
                  </a:cxn>
                  <a:cxn ang="0">
                    <a:pos x="3" y="16"/>
                  </a:cxn>
                  <a:cxn ang="0">
                    <a:pos x="4" y="17"/>
                  </a:cxn>
                  <a:cxn ang="0">
                    <a:pos x="4" y="19"/>
                  </a:cxn>
                  <a:cxn ang="0">
                    <a:pos x="6" y="20"/>
                  </a:cxn>
                  <a:cxn ang="0">
                    <a:pos x="8" y="18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3" y="15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7" y="14"/>
                  </a:cxn>
                  <a:cxn ang="0">
                    <a:pos x="8" y="14"/>
                  </a:cxn>
                  <a:cxn ang="0">
                    <a:pos x="13" y="16"/>
                  </a:cxn>
                  <a:cxn ang="0">
                    <a:pos x="15" y="17"/>
                  </a:cxn>
                  <a:cxn ang="0">
                    <a:pos x="15" y="15"/>
                  </a:cxn>
                  <a:cxn ang="0">
                    <a:pos x="16" y="12"/>
                  </a:cxn>
                  <a:cxn ang="0">
                    <a:pos x="17" y="12"/>
                  </a:cxn>
                  <a:cxn ang="0">
                    <a:pos x="20" y="12"/>
                  </a:cxn>
                  <a:cxn ang="0">
                    <a:pos x="18" y="9"/>
                  </a:cxn>
                  <a:cxn ang="0">
                    <a:pos x="17" y="7"/>
                  </a:cxn>
                  <a:cxn ang="0">
                    <a:pos x="16" y="6"/>
                  </a:cxn>
                  <a:cxn ang="0">
                    <a:pos x="16" y="8"/>
                  </a:cxn>
                  <a:cxn ang="0">
                    <a:pos x="13" y="7"/>
                  </a:cxn>
                  <a:cxn ang="0">
                    <a:pos x="9" y="5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21" h="20">
                    <a:moveTo>
                      <a:pt x="1" y="3"/>
                    </a:moveTo>
                    <a:lnTo>
                      <a:pt x="2" y="3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3" y="11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1" y="13"/>
                    </a:lnTo>
                    <a:lnTo>
                      <a:pt x="1" y="14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4" y="16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5" y="20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7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3" y="15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5"/>
                    </a:lnTo>
                    <a:lnTo>
                      <a:pt x="7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1" y="15"/>
                    </a:lnTo>
                    <a:lnTo>
                      <a:pt x="13" y="16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6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1" y="11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6" y="8"/>
                    </a:lnTo>
                    <a:lnTo>
                      <a:pt x="15" y="7"/>
                    </a:lnTo>
                    <a:lnTo>
                      <a:pt x="13" y="7"/>
                    </a:lnTo>
                    <a:lnTo>
                      <a:pt x="10" y="6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0" name="Freeform 56"/>
              <p:cNvSpPr>
                <a:spLocks/>
              </p:cNvSpPr>
              <p:nvPr/>
            </p:nvSpPr>
            <p:spPr bwMode="gray">
              <a:xfrm>
                <a:off x="5605463" y="4135438"/>
                <a:ext cx="3175" cy="1588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1" name="Freeform 57"/>
              <p:cNvSpPr>
                <a:spLocks/>
              </p:cNvSpPr>
              <p:nvPr/>
            </p:nvSpPr>
            <p:spPr bwMode="gray">
              <a:xfrm>
                <a:off x="5629276" y="4008438"/>
                <a:ext cx="57150" cy="60325"/>
              </a:xfrm>
              <a:custGeom>
                <a:avLst/>
                <a:gdLst/>
                <a:ahLst/>
                <a:cxnLst>
                  <a:cxn ang="0">
                    <a:pos x="3" y="35"/>
                  </a:cxn>
                  <a:cxn ang="0">
                    <a:pos x="5" y="36"/>
                  </a:cxn>
                  <a:cxn ang="0">
                    <a:pos x="6" y="34"/>
                  </a:cxn>
                  <a:cxn ang="0">
                    <a:pos x="10" y="33"/>
                  </a:cxn>
                  <a:cxn ang="0">
                    <a:pos x="12" y="33"/>
                  </a:cxn>
                  <a:cxn ang="0">
                    <a:pos x="13" y="32"/>
                  </a:cxn>
                  <a:cxn ang="0">
                    <a:pos x="15" y="32"/>
                  </a:cxn>
                  <a:cxn ang="0">
                    <a:pos x="17" y="32"/>
                  </a:cxn>
                  <a:cxn ang="0">
                    <a:pos x="16" y="35"/>
                  </a:cxn>
                  <a:cxn ang="0">
                    <a:pos x="20" y="38"/>
                  </a:cxn>
                  <a:cxn ang="0">
                    <a:pos x="22" y="34"/>
                  </a:cxn>
                  <a:cxn ang="0">
                    <a:pos x="22" y="32"/>
                  </a:cxn>
                  <a:cxn ang="0">
                    <a:pos x="22" y="30"/>
                  </a:cxn>
                  <a:cxn ang="0">
                    <a:pos x="23" y="31"/>
                  </a:cxn>
                  <a:cxn ang="0">
                    <a:pos x="25" y="32"/>
                  </a:cxn>
                  <a:cxn ang="0">
                    <a:pos x="28" y="31"/>
                  </a:cxn>
                  <a:cxn ang="0">
                    <a:pos x="29" y="30"/>
                  </a:cxn>
                  <a:cxn ang="0">
                    <a:pos x="30" y="32"/>
                  </a:cxn>
                  <a:cxn ang="0">
                    <a:pos x="30" y="29"/>
                  </a:cxn>
                  <a:cxn ang="0">
                    <a:pos x="32" y="27"/>
                  </a:cxn>
                  <a:cxn ang="0">
                    <a:pos x="34" y="30"/>
                  </a:cxn>
                  <a:cxn ang="0">
                    <a:pos x="35" y="27"/>
                  </a:cxn>
                  <a:cxn ang="0">
                    <a:pos x="33" y="25"/>
                  </a:cxn>
                  <a:cxn ang="0">
                    <a:pos x="33" y="20"/>
                  </a:cxn>
                  <a:cxn ang="0">
                    <a:pos x="30" y="15"/>
                  </a:cxn>
                  <a:cxn ang="0">
                    <a:pos x="31" y="12"/>
                  </a:cxn>
                  <a:cxn ang="0">
                    <a:pos x="32" y="9"/>
                  </a:cxn>
                  <a:cxn ang="0">
                    <a:pos x="30" y="7"/>
                  </a:cxn>
                  <a:cxn ang="0">
                    <a:pos x="28" y="5"/>
                  </a:cxn>
                  <a:cxn ang="0">
                    <a:pos x="25" y="2"/>
                  </a:cxn>
                  <a:cxn ang="0">
                    <a:pos x="24" y="0"/>
                  </a:cxn>
                  <a:cxn ang="0">
                    <a:pos x="23" y="1"/>
                  </a:cxn>
                  <a:cxn ang="0">
                    <a:pos x="24" y="3"/>
                  </a:cxn>
                  <a:cxn ang="0">
                    <a:pos x="22" y="1"/>
                  </a:cxn>
                  <a:cxn ang="0">
                    <a:pos x="23" y="6"/>
                  </a:cxn>
                  <a:cxn ang="0">
                    <a:pos x="24" y="8"/>
                  </a:cxn>
                  <a:cxn ang="0">
                    <a:pos x="24" y="13"/>
                  </a:cxn>
                  <a:cxn ang="0">
                    <a:pos x="25" y="15"/>
                  </a:cxn>
                  <a:cxn ang="0">
                    <a:pos x="23" y="17"/>
                  </a:cxn>
                  <a:cxn ang="0">
                    <a:pos x="23" y="20"/>
                  </a:cxn>
                  <a:cxn ang="0">
                    <a:pos x="21" y="21"/>
                  </a:cxn>
                  <a:cxn ang="0">
                    <a:pos x="18" y="20"/>
                  </a:cxn>
                  <a:cxn ang="0">
                    <a:pos x="17" y="19"/>
                  </a:cxn>
                  <a:cxn ang="0">
                    <a:pos x="16" y="20"/>
                  </a:cxn>
                  <a:cxn ang="0">
                    <a:pos x="16" y="25"/>
                  </a:cxn>
                  <a:cxn ang="0">
                    <a:pos x="17" y="27"/>
                  </a:cxn>
                  <a:cxn ang="0">
                    <a:pos x="14" y="27"/>
                  </a:cxn>
                  <a:cxn ang="0">
                    <a:pos x="10" y="28"/>
                  </a:cxn>
                  <a:cxn ang="0">
                    <a:pos x="5" y="29"/>
                  </a:cxn>
                  <a:cxn ang="0">
                    <a:pos x="2" y="32"/>
                  </a:cxn>
                  <a:cxn ang="0">
                    <a:pos x="0" y="33"/>
                  </a:cxn>
                </a:cxnLst>
                <a:rect l="0" t="0" r="r" b="b"/>
                <a:pathLst>
                  <a:path w="36" h="38">
                    <a:moveTo>
                      <a:pt x="1" y="35"/>
                    </a:moveTo>
                    <a:lnTo>
                      <a:pt x="2" y="35"/>
                    </a:lnTo>
                    <a:lnTo>
                      <a:pt x="2" y="35"/>
                    </a:lnTo>
                    <a:lnTo>
                      <a:pt x="3" y="35"/>
                    </a:lnTo>
                    <a:lnTo>
                      <a:pt x="3" y="35"/>
                    </a:lnTo>
                    <a:lnTo>
                      <a:pt x="4" y="35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0" y="32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3" y="33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2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5" y="32"/>
                    </a:lnTo>
                    <a:lnTo>
                      <a:pt x="15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7" y="31"/>
                    </a:lnTo>
                    <a:lnTo>
                      <a:pt x="17" y="32"/>
                    </a:lnTo>
                    <a:lnTo>
                      <a:pt x="17" y="33"/>
                    </a:lnTo>
                    <a:lnTo>
                      <a:pt x="17" y="34"/>
                    </a:lnTo>
                    <a:lnTo>
                      <a:pt x="16" y="34"/>
                    </a:lnTo>
                    <a:lnTo>
                      <a:pt x="16" y="35"/>
                    </a:lnTo>
                    <a:lnTo>
                      <a:pt x="17" y="35"/>
                    </a:lnTo>
                    <a:lnTo>
                      <a:pt x="17" y="36"/>
                    </a:lnTo>
                    <a:lnTo>
                      <a:pt x="18" y="37"/>
                    </a:lnTo>
                    <a:lnTo>
                      <a:pt x="20" y="38"/>
                    </a:lnTo>
                    <a:lnTo>
                      <a:pt x="21" y="37"/>
                    </a:lnTo>
                    <a:lnTo>
                      <a:pt x="21" y="37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1" y="32"/>
                    </a:lnTo>
                    <a:lnTo>
                      <a:pt x="21" y="31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22" y="31"/>
                    </a:lnTo>
                    <a:lnTo>
                      <a:pt x="23" y="31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7" y="32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9" y="30"/>
                    </a:lnTo>
                    <a:lnTo>
                      <a:pt x="29" y="30"/>
                    </a:lnTo>
                    <a:lnTo>
                      <a:pt x="29" y="31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1"/>
                    </a:lnTo>
                    <a:lnTo>
                      <a:pt x="30" y="30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3" y="28"/>
                    </a:lnTo>
                    <a:lnTo>
                      <a:pt x="33" y="30"/>
                    </a:lnTo>
                    <a:lnTo>
                      <a:pt x="34" y="30"/>
                    </a:lnTo>
                    <a:lnTo>
                      <a:pt x="35" y="30"/>
                    </a:lnTo>
                    <a:lnTo>
                      <a:pt x="35" y="28"/>
                    </a:lnTo>
                    <a:lnTo>
                      <a:pt x="36" y="27"/>
                    </a:lnTo>
                    <a:lnTo>
                      <a:pt x="35" y="27"/>
                    </a:lnTo>
                    <a:lnTo>
                      <a:pt x="35" y="26"/>
                    </a:lnTo>
                    <a:lnTo>
                      <a:pt x="34" y="26"/>
                    </a:lnTo>
                    <a:lnTo>
                      <a:pt x="34" y="25"/>
                    </a:lnTo>
                    <a:lnTo>
                      <a:pt x="33" y="25"/>
                    </a:lnTo>
                    <a:lnTo>
                      <a:pt x="33" y="23"/>
                    </a:lnTo>
                    <a:lnTo>
                      <a:pt x="33" y="22"/>
                    </a:lnTo>
                    <a:lnTo>
                      <a:pt x="33" y="21"/>
                    </a:lnTo>
                    <a:lnTo>
                      <a:pt x="33" y="20"/>
                    </a:lnTo>
                    <a:lnTo>
                      <a:pt x="32" y="19"/>
                    </a:lnTo>
                    <a:lnTo>
                      <a:pt x="31" y="17"/>
                    </a:lnTo>
                    <a:lnTo>
                      <a:pt x="30" y="16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2" y="12"/>
                    </a:lnTo>
                    <a:lnTo>
                      <a:pt x="31" y="12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5" y="1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4" y="2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4" y="2"/>
                    </a:lnTo>
                    <a:lnTo>
                      <a:pt x="23" y="3"/>
                    </a:lnTo>
                    <a:lnTo>
                      <a:pt x="22" y="1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1" y="3"/>
                    </a:lnTo>
                    <a:lnTo>
                      <a:pt x="23" y="6"/>
                    </a:lnTo>
                    <a:lnTo>
                      <a:pt x="22" y="7"/>
                    </a:lnTo>
                    <a:lnTo>
                      <a:pt x="23" y="7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4" y="12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5" y="15"/>
                    </a:lnTo>
                    <a:lnTo>
                      <a:pt x="25" y="16"/>
                    </a:lnTo>
                    <a:lnTo>
                      <a:pt x="24" y="17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4" y="18"/>
                    </a:lnTo>
                    <a:lnTo>
                      <a:pt x="24" y="19"/>
                    </a:lnTo>
                    <a:lnTo>
                      <a:pt x="23" y="19"/>
                    </a:lnTo>
                    <a:lnTo>
                      <a:pt x="23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1" y="20"/>
                    </a:lnTo>
                    <a:lnTo>
                      <a:pt x="21" y="21"/>
                    </a:lnTo>
                    <a:lnTo>
                      <a:pt x="20" y="21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0"/>
                    </a:lnTo>
                    <a:lnTo>
                      <a:pt x="18" y="19"/>
                    </a:lnTo>
                    <a:lnTo>
                      <a:pt x="18" y="18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2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6" y="25"/>
                    </a:lnTo>
                    <a:lnTo>
                      <a:pt x="16" y="26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7" y="28"/>
                    </a:lnTo>
                    <a:lnTo>
                      <a:pt x="15" y="28"/>
                    </a:lnTo>
                    <a:lnTo>
                      <a:pt x="14" y="27"/>
                    </a:lnTo>
                    <a:lnTo>
                      <a:pt x="13" y="27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0" y="28"/>
                    </a:lnTo>
                    <a:lnTo>
                      <a:pt x="9" y="28"/>
                    </a:lnTo>
                    <a:lnTo>
                      <a:pt x="7" y="28"/>
                    </a:lnTo>
                    <a:lnTo>
                      <a:pt x="6" y="28"/>
                    </a:lnTo>
                    <a:lnTo>
                      <a:pt x="5" y="29"/>
                    </a:lnTo>
                    <a:lnTo>
                      <a:pt x="4" y="30"/>
                    </a:lnTo>
                    <a:lnTo>
                      <a:pt x="3" y="31"/>
                    </a:lnTo>
                    <a:lnTo>
                      <a:pt x="3" y="32"/>
                    </a:lnTo>
                    <a:lnTo>
                      <a:pt x="2" y="32"/>
                    </a:lnTo>
                    <a:lnTo>
                      <a:pt x="2" y="33"/>
                    </a:lnTo>
                    <a:lnTo>
                      <a:pt x="1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1" y="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2" name="Freeform 58"/>
              <p:cNvSpPr>
                <a:spLocks/>
              </p:cNvSpPr>
              <p:nvPr/>
            </p:nvSpPr>
            <p:spPr bwMode="gray">
              <a:xfrm>
                <a:off x="5661026" y="4032250"/>
                <a:ext cx="3175" cy="317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2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3" name="Freeform 59"/>
              <p:cNvSpPr>
                <a:spLocks/>
              </p:cNvSpPr>
              <p:nvPr/>
            </p:nvSpPr>
            <p:spPr bwMode="gray">
              <a:xfrm>
                <a:off x="5621338" y="4121150"/>
                <a:ext cx="1588" cy="1588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4" name="Freeform 60"/>
              <p:cNvSpPr>
                <a:spLocks/>
              </p:cNvSpPr>
              <p:nvPr/>
            </p:nvSpPr>
            <p:spPr bwMode="gray">
              <a:xfrm>
                <a:off x="5608638" y="4135438"/>
                <a:ext cx="3175" cy="15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5" name="Freeform 61"/>
              <p:cNvSpPr>
                <a:spLocks/>
              </p:cNvSpPr>
              <p:nvPr/>
            </p:nvSpPr>
            <p:spPr bwMode="gray">
              <a:xfrm>
                <a:off x="5614988" y="4130675"/>
                <a:ext cx="1588" cy="4763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3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1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6" name="Freeform 62"/>
              <p:cNvSpPr>
                <a:spLocks/>
              </p:cNvSpPr>
              <p:nvPr/>
            </p:nvSpPr>
            <p:spPr bwMode="gray">
              <a:xfrm>
                <a:off x="5591176" y="4306888"/>
                <a:ext cx="44450" cy="55563"/>
              </a:xfrm>
              <a:custGeom>
                <a:avLst/>
                <a:gdLst/>
                <a:ahLst/>
                <a:cxnLst>
                  <a:cxn ang="0">
                    <a:pos x="25" y="5"/>
                  </a:cxn>
                  <a:cxn ang="0">
                    <a:pos x="25" y="4"/>
                  </a:cxn>
                  <a:cxn ang="0">
                    <a:pos x="27" y="2"/>
                  </a:cxn>
                  <a:cxn ang="0">
                    <a:pos x="28" y="0"/>
                  </a:cxn>
                  <a:cxn ang="0">
                    <a:pos x="23" y="3"/>
                  </a:cxn>
                  <a:cxn ang="0">
                    <a:pos x="20" y="2"/>
                  </a:cxn>
                  <a:cxn ang="0">
                    <a:pos x="16" y="3"/>
                  </a:cxn>
                  <a:cxn ang="0">
                    <a:pos x="13" y="2"/>
                  </a:cxn>
                  <a:cxn ang="0">
                    <a:pos x="11" y="1"/>
                  </a:cxn>
                  <a:cxn ang="0">
                    <a:pos x="8" y="2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3" y="11"/>
                  </a:cxn>
                  <a:cxn ang="0">
                    <a:pos x="2" y="14"/>
                  </a:cxn>
                  <a:cxn ang="0">
                    <a:pos x="3" y="15"/>
                  </a:cxn>
                  <a:cxn ang="0">
                    <a:pos x="1" y="18"/>
                  </a:cxn>
                  <a:cxn ang="0">
                    <a:pos x="0" y="21"/>
                  </a:cxn>
                  <a:cxn ang="0">
                    <a:pos x="0" y="22"/>
                  </a:cxn>
                  <a:cxn ang="0">
                    <a:pos x="1" y="24"/>
                  </a:cxn>
                  <a:cxn ang="0">
                    <a:pos x="3" y="24"/>
                  </a:cxn>
                  <a:cxn ang="0">
                    <a:pos x="4" y="26"/>
                  </a:cxn>
                  <a:cxn ang="0">
                    <a:pos x="2" y="32"/>
                  </a:cxn>
                  <a:cxn ang="0">
                    <a:pos x="3" y="35"/>
                  </a:cxn>
                  <a:cxn ang="0">
                    <a:pos x="6" y="34"/>
                  </a:cxn>
                  <a:cxn ang="0">
                    <a:pos x="6" y="30"/>
                  </a:cxn>
                  <a:cxn ang="0">
                    <a:pos x="7" y="26"/>
                  </a:cxn>
                  <a:cxn ang="0">
                    <a:pos x="7" y="23"/>
                  </a:cxn>
                  <a:cxn ang="0">
                    <a:pos x="7" y="18"/>
                  </a:cxn>
                  <a:cxn ang="0">
                    <a:pos x="7" y="17"/>
                  </a:cxn>
                  <a:cxn ang="0">
                    <a:pos x="8" y="18"/>
                  </a:cxn>
                  <a:cxn ang="0">
                    <a:pos x="9" y="22"/>
                  </a:cxn>
                  <a:cxn ang="0">
                    <a:pos x="13" y="29"/>
                  </a:cxn>
                  <a:cxn ang="0">
                    <a:pos x="14" y="34"/>
                  </a:cxn>
                  <a:cxn ang="0">
                    <a:pos x="17" y="31"/>
                  </a:cxn>
                  <a:cxn ang="0">
                    <a:pos x="19" y="32"/>
                  </a:cxn>
                  <a:cxn ang="0">
                    <a:pos x="19" y="29"/>
                  </a:cxn>
                  <a:cxn ang="0">
                    <a:pos x="18" y="28"/>
                  </a:cxn>
                  <a:cxn ang="0">
                    <a:pos x="17" y="26"/>
                  </a:cxn>
                  <a:cxn ang="0">
                    <a:pos x="16" y="25"/>
                  </a:cxn>
                  <a:cxn ang="0">
                    <a:pos x="17" y="22"/>
                  </a:cxn>
                  <a:cxn ang="0">
                    <a:pos x="15" y="20"/>
                  </a:cxn>
                  <a:cxn ang="0">
                    <a:pos x="15" y="18"/>
                  </a:cxn>
                  <a:cxn ang="0">
                    <a:pos x="13" y="15"/>
                  </a:cxn>
                  <a:cxn ang="0">
                    <a:pos x="14" y="15"/>
                  </a:cxn>
                  <a:cxn ang="0">
                    <a:pos x="16" y="13"/>
                  </a:cxn>
                  <a:cxn ang="0">
                    <a:pos x="18" y="12"/>
                  </a:cxn>
                  <a:cxn ang="0">
                    <a:pos x="20" y="11"/>
                  </a:cxn>
                  <a:cxn ang="0">
                    <a:pos x="18" y="9"/>
                  </a:cxn>
                  <a:cxn ang="0">
                    <a:pos x="16" y="11"/>
                  </a:cxn>
                  <a:cxn ang="0">
                    <a:pos x="13" y="10"/>
                  </a:cxn>
                  <a:cxn ang="0">
                    <a:pos x="11" y="13"/>
                  </a:cxn>
                  <a:cxn ang="0">
                    <a:pos x="8" y="11"/>
                  </a:cxn>
                  <a:cxn ang="0">
                    <a:pos x="6" y="9"/>
                  </a:cxn>
                  <a:cxn ang="0">
                    <a:pos x="7" y="6"/>
                  </a:cxn>
                  <a:cxn ang="0">
                    <a:pos x="10" y="5"/>
                  </a:cxn>
                  <a:cxn ang="0">
                    <a:pos x="14" y="5"/>
                  </a:cxn>
                  <a:cxn ang="0">
                    <a:pos x="14" y="4"/>
                  </a:cxn>
                  <a:cxn ang="0">
                    <a:pos x="19" y="6"/>
                  </a:cxn>
                  <a:cxn ang="0">
                    <a:pos x="22" y="6"/>
                  </a:cxn>
                </a:cxnLst>
                <a:rect l="0" t="0" r="r" b="b"/>
                <a:pathLst>
                  <a:path w="28" h="35">
                    <a:moveTo>
                      <a:pt x="24" y="6"/>
                    </a:moveTo>
                    <a:lnTo>
                      <a:pt x="24" y="5"/>
                    </a:lnTo>
                    <a:lnTo>
                      <a:pt x="25" y="5"/>
                    </a:lnTo>
                    <a:lnTo>
                      <a:pt x="26" y="5"/>
                    </a:lnTo>
                    <a:lnTo>
                      <a:pt x="26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7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9" y="2"/>
                    </a:lnTo>
                    <a:lnTo>
                      <a:pt x="17" y="3"/>
                    </a:lnTo>
                    <a:lnTo>
                      <a:pt x="16" y="3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2" y="1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3" y="16"/>
                    </a:lnTo>
                    <a:lnTo>
                      <a:pt x="2" y="17"/>
                    </a:lnTo>
                    <a:lnTo>
                      <a:pt x="1" y="18"/>
                    </a:lnTo>
                    <a:lnTo>
                      <a:pt x="1" y="18"/>
                    </a:lnTo>
                    <a:lnTo>
                      <a:pt x="0" y="18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1" y="24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3" y="24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4" y="26"/>
                    </a:lnTo>
                    <a:lnTo>
                      <a:pt x="3" y="30"/>
                    </a:lnTo>
                    <a:lnTo>
                      <a:pt x="2" y="31"/>
                    </a:lnTo>
                    <a:lnTo>
                      <a:pt x="2" y="32"/>
                    </a:lnTo>
                    <a:lnTo>
                      <a:pt x="2" y="33"/>
                    </a:lnTo>
                    <a:lnTo>
                      <a:pt x="2" y="34"/>
                    </a:lnTo>
                    <a:lnTo>
                      <a:pt x="3" y="35"/>
                    </a:lnTo>
                    <a:lnTo>
                      <a:pt x="4" y="35"/>
                    </a:lnTo>
                    <a:lnTo>
                      <a:pt x="5" y="35"/>
                    </a:lnTo>
                    <a:lnTo>
                      <a:pt x="6" y="34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6" y="30"/>
                    </a:lnTo>
                    <a:lnTo>
                      <a:pt x="7" y="29"/>
                    </a:lnTo>
                    <a:lnTo>
                      <a:pt x="7" y="28"/>
                    </a:lnTo>
                    <a:lnTo>
                      <a:pt x="7" y="26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7" y="23"/>
                    </a:lnTo>
                    <a:lnTo>
                      <a:pt x="7" y="22"/>
                    </a:lnTo>
                    <a:lnTo>
                      <a:pt x="7" y="21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8" y="18"/>
                    </a:lnTo>
                    <a:lnTo>
                      <a:pt x="9" y="20"/>
                    </a:lnTo>
                    <a:lnTo>
                      <a:pt x="9" y="21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7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3" y="35"/>
                    </a:lnTo>
                    <a:lnTo>
                      <a:pt x="14" y="34"/>
                    </a:lnTo>
                    <a:lnTo>
                      <a:pt x="17" y="35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18" y="28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7" y="26"/>
                    </a:lnTo>
                    <a:lnTo>
                      <a:pt x="16" y="26"/>
                    </a:lnTo>
                    <a:lnTo>
                      <a:pt x="16" y="25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7" y="23"/>
                    </a:lnTo>
                    <a:lnTo>
                      <a:pt x="17" y="22"/>
                    </a:lnTo>
                    <a:lnTo>
                      <a:pt x="17" y="22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5" y="17"/>
                    </a:lnTo>
                    <a:lnTo>
                      <a:pt x="14" y="16"/>
                    </a:lnTo>
                    <a:lnTo>
                      <a:pt x="13" y="15"/>
                    </a:lnTo>
                    <a:lnTo>
                      <a:pt x="12" y="15"/>
                    </a:lnTo>
                    <a:lnTo>
                      <a:pt x="12" y="15"/>
                    </a:lnTo>
                    <a:lnTo>
                      <a:pt x="14" y="15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16" y="13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20" y="11"/>
                    </a:lnTo>
                    <a:lnTo>
                      <a:pt x="20" y="10"/>
                    </a:lnTo>
                    <a:lnTo>
                      <a:pt x="19" y="9"/>
                    </a:lnTo>
                    <a:lnTo>
                      <a:pt x="18" y="9"/>
                    </a:lnTo>
                    <a:lnTo>
                      <a:pt x="17" y="9"/>
                    </a:lnTo>
                    <a:lnTo>
                      <a:pt x="16" y="10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10" y="13"/>
                    </a:lnTo>
                    <a:lnTo>
                      <a:pt x="9" y="12"/>
                    </a:lnTo>
                    <a:lnTo>
                      <a:pt x="8" y="11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4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7" name="Freeform 63"/>
              <p:cNvSpPr>
                <a:spLocks/>
              </p:cNvSpPr>
              <p:nvPr/>
            </p:nvSpPr>
            <p:spPr bwMode="gray">
              <a:xfrm>
                <a:off x="5700713" y="4324350"/>
                <a:ext cx="3175" cy="1588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8" name="Freeform 64"/>
              <p:cNvSpPr>
                <a:spLocks/>
              </p:cNvSpPr>
              <p:nvPr/>
            </p:nvSpPr>
            <p:spPr bwMode="gray">
              <a:xfrm>
                <a:off x="5654676" y="4300538"/>
                <a:ext cx="4763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69" name="Freeform 65"/>
              <p:cNvSpPr>
                <a:spLocks/>
              </p:cNvSpPr>
              <p:nvPr/>
            </p:nvSpPr>
            <p:spPr bwMode="gray">
              <a:xfrm>
                <a:off x="5661026" y="4332288"/>
                <a:ext cx="6350" cy="476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2"/>
                  </a:cxn>
                  <a:cxn ang="0">
                    <a:pos x="4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0" name="Freeform 66"/>
              <p:cNvSpPr>
                <a:spLocks/>
              </p:cNvSpPr>
              <p:nvPr/>
            </p:nvSpPr>
            <p:spPr bwMode="gray">
              <a:xfrm>
                <a:off x="5668963" y="4319588"/>
                <a:ext cx="4763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1" name="Freeform 67"/>
              <p:cNvSpPr>
                <a:spLocks/>
              </p:cNvSpPr>
              <p:nvPr/>
            </p:nvSpPr>
            <p:spPr bwMode="gray">
              <a:xfrm>
                <a:off x="5635626" y="4375150"/>
                <a:ext cx="635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1" y="0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lnTo>
                      <a:pt x="0" y="2"/>
                    </a:lnTo>
                    <a:lnTo>
                      <a:pt x="4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2" name="Freeform 68"/>
              <p:cNvSpPr>
                <a:spLocks/>
              </p:cNvSpPr>
              <p:nvPr/>
            </p:nvSpPr>
            <p:spPr bwMode="gray">
              <a:xfrm>
                <a:off x="5702301" y="4330700"/>
                <a:ext cx="7938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">
                    <a:moveTo>
                      <a:pt x="3" y="0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3" name="Freeform 69"/>
              <p:cNvSpPr>
                <a:spLocks/>
              </p:cNvSpPr>
              <p:nvPr/>
            </p:nvSpPr>
            <p:spPr bwMode="gray">
              <a:xfrm>
                <a:off x="5627688" y="4330700"/>
                <a:ext cx="12700" cy="3175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4" y="2"/>
                  </a:cxn>
                  <a:cxn ang="0">
                    <a:pos x="8" y="1"/>
                  </a:cxn>
                  <a:cxn ang="0">
                    <a:pos x="4" y="1"/>
                  </a:cxn>
                </a:cxnLst>
                <a:rect l="0" t="0" r="r" b="b"/>
                <a:pathLst>
                  <a:path w="8" h="2">
                    <a:moveTo>
                      <a:pt x="4" y="1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8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4" name="Freeform 70"/>
              <p:cNvSpPr>
                <a:spLocks/>
              </p:cNvSpPr>
              <p:nvPr/>
            </p:nvSpPr>
            <p:spPr bwMode="gray">
              <a:xfrm>
                <a:off x="5619751" y="4329113"/>
                <a:ext cx="3175" cy="31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5" name="Freeform 71"/>
              <p:cNvSpPr>
                <a:spLocks/>
              </p:cNvSpPr>
              <p:nvPr/>
            </p:nvSpPr>
            <p:spPr bwMode="gray">
              <a:xfrm>
                <a:off x="5715001" y="4373563"/>
                <a:ext cx="7938" cy="7938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5" y="1"/>
                  </a:cxn>
                </a:cxnLst>
                <a:rect l="0" t="0" r="r" b="b"/>
                <a:pathLst>
                  <a:path w="5" h="5">
                    <a:moveTo>
                      <a:pt x="5" y="1"/>
                    </a:moveTo>
                    <a:lnTo>
                      <a:pt x="5" y="1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6" name="Freeform 72"/>
              <p:cNvSpPr>
                <a:spLocks/>
              </p:cNvSpPr>
              <p:nvPr/>
            </p:nvSpPr>
            <p:spPr bwMode="gray">
              <a:xfrm>
                <a:off x="5584826" y="4378325"/>
                <a:ext cx="7938" cy="6350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3"/>
                  </a:cxn>
                </a:cxnLst>
                <a:rect l="0" t="0" r="r" b="b"/>
                <a:pathLst>
                  <a:path w="5" h="4">
                    <a:moveTo>
                      <a:pt x="5" y="3"/>
                    </a:moveTo>
                    <a:lnTo>
                      <a:pt x="5" y="2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7" name="Freeform 73"/>
              <p:cNvSpPr>
                <a:spLocks noEditPoints="1"/>
              </p:cNvSpPr>
              <p:nvPr/>
            </p:nvSpPr>
            <p:spPr bwMode="gray">
              <a:xfrm>
                <a:off x="5524501" y="4264025"/>
                <a:ext cx="73025" cy="87313"/>
              </a:xfrm>
              <a:custGeom>
                <a:avLst/>
                <a:gdLst/>
                <a:ahLst/>
                <a:cxnLst>
                  <a:cxn ang="0">
                    <a:pos x="34" y="48"/>
                  </a:cxn>
                  <a:cxn ang="0">
                    <a:pos x="35" y="43"/>
                  </a:cxn>
                  <a:cxn ang="0">
                    <a:pos x="34" y="42"/>
                  </a:cxn>
                  <a:cxn ang="0">
                    <a:pos x="39" y="36"/>
                  </a:cxn>
                  <a:cxn ang="0">
                    <a:pos x="39" y="34"/>
                  </a:cxn>
                  <a:cxn ang="0">
                    <a:pos x="41" y="31"/>
                  </a:cxn>
                  <a:cxn ang="0">
                    <a:pos x="44" y="30"/>
                  </a:cxn>
                  <a:cxn ang="0">
                    <a:pos x="41" y="25"/>
                  </a:cxn>
                  <a:cxn ang="0">
                    <a:pos x="40" y="22"/>
                  </a:cxn>
                  <a:cxn ang="0">
                    <a:pos x="38" y="17"/>
                  </a:cxn>
                  <a:cxn ang="0">
                    <a:pos x="30" y="15"/>
                  </a:cxn>
                  <a:cxn ang="0">
                    <a:pos x="35" y="14"/>
                  </a:cxn>
                  <a:cxn ang="0">
                    <a:pos x="38" y="12"/>
                  </a:cxn>
                  <a:cxn ang="0">
                    <a:pos x="42" y="13"/>
                  </a:cxn>
                  <a:cxn ang="0">
                    <a:pos x="41" y="10"/>
                  </a:cxn>
                  <a:cxn ang="0">
                    <a:pos x="44" y="11"/>
                  </a:cxn>
                  <a:cxn ang="0">
                    <a:pos x="42" y="7"/>
                  </a:cxn>
                  <a:cxn ang="0">
                    <a:pos x="39" y="6"/>
                  </a:cxn>
                  <a:cxn ang="0">
                    <a:pos x="37" y="3"/>
                  </a:cxn>
                  <a:cxn ang="0">
                    <a:pos x="33" y="3"/>
                  </a:cxn>
                  <a:cxn ang="0">
                    <a:pos x="31" y="6"/>
                  </a:cxn>
                  <a:cxn ang="0">
                    <a:pos x="27" y="9"/>
                  </a:cxn>
                  <a:cxn ang="0">
                    <a:pos x="25" y="10"/>
                  </a:cxn>
                  <a:cxn ang="0">
                    <a:pos x="22" y="17"/>
                  </a:cxn>
                  <a:cxn ang="0">
                    <a:pos x="15" y="20"/>
                  </a:cxn>
                  <a:cxn ang="0">
                    <a:pos x="12" y="25"/>
                  </a:cxn>
                  <a:cxn ang="0">
                    <a:pos x="9" y="27"/>
                  </a:cxn>
                  <a:cxn ang="0">
                    <a:pos x="6" y="27"/>
                  </a:cxn>
                  <a:cxn ang="0">
                    <a:pos x="9" y="30"/>
                  </a:cxn>
                  <a:cxn ang="0">
                    <a:pos x="14" y="29"/>
                  </a:cxn>
                  <a:cxn ang="0">
                    <a:pos x="21" y="28"/>
                  </a:cxn>
                  <a:cxn ang="0">
                    <a:pos x="23" y="27"/>
                  </a:cxn>
                  <a:cxn ang="0">
                    <a:pos x="23" y="28"/>
                  </a:cxn>
                  <a:cxn ang="0">
                    <a:pos x="21" y="29"/>
                  </a:cxn>
                  <a:cxn ang="0">
                    <a:pos x="14" y="30"/>
                  </a:cxn>
                  <a:cxn ang="0">
                    <a:pos x="9" y="31"/>
                  </a:cxn>
                  <a:cxn ang="0">
                    <a:pos x="6" y="28"/>
                  </a:cxn>
                  <a:cxn ang="0">
                    <a:pos x="2" y="28"/>
                  </a:cxn>
                  <a:cxn ang="0">
                    <a:pos x="0" y="32"/>
                  </a:cxn>
                  <a:cxn ang="0">
                    <a:pos x="7" y="42"/>
                  </a:cxn>
                  <a:cxn ang="0">
                    <a:pos x="9" y="49"/>
                  </a:cxn>
                  <a:cxn ang="0">
                    <a:pos x="13" y="48"/>
                  </a:cxn>
                  <a:cxn ang="0">
                    <a:pos x="15" y="50"/>
                  </a:cxn>
                  <a:cxn ang="0">
                    <a:pos x="18" y="50"/>
                  </a:cxn>
                  <a:cxn ang="0">
                    <a:pos x="20" y="50"/>
                  </a:cxn>
                  <a:cxn ang="0">
                    <a:pos x="24" y="51"/>
                  </a:cxn>
                  <a:cxn ang="0">
                    <a:pos x="26" y="55"/>
                  </a:cxn>
                  <a:cxn ang="0">
                    <a:pos x="29" y="54"/>
                  </a:cxn>
                  <a:cxn ang="0">
                    <a:pos x="29" y="19"/>
                  </a:cxn>
                  <a:cxn ang="0">
                    <a:pos x="28" y="24"/>
                  </a:cxn>
                  <a:cxn ang="0">
                    <a:pos x="27" y="20"/>
                  </a:cxn>
                  <a:cxn ang="0">
                    <a:pos x="27" y="21"/>
                  </a:cxn>
                </a:cxnLst>
                <a:rect l="0" t="0" r="r" b="b"/>
                <a:pathLst>
                  <a:path w="46" h="55">
                    <a:moveTo>
                      <a:pt x="30" y="52"/>
                    </a:moveTo>
                    <a:lnTo>
                      <a:pt x="31" y="52"/>
                    </a:lnTo>
                    <a:lnTo>
                      <a:pt x="32" y="51"/>
                    </a:lnTo>
                    <a:lnTo>
                      <a:pt x="32" y="50"/>
                    </a:lnTo>
                    <a:lnTo>
                      <a:pt x="34" y="48"/>
                    </a:lnTo>
                    <a:lnTo>
                      <a:pt x="34" y="47"/>
                    </a:lnTo>
                    <a:lnTo>
                      <a:pt x="35" y="46"/>
                    </a:lnTo>
                    <a:lnTo>
                      <a:pt x="35" y="45"/>
                    </a:lnTo>
                    <a:lnTo>
                      <a:pt x="35" y="44"/>
                    </a:lnTo>
                    <a:lnTo>
                      <a:pt x="35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5" y="43"/>
                    </a:lnTo>
                    <a:lnTo>
                      <a:pt x="35" y="42"/>
                    </a:lnTo>
                    <a:lnTo>
                      <a:pt x="34" y="42"/>
                    </a:lnTo>
                    <a:lnTo>
                      <a:pt x="34" y="41"/>
                    </a:lnTo>
                    <a:lnTo>
                      <a:pt x="35" y="38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0" y="35"/>
                    </a:lnTo>
                    <a:lnTo>
                      <a:pt x="40" y="34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3"/>
                    </a:lnTo>
                    <a:lnTo>
                      <a:pt x="39" y="32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2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0"/>
                    </a:lnTo>
                    <a:lnTo>
                      <a:pt x="42" y="28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41" y="24"/>
                    </a:lnTo>
                    <a:lnTo>
                      <a:pt x="42" y="23"/>
                    </a:lnTo>
                    <a:lnTo>
                      <a:pt x="42" y="23"/>
                    </a:lnTo>
                    <a:lnTo>
                      <a:pt x="41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9" y="20"/>
                    </a:lnTo>
                    <a:lnTo>
                      <a:pt x="38" y="19"/>
                    </a:lnTo>
                    <a:lnTo>
                      <a:pt x="39" y="18"/>
                    </a:lnTo>
                    <a:lnTo>
                      <a:pt x="38" y="17"/>
                    </a:lnTo>
                    <a:lnTo>
                      <a:pt x="38" y="16"/>
                    </a:lnTo>
                    <a:lnTo>
                      <a:pt x="37" y="16"/>
                    </a:lnTo>
                    <a:lnTo>
                      <a:pt x="35" y="14"/>
                    </a:lnTo>
                    <a:lnTo>
                      <a:pt x="30" y="14"/>
                    </a:lnTo>
                    <a:lnTo>
                      <a:pt x="30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5" y="14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38" y="12"/>
                    </a:lnTo>
                    <a:lnTo>
                      <a:pt x="39" y="13"/>
                    </a:lnTo>
                    <a:lnTo>
                      <a:pt x="39" y="13"/>
                    </a:lnTo>
                    <a:lnTo>
                      <a:pt x="40" y="14"/>
                    </a:lnTo>
                    <a:lnTo>
                      <a:pt x="43" y="14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42" y="12"/>
                    </a:lnTo>
                    <a:lnTo>
                      <a:pt x="41" y="11"/>
                    </a:lnTo>
                    <a:lnTo>
                      <a:pt x="41" y="11"/>
                    </a:lnTo>
                    <a:lnTo>
                      <a:pt x="41" y="10"/>
                    </a:lnTo>
                    <a:lnTo>
                      <a:pt x="42" y="10"/>
                    </a:lnTo>
                    <a:lnTo>
                      <a:pt x="43" y="11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6" y="9"/>
                    </a:lnTo>
                    <a:lnTo>
                      <a:pt x="44" y="9"/>
                    </a:lnTo>
                    <a:lnTo>
                      <a:pt x="44" y="8"/>
                    </a:lnTo>
                    <a:lnTo>
                      <a:pt x="43" y="7"/>
                    </a:lnTo>
                    <a:lnTo>
                      <a:pt x="42" y="7"/>
                    </a:lnTo>
                    <a:lnTo>
                      <a:pt x="41" y="7"/>
                    </a:lnTo>
                    <a:lnTo>
                      <a:pt x="41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9" y="6"/>
                    </a:lnTo>
                    <a:lnTo>
                      <a:pt x="39" y="5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7" y="3"/>
                    </a:lnTo>
                    <a:lnTo>
                      <a:pt x="37" y="3"/>
                    </a:lnTo>
                    <a:lnTo>
                      <a:pt x="36" y="3"/>
                    </a:lnTo>
                    <a:lnTo>
                      <a:pt x="35" y="0"/>
                    </a:lnTo>
                    <a:lnTo>
                      <a:pt x="35" y="1"/>
                    </a:lnTo>
                    <a:lnTo>
                      <a:pt x="34" y="0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1" y="5"/>
                    </a:lnTo>
                    <a:lnTo>
                      <a:pt x="31" y="6"/>
                    </a:lnTo>
                    <a:lnTo>
                      <a:pt x="29" y="7"/>
                    </a:lnTo>
                    <a:lnTo>
                      <a:pt x="30" y="9"/>
                    </a:lnTo>
                    <a:lnTo>
                      <a:pt x="29" y="9"/>
                    </a:lnTo>
                    <a:lnTo>
                      <a:pt x="28" y="9"/>
                    </a:lnTo>
                    <a:lnTo>
                      <a:pt x="27" y="9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5" y="9"/>
                    </a:lnTo>
                    <a:lnTo>
                      <a:pt x="25" y="10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3" y="14"/>
                    </a:lnTo>
                    <a:lnTo>
                      <a:pt x="23" y="15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1" y="24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1" y="27"/>
                    </a:lnTo>
                    <a:lnTo>
                      <a:pt x="11" y="27"/>
                    </a:lnTo>
                    <a:lnTo>
                      <a:pt x="10" y="27"/>
                    </a:lnTo>
                    <a:lnTo>
                      <a:pt x="9" y="27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6" y="27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7" y="29"/>
                    </a:lnTo>
                    <a:lnTo>
                      <a:pt x="8" y="29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10" y="29"/>
                    </a:lnTo>
                    <a:lnTo>
                      <a:pt x="12" y="29"/>
                    </a:lnTo>
                    <a:lnTo>
                      <a:pt x="13" y="29"/>
                    </a:lnTo>
                    <a:lnTo>
                      <a:pt x="14" y="29"/>
                    </a:lnTo>
                    <a:lnTo>
                      <a:pt x="16" y="28"/>
                    </a:lnTo>
                    <a:lnTo>
                      <a:pt x="16" y="27"/>
                    </a:lnTo>
                    <a:lnTo>
                      <a:pt x="19" y="27"/>
                    </a:lnTo>
                    <a:lnTo>
                      <a:pt x="19" y="28"/>
                    </a:lnTo>
                    <a:lnTo>
                      <a:pt x="21" y="28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2" y="28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4" y="27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28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2" y="29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19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5" y="28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5" y="28"/>
                    </a:lnTo>
                    <a:lnTo>
                      <a:pt x="4" y="27"/>
                    </a:lnTo>
                    <a:lnTo>
                      <a:pt x="3" y="2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1" y="29"/>
                    </a:lnTo>
                    <a:lnTo>
                      <a:pt x="1" y="30"/>
                    </a:lnTo>
                    <a:lnTo>
                      <a:pt x="1" y="31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7"/>
                    </a:lnTo>
                    <a:lnTo>
                      <a:pt x="6" y="39"/>
                    </a:lnTo>
                    <a:lnTo>
                      <a:pt x="5" y="41"/>
                    </a:lnTo>
                    <a:lnTo>
                      <a:pt x="7" y="42"/>
                    </a:lnTo>
                    <a:lnTo>
                      <a:pt x="6" y="43"/>
                    </a:lnTo>
                    <a:lnTo>
                      <a:pt x="7" y="45"/>
                    </a:lnTo>
                    <a:lnTo>
                      <a:pt x="6" y="46"/>
                    </a:lnTo>
                    <a:lnTo>
                      <a:pt x="7" y="49"/>
                    </a:lnTo>
                    <a:lnTo>
                      <a:pt x="9" y="49"/>
                    </a:lnTo>
                    <a:lnTo>
                      <a:pt x="11" y="49"/>
                    </a:lnTo>
                    <a:lnTo>
                      <a:pt x="11" y="49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3" y="48"/>
                    </a:lnTo>
                    <a:lnTo>
                      <a:pt x="13" y="49"/>
                    </a:lnTo>
                    <a:lnTo>
                      <a:pt x="13" y="50"/>
                    </a:lnTo>
                    <a:lnTo>
                      <a:pt x="14" y="51"/>
                    </a:lnTo>
                    <a:lnTo>
                      <a:pt x="15" y="51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50"/>
                    </a:lnTo>
                    <a:lnTo>
                      <a:pt x="15" y="49"/>
                    </a:lnTo>
                    <a:lnTo>
                      <a:pt x="17" y="50"/>
                    </a:lnTo>
                    <a:lnTo>
                      <a:pt x="18" y="50"/>
                    </a:lnTo>
                    <a:lnTo>
                      <a:pt x="18" y="49"/>
                    </a:lnTo>
                    <a:lnTo>
                      <a:pt x="19" y="49"/>
                    </a:lnTo>
                    <a:lnTo>
                      <a:pt x="20" y="49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1"/>
                    </a:lnTo>
                    <a:lnTo>
                      <a:pt x="21" y="51"/>
                    </a:lnTo>
                    <a:lnTo>
                      <a:pt x="22" y="51"/>
                    </a:lnTo>
                    <a:lnTo>
                      <a:pt x="23" y="51"/>
                    </a:lnTo>
                    <a:lnTo>
                      <a:pt x="24" y="51"/>
                    </a:lnTo>
                    <a:lnTo>
                      <a:pt x="25" y="51"/>
                    </a:lnTo>
                    <a:lnTo>
                      <a:pt x="26" y="51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5"/>
                    </a:lnTo>
                    <a:lnTo>
                      <a:pt x="26" y="55"/>
                    </a:lnTo>
                    <a:lnTo>
                      <a:pt x="26" y="55"/>
                    </a:lnTo>
                    <a:lnTo>
                      <a:pt x="27" y="54"/>
                    </a:lnTo>
                    <a:lnTo>
                      <a:pt x="28" y="54"/>
                    </a:lnTo>
                    <a:lnTo>
                      <a:pt x="29" y="54"/>
                    </a:lnTo>
                    <a:lnTo>
                      <a:pt x="30" y="52"/>
                    </a:lnTo>
                    <a:close/>
                    <a:moveTo>
                      <a:pt x="29" y="18"/>
                    </a:moveTo>
                    <a:lnTo>
                      <a:pt x="29" y="19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29" y="18"/>
                    </a:lnTo>
                    <a:close/>
                    <a:moveTo>
                      <a:pt x="26" y="25"/>
                    </a:moveTo>
                    <a:lnTo>
                      <a:pt x="26" y="25"/>
                    </a:lnTo>
                    <a:lnTo>
                      <a:pt x="27" y="23"/>
                    </a:lnTo>
                    <a:lnTo>
                      <a:pt x="28" y="24"/>
                    </a:lnTo>
                    <a:lnTo>
                      <a:pt x="26" y="25"/>
                    </a:lnTo>
                    <a:close/>
                    <a:moveTo>
                      <a:pt x="27" y="21"/>
                    </a:moveTo>
                    <a:lnTo>
                      <a:pt x="27" y="21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9" y="20"/>
                    </a:lnTo>
                    <a:lnTo>
                      <a:pt x="29" y="20"/>
                    </a:lnTo>
                    <a:lnTo>
                      <a:pt x="29" y="20"/>
                    </a:lnTo>
                    <a:lnTo>
                      <a:pt x="29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8" name="Freeform 74"/>
              <p:cNvSpPr>
                <a:spLocks/>
              </p:cNvSpPr>
              <p:nvPr/>
            </p:nvSpPr>
            <p:spPr bwMode="gray">
              <a:xfrm>
                <a:off x="5575301" y="4381500"/>
                <a:ext cx="12700" cy="7938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5" y="1"/>
                  </a:cxn>
                  <a:cxn ang="0">
                    <a:pos x="4" y="1"/>
                  </a:cxn>
                </a:cxnLst>
                <a:rect l="0" t="0" r="r" b="b"/>
                <a:pathLst>
                  <a:path w="8" h="5">
                    <a:moveTo>
                      <a:pt x="4" y="1"/>
                    </a:move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4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5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79" name="Freeform 75"/>
              <p:cNvSpPr>
                <a:spLocks/>
              </p:cNvSpPr>
              <p:nvPr/>
            </p:nvSpPr>
            <p:spPr bwMode="gray">
              <a:xfrm>
                <a:off x="5570538" y="4379913"/>
                <a:ext cx="4763" cy="3175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1"/>
                  </a:cxn>
                  <a:cxn ang="0">
                    <a:pos x="3" y="1"/>
                  </a:cxn>
                </a:cxnLst>
                <a:rect l="0" t="0" r="r" b="b"/>
                <a:pathLst>
                  <a:path w="3" h="2">
                    <a:moveTo>
                      <a:pt x="3" y="1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0" name="Freeform 76"/>
              <p:cNvSpPr>
                <a:spLocks/>
              </p:cNvSpPr>
              <p:nvPr/>
            </p:nvSpPr>
            <p:spPr bwMode="gray">
              <a:xfrm>
                <a:off x="5500688" y="4362450"/>
                <a:ext cx="61913" cy="25400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36" y="10"/>
                  </a:cxn>
                  <a:cxn ang="0">
                    <a:pos x="35" y="10"/>
                  </a:cxn>
                  <a:cxn ang="0">
                    <a:pos x="34" y="11"/>
                  </a:cxn>
                  <a:cxn ang="0">
                    <a:pos x="32" y="10"/>
                  </a:cxn>
                  <a:cxn ang="0">
                    <a:pos x="33" y="9"/>
                  </a:cxn>
                  <a:cxn ang="0">
                    <a:pos x="33" y="7"/>
                  </a:cxn>
                  <a:cxn ang="0">
                    <a:pos x="32" y="6"/>
                  </a:cxn>
                  <a:cxn ang="0">
                    <a:pos x="28" y="6"/>
                  </a:cxn>
                  <a:cxn ang="0">
                    <a:pos x="27" y="3"/>
                  </a:cxn>
                  <a:cxn ang="0">
                    <a:pos x="24" y="4"/>
                  </a:cxn>
                  <a:cxn ang="0">
                    <a:pos x="24" y="6"/>
                  </a:cxn>
                  <a:cxn ang="0">
                    <a:pos x="22" y="5"/>
                  </a:cxn>
                  <a:cxn ang="0">
                    <a:pos x="20" y="5"/>
                  </a:cxn>
                  <a:cxn ang="0">
                    <a:pos x="15" y="5"/>
                  </a:cxn>
                  <a:cxn ang="0">
                    <a:pos x="14" y="3"/>
                  </a:cxn>
                  <a:cxn ang="0">
                    <a:pos x="13" y="1"/>
                  </a:cxn>
                  <a:cxn ang="0">
                    <a:pos x="11" y="2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1" y="3"/>
                  </a:cxn>
                  <a:cxn ang="0">
                    <a:pos x="0" y="5"/>
                  </a:cxn>
                  <a:cxn ang="0">
                    <a:pos x="5" y="5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5" y="7"/>
                  </a:cxn>
                  <a:cxn ang="0">
                    <a:pos x="6" y="7"/>
                  </a:cxn>
                  <a:cxn ang="0">
                    <a:pos x="7" y="6"/>
                  </a:cxn>
                  <a:cxn ang="0">
                    <a:pos x="10" y="7"/>
                  </a:cxn>
                  <a:cxn ang="0">
                    <a:pos x="13" y="9"/>
                  </a:cxn>
                  <a:cxn ang="0">
                    <a:pos x="18" y="10"/>
                  </a:cxn>
                  <a:cxn ang="0">
                    <a:pos x="22" y="11"/>
                  </a:cxn>
                  <a:cxn ang="0">
                    <a:pos x="23" y="12"/>
                  </a:cxn>
                  <a:cxn ang="0">
                    <a:pos x="25" y="13"/>
                  </a:cxn>
                  <a:cxn ang="0">
                    <a:pos x="27" y="13"/>
                  </a:cxn>
                  <a:cxn ang="0">
                    <a:pos x="32" y="13"/>
                  </a:cxn>
                  <a:cxn ang="0">
                    <a:pos x="34" y="14"/>
                  </a:cxn>
                  <a:cxn ang="0">
                    <a:pos x="35" y="15"/>
                  </a:cxn>
                  <a:cxn ang="0">
                    <a:pos x="37" y="16"/>
                  </a:cxn>
                  <a:cxn ang="0">
                    <a:pos x="38" y="16"/>
                  </a:cxn>
                  <a:cxn ang="0">
                    <a:pos x="39" y="15"/>
                  </a:cxn>
                  <a:cxn ang="0">
                    <a:pos x="39" y="14"/>
                  </a:cxn>
                  <a:cxn ang="0">
                    <a:pos x="39" y="13"/>
                  </a:cxn>
                  <a:cxn ang="0">
                    <a:pos x="39" y="11"/>
                  </a:cxn>
                  <a:cxn ang="0">
                    <a:pos x="38" y="10"/>
                  </a:cxn>
                </a:cxnLst>
                <a:rect l="0" t="0" r="r" b="b"/>
                <a:pathLst>
                  <a:path w="39" h="16">
                    <a:moveTo>
                      <a:pt x="38" y="10"/>
                    </a:moveTo>
                    <a:lnTo>
                      <a:pt x="37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35" y="11"/>
                    </a:lnTo>
                    <a:lnTo>
                      <a:pt x="34" y="11"/>
                    </a:lnTo>
                    <a:lnTo>
                      <a:pt x="34" y="12"/>
                    </a:lnTo>
                    <a:lnTo>
                      <a:pt x="32" y="10"/>
                    </a:lnTo>
                    <a:lnTo>
                      <a:pt x="33" y="10"/>
                    </a:lnTo>
                    <a:lnTo>
                      <a:pt x="33" y="9"/>
                    </a:lnTo>
                    <a:lnTo>
                      <a:pt x="33" y="8"/>
                    </a:lnTo>
                    <a:lnTo>
                      <a:pt x="33" y="7"/>
                    </a:lnTo>
                    <a:lnTo>
                      <a:pt x="33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8" y="6"/>
                    </a:lnTo>
                    <a:lnTo>
                      <a:pt x="27" y="5"/>
                    </a:lnTo>
                    <a:lnTo>
                      <a:pt x="27" y="3"/>
                    </a:lnTo>
                    <a:lnTo>
                      <a:pt x="24" y="3"/>
                    </a:lnTo>
                    <a:lnTo>
                      <a:pt x="24" y="4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3" y="6"/>
                    </a:lnTo>
                    <a:lnTo>
                      <a:pt x="22" y="5"/>
                    </a:lnTo>
                    <a:lnTo>
                      <a:pt x="21" y="5"/>
                    </a:lnTo>
                    <a:lnTo>
                      <a:pt x="20" y="5"/>
                    </a:lnTo>
                    <a:lnTo>
                      <a:pt x="19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12" y="1"/>
                    </a:lnTo>
                    <a:lnTo>
                      <a:pt x="11" y="2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10" y="7"/>
                    </a:lnTo>
                    <a:lnTo>
                      <a:pt x="12" y="8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8" y="10"/>
                    </a:lnTo>
                    <a:lnTo>
                      <a:pt x="21" y="10"/>
                    </a:lnTo>
                    <a:lnTo>
                      <a:pt x="22" y="11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4" y="12"/>
                    </a:lnTo>
                    <a:lnTo>
                      <a:pt x="25" y="13"/>
                    </a:lnTo>
                    <a:lnTo>
                      <a:pt x="26" y="13"/>
                    </a:lnTo>
                    <a:lnTo>
                      <a:pt x="27" y="13"/>
                    </a:lnTo>
                    <a:lnTo>
                      <a:pt x="28" y="13"/>
                    </a:lnTo>
                    <a:lnTo>
                      <a:pt x="32" y="13"/>
                    </a:lnTo>
                    <a:lnTo>
                      <a:pt x="33" y="14"/>
                    </a:lnTo>
                    <a:lnTo>
                      <a:pt x="34" y="14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6"/>
                    </a:lnTo>
                    <a:lnTo>
                      <a:pt x="37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39" y="15"/>
                    </a:lnTo>
                    <a:lnTo>
                      <a:pt x="39" y="15"/>
                    </a:lnTo>
                    <a:lnTo>
                      <a:pt x="39" y="14"/>
                    </a:lnTo>
                    <a:lnTo>
                      <a:pt x="38" y="14"/>
                    </a:lnTo>
                    <a:lnTo>
                      <a:pt x="39" y="13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1"/>
                    </a:lnTo>
                    <a:lnTo>
                      <a:pt x="38" y="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1" name="Freeform 77"/>
              <p:cNvSpPr>
                <a:spLocks/>
              </p:cNvSpPr>
              <p:nvPr/>
            </p:nvSpPr>
            <p:spPr bwMode="gray">
              <a:xfrm>
                <a:off x="5554663" y="4367213"/>
                <a:ext cx="7938" cy="4763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</a:cxnLst>
                <a:rect l="0" t="0" r="r" b="b"/>
                <a:pathLst>
                  <a:path w="5" h="3">
                    <a:moveTo>
                      <a:pt x="2" y="3"/>
                    </a:moveTo>
                    <a:lnTo>
                      <a:pt x="5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2" name="Freeform 78"/>
              <p:cNvSpPr>
                <a:spLocks/>
              </p:cNvSpPr>
              <p:nvPr/>
            </p:nvSpPr>
            <p:spPr bwMode="gray">
              <a:xfrm>
                <a:off x="5564188" y="4379913"/>
                <a:ext cx="4763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3" name="Freeform 79"/>
              <p:cNvSpPr>
                <a:spLocks/>
              </p:cNvSpPr>
              <p:nvPr/>
            </p:nvSpPr>
            <p:spPr bwMode="gray">
              <a:xfrm>
                <a:off x="5435601" y="4276725"/>
                <a:ext cx="71438" cy="87313"/>
              </a:xfrm>
              <a:custGeom>
                <a:avLst/>
                <a:gdLst/>
                <a:ahLst/>
                <a:cxnLst>
                  <a:cxn ang="0">
                    <a:pos x="42" y="52"/>
                  </a:cxn>
                  <a:cxn ang="0">
                    <a:pos x="44" y="53"/>
                  </a:cxn>
                  <a:cxn ang="0">
                    <a:pos x="44" y="49"/>
                  </a:cxn>
                  <a:cxn ang="0">
                    <a:pos x="45" y="46"/>
                  </a:cxn>
                  <a:cxn ang="0">
                    <a:pos x="44" y="44"/>
                  </a:cxn>
                  <a:cxn ang="0">
                    <a:pos x="45" y="42"/>
                  </a:cxn>
                  <a:cxn ang="0">
                    <a:pos x="43" y="38"/>
                  </a:cxn>
                  <a:cxn ang="0">
                    <a:pos x="39" y="36"/>
                  </a:cxn>
                  <a:cxn ang="0">
                    <a:pos x="35" y="31"/>
                  </a:cxn>
                  <a:cxn ang="0">
                    <a:pos x="35" y="28"/>
                  </a:cxn>
                  <a:cxn ang="0">
                    <a:pos x="35" y="27"/>
                  </a:cxn>
                  <a:cxn ang="0">
                    <a:pos x="35" y="25"/>
                  </a:cxn>
                  <a:cxn ang="0">
                    <a:pos x="32" y="26"/>
                  </a:cxn>
                  <a:cxn ang="0">
                    <a:pos x="31" y="26"/>
                  </a:cxn>
                  <a:cxn ang="0">
                    <a:pos x="32" y="25"/>
                  </a:cxn>
                  <a:cxn ang="0">
                    <a:pos x="32" y="23"/>
                  </a:cxn>
                  <a:cxn ang="0">
                    <a:pos x="30" y="23"/>
                  </a:cxn>
                  <a:cxn ang="0">
                    <a:pos x="30" y="21"/>
                  </a:cxn>
                  <a:cxn ang="0">
                    <a:pos x="27" y="19"/>
                  </a:cxn>
                  <a:cxn ang="0">
                    <a:pos x="26" y="19"/>
                  </a:cxn>
                  <a:cxn ang="0">
                    <a:pos x="25" y="17"/>
                  </a:cxn>
                  <a:cxn ang="0">
                    <a:pos x="24" y="17"/>
                  </a:cxn>
                  <a:cxn ang="0">
                    <a:pos x="23" y="17"/>
                  </a:cxn>
                  <a:cxn ang="0">
                    <a:pos x="21" y="14"/>
                  </a:cxn>
                  <a:cxn ang="0">
                    <a:pos x="20" y="13"/>
                  </a:cxn>
                  <a:cxn ang="0">
                    <a:pos x="17" y="11"/>
                  </a:cxn>
                  <a:cxn ang="0">
                    <a:pos x="16" y="9"/>
                  </a:cxn>
                  <a:cxn ang="0">
                    <a:pos x="14" y="8"/>
                  </a:cxn>
                  <a:cxn ang="0">
                    <a:pos x="12" y="5"/>
                  </a:cxn>
                  <a:cxn ang="0">
                    <a:pos x="9" y="3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6" y="9"/>
                  </a:cxn>
                  <a:cxn ang="0">
                    <a:pos x="10" y="14"/>
                  </a:cxn>
                  <a:cxn ang="0">
                    <a:pos x="11" y="16"/>
                  </a:cxn>
                  <a:cxn ang="0">
                    <a:pos x="13" y="18"/>
                  </a:cxn>
                  <a:cxn ang="0">
                    <a:pos x="16" y="20"/>
                  </a:cxn>
                  <a:cxn ang="0">
                    <a:pos x="17" y="23"/>
                  </a:cxn>
                  <a:cxn ang="0">
                    <a:pos x="17" y="26"/>
                  </a:cxn>
                  <a:cxn ang="0">
                    <a:pos x="18" y="26"/>
                  </a:cxn>
                  <a:cxn ang="0">
                    <a:pos x="19" y="27"/>
                  </a:cxn>
                  <a:cxn ang="0">
                    <a:pos x="20" y="28"/>
                  </a:cxn>
                  <a:cxn ang="0">
                    <a:pos x="24" y="35"/>
                  </a:cxn>
                  <a:cxn ang="0">
                    <a:pos x="24" y="38"/>
                  </a:cxn>
                  <a:cxn ang="0">
                    <a:pos x="26" y="40"/>
                  </a:cxn>
                  <a:cxn ang="0">
                    <a:pos x="30" y="44"/>
                  </a:cxn>
                  <a:cxn ang="0">
                    <a:pos x="31" y="46"/>
                  </a:cxn>
                  <a:cxn ang="0">
                    <a:pos x="33" y="49"/>
                  </a:cxn>
                  <a:cxn ang="0">
                    <a:pos x="35" y="50"/>
                  </a:cxn>
                  <a:cxn ang="0">
                    <a:pos x="36" y="51"/>
                  </a:cxn>
                  <a:cxn ang="0">
                    <a:pos x="37" y="53"/>
                  </a:cxn>
                  <a:cxn ang="0">
                    <a:pos x="39" y="53"/>
                  </a:cxn>
                  <a:cxn ang="0">
                    <a:pos x="41" y="54"/>
                  </a:cxn>
                </a:cxnLst>
                <a:rect l="0" t="0" r="r" b="b"/>
                <a:pathLst>
                  <a:path w="45" h="55">
                    <a:moveTo>
                      <a:pt x="41" y="54"/>
                    </a:moveTo>
                    <a:lnTo>
                      <a:pt x="42" y="54"/>
                    </a:lnTo>
                    <a:lnTo>
                      <a:pt x="42" y="52"/>
                    </a:lnTo>
                    <a:lnTo>
                      <a:pt x="43" y="54"/>
                    </a:lnTo>
                    <a:lnTo>
                      <a:pt x="43" y="53"/>
                    </a:lnTo>
                    <a:lnTo>
                      <a:pt x="44" y="53"/>
                    </a:lnTo>
                    <a:lnTo>
                      <a:pt x="44" y="52"/>
                    </a:lnTo>
                    <a:lnTo>
                      <a:pt x="44" y="51"/>
                    </a:lnTo>
                    <a:lnTo>
                      <a:pt x="44" y="49"/>
                    </a:lnTo>
                    <a:lnTo>
                      <a:pt x="45" y="48"/>
                    </a:lnTo>
                    <a:lnTo>
                      <a:pt x="45" y="47"/>
                    </a:lnTo>
                    <a:lnTo>
                      <a:pt x="45" y="46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5" y="42"/>
                    </a:lnTo>
                    <a:lnTo>
                      <a:pt x="45" y="42"/>
                    </a:lnTo>
                    <a:lnTo>
                      <a:pt x="45" y="42"/>
                    </a:lnTo>
                    <a:lnTo>
                      <a:pt x="44" y="41"/>
                    </a:lnTo>
                    <a:lnTo>
                      <a:pt x="43" y="38"/>
                    </a:lnTo>
                    <a:lnTo>
                      <a:pt x="41" y="38"/>
                    </a:lnTo>
                    <a:lnTo>
                      <a:pt x="41" y="36"/>
                    </a:lnTo>
                    <a:lnTo>
                      <a:pt x="39" y="36"/>
                    </a:lnTo>
                    <a:lnTo>
                      <a:pt x="39" y="32"/>
                    </a:lnTo>
                    <a:lnTo>
                      <a:pt x="35" y="32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5" y="29"/>
                    </a:lnTo>
                    <a:lnTo>
                      <a:pt x="35" y="28"/>
                    </a:lnTo>
                    <a:lnTo>
                      <a:pt x="34" y="28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5" y="25"/>
                    </a:lnTo>
                    <a:lnTo>
                      <a:pt x="34" y="25"/>
                    </a:lnTo>
                    <a:lnTo>
                      <a:pt x="33" y="25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1" y="26"/>
                    </a:lnTo>
                    <a:lnTo>
                      <a:pt x="31" y="26"/>
                    </a:lnTo>
                    <a:lnTo>
                      <a:pt x="31" y="26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33" y="24"/>
                    </a:lnTo>
                    <a:lnTo>
                      <a:pt x="33" y="23"/>
                    </a:lnTo>
                    <a:lnTo>
                      <a:pt x="32" y="23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30" y="23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1"/>
                    </a:lnTo>
                    <a:lnTo>
                      <a:pt x="29" y="20"/>
                    </a:lnTo>
                    <a:lnTo>
                      <a:pt x="28" y="20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26" y="19"/>
                    </a:lnTo>
                    <a:lnTo>
                      <a:pt x="26" y="19"/>
                    </a:lnTo>
                    <a:lnTo>
                      <a:pt x="26" y="18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4" y="16"/>
                    </a:lnTo>
                    <a:lnTo>
                      <a:pt x="24" y="17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3" y="17"/>
                    </a:lnTo>
                    <a:lnTo>
                      <a:pt x="21" y="15"/>
                    </a:lnTo>
                    <a:lnTo>
                      <a:pt x="21" y="15"/>
                    </a:lnTo>
                    <a:lnTo>
                      <a:pt x="21" y="14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20" y="13"/>
                    </a:lnTo>
                    <a:lnTo>
                      <a:pt x="19" y="12"/>
                    </a:lnTo>
                    <a:lnTo>
                      <a:pt x="18" y="11"/>
                    </a:lnTo>
                    <a:lnTo>
                      <a:pt x="17" y="11"/>
                    </a:lnTo>
                    <a:lnTo>
                      <a:pt x="17" y="10"/>
                    </a:lnTo>
                    <a:lnTo>
                      <a:pt x="16" y="10"/>
                    </a:lnTo>
                    <a:lnTo>
                      <a:pt x="16" y="9"/>
                    </a:lnTo>
                    <a:lnTo>
                      <a:pt x="15" y="9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3" y="7"/>
                    </a:lnTo>
                    <a:lnTo>
                      <a:pt x="13" y="6"/>
                    </a:lnTo>
                    <a:lnTo>
                      <a:pt x="12" y="5"/>
                    </a:lnTo>
                    <a:lnTo>
                      <a:pt x="11" y="4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4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4" y="8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9" y="14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0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3" y="17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15" y="19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7" y="23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9" y="26"/>
                    </a:lnTo>
                    <a:lnTo>
                      <a:pt x="19" y="26"/>
                    </a:lnTo>
                    <a:lnTo>
                      <a:pt x="19" y="27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4" y="35"/>
                    </a:lnTo>
                    <a:lnTo>
                      <a:pt x="23" y="36"/>
                    </a:lnTo>
                    <a:lnTo>
                      <a:pt x="23" y="37"/>
                    </a:lnTo>
                    <a:lnTo>
                      <a:pt x="24" y="38"/>
                    </a:lnTo>
                    <a:lnTo>
                      <a:pt x="25" y="40"/>
                    </a:lnTo>
                    <a:lnTo>
                      <a:pt x="25" y="40"/>
                    </a:lnTo>
                    <a:lnTo>
                      <a:pt x="26" y="40"/>
                    </a:lnTo>
                    <a:lnTo>
                      <a:pt x="27" y="42"/>
                    </a:lnTo>
                    <a:lnTo>
                      <a:pt x="29" y="43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31" y="46"/>
                    </a:lnTo>
                    <a:lnTo>
                      <a:pt x="31" y="47"/>
                    </a:lnTo>
                    <a:lnTo>
                      <a:pt x="32" y="47"/>
                    </a:lnTo>
                    <a:lnTo>
                      <a:pt x="33" y="49"/>
                    </a:lnTo>
                    <a:lnTo>
                      <a:pt x="34" y="49"/>
                    </a:lnTo>
                    <a:lnTo>
                      <a:pt x="35" y="50"/>
                    </a:lnTo>
                    <a:lnTo>
                      <a:pt x="35" y="50"/>
                    </a:lnTo>
                    <a:lnTo>
                      <a:pt x="35" y="50"/>
                    </a:lnTo>
                    <a:lnTo>
                      <a:pt x="36" y="50"/>
                    </a:lnTo>
                    <a:lnTo>
                      <a:pt x="36" y="51"/>
                    </a:lnTo>
                    <a:lnTo>
                      <a:pt x="36" y="51"/>
                    </a:lnTo>
                    <a:lnTo>
                      <a:pt x="37" y="52"/>
                    </a:lnTo>
                    <a:lnTo>
                      <a:pt x="37" y="53"/>
                    </a:lnTo>
                    <a:lnTo>
                      <a:pt x="38" y="54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39" y="53"/>
                    </a:lnTo>
                    <a:lnTo>
                      <a:pt x="40" y="53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4" name="Freeform 80"/>
              <p:cNvSpPr>
                <a:spLocks/>
              </p:cNvSpPr>
              <p:nvPr/>
            </p:nvSpPr>
            <p:spPr bwMode="gray">
              <a:xfrm>
                <a:off x="5648326" y="4302125"/>
                <a:ext cx="12700" cy="23813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1" y="10"/>
                  </a:cxn>
                  <a:cxn ang="0">
                    <a:pos x="1" y="10"/>
                  </a:cxn>
                  <a:cxn ang="0">
                    <a:pos x="1" y="11"/>
                  </a:cxn>
                  <a:cxn ang="0">
                    <a:pos x="1" y="12"/>
                  </a:cxn>
                  <a:cxn ang="0">
                    <a:pos x="3" y="13"/>
                  </a:cxn>
                  <a:cxn ang="0">
                    <a:pos x="4" y="14"/>
                  </a:cxn>
                  <a:cxn ang="0">
                    <a:pos x="5" y="15"/>
                  </a:cxn>
                  <a:cxn ang="0">
                    <a:pos x="6" y="15"/>
                  </a:cxn>
                  <a:cxn ang="0">
                    <a:pos x="6" y="14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5" y="10"/>
                  </a:cxn>
                  <a:cxn ang="0">
                    <a:pos x="6" y="10"/>
                  </a:cxn>
                  <a:cxn ang="0">
                    <a:pos x="7" y="11"/>
                  </a:cxn>
                  <a:cxn ang="0">
                    <a:pos x="8" y="10"/>
                  </a:cxn>
                  <a:cxn ang="0">
                    <a:pos x="6" y="9"/>
                  </a:cxn>
                  <a:cxn ang="0">
                    <a:pos x="7" y="9"/>
                  </a:cxn>
                  <a:cxn ang="0">
                    <a:pos x="8" y="7"/>
                  </a:cxn>
                  <a:cxn ang="0">
                    <a:pos x="7" y="6"/>
                  </a:cxn>
                  <a:cxn ang="0">
                    <a:pos x="6" y="6"/>
                  </a:cxn>
                  <a:cxn ang="0">
                    <a:pos x="5" y="6"/>
                  </a:cxn>
                  <a:cxn ang="0">
                    <a:pos x="4" y="7"/>
                  </a:cxn>
                  <a:cxn ang="0">
                    <a:pos x="3" y="7"/>
                  </a:cxn>
                  <a:cxn ang="0">
                    <a:pos x="3" y="8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4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4" y="0"/>
                  </a:cxn>
                  <a:cxn ang="0">
                    <a:pos x="1" y="2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5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1" y="9"/>
                  </a:cxn>
                  <a:cxn ang="0">
                    <a:pos x="1" y="10"/>
                  </a:cxn>
                </a:cxnLst>
                <a:rect l="0" t="0" r="r" b="b"/>
                <a:pathLst>
                  <a:path w="8" h="15">
                    <a:moveTo>
                      <a:pt x="1" y="10"/>
                    </a:moveTo>
                    <a:lnTo>
                      <a:pt x="1" y="10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1" y="12"/>
                    </a:lnTo>
                    <a:lnTo>
                      <a:pt x="3" y="13"/>
                    </a:lnTo>
                    <a:lnTo>
                      <a:pt x="4" y="14"/>
                    </a:lnTo>
                    <a:lnTo>
                      <a:pt x="5" y="15"/>
                    </a:lnTo>
                    <a:lnTo>
                      <a:pt x="6" y="15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5" y="10"/>
                    </a:lnTo>
                    <a:lnTo>
                      <a:pt x="6" y="10"/>
                    </a:lnTo>
                    <a:lnTo>
                      <a:pt x="7" y="11"/>
                    </a:lnTo>
                    <a:lnTo>
                      <a:pt x="8" y="10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8" y="7"/>
                    </a:lnTo>
                    <a:lnTo>
                      <a:pt x="7" y="6"/>
                    </a:lnTo>
                    <a:lnTo>
                      <a:pt x="6" y="6"/>
                    </a:lnTo>
                    <a:lnTo>
                      <a:pt x="5" y="6"/>
                    </a:lnTo>
                    <a:lnTo>
                      <a:pt x="4" y="7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1" y="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5" name="Freeform 81"/>
              <p:cNvSpPr>
                <a:spLocks/>
              </p:cNvSpPr>
              <p:nvPr/>
            </p:nvSpPr>
            <p:spPr bwMode="gray">
              <a:xfrm>
                <a:off x="5591176" y="4389438"/>
                <a:ext cx="11113" cy="6350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6" y="2"/>
                  </a:cxn>
                </a:cxnLst>
                <a:rect l="0" t="0" r="r" b="b"/>
                <a:pathLst>
                  <a:path w="7" h="4">
                    <a:moveTo>
                      <a:pt x="6" y="2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6" name="Freeform 82"/>
              <p:cNvSpPr>
                <a:spLocks/>
              </p:cNvSpPr>
              <p:nvPr/>
            </p:nvSpPr>
            <p:spPr bwMode="gray">
              <a:xfrm>
                <a:off x="5653088" y="4338638"/>
                <a:ext cx="19050" cy="9525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10" y="4"/>
                  </a:cxn>
                  <a:cxn ang="0">
                    <a:pos x="11" y="3"/>
                  </a:cxn>
                  <a:cxn ang="0">
                    <a:pos x="10" y="2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7" y="2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11" y="6"/>
                  </a:cxn>
                  <a:cxn ang="0">
                    <a:pos x="12" y="5"/>
                  </a:cxn>
                </a:cxnLst>
                <a:rect l="0" t="0" r="r" b="b"/>
                <a:pathLst>
                  <a:path w="12" h="6">
                    <a:moveTo>
                      <a:pt x="12" y="5"/>
                    </a:moveTo>
                    <a:lnTo>
                      <a:pt x="10" y="4"/>
                    </a:lnTo>
                    <a:lnTo>
                      <a:pt x="11" y="3"/>
                    </a:lnTo>
                    <a:lnTo>
                      <a:pt x="10" y="2"/>
                    </a:lnTo>
                    <a:lnTo>
                      <a:pt x="10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6"/>
                    </a:lnTo>
                    <a:lnTo>
                      <a:pt x="12" y="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7" name="Freeform 83"/>
              <p:cNvSpPr>
                <a:spLocks/>
              </p:cNvSpPr>
              <p:nvPr/>
            </p:nvSpPr>
            <p:spPr bwMode="gray">
              <a:xfrm>
                <a:off x="5649913" y="4327525"/>
                <a:ext cx="3175" cy="4763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8" name="Freeform 84"/>
              <p:cNvSpPr>
                <a:spLocks/>
              </p:cNvSpPr>
              <p:nvPr/>
            </p:nvSpPr>
            <p:spPr bwMode="gray">
              <a:xfrm>
                <a:off x="5594351" y="4379913"/>
                <a:ext cx="25400" cy="63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5" y="0"/>
                  </a:cxn>
                  <a:cxn ang="0">
                    <a:pos x="13" y="2"/>
                  </a:cxn>
                  <a:cxn ang="0">
                    <a:pos x="12" y="1"/>
                  </a:cxn>
                  <a:cxn ang="0">
                    <a:pos x="11" y="1"/>
                  </a:cxn>
                  <a:cxn ang="0">
                    <a:pos x="10" y="1"/>
                  </a:cxn>
                  <a:cxn ang="0">
                    <a:pos x="10" y="2"/>
                  </a:cxn>
                  <a:cxn ang="0">
                    <a:pos x="9" y="2"/>
                  </a:cxn>
                  <a:cxn ang="0">
                    <a:pos x="9" y="1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1"/>
                  </a:cxn>
                  <a:cxn ang="0">
                    <a:pos x="3" y="3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12" y="3"/>
                  </a:cxn>
                  <a:cxn ang="0">
                    <a:pos x="14" y="2"/>
                  </a:cxn>
                  <a:cxn ang="0">
                    <a:pos x="16" y="1"/>
                  </a:cxn>
                  <a:cxn ang="0">
                    <a:pos x="16" y="0"/>
                  </a:cxn>
                </a:cxnLst>
                <a:rect l="0" t="0" r="r" b="b"/>
                <a:pathLst>
                  <a:path w="16" h="4">
                    <a:moveTo>
                      <a:pt x="16" y="0"/>
                    </a:moveTo>
                    <a:lnTo>
                      <a:pt x="15" y="0"/>
                    </a:lnTo>
                    <a:lnTo>
                      <a:pt x="13" y="2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10" y="2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12" y="3"/>
                    </a:lnTo>
                    <a:lnTo>
                      <a:pt x="14" y="2"/>
                    </a:lnTo>
                    <a:lnTo>
                      <a:pt x="16" y="1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89" name="Freeform 85"/>
              <p:cNvSpPr>
                <a:spLocks/>
              </p:cNvSpPr>
              <p:nvPr/>
            </p:nvSpPr>
            <p:spPr bwMode="gray">
              <a:xfrm>
                <a:off x="5692776" y="4360863"/>
                <a:ext cx="3175" cy="952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0" y="5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0" name="Freeform 86"/>
              <p:cNvSpPr>
                <a:spLocks/>
              </p:cNvSpPr>
              <p:nvPr/>
            </p:nvSpPr>
            <p:spPr bwMode="gray">
              <a:xfrm>
                <a:off x="5640388" y="4341813"/>
                <a:ext cx="6350" cy="4763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4" y="1"/>
                  </a:cxn>
                  <a:cxn ang="0">
                    <a:pos x="4" y="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1" name="Freeform 87"/>
              <p:cNvSpPr>
                <a:spLocks/>
              </p:cNvSpPr>
              <p:nvPr/>
            </p:nvSpPr>
            <p:spPr bwMode="gray">
              <a:xfrm>
                <a:off x="5495926" y="4322763"/>
                <a:ext cx="3175" cy="476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2" name="Freeform 88"/>
              <p:cNvSpPr>
                <a:spLocks/>
              </p:cNvSpPr>
              <p:nvPr/>
            </p:nvSpPr>
            <p:spPr bwMode="gray">
              <a:xfrm>
                <a:off x="5497513" y="4310063"/>
                <a:ext cx="1588" cy="317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3" name="Freeform 89"/>
              <p:cNvSpPr>
                <a:spLocks/>
              </p:cNvSpPr>
              <p:nvPr/>
            </p:nvSpPr>
            <p:spPr bwMode="gray">
              <a:xfrm>
                <a:off x="5500688" y="4329113"/>
                <a:ext cx="12700" cy="12700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5"/>
                  </a:cxn>
                  <a:cxn ang="0">
                    <a:pos x="4" y="7"/>
                  </a:cxn>
                  <a:cxn ang="0">
                    <a:pos x="5" y="7"/>
                  </a:cxn>
                  <a:cxn ang="0">
                    <a:pos x="6" y="8"/>
                  </a:cxn>
                  <a:cxn ang="0">
                    <a:pos x="7" y="8"/>
                  </a:cxn>
                  <a:cxn ang="0">
                    <a:pos x="8" y="8"/>
                  </a:cxn>
                  <a:cxn ang="0">
                    <a:pos x="7" y="6"/>
                  </a:cxn>
                  <a:cxn ang="0">
                    <a:pos x="6" y="5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5" y="2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3" y="3"/>
                  </a:cxn>
                </a:cxnLst>
                <a:rect l="0" t="0" r="r" b="b"/>
                <a:pathLst>
                  <a:path w="8" h="8">
                    <a:moveTo>
                      <a:pt x="3" y="3"/>
                    </a:moveTo>
                    <a:lnTo>
                      <a:pt x="3" y="4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4" y="7"/>
                    </a:lnTo>
                    <a:lnTo>
                      <a:pt x="5" y="7"/>
                    </a:lnTo>
                    <a:lnTo>
                      <a:pt x="6" y="8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7" y="6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4" name="Freeform 90"/>
              <p:cNvSpPr>
                <a:spLocks/>
              </p:cNvSpPr>
              <p:nvPr/>
            </p:nvSpPr>
            <p:spPr bwMode="gray">
              <a:xfrm>
                <a:off x="5497513" y="4316413"/>
                <a:ext cx="3175" cy="476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5" name="Freeform 91"/>
              <p:cNvSpPr>
                <a:spLocks/>
              </p:cNvSpPr>
              <p:nvPr/>
            </p:nvSpPr>
            <p:spPr bwMode="gray">
              <a:xfrm>
                <a:off x="5670551" y="4373563"/>
                <a:ext cx="6350" cy="63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4" y="2"/>
                  </a:cxn>
                  <a:cxn ang="0">
                    <a:pos x="4" y="1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lnTo>
                      <a:pt x="2" y="1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6" name="Freeform 92"/>
              <p:cNvSpPr>
                <a:spLocks/>
              </p:cNvSpPr>
              <p:nvPr/>
            </p:nvSpPr>
            <p:spPr bwMode="gray">
              <a:xfrm>
                <a:off x="5516563" y="4338638"/>
                <a:ext cx="6350" cy="6350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3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4" h="4">
                    <a:moveTo>
                      <a:pt x="1" y="2"/>
                    </a:moveTo>
                    <a:lnTo>
                      <a:pt x="1" y="3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7" name="Freeform 93"/>
              <p:cNvSpPr>
                <a:spLocks/>
              </p:cNvSpPr>
              <p:nvPr/>
            </p:nvSpPr>
            <p:spPr bwMode="gray">
              <a:xfrm>
                <a:off x="5600701" y="4362450"/>
                <a:ext cx="3175" cy="476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8" name="Freeform 94"/>
              <p:cNvSpPr>
                <a:spLocks/>
              </p:cNvSpPr>
              <p:nvPr/>
            </p:nvSpPr>
            <p:spPr bwMode="gray">
              <a:xfrm>
                <a:off x="5465763" y="4333875"/>
                <a:ext cx="1588" cy="317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599" name="Freeform 95"/>
              <p:cNvSpPr>
                <a:spLocks/>
              </p:cNvSpPr>
              <p:nvPr/>
            </p:nvSpPr>
            <p:spPr bwMode="gray">
              <a:xfrm>
                <a:off x="5627688" y="4378325"/>
                <a:ext cx="1588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0" name="Freeform 96"/>
              <p:cNvSpPr>
                <a:spLocks/>
              </p:cNvSpPr>
              <p:nvPr/>
            </p:nvSpPr>
            <p:spPr bwMode="gray">
              <a:xfrm>
                <a:off x="5456238" y="4318000"/>
                <a:ext cx="3175" cy="635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4">
                    <a:moveTo>
                      <a:pt x="0" y="1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1" name="Freeform 97"/>
              <p:cNvSpPr>
                <a:spLocks/>
              </p:cNvSpPr>
              <p:nvPr/>
            </p:nvSpPr>
            <p:spPr bwMode="gray">
              <a:xfrm>
                <a:off x="5478463" y="4303713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2" name="Freeform 98"/>
              <p:cNvSpPr>
                <a:spLocks/>
              </p:cNvSpPr>
              <p:nvPr/>
            </p:nvSpPr>
            <p:spPr bwMode="gray">
              <a:xfrm>
                <a:off x="5465763" y="4338638"/>
                <a:ext cx="4763" cy="476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2" y="1"/>
                  </a:cxn>
                </a:cxnLst>
                <a:rect l="0" t="0" r="r" b="b"/>
                <a:pathLst>
                  <a:path w="3" h="3">
                    <a:moveTo>
                      <a:pt x="2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3" name="Freeform 99"/>
              <p:cNvSpPr>
                <a:spLocks/>
              </p:cNvSpPr>
              <p:nvPr/>
            </p:nvSpPr>
            <p:spPr bwMode="gray">
              <a:xfrm>
                <a:off x="5459413" y="4325938"/>
                <a:ext cx="3175" cy="6350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1"/>
                  </a:cxn>
                </a:cxnLst>
                <a:rect l="0" t="0" r="r" b="b"/>
                <a:pathLst>
                  <a:path w="2" h="4">
                    <a:moveTo>
                      <a:pt x="2" y="1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4" name="Freeform 100"/>
              <p:cNvSpPr>
                <a:spLocks/>
              </p:cNvSpPr>
              <p:nvPr/>
            </p:nvSpPr>
            <p:spPr bwMode="gray">
              <a:xfrm>
                <a:off x="5448301" y="4306888"/>
                <a:ext cx="6350" cy="7938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3" y="3"/>
                  </a:cxn>
                  <a:cxn ang="0">
                    <a:pos x="3" y="2"/>
                  </a:cxn>
                </a:cxnLst>
                <a:rect l="0" t="0" r="r" b="b"/>
                <a:pathLst>
                  <a:path w="4" h="5">
                    <a:moveTo>
                      <a:pt x="3" y="2"/>
                    </a:moveTo>
                    <a:lnTo>
                      <a:pt x="3" y="2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5" name="Freeform 101"/>
              <p:cNvSpPr>
                <a:spLocks/>
              </p:cNvSpPr>
              <p:nvPr/>
            </p:nvSpPr>
            <p:spPr bwMode="gray">
              <a:xfrm>
                <a:off x="5438776" y="4297363"/>
                <a:ext cx="4763" cy="476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2" y="1"/>
                  </a:cxn>
                </a:cxnLst>
                <a:rect l="0" t="0" r="r" b="b"/>
                <a:pathLst>
                  <a:path w="3" h="3">
                    <a:moveTo>
                      <a:pt x="2" y="1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6" name="Freeform 102"/>
              <p:cNvSpPr>
                <a:spLocks/>
              </p:cNvSpPr>
              <p:nvPr/>
            </p:nvSpPr>
            <p:spPr bwMode="gray">
              <a:xfrm>
                <a:off x="5622926" y="4386263"/>
                <a:ext cx="4763" cy="31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7" name="Freeform 103"/>
              <p:cNvSpPr>
                <a:spLocks/>
              </p:cNvSpPr>
              <p:nvPr/>
            </p:nvSpPr>
            <p:spPr bwMode="gray">
              <a:xfrm>
                <a:off x="5619751" y="4379913"/>
                <a:ext cx="26988" cy="17463"/>
              </a:xfrm>
              <a:custGeom>
                <a:avLst/>
                <a:gdLst/>
                <a:ahLst/>
                <a:cxnLst>
                  <a:cxn ang="0">
                    <a:pos x="14" y="1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7" y="2"/>
                  </a:cxn>
                  <a:cxn ang="0">
                    <a:pos x="7" y="3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6" y="3"/>
                  </a:cxn>
                  <a:cxn ang="0">
                    <a:pos x="5" y="5"/>
                  </a:cxn>
                  <a:cxn ang="0">
                    <a:pos x="5" y="6"/>
                  </a:cxn>
                  <a:cxn ang="0">
                    <a:pos x="4" y="6"/>
                  </a:cxn>
                  <a:cxn ang="0">
                    <a:pos x="3" y="6"/>
                  </a:cxn>
                  <a:cxn ang="0">
                    <a:pos x="1" y="8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0" y="10"/>
                  </a:cxn>
                  <a:cxn ang="0">
                    <a:pos x="1" y="11"/>
                  </a:cxn>
                  <a:cxn ang="0">
                    <a:pos x="2" y="11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8" y="6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2" y="5"/>
                  </a:cxn>
                  <a:cxn ang="0">
                    <a:pos x="13" y="4"/>
                  </a:cxn>
                  <a:cxn ang="0">
                    <a:pos x="14" y="3"/>
                  </a:cxn>
                  <a:cxn ang="0">
                    <a:pos x="15" y="3"/>
                  </a:cxn>
                  <a:cxn ang="0">
                    <a:pos x="17" y="1"/>
                  </a:cxn>
                  <a:cxn ang="0">
                    <a:pos x="16" y="0"/>
                  </a:cxn>
                  <a:cxn ang="0">
                    <a:pos x="14" y="1"/>
                  </a:cxn>
                </a:cxnLst>
                <a:rect l="0" t="0" r="r" b="b"/>
                <a:pathLst>
                  <a:path w="17" h="11">
                    <a:moveTo>
                      <a:pt x="14" y="1"/>
                    </a:moveTo>
                    <a:lnTo>
                      <a:pt x="9" y="1"/>
                    </a:lnTo>
                    <a:lnTo>
                      <a:pt x="9" y="1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5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4" y="3"/>
                    </a:lnTo>
                    <a:lnTo>
                      <a:pt x="15" y="3"/>
                    </a:lnTo>
                    <a:lnTo>
                      <a:pt x="17" y="1"/>
                    </a:lnTo>
                    <a:lnTo>
                      <a:pt x="16" y="0"/>
                    </a:lnTo>
                    <a:lnTo>
                      <a:pt x="14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08" name="Freeform 104"/>
              <p:cNvSpPr>
                <a:spLocks noEditPoints="1"/>
              </p:cNvSpPr>
              <p:nvPr/>
            </p:nvSpPr>
            <p:spPr bwMode="gray">
              <a:xfrm>
                <a:off x="5524501" y="4398963"/>
                <a:ext cx="263525" cy="246063"/>
              </a:xfrm>
              <a:custGeom>
                <a:avLst/>
                <a:gdLst/>
                <a:ahLst/>
                <a:cxnLst>
                  <a:cxn ang="0">
                    <a:pos x="86" y="117"/>
                  </a:cxn>
                  <a:cxn ang="0">
                    <a:pos x="87" y="117"/>
                  </a:cxn>
                  <a:cxn ang="0">
                    <a:pos x="160" y="58"/>
                  </a:cxn>
                  <a:cxn ang="0">
                    <a:pos x="158" y="53"/>
                  </a:cxn>
                  <a:cxn ang="0">
                    <a:pos x="156" y="47"/>
                  </a:cxn>
                  <a:cxn ang="0">
                    <a:pos x="147" y="37"/>
                  </a:cxn>
                  <a:cxn ang="0">
                    <a:pos x="145" y="17"/>
                  </a:cxn>
                  <a:cxn ang="0">
                    <a:pos x="140" y="6"/>
                  </a:cxn>
                  <a:cxn ang="0">
                    <a:pos x="134" y="4"/>
                  </a:cxn>
                  <a:cxn ang="0">
                    <a:pos x="131" y="15"/>
                  </a:cxn>
                  <a:cxn ang="0">
                    <a:pos x="126" y="32"/>
                  </a:cxn>
                  <a:cxn ang="0">
                    <a:pos x="111" y="25"/>
                  </a:cxn>
                  <a:cxn ang="0">
                    <a:pos x="111" y="13"/>
                  </a:cxn>
                  <a:cxn ang="0">
                    <a:pos x="106" y="7"/>
                  </a:cxn>
                  <a:cxn ang="0">
                    <a:pos x="95" y="2"/>
                  </a:cxn>
                  <a:cxn ang="0">
                    <a:pos x="92" y="5"/>
                  </a:cxn>
                  <a:cxn ang="0">
                    <a:pos x="86" y="9"/>
                  </a:cxn>
                  <a:cxn ang="0">
                    <a:pos x="80" y="18"/>
                  </a:cxn>
                  <a:cxn ang="0">
                    <a:pos x="76" y="24"/>
                  </a:cxn>
                  <a:cxn ang="0">
                    <a:pos x="71" y="14"/>
                  </a:cxn>
                  <a:cxn ang="0">
                    <a:pos x="66" y="20"/>
                  </a:cxn>
                  <a:cxn ang="0">
                    <a:pos x="59" y="24"/>
                  </a:cxn>
                  <a:cxn ang="0">
                    <a:pos x="55" y="30"/>
                  </a:cxn>
                  <a:cxn ang="0">
                    <a:pos x="46" y="35"/>
                  </a:cxn>
                  <a:cxn ang="0">
                    <a:pos x="37" y="44"/>
                  </a:cxn>
                  <a:cxn ang="0">
                    <a:pos x="19" y="49"/>
                  </a:cxn>
                  <a:cxn ang="0">
                    <a:pos x="11" y="54"/>
                  </a:cxn>
                  <a:cxn ang="0">
                    <a:pos x="4" y="65"/>
                  </a:cxn>
                  <a:cxn ang="0">
                    <a:pos x="4" y="71"/>
                  </a:cxn>
                  <a:cxn ang="0">
                    <a:pos x="5" y="84"/>
                  </a:cxn>
                  <a:cxn ang="0">
                    <a:pos x="5" y="94"/>
                  </a:cxn>
                  <a:cxn ang="0">
                    <a:pos x="5" y="107"/>
                  </a:cxn>
                  <a:cxn ang="0">
                    <a:pos x="7" y="115"/>
                  </a:cxn>
                  <a:cxn ang="0">
                    <a:pos x="25" y="111"/>
                  </a:cxn>
                  <a:cxn ang="0">
                    <a:pos x="37" y="110"/>
                  </a:cxn>
                  <a:cxn ang="0">
                    <a:pos x="45" y="103"/>
                  </a:cxn>
                  <a:cxn ang="0">
                    <a:pos x="65" y="98"/>
                  </a:cxn>
                  <a:cxn ang="0">
                    <a:pos x="79" y="101"/>
                  </a:cxn>
                  <a:cxn ang="0">
                    <a:pos x="84" y="109"/>
                  </a:cxn>
                  <a:cxn ang="0">
                    <a:pos x="86" y="113"/>
                  </a:cxn>
                  <a:cxn ang="0">
                    <a:pos x="96" y="104"/>
                  </a:cxn>
                  <a:cxn ang="0">
                    <a:pos x="95" y="106"/>
                  </a:cxn>
                  <a:cxn ang="0">
                    <a:pos x="89" y="116"/>
                  </a:cxn>
                  <a:cxn ang="0">
                    <a:pos x="95" y="115"/>
                  </a:cxn>
                  <a:cxn ang="0">
                    <a:pos x="95" y="126"/>
                  </a:cxn>
                  <a:cxn ang="0">
                    <a:pos x="113" y="132"/>
                  </a:cxn>
                  <a:cxn ang="0">
                    <a:pos x="119" y="135"/>
                  </a:cxn>
                  <a:cxn ang="0">
                    <a:pos x="129" y="129"/>
                  </a:cxn>
                  <a:cxn ang="0">
                    <a:pos x="141" y="118"/>
                  </a:cxn>
                  <a:cxn ang="0">
                    <a:pos x="150" y="105"/>
                  </a:cxn>
                  <a:cxn ang="0">
                    <a:pos x="159" y="93"/>
                  </a:cxn>
                  <a:cxn ang="0">
                    <a:pos x="166" y="68"/>
                  </a:cxn>
                  <a:cxn ang="0">
                    <a:pos x="115" y="144"/>
                  </a:cxn>
                  <a:cxn ang="0">
                    <a:pos x="104" y="141"/>
                  </a:cxn>
                  <a:cxn ang="0">
                    <a:pos x="102" y="148"/>
                  </a:cxn>
                  <a:cxn ang="0">
                    <a:pos x="105" y="155"/>
                  </a:cxn>
                  <a:cxn ang="0">
                    <a:pos x="113" y="152"/>
                  </a:cxn>
                  <a:cxn ang="0">
                    <a:pos x="117" y="143"/>
                  </a:cxn>
                  <a:cxn ang="0">
                    <a:pos x="112" y="14"/>
                  </a:cxn>
                  <a:cxn ang="0">
                    <a:pos x="119" y="140"/>
                  </a:cxn>
                </a:cxnLst>
                <a:rect l="0" t="0" r="r" b="b"/>
                <a:pathLst>
                  <a:path w="166" h="155">
                    <a:moveTo>
                      <a:pt x="90" y="4"/>
                    </a:moveTo>
                    <a:lnTo>
                      <a:pt x="90" y="3"/>
                    </a:lnTo>
                    <a:lnTo>
                      <a:pt x="89" y="3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8" y="5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89" y="5"/>
                    </a:lnTo>
                    <a:lnTo>
                      <a:pt x="90" y="5"/>
                    </a:lnTo>
                    <a:lnTo>
                      <a:pt x="90" y="4"/>
                    </a:lnTo>
                    <a:lnTo>
                      <a:pt x="90" y="4"/>
                    </a:lnTo>
                    <a:close/>
                    <a:moveTo>
                      <a:pt x="87" y="117"/>
                    </a:moveTo>
                    <a:lnTo>
                      <a:pt x="86" y="117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5" y="119"/>
                    </a:lnTo>
                    <a:lnTo>
                      <a:pt x="85" y="120"/>
                    </a:lnTo>
                    <a:lnTo>
                      <a:pt x="86" y="120"/>
                    </a:lnTo>
                    <a:lnTo>
                      <a:pt x="87" y="119"/>
                    </a:lnTo>
                    <a:lnTo>
                      <a:pt x="88" y="119"/>
                    </a:lnTo>
                    <a:lnTo>
                      <a:pt x="89" y="119"/>
                    </a:lnTo>
                    <a:lnTo>
                      <a:pt x="89" y="118"/>
                    </a:lnTo>
                    <a:lnTo>
                      <a:pt x="90" y="118"/>
                    </a:lnTo>
                    <a:lnTo>
                      <a:pt x="90" y="118"/>
                    </a:lnTo>
                    <a:lnTo>
                      <a:pt x="89" y="118"/>
                    </a:lnTo>
                    <a:lnTo>
                      <a:pt x="88" y="117"/>
                    </a:lnTo>
                    <a:lnTo>
                      <a:pt x="87" y="117"/>
                    </a:lnTo>
                    <a:lnTo>
                      <a:pt x="87" y="117"/>
                    </a:lnTo>
                    <a:close/>
                    <a:moveTo>
                      <a:pt x="164" y="68"/>
                    </a:moveTo>
                    <a:lnTo>
                      <a:pt x="164" y="66"/>
                    </a:lnTo>
                    <a:lnTo>
                      <a:pt x="164" y="65"/>
                    </a:lnTo>
                    <a:lnTo>
                      <a:pt x="164" y="64"/>
                    </a:lnTo>
                    <a:lnTo>
                      <a:pt x="163" y="63"/>
                    </a:lnTo>
                    <a:lnTo>
                      <a:pt x="163" y="63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2" y="62"/>
                    </a:lnTo>
                    <a:lnTo>
                      <a:pt x="161" y="61"/>
                    </a:lnTo>
                    <a:lnTo>
                      <a:pt x="161" y="59"/>
                    </a:lnTo>
                    <a:lnTo>
                      <a:pt x="160" y="59"/>
                    </a:lnTo>
                    <a:lnTo>
                      <a:pt x="160" y="58"/>
                    </a:lnTo>
                    <a:lnTo>
                      <a:pt x="159" y="58"/>
                    </a:lnTo>
                    <a:lnTo>
                      <a:pt x="159" y="58"/>
                    </a:lnTo>
                    <a:lnTo>
                      <a:pt x="159" y="58"/>
                    </a:lnTo>
                    <a:lnTo>
                      <a:pt x="159" y="58"/>
                    </a:lnTo>
                    <a:lnTo>
                      <a:pt x="160" y="58"/>
                    </a:lnTo>
                    <a:lnTo>
                      <a:pt x="161" y="57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0" y="55"/>
                    </a:lnTo>
                    <a:lnTo>
                      <a:pt x="160" y="55"/>
                    </a:lnTo>
                    <a:lnTo>
                      <a:pt x="160" y="54"/>
                    </a:lnTo>
                    <a:lnTo>
                      <a:pt x="159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5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3"/>
                    </a:lnTo>
                    <a:lnTo>
                      <a:pt x="157" y="53"/>
                    </a:lnTo>
                    <a:lnTo>
                      <a:pt x="157" y="52"/>
                    </a:lnTo>
                    <a:lnTo>
                      <a:pt x="158" y="51"/>
                    </a:lnTo>
                    <a:lnTo>
                      <a:pt x="158" y="50"/>
                    </a:lnTo>
                    <a:lnTo>
                      <a:pt x="157" y="49"/>
                    </a:lnTo>
                    <a:lnTo>
                      <a:pt x="157" y="49"/>
                    </a:lnTo>
                    <a:lnTo>
                      <a:pt x="157" y="49"/>
                    </a:lnTo>
                    <a:lnTo>
                      <a:pt x="156" y="48"/>
                    </a:lnTo>
                    <a:lnTo>
                      <a:pt x="156" y="47"/>
                    </a:lnTo>
                    <a:lnTo>
                      <a:pt x="156" y="47"/>
                    </a:lnTo>
                    <a:lnTo>
                      <a:pt x="156" y="46"/>
                    </a:lnTo>
                    <a:lnTo>
                      <a:pt x="156" y="45"/>
                    </a:lnTo>
                    <a:lnTo>
                      <a:pt x="156" y="44"/>
                    </a:lnTo>
                    <a:lnTo>
                      <a:pt x="156" y="44"/>
                    </a:lnTo>
                    <a:lnTo>
                      <a:pt x="154" y="43"/>
                    </a:lnTo>
                    <a:lnTo>
                      <a:pt x="152" y="42"/>
                    </a:lnTo>
                    <a:lnTo>
                      <a:pt x="151" y="41"/>
                    </a:lnTo>
                    <a:lnTo>
                      <a:pt x="150" y="41"/>
                    </a:lnTo>
                    <a:lnTo>
                      <a:pt x="150" y="41"/>
                    </a:lnTo>
                    <a:lnTo>
                      <a:pt x="149" y="41"/>
                    </a:lnTo>
                    <a:lnTo>
                      <a:pt x="149" y="40"/>
                    </a:lnTo>
                    <a:lnTo>
                      <a:pt x="148" y="39"/>
                    </a:lnTo>
                    <a:lnTo>
                      <a:pt x="148" y="38"/>
                    </a:lnTo>
                    <a:lnTo>
                      <a:pt x="147" y="37"/>
                    </a:lnTo>
                    <a:lnTo>
                      <a:pt x="147" y="35"/>
                    </a:lnTo>
                    <a:lnTo>
                      <a:pt x="148" y="34"/>
                    </a:lnTo>
                    <a:lnTo>
                      <a:pt x="148" y="33"/>
                    </a:lnTo>
                    <a:lnTo>
                      <a:pt x="148" y="32"/>
                    </a:lnTo>
                    <a:lnTo>
                      <a:pt x="148" y="30"/>
                    </a:lnTo>
                    <a:lnTo>
                      <a:pt x="147" y="27"/>
                    </a:lnTo>
                    <a:lnTo>
                      <a:pt x="146" y="25"/>
                    </a:lnTo>
                    <a:lnTo>
                      <a:pt x="146" y="23"/>
                    </a:lnTo>
                    <a:lnTo>
                      <a:pt x="146" y="23"/>
                    </a:lnTo>
                    <a:lnTo>
                      <a:pt x="147" y="22"/>
                    </a:lnTo>
                    <a:lnTo>
                      <a:pt x="147" y="19"/>
                    </a:lnTo>
                    <a:lnTo>
                      <a:pt x="146" y="18"/>
                    </a:lnTo>
                    <a:lnTo>
                      <a:pt x="146" y="18"/>
                    </a:lnTo>
                    <a:lnTo>
                      <a:pt x="145" y="17"/>
                    </a:lnTo>
                    <a:lnTo>
                      <a:pt x="144" y="17"/>
                    </a:lnTo>
                    <a:lnTo>
                      <a:pt x="144" y="16"/>
                    </a:lnTo>
                    <a:lnTo>
                      <a:pt x="143" y="16"/>
                    </a:lnTo>
                    <a:lnTo>
                      <a:pt x="142" y="16"/>
                    </a:lnTo>
                    <a:lnTo>
                      <a:pt x="142" y="17"/>
                    </a:lnTo>
                    <a:lnTo>
                      <a:pt x="141" y="17"/>
                    </a:lnTo>
                    <a:lnTo>
                      <a:pt x="141" y="17"/>
                    </a:lnTo>
                    <a:lnTo>
                      <a:pt x="141" y="16"/>
                    </a:lnTo>
                    <a:lnTo>
                      <a:pt x="141" y="15"/>
                    </a:lnTo>
                    <a:lnTo>
                      <a:pt x="141" y="13"/>
                    </a:lnTo>
                    <a:lnTo>
                      <a:pt x="141" y="13"/>
                    </a:lnTo>
                    <a:lnTo>
                      <a:pt x="141" y="12"/>
                    </a:lnTo>
                    <a:lnTo>
                      <a:pt x="140" y="11"/>
                    </a:lnTo>
                    <a:lnTo>
                      <a:pt x="140" y="6"/>
                    </a:lnTo>
                    <a:lnTo>
                      <a:pt x="140" y="5"/>
                    </a:lnTo>
                    <a:lnTo>
                      <a:pt x="139" y="4"/>
                    </a:lnTo>
                    <a:lnTo>
                      <a:pt x="139" y="4"/>
                    </a:lnTo>
                    <a:lnTo>
                      <a:pt x="139" y="3"/>
                    </a:lnTo>
                    <a:lnTo>
                      <a:pt x="139" y="1"/>
                    </a:lnTo>
                    <a:lnTo>
                      <a:pt x="139" y="1"/>
                    </a:lnTo>
                    <a:lnTo>
                      <a:pt x="138" y="1"/>
                    </a:lnTo>
                    <a:lnTo>
                      <a:pt x="138" y="0"/>
                    </a:lnTo>
                    <a:lnTo>
                      <a:pt x="136" y="1"/>
                    </a:lnTo>
                    <a:lnTo>
                      <a:pt x="135" y="2"/>
                    </a:lnTo>
                    <a:lnTo>
                      <a:pt x="135" y="2"/>
                    </a:lnTo>
                    <a:lnTo>
                      <a:pt x="134" y="2"/>
                    </a:lnTo>
                    <a:lnTo>
                      <a:pt x="134" y="3"/>
                    </a:lnTo>
                    <a:lnTo>
                      <a:pt x="134" y="4"/>
                    </a:lnTo>
                    <a:lnTo>
                      <a:pt x="134" y="5"/>
                    </a:lnTo>
                    <a:lnTo>
                      <a:pt x="134" y="5"/>
                    </a:lnTo>
                    <a:lnTo>
                      <a:pt x="134" y="6"/>
                    </a:lnTo>
                    <a:lnTo>
                      <a:pt x="134" y="7"/>
                    </a:lnTo>
                    <a:lnTo>
                      <a:pt x="134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1" y="11"/>
                    </a:lnTo>
                    <a:lnTo>
                      <a:pt x="132" y="11"/>
                    </a:lnTo>
                    <a:lnTo>
                      <a:pt x="132" y="12"/>
                    </a:lnTo>
                    <a:lnTo>
                      <a:pt x="132" y="12"/>
                    </a:lnTo>
                    <a:lnTo>
                      <a:pt x="131" y="13"/>
                    </a:lnTo>
                    <a:lnTo>
                      <a:pt x="131" y="14"/>
                    </a:lnTo>
                    <a:lnTo>
                      <a:pt x="131" y="15"/>
                    </a:lnTo>
                    <a:lnTo>
                      <a:pt x="131" y="16"/>
                    </a:lnTo>
                    <a:lnTo>
                      <a:pt x="131" y="17"/>
                    </a:lnTo>
                    <a:lnTo>
                      <a:pt x="131" y="18"/>
                    </a:lnTo>
                    <a:lnTo>
                      <a:pt x="130" y="24"/>
                    </a:lnTo>
                    <a:lnTo>
                      <a:pt x="129" y="25"/>
                    </a:lnTo>
                    <a:lnTo>
                      <a:pt x="129" y="25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7" y="28"/>
                    </a:lnTo>
                    <a:lnTo>
                      <a:pt x="127" y="29"/>
                    </a:lnTo>
                    <a:lnTo>
                      <a:pt x="127" y="30"/>
                    </a:lnTo>
                    <a:lnTo>
                      <a:pt x="127" y="31"/>
                    </a:lnTo>
                    <a:lnTo>
                      <a:pt x="126" y="32"/>
                    </a:lnTo>
                    <a:lnTo>
                      <a:pt x="126" y="32"/>
                    </a:lnTo>
                    <a:lnTo>
                      <a:pt x="123" y="33"/>
                    </a:lnTo>
                    <a:lnTo>
                      <a:pt x="122" y="33"/>
                    </a:lnTo>
                    <a:lnTo>
                      <a:pt x="121" y="34"/>
                    </a:lnTo>
                    <a:lnTo>
                      <a:pt x="120" y="34"/>
                    </a:lnTo>
                    <a:lnTo>
                      <a:pt x="120" y="33"/>
                    </a:lnTo>
                    <a:lnTo>
                      <a:pt x="120" y="33"/>
                    </a:lnTo>
                    <a:lnTo>
                      <a:pt x="119" y="30"/>
                    </a:lnTo>
                    <a:lnTo>
                      <a:pt x="118" y="30"/>
                    </a:lnTo>
                    <a:lnTo>
                      <a:pt x="117" y="29"/>
                    </a:lnTo>
                    <a:lnTo>
                      <a:pt x="115" y="28"/>
                    </a:lnTo>
                    <a:lnTo>
                      <a:pt x="113" y="27"/>
                    </a:lnTo>
                    <a:lnTo>
                      <a:pt x="112" y="26"/>
                    </a:lnTo>
                    <a:lnTo>
                      <a:pt x="111" y="25"/>
                    </a:lnTo>
                    <a:lnTo>
                      <a:pt x="111" y="25"/>
                    </a:lnTo>
                    <a:lnTo>
                      <a:pt x="110" y="23"/>
                    </a:lnTo>
                    <a:lnTo>
                      <a:pt x="110" y="23"/>
                    </a:lnTo>
                    <a:lnTo>
                      <a:pt x="107" y="23"/>
                    </a:lnTo>
                    <a:lnTo>
                      <a:pt x="106" y="20"/>
                    </a:lnTo>
                    <a:lnTo>
                      <a:pt x="107" y="19"/>
                    </a:lnTo>
                    <a:lnTo>
                      <a:pt x="107" y="18"/>
                    </a:lnTo>
                    <a:lnTo>
                      <a:pt x="107" y="17"/>
                    </a:lnTo>
                    <a:lnTo>
                      <a:pt x="108" y="17"/>
                    </a:lnTo>
                    <a:lnTo>
                      <a:pt x="108" y="17"/>
                    </a:lnTo>
                    <a:lnTo>
                      <a:pt x="109" y="16"/>
                    </a:lnTo>
                    <a:lnTo>
                      <a:pt x="108" y="13"/>
                    </a:lnTo>
                    <a:lnTo>
                      <a:pt x="110" y="12"/>
                    </a:lnTo>
                    <a:lnTo>
                      <a:pt x="110" y="13"/>
                    </a:lnTo>
                    <a:lnTo>
                      <a:pt x="111" y="13"/>
                    </a:lnTo>
                    <a:lnTo>
                      <a:pt x="111" y="13"/>
                    </a:lnTo>
                    <a:lnTo>
                      <a:pt x="111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2" y="6"/>
                    </a:lnTo>
                    <a:lnTo>
                      <a:pt x="111" y="6"/>
                    </a:lnTo>
                    <a:lnTo>
                      <a:pt x="110" y="7"/>
                    </a:lnTo>
                    <a:lnTo>
                      <a:pt x="108" y="7"/>
                    </a:lnTo>
                    <a:lnTo>
                      <a:pt x="108" y="8"/>
                    </a:lnTo>
                    <a:lnTo>
                      <a:pt x="108" y="7"/>
                    </a:lnTo>
                    <a:lnTo>
                      <a:pt x="106" y="7"/>
                    </a:lnTo>
                    <a:lnTo>
                      <a:pt x="105" y="8"/>
                    </a:lnTo>
                    <a:lnTo>
                      <a:pt x="105" y="7"/>
                    </a:lnTo>
                    <a:lnTo>
                      <a:pt x="103" y="7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1" y="6"/>
                    </a:lnTo>
                    <a:lnTo>
                      <a:pt x="101" y="5"/>
                    </a:lnTo>
                    <a:lnTo>
                      <a:pt x="98" y="5"/>
                    </a:lnTo>
                    <a:lnTo>
                      <a:pt x="98" y="5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6" y="4"/>
                    </a:lnTo>
                    <a:lnTo>
                      <a:pt x="96" y="3"/>
                    </a:lnTo>
                    <a:lnTo>
                      <a:pt x="95" y="2"/>
                    </a:lnTo>
                    <a:lnTo>
                      <a:pt x="95" y="2"/>
                    </a:lnTo>
                    <a:lnTo>
                      <a:pt x="95" y="3"/>
                    </a:lnTo>
                    <a:lnTo>
                      <a:pt x="95" y="3"/>
                    </a:lnTo>
                    <a:lnTo>
                      <a:pt x="94" y="3"/>
                    </a:lnTo>
                    <a:lnTo>
                      <a:pt x="94" y="3"/>
                    </a:lnTo>
                    <a:lnTo>
                      <a:pt x="93" y="3"/>
                    </a:lnTo>
                    <a:lnTo>
                      <a:pt x="92" y="3"/>
                    </a:lnTo>
                    <a:lnTo>
                      <a:pt x="92" y="3"/>
                    </a:lnTo>
                    <a:lnTo>
                      <a:pt x="92" y="4"/>
                    </a:lnTo>
                    <a:lnTo>
                      <a:pt x="91" y="4"/>
                    </a:lnTo>
                    <a:lnTo>
                      <a:pt x="91" y="4"/>
                    </a:lnTo>
                    <a:lnTo>
                      <a:pt x="91" y="5"/>
                    </a:lnTo>
                    <a:lnTo>
                      <a:pt x="91" y="5"/>
                    </a:lnTo>
                    <a:lnTo>
                      <a:pt x="92" y="5"/>
                    </a:lnTo>
                    <a:lnTo>
                      <a:pt x="93" y="6"/>
                    </a:lnTo>
                    <a:lnTo>
                      <a:pt x="94" y="6"/>
                    </a:lnTo>
                    <a:lnTo>
                      <a:pt x="94" y="5"/>
                    </a:lnTo>
                    <a:lnTo>
                      <a:pt x="95" y="5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4" y="7"/>
                    </a:lnTo>
                    <a:lnTo>
                      <a:pt x="92" y="7"/>
                    </a:lnTo>
                    <a:lnTo>
                      <a:pt x="91" y="8"/>
                    </a:lnTo>
                    <a:lnTo>
                      <a:pt x="89" y="8"/>
                    </a:lnTo>
                    <a:lnTo>
                      <a:pt x="88" y="8"/>
                    </a:lnTo>
                    <a:lnTo>
                      <a:pt x="87" y="8"/>
                    </a:lnTo>
                    <a:lnTo>
                      <a:pt x="86" y="9"/>
                    </a:lnTo>
                    <a:lnTo>
                      <a:pt x="85" y="9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1"/>
                    </a:lnTo>
                    <a:lnTo>
                      <a:pt x="83" y="12"/>
                    </a:lnTo>
                    <a:lnTo>
                      <a:pt x="83" y="13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5" y="14"/>
                    </a:lnTo>
                    <a:lnTo>
                      <a:pt x="85" y="14"/>
                    </a:lnTo>
                    <a:lnTo>
                      <a:pt x="82" y="14"/>
                    </a:lnTo>
                    <a:lnTo>
                      <a:pt x="80" y="17"/>
                    </a:lnTo>
                    <a:lnTo>
                      <a:pt x="80" y="18"/>
                    </a:lnTo>
                    <a:lnTo>
                      <a:pt x="80" y="19"/>
                    </a:lnTo>
                    <a:lnTo>
                      <a:pt x="80" y="19"/>
                    </a:lnTo>
                    <a:lnTo>
                      <a:pt x="80" y="20"/>
                    </a:lnTo>
                    <a:lnTo>
                      <a:pt x="81" y="20"/>
                    </a:lnTo>
                    <a:lnTo>
                      <a:pt x="82" y="20"/>
                    </a:lnTo>
                    <a:lnTo>
                      <a:pt x="83" y="21"/>
                    </a:lnTo>
                    <a:lnTo>
                      <a:pt x="83" y="23"/>
                    </a:lnTo>
                    <a:lnTo>
                      <a:pt x="81" y="21"/>
                    </a:lnTo>
                    <a:lnTo>
                      <a:pt x="80" y="21"/>
                    </a:lnTo>
                    <a:lnTo>
                      <a:pt x="79" y="23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5" y="23"/>
                    </a:lnTo>
                    <a:lnTo>
                      <a:pt x="76" y="24"/>
                    </a:lnTo>
                    <a:lnTo>
                      <a:pt x="74" y="24"/>
                    </a:lnTo>
                    <a:lnTo>
                      <a:pt x="76" y="21"/>
                    </a:lnTo>
                    <a:lnTo>
                      <a:pt x="75" y="20"/>
                    </a:lnTo>
                    <a:lnTo>
                      <a:pt x="75" y="20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4" y="18"/>
                    </a:lnTo>
                    <a:lnTo>
                      <a:pt x="73" y="18"/>
                    </a:lnTo>
                    <a:lnTo>
                      <a:pt x="72" y="17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5"/>
                    </a:lnTo>
                    <a:lnTo>
                      <a:pt x="72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69" y="15"/>
                    </a:lnTo>
                    <a:lnTo>
                      <a:pt x="69" y="15"/>
                    </a:lnTo>
                    <a:lnTo>
                      <a:pt x="69" y="16"/>
                    </a:lnTo>
                    <a:lnTo>
                      <a:pt x="69" y="17"/>
                    </a:lnTo>
                    <a:lnTo>
                      <a:pt x="67" y="16"/>
                    </a:lnTo>
                    <a:lnTo>
                      <a:pt x="68" y="18"/>
                    </a:lnTo>
                    <a:lnTo>
                      <a:pt x="67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9"/>
                    </a:lnTo>
                    <a:lnTo>
                      <a:pt x="66" y="20"/>
                    </a:lnTo>
                    <a:lnTo>
                      <a:pt x="65" y="20"/>
                    </a:lnTo>
                    <a:lnTo>
                      <a:pt x="65" y="21"/>
                    </a:lnTo>
                    <a:lnTo>
                      <a:pt x="64" y="21"/>
                    </a:lnTo>
                    <a:lnTo>
                      <a:pt x="65" y="19"/>
                    </a:lnTo>
                    <a:lnTo>
                      <a:pt x="64" y="20"/>
                    </a:lnTo>
                    <a:lnTo>
                      <a:pt x="62" y="20"/>
                    </a:lnTo>
                    <a:lnTo>
                      <a:pt x="62" y="21"/>
                    </a:lnTo>
                    <a:lnTo>
                      <a:pt x="62" y="21"/>
                    </a:lnTo>
                    <a:lnTo>
                      <a:pt x="62" y="22"/>
                    </a:lnTo>
                    <a:lnTo>
                      <a:pt x="62" y="23"/>
                    </a:lnTo>
                    <a:lnTo>
                      <a:pt x="62" y="23"/>
                    </a:lnTo>
                    <a:lnTo>
                      <a:pt x="62" y="24"/>
                    </a:lnTo>
                    <a:lnTo>
                      <a:pt x="60" y="22"/>
                    </a:lnTo>
                    <a:lnTo>
                      <a:pt x="59" y="24"/>
                    </a:lnTo>
                    <a:lnTo>
                      <a:pt x="59" y="25"/>
                    </a:lnTo>
                    <a:lnTo>
                      <a:pt x="59" y="26"/>
                    </a:lnTo>
                    <a:lnTo>
                      <a:pt x="61" y="26"/>
                    </a:lnTo>
                    <a:lnTo>
                      <a:pt x="60" y="27"/>
                    </a:lnTo>
                    <a:lnTo>
                      <a:pt x="56" y="28"/>
                    </a:lnTo>
                    <a:lnTo>
                      <a:pt x="56" y="27"/>
                    </a:lnTo>
                    <a:lnTo>
                      <a:pt x="55" y="27"/>
                    </a:lnTo>
                    <a:lnTo>
                      <a:pt x="55" y="27"/>
                    </a:lnTo>
                    <a:lnTo>
                      <a:pt x="54" y="27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9"/>
                    </a:lnTo>
                    <a:lnTo>
                      <a:pt x="54" y="30"/>
                    </a:lnTo>
                    <a:lnTo>
                      <a:pt x="55" y="30"/>
                    </a:lnTo>
                    <a:lnTo>
                      <a:pt x="55" y="32"/>
                    </a:lnTo>
                    <a:lnTo>
                      <a:pt x="54" y="33"/>
                    </a:lnTo>
                    <a:lnTo>
                      <a:pt x="55" y="35"/>
                    </a:lnTo>
                    <a:lnTo>
                      <a:pt x="54" y="35"/>
                    </a:lnTo>
                    <a:lnTo>
                      <a:pt x="53" y="31"/>
                    </a:lnTo>
                    <a:lnTo>
                      <a:pt x="52" y="30"/>
                    </a:lnTo>
                    <a:lnTo>
                      <a:pt x="52" y="28"/>
                    </a:lnTo>
                    <a:lnTo>
                      <a:pt x="51" y="28"/>
                    </a:lnTo>
                    <a:lnTo>
                      <a:pt x="50" y="30"/>
                    </a:lnTo>
                    <a:lnTo>
                      <a:pt x="48" y="31"/>
                    </a:lnTo>
                    <a:lnTo>
                      <a:pt x="47" y="32"/>
                    </a:lnTo>
                    <a:lnTo>
                      <a:pt x="47" y="33"/>
                    </a:lnTo>
                    <a:lnTo>
                      <a:pt x="46" y="33"/>
                    </a:lnTo>
                    <a:lnTo>
                      <a:pt x="46" y="35"/>
                    </a:lnTo>
                    <a:lnTo>
                      <a:pt x="47" y="35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8" y="37"/>
                    </a:lnTo>
                    <a:lnTo>
                      <a:pt x="48" y="38"/>
                    </a:lnTo>
                    <a:lnTo>
                      <a:pt x="47" y="38"/>
                    </a:lnTo>
                    <a:lnTo>
                      <a:pt x="46" y="39"/>
                    </a:lnTo>
                    <a:lnTo>
                      <a:pt x="44" y="40"/>
                    </a:lnTo>
                    <a:lnTo>
                      <a:pt x="44" y="41"/>
                    </a:lnTo>
                    <a:lnTo>
                      <a:pt x="43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39" y="44"/>
                    </a:lnTo>
                    <a:lnTo>
                      <a:pt x="37" y="44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2" y="44"/>
                    </a:lnTo>
                    <a:lnTo>
                      <a:pt x="29" y="45"/>
                    </a:lnTo>
                    <a:lnTo>
                      <a:pt x="26" y="46"/>
                    </a:lnTo>
                    <a:lnTo>
                      <a:pt x="25" y="46"/>
                    </a:lnTo>
                    <a:lnTo>
                      <a:pt x="24" y="46"/>
                    </a:lnTo>
                    <a:lnTo>
                      <a:pt x="24" y="47"/>
                    </a:lnTo>
                    <a:lnTo>
                      <a:pt x="23" y="47"/>
                    </a:lnTo>
                    <a:lnTo>
                      <a:pt x="23" y="47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9" y="48"/>
                    </a:lnTo>
                    <a:lnTo>
                      <a:pt x="19" y="49"/>
                    </a:lnTo>
                    <a:lnTo>
                      <a:pt x="18" y="49"/>
                    </a:lnTo>
                    <a:lnTo>
                      <a:pt x="18" y="50"/>
                    </a:lnTo>
                    <a:lnTo>
                      <a:pt x="17" y="51"/>
                    </a:lnTo>
                    <a:lnTo>
                      <a:pt x="17" y="51"/>
                    </a:lnTo>
                    <a:lnTo>
                      <a:pt x="17" y="51"/>
                    </a:lnTo>
                    <a:lnTo>
                      <a:pt x="17" y="51"/>
                    </a:lnTo>
                    <a:lnTo>
                      <a:pt x="16" y="52"/>
                    </a:lnTo>
                    <a:lnTo>
                      <a:pt x="15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3" y="52"/>
                    </a:lnTo>
                    <a:lnTo>
                      <a:pt x="13" y="53"/>
                    </a:lnTo>
                    <a:lnTo>
                      <a:pt x="12" y="53"/>
                    </a:lnTo>
                    <a:lnTo>
                      <a:pt x="11" y="54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10" y="53"/>
                    </a:lnTo>
                    <a:lnTo>
                      <a:pt x="9" y="53"/>
                    </a:lnTo>
                    <a:lnTo>
                      <a:pt x="7" y="57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6" y="62"/>
                    </a:lnTo>
                    <a:lnTo>
                      <a:pt x="7" y="62"/>
                    </a:lnTo>
                    <a:lnTo>
                      <a:pt x="7" y="62"/>
                    </a:lnTo>
                    <a:lnTo>
                      <a:pt x="7" y="63"/>
                    </a:lnTo>
                    <a:lnTo>
                      <a:pt x="6" y="63"/>
                    </a:lnTo>
                    <a:lnTo>
                      <a:pt x="6" y="64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7"/>
                    </a:lnTo>
                    <a:lnTo>
                      <a:pt x="4" y="68"/>
                    </a:lnTo>
                    <a:lnTo>
                      <a:pt x="5" y="69"/>
                    </a:lnTo>
                    <a:lnTo>
                      <a:pt x="5" y="70"/>
                    </a:lnTo>
                    <a:lnTo>
                      <a:pt x="6" y="72"/>
                    </a:lnTo>
                    <a:lnTo>
                      <a:pt x="7" y="73"/>
                    </a:lnTo>
                    <a:lnTo>
                      <a:pt x="7" y="74"/>
                    </a:lnTo>
                    <a:lnTo>
                      <a:pt x="7" y="75"/>
                    </a:lnTo>
                    <a:lnTo>
                      <a:pt x="7" y="75"/>
                    </a:lnTo>
                    <a:lnTo>
                      <a:pt x="6" y="74"/>
                    </a:lnTo>
                    <a:lnTo>
                      <a:pt x="6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4" y="74"/>
                    </a:lnTo>
                    <a:lnTo>
                      <a:pt x="2" y="72"/>
                    </a:lnTo>
                    <a:lnTo>
                      <a:pt x="2" y="75"/>
                    </a:lnTo>
                    <a:lnTo>
                      <a:pt x="4" y="79"/>
                    </a:lnTo>
                    <a:lnTo>
                      <a:pt x="4" y="79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3" y="81"/>
                    </a:lnTo>
                    <a:lnTo>
                      <a:pt x="3" y="81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4" y="83"/>
                    </a:lnTo>
                    <a:lnTo>
                      <a:pt x="5" y="84"/>
                    </a:lnTo>
                    <a:lnTo>
                      <a:pt x="5" y="85"/>
                    </a:lnTo>
                    <a:lnTo>
                      <a:pt x="6" y="85"/>
                    </a:lnTo>
                    <a:lnTo>
                      <a:pt x="6" y="86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5" y="89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91"/>
                    </a:lnTo>
                    <a:lnTo>
                      <a:pt x="6" y="93"/>
                    </a:lnTo>
                    <a:lnTo>
                      <a:pt x="6" y="93"/>
                    </a:lnTo>
                    <a:lnTo>
                      <a:pt x="6" y="93"/>
                    </a:lnTo>
                    <a:lnTo>
                      <a:pt x="6" y="93"/>
                    </a:lnTo>
                    <a:lnTo>
                      <a:pt x="5" y="94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6" y="96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8"/>
                    </a:lnTo>
                    <a:lnTo>
                      <a:pt x="6" y="98"/>
                    </a:lnTo>
                    <a:lnTo>
                      <a:pt x="7" y="98"/>
                    </a:lnTo>
                    <a:lnTo>
                      <a:pt x="8" y="100"/>
                    </a:lnTo>
                    <a:lnTo>
                      <a:pt x="8" y="101"/>
                    </a:lnTo>
                    <a:lnTo>
                      <a:pt x="7" y="103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5" y="107"/>
                    </a:lnTo>
                    <a:lnTo>
                      <a:pt x="4" y="109"/>
                    </a:lnTo>
                    <a:lnTo>
                      <a:pt x="3" y="109"/>
                    </a:lnTo>
                    <a:lnTo>
                      <a:pt x="2" y="109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0" y="112"/>
                    </a:lnTo>
                    <a:lnTo>
                      <a:pt x="1" y="112"/>
                    </a:lnTo>
                    <a:lnTo>
                      <a:pt x="2" y="112"/>
                    </a:lnTo>
                    <a:lnTo>
                      <a:pt x="3" y="112"/>
                    </a:lnTo>
                    <a:lnTo>
                      <a:pt x="3" y="113"/>
                    </a:lnTo>
                    <a:lnTo>
                      <a:pt x="4" y="114"/>
                    </a:lnTo>
                    <a:lnTo>
                      <a:pt x="5" y="114"/>
                    </a:lnTo>
                    <a:lnTo>
                      <a:pt x="7" y="114"/>
                    </a:lnTo>
                    <a:lnTo>
                      <a:pt x="7" y="115"/>
                    </a:lnTo>
                    <a:lnTo>
                      <a:pt x="8" y="115"/>
                    </a:lnTo>
                    <a:lnTo>
                      <a:pt x="10" y="115"/>
                    </a:lnTo>
                    <a:lnTo>
                      <a:pt x="13" y="115"/>
                    </a:lnTo>
                    <a:lnTo>
                      <a:pt x="14" y="115"/>
                    </a:lnTo>
                    <a:lnTo>
                      <a:pt x="14" y="114"/>
                    </a:lnTo>
                    <a:lnTo>
                      <a:pt x="14" y="113"/>
                    </a:lnTo>
                    <a:lnTo>
                      <a:pt x="16" y="114"/>
                    </a:lnTo>
                    <a:lnTo>
                      <a:pt x="17" y="113"/>
                    </a:lnTo>
                    <a:lnTo>
                      <a:pt x="19" y="112"/>
                    </a:lnTo>
                    <a:lnTo>
                      <a:pt x="21" y="110"/>
                    </a:lnTo>
                    <a:lnTo>
                      <a:pt x="22" y="110"/>
                    </a:lnTo>
                    <a:lnTo>
                      <a:pt x="22" y="110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8" y="109"/>
                    </a:lnTo>
                    <a:lnTo>
                      <a:pt x="29" y="109"/>
                    </a:lnTo>
                    <a:lnTo>
                      <a:pt x="29" y="109"/>
                    </a:lnTo>
                    <a:lnTo>
                      <a:pt x="30" y="109"/>
                    </a:lnTo>
                    <a:lnTo>
                      <a:pt x="30" y="110"/>
                    </a:lnTo>
                    <a:lnTo>
                      <a:pt x="31" y="110"/>
                    </a:lnTo>
                    <a:lnTo>
                      <a:pt x="31" y="110"/>
                    </a:lnTo>
                    <a:lnTo>
                      <a:pt x="32" y="110"/>
                    </a:lnTo>
                    <a:lnTo>
                      <a:pt x="33" y="110"/>
                    </a:lnTo>
                    <a:lnTo>
                      <a:pt x="34" y="109"/>
                    </a:lnTo>
                    <a:lnTo>
                      <a:pt x="34" y="109"/>
                    </a:lnTo>
                    <a:lnTo>
                      <a:pt x="35" y="109"/>
                    </a:lnTo>
                    <a:lnTo>
                      <a:pt x="36" y="109"/>
                    </a:lnTo>
                    <a:lnTo>
                      <a:pt x="37" y="110"/>
                    </a:lnTo>
                    <a:lnTo>
                      <a:pt x="37" y="110"/>
                    </a:lnTo>
                    <a:lnTo>
                      <a:pt x="38" y="109"/>
                    </a:lnTo>
                    <a:lnTo>
                      <a:pt x="38" y="109"/>
                    </a:lnTo>
                    <a:lnTo>
                      <a:pt x="38" y="108"/>
                    </a:lnTo>
                    <a:lnTo>
                      <a:pt x="39" y="108"/>
                    </a:lnTo>
                    <a:lnTo>
                      <a:pt x="39" y="107"/>
                    </a:lnTo>
                    <a:lnTo>
                      <a:pt x="40" y="107"/>
                    </a:lnTo>
                    <a:lnTo>
                      <a:pt x="40" y="107"/>
                    </a:lnTo>
                    <a:lnTo>
                      <a:pt x="41" y="106"/>
                    </a:lnTo>
                    <a:lnTo>
                      <a:pt x="41" y="104"/>
                    </a:lnTo>
                    <a:lnTo>
                      <a:pt x="42" y="103"/>
                    </a:lnTo>
                    <a:lnTo>
                      <a:pt x="43" y="103"/>
                    </a:lnTo>
                    <a:lnTo>
                      <a:pt x="44" y="103"/>
                    </a:lnTo>
                    <a:lnTo>
                      <a:pt x="45" y="103"/>
                    </a:lnTo>
                    <a:lnTo>
                      <a:pt x="46" y="103"/>
                    </a:lnTo>
                    <a:lnTo>
                      <a:pt x="47" y="103"/>
                    </a:lnTo>
                    <a:lnTo>
                      <a:pt x="48" y="102"/>
                    </a:lnTo>
                    <a:lnTo>
                      <a:pt x="49" y="102"/>
                    </a:lnTo>
                    <a:lnTo>
                      <a:pt x="50" y="101"/>
                    </a:lnTo>
                    <a:lnTo>
                      <a:pt x="52" y="101"/>
                    </a:lnTo>
                    <a:lnTo>
                      <a:pt x="54" y="101"/>
                    </a:lnTo>
                    <a:lnTo>
                      <a:pt x="54" y="101"/>
                    </a:lnTo>
                    <a:lnTo>
                      <a:pt x="55" y="101"/>
                    </a:lnTo>
                    <a:lnTo>
                      <a:pt x="55" y="102"/>
                    </a:lnTo>
                    <a:lnTo>
                      <a:pt x="57" y="101"/>
                    </a:lnTo>
                    <a:lnTo>
                      <a:pt x="61" y="99"/>
                    </a:lnTo>
                    <a:lnTo>
                      <a:pt x="63" y="99"/>
                    </a:lnTo>
                    <a:lnTo>
                      <a:pt x="65" y="98"/>
                    </a:lnTo>
                    <a:lnTo>
                      <a:pt x="67" y="98"/>
                    </a:lnTo>
                    <a:lnTo>
                      <a:pt x="69" y="98"/>
                    </a:lnTo>
                    <a:lnTo>
                      <a:pt x="72" y="98"/>
                    </a:lnTo>
                    <a:lnTo>
                      <a:pt x="73" y="97"/>
                    </a:lnTo>
                    <a:lnTo>
                      <a:pt x="74" y="98"/>
                    </a:lnTo>
                    <a:lnTo>
                      <a:pt x="75" y="98"/>
                    </a:lnTo>
                    <a:lnTo>
                      <a:pt x="75" y="99"/>
                    </a:lnTo>
                    <a:lnTo>
                      <a:pt x="77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9" y="100"/>
                    </a:lnTo>
                    <a:lnTo>
                      <a:pt x="79" y="100"/>
                    </a:lnTo>
                    <a:lnTo>
                      <a:pt x="79" y="100"/>
                    </a:lnTo>
                    <a:lnTo>
                      <a:pt x="79" y="101"/>
                    </a:lnTo>
                    <a:lnTo>
                      <a:pt x="80" y="101"/>
                    </a:lnTo>
                    <a:lnTo>
                      <a:pt x="81" y="101"/>
                    </a:lnTo>
                    <a:lnTo>
                      <a:pt x="81" y="101"/>
                    </a:lnTo>
                    <a:lnTo>
                      <a:pt x="81" y="102"/>
                    </a:lnTo>
                    <a:lnTo>
                      <a:pt x="82" y="102"/>
                    </a:lnTo>
                    <a:lnTo>
                      <a:pt x="82" y="102"/>
                    </a:lnTo>
                    <a:lnTo>
                      <a:pt x="82" y="103"/>
                    </a:lnTo>
                    <a:lnTo>
                      <a:pt x="81" y="104"/>
                    </a:lnTo>
                    <a:lnTo>
                      <a:pt x="81" y="105"/>
                    </a:lnTo>
                    <a:lnTo>
                      <a:pt x="81" y="105"/>
                    </a:lnTo>
                    <a:lnTo>
                      <a:pt x="82" y="107"/>
                    </a:lnTo>
                    <a:lnTo>
                      <a:pt x="83" y="106"/>
                    </a:lnTo>
                    <a:lnTo>
                      <a:pt x="84" y="109"/>
                    </a:lnTo>
                    <a:lnTo>
                      <a:pt x="84" y="109"/>
                    </a:lnTo>
                    <a:lnTo>
                      <a:pt x="84" y="109"/>
                    </a:lnTo>
                    <a:lnTo>
                      <a:pt x="84" y="111"/>
                    </a:lnTo>
                    <a:lnTo>
                      <a:pt x="84" y="111"/>
                    </a:lnTo>
                    <a:lnTo>
                      <a:pt x="84" y="112"/>
                    </a:lnTo>
                    <a:lnTo>
                      <a:pt x="83" y="112"/>
                    </a:lnTo>
                    <a:lnTo>
                      <a:pt x="83" y="112"/>
                    </a:lnTo>
                    <a:lnTo>
                      <a:pt x="82" y="112"/>
                    </a:lnTo>
                    <a:lnTo>
                      <a:pt x="83" y="114"/>
                    </a:lnTo>
                    <a:lnTo>
                      <a:pt x="85" y="114"/>
                    </a:lnTo>
                    <a:lnTo>
                      <a:pt x="85" y="114"/>
                    </a:lnTo>
                    <a:lnTo>
                      <a:pt x="85" y="115"/>
                    </a:lnTo>
                    <a:lnTo>
                      <a:pt x="86" y="115"/>
                    </a:lnTo>
                    <a:lnTo>
                      <a:pt x="86" y="114"/>
                    </a:lnTo>
                    <a:lnTo>
                      <a:pt x="86" y="113"/>
                    </a:lnTo>
                    <a:lnTo>
                      <a:pt x="86" y="112"/>
                    </a:lnTo>
                    <a:lnTo>
                      <a:pt x="86" y="111"/>
                    </a:lnTo>
                    <a:lnTo>
                      <a:pt x="87" y="111"/>
                    </a:lnTo>
                    <a:lnTo>
                      <a:pt x="88" y="110"/>
                    </a:lnTo>
                    <a:lnTo>
                      <a:pt x="89" y="110"/>
                    </a:lnTo>
                    <a:lnTo>
                      <a:pt x="89" y="110"/>
                    </a:lnTo>
                    <a:lnTo>
                      <a:pt x="90" y="110"/>
                    </a:lnTo>
                    <a:lnTo>
                      <a:pt x="91" y="109"/>
                    </a:lnTo>
                    <a:lnTo>
                      <a:pt x="91" y="108"/>
                    </a:lnTo>
                    <a:lnTo>
                      <a:pt x="92" y="107"/>
                    </a:lnTo>
                    <a:lnTo>
                      <a:pt x="92" y="107"/>
                    </a:lnTo>
                    <a:lnTo>
                      <a:pt x="93" y="107"/>
                    </a:lnTo>
                    <a:lnTo>
                      <a:pt x="94" y="104"/>
                    </a:lnTo>
                    <a:lnTo>
                      <a:pt x="96" y="104"/>
                    </a:lnTo>
                    <a:lnTo>
                      <a:pt x="97" y="104"/>
                    </a:lnTo>
                    <a:lnTo>
                      <a:pt x="98" y="103"/>
                    </a:lnTo>
                    <a:lnTo>
                      <a:pt x="98" y="102"/>
                    </a:lnTo>
                    <a:lnTo>
                      <a:pt x="98" y="101"/>
                    </a:lnTo>
                    <a:lnTo>
                      <a:pt x="98" y="102"/>
                    </a:lnTo>
                    <a:lnTo>
                      <a:pt x="98" y="102"/>
                    </a:lnTo>
                    <a:lnTo>
                      <a:pt x="98" y="103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98" y="104"/>
                    </a:lnTo>
                    <a:lnTo>
                      <a:pt x="98" y="105"/>
                    </a:lnTo>
                    <a:lnTo>
                      <a:pt x="97" y="105"/>
                    </a:lnTo>
                    <a:lnTo>
                      <a:pt x="96" y="106"/>
                    </a:lnTo>
                    <a:lnTo>
                      <a:pt x="95" y="106"/>
                    </a:lnTo>
                    <a:lnTo>
                      <a:pt x="95" y="106"/>
                    </a:lnTo>
                    <a:lnTo>
                      <a:pt x="96" y="109"/>
                    </a:lnTo>
                    <a:lnTo>
                      <a:pt x="95" y="109"/>
                    </a:lnTo>
                    <a:lnTo>
                      <a:pt x="95" y="109"/>
                    </a:lnTo>
                    <a:lnTo>
                      <a:pt x="94" y="109"/>
                    </a:lnTo>
                    <a:lnTo>
                      <a:pt x="92" y="111"/>
                    </a:lnTo>
                    <a:lnTo>
                      <a:pt x="92" y="112"/>
                    </a:lnTo>
                    <a:lnTo>
                      <a:pt x="92" y="113"/>
                    </a:lnTo>
                    <a:lnTo>
                      <a:pt x="91" y="113"/>
                    </a:lnTo>
                    <a:lnTo>
                      <a:pt x="91" y="114"/>
                    </a:lnTo>
                    <a:lnTo>
                      <a:pt x="89" y="115"/>
                    </a:lnTo>
                    <a:lnTo>
                      <a:pt x="89" y="115"/>
                    </a:lnTo>
                    <a:lnTo>
                      <a:pt x="89" y="115"/>
                    </a:lnTo>
                    <a:lnTo>
                      <a:pt x="89" y="116"/>
                    </a:lnTo>
                    <a:lnTo>
                      <a:pt x="91" y="116"/>
                    </a:lnTo>
                    <a:lnTo>
                      <a:pt x="92" y="115"/>
                    </a:lnTo>
                    <a:lnTo>
                      <a:pt x="92" y="115"/>
                    </a:lnTo>
                    <a:lnTo>
                      <a:pt x="93" y="115"/>
                    </a:lnTo>
                    <a:lnTo>
                      <a:pt x="94" y="113"/>
                    </a:lnTo>
                    <a:lnTo>
                      <a:pt x="94" y="112"/>
                    </a:lnTo>
                    <a:lnTo>
                      <a:pt x="95" y="111"/>
                    </a:lnTo>
                    <a:lnTo>
                      <a:pt x="95" y="111"/>
                    </a:lnTo>
                    <a:lnTo>
                      <a:pt x="96" y="111"/>
                    </a:lnTo>
                    <a:lnTo>
                      <a:pt x="96" y="112"/>
                    </a:lnTo>
                    <a:lnTo>
                      <a:pt x="96" y="113"/>
                    </a:lnTo>
                    <a:lnTo>
                      <a:pt x="96" y="114"/>
                    </a:lnTo>
                    <a:lnTo>
                      <a:pt x="95" y="115"/>
                    </a:lnTo>
                    <a:lnTo>
                      <a:pt x="95" y="115"/>
                    </a:lnTo>
                    <a:lnTo>
                      <a:pt x="94" y="116"/>
                    </a:lnTo>
                    <a:lnTo>
                      <a:pt x="94" y="117"/>
                    </a:lnTo>
                    <a:lnTo>
                      <a:pt x="94" y="117"/>
                    </a:lnTo>
                    <a:lnTo>
                      <a:pt x="95" y="117"/>
                    </a:lnTo>
                    <a:lnTo>
                      <a:pt x="96" y="117"/>
                    </a:lnTo>
                    <a:lnTo>
                      <a:pt x="98" y="117"/>
                    </a:lnTo>
                    <a:lnTo>
                      <a:pt x="98" y="118"/>
                    </a:lnTo>
                    <a:lnTo>
                      <a:pt x="96" y="120"/>
                    </a:lnTo>
                    <a:lnTo>
                      <a:pt x="96" y="120"/>
                    </a:lnTo>
                    <a:lnTo>
                      <a:pt x="97" y="120"/>
                    </a:lnTo>
                    <a:lnTo>
                      <a:pt x="98" y="122"/>
                    </a:lnTo>
                    <a:lnTo>
                      <a:pt x="98" y="123"/>
                    </a:lnTo>
                    <a:lnTo>
                      <a:pt x="98" y="123"/>
                    </a:lnTo>
                    <a:lnTo>
                      <a:pt x="95" y="126"/>
                    </a:lnTo>
                    <a:lnTo>
                      <a:pt x="95" y="127"/>
                    </a:lnTo>
                    <a:lnTo>
                      <a:pt x="96" y="127"/>
                    </a:lnTo>
                    <a:lnTo>
                      <a:pt x="96" y="128"/>
                    </a:lnTo>
                    <a:lnTo>
                      <a:pt x="98" y="129"/>
                    </a:lnTo>
                    <a:lnTo>
                      <a:pt x="99" y="129"/>
                    </a:lnTo>
                    <a:lnTo>
                      <a:pt x="99" y="130"/>
                    </a:lnTo>
                    <a:lnTo>
                      <a:pt x="101" y="132"/>
                    </a:lnTo>
                    <a:lnTo>
                      <a:pt x="101" y="132"/>
                    </a:lnTo>
                    <a:lnTo>
                      <a:pt x="105" y="132"/>
                    </a:lnTo>
                    <a:lnTo>
                      <a:pt x="107" y="133"/>
                    </a:lnTo>
                    <a:lnTo>
                      <a:pt x="108" y="134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2"/>
                    </a:lnTo>
                    <a:lnTo>
                      <a:pt x="114" y="131"/>
                    </a:lnTo>
                    <a:lnTo>
                      <a:pt x="114" y="129"/>
                    </a:lnTo>
                    <a:lnTo>
                      <a:pt x="115" y="129"/>
                    </a:lnTo>
                    <a:lnTo>
                      <a:pt x="115" y="129"/>
                    </a:lnTo>
                    <a:lnTo>
                      <a:pt x="116" y="129"/>
                    </a:lnTo>
                    <a:lnTo>
                      <a:pt x="116" y="132"/>
                    </a:lnTo>
                    <a:lnTo>
                      <a:pt x="117" y="132"/>
                    </a:lnTo>
                    <a:lnTo>
                      <a:pt x="116" y="133"/>
                    </a:lnTo>
                    <a:lnTo>
                      <a:pt x="117" y="133"/>
                    </a:lnTo>
                    <a:lnTo>
                      <a:pt x="117" y="134"/>
                    </a:lnTo>
                    <a:lnTo>
                      <a:pt x="117" y="134"/>
                    </a:lnTo>
                    <a:lnTo>
                      <a:pt x="118" y="135"/>
                    </a:lnTo>
                    <a:lnTo>
                      <a:pt x="118" y="135"/>
                    </a:lnTo>
                    <a:lnTo>
                      <a:pt x="119" y="135"/>
                    </a:lnTo>
                    <a:lnTo>
                      <a:pt x="119" y="134"/>
                    </a:lnTo>
                    <a:lnTo>
                      <a:pt x="120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3"/>
                    </a:lnTo>
                    <a:lnTo>
                      <a:pt x="123" y="133"/>
                    </a:lnTo>
                    <a:lnTo>
                      <a:pt x="123" y="133"/>
                    </a:lnTo>
                    <a:lnTo>
                      <a:pt x="125" y="131"/>
                    </a:lnTo>
                    <a:lnTo>
                      <a:pt x="125" y="131"/>
                    </a:lnTo>
                    <a:lnTo>
                      <a:pt x="126" y="130"/>
                    </a:lnTo>
                    <a:lnTo>
                      <a:pt x="127" y="129"/>
                    </a:lnTo>
                    <a:lnTo>
                      <a:pt x="126" y="129"/>
                    </a:lnTo>
                    <a:lnTo>
                      <a:pt x="128" y="128"/>
                    </a:lnTo>
                    <a:lnTo>
                      <a:pt x="129" y="129"/>
                    </a:lnTo>
                    <a:lnTo>
                      <a:pt x="130" y="129"/>
                    </a:lnTo>
                    <a:lnTo>
                      <a:pt x="132" y="128"/>
                    </a:lnTo>
                    <a:lnTo>
                      <a:pt x="135" y="128"/>
                    </a:lnTo>
                    <a:lnTo>
                      <a:pt x="136" y="127"/>
                    </a:lnTo>
                    <a:lnTo>
                      <a:pt x="137" y="125"/>
                    </a:lnTo>
                    <a:lnTo>
                      <a:pt x="137" y="123"/>
                    </a:lnTo>
                    <a:lnTo>
                      <a:pt x="137" y="122"/>
                    </a:lnTo>
                    <a:lnTo>
                      <a:pt x="138" y="122"/>
                    </a:lnTo>
                    <a:lnTo>
                      <a:pt x="139" y="120"/>
                    </a:lnTo>
                    <a:lnTo>
                      <a:pt x="140" y="120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1" y="118"/>
                    </a:lnTo>
                    <a:lnTo>
                      <a:pt x="142" y="117"/>
                    </a:lnTo>
                    <a:lnTo>
                      <a:pt x="142" y="116"/>
                    </a:lnTo>
                    <a:lnTo>
                      <a:pt x="143" y="115"/>
                    </a:lnTo>
                    <a:lnTo>
                      <a:pt x="143" y="114"/>
                    </a:lnTo>
                    <a:lnTo>
                      <a:pt x="143" y="113"/>
                    </a:lnTo>
                    <a:lnTo>
                      <a:pt x="144" y="112"/>
                    </a:lnTo>
                    <a:lnTo>
                      <a:pt x="144" y="111"/>
                    </a:lnTo>
                    <a:lnTo>
                      <a:pt x="146" y="110"/>
                    </a:lnTo>
                    <a:lnTo>
                      <a:pt x="147" y="109"/>
                    </a:lnTo>
                    <a:lnTo>
                      <a:pt x="148" y="107"/>
                    </a:lnTo>
                    <a:lnTo>
                      <a:pt x="149" y="107"/>
                    </a:lnTo>
                    <a:lnTo>
                      <a:pt x="149" y="106"/>
                    </a:lnTo>
                    <a:lnTo>
                      <a:pt x="150" y="105"/>
                    </a:lnTo>
                    <a:lnTo>
                      <a:pt x="150" y="105"/>
                    </a:lnTo>
                    <a:lnTo>
                      <a:pt x="150" y="104"/>
                    </a:lnTo>
                    <a:lnTo>
                      <a:pt x="150" y="104"/>
                    </a:lnTo>
                    <a:lnTo>
                      <a:pt x="152" y="104"/>
                    </a:lnTo>
                    <a:lnTo>
                      <a:pt x="153" y="103"/>
                    </a:lnTo>
                    <a:lnTo>
                      <a:pt x="154" y="102"/>
                    </a:lnTo>
                    <a:lnTo>
                      <a:pt x="155" y="101"/>
                    </a:lnTo>
                    <a:lnTo>
                      <a:pt x="157" y="99"/>
                    </a:lnTo>
                    <a:lnTo>
                      <a:pt x="158" y="98"/>
                    </a:lnTo>
                    <a:lnTo>
                      <a:pt x="158" y="97"/>
                    </a:lnTo>
                    <a:lnTo>
                      <a:pt x="158" y="97"/>
                    </a:lnTo>
                    <a:lnTo>
                      <a:pt x="159" y="95"/>
                    </a:lnTo>
                    <a:lnTo>
                      <a:pt x="159" y="94"/>
                    </a:lnTo>
                    <a:lnTo>
                      <a:pt x="159" y="93"/>
                    </a:lnTo>
                    <a:lnTo>
                      <a:pt x="159" y="93"/>
                    </a:lnTo>
                    <a:lnTo>
                      <a:pt x="160" y="91"/>
                    </a:lnTo>
                    <a:lnTo>
                      <a:pt x="161" y="90"/>
                    </a:lnTo>
                    <a:lnTo>
                      <a:pt x="162" y="87"/>
                    </a:lnTo>
                    <a:lnTo>
                      <a:pt x="164" y="85"/>
                    </a:lnTo>
                    <a:lnTo>
                      <a:pt x="164" y="83"/>
                    </a:lnTo>
                    <a:lnTo>
                      <a:pt x="165" y="82"/>
                    </a:lnTo>
                    <a:lnTo>
                      <a:pt x="165" y="81"/>
                    </a:lnTo>
                    <a:lnTo>
                      <a:pt x="164" y="79"/>
                    </a:lnTo>
                    <a:lnTo>
                      <a:pt x="165" y="76"/>
                    </a:lnTo>
                    <a:lnTo>
                      <a:pt x="166" y="75"/>
                    </a:lnTo>
                    <a:lnTo>
                      <a:pt x="166" y="74"/>
                    </a:lnTo>
                    <a:lnTo>
                      <a:pt x="166" y="71"/>
                    </a:lnTo>
                    <a:lnTo>
                      <a:pt x="166" y="69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8"/>
                    </a:lnTo>
                    <a:close/>
                    <a:moveTo>
                      <a:pt x="118" y="142"/>
                    </a:moveTo>
                    <a:lnTo>
                      <a:pt x="118" y="142"/>
                    </a:lnTo>
                    <a:lnTo>
                      <a:pt x="119" y="142"/>
                    </a:lnTo>
                    <a:lnTo>
                      <a:pt x="119" y="142"/>
                    </a:lnTo>
                    <a:lnTo>
                      <a:pt x="120" y="142"/>
                    </a:lnTo>
                    <a:lnTo>
                      <a:pt x="119" y="141"/>
                    </a:lnTo>
                    <a:lnTo>
                      <a:pt x="118" y="142"/>
                    </a:lnTo>
                    <a:lnTo>
                      <a:pt x="118" y="142"/>
                    </a:lnTo>
                    <a:close/>
                    <a:moveTo>
                      <a:pt x="117" y="143"/>
                    </a:moveTo>
                    <a:lnTo>
                      <a:pt x="116" y="143"/>
                    </a:lnTo>
                    <a:lnTo>
                      <a:pt x="115" y="144"/>
                    </a:lnTo>
                    <a:lnTo>
                      <a:pt x="115" y="144"/>
                    </a:lnTo>
                    <a:lnTo>
                      <a:pt x="115" y="143"/>
                    </a:lnTo>
                    <a:lnTo>
                      <a:pt x="114" y="143"/>
                    </a:lnTo>
                    <a:lnTo>
                      <a:pt x="113" y="144"/>
                    </a:lnTo>
                    <a:lnTo>
                      <a:pt x="112" y="144"/>
                    </a:lnTo>
                    <a:lnTo>
                      <a:pt x="112" y="144"/>
                    </a:lnTo>
                    <a:lnTo>
                      <a:pt x="111" y="143"/>
                    </a:lnTo>
                    <a:lnTo>
                      <a:pt x="109" y="143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7" y="142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4" y="140"/>
                    </a:lnTo>
                    <a:lnTo>
                      <a:pt x="104" y="141"/>
                    </a:lnTo>
                    <a:lnTo>
                      <a:pt x="104" y="143"/>
                    </a:lnTo>
                    <a:lnTo>
                      <a:pt x="104" y="144"/>
                    </a:lnTo>
                    <a:lnTo>
                      <a:pt x="104" y="144"/>
                    </a:lnTo>
                    <a:lnTo>
                      <a:pt x="104" y="145"/>
                    </a:lnTo>
                    <a:lnTo>
                      <a:pt x="104" y="145"/>
                    </a:lnTo>
                    <a:lnTo>
                      <a:pt x="104" y="146"/>
                    </a:lnTo>
                    <a:lnTo>
                      <a:pt x="104" y="146"/>
                    </a:lnTo>
                    <a:lnTo>
                      <a:pt x="104" y="147"/>
                    </a:lnTo>
                    <a:lnTo>
                      <a:pt x="103" y="148"/>
                    </a:lnTo>
                    <a:lnTo>
                      <a:pt x="103" y="148"/>
                    </a:lnTo>
                    <a:lnTo>
                      <a:pt x="103" y="148"/>
                    </a:lnTo>
                    <a:lnTo>
                      <a:pt x="102" y="147"/>
                    </a:lnTo>
                    <a:lnTo>
                      <a:pt x="102" y="148"/>
                    </a:lnTo>
                    <a:lnTo>
                      <a:pt x="102" y="148"/>
                    </a:lnTo>
                    <a:lnTo>
                      <a:pt x="102" y="149"/>
                    </a:lnTo>
                    <a:lnTo>
                      <a:pt x="101" y="150"/>
                    </a:lnTo>
                    <a:lnTo>
                      <a:pt x="101" y="151"/>
                    </a:lnTo>
                    <a:lnTo>
                      <a:pt x="102" y="152"/>
                    </a:lnTo>
                    <a:lnTo>
                      <a:pt x="102" y="152"/>
                    </a:lnTo>
                    <a:lnTo>
                      <a:pt x="102" y="153"/>
                    </a:lnTo>
                    <a:lnTo>
                      <a:pt x="104" y="153"/>
                    </a:lnTo>
                    <a:lnTo>
                      <a:pt x="103" y="154"/>
                    </a:lnTo>
                    <a:lnTo>
                      <a:pt x="103" y="155"/>
                    </a:lnTo>
                    <a:lnTo>
                      <a:pt x="104" y="155"/>
                    </a:lnTo>
                    <a:lnTo>
                      <a:pt x="104" y="155"/>
                    </a:lnTo>
                    <a:lnTo>
                      <a:pt x="104" y="155"/>
                    </a:lnTo>
                    <a:lnTo>
                      <a:pt x="105" y="155"/>
                    </a:lnTo>
                    <a:lnTo>
                      <a:pt x="105" y="155"/>
                    </a:lnTo>
                    <a:lnTo>
                      <a:pt x="107" y="155"/>
                    </a:lnTo>
                    <a:lnTo>
                      <a:pt x="107" y="155"/>
                    </a:lnTo>
                    <a:lnTo>
                      <a:pt x="108" y="154"/>
                    </a:lnTo>
                    <a:lnTo>
                      <a:pt x="108" y="154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09" y="154"/>
                    </a:lnTo>
                    <a:lnTo>
                      <a:pt x="108" y="155"/>
                    </a:lnTo>
                    <a:lnTo>
                      <a:pt x="110" y="155"/>
                    </a:lnTo>
                    <a:lnTo>
                      <a:pt x="111" y="154"/>
                    </a:lnTo>
                    <a:lnTo>
                      <a:pt x="111" y="154"/>
                    </a:lnTo>
                    <a:lnTo>
                      <a:pt x="112" y="153"/>
                    </a:lnTo>
                    <a:lnTo>
                      <a:pt x="112" y="152"/>
                    </a:lnTo>
                    <a:lnTo>
                      <a:pt x="113" y="152"/>
                    </a:lnTo>
                    <a:lnTo>
                      <a:pt x="112" y="152"/>
                    </a:lnTo>
                    <a:lnTo>
                      <a:pt x="112" y="151"/>
                    </a:lnTo>
                    <a:lnTo>
                      <a:pt x="113" y="149"/>
                    </a:lnTo>
                    <a:lnTo>
                      <a:pt x="114" y="149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5" y="146"/>
                    </a:lnTo>
                    <a:lnTo>
                      <a:pt x="116" y="145"/>
                    </a:lnTo>
                    <a:lnTo>
                      <a:pt x="116" y="145"/>
                    </a:lnTo>
                    <a:lnTo>
                      <a:pt x="117" y="144"/>
                    </a:lnTo>
                    <a:lnTo>
                      <a:pt x="117" y="144"/>
                    </a:lnTo>
                    <a:lnTo>
                      <a:pt x="117" y="143"/>
                    </a:lnTo>
                    <a:lnTo>
                      <a:pt x="117" y="143"/>
                    </a:lnTo>
                    <a:lnTo>
                      <a:pt x="117" y="143"/>
                    </a:lnTo>
                    <a:close/>
                    <a:moveTo>
                      <a:pt x="112" y="14"/>
                    </a:moveTo>
                    <a:lnTo>
                      <a:pt x="111" y="15"/>
                    </a:lnTo>
                    <a:lnTo>
                      <a:pt x="111" y="16"/>
                    </a:lnTo>
                    <a:lnTo>
                      <a:pt x="111" y="17"/>
                    </a:lnTo>
                    <a:lnTo>
                      <a:pt x="111" y="17"/>
                    </a:lnTo>
                    <a:lnTo>
                      <a:pt x="111" y="18"/>
                    </a:lnTo>
                    <a:lnTo>
                      <a:pt x="113" y="18"/>
                    </a:lnTo>
                    <a:lnTo>
                      <a:pt x="113" y="17"/>
                    </a:lnTo>
                    <a:lnTo>
                      <a:pt x="113" y="17"/>
                    </a:lnTo>
                    <a:lnTo>
                      <a:pt x="113" y="17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104" y="136"/>
                    </a:moveTo>
                    <a:lnTo>
                      <a:pt x="103" y="138"/>
                    </a:lnTo>
                    <a:lnTo>
                      <a:pt x="106" y="136"/>
                    </a:lnTo>
                    <a:lnTo>
                      <a:pt x="104" y="136"/>
                    </a:lnTo>
                    <a:lnTo>
                      <a:pt x="104" y="136"/>
                    </a:lnTo>
                    <a:close/>
                    <a:moveTo>
                      <a:pt x="119" y="140"/>
                    </a:moveTo>
                    <a:lnTo>
                      <a:pt x="118" y="137"/>
                    </a:lnTo>
                    <a:lnTo>
                      <a:pt x="117" y="138"/>
                    </a:lnTo>
                    <a:lnTo>
                      <a:pt x="117" y="139"/>
                    </a:lnTo>
                    <a:lnTo>
                      <a:pt x="118" y="140"/>
                    </a:lnTo>
                    <a:lnTo>
                      <a:pt x="119" y="140"/>
                    </a:lnTo>
                    <a:lnTo>
                      <a:pt x="119" y="140"/>
                    </a:lnTo>
                    <a:lnTo>
                      <a:pt x="119" y="14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09" name="Freeform 105"/>
              <p:cNvSpPr>
                <a:spLocks/>
              </p:cNvSpPr>
              <p:nvPr/>
            </p:nvSpPr>
            <p:spPr bwMode="gray">
              <a:xfrm>
                <a:off x="5068888" y="4356100"/>
                <a:ext cx="1588" cy="4763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2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10" name="Freeform 106"/>
              <p:cNvSpPr>
                <a:spLocks/>
              </p:cNvSpPr>
              <p:nvPr/>
            </p:nvSpPr>
            <p:spPr bwMode="gray">
              <a:xfrm>
                <a:off x="5065713" y="4362450"/>
                <a:ext cx="4763" cy="635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3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11" name="Freeform 107"/>
              <p:cNvSpPr>
                <a:spLocks noEditPoints="1"/>
              </p:cNvSpPr>
              <p:nvPr/>
            </p:nvSpPr>
            <p:spPr bwMode="gray">
              <a:xfrm>
                <a:off x="4697413" y="4038600"/>
                <a:ext cx="446088" cy="541338"/>
              </a:xfrm>
              <a:custGeom>
                <a:avLst/>
                <a:gdLst/>
                <a:ahLst/>
                <a:cxnLst>
                  <a:cxn ang="0">
                    <a:pos x="267" y="124"/>
                  </a:cxn>
                  <a:cxn ang="0">
                    <a:pos x="250" y="124"/>
                  </a:cxn>
                  <a:cxn ang="0">
                    <a:pos x="247" y="117"/>
                  </a:cxn>
                  <a:cxn ang="0">
                    <a:pos x="234" y="106"/>
                  </a:cxn>
                  <a:cxn ang="0">
                    <a:pos x="226" y="89"/>
                  </a:cxn>
                  <a:cxn ang="0">
                    <a:pos x="220" y="71"/>
                  </a:cxn>
                  <a:cxn ang="0">
                    <a:pos x="208" y="53"/>
                  </a:cxn>
                  <a:cxn ang="0">
                    <a:pos x="200" y="35"/>
                  </a:cxn>
                  <a:cxn ang="0">
                    <a:pos x="209" y="39"/>
                  </a:cxn>
                  <a:cxn ang="0">
                    <a:pos x="197" y="27"/>
                  </a:cxn>
                  <a:cxn ang="0">
                    <a:pos x="184" y="30"/>
                  </a:cxn>
                  <a:cxn ang="0">
                    <a:pos x="169" y="26"/>
                  </a:cxn>
                  <a:cxn ang="0">
                    <a:pos x="157" y="21"/>
                  </a:cxn>
                  <a:cxn ang="0">
                    <a:pos x="145" y="33"/>
                  </a:cxn>
                  <a:cxn ang="0">
                    <a:pos x="125" y="22"/>
                  </a:cxn>
                  <a:cxn ang="0">
                    <a:pos x="111" y="15"/>
                  </a:cxn>
                  <a:cxn ang="0">
                    <a:pos x="114" y="2"/>
                  </a:cxn>
                  <a:cxn ang="0">
                    <a:pos x="102" y="2"/>
                  </a:cxn>
                  <a:cxn ang="0">
                    <a:pos x="79" y="4"/>
                  </a:cxn>
                  <a:cxn ang="0">
                    <a:pos x="61" y="10"/>
                  </a:cxn>
                  <a:cxn ang="0">
                    <a:pos x="48" y="8"/>
                  </a:cxn>
                  <a:cxn ang="0">
                    <a:pos x="36" y="21"/>
                  </a:cxn>
                  <a:cxn ang="0">
                    <a:pos x="27" y="40"/>
                  </a:cxn>
                  <a:cxn ang="0">
                    <a:pos x="16" y="48"/>
                  </a:cxn>
                  <a:cxn ang="0">
                    <a:pos x="6" y="63"/>
                  </a:cxn>
                  <a:cxn ang="0">
                    <a:pos x="0" y="76"/>
                  </a:cxn>
                  <a:cxn ang="0">
                    <a:pos x="3" y="92"/>
                  </a:cxn>
                  <a:cxn ang="0">
                    <a:pos x="6" y="98"/>
                  </a:cxn>
                  <a:cxn ang="0">
                    <a:pos x="0" y="113"/>
                  </a:cxn>
                  <a:cxn ang="0">
                    <a:pos x="7" y="121"/>
                  </a:cxn>
                  <a:cxn ang="0">
                    <a:pos x="9" y="128"/>
                  </a:cxn>
                  <a:cxn ang="0">
                    <a:pos x="15" y="137"/>
                  </a:cxn>
                  <a:cxn ang="0">
                    <a:pos x="31" y="152"/>
                  </a:cxn>
                  <a:cxn ang="0">
                    <a:pos x="50" y="151"/>
                  </a:cxn>
                  <a:cxn ang="0">
                    <a:pos x="61" y="154"/>
                  </a:cxn>
                  <a:cxn ang="0">
                    <a:pos x="77" y="146"/>
                  </a:cxn>
                  <a:cxn ang="0">
                    <a:pos x="90" y="149"/>
                  </a:cxn>
                  <a:cxn ang="0">
                    <a:pos x="99" y="155"/>
                  </a:cxn>
                  <a:cxn ang="0">
                    <a:pos x="109" y="165"/>
                  </a:cxn>
                  <a:cxn ang="0">
                    <a:pos x="108" y="174"/>
                  </a:cxn>
                  <a:cxn ang="0">
                    <a:pos x="110" y="189"/>
                  </a:cxn>
                  <a:cxn ang="0">
                    <a:pos x="120" y="205"/>
                  </a:cxn>
                  <a:cxn ang="0">
                    <a:pos x="123" y="223"/>
                  </a:cxn>
                  <a:cxn ang="0">
                    <a:pos x="120" y="241"/>
                  </a:cxn>
                  <a:cxn ang="0">
                    <a:pos x="122" y="269"/>
                  </a:cxn>
                  <a:cxn ang="0">
                    <a:pos x="131" y="301"/>
                  </a:cxn>
                  <a:cxn ang="0">
                    <a:pos x="138" y="315"/>
                  </a:cxn>
                  <a:cxn ang="0">
                    <a:pos x="143" y="338"/>
                  </a:cxn>
                  <a:cxn ang="0">
                    <a:pos x="157" y="338"/>
                  </a:cxn>
                  <a:cxn ang="0">
                    <a:pos x="173" y="336"/>
                  </a:cxn>
                  <a:cxn ang="0">
                    <a:pos x="197" y="314"/>
                  </a:cxn>
                  <a:cxn ang="0">
                    <a:pos x="202" y="299"/>
                  </a:cxn>
                  <a:cxn ang="0">
                    <a:pos x="214" y="283"/>
                  </a:cxn>
                  <a:cxn ang="0">
                    <a:pos x="215" y="268"/>
                  </a:cxn>
                  <a:cxn ang="0">
                    <a:pos x="233" y="254"/>
                  </a:cxn>
                  <a:cxn ang="0">
                    <a:pos x="237" y="235"/>
                  </a:cxn>
                  <a:cxn ang="0">
                    <a:pos x="233" y="212"/>
                  </a:cxn>
                  <a:cxn ang="0">
                    <a:pos x="236" y="190"/>
                  </a:cxn>
                  <a:cxn ang="0">
                    <a:pos x="249" y="176"/>
                  </a:cxn>
                  <a:cxn ang="0">
                    <a:pos x="273" y="149"/>
                  </a:cxn>
                  <a:cxn ang="0">
                    <a:pos x="281" y="127"/>
                  </a:cxn>
                  <a:cxn ang="0">
                    <a:pos x="37" y="149"/>
                  </a:cxn>
                  <a:cxn ang="0">
                    <a:pos x="202" y="303"/>
                  </a:cxn>
                </a:cxnLst>
                <a:rect l="0" t="0" r="r" b="b"/>
                <a:pathLst>
                  <a:path w="281" h="341">
                    <a:moveTo>
                      <a:pt x="280" y="120"/>
                    </a:moveTo>
                    <a:lnTo>
                      <a:pt x="279" y="120"/>
                    </a:lnTo>
                    <a:lnTo>
                      <a:pt x="278" y="121"/>
                    </a:lnTo>
                    <a:lnTo>
                      <a:pt x="278" y="121"/>
                    </a:lnTo>
                    <a:lnTo>
                      <a:pt x="277" y="122"/>
                    </a:lnTo>
                    <a:lnTo>
                      <a:pt x="276" y="122"/>
                    </a:lnTo>
                    <a:lnTo>
                      <a:pt x="275" y="122"/>
                    </a:lnTo>
                    <a:lnTo>
                      <a:pt x="274" y="123"/>
                    </a:lnTo>
                    <a:lnTo>
                      <a:pt x="274" y="123"/>
                    </a:lnTo>
                    <a:lnTo>
                      <a:pt x="273" y="123"/>
                    </a:lnTo>
                    <a:lnTo>
                      <a:pt x="272" y="123"/>
                    </a:lnTo>
                    <a:lnTo>
                      <a:pt x="271" y="122"/>
                    </a:lnTo>
                    <a:lnTo>
                      <a:pt x="270" y="123"/>
                    </a:lnTo>
                    <a:lnTo>
                      <a:pt x="269" y="123"/>
                    </a:lnTo>
                    <a:lnTo>
                      <a:pt x="269" y="123"/>
                    </a:lnTo>
                    <a:lnTo>
                      <a:pt x="268" y="124"/>
                    </a:lnTo>
                    <a:lnTo>
                      <a:pt x="268" y="125"/>
                    </a:lnTo>
                    <a:lnTo>
                      <a:pt x="267" y="125"/>
                    </a:lnTo>
                    <a:lnTo>
                      <a:pt x="267" y="124"/>
                    </a:lnTo>
                    <a:lnTo>
                      <a:pt x="266" y="123"/>
                    </a:lnTo>
                    <a:lnTo>
                      <a:pt x="266" y="123"/>
                    </a:lnTo>
                    <a:lnTo>
                      <a:pt x="265" y="124"/>
                    </a:lnTo>
                    <a:lnTo>
                      <a:pt x="265" y="124"/>
                    </a:lnTo>
                    <a:lnTo>
                      <a:pt x="263" y="126"/>
                    </a:lnTo>
                    <a:lnTo>
                      <a:pt x="262" y="126"/>
                    </a:lnTo>
                    <a:lnTo>
                      <a:pt x="262" y="126"/>
                    </a:lnTo>
                    <a:lnTo>
                      <a:pt x="261" y="126"/>
                    </a:lnTo>
                    <a:lnTo>
                      <a:pt x="261" y="126"/>
                    </a:lnTo>
                    <a:lnTo>
                      <a:pt x="260" y="125"/>
                    </a:lnTo>
                    <a:lnTo>
                      <a:pt x="259" y="125"/>
                    </a:lnTo>
                    <a:lnTo>
                      <a:pt x="258" y="126"/>
                    </a:lnTo>
                    <a:lnTo>
                      <a:pt x="257" y="127"/>
                    </a:lnTo>
                    <a:lnTo>
                      <a:pt x="256" y="127"/>
                    </a:lnTo>
                    <a:lnTo>
                      <a:pt x="252" y="127"/>
                    </a:lnTo>
                    <a:lnTo>
                      <a:pt x="251" y="126"/>
                    </a:lnTo>
                    <a:lnTo>
                      <a:pt x="251" y="126"/>
                    </a:lnTo>
                    <a:lnTo>
                      <a:pt x="251" y="125"/>
                    </a:lnTo>
                    <a:lnTo>
                      <a:pt x="250" y="124"/>
                    </a:lnTo>
                    <a:lnTo>
                      <a:pt x="250" y="124"/>
                    </a:lnTo>
                    <a:lnTo>
                      <a:pt x="249" y="123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47" y="122"/>
                    </a:lnTo>
                    <a:lnTo>
                      <a:pt x="245" y="122"/>
                    </a:lnTo>
                    <a:lnTo>
                      <a:pt x="246" y="121"/>
                    </a:lnTo>
                    <a:lnTo>
                      <a:pt x="246" y="121"/>
                    </a:lnTo>
                    <a:lnTo>
                      <a:pt x="247" y="121"/>
                    </a:lnTo>
                    <a:lnTo>
                      <a:pt x="247" y="120"/>
                    </a:lnTo>
                    <a:lnTo>
                      <a:pt x="248" y="119"/>
                    </a:lnTo>
                    <a:lnTo>
                      <a:pt x="248" y="119"/>
                    </a:lnTo>
                    <a:lnTo>
                      <a:pt x="248" y="118"/>
                    </a:lnTo>
                    <a:lnTo>
                      <a:pt x="247" y="117"/>
                    </a:lnTo>
                    <a:lnTo>
                      <a:pt x="246" y="118"/>
                    </a:lnTo>
                    <a:lnTo>
                      <a:pt x="246" y="119"/>
                    </a:lnTo>
                    <a:lnTo>
                      <a:pt x="245" y="118"/>
                    </a:lnTo>
                    <a:lnTo>
                      <a:pt x="246" y="118"/>
                    </a:lnTo>
                    <a:lnTo>
                      <a:pt x="247" y="117"/>
                    </a:lnTo>
                    <a:lnTo>
                      <a:pt x="246" y="116"/>
                    </a:lnTo>
                    <a:lnTo>
                      <a:pt x="245" y="115"/>
                    </a:lnTo>
                    <a:lnTo>
                      <a:pt x="244" y="115"/>
                    </a:lnTo>
                    <a:lnTo>
                      <a:pt x="244" y="115"/>
                    </a:lnTo>
                    <a:lnTo>
                      <a:pt x="244" y="113"/>
                    </a:lnTo>
                    <a:lnTo>
                      <a:pt x="243" y="113"/>
                    </a:lnTo>
                    <a:lnTo>
                      <a:pt x="243" y="112"/>
                    </a:lnTo>
                    <a:lnTo>
                      <a:pt x="240" y="111"/>
                    </a:lnTo>
                    <a:lnTo>
                      <a:pt x="240" y="111"/>
                    </a:lnTo>
                    <a:lnTo>
                      <a:pt x="240" y="110"/>
                    </a:lnTo>
                    <a:lnTo>
                      <a:pt x="240" y="109"/>
                    </a:lnTo>
                    <a:lnTo>
                      <a:pt x="240" y="109"/>
                    </a:lnTo>
                    <a:lnTo>
                      <a:pt x="239" y="108"/>
                    </a:lnTo>
                    <a:lnTo>
                      <a:pt x="239" y="108"/>
                    </a:lnTo>
                    <a:lnTo>
                      <a:pt x="239" y="108"/>
                    </a:lnTo>
                    <a:lnTo>
                      <a:pt x="238" y="107"/>
                    </a:lnTo>
                    <a:lnTo>
                      <a:pt x="237" y="107"/>
                    </a:lnTo>
                    <a:lnTo>
                      <a:pt x="235" y="105"/>
                    </a:lnTo>
                    <a:lnTo>
                      <a:pt x="234" y="106"/>
                    </a:lnTo>
                    <a:lnTo>
                      <a:pt x="234" y="105"/>
                    </a:lnTo>
                    <a:lnTo>
                      <a:pt x="233" y="104"/>
                    </a:lnTo>
                    <a:lnTo>
                      <a:pt x="232" y="103"/>
                    </a:lnTo>
                    <a:lnTo>
                      <a:pt x="231" y="103"/>
                    </a:lnTo>
                    <a:lnTo>
                      <a:pt x="231" y="102"/>
                    </a:lnTo>
                    <a:lnTo>
                      <a:pt x="231" y="102"/>
                    </a:lnTo>
                    <a:lnTo>
                      <a:pt x="231" y="98"/>
                    </a:lnTo>
                    <a:lnTo>
                      <a:pt x="230" y="97"/>
                    </a:lnTo>
                    <a:lnTo>
                      <a:pt x="230" y="96"/>
                    </a:lnTo>
                    <a:lnTo>
                      <a:pt x="230" y="95"/>
                    </a:lnTo>
                    <a:lnTo>
                      <a:pt x="229" y="94"/>
                    </a:lnTo>
                    <a:lnTo>
                      <a:pt x="229" y="92"/>
                    </a:lnTo>
                    <a:lnTo>
                      <a:pt x="228" y="92"/>
                    </a:lnTo>
                    <a:lnTo>
                      <a:pt x="228" y="91"/>
                    </a:lnTo>
                    <a:lnTo>
                      <a:pt x="228" y="91"/>
                    </a:lnTo>
                    <a:lnTo>
                      <a:pt x="228" y="91"/>
                    </a:lnTo>
                    <a:lnTo>
                      <a:pt x="228" y="91"/>
                    </a:lnTo>
                    <a:lnTo>
                      <a:pt x="226" y="89"/>
                    </a:lnTo>
                    <a:lnTo>
                      <a:pt x="226" y="89"/>
                    </a:lnTo>
                    <a:lnTo>
                      <a:pt x="225" y="88"/>
                    </a:lnTo>
                    <a:lnTo>
                      <a:pt x="225" y="88"/>
                    </a:lnTo>
                    <a:lnTo>
                      <a:pt x="224" y="87"/>
                    </a:lnTo>
                    <a:lnTo>
                      <a:pt x="223" y="87"/>
                    </a:lnTo>
                    <a:lnTo>
                      <a:pt x="222" y="87"/>
                    </a:lnTo>
                    <a:lnTo>
                      <a:pt x="222" y="86"/>
                    </a:lnTo>
                    <a:lnTo>
                      <a:pt x="222" y="85"/>
                    </a:lnTo>
                    <a:lnTo>
                      <a:pt x="222" y="84"/>
                    </a:lnTo>
                    <a:lnTo>
                      <a:pt x="222" y="83"/>
                    </a:lnTo>
                    <a:lnTo>
                      <a:pt x="222" y="82"/>
                    </a:lnTo>
                    <a:lnTo>
                      <a:pt x="221" y="82"/>
                    </a:lnTo>
                    <a:lnTo>
                      <a:pt x="221" y="81"/>
                    </a:lnTo>
                    <a:lnTo>
                      <a:pt x="221" y="80"/>
                    </a:lnTo>
                    <a:lnTo>
                      <a:pt x="221" y="77"/>
                    </a:lnTo>
                    <a:lnTo>
                      <a:pt x="221" y="77"/>
                    </a:lnTo>
                    <a:lnTo>
                      <a:pt x="222" y="76"/>
                    </a:lnTo>
                    <a:lnTo>
                      <a:pt x="220" y="75"/>
                    </a:lnTo>
                    <a:lnTo>
                      <a:pt x="220" y="72"/>
                    </a:lnTo>
                    <a:lnTo>
                      <a:pt x="220" y="71"/>
                    </a:lnTo>
                    <a:lnTo>
                      <a:pt x="219" y="71"/>
                    </a:lnTo>
                    <a:lnTo>
                      <a:pt x="219" y="71"/>
                    </a:lnTo>
                    <a:lnTo>
                      <a:pt x="217" y="69"/>
                    </a:lnTo>
                    <a:lnTo>
                      <a:pt x="216" y="69"/>
                    </a:lnTo>
                    <a:lnTo>
                      <a:pt x="215" y="68"/>
                    </a:lnTo>
                    <a:lnTo>
                      <a:pt x="215" y="66"/>
                    </a:lnTo>
                    <a:lnTo>
                      <a:pt x="214" y="67"/>
                    </a:lnTo>
                    <a:lnTo>
                      <a:pt x="214" y="67"/>
                    </a:lnTo>
                    <a:lnTo>
                      <a:pt x="214" y="64"/>
                    </a:lnTo>
                    <a:lnTo>
                      <a:pt x="215" y="64"/>
                    </a:lnTo>
                    <a:lnTo>
                      <a:pt x="215" y="64"/>
                    </a:lnTo>
                    <a:lnTo>
                      <a:pt x="213" y="62"/>
                    </a:lnTo>
                    <a:lnTo>
                      <a:pt x="212" y="59"/>
                    </a:lnTo>
                    <a:lnTo>
                      <a:pt x="211" y="58"/>
                    </a:lnTo>
                    <a:lnTo>
                      <a:pt x="211" y="56"/>
                    </a:lnTo>
                    <a:lnTo>
                      <a:pt x="210" y="55"/>
                    </a:lnTo>
                    <a:lnTo>
                      <a:pt x="209" y="54"/>
                    </a:lnTo>
                    <a:lnTo>
                      <a:pt x="209" y="54"/>
                    </a:lnTo>
                    <a:lnTo>
                      <a:pt x="208" y="53"/>
                    </a:lnTo>
                    <a:lnTo>
                      <a:pt x="208" y="53"/>
                    </a:lnTo>
                    <a:lnTo>
                      <a:pt x="207" y="50"/>
                    </a:lnTo>
                    <a:lnTo>
                      <a:pt x="207" y="49"/>
                    </a:lnTo>
                    <a:lnTo>
                      <a:pt x="205" y="47"/>
                    </a:lnTo>
                    <a:lnTo>
                      <a:pt x="205" y="46"/>
                    </a:lnTo>
                    <a:lnTo>
                      <a:pt x="204" y="44"/>
                    </a:lnTo>
                    <a:lnTo>
                      <a:pt x="204" y="44"/>
                    </a:lnTo>
                    <a:lnTo>
                      <a:pt x="203" y="43"/>
                    </a:lnTo>
                    <a:lnTo>
                      <a:pt x="203" y="42"/>
                    </a:lnTo>
                    <a:lnTo>
                      <a:pt x="202" y="41"/>
                    </a:lnTo>
                    <a:lnTo>
                      <a:pt x="202" y="41"/>
                    </a:lnTo>
                    <a:lnTo>
                      <a:pt x="201" y="40"/>
                    </a:lnTo>
                    <a:lnTo>
                      <a:pt x="201" y="40"/>
                    </a:lnTo>
                    <a:lnTo>
                      <a:pt x="201" y="39"/>
                    </a:lnTo>
                    <a:lnTo>
                      <a:pt x="201" y="39"/>
                    </a:lnTo>
                    <a:lnTo>
                      <a:pt x="200" y="37"/>
                    </a:lnTo>
                    <a:lnTo>
                      <a:pt x="200" y="37"/>
                    </a:lnTo>
                    <a:lnTo>
                      <a:pt x="199" y="37"/>
                    </a:lnTo>
                    <a:lnTo>
                      <a:pt x="200" y="35"/>
                    </a:lnTo>
                    <a:lnTo>
                      <a:pt x="202" y="36"/>
                    </a:lnTo>
                    <a:lnTo>
                      <a:pt x="202" y="37"/>
                    </a:lnTo>
                    <a:lnTo>
                      <a:pt x="202" y="38"/>
                    </a:lnTo>
                    <a:lnTo>
                      <a:pt x="203" y="39"/>
                    </a:lnTo>
                    <a:lnTo>
                      <a:pt x="203" y="39"/>
                    </a:lnTo>
                    <a:lnTo>
                      <a:pt x="203" y="40"/>
                    </a:lnTo>
                    <a:lnTo>
                      <a:pt x="203" y="41"/>
                    </a:lnTo>
                    <a:lnTo>
                      <a:pt x="204" y="42"/>
                    </a:lnTo>
                    <a:lnTo>
                      <a:pt x="205" y="43"/>
                    </a:lnTo>
                    <a:lnTo>
                      <a:pt x="206" y="45"/>
                    </a:lnTo>
                    <a:lnTo>
                      <a:pt x="207" y="45"/>
                    </a:lnTo>
                    <a:lnTo>
                      <a:pt x="207" y="45"/>
                    </a:lnTo>
                    <a:lnTo>
                      <a:pt x="208" y="45"/>
                    </a:lnTo>
                    <a:lnTo>
                      <a:pt x="209" y="44"/>
                    </a:lnTo>
                    <a:lnTo>
                      <a:pt x="208" y="43"/>
                    </a:lnTo>
                    <a:lnTo>
                      <a:pt x="209" y="41"/>
                    </a:lnTo>
                    <a:lnTo>
                      <a:pt x="209" y="41"/>
                    </a:lnTo>
                    <a:lnTo>
                      <a:pt x="209" y="40"/>
                    </a:lnTo>
                    <a:lnTo>
                      <a:pt x="209" y="39"/>
                    </a:lnTo>
                    <a:lnTo>
                      <a:pt x="210" y="38"/>
                    </a:lnTo>
                    <a:lnTo>
                      <a:pt x="210" y="38"/>
                    </a:lnTo>
                    <a:lnTo>
                      <a:pt x="210" y="37"/>
                    </a:lnTo>
                    <a:lnTo>
                      <a:pt x="207" y="28"/>
                    </a:lnTo>
                    <a:lnTo>
                      <a:pt x="206" y="28"/>
                    </a:lnTo>
                    <a:lnTo>
                      <a:pt x="206" y="29"/>
                    </a:lnTo>
                    <a:lnTo>
                      <a:pt x="205" y="29"/>
                    </a:lnTo>
                    <a:lnTo>
                      <a:pt x="204" y="29"/>
                    </a:lnTo>
                    <a:lnTo>
                      <a:pt x="203" y="29"/>
                    </a:lnTo>
                    <a:lnTo>
                      <a:pt x="202" y="29"/>
                    </a:lnTo>
                    <a:lnTo>
                      <a:pt x="202" y="29"/>
                    </a:lnTo>
                    <a:lnTo>
                      <a:pt x="201" y="29"/>
                    </a:lnTo>
                    <a:lnTo>
                      <a:pt x="200" y="29"/>
                    </a:lnTo>
                    <a:lnTo>
                      <a:pt x="200" y="29"/>
                    </a:lnTo>
                    <a:lnTo>
                      <a:pt x="199" y="29"/>
                    </a:lnTo>
                    <a:lnTo>
                      <a:pt x="198" y="28"/>
                    </a:lnTo>
                    <a:lnTo>
                      <a:pt x="198" y="28"/>
                    </a:lnTo>
                    <a:lnTo>
                      <a:pt x="198" y="28"/>
                    </a:lnTo>
                    <a:lnTo>
                      <a:pt x="197" y="27"/>
                    </a:lnTo>
                    <a:lnTo>
                      <a:pt x="196" y="27"/>
                    </a:lnTo>
                    <a:lnTo>
                      <a:pt x="196" y="28"/>
                    </a:lnTo>
                    <a:lnTo>
                      <a:pt x="194" y="28"/>
                    </a:lnTo>
                    <a:lnTo>
                      <a:pt x="194" y="28"/>
                    </a:lnTo>
                    <a:lnTo>
                      <a:pt x="193" y="28"/>
                    </a:lnTo>
                    <a:lnTo>
                      <a:pt x="193" y="28"/>
                    </a:lnTo>
                    <a:lnTo>
                      <a:pt x="192" y="28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90" y="29"/>
                    </a:lnTo>
                    <a:lnTo>
                      <a:pt x="190" y="29"/>
                    </a:lnTo>
                    <a:lnTo>
                      <a:pt x="188" y="29"/>
                    </a:lnTo>
                    <a:lnTo>
                      <a:pt x="188" y="30"/>
                    </a:lnTo>
                    <a:lnTo>
                      <a:pt x="187" y="30"/>
                    </a:lnTo>
                    <a:lnTo>
                      <a:pt x="187" y="30"/>
                    </a:lnTo>
                    <a:lnTo>
                      <a:pt x="186" y="30"/>
                    </a:lnTo>
                    <a:lnTo>
                      <a:pt x="186" y="30"/>
                    </a:lnTo>
                    <a:lnTo>
                      <a:pt x="185" y="30"/>
                    </a:lnTo>
                    <a:lnTo>
                      <a:pt x="184" y="30"/>
                    </a:lnTo>
                    <a:lnTo>
                      <a:pt x="184" y="29"/>
                    </a:lnTo>
                    <a:lnTo>
                      <a:pt x="181" y="29"/>
                    </a:lnTo>
                    <a:lnTo>
                      <a:pt x="180" y="29"/>
                    </a:lnTo>
                    <a:lnTo>
                      <a:pt x="180" y="29"/>
                    </a:lnTo>
                    <a:lnTo>
                      <a:pt x="179" y="28"/>
                    </a:lnTo>
                    <a:lnTo>
                      <a:pt x="176" y="28"/>
                    </a:lnTo>
                    <a:lnTo>
                      <a:pt x="176" y="28"/>
                    </a:lnTo>
                    <a:lnTo>
                      <a:pt x="174" y="27"/>
                    </a:lnTo>
                    <a:lnTo>
                      <a:pt x="173" y="27"/>
                    </a:lnTo>
                    <a:lnTo>
                      <a:pt x="173" y="28"/>
                    </a:lnTo>
                    <a:lnTo>
                      <a:pt x="172" y="28"/>
                    </a:lnTo>
                    <a:lnTo>
                      <a:pt x="171" y="27"/>
                    </a:lnTo>
                    <a:lnTo>
                      <a:pt x="171" y="27"/>
                    </a:lnTo>
                    <a:lnTo>
                      <a:pt x="171" y="27"/>
                    </a:lnTo>
                    <a:lnTo>
                      <a:pt x="170" y="27"/>
                    </a:lnTo>
                    <a:lnTo>
                      <a:pt x="170" y="27"/>
                    </a:lnTo>
                    <a:lnTo>
                      <a:pt x="170" y="27"/>
                    </a:lnTo>
                    <a:lnTo>
                      <a:pt x="170" y="25"/>
                    </a:lnTo>
                    <a:lnTo>
                      <a:pt x="169" y="26"/>
                    </a:lnTo>
                    <a:lnTo>
                      <a:pt x="168" y="25"/>
                    </a:lnTo>
                    <a:lnTo>
                      <a:pt x="168" y="26"/>
                    </a:lnTo>
                    <a:lnTo>
                      <a:pt x="167" y="26"/>
                    </a:lnTo>
                    <a:lnTo>
                      <a:pt x="167" y="25"/>
                    </a:lnTo>
                    <a:lnTo>
                      <a:pt x="166" y="25"/>
                    </a:lnTo>
                    <a:lnTo>
                      <a:pt x="166" y="25"/>
                    </a:lnTo>
                    <a:lnTo>
                      <a:pt x="165" y="24"/>
                    </a:lnTo>
                    <a:lnTo>
                      <a:pt x="164" y="24"/>
                    </a:lnTo>
                    <a:lnTo>
                      <a:pt x="164" y="25"/>
                    </a:lnTo>
                    <a:lnTo>
                      <a:pt x="163" y="25"/>
                    </a:lnTo>
                    <a:lnTo>
                      <a:pt x="162" y="24"/>
                    </a:lnTo>
                    <a:lnTo>
                      <a:pt x="162" y="24"/>
                    </a:lnTo>
                    <a:lnTo>
                      <a:pt x="162" y="23"/>
                    </a:lnTo>
                    <a:lnTo>
                      <a:pt x="161" y="22"/>
                    </a:lnTo>
                    <a:lnTo>
                      <a:pt x="161" y="22"/>
                    </a:lnTo>
                    <a:lnTo>
                      <a:pt x="159" y="22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57" y="21"/>
                    </a:lnTo>
                    <a:lnTo>
                      <a:pt x="156" y="21"/>
                    </a:lnTo>
                    <a:lnTo>
                      <a:pt x="156" y="22"/>
                    </a:lnTo>
                    <a:lnTo>
                      <a:pt x="156" y="22"/>
                    </a:lnTo>
                    <a:lnTo>
                      <a:pt x="154" y="22"/>
                    </a:lnTo>
                    <a:lnTo>
                      <a:pt x="153" y="22"/>
                    </a:lnTo>
                    <a:lnTo>
                      <a:pt x="152" y="23"/>
                    </a:lnTo>
                    <a:lnTo>
                      <a:pt x="150" y="25"/>
                    </a:lnTo>
                    <a:lnTo>
                      <a:pt x="149" y="26"/>
                    </a:lnTo>
                    <a:lnTo>
                      <a:pt x="149" y="27"/>
                    </a:lnTo>
                    <a:lnTo>
                      <a:pt x="150" y="28"/>
                    </a:lnTo>
                    <a:lnTo>
                      <a:pt x="150" y="29"/>
                    </a:lnTo>
                    <a:lnTo>
                      <a:pt x="151" y="29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49" y="32"/>
                    </a:lnTo>
                    <a:lnTo>
                      <a:pt x="148" y="33"/>
                    </a:lnTo>
                    <a:lnTo>
                      <a:pt x="148" y="33"/>
                    </a:lnTo>
                    <a:lnTo>
                      <a:pt x="146" y="33"/>
                    </a:lnTo>
                    <a:lnTo>
                      <a:pt x="145" y="33"/>
                    </a:lnTo>
                    <a:lnTo>
                      <a:pt x="144" y="32"/>
                    </a:lnTo>
                    <a:lnTo>
                      <a:pt x="143" y="31"/>
                    </a:lnTo>
                    <a:lnTo>
                      <a:pt x="141" y="30"/>
                    </a:lnTo>
                    <a:lnTo>
                      <a:pt x="139" y="30"/>
                    </a:lnTo>
                    <a:lnTo>
                      <a:pt x="138" y="29"/>
                    </a:lnTo>
                    <a:lnTo>
                      <a:pt x="134" y="29"/>
                    </a:lnTo>
                    <a:lnTo>
                      <a:pt x="133" y="29"/>
                    </a:lnTo>
                    <a:lnTo>
                      <a:pt x="132" y="28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1" y="25"/>
                    </a:lnTo>
                    <a:lnTo>
                      <a:pt x="130" y="24"/>
                    </a:lnTo>
                    <a:lnTo>
                      <a:pt x="129" y="23"/>
                    </a:lnTo>
                    <a:lnTo>
                      <a:pt x="128" y="23"/>
                    </a:lnTo>
                    <a:lnTo>
                      <a:pt x="128" y="23"/>
                    </a:lnTo>
                    <a:lnTo>
                      <a:pt x="127" y="23"/>
                    </a:lnTo>
                    <a:lnTo>
                      <a:pt x="126" y="22"/>
                    </a:lnTo>
                    <a:lnTo>
                      <a:pt x="126" y="22"/>
                    </a:lnTo>
                    <a:lnTo>
                      <a:pt x="125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19" y="22"/>
                    </a:lnTo>
                    <a:lnTo>
                      <a:pt x="118" y="21"/>
                    </a:lnTo>
                    <a:lnTo>
                      <a:pt x="117" y="21"/>
                    </a:lnTo>
                    <a:lnTo>
                      <a:pt x="117" y="20"/>
                    </a:lnTo>
                    <a:lnTo>
                      <a:pt x="116" y="20"/>
                    </a:lnTo>
                    <a:lnTo>
                      <a:pt x="116" y="20"/>
                    </a:lnTo>
                    <a:lnTo>
                      <a:pt x="115" y="20"/>
                    </a:lnTo>
                    <a:lnTo>
                      <a:pt x="114" y="18"/>
                    </a:lnTo>
                    <a:lnTo>
                      <a:pt x="114" y="18"/>
                    </a:lnTo>
                    <a:lnTo>
                      <a:pt x="113" y="18"/>
                    </a:lnTo>
                    <a:lnTo>
                      <a:pt x="113" y="18"/>
                    </a:lnTo>
                    <a:lnTo>
                      <a:pt x="112" y="18"/>
                    </a:lnTo>
                    <a:lnTo>
                      <a:pt x="111" y="17"/>
                    </a:lnTo>
                    <a:lnTo>
                      <a:pt x="111" y="17"/>
                    </a:lnTo>
                    <a:lnTo>
                      <a:pt x="110" y="17"/>
                    </a:lnTo>
                    <a:lnTo>
                      <a:pt x="110" y="15"/>
                    </a:lnTo>
                    <a:lnTo>
                      <a:pt x="111" y="15"/>
                    </a:lnTo>
                    <a:lnTo>
                      <a:pt x="111" y="15"/>
                    </a:lnTo>
                    <a:lnTo>
                      <a:pt x="114" y="11"/>
                    </a:lnTo>
                    <a:lnTo>
                      <a:pt x="114" y="11"/>
                    </a:lnTo>
                    <a:lnTo>
                      <a:pt x="114" y="10"/>
                    </a:lnTo>
                    <a:lnTo>
                      <a:pt x="114" y="9"/>
                    </a:lnTo>
                    <a:lnTo>
                      <a:pt x="113" y="8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2" y="7"/>
                    </a:lnTo>
                    <a:lnTo>
                      <a:pt x="112" y="6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4" y="4"/>
                    </a:lnTo>
                    <a:lnTo>
                      <a:pt x="114" y="4"/>
                    </a:lnTo>
                    <a:lnTo>
                      <a:pt x="114" y="3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3" y="2"/>
                    </a:lnTo>
                    <a:lnTo>
                      <a:pt x="113" y="3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0" y="3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1"/>
                    </a:lnTo>
                    <a:lnTo>
                      <a:pt x="110" y="0"/>
                    </a:lnTo>
                    <a:lnTo>
                      <a:pt x="108" y="0"/>
                    </a:lnTo>
                    <a:lnTo>
                      <a:pt x="107" y="1"/>
                    </a:lnTo>
                    <a:lnTo>
                      <a:pt x="106" y="1"/>
                    </a:lnTo>
                    <a:lnTo>
                      <a:pt x="106" y="2"/>
                    </a:lnTo>
                    <a:lnTo>
                      <a:pt x="104" y="1"/>
                    </a:lnTo>
                    <a:lnTo>
                      <a:pt x="104" y="1"/>
                    </a:lnTo>
                    <a:lnTo>
                      <a:pt x="103" y="1"/>
                    </a:lnTo>
                    <a:lnTo>
                      <a:pt x="102" y="2"/>
                    </a:lnTo>
                    <a:lnTo>
                      <a:pt x="100" y="1"/>
                    </a:lnTo>
                    <a:lnTo>
                      <a:pt x="99" y="1"/>
                    </a:lnTo>
                    <a:lnTo>
                      <a:pt x="99" y="2"/>
                    </a:lnTo>
                    <a:lnTo>
                      <a:pt x="97" y="2"/>
                    </a:lnTo>
                    <a:lnTo>
                      <a:pt x="95" y="0"/>
                    </a:lnTo>
                    <a:lnTo>
                      <a:pt x="95" y="2"/>
                    </a:lnTo>
                    <a:lnTo>
                      <a:pt x="93" y="2"/>
                    </a:lnTo>
                    <a:lnTo>
                      <a:pt x="92" y="3"/>
                    </a:lnTo>
                    <a:lnTo>
                      <a:pt x="90" y="2"/>
                    </a:lnTo>
                    <a:lnTo>
                      <a:pt x="89" y="2"/>
                    </a:lnTo>
                    <a:lnTo>
                      <a:pt x="88" y="2"/>
                    </a:lnTo>
                    <a:lnTo>
                      <a:pt x="87" y="2"/>
                    </a:lnTo>
                    <a:lnTo>
                      <a:pt x="85" y="2"/>
                    </a:lnTo>
                    <a:lnTo>
                      <a:pt x="84" y="2"/>
                    </a:lnTo>
                    <a:lnTo>
                      <a:pt x="84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79" y="3"/>
                    </a:lnTo>
                    <a:lnTo>
                      <a:pt x="79" y="4"/>
                    </a:lnTo>
                    <a:lnTo>
                      <a:pt x="76" y="4"/>
                    </a:lnTo>
                    <a:lnTo>
                      <a:pt x="75" y="4"/>
                    </a:lnTo>
                    <a:lnTo>
                      <a:pt x="74" y="4"/>
                    </a:lnTo>
                    <a:lnTo>
                      <a:pt x="73" y="4"/>
                    </a:lnTo>
                    <a:lnTo>
                      <a:pt x="72" y="5"/>
                    </a:lnTo>
                    <a:lnTo>
                      <a:pt x="71" y="5"/>
                    </a:lnTo>
                    <a:lnTo>
                      <a:pt x="71" y="6"/>
                    </a:lnTo>
                    <a:lnTo>
                      <a:pt x="70" y="7"/>
                    </a:lnTo>
                    <a:lnTo>
                      <a:pt x="70" y="7"/>
                    </a:lnTo>
                    <a:lnTo>
                      <a:pt x="69" y="7"/>
                    </a:lnTo>
                    <a:lnTo>
                      <a:pt x="68" y="7"/>
                    </a:lnTo>
                    <a:lnTo>
                      <a:pt x="67" y="7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0"/>
                    </a:lnTo>
                    <a:lnTo>
                      <a:pt x="61" y="10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4" y="11"/>
                    </a:lnTo>
                    <a:lnTo>
                      <a:pt x="52" y="10"/>
                    </a:lnTo>
                    <a:lnTo>
                      <a:pt x="50" y="9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9" y="7"/>
                    </a:lnTo>
                    <a:lnTo>
                      <a:pt x="48" y="7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9"/>
                    </a:lnTo>
                    <a:lnTo>
                      <a:pt x="47" y="10"/>
                    </a:lnTo>
                    <a:lnTo>
                      <a:pt x="46" y="12"/>
                    </a:lnTo>
                    <a:lnTo>
                      <a:pt x="46" y="13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3" y="17"/>
                    </a:lnTo>
                    <a:lnTo>
                      <a:pt x="43" y="17"/>
                    </a:lnTo>
                    <a:lnTo>
                      <a:pt x="42" y="17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39" y="19"/>
                    </a:lnTo>
                    <a:lnTo>
                      <a:pt x="38" y="19"/>
                    </a:lnTo>
                    <a:lnTo>
                      <a:pt x="36" y="19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5" y="21"/>
                    </a:lnTo>
                    <a:lnTo>
                      <a:pt x="35" y="21"/>
                    </a:lnTo>
                    <a:lnTo>
                      <a:pt x="34" y="23"/>
                    </a:lnTo>
                    <a:lnTo>
                      <a:pt x="34" y="24"/>
                    </a:lnTo>
                    <a:lnTo>
                      <a:pt x="33" y="25"/>
                    </a:lnTo>
                    <a:lnTo>
                      <a:pt x="32" y="26"/>
                    </a:lnTo>
                    <a:lnTo>
                      <a:pt x="32" y="27"/>
                    </a:lnTo>
                    <a:lnTo>
                      <a:pt x="31" y="28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0" y="31"/>
                    </a:lnTo>
                    <a:lnTo>
                      <a:pt x="30" y="32"/>
                    </a:lnTo>
                    <a:lnTo>
                      <a:pt x="31" y="32"/>
                    </a:lnTo>
                    <a:lnTo>
                      <a:pt x="32" y="32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30" y="35"/>
                    </a:lnTo>
                    <a:lnTo>
                      <a:pt x="28" y="39"/>
                    </a:lnTo>
                    <a:lnTo>
                      <a:pt x="27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5" y="40"/>
                    </a:lnTo>
                    <a:lnTo>
                      <a:pt x="25" y="41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3" y="43"/>
                    </a:lnTo>
                    <a:lnTo>
                      <a:pt x="21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9" y="44"/>
                    </a:lnTo>
                    <a:lnTo>
                      <a:pt x="19" y="44"/>
                    </a:lnTo>
                    <a:lnTo>
                      <a:pt x="17" y="44"/>
                    </a:lnTo>
                    <a:lnTo>
                      <a:pt x="17" y="45"/>
                    </a:lnTo>
                    <a:lnTo>
                      <a:pt x="17" y="45"/>
                    </a:lnTo>
                    <a:lnTo>
                      <a:pt x="16" y="46"/>
                    </a:lnTo>
                    <a:lnTo>
                      <a:pt x="17" y="46"/>
                    </a:lnTo>
                    <a:lnTo>
                      <a:pt x="17" y="46"/>
                    </a:lnTo>
                    <a:lnTo>
                      <a:pt x="16" y="48"/>
                    </a:lnTo>
                    <a:lnTo>
                      <a:pt x="16" y="49"/>
                    </a:lnTo>
                    <a:lnTo>
                      <a:pt x="15" y="49"/>
                    </a:lnTo>
                    <a:lnTo>
                      <a:pt x="15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1" y="52"/>
                    </a:lnTo>
                    <a:lnTo>
                      <a:pt x="11" y="54"/>
                    </a:lnTo>
                    <a:lnTo>
                      <a:pt x="9" y="56"/>
                    </a:lnTo>
                    <a:lnTo>
                      <a:pt x="9" y="57"/>
                    </a:lnTo>
                    <a:lnTo>
                      <a:pt x="10" y="58"/>
                    </a:lnTo>
                    <a:lnTo>
                      <a:pt x="10" y="59"/>
                    </a:lnTo>
                    <a:lnTo>
                      <a:pt x="9" y="61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7" y="62"/>
                    </a:lnTo>
                    <a:lnTo>
                      <a:pt x="7" y="63"/>
                    </a:lnTo>
                    <a:lnTo>
                      <a:pt x="6" y="63"/>
                    </a:lnTo>
                    <a:lnTo>
                      <a:pt x="6" y="63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3" y="67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70"/>
                    </a:lnTo>
                    <a:lnTo>
                      <a:pt x="3" y="71"/>
                    </a:lnTo>
                    <a:lnTo>
                      <a:pt x="2" y="71"/>
                    </a:lnTo>
                    <a:lnTo>
                      <a:pt x="1" y="71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" y="77"/>
                    </a:lnTo>
                    <a:lnTo>
                      <a:pt x="1" y="79"/>
                    </a:lnTo>
                    <a:lnTo>
                      <a:pt x="1" y="79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3" y="81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5"/>
                    </a:lnTo>
                    <a:lnTo>
                      <a:pt x="1" y="85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3" y="87"/>
                    </a:lnTo>
                    <a:lnTo>
                      <a:pt x="3" y="88"/>
                    </a:lnTo>
                    <a:lnTo>
                      <a:pt x="3" y="90"/>
                    </a:lnTo>
                    <a:lnTo>
                      <a:pt x="3" y="91"/>
                    </a:lnTo>
                    <a:lnTo>
                      <a:pt x="3" y="92"/>
                    </a:lnTo>
                    <a:lnTo>
                      <a:pt x="3" y="92"/>
                    </a:lnTo>
                    <a:lnTo>
                      <a:pt x="3" y="95"/>
                    </a:lnTo>
                    <a:lnTo>
                      <a:pt x="2" y="96"/>
                    </a:lnTo>
                    <a:lnTo>
                      <a:pt x="2" y="96"/>
                    </a:lnTo>
                    <a:lnTo>
                      <a:pt x="1" y="97"/>
                    </a:lnTo>
                    <a:lnTo>
                      <a:pt x="1" y="98"/>
                    </a:lnTo>
                    <a:lnTo>
                      <a:pt x="1" y="98"/>
                    </a:lnTo>
                    <a:lnTo>
                      <a:pt x="1" y="99"/>
                    </a:lnTo>
                    <a:lnTo>
                      <a:pt x="1" y="101"/>
                    </a:lnTo>
                    <a:lnTo>
                      <a:pt x="1" y="100"/>
                    </a:lnTo>
                    <a:lnTo>
                      <a:pt x="2" y="98"/>
                    </a:lnTo>
                    <a:lnTo>
                      <a:pt x="2" y="98"/>
                    </a:lnTo>
                    <a:lnTo>
                      <a:pt x="3" y="98"/>
                    </a:lnTo>
                    <a:lnTo>
                      <a:pt x="3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5" y="98"/>
                    </a:lnTo>
                    <a:lnTo>
                      <a:pt x="6" y="98"/>
                    </a:lnTo>
                    <a:lnTo>
                      <a:pt x="6" y="98"/>
                    </a:lnTo>
                    <a:lnTo>
                      <a:pt x="5" y="100"/>
                    </a:lnTo>
                    <a:lnTo>
                      <a:pt x="5" y="101"/>
                    </a:lnTo>
                    <a:lnTo>
                      <a:pt x="5" y="102"/>
                    </a:lnTo>
                    <a:lnTo>
                      <a:pt x="4" y="102"/>
                    </a:lnTo>
                    <a:lnTo>
                      <a:pt x="3" y="104"/>
                    </a:lnTo>
                    <a:lnTo>
                      <a:pt x="1" y="107"/>
                    </a:lnTo>
                    <a:lnTo>
                      <a:pt x="2" y="107"/>
                    </a:lnTo>
                    <a:lnTo>
                      <a:pt x="2" y="107"/>
                    </a:lnTo>
                    <a:lnTo>
                      <a:pt x="2" y="107"/>
                    </a:lnTo>
                    <a:lnTo>
                      <a:pt x="3" y="108"/>
                    </a:lnTo>
                    <a:lnTo>
                      <a:pt x="3" y="109"/>
                    </a:lnTo>
                    <a:lnTo>
                      <a:pt x="4" y="110"/>
                    </a:lnTo>
                    <a:lnTo>
                      <a:pt x="4" y="111"/>
                    </a:lnTo>
                    <a:lnTo>
                      <a:pt x="4" y="112"/>
                    </a:lnTo>
                    <a:lnTo>
                      <a:pt x="5" y="112"/>
                    </a:lnTo>
                    <a:lnTo>
                      <a:pt x="5" y="112"/>
                    </a:lnTo>
                    <a:lnTo>
                      <a:pt x="1" y="112"/>
                    </a:lnTo>
                    <a:lnTo>
                      <a:pt x="1" y="113"/>
                    </a:lnTo>
                    <a:lnTo>
                      <a:pt x="0" y="113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3" y="114"/>
                    </a:lnTo>
                    <a:lnTo>
                      <a:pt x="3" y="116"/>
                    </a:lnTo>
                    <a:lnTo>
                      <a:pt x="3" y="116"/>
                    </a:lnTo>
                    <a:lnTo>
                      <a:pt x="3" y="117"/>
                    </a:lnTo>
                    <a:lnTo>
                      <a:pt x="3" y="117"/>
                    </a:lnTo>
                    <a:lnTo>
                      <a:pt x="3" y="118"/>
                    </a:lnTo>
                    <a:lnTo>
                      <a:pt x="2" y="118"/>
                    </a:lnTo>
                    <a:lnTo>
                      <a:pt x="2" y="118"/>
                    </a:lnTo>
                    <a:lnTo>
                      <a:pt x="1" y="120"/>
                    </a:lnTo>
                    <a:lnTo>
                      <a:pt x="2" y="121"/>
                    </a:lnTo>
                    <a:lnTo>
                      <a:pt x="2" y="121"/>
                    </a:lnTo>
                    <a:lnTo>
                      <a:pt x="4" y="120"/>
                    </a:lnTo>
                    <a:lnTo>
                      <a:pt x="5" y="120"/>
                    </a:lnTo>
                    <a:lnTo>
                      <a:pt x="7" y="120"/>
                    </a:lnTo>
                    <a:lnTo>
                      <a:pt x="7" y="121"/>
                    </a:lnTo>
                    <a:lnTo>
                      <a:pt x="6" y="121"/>
                    </a:lnTo>
                    <a:lnTo>
                      <a:pt x="6" y="121"/>
                    </a:lnTo>
                    <a:lnTo>
                      <a:pt x="5" y="120"/>
                    </a:lnTo>
                    <a:lnTo>
                      <a:pt x="5" y="120"/>
                    </a:lnTo>
                    <a:lnTo>
                      <a:pt x="5" y="122"/>
                    </a:lnTo>
                    <a:lnTo>
                      <a:pt x="5" y="122"/>
                    </a:lnTo>
                    <a:lnTo>
                      <a:pt x="7" y="122"/>
                    </a:lnTo>
                    <a:lnTo>
                      <a:pt x="5" y="123"/>
                    </a:lnTo>
                    <a:lnTo>
                      <a:pt x="6" y="125"/>
                    </a:lnTo>
                    <a:lnTo>
                      <a:pt x="7" y="124"/>
                    </a:lnTo>
                    <a:lnTo>
                      <a:pt x="7" y="124"/>
                    </a:lnTo>
                    <a:lnTo>
                      <a:pt x="7" y="124"/>
                    </a:lnTo>
                    <a:lnTo>
                      <a:pt x="7" y="125"/>
                    </a:lnTo>
                    <a:lnTo>
                      <a:pt x="8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8" y="126"/>
                    </a:lnTo>
                    <a:lnTo>
                      <a:pt x="9" y="127"/>
                    </a:lnTo>
                    <a:lnTo>
                      <a:pt x="9" y="128"/>
                    </a:lnTo>
                    <a:lnTo>
                      <a:pt x="10" y="129"/>
                    </a:lnTo>
                    <a:lnTo>
                      <a:pt x="11" y="129"/>
                    </a:lnTo>
                    <a:lnTo>
                      <a:pt x="11" y="130"/>
                    </a:lnTo>
                    <a:lnTo>
                      <a:pt x="12" y="130"/>
                    </a:lnTo>
                    <a:lnTo>
                      <a:pt x="12" y="130"/>
                    </a:lnTo>
                    <a:lnTo>
                      <a:pt x="12" y="130"/>
                    </a:lnTo>
                    <a:lnTo>
                      <a:pt x="12" y="131"/>
                    </a:lnTo>
                    <a:lnTo>
                      <a:pt x="12" y="132"/>
                    </a:lnTo>
                    <a:lnTo>
                      <a:pt x="13" y="133"/>
                    </a:lnTo>
                    <a:lnTo>
                      <a:pt x="14" y="133"/>
                    </a:lnTo>
                    <a:lnTo>
                      <a:pt x="14" y="133"/>
                    </a:lnTo>
                    <a:lnTo>
                      <a:pt x="13" y="133"/>
                    </a:lnTo>
                    <a:lnTo>
                      <a:pt x="14" y="134"/>
                    </a:lnTo>
                    <a:lnTo>
                      <a:pt x="14" y="134"/>
                    </a:lnTo>
                    <a:lnTo>
                      <a:pt x="13" y="135"/>
                    </a:lnTo>
                    <a:lnTo>
                      <a:pt x="13" y="136"/>
                    </a:lnTo>
                    <a:lnTo>
                      <a:pt x="14" y="137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9"/>
                    </a:lnTo>
                    <a:lnTo>
                      <a:pt x="16" y="140"/>
                    </a:lnTo>
                    <a:lnTo>
                      <a:pt x="16" y="141"/>
                    </a:lnTo>
                    <a:lnTo>
                      <a:pt x="17" y="141"/>
                    </a:lnTo>
                    <a:lnTo>
                      <a:pt x="17" y="142"/>
                    </a:lnTo>
                    <a:lnTo>
                      <a:pt x="18" y="143"/>
                    </a:lnTo>
                    <a:lnTo>
                      <a:pt x="19" y="143"/>
                    </a:lnTo>
                    <a:lnTo>
                      <a:pt x="21" y="145"/>
                    </a:lnTo>
                    <a:lnTo>
                      <a:pt x="21" y="144"/>
                    </a:lnTo>
                    <a:lnTo>
                      <a:pt x="22" y="146"/>
                    </a:lnTo>
                    <a:lnTo>
                      <a:pt x="24" y="146"/>
                    </a:lnTo>
                    <a:lnTo>
                      <a:pt x="24" y="147"/>
                    </a:lnTo>
                    <a:lnTo>
                      <a:pt x="26" y="147"/>
                    </a:lnTo>
                    <a:lnTo>
                      <a:pt x="26" y="148"/>
                    </a:lnTo>
                    <a:lnTo>
                      <a:pt x="27" y="149"/>
                    </a:lnTo>
                    <a:lnTo>
                      <a:pt x="28" y="150"/>
                    </a:lnTo>
                    <a:lnTo>
                      <a:pt x="29" y="151"/>
                    </a:lnTo>
                    <a:lnTo>
                      <a:pt x="30" y="152"/>
                    </a:lnTo>
                    <a:lnTo>
                      <a:pt x="31" y="152"/>
                    </a:lnTo>
                    <a:lnTo>
                      <a:pt x="32" y="153"/>
                    </a:lnTo>
                    <a:lnTo>
                      <a:pt x="32" y="153"/>
                    </a:lnTo>
                    <a:lnTo>
                      <a:pt x="33" y="153"/>
                    </a:lnTo>
                    <a:lnTo>
                      <a:pt x="35" y="155"/>
                    </a:lnTo>
                    <a:lnTo>
                      <a:pt x="37" y="156"/>
                    </a:lnTo>
                    <a:lnTo>
                      <a:pt x="37" y="156"/>
                    </a:lnTo>
                    <a:lnTo>
                      <a:pt x="37" y="156"/>
                    </a:lnTo>
                    <a:lnTo>
                      <a:pt x="38" y="156"/>
                    </a:lnTo>
                    <a:lnTo>
                      <a:pt x="38" y="155"/>
                    </a:lnTo>
                    <a:lnTo>
                      <a:pt x="39" y="155"/>
                    </a:lnTo>
                    <a:lnTo>
                      <a:pt x="40" y="155"/>
                    </a:lnTo>
                    <a:lnTo>
                      <a:pt x="40" y="154"/>
                    </a:lnTo>
                    <a:lnTo>
                      <a:pt x="41" y="154"/>
                    </a:lnTo>
                    <a:lnTo>
                      <a:pt x="45" y="152"/>
                    </a:lnTo>
                    <a:lnTo>
                      <a:pt x="46" y="152"/>
                    </a:lnTo>
                    <a:lnTo>
                      <a:pt x="48" y="152"/>
                    </a:lnTo>
                    <a:lnTo>
                      <a:pt x="49" y="152"/>
                    </a:lnTo>
                    <a:lnTo>
                      <a:pt x="49" y="152"/>
                    </a:lnTo>
                    <a:lnTo>
                      <a:pt x="50" y="151"/>
                    </a:lnTo>
                    <a:lnTo>
                      <a:pt x="53" y="151"/>
                    </a:lnTo>
                    <a:lnTo>
                      <a:pt x="53" y="152"/>
                    </a:lnTo>
                    <a:lnTo>
                      <a:pt x="53" y="152"/>
                    </a:lnTo>
                    <a:lnTo>
                      <a:pt x="54" y="152"/>
                    </a:lnTo>
                    <a:lnTo>
                      <a:pt x="55" y="152"/>
                    </a:lnTo>
                    <a:lnTo>
                      <a:pt x="55" y="151"/>
                    </a:lnTo>
                    <a:lnTo>
                      <a:pt x="56" y="151"/>
                    </a:lnTo>
                    <a:lnTo>
                      <a:pt x="56" y="152"/>
                    </a:lnTo>
                    <a:lnTo>
                      <a:pt x="56" y="152"/>
                    </a:lnTo>
                    <a:lnTo>
                      <a:pt x="57" y="153"/>
                    </a:lnTo>
                    <a:lnTo>
                      <a:pt x="58" y="153"/>
                    </a:lnTo>
                    <a:lnTo>
                      <a:pt x="58" y="153"/>
                    </a:lnTo>
                    <a:lnTo>
                      <a:pt x="59" y="153"/>
                    </a:lnTo>
                    <a:lnTo>
                      <a:pt x="59" y="154"/>
                    </a:lnTo>
                    <a:lnTo>
                      <a:pt x="59" y="154"/>
                    </a:lnTo>
                    <a:lnTo>
                      <a:pt x="60" y="154"/>
                    </a:lnTo>
                    <a:lnTo>
                      <a:pt x="60" y="154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3" y="153"/>
                    </a:lnTo>
                    <a:lnTo>
                      <a:pt x="63" y="153"/>
                    </a:lnTo>
                    <a:lnTo>
                      <a:pt x="64" y="152"/>
                    </a:lnTo>
                    <a:lnTo>
                      <a:pt x="66" y="152"/>
                    </a:lnTo>
                    <a:lnTo>
                      <a:pt x="66" y="152"/>
                    </a:lnTo>
                    <a:lnTo>
                      <a:pt x="67" y="152"/>
                    </a:lnTo>
                    <a:lnTo>
                      <a:pt x="68" y="150"/>
                    </a:lnTo>
                    <a:lnTo>
                      <a:pt x="68" y="150"/>
                    </a:lnTo>
                    <a:lnTo>
                      <a:pt x="69" y="150"/>
                    </a:lnTo>
                    <a:lnTo>
                      <a:pt x="69" y="150"/>
                    </a:lnTo>
                    <a:lnTo>
                      <a:pt x="70" y="149"/>
                    </a:lnTo>
                    <a:lnTo>
                      <a:pt x="71" y="149"/>
                    </a:lnTo>
                    <a:lnTo>
                      <a:pt x="71" y="149"/>
                    </a:lnTo>
                    <a:lnTo>
                      <a:pt x="72" y="149"/>
                    </a:lnTo>
                    <a:lnTo>
                      <a:pt x="73" y="149"/>
                    </a:lnTo>
                    <a:lnTo>
                      <a:pt x="75" y="147"/>
                    </a:lnTo>
                    <a:lnTo>
                      <a:pt x="75" y="147"/>
                    </a:lnTo>
                    <a:lnTo>
                      <a:pt x="76" y="146"/>
                    </a:lnTo>
                    <a:lnTo>
                      <a:pt x="77" y="146"/>
                    </a:lnTo>
                    <a:lnTo>
                      <a:pt x="77" y="147"/>
                    </a:lnTo>
                    <a:lnTo>
                      <a:pt x="77" y="147"/>
                    </a:lnTo>
                    <a:lnTo>
                      <a:pt x="78" y="147"/>
                    </a:lnTo>
                    <a:lnTo>
                      <a:pt x="79" y="147"/>
                    </a:lnTo>
                    <a:lnTo>
                      <a:pt x="79" y="146"/>
                    </a:lnTo>
                    <a:lnTo>
                      <a:pt x="80" y="146"/>
                    </a:lnTo>
                    <a:lnTo>
                      <a:pt x="80" y="147"/>
                    </a:lnTo>
                    <a:lnTo>
                      <a:pt x="80" y="146"/>
                    </a:lnTo>
                    <a:lnTo>
                      <a:pt x="81" y="146"/>
                    </a:lnTo>
                    <a:lnTo>
                      <a:pt x="81" y="146"/>
                    </a:lnTo>
                    <a:lnTo>
                      <a:pt x="82" y="146"/>
                    </a:lnTo>
                    <a:lnTo>
                      <a:pt x="84" y="146"/>
                    </a:lnTo>
                    <a:lnTo>
                      <a:pt x="84" y="145"/>
                    </a:lnTo>
                    <a:lnTo>
                      <a:pt x="84" y="146"/>
                    </a:lnTo>
                    <a:lnTo>
                      <a:pt x="87" y="146"/>
                    </a:lnTo>
                    <a:lnTo>
                      <a:pt x="88" y="146"/>
                    </a:lnTo>
                    <a:lnTo>
                      <a:pt x="89" y="147"/>
                    </a:lnTo>
                    <a:lnTo>
                      <a:pt x="89" y="148"/>
                    </a:lnTo>
                    <a:lnTo>
                      <a:pt x="90" y="149"/>
                    </a:lnTo>
                    <a:lnTo>
                      <a:pt x="90" y="149"/>
                    </a:lnTo>
                    <a:lnTo>
                      <a:pt x="91" y="149"/>
                    </a:lnTo>
                    <a:lnTo>
                      <a:pt x="91" y="150"/>
                    </a:lnTo>
                    <a:lnTo>
                      <a:pt x="91" y="150"/>
                    </a:lnTo>
                    <a:lnTo>
                      <a:pt x="91" y="151"/>
                    </a:lnTo>
                    <a:lnTo>
                      <a:pt x="91" y="151"/>
                    </a:lnTo>
                    <a:lnTo>
                      <a:pt x="92" y="150"/>
                    </a:lnTo>
                    <a:lnTo>
                      <a:pt x="92" y="151"/>
                    </a:lnTo>
                    <a:lnTo>
                      <a:pt x="92" y="151"/>
                    </a:lnTo>
                    <a:lnTo>
                      <a:pt x="91" y="152"/>
                    </a:lnTo>
                    <a:lnTo>
                      <a:pt x="91" y="153"/>
                    </a:lnTo>
                    <a:lnTo>
                      <a:pt x="92" y="155"/>
                    </a:lnTo>
                    <a:lnTo>
                      <a:pt x="93" y="155"/>
                    </a:lnTo>
                    <a:lnTo>
                      <a:pt x="94" y="156"/>
                    </a:lnTo>
                    <a:lnTo>
                      <a:pt x="96" y="156"/>
                    </a:lnTo>
                    <a:lnTo>
                      <a:pt x="96" y="155"/>
                    </a:lnTo>
                    <a:lnTo>
                      <a:pt x="97" y="155"/>
                    </a:lnTo>
                    <a:lnTo>
                      <a:pt x="97" y="154"/>
                    </a:lnTo>
                    <a:lnTo>
                      <a:pt x="99" y="155"/>
                    </a:lnTo>
                    <a:lnTo>
                      <a:pt x="100" y="154"/>
                    </a:lnTo>
                    <a:lnTo>
                      <a:pt x="101" y="155"/>
                    </a:lnTo>
                    <a:lnTo>
                      <a:pt x="103" y="155"/>
                    </a:lnTo>
                    <a:lnTo>
                      <a:pt x="103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5"/>
                    </a:lnTo>
                    <a:lnTo>
                      <a:pt x="105" y="154"/>
                    </a:lnTo>
                    <a:lnTo>
                      <a:pt x="105" y="156"/>
                    </a:lnTo>
                    <a:lnTo>
                      <a:pt x="106" y="157"/>
                    </a:lnTo>
                    <a:lnTo>
                      <a:pt x="107" y="158"/>
                    </a:lnTo>
                    <a:lnTo>
                      <a:pt x="108" y="158"/>
                    </a:lnTo>
                    <a:lnTo>
                      <a:pt x="109" y="157"/>
                    </a:lnTo>
                    <a:lnTo>
                      <a:pt x="108" y="158"/>
                    </a:lnTo>
                    <a:lnTo>
                      <a:pt x="109" y="160"/>
                    </a:lnTo>
                    <a:lnTo>
                      <a:pt x="110" y="160"/>
                    </a:lnTo>
                    <a:lnTo>
                      <a:pt x="110" y="163"/>
                    </a:lnTo>
                    <a:lnTo>
                      <a:pt x="109" y="163"/>
                    </a:lnTo>
                    <a:lnTo>
                      <a:pt x="109" y="165"/>
                    </a:lnTo>
                    <a:lnTo>
                      <a:pt x="110" y="166"/>
                    </a:lnTo>
                    <a:lnTo>
                      <a:pt x="112" y="166"/>
                    </a:lnTo>
                    <a:lnTo>
                      <a:pt x="112" y="166"/>
                    </a:lnTo>
                    <a:lnTo>
                      <a:pt x="110" y="166"/>
                    </a:lnTo>
                    <a:lnTo>
                      <a:pt x="109" y="165"/>
                    </a:lnTo>
                    <a:lnTo>
                      <a:pt x="109" y="166"/>
                    </a:lnTo>
                    <a:lnTo>
                      <a:pt x="109" y="168"/>
                    </a:lnTo>
                    <a:lnTo>
                      <a:pt x="108" y="169"/>
                    </a:lnTo>
                    <a:lnTo>
                      <a:pt x="108" y="169"/>
                    </a:lnTo>
                    <a:lnTo>
                      <a:pt x="107" y="170"/>
                    </a:lnTo>
                    <a:lnTo>
                      <a:pt x="107" y="171"/>
                    </a:lnTo>
                    <a:lnTo>
                      <a:pt x="107" y="171"/>
                    </a:lnTo>
                    <a:lnTo>
                      <a:pt x="107" y="171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3"/>
                    </a:lnTo>
                    <a:lnTo>
                      <a:pt x="108" y="173"/>
                    </a:lnTo>
                    <a:lnTo>
                      <a:pt x="108" y="174"/>
                    </a:lnTo>
                    <a:lnTo>
                      <a:pt x="108" y="174"/>
                    </a:lnTo>
                    <a:lnTo>
                      <a:pt x="108" y="175"/>
                    </a:lnTo>
                    <a:lnTo>
                      <a:pt x="107" y="175"/>
                    </a:lnTo>
                    <a:lnTo>
                      <a:pt x="107" y="178"/>
                    </a:lnTo>
                    <a:lnTo>
                      <a:pt x="106" y="179"/>
                    </a:lnTo>
                    <a:lnTo>
                      <a:pt x="106" y="179"/>
                    </a:lnTo>
                    <a:lnTo>
                      <a:pt x="106" y="180"/>
                    </a:lnTo>
                    <a:lnTo>
                      <a:pt x="105" y="180"/>
                    </a:lnTo>
                    <a:lnTo>
                      <a:pt x="104" y="180"/>
                    </a:lnTo>
                    <a:lnTo>
                      <a:pt x="106" y="183"/>
                    </a:lnTo>
                    <a:lnTo>
                      <a:pt x="106" y="183"/>
                    </a:lnTo>
                    <a:lnTo>
                      <a:pt x="107" y="184"/>
                    </a:lnTo>
                    <a:lnTo>
                      <a:pt x="107" y="184"/>
                    </a:lnTo>
                    <a:lnTo>
                      <a:pt x="107" y="185"/>
                    </a:lnTo>
                    <a:lnTo>
                      <a:pt x="106" y="185"/>
                    </a:lnTo>
                    <a:lnTo>
                      <a:pt x="106" y="185"/>
                    </a:lnTo>
                    <a:lnTo>
                      <a:pt x="107" y="186"/>
                    </a:lnTo>
                    <a:lnTo>
                      <a:pt x="108" y="186"/>
                    </a:lnTo>
                    <a:lnTo>
                      <a:pt x="108" y="188"/>
                    </a:lnTo>
                    <a:lnTo>
                      <a:pt x="110" y="189"/>
                    </a:lnTo>
                    <a:lnTo>
                      <a:pt x="110" y="189"/>
                    </a:lnTo>
                    <a:lnTo>
                      <a:pt x="113" y="193"/>
                    </a:lnTo>
                    <a:lnTo>
                      <a:pt x="112" y="193"/>
                    </a:lnTo>
                    <a:lnTo>
                      <a:pt x="114" y="195"/>
                    </a:lnTo>
                    <a:lnTo>
                      <a:pt x="115" y="194"/>
                    </a:lnTo>
                    <a:lnTo>
                      <a:pt x="115" y="194"/>
                    </a:lnTo>
                    <a:lnTo>
                      <a:pt x="115" y="195"/>
                    </a:lnTo>
                    <a:lnTo>
                      <a:pt x="118" y="198"/>
                    </a:lnTo>
                    <a:lnTo>
                      <a:pt x="118" y="199"/>
                    </a:lnTo>
                    <a:lnTo>
                      <a:pt x="119" y="199"/>
                    </a:lnTo>
                    <a:lnTo>
                      <a:pt x="118" y="199"/>
                    </a:lnTo>
                    <a:lnTo>
                      <a:pt x="118" y="200"/>
                    </a:lnTo>
                    <a:lnTo>
                      <a:pt x="119" y="203"/>
                    </a:lnTo>
                    <a:lnTo>
                      <a:pt x="119" y="204"/>
                    </a:lnTo>
                    <a:lnTo>
                      <a:pt x="119" y="204"/>
                    </a:lnTo>
                    <a:lnTo>
                      <a:pt x="119" y="204"/>
                    </a:lnTo>
                    <a:lnTo>
                      <a:pt x="119" y="204"/>
                    </a:lnTo>
                    <a:lnTo>
                      <a:pt x="119" y="204"/>
                    </a:lnTo>
                    <a:lnTo>
                      <a:pt x="120" y="205"/>
                    </a:lnTo>
                    <a:lnTo>
                      <a:pt x="120" y="205"/>
                    </a:lnTo>
                    <a:lnTo>
                      <a:pt x="120" y="205"/>
                    </a:lnTo>
                    <a:lnTo>
                      <a:pt x="119" y="206"/>
                    </a:lnTo>
                    <a:lnTo>
                      <a:pt x="119" y="206"/>
                    </a:lnTo>
                    <a:lnTo>
                      <a:pt x="119" y="207"/>
                    </a:lnTo>
                    <a:lnTo>
                      <a:pt x="120" y="207"/>
                    </a:lnTo>
                    <a:lnTo>
                      <a:pt x="121" y="208"/>
                    </a:lnTo>
                    <a:lnTo>
                      <a:pt x="122" y="209"/>
                    </a:lnTo>
                    <a:lnTo>
                      <a:pt x="122" y="211"/>
                    </a:lnTo>
                    <a:lnTo>
                      <a:pt x="122" y="211"/>
                    </a:lnTo>
                    <a:lnTo>
                      <a:pt x="123" y="213"/>
                    </a:lnTo>
                    <a:lnTo>
                      <a:pt x="124" y="214"/>
                    </a:lnTo>
                    <a:lnTo>
                      <a:pt x="124" y="216"/>
                    </a:lnTo>
                    <a:lnTo>
                      <a:pt x="124" y="217"/>
                    </a:lnTo>
                    <a:lnTo>
                      <a:pt x="123" y="219"/>
                    </a:lnTo>
                    <a:lnTo>
                      <a:pt x="123" y="219"/>
                    </a:lnTo>
                    <a:lnTo>
                      <a:pt x="123" y="221"/>
                    </a:lnTo>
                    <a:lnTo>
                      <a:pt x="123" y="221"/>
                    </a:lnTo>
                    <a:lnTo>
                      <a:pt x="123" y="223"/>
                    </a:lnTo>
                    <a:lnTo>
                      <a:pt x="124" y="225"/>
                    </a:lnTo>
                    <a:lnTo>
                      <a:pt x="125" y="227"/>
                    </a:lnTo>
                    <a:lnTo>
                      <a:pt x="126" y="229"/>
                    </a:lnTo>
                    <a:lnTo>
                      <a:pt x="126" y="231"/>
                    </a:lnTo>
                    <a:lnTo>
                      <a:pt x="126" y="232"/>
                    </a:lnTo>
                    <a:lnTo>
                      <a:pt x="125" y="233"/>
                    </a:lnTo>
                    <a:lnTo>
                      <a:pt x="125" y="233"/>
                    </a:lnTo>
                    <a:lnTo>
                      <a:pt x="125" y="234"/>
                    </a:lnTo>
                    <a:lnTo>
                      <a:pt x="125" y="234"/>
                    </a:lnTo>
                    <a:lnTo>
                      <a:pt x="125" y="235"/>
                    </a:lnTo>
                    <a:lnTo>
                      <a:pt x="125" y="236"/>
                    </a:lnTo>
                    <a:lnTo>
                      <a:pt x="124" y="236"/>
                    </a:lnTo>
                    <a:lnTo>
                      <a:pt x="123" y="236"/>
                    </a:lnTo>
                    <a:lnTo>
                      <a:pt x="122" y="237"/>
                    </a:lnTo>
                    <a:lnTo>
                      <a:pt x="123" y="239"/>
                    </a:lnTo>
                    <a:lnTo>
                      <a:pt x="121" y="239"/>
                    </a:lnTo>
                    <a:lnTo>
                      <a:pt x="121" y="239"/>
                    </a:lnTo>
                    <a:lnTo>
                      <a:pt x="121" y="241"/>
                    </a:lnTo>
                    <a:lnTo>
                      <a:pt x="120" y="241"/>
                    </a:lnTo>
                    <a:lnTo>
                      <a:pt x="120" y="242"/>
                    </a:lnTo>
                    <a:lnTo>
                      <a:pt x="119" y="243"/>
                    </a:lnTo>
                    <a:lnTo>
                      <a:pt x="119" y="247"/>
                    </a:lnTo>
                    <a:lnTo>
                      <a:pt x="118" y="247"/>
                    </a:lnTo>
                    <a:lnTo>
                      <a:pt x="118" y="248"/>
                    </a:lnTo>
                    <a:lnTo>
                      <a:pt x="118" y="250"/>
                    </a:lnTo>
                    <a:lnTo>
                      <a:pt x="117" y="251"/>
                    </a:lnTo>
                    <a:lnTo>
                      <a:pt x="117" y="253"/>
                    </a:lnTo>
                    <a:lnTo>
                      <a:pt x="117" y="255"/>
                    </a:lnTo>
                    <a:lnTo>
                      <a:pt x="116" y="256"/>
                    </a:lnTo>
                    <a:lnTo>
                      <a:pt x="116" y="258"/>
                    </a:lnTo>
                    <a:lnTo>
                      <a:pt x="116" y="258"/>
                    </a:lnTo>
                    <a:lnTo>
                      <a:pt x="117" y="262"/>
                    </a:lnTo>
                    <a:lnTo>
                      <a:pt x="117" y="262"/>
                    </a:lnTo>
                    <a:lnTo>
                      <a:pt x="118" y="263"/>
                    </a:lnTo>
                    <a:lnTo>
                      <a:pt x="118" y="264"/>
                    </a:lnTo>
                    <a:lnTo>
                      <a:pt x="120" y="265"/>
                    </a:lnTo>
                    <a:lnTo>
                      <a:pt x="121" y="267"/>
                    </a:lnTo>
                    <a:lnTo>
                      <a:pt x="122" y="269"/>
                    </a:lnTo>
                    <a:lnTo>
                      <a:pt x="123" y="271"/>
                    </a:lnTo>
                    <a:lnTo>
                      <a:pt x="123" y="272"/>
                    </a:lnTo>
                    <a:lnTo>
                      <a:pt x="123" y="273"/>
                    </a:lnTo>
                    <a:lnTo>
                      <a:pt x="124" y="274"/>
                    </a:lnTo>
                    <a:lnTo>
                      <a:pt x="125" y="276"/>
                    </a:lnTo>
                    <a:lnTo>
                      <a:pt x="126" y="278"/>
                    </a:lnTo>
                    <a:lnTo>
                      <a:pt x="126" y="279"/>
                    </a:lnTo>
                    <a:lnTo>
                      <a:pt x="126" y="279"/>
                    </a:lnTo>
                    <a:lnTo>
                      <a:pt x="127" y="280"/>
                    </a:lnTo>
                    <a:lnTo>
                      <a:pt x="127" y="280"/>
                    </a:lnTo>
                    <a:lnTo>
                      <a:pt x="128" y="281"/>
                    </a:lnTo>
                    <a:lnTo>
                      <a:pt x="128" y="281"/>
                    </a:lnTo>
                    <a:lnTo>
                      <a:pt x="128" y="290"/>
                    </a:lnTo>
                    <a:lnTo>
                      <a:pt x="129" y="293"/>
                    </a:lnTo>
                    <a:lnTo>
                      <a:pt x="129" y="296"/>
                    </a:lnTo>
                    <a:lnTo>
                      <a:pt x="129" y="296"/>
                    </a:lnTo>
                    <a:lnTo>
                      <a:pt x="130" y="299"/>
                    </a:lnTo>
                    <a:lnTo>
                      <a:pt x="130" y="301"/>
                    </a:lnTo>
                    <a:lnTo>
                      <a:pt x="131" y="301"/>
                    </a:lnTo>
                    <a:lnTo>
                      <a:pt x="131" y="304"/>
                    </a:lnTo>
                    <a:lnTo>
                      <a:pt x="131" y="304"/>
                    </a:lnTo>
                    <a:lnTo>
                      <a:pt x="132" y="304"/>
                    </a:lnTo>
                    <a:lnTo>
                      <a:pt x="132" y="306"/>
                    </a:lnTo>
                    <a:lnTo>
                      <a:pt x="132" y="307"/>
                    </a:lnTo>
                    <a:lnTo>
                      <a:pt x="133" y="307"/>
                    </a:lnTo>
                    <a:lnTo>
                      <a:pt x="133" y="308"/>
                    </a:lnTo>
                    <a:lnTo>
                      <a:pt x="133" y="309"/>
                    </a:lnTo>
                    <a:lnTo>
                      <a:pt x="133" y="309"/>
                    </a:lnTo>
                    <a:lnTo>
                      <a:pt x="134" y="310"/>
                    </a:lnTo>
                    <a:lnTo>
                      <a:pt x="134" y="310"/>
                    </a:lnTo>
                    <a:lnTo>
                      <a:pt x="135" y="311"/>
                    </a:lnTo>
                    <a:lnTo>
                      <a:pt x="136" y="312"/>
                    </a:lnTo>
                    <a:lnTo>
                      <a:pt x="136" y="312"/>
                    </a:lnTo>
                    <a:lnTo>
                      <a:pt x="136" y="312"/>
                    </a:lnTo>
                    <a:lnTo>
                      <a:pt x="136" y="312"/>
                    </a:lnTo>
                    <a:lnTo>
                      <a:pt x="136" y="313"/>
                    </a:lnTo>
                    <a:lnTo>
                      <a:pt x="136" y="313"/>
                    </a:lnTo>
                    <a:lnTo>
                      <a:pt x="138" y="315"/>
                    </a:lnTo>
                    <a:lnTo>
                      <a:pt x="138" y="316"/>
                    </a:lnTo>
                    <a:lnTo>
                      <a:pt x="138" y="319"/>
                    </a:lnTo>
                    <a:lnTo>
                      <a:pt x="139" y="320"/>
                    </a:lnTo>
                    <a:lnTo>
                      <a:pt x="139" y="321"/>
                    </a:lnTo>
                    <a:lnTo>
                      <a:pt x="140" y="323"/>
                    </a:lnTo>
                    <a:lnTo>
                      <a:pt x="141" y="324"/>
                    </a:lnTo>
                    <a:lnTo>
                      <a:pt x="142" y="326"/>
                    </a:lnTo>
                    <a:lnTo>
                      <a:pt x="143" y="327"/>
                    </a:lnTo>
                    <a:lnTo>
                      <a:pt x="143" y="330"/>
                    </a:lnTo>
                    <a:lnTo>
                      <a:pt x="142" y="331"/>
                    </a:lnTo>
                    <a:lnTo>
                      <a:pt x="142" y="331"/>
                    </a:lnTo>
                    <a:lnTo>
                      <a:pt x="141" y="331"/>
                    </a:lnTo>
                    <a:lnTo>
                      <a:pt x="141" y="332"/>
                    </a:lnTo>
                    <a:lnTo>
                      <a:pt x="141" y="333"/>
                    </a:lnTo>
                    <a:lnTo>
                      <a:pt x="142" y="334"/>
                    </a:lnTo>
                    <a:lnTo>
                      <a:pt x="142" y="335"/>
                    </a:lnTo>
                    <a:lnTo>
                      <a:pt x="142" y="337"/>
                    </a:lnTo>
                    <a:lnTo>
                      <a:pt x="143" y="338"/>
                    </a:lnTo>
                    <a:lnTo>
                      <a:pt x="143" y="338"/>
                    </a:lnTo>
                    <a:lnTo>
                      <a:pt x="143" y="338"/>
                    </a:lnTo>
                    <a:lnTo>
                      <a:pt x="143" y="338"/>
                    </a:lnTo>
                    <a:lnTo>
                      <a:pt x="144" y="338"/>
                    </a:lnTo>
                    <a:lnTo>
                      <a:pt x="144" y="338"/>
                    </a:lnTo>
                    <a:lnTo>
                      <a:pt x="145" y="338"/>
                    </a:lnTo>
                    <a:lnTo>
                      <a:pt x="146" y="339"/>
                    </a:lnTo>
                    <a:lnTo>
                      <a:pt x="146" y="340"/>
                    </a:lnTo>
                    <a:lnTo>
                      <a:pt x="148" y="341"/>
                    </a:lnTo>
                    <a:lnTo>
                      <a:pt x="149" y="341"/>
                    </a:lnTo>
                    <a:lnTo>
                      <a:pt x="150" y="340"/>
                    </a:lnTo>
                    <a:lnTo>
                      <a:pt x="150" y="340"/>
                    </a:lnTo>
                    <a:lnTo>
                      <a:pt x="151" y="339"/>
                    </a:lnTo>
                    <a:lnTo>
                      <a:pt x="151" y="339"/>
                    </a:lnTo>
                    <a:lnTo>
                      <a:pt x="153" y="339"/>
                    </a:lnTo>
                    <a:lnTo>
                      <a:pt x="154" y="339"/>
                    </a:lnTo>
                    <a:lnTo>
                      <a:pt x="157" y="339"/>
                    </a:lnTo>
                    <a:lnTo>
                      <a:pt x="157" y="339"/>
                    </a:lnTo>
                    <a:lnTo>
                      <a:pt x="157" y="338"/>
                    </a:lnTo>
                    <a:lnTo>
                      <a:pt x="157" y="338"/>
                    </a:lnTo>
                    <a:lnTo>
                      <a:pt x="158" y="337"/>
                    </a:lnTo>
                    <a:lnTo>
                      <a:pt x="158" y="337"/>
                    </a:lnTo>
                    <a:lnTo>
                      <a:pt x="160" y="337"/>
                    </a:lnTo>
                    <a:lnTo>
                      <a:pt x="161" y="337"/>
                    </a:lnTo>
                    <a:lnTo>
                      <a:pt x="161" y="337"/>
                    </a:lnTo>
                    <a:lnTo>
                      <a:pt x="162" y="338"/>
                    </a:lnTo>
                    <a:lnTo>
                      <a:pt x="162" y="337"/>
                    </a:lnTo>
                    <a:lnTo>
                      <a:pt x="163" y="337"/>
                    </a:lnTo>
                    <a:lnTo>
                      <a:pt x="163" y="337"/>
                    </a:lnTo>
                    <a:lnTo>
                      <a:pt x="165" y="337"/>
                    </a:lnTo>
                    <a:lnTo>
                      <a:pt x="166" y="337"/>
                    </a:lnTo>
                    <a:lnTo>
                      <a:pt x="168" y="338"/>
                    </a:lnTo>
                    <a:lnTo>
                      <a:pt x="169" y="338"/>
                    </a:lnTo>
                    <a:lnTo>
                      <a:pt x="169" y="337"/>
                    </a:lnTo>
                    <a:lnTo>
                      <a:pt x="170" y="337"/>
                    </a:lnTo>
                    <a:lnTo>
                      <a:pt x="172" y="337"/>
                    </a:lnTo>
                    <a:lnTo>
                      <a:pt x="172" y="337"/>
                    </a:lnTo>
                    <a:lnTo>
                      <a:pt x="173" y="336"/>
                    </a:lnTo>
                    <a:lnTo>
                      <a:pt x="173" y="336"/>
                    </a:lnTo>
                    <a:lnTo>
                      <a:pt x="176" y="336"/>
                    </a:lnTo>
                    <a:lnTo>
                      <a:pt x="178" y="335"/>
                    </a:lnTo>
                    <a:lnTo>
                      <a:pt x="179" y="335"/>
                    </a:lnTo>
                    <a:lnTo>
                      <a:pt x="180" y="334"/>
                    </a:lnTo>
                    <a:lnTo>
                      <a:pt x="182" y="332"/>
                    </a:lnTo>
                    <a:lnTo>
                      <a:pt x="182" y="331"/>
                    </a:lnTo>
                    <a:lnTo>
                      <a:pt x="183" y="331"/>
                    </a:lnTo>
                    <a:lnTo>
                      <a:pt x="189" y="325"/>
                    </a:lnTo>
                    <a:lnTo>
                      <a:pt x="190" y="325"/>
                    </a:lnTo>
                    <a:lnTo>
                      <a:pt x="191" y="325"/>
                    </a:lnTo>
                    <a:lnTo>
                      <a:pt x="193" y="322"/>
                    </a:lnTo>
                    <a:lnTo>
                      <a:pt x="193" y="320"/>
                    </a:lnTo>
                    <a:lnTo>
                      <a:pt x="194" y="319"/>
                    </a:lnTo>
                    <a:lnTo>
                      <a:pt x="194" y="319"/>
                    </a:lnTo>
                    <a:lnTo>
                      <a:pt x="195" y="316"/>
                    </a:lnTo>
                    <a:lnTo>
                      <a:pt x="196" y="315"/>
                    </a:lnTo>
                    <a:lnTo>
                      <a:pt x="196" y="315"/>
                    </a:lnTo>
                    <a:lnTo>
                      <a:pt x="197" y="314"/>
                    </a:lnTo>
                    <a:lnTo>
                      <a:pt x="197" y="314"/>
                    </a:lnTo>
                    <a:lnTo>
                      <a:pt x="198" y="313"/>
                    </a:lnTo>
                    <a:lnTo>
                      <a:pt x="199" y="313"/>
                    </a:lnTo>
                    <a:lnTo>
                      <a:pt x="200" y="312"/>
                    </a:lnTo>
                    <a:lnTo>
                      <a:pt x="201" y="311"/>
                    </a:lnTo>
                    <a:lnTo>
                      <a:pt x="201" y="310"/>
                    </a:lnTo>
                    <a:lnTo>
                      <a:pt x="201" y="309"/>
                    </a:lnTo>
                    <a:lnTo>
                      <a:pt x="202" y="308"/>
                    </a:lnTo>
                    <a:lnTo>
                      <a:pt x="202" y="307"/>
                    </a:lnTo>
                    <a:lnTo>
                      <a:pt x="202" y="307"/>
                    </a:lnTo>
                    <a:lnTo>
                      <a:pt x="202" y="306"/>
                    </a:lnTo>
                    <a:lnTo>
                      <a:pt x="203" y="306"/>
                    </a:lnTo>
                    <a:lnTo>
                      <a:pt x="203" y="305"/>
                    </a:lnTo>
                    <a:lnTo>
                      <a:pt x="203" y="304"/>
                    </a:lnTo>
                    <a:lnTo>
                      <a:pt x="203" y="304"/>
                    </a:lnTo>
                    <a:lnTo>
                      <a:pt x="203" y="303"/>
                    </a:lnTo>
                    <a:lnTo>
                      <a:pt x="203" y="301"/>
                    </a:lnTo>
                    <a:lnTo>
                      <a:pt x="203" y="300"/>
                    </a:lnTo>
                    <a:lnTo>
                      <a:pt x="202" y="299"/>
                    </a:lnTo>
                    <a:lnTo>
                      <a:pt x="202" y="299"/>
                    </a:lnTo>
                    <a:lnTo>
                      <a:pt x="202" y="298"/>
                    </a:lnTo>
                    <a:lnTo>
                      <a:pt x="203" y="297"/>
                    </a:lnTo>
                    <a:lnTo>
                      <a:pt x="206" y="295"/>
                    </a:lnTo>
                    <a:lnTo>
                      <a:pt x="209" y="293"/>
                    </a:lnTo>
                    <a:lnTo>
                      <a:pt x="210" y="293"/>
                    </a:lnTo>
                    <a:lnTo>
                      <a:pt x="211" y="292"/>
                    </a:lnTo>
                    <a:lnTo>
                      <a:pt x="212" y="292"/>
                    </a:lnTo>
                    <a:lnTo>
                      <a:pt x="213" y="291"/>
                    </a:lnTo>
                    <a:lnTo>
                      <a:pt x="214" y="290"/>
                    </a:lnTo>
                    <a:lnTo>
                      <a:pt x="214" y="289"/>
                    </a:lnTo>
                    <a:lnTo>
                      <a:pt x="214" y="289"/>
                    </a:lnTo>
                    <a:lnTo>
                      <a:pt x="214" y="289"/>
                    </a:lnTo>
                    <a:lnTo>
                      <a:pt x="214" y="289"/>
                    </a:lnTo>
                    <a:lnTo>
                      <a:pt x="213" y="289"/>
                    </a:lnTo>
                    <a:lnTo>
                      <a:pt x="213" y="288"/>
                    </a:lnTo>
                    <a:lnTo>
                      <a:pt x="215" y="285"/>
                    </a:lnTo>
                    <a:lnTo>
                      <a:pt x="215" y="283"/>
                    </a:lnTo>
                    <a:lnTo>
                      <a:pt x="214" y="283"/>
                    </a:lnTo>
                    <a:lnTo>
                      <a:pt x="214" y="283"/>
                    </a:lnTo>
                    <a:lnTo>
                      <a:pt x="215" y="281"/>
                    </a:lnTo>
                    <a:lnTo>
                      <a:pt x="215" y="281"/>
                    </a:lnTo>
                    <a:lnTo>
                      <a:pt x="214" y="282"/>
                    </a:lnTo>
                    <a:lnTo>
                      <a:pt x="214" y="279"/>
                    </a:lnTo>
                    <a:lnTo>
                      <a:pt x="214" y="279"/>
                    </a:lnTo>
                    <a:lnTo>
                      <a:pt x="213" y="278"/>
                    </a:lnTo>
                    <a:lnTo>
                      <a:pt x="212" y="278"/>
                    </a:lnTo>
                    <a:lnTo>
                      <a:pt x="212" y="276"/>
                    </a:lnTo>
                    <a:lnTo>
                      <a:pt x="213" y="276"/>
                    </a:lnTo>
                    <a:lnTo>
                      <a:pt x="213" y="274"/>
                    </a:lnTo>
                    <a:lnTo>
                      <a:pt x="212" y="274"/>
                    </a:lnTo>
                    <a:lnTo>
                      <a:pt x="212" y="274"/>
                    </a:lnTo>
                    <a:lnTo>
                      <a:pt x="211" y="273"/>
                    </a:lnTo>
                    <a:lnTo>
                      <a:pt x="211" y="272"/>
                    </a:lnTo>
                    <a:lnTo>
                      <a:pt x="212" y="271"/>
                    </a:lnTo>
                    <a:lnTo>
                      <a:pt x="212" y="270"/>
                    </a:lnTo>
                    <a:lnTo>
                      <a:pt x="213" y="270"/>
                    </a:lnTo>
                    <a:lnTo>
                      <a:pt x="215" y="269"/>
                    </a:lnTo>
                    <a:lnTo>
                      <a:pt x="215" y="268"/>
                    </a:lnTo>
                    <a:lnTo>
                      <a:pt x="215" y="268"/>
                    </a:lnTo>
                    <a:lnTo>
                      <a:pt x="216" y="266"/>
                    </a:lnTo>
                    <a:lnTo>
                      <a:pt x="216" y="266"/>
                    </a:lnTo>
                    <a:lnTo>
                      <a:pt x="217" y="266"/>
                    </a:lnTo>
                    <a:lnTo>
                      <a:pt x="217" y="265"/>
                    </a:lnTo>
                    <a:lnTo>
                      <a:pt x="218" y="265"/>
                    </a:lnTo>
                    <a:lnTo>
                      <a:pt x="218" y="265"/>
                    </a:lnTo>
                    <a:lnTo>
                      <a:pt x="219" y="264"/>
                    </a:lnTo>
                    <a:lnTo>
                      <a:pt x="220" y="263"/>
                    </a:lnTo>
                    <a:lnTo>
                      <a:pt x="221" y="261"/>
                    </a:lnTo>
                    <a:lnTo>
                      <a:pt x="222" y="259"/>
                    </a:lnTo>
                    <a:lnTo>
                      <a:pt x="223" y="259"/>
                    </a:lnTo>
                    <a:lnTo>
                      <a:pt x="226" y="258"/>
                    </a:lnTo>
                    <a:lnTo>
                      <a:pt x="228" y="257"/>
                    </a:lnTo>
                    <a:lnTo>
                      <a:pt x="229" y="256"/>
                    </a:lnTo>
                    <a:lnTo>
                      <a:pt x="230" y="256"/>
                    </a:lnTo>
                    <a:lnTo>
                      <a:pt x="232" y="255"/>
                    </a:lnTo>
                    <a:lnTo>
                      <a:pt x="232" y="255"/>
                    </a:lnTo>
                    <a:lnTo>
                      <a:pt x="233" y="254"/>
                    </a:lnTo>
                    <a:lnTo>
                      <a:pt x="233" y="253"/>
                    </a:lnTo>
                    <a:lnTo>
                      <a:pt x="234" y="252"/>
                    </a:lnTo>
                    <a:lnTo>
                      <a:pt x="234" y="251"/>
                    </a:lnTo>
                    <a:lnTo>
                      <a:pt x="235" y="250"/>
                    </a:lnTo>
                    <a:lnTo>
                      <a:pt x="235" y="250"/>
                    </a:lnTo>
                    <a:lnTo>
                      <a:pt x="236" y="249"/>
                    </a:lnTo>
                    <a:lnTo>
                      <a:pt x="236" y="249"/>
                    </a:lnTo>
                    <a:lnTo>
                      <a:pt x="236" y="248"/>
                    </a:lnTo>
                    <a:lnTo>
                      <a:pt x="237" y="247"/>
                    </a:lnTo>
                    <a:lnTo>
                      <a:pt x="237" y="246"/>
                    </a:lnTo>
                    <a:lnTo>
                      <a:pt x="237" y="246"/>
                    </a:lnTo>
                    <a:lnTo>
                      <a:pt x="237" y="245"/>
                    </a:lnTo>
                    <a:lnTo>
                      <a:pt x="237" y="244"/>
                    </a:lnTo>
                    <a:lnTo>
                      <a:pt x="236" y="244"/>
                    </a:lnTo>
                    <a:lnTo>
                      <a:pt x="236" y="241"/>
                    </a:lnTo>
                    <a:lnTo>
                      <a:pt x="235" y="240"/>
                    </a:lnTo>
                    <a:lnTo>
                      <a:pt x="237" y="239"/>
                    </a:lnTo>
                    <a:lnTo>
                      <a:pt x="236" y="237"/>
                    </a:lnTo>
                    <a:lnTo>
                      <a:pt x="237" y="235"/>
                    </a:lnTo>
                    <a:lnTo>
                      <a:pt x="236" y="233"/>
                    </a:lnTo>
                    <a:lnTo>
                      <a:pt x="236" y="232"/>
                    </a:lnTo>
                    <a:lnTo>
                      <a:pt x="237" y="230"/>
                    </a:lnTo>
                    <a:lnTo>
                      <a:pt x="237" y="228"/>
                    </a:lnTo>
                    <a:lnTo>
                      <a:pt x="237" y="226"/>
                    </a:lnTo>
                    <a:lnTo>
                      <a:pt x="237" y="226"/>
                    </a:lnTo>
                    <a:lnTo>
                      <a:pt x="237" y="225"/>
                    </a:lnTo>
                    <a:lnTo>
                      <a:pt x="236" y="225"/>
                    </a:lnTo>
                    <a:lnTo>
                      <a:pt x="236" y="225"/>
                    </a:lnTo>
                    <a:lnTo>
                      <a:pt x="235" y="225"/>
                    </a:lnTo>
                    <a:lnTo>
                      <a:pt x="234" y="224"/>
                    </a:lnTo>
                    <a:lnTo>
                      <a:pt x="234" y="223"/>
                    </a:lnTo>
                    <a:lnTo>
                      <a:pt x="234" y="222"/>
                    </a:lnTo>
                    <a:lnTo>
                      <a:pt x="234" y="220"/>
                    </a:lnTo>
                    <a:lnTo>
                      <a:pt x="233" y="217"/>
                    </a:lnTo>
                    <a:lnTo>
                      <a:pt x="233" y="215"/>
                    </a:lnTo>
                    <a:lnTo>
                      <a:pt x="232" y="213"/>
                    </a:lnTo>
                    <a:lnTo>
                      <a:pt x="233" y="213"/>
                    </a:lnTo>
                    <a:lnTo>
                      <a:pt x="233" y="212"/>
                    </a:lnTo>
                    <a:lnTo>
                      <a:pt x="234" y="211"/>
                    </a:lnTo>
                    <a:lnTo>
                      <a:pt x="234" y="210"/>
                    </a:lnTo>
                    <a:lnTo>
                      <a:pt x="233" y="210"/>
                    </a:lnTo>
                    <a:lnTo>
                      <a:pt x="233" y="209"/>
                    </a:lnTo>
                    <a:lnTo>
                      <a:pt x="232" y="209"/>
                    </a:lnTo>
                    <a:lnTo>
                      <a:pt x="231" y="209"/>
                    </a:lnTo>
                    <a:lnTo>
                      <a:pt x="232" y="203"/>
                    </a:lnTo>
                    <a:lnTo>
                      <a:pt x="232" y="202"/>
                    </a:lnTo>
                    <a:lnTo>
                      <a:pt x="232" y="201"/>
                    </a:lnTo>
                    <a:lnTo>
                      <a:pt x="232" y="200"/>
                    </a:lnTo>
                    <a:lnTo>
                      <a:pt x="232" y="199"/>
                    </a:lnTo>
                    <a:lnTo>
                      <a:pt x="232" y="199"/>
                    </a:lnTo>
                    <a:lnTo>
                      <a:pt x="232" y="198"/>
                    </a:lnTo>
                    <a:lnTo>
                      <a:pt x="234" y="194"/>
                    </a:lnTo>
                    <a:lnTo>
                      <a:pt x="234" y="192"/>
                    </a:lnTo>
                    <a:lnTo>
                      <a:pt x="235" y="192"/>
                    </a:lnTo>
                    <a:lnTo>
                      <a:pt x="235" y="192"/>
                    </a:lnTo>
                    <a:lnTo>
                      <a:pt x="236" y="191"/>
                    </a:lnTo>
                    <a:lnTo>
                      <a:pt x="236" y="190"/>
                    </a:lnTo>
                    <a:lnTo>
                      <a:pt x="235" y="190"/>
                    </a:lnTo>
                    <a:lnTo>
                      <a:pt x="235" y="189"/>
                    </a:lnTo>
                    <a:lnTo>
                      <a:pt x="236" y="189"/>
                    </a:lnTo>
                    <a:lnTo>
                      <a:pt x="237" y="188"/>
                    </a:lnTo>
                    <a:lnTo>
                      <a:pt x="237" y="188"/>
                    </a:lnTo>
                    <a:lnTo>
                      <a:pt x="238" y="188"/>
                    </a:lnTo>
                    <a:lnTo>
                      <a:pt x="238" y="188"/>
                    </a:lnTo>
                    <a:lnTo>
                      <a:pt x="238" y="185"/>
                    </a:lnTo>
                    <a:lnTo>
                      <a:pt x="240" y="185"/>
                    </a:lnTo>
                    <a:lnTo>
                      <a:pt x="241" y="185"/>
                    </a:lnTo>
                    <a:lnTo>
                      <a:pt x="241" y="185"/>
                    </a:lnTo>
                    <a:lnTo>
                      <a:pt x="242" y="184"/>
                    </a:lnTo>
                    <a:lnTo>
                      <a:pt x="242" y="184"/>
                    </a:lnTo>
                    <a:lnTo>
                      <a:pt x="243" y="183"/>
                    </a:lnTo>
                    <a:lnTo>
                      <a:pt x="245" y="180"/>
                    </a:lnTo>
                    <a:lnTo>
                      <a:pt x="245" y="179"/>
                    </a:lnTo>
                    <a:lnTo>
                      <a:pt x="246" y="178"/>
                    </a:lnTo>
                    <a:lnTo>
                      <a:pt x="248" y="176"/>
                    </a:lnTo>
                    <a:lnTo>
                      <a:pt x="249" y="176"/>
                    </a:lnTo>
                    <a:lnTo>
                      <a:pt x="249" y="175"/>
                    </a:lnTo>
                    <a:lnTo>
                      <a:pt x="251" y="173"/>
                    </a:lnTo>
                    <a:lnTo>
                      <a:pt x="253" y="171"/>
                    </a:lnTo>
                    <a:lnTo>
                      <a:pt x="254" y="169"/>
                    </a:lnTo>
                    <a:lnTo>
                      <a:pt x="255" y="169"/>
                    </a:lnTo>
                    <a:lnTo>
                      <a:pt x="256" y="168"/>
                    </a:lnTo>
                    <a:lnTo>
                      <a:pt x="257" y="168"/>
                    </a:lnTo>
                    <a:lnTo>
                      <a:pt x="258" y="167"/>
                    </a:lnTo>
                    <a:lnTo>
                      <a:pt x="260" y="166"/>
                    </a:lnTo>
                    <a:lnTo>
                      <a:pt x="262" y="164"/>
                    </a:lnTo>
                    <a:lnTo>
                      <a:pt x="264" y="161"/>
                    </a:lnTo>
                    <a:lnTo>
                      <a:pt x="265" y="160"/>
                    </a:lnTo>
                    <a:lnTo>
                      <a:pt x="267" y="158"/>
                    </a:lnTo>
                    <a:lnTo>
                      <a:pt x="268" y="156"/>
                    </a:lnTo>
                    <a:lnTo>
                      <a:pt x="270" y="153"/>
                    </a:lnTo>
                    <a:lnTo>
                      <a:pt x="270" y="152"/>
                    </a:lnTo>
                    <a:lnTo>
                      <a:pt x="272" y="150"/>
                    </a:lnTo>
                    <a:lnTo>
                      <a:pt x="272" y="149"/>
                    </a:lnTo>
                    <a:lnTo>
                      <a:pt x="273" y="149"/>
                    </a:lnTo>
                    <a:lnTo>
                      <a:pt x="273" y="148"/>
                    </a:lnTo>
                    <a:lnTo>
                      <a:pt x="273" y="148"/>
                    </a:lnTo>
                    <a:lnTo>
                      <a:pt x="273" y="146"/>
                    </a:lnTo>
                    <a:lnTo>
                      <a:pt x="274" y="145"/>
                    </a:lnTo>
                    <a:lnTo>
                      <a:pt x="274" y="145"/>
                    </a:lnTo>
                    <a:lnTo>
                      <a:pt x="274" y="144"/>
                    </a:lnTo>
                    <a:lnTo>
                      <a:pt x="274" y="143"/>
                    </a:lnTo>
                    <a:lnTo>
                      <a:pt x="275" y="142"/>
                    </a:lnTo>
                    <a:lnTo>
                      <a:pt x="275" y="142"/>
                    </a:lnTo>
                    <a:lnTo>
                      <a:pt x="276" y="141"/>
                    </a:lnTo>
                    <a:lnTo>
                      <a:pt x="276" y="139"/>
                    </a:lnTo>
                    <a:lnTo>
                      <a:pt x="277" y="138"/>
                    </a:lnTo>
                    <a:lnTo>
                      <a:pt x="277" y="138"/>
                    </a:lnTo>
                    <a:lnTo>
                      <a:pt x="278" y="135"/>
                    </a:lnTo>
                    <a:lnTo>
                      <a:pt x="279" y="135"/>
                    </a:lnTo>
                    <a:lnTo>
                      <a:pt x="279" y="134"/>
                    </a:lnTo>
                    <a:lnTo>
                      <a:pt x="279" y="134"/>
                    </a:lnTo>
                    <a:lnTo>
                      <a:pt x="279" y="128"/>
                    </a:lnTo>
                    <a:lnTo>
                      <a:pt x="281" y="127"/>
                    </a:lnTo>
                    <a:lnTo>
                      <a:pt x="280" y="123"/>
                    </a:lnTo>
                    <a:lnTo>
                      <a:pt x="281" y="122"/>
                    </a:lnTo>
                    <a:lnTo>
                      <a:pt x="281" y="122"/>
                    </a:lnTo>
                    <a:lnTo>
                      <a:pt x="281" y="121"/>
                    </a:lnTo>
                    <a:lnTo>
                      <a:pt x="281" y="121"/>
                    </a:lnTo>
                    <a:lnTo>
                      <a:pt x="280" y="120"/>
                    </a:lnTo>
                    <a:close/>
                    <a:moveTo>
                      <a:pt x="7" y="97"/>
                    </a:moveTo>
                    <a:lnTo>
                      <a:pt x="7" y="98"/>
                    </a:lnTo>
                    <a:lnTo>
                      <a:pt x="7" y="97"/>
                    </a:lnTo>
                    <a:lnTo>
                      <a:pt x="8" y="97"/>
                    </a:lnTo>
                    <a:lnTo>
                      <a:pt x="7" y="97"/>
                    </a:lnTo>
                    <a:close/>
                    <a:moveTo>
                      <a:pt x="8" y="98"/>
                    </a:move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9" y="98"/>
                    </a:lnTo>
                    <a:lnTo>
                      <a:pt x="8" y="98"/>
                    </a:lnTo>
                    <a:close/>
                    <a:moveTo>
                      <a:pt x="38" y="150"/>
                    </a:moveTo>
                    <a:lnTo>
                      <a:pt x="37" y="149"/>
                    </a:lnTo>
                    <a:lnTo>
                      <a:pt x="37" y="149"/>
                    </a:lnTo>
                    <a:lnTo>
                      <a:pt x="38" y="150"/>
                    </a:lnTo>
                    <a:lnTo>
                      <a:pt x="38" y="150"/>
                    </a:lnTo>
                    <a:close/>
                    <a:moveTo>
                      <a:pt x="119" y="199"/>
                    </a:moveTo>
                    <a:lnTo>
                      <a:pt x="119" y="199"/>
                    </a:lnTo>
                    <a:lnTo>
                      <a:pt x="119" y="199"/>
                    </a:lnTo>
                    <a:lnTo>
                      <a:pt x="119" y="199"/>
                    </a:lnTo>
                    <a:lnTo>
                      <a:pt x="119" y="199"/>
                    </a:lnTo>
                    <a:close/>
                    <a:moveTo>
                      <a:pt x="120" y="201"/>
                    </a:moveTo>
                    <a:lnTo>
                      <a:pt x="120" y="201"/>
                    </a:lnTo>
                    <a:lnTo>
                      <a:pt x="120" y="201"/>
                    </a:lnTo>
                    <a:lnTo>
                      <a:pt x="120" y="201"/>
                    </a:lnTo>
                    <a:lnTo>
                      <a:pt x="120" y="201"/>
                    </a:lnTo>
                    <a:close/>
                    <a:moveTo>
                      <a:pt x="121" y="202"/>
                    </a:moveTo>
                    <a:lnTo>
                      <a:pt x="121" y="202"/>
                    </a:lnTo>
                    <a:lnTo>
                      <a:pt x="121" y="202"/>
                    </a:lnTo>
                    <a:lnTo>
                      <a:pt x="121" y="202"/>
                    </a:lnTo>
                    <a:lnTo>
                      <a:pt x="121" y="202"/>
                    </a:lnTo>
                    <a:close/>
                    <a:moveTo>
                      <a:pt x="202" y="303"/>
                    </a:move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close/>
                    <a:moveTo>
                      <a:pt x="228" y="92"/>
                    </a:moveTo>
                    <a:lnTo>
                      <a:pt x="228" y="92"/>
                    </a:lnTo>
                    <a:lnTo>
                      <a:pt x="228" y="92"/>
                    </a:lnTo>
                    <a:lnTo>
                      <a:pt x="228" y="91"/>
                    </a:lnTo>
                    <a:lnTo>
                      <a:pt x="228" y="9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12" name="Freeform 108"/>
              <p:cNvSpPr>
                <a:spLocks/>
              </p:cNvSpPr>
              <p:nvPr/>
            </p:nvSpPr>
            <p:spPr bwMode="gray">
              <a:xfrm>
                <a:off x="5084763" y="4410075"/>
                <a:ext cx="53975" cy="101600"/>
              </a:xfrm>
              <a:custGeom>
                <a:avLst/>
                <a:gdLst/>
                <a:ahLst/>
                <a:cxnLst>
                  <a:cxn ang="0">
                    <a:pos x="34" y="9"/>
                  </a:cxn>
                  <a:cxn ang="0">
                    <a:pos x="32" y="7"/>
                  </a:cxn>
                  <a:cxn ang="0">
                    <a:pos x="32" y="5"/>
                  </a:cxn>
                  <a:cxn ang="0">
                    <a:pos x="29" y="0"/>
                  </a:cxn>
                  <a:cxn ang="0">
                    <a:pos x="27" y="4"/>
                  </a:cxn>
                  <a:cxn ang="0">
                    <a:pos x="26" y="6"/>
                  </a:cxn>
                  <a:cxn ang="0">
                    <a:pos x="25" y="7"/>
                  </a:cxn>
                  <a:cxn ang="0">
                    <a:pos x="24" y="8"/>
                  </a:cxn>
                  <a:cxn ang="0">
                    <a:pos x="23" y="7"/>
                  </a:cxn>
                  <a:cxn ang="0">
                    <a:pos x="23" y="9"/>
                  </a:cxn>
                  <a:cxn ang="0">
                    <a:pos x="23" y="11"/>
                  </a:cxn>
                  <a:cxn ang="0">
                    <a:pos x="22" y="12"/>
                  </a:cxn>
                  <a:cxn ang="0">
                    <a:pos x="21" y="11"/>
                  </a:cxn>
                  <a:cxn ang="0">
                    <a:pos x="21" y="11"/>
                  </a:cxn>
                  <a:cxn ang="0">
                    <a:pos x="20" y="14"/>
                  </a:cxn>
                  <a:cxn ang="0">
                    <a:pos x="19" y="15"/>
                  </a:cxn>
                  <a:cxn ang="0">
                    <a:pos x="18" y="15"/>
                  </a:cxn>
                  <a:cxn ang="0">
                    <a:pos x="16" y="17"/>
                  </a:cxn>
                  <a:cxn ang="0">
                    <a:pos x="11" y="18"/>
                  </a:cxn>
                  <a:cxn ang="0">
                    <a:pos x="8" y="19"/>
                  </a:cxn>
                  <a:cxn ang="0">
                    <a:pos x="8" y="21"/>
                  </a:cxn>
                  <a:cxn ang="0">
                    <a:pos x="5" y="24"/>
                  </a:cxn>
                  <a:cxn ang="0">
                    <a:pos x="6" y="31"/>
                  </a:cxn>
                  <a:cxn ang="0">
                    <a:pos x="6" y="35"/>
                  </a:cxn>
                  <a:cxn ang="0">
                    <a:pos x="6" y="39"/>
                  </a:cxn>
                  <a:cxn ang="0">
                    <a:pos x="5" y="39"/>
                  </a:cxn>
                  <a:cxn ang="0">
                    <a:pos x="3" y="4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1" y="56"/>
                  </a:cxn>
                  <a:cxn ang="0">
                    <a:pos x="3" y="58"/>
                  </a:cxn>
                  <a:cxn ang="0">
                    <a:pos x="2" y="60"/>
                  </a:cxn>
                  <a:cxn ang="0">
                    <a:pos x="3" y="61"/>
                  </a:cxn>
                  <a:cxn ang="0">
                    <a:pos x="5" y="63"/>
                  </a:cxn>
                  <a:cxn ang="0">
                    <a:pos x="9" y="64"/>
                  </a:cxn>
                  <a:cxn ang="0">
                    <a:pos x="12" y="63"/>
                  </a:cxn>
                  <a:cxn ang="0">
                    <a:pos x="13" y="63"/>
                  </a:cxn>
                  <a:cxn ang="0">
                    <a:pos x="15" y="61"/>
                  </a:cxn>
                  <a:cxn ang="0">
                    <a:pos x="17" y="58"/>
                  </a:cxn>
                  <a:cxn ang="0">
                    <a:pos x="18" y="54"/>
                  </a:cxn>
                  <a:cxn ang="0">
                    <a:pos x="19" y="50"/>
                  </a:cxn>
                  <a:cxn ang="0">
                    <a:pos x="25" y="38"/>
                  </a:cxn>
                  <a:cxn ang="0">
                    <a:pos x="28" y="30"/>
                  </a:cxn>
                  <a:cxn ang="0">
                    <a:pos x="29" y="26"/>
                  </a:cxn>
                  <a:cxn ang="0">
                    <a:pos x="28" y="24"/>
                  </a:cxn>
                  <a:cxn ang="0">
                    <a:pos x="29" y="21"/>
                  </a:cxn>
                  <a:cxn ang="0">
                    <a:pos x="30" y="20"/>
                  </a:cxn>
                  <a:cxn ang="0">
                    <a:pos x="30" y="17"/>
                  </a:cxn>
                  <a:cxn ang="0">
                    <a:pos x="32" y="17"/>
                  </a:cxn>
                  <a:cxn ang="0">
                    <a:pos x="33" y="17"/>
                  </a:cxn>
                  <a:cxn ang="0">
                    <a:pos x="34" y="17"/>
                  </a:cxn>
                  <a:cxn ang="0">
                    <a:pos x="33" y="13"/>
                  </a:cxn>
                </a:cxnLst>
                <a:rect l="0" t="0" r="r" b="b"/>
                <a:pathLst>
                  <a:path w="34" h="64">
                    <a:moveTo>
                      <a:pt x="34" y="10"/>
                    </a:moveTo>
                    <a:lnTo>
                      <a:pt x="34" y="9"/>
                    </a:lnTo>
                    <a:lnTo>
                      <a:pt x="33" y="9"/>
                    </a:lnTo>
                    <a:lnTo>
                      <a:pt x="32" y="7"/>
                    </a:lnTo>
                    <a:lnTo>
                      <a:pt x="32" y="6"/>
                    </a:lnTo>
                    <a:lnTo>
                      <a:pt x="32" y="5"/>
                    </a:lnTo>
                    <a:lnTo>
                      <a:pt x="32" y="3"/>
                    </a:lnTo>
                    <a:lnTo>
                      <a:pt x="29" y="0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6" y="5"/>
                    </a:lnTo>
                    <a:lnTo>
                      <a:pt x="26" y="6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5" y="8"/>
                    </a:lnTo>
                    <a:lnTo>
                      <a:pt x="24" y="8"/>
                    </a:lnTo>
                    <a:lnTo>
                      <a:pt x="24" y="7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3" y="9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20" y="16"/>
                    </a:lnTo>
                    <a:lnTo>
                      <a:pt x="19" y="15"/>
                    </a:lnTo>
                    <a:lnTo>
                      <a:pt x="19" y="13"/>
                    </a:lnTo>
                    <a:lnTo>
                      <a:pt x="18" y="15"/>
                    </a:lnTo>
                    <a:lnTo>
                      <a:pt x="18" y="17"/>
                    </a:lnTo>
                    <a:lnTo>
                      <a:pt x="16" y="17"/>
                    </a:lnTo>
                    <a:lnTo>
                      <a:pt x="15" y="18"/>
                    </a:lnTo>
                    <a:lnTo>
                      <a:pt x="11" y="18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7" y="19"/>
                    </a:lnTo>
                    <a:lnTo>
                      <a:pt x="8" y="21"/>
                    </a:lnTo>
                    <a:lnTo>
                      <a:pt x="8" y="22"/>
                    </a:lnTo>
                    <a:lnTo>
                      <a:pt x="5" y="24"/>
                    </a:lnTo>
                    <a:lnTo>
                      <a:pt x="5" y="25"/>
                    </a:lnTo>
                    <a:lnTo>
                      <a:pt x="6" y="31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9"/>
                    </a:lnTo>
                    <a:lnTo>
                      <a:pt x="6" y="39"/>
                    </a:lnTo>
                    <a:lnTo>
                      <a:pt x="5" y="39"/>
                    </a:lnTo>
                    <a:lnTo>
                      <a:pt x="4" y="40"/>
                    </a:lnTo>
                    <a:lnTo>
                      <a:pt x="3" y="41"/>
                    </a:lnTo>
                    <a:lnTo>
                      <a:pt x="1" y="44"/>
                    </a:lnTo>
                    <a:lnTo>
                      <a:pt x="0" y="45"/>
                    </a:lnTo>
                    <a:lnTo>
                      <a:pt x="0" y="46"/>
                    </a:lnTo>
                    <a:lnTo>
                      <a:pt x="0" y="49"/>
                    </a:lnTo>
                    <a:lnTo>
                      <a:pt x="1" y="53"/>
                    </a:lnTo>
                    <a:lnTo>
                      <a:pt x="1" y="56"/>
                    </a:lnTo>
                    <a:lnTo>
                      <a:pt x="2" y="58"/>
                    </a:lnTo>
                    <a:lnTo>
                      <a:pt x="3" y="58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3" y="61"/>
                    </a:lnTo>
                    <a:lnTo>
                      <a:pt x="3" y="62"/>
                    </a:lnTo>
                    <a:lnTo>
                      <a:pt x="5" y="63"/>
                    </a:lnTo>
                    <a:lnTo>
                      <a:pt x="7" y="64"/>
                    </a:lnTo>
                    <a:lnTo>
                      <a:pt x="9" y="64"/>
                    </a:lnTo>
                    <a:lnTo>
                      <a:pt x="11" y="63"/>
                    </a:lnTo>
                    <a:lnTo>
                      <a:pt x="12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4" y="61"/>
                    </a:lnTo>
                    <a:lnTo>
                      <a:pt x="15" y="61"/>
                    </a:lnTo>
                    <a:lnTo>
                      <a:pt x="16" y="60"/>
                    </a:lnTo>
                    <a:lnTo>
                      <a:pt x="17" y="58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8" y="53"/>
                    </a:lnTo>
                    <a:lnTo>
                      <a:pt x="19" y="50"/>
                    </a:lnTo>
                    <a:lnTo>
                      <a:pt x="23" y="42"/>
                    </a:lnTo>
                    <a:lnTo>
                      <a:pt x="25" y="38"/>
                    </a:lnTo>
                    <a:lnTo>
                      <a:pt x="27" y="34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29" y="26"/>
                    </a:lnTo>
                    <a:lnTo>
                      <a:pt x="29" y="24"/>
                    </a:lnTo>
                    <a:lnTo>
                      <a:pt x="28" y="24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21"/>
                    </a:lnTo>
                    <a:lnTo>
                      <a:pt x="30" y="20"/>
                    </a:lnTo>
                    <a:lnTo>
                      <a:pt x="31" y="19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2" y="17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4" y="17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3" y="13"/>
                    </a:lnTo>
                    <a:lnTo>
                      <a:pt x="34" y="1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13" name="Freeform 109"/>
              <p:cNvSpPr>
                <a:spLocks/>
              </p:cNvSpPr>
              <p:nvPr/>
            </p:nvSpPr>
            <p:spPr bwMode="gray">
              <a:xfrm>
                <a:off x="5330826" y="4246563"/>
                <a:ext cx="17463" cy="28575"/>
              </a:xfrm>
              <a:custGeom>
                <a:avLst/>
                <a:gdLst/>
                <a:ahLst/>
                <a:cxnLst>
                  <a:cxn ang="0">
                    <a:pos x="10" y="10"/>
                  </a:cxn>
                  <a:cxn ang="0">
                    <a:pos x="10" y="10"/>
                  </a:cxn>
                  <a:cxn ang="0">
                    <a:pos x="10" y="7"/>
                  </a:cxn>
                  <a:cxn ang="0">
                    <a:pos x="8" y="7"/>
                  </a:cxn>
                  <a:cxn ang="0">
                    <a:pos x="8" y="5"/>
                  </a:cxn>
                  <a:cxn ang="0">
                    <a:pos x="7" y="4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1" y="8"/>
                  </a:cxn>
                  <a:cxn ang="0">
                    <a:pos x="1" y="8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8" y="17"/>
                  </a:cxn>
                  <a:cxn ang="0">
                    <a:pos x="10" y="16"/>
                  </a:cxn>
                  <a:cxn ang="0">
                    <a:pos x="11" y="15"/>
                  </a:cxn>
                  <a:cxn ang="0">
                    <a:pos x="11" y="13"/>
                  </a:cxn>
                  <a:cxn ang="0">
                    <a:pos x="11" y="12"/>
                  </a:cxn>
                  <a:cxn ang="0">
                    <a:pos x="10" y="10"/>
                  </a:cxn>
                </a:cxnLst>
                <a:rect l="0" t="0" r="r" b="b"/>
                <a:pathLst>
                  <a:path w="11" h="18">
                    <a:moveTo>
                      <a:pt x="10" y="10"/>
                    </a:moveTo>
                    <a:lnTo>
                      <a:pt x="10" y="10"/>
                    </a:lnTo>
                    <a:lnTo>
                      <a:pt x="10" y="7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7" y="4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1" y="14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8" y="17"/>
                    </a:lnTo>
                    <a:lnTo>
                      <a:pt x="10" y="16"/>
                    </a:lnTo>
                    <a:lnTo>
                      <a:pt x="11" y="15"/>
                    </a:lnTo>
                    <a:lnTo>
                      <a:pt x="11" y="13"/>
                    </a:lnTo>
                    <a:lnTo>
                      <a:pt x="11" y="12"/>
                    </a:lnTo>
                    <a:lnTo>
                      <a:pt x="10" y="1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14" name="Freeform 110"/>
              <p:cNvSpPr>
                <a:spLocks/>
              </p:cNvSpPr>
              <p:nvPr/>
            </p:nvSpPr>
            <p:spPr bwMode="gray">
              <a:xfrm>
                <a:off x="5602288" y="4067175"/>
                <a:ext cx="4763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E9B1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15" name="Freeform 111"/>
              <p:cNvSpPr>
                <a:spLocks/>
              </p:cNvSpPr>
              <p:nvPr/>
            </p:nvSpPr>
            <p:spPr bwMode="gray">
              <a:xfrm>
                <a:off x="5414963" y="4214813"/>
                <a:ext cx="3175" cy="1746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1" y="10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1">
                    <a:moveTo>
                      <a:pt x="1" y="0"/>
                    </a:moveTo>
                    <a:lnTo>
                      <a:pt x="1" y="1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16" name="Freeform 112"/>
              <p:cNvSpPr>
                <a:spLocks/>
              </p:cNvSpPr>
              <p:nvPr/>
            </p:nvSpPr>
            <p:spPr bwMode="gray">
              <a:xfrm>
                <a:off x="5424488" y="4264025"/>
                <a:ext cx="1588" cy="4763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3">
                    <a:moveTo>
                      <a:pt x="1" y="1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17" name="Freeform 113"/>
              <p:cNvSpPr>
                <a:spLocks/>
              </p:cNvSpPr>
              <p:nvPr/>
            </p:nvSpPr>
            <p:spPr bwMode="gray">
              <a:xfrm>
                <a:off x="5414963" y="4237038"/>
                <a:ext cx="1588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21642" name="Freeform 138"/>
              <p:cNvSpPr>
                <a:spLocks/>
              </p:cNvSpPr>
              <p:nvPr/>
            </p:nvSpPr>
            <p:spPr bwMode="gray">
              <a:xfrm>
                <a:off x="5608638" y="3914775"/>
                <a:ext cx="49213" cy="61913"/>
              </a:xfrm>
              <a:custGeom>
                <a:avLst/>
                <a:gdLst/>
                <a:ahLst/>
                <a:cxnLst>
                  <a:cxn ang="0">
                    <a:pos x="26" y="32"/>
                  </a:cxn>
                  <a:cxn ang="0">
                    <a:pos x="25" y="32"/>
                  </a:cxn>
                  <a:cxn ang="0">
                    <a:pos x="23" y="30"/>
                  </a:cxn>
                  <a:cxn ang="0">
                    <a:pos x="21" y="27"/>
                  </a:cxn>
                  <a:cxn ang="0">
                    <a:pos x="21" y="25"/>
                  </a:cxn>
                  <a:cxn ang="0">
                    <a:pos x="20" y="23"/>
                  </a:cxn>
                  <a:cxn ang="0">
                    <a:pos x="25" y="25"/>
                  </a:cxn>
                  <a:cxn ang="0">
                    <a:pos x="27" y="26"/>
                  </a:cxn>
                  <a:cxn ang="0">
                    <a:pos x="23" y="22"/>
                  </a:cxn>
                  <a:cxn ang="0">
                    <a:pos x="22" y="21"/>
                  </a:cxn>
                  <a:cxn ang="0">
                    <a:pos x="21" y="20"/>
                  </a:cxn>
                  <a:cxn ang="0">
                    <a:pos x="19" y="19"/>
                  </a:cxn>
                  <a:cxn ang="0">
                    <a:pos x="14" y="13"/>
                  </a:cxn>
                  <a:cxn ang="0">
                    <a:pos x="12" y="11"/>
                  </a:cxn>
                  <a:cxn ang="0">
                    <a:pos x="10" y="11"/>
                  </a:cxn>
                  <a:cxn ang="0">
                    <a:pos x="9" y="8"/>
                  </a:cxn>
                  <a:cxn ang="0">
                    <a:pos x="6" y="6"/>
                  </a:cxn>
                  <a:cxn ang="0">
                    <a:pos x="3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1" y="5"/>
                  </a:cxn>
                  <a:cxn ang="0">
                    <a:pos x="3" y="7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6" y="11"/>
                  </a:cxn>
                  <a:cxn ang="0">
                    <a:pos x="9" y="14"/>
                  </a:cxn>
                  <a:cxn ang="0">
                    <a:pos x="11" y="16"/>
                  </a:cxn>
                  <a:cxn ang="0">
                    <a:pos x="11" y="18"/>
                  </a:cxn>
                  <a:cxn ang="0">
                    <a:pos x="12" y="19"/>
                  </a:cxn>
                  <a:cxn ang="0">
                    <a:pos x="15" y="21"/>
                  </a:cxn>
                  <a:cxn ang="0">
                    <a:pos x="16" y="25"/>
                  </a:cxn>
                  <a:cxn ang="0">
                    <a:pos x="17" y="26"/>
                  </a:cxn>
                  <a:cxn ang="0">
                    <a:pos x="18" y="27"/>
                  </a:cxn>
                  <a:cxn ang="0">
                    <a:pos x="19" y="27"/>
                  </a:cxn>
                  <a:cxn ang="0">
                    <a:pos x="20" y="29"/>
                  </a:cxn>
                  <a:cxn ang="0">
                    <a:pos x="21" y="31"/>
                  </a:cxn>
                  <a:cxn ang="0">
                    <a:pos x="24" y="37"/>
                  </a:cxn>
                  <a:cxn ang="0">
                    <a:pos x="26" y="39"/>
                  </a:cxn>
                  <a:cxn ang="0">
                    <a:pos x="26" y="38"/>
                  </a:cxn>
                  <a:cxn ang="0">
                    <a:pos x="26" y="36"/>
                  </a:cxn>
                  <a:cxn ang="0">
                    <a:pos x="26" y="35"/>
                  </a:cxn>
                  <a:cxn ang="0">
                    <a:pos x="27" y="36"/>
                  </a:cxn>
                  <a:cxn ang="0">
                    <a:pos x="31" y="38"/>
                  </a:cxn>
                  <a:cxn ang="0">
                    <a:pos x="29" y="34"/>
                  </a:cxn>
                </a:cxnLst>
                <a:rect l="0" t="0" r="r" b="b"/>
                <a:pathLst>
                  <a:path w="31" h="39">
                    <a:moveTo>
                      <a:pt x="27" y="35"/>
                    </a:moveTo>
                    <a:lnTo>
                      <a:pt x="26" y="32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3" y="30"/>
                    </a:lnTo>
                    <a:lnTo>
                      <a:pt x="22" y="30"/>
                    </a:lnTo>
                    <a:lnTo>
                      <a:pt x="21" y="27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19" y="24"/>
                    </a:lnTo>
                    <a:lnTo>
                      <a:pt x="20" y="23"/>
                    </a:lnTo>
                    <a:lnTo>
                      <a:pt x="21" y="23"/>
                    </a:lnTo>
                    <a:lnTo>
                      <a:pt x="25" y="25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2" y="21"/>
                    </a:lnTo>
                    <a:lnTo>
                      <a:pt x="22" y="21"/>
                    </a:lnTo>
                    <a:lnTo>
                      <a:pt x="21" y="20"/>
                    </a:lnTo>
                    <a:lnTo>
                      <a:pt x="21" y="20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8" y="18"/>
                    </a:lnTo>
                    <a:lnTo>
                      <a:pt x="14" y="13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1" y="11"/>
                    </a:lnTo>
                    <a:lnTo>
                      <a:pt x="10" y="11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7" y="6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6" y="11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10" y="15"/>
                    </a:lnTo>
                    <a:lnTo>
                      <a:pt x="11" y="16"/>
                    </a:lnTo>
                    <a:lnTo>
                      <a:pt x="11" y="17"/>
                    </a:lnTo>
                    <a:lnTo>
                      <a:pt x="11" y="18"/>
                    </a:lnTo>
                    <a:lnTo>
                      <a:pt x="12" y="18"/>
                    </a:lnTo>
                    <a:lnTo>
                      <a:pt x="12" y="19"/>
                    </a:lnTo>
                    <a:lnTo>
                      <a:pt x="14" y="20"/>
                    </a:lnTo>
                    <a:lnTo>
                      <a:pt x="15" y="21"/>
                    </a:lnTo>
                    <a:lnTo>
                      <a:pt x="16" y="23"/>
                    </a:lnTo>
                    <a:lnTo>
                      <a:pt x="16" y="25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9" y="27"/>
                    </a:lnTo>
                    <a:lnTo>
                      <a:pt x="19" y="28"/>
                    </a:lnTo>
                    <a:lnTo>
                      <a:pt x="20" y="29"/>
                    </a:lnTo>
                    <a:lnTo>
                      <a:pt x="21" y="30"/>
                    </a:lnTo>
                    <a:lnTo>
                      <a:pt x="21" y="31"/>
                    </a:lnTo>
                    <a:lnTo>
                      <a:pt x="23" y="33"/>
                    </a:lnTo>
                    <a:lnTo>
                      <a:pt x="24" y="37"/>
                    </a:lnTo>
                    <a:lnTo>
                      <a:pt x="26" y="39"/>
                    </a:lnTo>
                    <a:lnTo>
                      <a:pt x="26" y="39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6" y="35"/>
                    </a:lnTo>
                    <a:lnTo>
                      <a:pt x="26" y="35"/>
                    </a:lnTo>
                    <a:lnTo>
                      <a:pt x="27" y="36"/>
                    </a:lnTo>
                    <a:lnTo>
                      <a:pt x="28" y="36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29" y="34"/>
                    </a:lnTo>
                    <a:lnTo>
                      <a:pt x="27" y="3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41" name="Freeform 137"/>
              <p:cNvSpPr>
                <a:spLocks noEditPoints="1"/>
              </p:cNvSpPr>
              <p:nvPr/>
            </p:nvSpPr>
            <p:spPr bwMode="gray">
              <a:xfrm>
                <a:off x="4964113" y="3763963"/>
                <a:ext cx="801688" cy="512763"/>
              </a:xfrm>
              <a:custGeom>
                <a:avLst/>
                <a:gdLst/>
                <a:ahLst/>
                <a:cxnLst>
                  <a:cxn ang="0">
                    <a:pos x="417" y="30"/>
                  </a:cxn>
                  <a:cxn ang="0">
                    <a:pos x="351" y="22"/>
                  </a:cxn>
                  <a:cxn ang="0">
                    <a:pos x="311" y="23"/>
                  </a:cxn>
                  <a:cxn ang="0">
                    <a:pos x="280" y="16"/>
                  </a:cxn>
                  <a:cxn ang="0">
                    <a:pos x="229" y="16"/>
                  </a:cxn>
                  <a:cxn ang="0">
                    <a:pos x="207" y="3"/>
                  </a:cxn>
                  <a:cxn ang="0">
                    <a:pos x="165" y="8"/>
                  </a:cxn>
                  <a:cxn ang="0">
                    <a:pos x="146" y="20"/>
                  </a:cxn>
                  <a:cxn ang="0">
                    <a:pos x="133" y="29"/>
                  </a:cxn>
                  <a:cxn ang="0">
                    <a:pos x="140" y="36"/>
                  </a:cxn>
                  <a:cxn ang="0">
                    <a:pos x="125" y="23"/>
                  </a:cxn>
                  <a:cxn ang="0">
                    <a:pos x="96" y="32"/>
                  </a:cxn>
                  <a:cxn ang="0">
                    <a:pos x="54" y="41"/>
                  </a:cxn>
                  <a:cxn ang="0">
                    <a:pos x="40" y="52"/>
                  </a:cxn>
                  <a:cxn ang="0">
                    <a:pos x="17" y="42"/>
                  </a:cxn>
                  <a:cxn ang="0">
                    <a:pos x="0" y="34"/>
                  </a:cxn>
                  <a:cxn ang="0">
                    <a:pos x="12" y="60"/>
                  </a:cxn>
                  <a:cxn ang="0">
                    <a:pos x="12" y="88"/>
                  </a:cxn>
                  <a:cxn ang="0">
                    <a:pos x="29" y="109"/>
                  </a:cxn>
                  <a:cxn ang="0">
                    <a:pos x="48" y="128"/>
                  </a:cxn>
                  <a:cxn ang="0">
                    <a:pos x="67" y="147"/>
                  </a:cxn>
                  <a:cxn ang="0">
                    <a:pos x="80" y="162"/>
                  </a:cxn>
                  <a:cxn ang="0">
                    <a:pos x="84" y="183"/>
                  </a:cxn>
                  <a:cxn ang="0">
                    <a:pos x="100" y="207"/>
                  </a:cxn>
                  <a:cxn ang="0">
                    <a:pos x="135" y="228"/>
                  </a:cxn>
                  <a:cxn ang="0">
                    <a:pos x="181" y="236"/>
                  </a:cxn>
                  <a:cxn ang="0">
                    <a:pos x="199" y="249"/>
                  </a:cxn>
                  <a:cxn ang="0">
                    <a:pos x="228" y="306"/>
                  </a:cxn>
                  <a:cxn ang="0">
                    <a:pos x="245" y="264"/>
                  </a:cxn>
                  <a:cxn ang="0">
                    <a:pos x="270" y="246"/>
                  </a:cxn>
                  <a:cxn ang="0">
                    <a:pos x="290" y="273"/>
                  </a:cxn>
                  <a:cxn ang="0">
                    <a:pos x="310" y="302"/>
                  </a:cxn>
                  <a:cxn ang="0">
                    <a:pos x="321" y="322"/>
                  </a:cxn>
                  <a:cxn ang="0">
                    <a:pos x="312" y="300"/>
                  </a:cxn>
                  <a:cxn ang="0">
                    <a:pos x="328" y="294"/>
                  </a:cxn>
                  <a:cxn ang="0">
                    <a:pos x="342" y="302"/>
                  </a:cxn>
                  <a:cxn ang="0">
                    <a:pos x="338" y="251"/>
                  </a:cxn>
                  <a:cxn ang="0">
                    <a:pos x="365" y="243"/>
                  </a:cxn>
                  <a:cxn ang="0">
                    <a:pos x="390" y="212"/>
                  </a:cxn>
                  <a:cxn ang="0">
                    <a:pos x="386" y="198"/>
                  </a:cxn>
                  <a:cxn ang="0">
                    <a:pos x="373" y="171"/>
                  </a:cxn>
                  <a:cxn ang="0">
                    <a:pos x="370" y="156"/>
                  </a:cxn>
                  <a:cxn ang="0">
                    <a:pos x="389" y="168"/>
                  </a:cxn>
                  <a:cxn ang="0">
                    <a:pos x="408" y="185"/>
                  </a:cxn>
                  <a:cxn ang="0">
                    <a:pos x="399" y="151"/>
                  </a:cxn>
                  <a:cxn ang="0">
                    <a:pos x="417" y="124"/>
                  </a:cxn>
                  <a:cxn ang="0">
                    <a:pos x="406" y="100"/>
                  </a:cxn>
                  <a:cxn ang="0">
                    <a:pos x="411" y="72"/>
                  </a:cxn>
                  <a:cxn ang="0">
                    <a:pos x="434" y="64"/>
                  </a:cxn>
                  <a:cxn ang="0">
                    <a:pos x="445" y="77"/>
                  </a:cxn>
                  <a:cxn ang="0">
                    <a:pos x="471" y="101"/>
                  </a:cxn>
                  <a:cxn ang="0">
                    <a:pos x="457" y="79"/>
                  </a:cxn>
                  <a:cxn ang="0">
                    <a:pos x="481" y="62"/>
                  </a:cxn>
                  <a:cxn ang="0">
                    <a:pos x="480" y="49"/>
                  </a:cxn>
                  <a:cxn ang="0">
                    <a:pos x="502" y="47"/>
                  </a:cxn>
                  <a:cxn ang="0">
                    <a:pos x="113" y="157"/>
                  </a:cxn>
                  <a:cxn ang="0">
                    <a:pos x="95" y="172"/>
                  </a:cxn>
                  <a:cxn ang="0">
                    <a:pos x="80" y="139"/>
                  </a:cxn>
                  <a:cxn ang="0">
                    <a:pos x="108" y="138"/>
                  </a:cxn>
                  <a:cxn ang="0">
                    <a:pos x="105" y="150"/>
                  </a:cxn>
                  <a:cxn ang="0">
                    <a:pos x="114" y="175"/>
                  </a:cxn>
                  <a:cxn ang="0">
                    <a:pos x="281" y="244"/>
                  </a:cxn>
                  <a:cxn ang="0">
                    <a:pos x="398" y="148"/>
                  </a:cxn>
                </a:cxnLst>
                <a:rect l="0" t="0" r="r" b="b"/>
                <a:pathLst>
                  <a:path w="505" h="323">
                    <a:moveTo>
                      <a:pt x="503" y="46"/>
                    </a:moveTo>
                    <a:lnTo>
                      <a:pt x="505" y="46"/>
                    </a:lnTo>
                    <a:lnTo>
                      <a:pt x="505" y="45"/>
                    </a:lnTo>
                    <a:lnTo>
                      <a:pt x="505" y="45"/>
                    </a:lnTo>
                    <a:lnTo>
                      <a:pt x="504" y="44"/>
                    </a:lnTo>
                    <a:lnTo>
                      <a:pt x="503" y="44"/>
                    </a:lnTo>
                    <a:lnTo>
                      <a:pt x="502" y="44"/>
                    </a:lnTo>
                    <a:lnTo>
                      <a:pt x="502" y="44"/>
                    </a:lnTo>
                    <a:lnTo>
                      <a:pt x="499" y="43"/>
                    </a:lnTo>
                    <a:lnTo>
                      <a:pt x="497" y="43"/>
                    </a:lnTo>
                    <a:lnTo>
                      <a:pt x="495" y="42"/>
                    </a:lnTo>
                    <a:lnTo>
                      <a:pt x="490" y="41"/>
                    </a:lnTo>
                    <a:lnTo>
                      <a:pt x="487" y="40"/>
                    </a:lnTo>
                    <a:lnTo>
                      <a:pt x="485" y="40"/>
                    </a:lnTo>
                    <a:lnTo>
                      <a:pt x="488" y="42"/>
                    </a:lnTo>
                    <a:lnTo>
                      <a:pt x="492" y="44"/>
                    </a:lnTo>
                    <a:lnTo>
                      <a:pt x="491" y="44"/>
                    </a:lnTo>
                    <a:lnTo>
                      <a:pt x="490" y="44"/>
                    </a:lnTo>
                    <a:lnTo>
                      <a:pt x="488" y="44"/>
                    </a:lnTo>
                    <a:lnTo>
                      <a:pt x="487" y="43"/>
                    </a:lnTo>
                    <a:lnTo>
                      <a:pt x="484" y="40"/>
                    </a:lnTo>
                    <a:lnTo>
                      <a:pt x="478" y="38"/>
                    </a:lnTo>
                    <a:lnTo>
                      <a:pt x="473" y="36"/>
                    </a:lnTo>
                    <a:lnTo>
                      <a:pt x="470" y="36"/>
                    </a:lnTo>
                    <a:lnTo>
                      <a:pt x="466" y="35"/>
                    </a:lnTo>
                    <a:lnTo>
                      <a:pt x="461" y="34"/>
                    </a:lnTo>
                    <a:lnTo>
                      <a:pt x="455" y="33"/>
                    </a:lnTo>
                    <a:lnTo>
                      <a:pt x="451" y="32"/>
                    </a:lnTo>
                    <a:lnTo>
                      <a:pt x="447" y="31"/>
                    </a:lnTo>
                    <a:lnTo>
                      <a:pt x="444" y="30"/>
                    </a:lnTo>
                    <a:lnTo>
                      <a:pt x="442" y="30"/>
                    </a:lnTo>
                    <a:lnTo>
                      <a:pt x="430" y="30"/>
                    </a:lnTo>
                    <a:lnTo>
                      <a:pt x="430" y="29"/>
                    </a:lnTo>
                    <a:lnTo>
                      <a:pt x="427" y="29"/>
                    </a:lnTo>
                    <a:lnTo>
                      <a:pt x="426" y="29"/>
                    </a:lnTo>
                    <a:lnTo>
                      <a:pt x="423" y="29"/>
                    </a:lnTo>
                    <a:lnTo>
                      <a:pt x="424" y="30"/>
                    </a:lnTo>
                    <a:lnTo>
                      <a:pt x="424" y="31"/>
                    </a:lnTo>
                    <a:lnTo>
                      <a:pt x="424" y="31"/>
                    </a:lnTo>
                    <a:lnTo>
                      <a:pt x="426" y="31"/>
                    </a:lnTo>
                    <a:lnTo>
                      <a:pt x="428" y="32"/>
                    </a:lnTo>
                    <a:lnTo>
                      <a:pt x="429" y="32"/>
                    </a:lnTo>
                    <a:lnTo>
                      <a:pt x="430" y="33"/>
                    </a:lnTo>
                    <a:lnTo>
                      <a:pt x="430" y="34"/>
                    </a:lnTo>
                    <a:lnTo>
                      <a:pt x="429" y="34"/>
                    </a:lnTo>
                    <a:lnTo>
                      <a:pt x="427" y="34"/>
                    </a:lnTo>
                    <a:lnTo>
                      <a:pt x="426" y="34"/>
                    </a:lnTo>
                    <a:lnTo>
                      <a:pt x="426" y="33"/>
                    </a:lnTo>
                    <a:lnTo>
                      <a:pt x="424" y="32"/>
                    </a:lnTo>
                    <a:lnTo>
                      <a:pt x="420" y="32"/>
                    </a:lnTo>
                    <a:lnTo>
                      <a:pt x="417" y="30"/>
                    </a:lnTo>
                    <a:lnTo>
                      <a:pt x="417" y="30"/>
                    </a:lnTo>
                    <a:lnTo>
                      <a:pt x="416" y="31"/>
                    </a:lnTo>
                    <a:lnTo>
                      <a:pt x="415" y="31"/>
                    </a:lnTo>
                    <a:lnTo>
                      <a:pt x="415" y="31"/>
                    </a:lnTo>
                    <a:lnTo>
                      <a:pt x="412" y="31"/>
                    </a:lnTo>
                    <a:lnTo>
                      <a:pt x="412" y="30"/>
                    </a:lnTo>
                    <a:lnTo>
                      <a:pt x="406" y="31"/>
                    </a:lnTo>
                    <a:lnTo>
                      <a:pt x="405" y="30"/>
                    </a:lnTo>
                    <a:lnTo>
                      <a:pt x="405" y="30"/>
                    </a:lnTo>
                    <a:lnTo>
                      <a:pt x="398" y="30"/>
                    </a:lnTo>
                    <a:lnTo>
                      <a:pt x="398" y="30"/>
                    </a:lnTo>
                    <a:lnTo>
                      <a:pt x="398" y="31"/>
                    </a:lnTo>
                    <a:lnTo>
                      <a:pt x="399" y="31"/>
                    </a:lnTo>
                    <a:lnTo>
                      <a:pt x="401" y="33"/>
                    </a:lnTo>
                    <a:lnTo>
                      <a:pt x="400" y="33"/>
                    </a:lnTo>
                    <a:lnTo>
                      <a:pt x="400" y="33"/>
                    </a:lnTo>
                    <a:lnTo>
                      <a:pt x="399" y="33"/>
                    </a:lnTo>
                    <a:lnTo>
                      <a:pt x="399" y="32"/>
                    </a:lnTo>
                    <a:lnTo>
                      <a:pt x="398" y="32"/>
                    </a:lnTo>
                    <a:lnTo>
                      <a:pt x="397" y="31"/>
                    </a:lnTo>
                    <a:lnTo>
                      <a:pt x="396" y="31"/>
                    </a:lnTo>
                    <a:lnTo>
                      <a:pt x="392" y="30"/>
                    </a:lnTo>
                    <a:lnTo>
                      <a:pt x="391" y="30"/>
                    </a:lnTo>
                    <a:lnTo>
                      <a:pt x="391" y="30"/>
                    </a:lnTo>
                    <a:lnTo>
                      <a:pt x="389" y="28"/>
                    </a:lnTo>
                    <a:lnTo>
                      <a:pt x="388" y="27"/>
                    </a:lnTo>
                    <a:lnTo>
                      <a:pt x="385" y="26"/>
                    </a:lnTo>
                    <a:lnTo>
                      <a:pt x="383" y="25"/>
                    </a:lnTo>
                    <a:lnTo>
                      <a:pt x="381" y="25"/>
                    </a:lnTo>
                    <a:lnTo>
                      <a:pt x="379" y="25"/>
                    </a:lnTo>
                    <a:lnTo>
                      <a:pt x="378" y="25"/>
                    </a:lnTo>
                    <a:lnTo>
                      <a:pt x="376" y="25"/>
                    </a:lnTo>
                    <a:lnTo>
                      <a:pt x="374" y="24"/>
                    </a:lnTo>
                    <a:lnTo>
                      <a:pt x="373" y="24"/>
                    </a:lnTo>
                    <a:lnTo>
                      <a:pt x="369" y="24"/>
                    </a:lnTo>
                    <a:lnTo>
                      <a:pt x="368" y="25"/>
                    </a:lnTo>
                    <a:lnTo>
                      <a:pt x="367" y="26"/>
                    </a:lnTo>
                    <a:lnTo>
                      <a:pt x="365" y="26"/>
                    </a:lnTo>
                    <a:lnTo>
                      <a:pt x="364" y="25"/>
                    </a:lnTo>
                    <a:lnTo>
                      <a:pt x="362" y="25"/>
                    </a:lnTo>
                    <a:lnTo>
                      <a:pt x="362" y="25"/>
                    </a:lnTo>
                    <a:lnTo>
                      <a:pt x="361" y="25"/>
                    </a:lnTo>
                    <a:lnTo>
                      <a:pt x="360" y="24"/>
                    </a:lnTo>
                    <a:lnTo>
                      <a:pt x="359" y="24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6" y="24"/>
                    </a:lnTo>
                    <a:lnTo>
                      <a:pt x="355" y="23"/>
                    </a:lnTo>
                    <a:lnTo>
                      <a:pt x="353" y="23"/>
                    </a:lnTo>
                    <a:lnTo>
                      <a:pt x="349" y="22"/>
                    </a:lnTo>
                    <a:lnTo>
                      <a:pt x="351" y="22"/>
                    </a:lnTo>
                    <a:lnTo>
                      <a:pt x="349" y="20"/>
                    </a:lnTo>
                    <a:lnTo>
                      <a:pt x="349" y="20"/>
                    </a:lnTo>
                    <a:lnTo>
                      <a:pt x="347" y="20"/>
                    </a:lnTo>
                    <a:lnTo>
                      <a:pt x="344" y="20"/>
                    </a:lnTo>
                    <a:lnTo>
                      <a:pt x="342" y="20"/>
                    </a:lnTo>
                    <a:lnTo>
                      <a:pt x="341" y="20"/>
                    </a:lnTo>
                    <a:lnTo>
                      <a:pt x="341" y="22"/>
                    </a:lnTo>
                    <a:lnTo>
                      <a:pt x="341" y="22"/>
                    </a:lnTo>
                    <a:lnTo>
                      <a:pt x="339" y="22"/>
                    </a:lnTo>
                    <a:lnTo>
                      <a:pt x="338" y="22"/>
                    </a:lnTo>
                    <a:lnTo>
                      <a:pt x="338" y="22"/>
                    </a:lnTo>
                    <a:lnTo>
                      <a:pt x="339" y="21"/>
                    </a:lnTo>
                    <a:lnTo>
                      <a:pt x="338" y="20"/>
                    </a:lnTo>
                    <a:lnTo>
                      <a:pt x="333" y="20"/>
                    </a:lnTo>
                    <a:lnTo>
                      <a:pt x="334" y="20"/>
                    </a:lnTo>
                    <a:lnTo>
                      <a:pt x="337" y="20"/>
                    </a:lnTo>
                    <a:lnTo>
                      <a:pt x="340" y="21"/>
                    </a:lnTo>
                    <a:lnTo>
                      <a:pt x="340" y="20"/>
                    </a:lnTo>
                    <a:lnTo>
                      <a:pt x="337" y="19"/>
                    </a:lnTo>
                    <a:lnTo>
                      <a:pt x="330" y="19"/>
                    </a:lnTo>
                    <a:lnTo>
                      <a:pt x="330" y="18"/>
                    </a:lnTo>
                    <a:lnTo>
                      <a:pt x="324" y="19"/>
                    </a:lnTo>
                    <a:lnTo>
                      <a:pt x="321" y="18"/>
                    </a:lnTo>
                    <a:lnTo>
                      <a:pt x="319" y="18"/>
                    </a:lnTo>
                    <a:lnTo>
                      <a:pt x="322" y="19"/>
                    </a:lnTo>
                    <a:lnTo>
                      <a:pt x="319" y="19"/>
                    </a:lnTo>
                    <a:lnTo>
                      <a:pt x="318" y="19"/>
                    </a:lnTo>
                    <a:lnTo>
                      <a:pt x="318" y="19"/>
                    </a:lnTo>
                    <a:lnTo>
                      <a:pt x="318" y="20"/>
                    </a:lnTo>
                    <a:lnTo>
                      <a:pt x="318" y="20"/>
                    </a:lnTo>
                    <a:lnTo>
                      <a:pt x="319" y="20"/>
                    </a:lnTo>
                    <a:lnTo>
                      <a:pt x="319" y="21"/>
                    </a:lnTo>
                    <a:lnTo>
                      <a:pt x="321" y="21"/>
                    </a:lnTo>
                    <a:lnTo>
                      <a:pt x="321" y="21"/>
                    </a:lnTo>
                    <a:lnTo>
                      <a:pt x="325" y="23"/>
                    </a:lnTo>
                    <a:lnTo>
                      <a:pt x="322" y="23"/>
                    </a:lnTo>
                    <a:lnTo>
                      <a:pt x="322" y="23"/>
                    </a:lnTo>
                    <a:lnTo>
                      <a:pt x="321" y="22"/>
                    </a:lnTo>
                    <a:lnTo>
                      <a:pt x="320" y="22"/>
                    </a:lnTo>
                    <a:lnTo>
                      <a:pt x="319" y="22"/>
                    </a:lnTo>
                    <a:lnTo>
                      <a:pt x="318" y="23"/>
                    </a:lnTo>
                    <a:lnTo>
                      <a:pt x="320" y="24"/>
                    </a:lnTo>
                    <a:lnTo>
                      <a:pt x="317" y="24"/>
                    </a:lnTo>
                    <a:lnTo>
                      <a:pt x="316" y="24"/>
                    </a:lnTo>
                    <a:lnTo>
                      <a:pt x="316" y="23"/>
                    </a:lnTo>
                    <a:lnTo>
                      <a:pt x="315" y="23"/>
                    </a:lnTo>
                    <a:lnTo>
                      <a:pt x="314" y="23"/>
                    </a:lnTo>
                    <a:lnTo>
                      <a:pt x="313" y="23"/>
                    </a:lnTo>
                    <a:lnTo>
                      <a:pt x="312" y="22"/>
                    </a:lnTo>
                    <a:lnTo>
                      <a:pt x="312" y="22"/>
                    </a:lnTo>
                    <a:lnTo>
                      <a:pt x="311" y="23"/>
                    </a:lnTo>
                    <a:lnTo>
                      <a:pt x="310" y="23"/>
                    </a:lnTo>
                    <a:lnTo>
                      <a:pt x="309" y="23"/>
                    </a:lnTo>
                    <a:lnTo>
                      <a:pt x="309" y="23"/>
                    </a:lnTo>
                    <a:lnTo>
                      <a:pt x="309" y="23"/>
                    </a:lnTo>
                    <a:lnTo>
                      <a:pt x="305" y="23"/>
                    </a:lnTo>
                    <a:lnTo>
                      <a:pt x="305" y="23"/>
                    </a:lnTo>
                    <a:lnTo>
                      <a:pt x="304" y="23"/>
                    </a:lnTo>
                    <a:lnTo>
                      <a:pt x="302" y="22"/>
                    </a:lnTo>
                    <a:lnTo>
                      <a:pt x="302" y="22"/>
                    </a:lnTo>
                    <a:lnTo>
                      <a:pt x="301" y="21"/>
                    </a:lnTo>
                    <a:lnTo>
                      <a:pt x="301" y="21"/>
                    </a:lnTo>
                    <a:lnTo>
                      <a:pt x="301" y="22"/>
                    </a:lnTo>
                    <a:lnTo>
                      <a:pt x="301" y="23"/>
                    </a:lnTo>
                    <a:lnTo>
                      <a:pt x="301" y="23"/>
                    </a:lnTo>
                    <a:lnTo>
                      <a:pt x="302" y="24"/>
                    </a:lnTo>
                    <a:lnTo>
                      <a:pt x="302" y="24"/>
                    </a:lnTo>
                    <a:lnTo>
                      <a:pt x="302" y="25"/>
                    </a:lnTo>
                    <a:lnTo>
                      <a:pt x="302" y="26"/>
                    </a:lnTo>
                    <a:lnTo>
                      <a:pt x="300" y="25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3"/>
                    </a:lnTo>
                    <a:lnTo>
                      <a:pt x="293" y="23"/>
                    </a:lnTo>
                    <a:lnTo>
                      <a:pt x="292" y="22"/>
                    </a:lnTo>
                    <a:lnTo>
                      <a:pt x="292" y="22"/>
                    </a:lnTo>
                    <a:lnTo>
                      <a:pt x="291" y="21"/>
                    </a:lnTo>
                    <a:lnTo>
                      <a:pt x="291" y="22"/>
                    </a:lnTo>
                    <a:lnTo>
                      <a:pt x="288" y="21"/>
                    </a:lnTo>
                    <a:lnTo>
                      <a:pt x="286" y="20"/>
                    </a:lnTo>
                    <a:lnTo>
                      <a:pt x="286" y="20"/>
                    </a:lnTo>
                    <a:lnTo>
                      <a:pt x="287" y="21"/>
                    </a:lnTo>
                    <a:lnTo>
                      <a:pt x="289" y="21"/>
                    </a:lnTo>
                    <a:lnTo>
                      <a:pt x="289" y="21"/>
                    </a:lnTo>
                    <a:lnTo>
                      <a:pt x="290" y="21"/>
                    </a:lnTo>
                    <a:lnTo>
                      <a:pt x="290" y="21"/>
                    </a:lnTo>
                    <a:lnTo>
                      <a:pt x="290" y="20"/>
                    </a:lnTo>
                    <a:lnTo>
                      <a:pt x="290" y="20"/>
                    </a:lnTo>
                    <a:lnTo>
                      <a:pt x="289" y="19"/>
                    </a:lnTo>
                    <a:lnTo>
                      <a:pt x="286" y="19"/>
                    </a:lnTo>
                    <a:lnTo>
                      <a:pt x="287" y="19"/>
                    </a:lnTo>
                    <a:lnTo>
                      <a:pt x="286" y="18"/>
                    </a:lnTo>
                    <a:lnTo>
                      <a:pt x="286" y="18"/>
                    </a:lnTo>
                    <a:lnTo>
                      <a:pt x="284" y="18"/>
                    </a:lnTo>
                    <a:lnTo>
                      <a:pt x="285" y="17"/>
                    </a:lnTo>
                    <a:lnTo>
                      <a:pt x="284" y="17"/>
                    </a:lnTo>
                    <a:lnTo>
                      <a:pt x="284" y="17"/>
                    </a:lnTo>
                    <a:lnTo>
                      <a:pt x="283" y="17"/>
                    </a:lnTo>
                    <a:lnTo>
                      <a:pt x="282" y="16"/>
                    </a:lnTo>
                    <a:lnTo>
                      <a:pt x="281" y="16"/>
                    </a:lnTo>
                    <a:lnTo>
                      <a:pt x="281" y="16"/>
                    </a:lnTo>
                    <a:lnTo>
                      <a:pt x="280" y="16"/>
                    </a:lnTo>
                    <a:lnTo>
                      <a:pt x="280" y="15"/>
                    </a:lnTo>
                    <a:lnTo>
                      <a:pt x="278" y="15"/>
                    </a:lnTo>
                    <a:lnTo>
                      <a:pt x="277" y="16"/>
                    </a:lnTo>
                    <a:lnTo>
                      <a:pt x="275" y="16"/>
                    </a:lnTo>
                    <a:lnTo>
                      <a:pt x="274" y="15"/>
                    </a:lnTo>
                    <a:lnTo>
                      <a:pt x="273" y="15"/>
                    </a:lnTo>
                    <a:lnTo>
                      <a:pt x="273" y="15"/>
                    </a:lnTo>
                    <a:lnTo>
                      <a:pt x="272" y="15"/>
                    </a:lnTo>
                    <a:lnTo>
                      <a:pt x="272" y="15"/>
                    </a:lnTo>
                    <a:lnTo>
                      <a:pt x="269" y="14"/>
                    </a:lnTo>
                    <a:lnTo>
                      <a:pt x="268" y="14"/>
                    </a:lnTo>
                    <a:lnTo>
                      <a:pt x="268" y="15"/>
                    </a:lnTo>
                    <a:lnTo>
                      <a:pt x="267" y="15"/>
                    </a:lnTo>
                    <a:lnTo>
                      <a:pt x="269" y="16"/>
                    </a:lnTo>
                    <a:lnTo>
                      <a:pt x="270" y="18"/>
                    </a:lnTo>
                    <a:lnTo>
                      <a:pt x="267" y="18"/>
                    </a:lnTo>
                    <a:lnTo>
                      <a:pt x="267" y="17"/>
                    </a:lnTo>
                    <a:lnTo>
                      <a:pt x="263" y="18"/>
                    </a:lnTo>
                    <a:lnTo>
                      <a:pt x="262" y="18"/>
                    </a:lnTo>
                    <a:lnTo>
                      <a:pt x="262" y="17"/>
                    </a:lnTo>
                    <a:lnTo>
                      <a:pt x="259" y="18"/>
                    </a:lnTo>
                    <a:lnTo>
                      <a:pt x="259" y="17"/>
                    </a:lnTo>
                    <a:lnTo>
                      <a:pt x="256" y="17"/>
                    </a:lnTo>
                    <a:lnTo>
                      <a:pt x="253" y="17"/>
                    </a:lnTo>
                    <a:lnTo>
                      <a:pt x="255" y="15"/>
                    </a:lnTo>
                    <a:lnTo>
                      <a:pt x="247" y="15"/>
                    </a:lnTo>
                    <a:lnTo>
                      <a:pt x="246" y="14"/>
                    </a:lnTo>
                    <a:lnTo>
                      <a:pt x="246" y="15"/>
                    </a:lnTo>
                    <a:lnTo>
                      <a:pt x="245" y="14"/>
                    </a:lnTo>
                    <a:lnTo>
                      <a:pt x="243" y="15"/>
                    </a:lnTo>
                    <a:lnTo>
                      <a:pt x="243" y="15"/>
                    </a:lnTo>
                    <a:lnTo>
                      <a:pt x="239" y="15"/>
                    </a:lnTo>
                    <a:lnTo>
                      <a:pt x="239" y="15"/>
                    </a:lnTo>
                    <a:lnTo>
                      <a:pt x="240" y="16"/>
                    </a:lnTo>
                    <a:lnTo>
                      <a:pt x="238" y="16"/>
                    </a:lnTo>
                    <a:lnTo>
                      <a:pt x="238" y="15"/>
                    </a:lnTo>
                    <a:lnTo>
                      <a:pt x="236" y="14"/>
                    </a:lnTo>
                    <a:lnTo>
                      <a:pt x="235" y="14"/>
                    </a:lnTo>
                    <a:lnTo>
                      <a:pt x="236" y="15"/>
                    </a:lnTo>
                    <a:lnTo>
                      <a:pt x="233" y="15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1" y="14"/>
                    </a:lnTo>
                    <a:lnTo>
                      <a:pt x="229" y="14"/>
                    </a:lnTo>
                    <a:lnTo>
                      <a:pt x="228" y="13"/>
                    </a:lnTo>
                    <a:lnTo>
                      <a:pt x="226" y="14"/>
                    </a:lnTo>
                    <a:lnTo>
                      <a:pt x="229" y="15"/>
                    </a:lnTo>
                    <a:lnTo>
                      <a:pt x="230" y="15"/>
                    </a:lnTo>
                    <a:lnTo>
                      <a:pt x="230" y="15"/>
                    </a:lnTo>
                    <a:lnTo>
                      <a:pt x="229" y="15"/>
                    </a:lnTo>
                    <a:lnTo>
                      <a:pt x="229" y="16"/>
                    </a:lnTo>
                    <a:lnTo>
                      <a:pt x="227" y="16"/>
                    </a:lnTo>
                    <a:lnTo>
                      <a:pt x="226" y="16"/>
                    </a:lnTo>
                    <a:lnTo>
                      <a:pt x="226" y="17"/>
                    </a:lnTo>
                    <a:lnTo>
                      <a:pt x="222" y="17"/>
                    </a:lnTo>
                    <a:lnTo>
                      <a:pt x="220" y="17"/>
                    </a:lnTo>
                    <a:lnTo>
                      <a:pt x="219" y="18"/>
                    </a:lnTo>
                    <a:lnTo>
                      <a:pt x="217" y="18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8" y="16"/>
                    </a:lnTo>
                    <a:lnTo>
                      <a:pt x="219" y="16"/>
                    </a:lnTo>
                    <a:lnTo>
                      <a:pt x="220" y="16"/>
                    </a:lnTo>
                    <a:lnTo>
                      <a:pt x="221" y="15"/>
                    </a:lnTo>
                    <a:lnTo>
                      <a:pt x="223" y="15"/>
                    </a:lnTo>
                    <a:lnTo>
                      <a:pt x="225" y="13"/>
                    </a:lnTo>
                    <a:lnTo>
                      <a:pt x="225" y="12"/>
                    </a:lnTo>
                    <a:lnTo>
                      <a:pt x="226" y="11"/>
                    </a:lnTo>
                    <a:lnTo>
                      <a:pt x="226" y="11"/>
                    </a:lnTo>
                    <a:lnTo>
                      <a:pt x="227" y="11"/>
                    </a:lnTo>
                    <a:lnTo>
                      <a:pt x="228" y="11"/>
                    </a:lnTo>
                    <a:lnTo>
                      <a:pt x="228" y="11"/>
                    </a:lnTo>
                    <a:lnTo>
                      <a:pt x="229" y="10"/>
                    </a:lnTo>
                    <a:lnTo>
                      <a:pt x="230" y="10"/>
                    </a:lnTo>
                    <a:lnTo>
                      <a:pt x="231" y="10"/>
                    </a:lnTo>
                    <a:lnTo>
                      <a:pt x="231" y="10"/>
                    </a:lnTo>
                    <a:lnTo>
                      <a:pt x="232" y="9"/>
                    </a:lnTo>
                    <a:lnTo>
                      <a:pt x="231" y="9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30" y="7"/>
                    </a:lnTo>
                    <a:lnTo>
                      <a:pt x="228" y="7"/>
                    </a:lnTo>
                    <a:lnTo>
                      <a:pt x="229" y="7"/>
                    </a:lnTo>
                    <a:lnTo>
                      <a:pt x="229" y="6"/>
                    </a:lnTo>
                    <a:lnTo>
                      <a:pt x="228" y="6"/>
                    </a:lnTo>
                    <a:lnTo>
                      <a:pt x="228" y="5"/>
                    </a:lnTo>
                    <a:lnTo>
                      <a:pt x="227" y="5"/>
                    </a:lnTo>
                    <a:lnTo>
                      <a:pt x="227" y="6"/>
                    </a:lnTo>
                    <a:lnTo>
                      <a:pt x="226" y="6"/>
                    </a:lnTo>
                    <a:lnTo>
                      <a:pt x="225" y="5"/>
                    </a:lnTo>
                    <a:lnTo>
                      <a:pt x="225" y="5"/>
                    </a:lnTo>
                    <a:lnTo>
                      <a:pt x="225" y="4"/>
                    </a:lnTo>
                    <a:lnTo>
                      <a:pt x="222" y="4"/>
                    </a:lnTo>
                    <a:lnTo>
                      <a:pt x="222" y="5"/>
                    </a:lnTo>
                    <a:lnTo>
                      <a:pt x="222" y="5"/>
                    </a:lnTo>
                    <a:lnTo>
                      <a:pt x="218" y="4"/>
                    </a:lnTo>
                    <a:lnTo>
                      <a:pt x="210" y="3"/>
                    </a:lnTo>
                    <a:lnTo>
                      <a:pt x="210" y="5"/>
                    </a:lnTo>
                    <a:lnTo>
                      <a:pt x="206" y="5"/>
                    </a:lnTo>
                    <a:lnTo>
                      <a:pt x="208" y="3"/>
                    </a:lnTo>
                    <a:lnTo>
                      <a:pt x="208" y="3"/>
                    </a:lnTo>
                    <a:lnTo>
                      <a:pt x="207" y="3"/>
                    </a:lnTo>
                    <a:lnTo>
                      <a:pt x="206" y="2"/>
                    </a:lnTo>
                    <a:lnTo>
                      <a:pt x="204" y="2"/>
                    </a:lnTo>
                    <a:lnTo>
                      <a:pt x="202" y="3"/>
                    </a:lnTo>
                    <a:lnTo>
                      <a:pt x="202" y="3"/>
                    </a:lnTo>
                    <a:lnTo>
                      <a:pt x="198" y="2"/>
                    </a:lnTo>
                    <a:lnTo>
                      <a:pt x="199" y="2"/>
                    </a:lnTo>
                    <a:lnTo>
                      <a:pt x="200" y="2"/>
                    </a:lnTo>
                    <a:lnTo>
                      <a:pt x="201" y="2"/>
                    </a:lnTo>
                    <a:lnTo>
                      <a:pt x="201" y="2"/>
                    </a:lnTo>
                    <a:lnTo>
                      <a:pt x="202" y="2"/>
                    </a:lnTo>
                    <a:lnTo>
                      <a:pt x="202" y="1"/>
                    </a:lnTo>
                    <a:lnTo>
                      <a:pt x="201" y="1"/>
                    </a:lnTo>
                    <a:lnTo>
                      <a:pt x="201" y="1"/>
                    </a:lnTo>
                    <a:lnTo>
                      <a:pt x="199" y="1"/>
                    </a:lnTo>
                    <a:lnTo>
                      <a:pt x="197" y="1"/>
                    </a:lnTo>
                    <a:lnTo>
                      <a:pt x="194" y="0"/>
                    </a:lnTo>
                    <a:lnTo>
                      <a:pt x="194" y="1"/>
                    </a:lnTo>
                    <a:lnTo>
                      <a:pt x="192" y="1"/>
                    </a:lnTo>
                    <a:lnTo>
                      <a:pt x="192" y="1"/>
                    </a:lnTo>
                    <a:lnTo>
                      <a:pt x="191" y="1"/>
                    </a:lnTo>
                    <a:lnTo>
                      <a:pt x="190" y="2"/>
                    </a:lnTo>
                    <a:lnTo>
                      <a:pt x="190" y="2"/>
                    </a:lnTo>
                    <a:lnTo>
                      <a:pt x="191" y="3"/>
                    </a:lnTo>
                    <a:lnTo>
                      <a:pt x="192" y="3"/>
                    </a:lnTo>
                    <a:lnTo>
                      <a:pt x="193" y="4"/>
                    </a:lnTo>
                    <a:lnTo>
                      <a:pt x="194" y="4"/>
                    </a:lnTo>
                    <a:lnTo>
                      <a:pt x="194" y="5"/>
                    </a:lnTo>
                    <a:lnTo>
                      <a:pt x="194" y="5"/>
                    </a:lnTo>
                    <a:lnTo>
                      <a:pt x="194" y="5"/>
                    </a:lnTo>
                    <a:lnTo>
                      <a:pt x="194" y="5"/>
                    </a:lnTo>
                    <a:lnTo>
                      <a:pt x="186" y="4"/>
                    </a:lnTo>
                    <a:lnTo>
                      <a:pt x="189" y="5"/>
                    </a:lnTo>
                    <a:lnTo>
                      <a:pt x="186" y="6"/>
                    </a:lnTo>
                    <a:lnTo>
                      <a:pt x="186" y="6"/>
                    </a:lnTo>
                    <a:lnTo>
                      <a:pt x="183" y="7"/>
                    </a:lnTo>
                    <a:lnTo>
                      <a:pt x="181" y="7"/>
                    </a:lnTo>
                    <a:lnTo>
                      <a:pt x="180" y="7"/>
                    </a:lnTo>
                    <a:lnTo>
                      <a:pt x="180" y="7"/>
                    </a:lnTo>
                    <a:lnTo>
                      <a:pt x="180" y="6"/>
                    </a:lnTo>
                    <a:lnTo>
                      <a:pt x="181" y="5"/>
                    </a:lnTo>
                    <a:lnTo>
                      <a:pt x="177" y="5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5" y="6"/>
                    </a:lnTo>
                    <a:lnTo>
                      <a:pt x="174" y="7"/>
                    </a:lnTo>
                    <a:lnTo>
                      <a:pt x="173" y="7"/>
                    </a:lnTo>
                    <a:lnTo>
                      <a:pt x="171" y="7"/>
                    </a:lnTo>
                    <a:lnTo>
                      <a:pt x="169" y="7"/>
                    </a:lnTo>
                    <a:lnTo>
                      <a:pt x="167" y="7"/>
                    </a:lnTo>
                    <a:lnTo>
                      <a:pt x="166" y="8"/>
                    </a:lnTo>
                    <a:lnTo>
                      <a:pt x="165" y="8"/>
                    </a:lnTo>
                    <a:lnTo>
                      <a:pt x="164" y="8"/>
                    </a:lnTo>
                    <a:lnTo>
                      <a:pt x="163" y="8"/>
                    </a:lnTo>
                    <a:lnTo>
                      <a:pt x="163" y="9"/>
                    </a:lnTo>
                    <a:lnTo>
                      <a:pt x="163" y="9"/>
                    </a:lnTo>
                    <a:lnTo>
                      <a:pt x="160" y="10"/>
                    </a:lnTo>
                    <a:lnTo>
                      <a:pt x="159" y="10"/>
                    </a:lnTo>
                    <a:lnTo>
                      <a:pt x="159" y="10"/>
                    </a:lnTo>
                    <a:lnTo>
                      <a:pt x="158" y="10"/>
                    </a:lnTo>
                    <a:lnTo>
                      <a:pt x="158" y="11"/>
                    </a:lnTo>
                    <a:lnTo>
                      <a:pt x="158" y="11"/>
                    </a:lnTo>
                    <a:lnTo>
                      <a:pt x="159" y="12"/>
                    </a:lnTo>
                    <a:lnTo>
                      <a:pt x="160" y="13"/>
                    </a:lnTo>
                    <a:lnTo>
                      <a:pt x="161" y="13"/>
                    </a:lnTo>
                    <a:lnTo>
                      <a:pt x="162" y="13"/>
                    </a:lnTo>
                    <a:lnTo>
                      <a:pt x="162" y="13"/>
                    </a:lnTo>
                    <a:lnTo>
                      <a:pt x="159" y="14"/>
                    </a:lnTo>
                    <a:lnTo>
                      <a:pt x="158" y="15"/>
                    </a:lnTo>
                    <a:lnTo>
                      <a:pt x="152" y="15"/>
                    </a:lnTo>
                    <a:lnTo>
                      <a:pt x="152" y="15"/>
                    </a:lnTo>
                    <a:lnTo>
                      <a:pt x="150" y="14"/>
                    </a:lnTo>
                    <a:lnTo>
                      <a:pt x="148" y="15"/>
                    </a:lnTo>
                    <a:lnTo>
                      <a:pt x="145" y="15"/>
                    </a:lnTo>
                    <a:lnTo>
                      <a:pt x="145" y="15"/>
                    </a:lnTo>
                    <a:lnTo>
                      <a:pt x="145" y="16"/>
                    </a:lnTo>
                    <a:lnTo>
                      <a:pt x="145" y="17"/>
                    </a:lnTo>
                    <a:lnTo>
                      <a:pt x="146" y="18"/>
                    </a:lnTo>
                    <a:lnTo>
                      <a:pt x="146" y="18"/>
                    </a:lnTo>
                    <a:lnTo>
                      <a:pt x="147" y="18"/>
                    </a:lnTo>
                    <a:lnTo>
                      <a:pt x="147" y="19"/>
                    </a:lnTo>
                    <a:lnTo>
                      <a:pt x="147" y="19"/>
                    </a:lnTo>
                    <a:lnTo>
                      <a:pt x="148" y="19"/>
                    </a:lnTo>
                    <a:lnTo>
                      <a:pt x="148" y="19"/>
                    </a:lnTo>
                    <a:lnTo>
                      <a:pt x="149" y="19"/>
                    </a:lnTo>
                    <a:lnTo>
                      <a:pt x="150" y="20"/>
                    </a:lnTo>
                    <a:lnTo>
                      <a:pt x="150" y="20"/>
                    </a:lnTo>
                    <a:lnTo>
                      <a:pt x="151" y="20"/>
                    </a:lnTo>
                    <a:lnTo>
                      <a:pt x="152" y="20"/>
                    </a:lnTo>
                    <a:lnTo>
                      <a:pt x="153" y="20"/>
                    </a:lnTo>
                    <a:lnTo>
                      <a:pt x="154" y="20"/>
                    </a:lnTo>
                    <a:lnTo>
                      <a:pt x="155" y="21"/>
                    </a:lnTo>
                    <a:lnTo>
                      <a:pt x="155" y="21"/>
                    </a:lnTo>
                    <a:lnTo>
                      <a:pt x="156" y="21"/>
                    </a:lnTo>
                    <a:lnTo>
                      <a:pt x="156" y="22"/>
                    </a:lnTo>
                    <a:lnTo>
                      <a:pt x="156" y="22"/>
                    </a:lnTo>
                    <a:lnTo>
                      <a:pt x="154" y="22"/>
                    </a:lnTo>
                    <a:lnTo>
                      <a:pt x="153" y="22"/>
                    </a:lnTo>
                    <a:lnTo>
                      <a:pt x="153" y="22"/>
                    </a:lnTo>
                    <a:lnTo>
                      <a:pt x="150" y="21"/>
                    </a:lnTo>
                    <a:lnTo>
                      <a:pt x="148" y="21"/>
                    </a:lnTo>
                    <a:lnTo>
                      <a:pt x="147" y="20"/>
                    </a:lnTo>
                    <a:lnTo>
                      <a:pt x="146" y="20"/>
                    </a:lnTo>
                    <a:lnTo>
                      <a:pt x="144" y="20"/>
                    </a:lnTo>
                    <a:lnTo>
                      <a:pt x="143" y="20"/>
                    </a:lnTo>
                    <a:lnTo>
                      <a:pt x="141" y="20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1"/>
                    </a:lnTo>
                    <a:lnTo>
                      <a:pt x="141" y="21"/>
                    </a:lnTo>
                    <a:lnTo>
                      <a:pt x="142" y="22"/>
                    </a:lnTo>
                    <a:lnTo>
                      <a:pt x="140" y="22"/>
                    </a:lnTo>
                    <a:lnTo>
                      <a:pt x="139" y="21"/>
                    </a:lnTo>
                    <a:lnTo>
                      <a:pt x="138" y="21"/>
                    </a:lnTo>
                    <a:lnTo>
                      <a:pt x="138" y="21"/>
                    </a:lnTo>
                    <a:lnTo>
                      <a:pt x="136" y="21"/>
                    </a:lnTo>
                    <a:lnTo>
                      <a:pt x="136" y="21"/>
                    </a:lnTo>
                    <a:lnTo>
                      <a:pt x="137" y="22"/>
                    </a:lnTo>
                    <a:lnTo>
                      <a:pt x="137" y="23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41" y="23"/>
                    </a:lnTo>
                    <a:lnTo>
                      <a:pt x="142" y="24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4" y="25"/>
                    </a:lnTo>
                    <a:lnTo>
                      <a:pt x="145" y="25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2" y="24"/>
                    </a:lnTo>
                    <a:lnTo>
                      <a:pt x="139" y="24"/>
                    </a:lnTo>
                    <a:lnTo>
                      <a:pt x="139" y="24"/>
                    </a:lnTo>
                    <a:lnTo>
                      <a:pt x="137" y="24"/>
                    </a:lnTo>
                    <a:lnTo>
                      <a:pt x="136" y="23"/>
                    </a:lnTo>
                    <a:lnTo>
                      <a:pt x="135" y="23"/>
                    </a:lnTo>
                    <a:lnTo>
                      <a:pt x="135" y="22"/>
                    </a:lnTo>
                    <a:lnTo>
                      <a:pt x="133" y="22"/>
                    </a:lnTo>
                    <a:lnTo>
                      <a:pt x="133" y="21"/>
                    </a:lnTo>
                    <a:lnTo>
                      <a:pt x="134" y="21"/>
                    </a:lnTo>
                    <a:lnTo>
                      <a:pt x="134" y="21"/>
                    </a:lnTo>
                    <a:lnTo>
                      <a:pt x="134" y="20"/>
                    </a:lnTo>
                    <a:lnTo>
                      <a:pt x="132" y="18"/>
                    </a:lnTo>
                    <a:lnTo>
                      <a:pt x="132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2" y="20"/>
                    </a:lnTo>
                    <a:lnTo>
                      <a:pt x="131" y="20"/>
                    </a:lnTo>
                    <a:lnTo>
                      <a:pt x="130" y="21"/>
                    </a:lnTo>
                    <a:lnTo>
                      <a:pt x="129" y="21"/>
                    </a:lnTo>
                    <a:lnTo>
                      <a:pt x="128" y="23"/>
                    </a:lnTo>
                    <a:lnTo>
                      <a:pt x="132" y="25"/>
                    </a:lnTo>
                    <a:lnTo>
                      <a:pt x="133" y="25"/>
                    </a:lnTo>
                    <a:lnTo>
                      <a:pt x="133" y="28"/>
                    </a:lnTo>
                    <a:lnTo>
                      <a:pt x="133" y="29"/>
                    </a:lnTo>
                    <a:lnTo>
                      <a:pt x="133" y="29"/>
                    </a:lnTo>
                    <a:lnTo>
                      <a:pt x="133" y="30"/>
                    </a:lnTo>
                    <a:lnTo>
                      <a:pt x="136" y="31"/>
                    </a:lnTo>
                    <a:lnTo>
                      <a:pt x="136" y="32"/>
                    </a:lnTo>
                    <a:lnTo>
                      <a:pt x="139" y="33"/>
                    </a:lnTo>
                    <a:lnTo>
                      <a:pt x="140" y="33"/>
                    </a:lnTo>
                    <a:lnTo>
                      <a:pt x="140" y="32"/>
                    </a:lnTo>
                    <a:lnTo>
                      <a:pt x="141" y="32"/>
                    </a:lnTo>
                    <a:lnTo>
                      <a:pt x="142" y="32"/>
                    </a:lnTo>
                    <a:lnTo>
                      <a:pt x="144" y="32"/>
                    </a:lnTo>
                    <a:lnTo>
                      <a:pt x="145" y="32"/>
                    </a:lnTo>
                    <a:lnTo>
                      <a:pt x="145" y="33"/>
                    </a:lnTo>
                    <a:lnTo>
                      <a:pt x="146" y="33"/>
                    </a:lnTo>
                    <a:lnTo>
                      <a:pt x="147" y="33"/>
                    </a:lnTo>
                    <a:lnTo>
                      <a:pt x="147" y="33"/>
                    </a:lnTo>
                    <a:lnTo>
                      <a:pt x="150" y="34"/>
                    </a:lnTo>
                    <a:lnTo>
                      <a:pt x="151" y="35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6"/>
                    </a:lnTo>
                    <a:lnTo>
                      <a:pt x="149" y="36"/>
                    </a:lnTo>
                    <a:lnTo>
                      <a:pt x="149" y="36"/>
                    </a:lnTo>
                    <a:lnTo>
                      <a:pt x="149" y="37"/>
                    </a:lnTo>
                    <a:lnTo>
                      <a:pt x="150" y="37"/>
                    </a:lnTo>
                    <a:lnTo>
                      <a:pt x="151" y="38"/>
                    </a:lnTo>
                    <a:lnTo>
                      <a:pt x="154" y="38"/>
                    </a:lnTo>
                    <a:lnTo>
                      <a:pt x="153" y="38"/>
                    </a:lnTo>
                    <a:lnTo>
                      <a:pt x="153" y="38"/>
                    </a:lnTo>
                    <a:lnTo>
                      <a:pt x="152" y="39"/>
                    </a:lnTo>
                    <a:lnTo>
                      <a:pt x="151" y="39"/>
                    </a:lnTo>
                    <a:lnTo>
                      <a:pt x="150" y="38"/>
                    </a:lnTo>
                    <a:lnTo>
                      <a:pt x="150" y="38"/>
                    </a:lnTo>
                    <a:lnTo>
                      <a:pt x="149" y="38"/>
                    </a:lnTo>
                    <a:lnTo>
                      <a:pt x="149" y="37"/>
                    </a:lnTo>
                    <a:lnTo>
                      <a:pt x="148" y="36"/>
                    </a:lnTo>
                    <a:lnTo>
                      <a:pt x="147" y="35"/>
                    </a:lnTo>
                    <a:lnTo>
                      <a:pt x="146" y="34"/>
                    </a:lnTo>
                    <a:lnTo>
                      <a:pt x="146" y="34"/>
                    </a:lnTo>
                    <a:lnTo>
                      <a:pt x="145" y="34"/>
                    </a:lnTo>
                    <a:lnTo>
                      <a:pt x="145" y="34"/>
                    </a:lnTo>
                    <a:lnTo>
                      <a:pt x="145" y="33"/>
                    </a:lnTo>
                    <a:lnTo>
                      <a:pt x="145" y="33"/>
                    </a:lnTo>
                    <a:lnTo>
                      <a:pt x="143" y="33"/>
                    </a:lnTo>
                    <a:lnTo>
                      <a:pt x="143" y="33"/>
                    </a:lnTo>
                    <a:lnTo>
                      <a:pt x="142" y="33"/>
                    </a:lnTo>
                    <a:lnTo>
                      <a:pt x="141" y="33"/>
                    </a:lnTo>
                    <a:lnTo>
                      <a:pt x="140" y="33"/>
                    </a:lnTo>
                    <a:lnTo>
                      <a:pt x="139" y="34"/>
                    </a:lnTo>
                    <a:lnTo>
                      <a:pt x="139" y="35"/>
                    </a:lnTo>
                    <a:lnTo>
                      <a:pt x="139" y="35"/>
                    </a:lnTo>
                    <a:lnTo>
                      <a:pt x="140" y="36"/>
                    </a:lnTo>
                    <a:lnTo>
                      <a:pt x="141" y="37"/>
                    </a:lnTo>
                    <a:lnTo>
                      <a:pt x="142" y="37"/>
                    </a:lnTo>
                    <a:lnTo>
                      <a:pt x="142" y="37"/>
                    </a:lnTo>
                    <a:lnTo>
                      <a:pt x="140" y="39"/>
                    </a:lnTo>
                    <a:lnTo>
                      <a:pt x="140" y="39"/>
                    </a:lnTo>
                    <a:lnTo>
                      <a:pt x="140" y="42"/>
                    </a:lnTo>
                    <a:lnTo>
                      <a:pt x="137" y="43"/>
                    </a:lnTo>
                    <a:lnTo>
                      <a:pt x="137" y="43"/>
                    </a:lnTo>
                    <a:lnTo>
                      <a:pt x="137" y="44"/>
                    </a:lnTo>
                    <a:lnTo>
                      <a:pt x="136" y="44"/>
                    </a:lnTo>
                    <a:lnTo>
                      <a:pt x="135" y="44"/>
                    </a:lnTo>
                    <a:lnTo>
                      <a:pt x="134" y="44"/>
                    </a:lnTo>
                    <a:lnTo>
                      <a:pt x="132" y="44"/>
                    </a:lnTo>
                    <a:lnTo>
                      <a:pt x="129" y="43"/>
                    </a:lnTo>
                    <a:lnTo>
                      <a:pt x="128" y="43"/>
                    </a:lnTo>
                    <a:lnTo>
                      <a:pt x="128" y="43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6" y="42"/>
                    </a:lnTo>
                    <a:lnTo>
                      <a:pt x="129" y="42"/>
                    </a:lnTo>
                    <a:lnTo>
                      <a:pt x="130" y="42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3" y="42"/>
                    </a:lnTo>
                    <a:lnTo>
                      <a:pt x="134" y="42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39"/>
                    </a:lnTo>
                    <a:lnTo>
                      <a:pt x="135" y="38"/>
                    </a:lnTo>
                    <a:lnTo>
                      <a:pt x="136" y="38"/>
                    </a:lnTo>
                    <a:lnTo>
                      <a:pt x="136" y="37"/>
                    </a:lnTo>
                    <a:lnTo>
                      <a:pt x="136" y="37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35"/>
                    </a:lnTo>
                    <a:lnTo>
                      <a:pt x="136" y="35"/>
                    </a:lnTo>
                    <a:lnTo>
                      <a:pt x="136" y="35"/>
                    </a:lnTo>
                    <a:lnTo>
                      <a:pt x="135" y="34"/>
                    </a:lnTo>
                    <a:lnTo>
                      <a:pt x="134" y="34"/>
                    </a:lnTo>
                    <a:lnTo>
                      <a:pt x="133" y="34"/>
                    </a:lnTo>
                    <a:lnTo>
                      <a:pt x="132" y="34"/>
                    </a:lnTo>
                    <a:lnTo>
                      <a:pt x="131" y="33"/>
                    </a:lnTo>
                    <a:lnTo>
                      <a:pt x="131" y="31"/>
                    </a:lnTo>
                    <a:lnTo>
                      <a:pt x="131" y="30"/>
                    </a:lnTo>
                    <a:lnTo>
                      <a:pt x="130" y="29"/>
                    </a:lnTo>
                    <a:lnTo>
                      <a:pt x="129" y="29"/>
                    </a:lnTo>
                    <a:lnTo>
                      <a:pt x="129" y="28"/>
                    </a:lnTo>
                    <a:lnTo>
                      <a:pt x="129" y="28"/>
                    </a:lnTo>
                    <a:lnTo>
                      <a:pt x="128" y="25"/>
                    </a:lnTo>
                    <a:lnTo>
                      <a:pt x="124" y="23"/>
                    </a:lnTo>
                    <a:lnTo>
                      <a:pt x="125" y="23"/>
                    </a:lnTo>
                    <a:lnTo>
                      <a:pt x="126" y="21"/>
                    </a:lnTo>
                    <a:lnTo>
                      <a:pt x="126" y="21"/>
                    </a:lnTo>
                    <a:lnTo>
                      <a:pt x="125" y="20"/>
                    </a:lnTo>
                    <a:lnTo>
                      <a:pt x="124" y="19"/>
                    </a:lnTo>
                    <a:lnTo>
                      <a:pt x="123" y="19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14" y="18"/>
                    </a:lnTo>
                    <a:lnTo>
                      <a:pt x="113" y="19"/>
                    </a:lnTo>
                    <a:lnTo>
                      <a:pt x="114" y="20"/>
                    </a:lnTo>
                    <a:lnTo>
                      <a:pt x="113" y="22"/>
                    </a:lnTo>
                    <a:lnTo>
                      <a:pt x="110" y="23"/>
                    </a:lnTo>
                    <a:lnTo>
                      <a:pt x="110" y="25"/>
                    </a:lnTo>
                    <a:lnTo>
                      <a:pt x="112" y="25"/>
                    </a:lnTo>
                    <a:lnTo>
                      <a:pt x="113" y="29"/>
                    </a:lnTo>
                    <a:lnTo>
                      <a:pt x="113" y="30"/>
                    </a:lnTo>
                    <a:lnTo>
                      <a:pt x="114" y="31"/>
                    </a:lnTo>
                    <a:lnTo>
                      <a:pt x="117" y="31"/>
                    </a:lnTo>
                    <a:lnTo>
                      <a:pt x="117" y="31"/>
                    </a:lnTo>
                    <a:lnTo>
                      <a:pt x="117" y="32"/>
                    </a:lnTo>
                    <a:lnTo>
                      <a:pt x="118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22" y="33"/>
                    </a:lnTo>
                    <a:lnTo>
                      <a:pt x="121" y="36"/>
                    </a:lnTo>
                    <a:lnTo>
                      <a:pt x="120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7" y="34"/>
                    </a:lnTo>
                    <a:lnTo>
                      <a:pt x="114" y="33"/>
                    </a:lnTo>
                    <a:lnTo>
                      <a:pt x="113" y="33"/>
                    </a:lnTo>
                    <a:lnTo>
                      <a:pt x="110" y="33"/>
                    </a:lnTo>
                    <a:lnTo>
                      <a:pt x="109" y="32"/>
                    </a:lnTo>
                    <a:lnTo>
                      <a:pt x="108" y="33"/>
                    </a:lnTo>
                    <a:lnTo>
                      <a:pt x="107" y="31"/>
                    </a:lnTo>
                    <a:lnTo>
                      <a:pt x="107" y="31"/>
                    </a:lnTo>
                    <a:lnTo>
                      <a:pt x="106" y="31"/>
                    </a:lnTo>
                    <a:lnTo>
                      <a:pt x="106" y="31"/>
                    </a:lnTo>
                    <a:lnTo>
                      <a:pt x="105" y="31"/>
                    </a:lnTo>
                    <a:lnTo>
                      <a:pt x="103" y="30"/>
                    </a:lnTo>
                    <a:lnTo>
                      <a:pt x="102" y="30"/>
                    </a:lnTo>
                    <a:lnTo>
                      <a:pt x="101" y="30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4" y="31"/>
                    </a:lnTo>
                    <a:lnTo>
                      <a:pt x="94" y="31"/>
                    </a:lnTo>
                    <a:lnTo>
                      <a:pt x="95" y="32"/>
                    </a:lnTo>
                    <a:lnTo>
                      <a:pt x="96" y="32"/>
                    </a:lnTo>
                    <a:lnTo>
                      <a:pt x="96" y="33"/>
                    </a:lnTo>
                    <a:lnTo>
                      <a:pt x="97" y="33"/>
                    </a:lnTo>
                    <a:lnTo>
                      <a:pt x="95" y="34"/>
                    </a:lnTo>
                    <a:lnTo>
                      <a:pt x="95" y="34"/>
                    </a:lnTo>
                    <a:lnTo>
                      <a:pt x="95" y="35"/>
                    </a:lnTo>
                    <a:lnTo>
                      <a:pt x="94" y="35"/>
                    </a:lnTo>
                    <a:lnTo>
                      <a:pt x="93" y="35"/>
                    </a:lnTo>
                    <a:lnTo>
                      <a:pt x="93" y="35"/>
                    </a:lnTo>
                    <a:lnTo>
                      <a:pt x="93" y="35"/>
                    </a:lnTo>
                    <a:lnTo>
                      <a:pt x="93" y="33"/>
                    </a:lnTo>
                    <a:lnTo>
                      <a:pt x="92" y="33"/>
                    </a:lnTo>
                    <a:lnTo>
                      <a:pt x="91" y="33"/>
                    </a:lnTo>
                    <a:lnTo>
                      <a:pt x="90" y="33"/>
                    </a:lnTo>
                    <a:lnTo>
                      <a:pt x="89" y="33"/>
                    </a:lnTo>
                    <a:lnTo>
                      <a:pt x="89" y="34"/>
                    </a:lnTo>
                    <a:lnTo>
                      <a:pt x="87" y="35"/>
                    </a:lnTo>
                    <a:lnTo>
                      <a:pt x="86" y="35"/>
                    </a:lnTo>
                    <a:lnTo>
                      <a:pt x="85" y="34"/>
                    </a:lnTo>
                    <a:lnTo>
                      <a:pt x="84" y="34"/>
                    </a:lnTo>
                    <a:lnTo>
                      <a:pt x="83" y="34"/>
                    </a:lnTo>
                    <a:lnTo>
                      <a:pt x="82" y="35"/>
                    </a:lnTo>
                    <a:lnTo>
                      <a:pt x="80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75" y="36"/>
                    </a:lnTo>
                    <a:lnTo>
                      <a:pt x="76" y="35"/>
                    </a:lnTo>
                    <a:lnTo>
                      <a:pt x="76" y="33"/>
                    </a:lnTo>
                    <a:lnTo>
                      <a:pt x="75" y="33"/>
                    </a:lnTo>
                    <a:lnTo>
                      <a:pt x="75" y="33"/>
                    </a:lnTo>
                    <a:lnTo>
                      <a:pt x="74" y="33"/>
                    </a:lnTo>
                    <a:lnTo>
                      <a:pt x="73" y="33"/>
                    </a:lnTo>
                    <a:lnTo>
                      <a:pt x="72" y="34"/>
                    </a:lnTo>
                    <a:lnTo>
                      <a:pt x="72" y="35"/>
                    </a:lnTo>
                    <a:lnTo>
                      <a:pt x="73" y="35"/>
                    </a:lnTo>
                    <a:lnTo>
                      <a:pt x="73" y="35"/>
                    </a:lnTo>
                    <a:lnTo>
                      <a:pt x="71" y="36"/>
                    </a:lnTo>
                    <a:lnTo>
                      <a:pt x="71" y="34"/>
                    </a:lnTo>
                    <a:lnTo>
                      <a:pt x="70" y="35"/>
                    </a:lnTo>
                    <a:lnTo>
                      <a:pt x="67" y="35"/>
                    </a:lnTo>
                    <a:lnTo>
                      <a:pt x="64" y="37"/>
                    </a:lnTo>
                    <a:lnTo>
                      <a:pt x="61" y="37"/>
                    </a:lnTo>
                    <a:lnTo>
                      <a:pt x="62" y="38"/>
                    </a:lnTo>
                    <a:lnTo>
                      <a:pt x="61" y="38"/>
                    </a:lnTo>
                    <a:lnTo>
                      <a:pt x="61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59" y="38"/>
                    </a:lnTo>
                    <a:lnTo>
                      <a:pt x="59" y="41"/>
                    </a:lnTo>
                    <a:lnTo>
                      <a:pt x="55" y="42"/>
                    </a:lnTo>
                    <a:lnTo>
                      <a:pt x="55" y="41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1" y="41"/>
                    </a:lnTo>
                    <a:lnTo>
                      <a:pt x="51" y="40"/>
                    </a:lnTo>
                    <a:lnTo>
                      <a:pt x="51" y="38"/>
                    </a:lnTo>
                    <a:lnTo>
                      <a:pt x="51" y="38"/>
                    </a:lnTo>
                    <a:lnTo>
                      <a:pt x="51" y="37"/>
                    </a:lnTo>
                    <a:lnTo>
                      <a:pt x="52" y="37"/>
                    </a:lnTo>
                    <a:lnTo>
                      <a:pt x="52" y="37"/>
                    </a:lnTo>
                    <a:lnTo>
                      <a:pt x="56" y="37"/>
                    </a:lnTo>
                    <a:lnTo>
                      <a:pt x="55" y="37"/>
                    </a:lnTo>
                    <a:lnTo>
                      <a:pt x="55" y="36"/>
                    </a:lnTo>
                    <a:lnTo>
                      <a:pt x="54" y="36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2" y="34"/>
                    </a:lnTo>
                    <a:lnTo>
                      <a:pt x="44" y="34"/>
                    </a:lnTo>
                    <a:lnTo>
                      <a:pt x="45" y="35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7" y="36"/>
                    </a:lnTo>
                    <a:lnTo>
                      <a:pt x="47" y="37"/>
                    </a:lnTo>
                    <a:lnTo>
                      <a:pt x="47" y="38"/>
                    </a:lnTo>
                    <a:lnTo>
                      <a:pt x="47" y="39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8" y="41"/>
                    </a:lnTo>
                    <a:lnTo>
                      <a:pt x="49" y="41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50" y="45"/>
                    </a:lnTo>
                    <a:lnTo>
                      <a:pt x="48" y="44"/>
                    </a:lnTo>
                    <a:lnTo>
                      <a:pt x="47" y="45"/>
                    </a:lnTo>
                    <a:lnTo>
                      <a:pt x="47" y="44"/>
                    </a:lnTo>
                    <a:lnTo>
                      <a:pt x="42" y="43"/>
                    </a:lnTo>
                    <a:lnTo>
                      <a:pt x="41" y="45"/>
                    </a:lnTo>
                    <a:lnTo>
                      <a:pt x="39" y="45"/>
                    </a:lnTo>
                    <a:lnTo>
                      <a:pt x="39" y="45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7" y="46"/>
                    </a:lnTo>
                    <a:lnTo>
                      <a:pt x="37" y="46"/>
                    </a:lnTo>
                    <a:lnTo>
                      <a:pt x="36" y="47"/>
                    </a:lnTo>
                    <a:lnTo>
                      <a:pt x="36" y="47"/>
                    </a:lnTo>
                    <a:lnTo>
                      <a:pt x="36" y="48"/>
                    </a:lnTo>
                    <a:lnTo>
                      <a:pt x="37" y="48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9" y="49"/>
                    </a:lnTo>
                    <a:lnTo>
                      <a:pt x="39" y="50"/>
                    </a:lnTo>
                    <a:lnTo>
                      <a:pt x="40" y="52"/>
                    </a:lnTo>
                    <a:lnTo>
                      <a:pt x="39" y="51"/>
                    </a:lnTo>
                    <a:lnTo>
                      <a:pt x="38" y="51"/>
                    </a:lnTo>
                    <a:lnTo>
                      <a:pt x="38" y="51"/>
                    </a:lnTo>
                    <a:lnTo>
                      <a:pt x="37" y="51"/>
                    </a:lnTo>
                    <a:lnTo>
                      <a:pt x="36" y="51"/>
                    </a:lnTo>
                    <a:lnTo>
                      <a:pt x="36" y="51"/>
                    </a:lnTo>
                    <a:lnTo>
                      <a:pt x="35" y="51"/>
                    </a:lnTo>
                    <a:lnTo>
                      <a:pt x="34" y="50"/>
                    </a:lnTo>
                    <a:lnTo>
                      <a:pt x="33" y="50"/>
                    </a:lnTo>
                    <a:lnTo>
                      <a:pt x="32" y="50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30" y="48"/>
                    </a:lnTo>
                    <a:lnTo>
                      <a:pt x="29" y="48"/>
                    </a:lnTo>
                    <a:lnTo>
                      <a:pt x="28" y="49"/>
                    </a:lnTo>
                    <a:lnTo>
                      <a:pt x="27" y="49"/>
                    </a:lnTo>
                    <a:lnTo>
                      <a:pt x="26" y="49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1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3"/>
                    </a:lnTo>
                    <a:lnTo>
                      <a:pt x="32" y="53"/>
                    </a:lnTo>
                    <a:lnTo>
                      <a:pt x="31" y="54"/>
                    </a:lnTo>
                    <a:lnTo>
                      <a:pt x="31" y="54"/>
                    </a:lnTo>
                    <a:lnTo>
                      <a:pt x="27" y="53"/>
                    </a:lnTo>
                    <a:lnTo>
                      <a:pt x="26" y="53"/>
                    </a:lnTo>
                    <a:lnTo>
                      <a:pt x="26" y="52"/>
                    </a:lnTo>
                    <a:lnTo>
                      <a:pt x="25" y="52"/>
                    </a:lnTo>
                    <a:lnTo>
                      <a:pt x="22" y="52"/>
                    </a:lnTo>
                    <a:lnTo>
                      <a:pt x="21" y="52"/>
                    </a:lnTo>
                    <a:lnTo>
                      <a:pt x="21" y="49"/>
                    </a:lnTo>
                    <a:lnTo>
                      <a:pt x="20" y="48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6"/>
                    </a:lnTo>
                    <a:lnTo>
                      <a:pt x="20" y="45"/>
                    </a:lnTo>
                    <a:lnTo>
                      <a:pt x="18" y="44"/>
                    </a:lnTo>
                    <a:lnTo>
                      <a:pt x="17" y="44"/>
                    </a:lnTo>
                    <a:lnTo>
                      <a:pt x="16" y="44"/>
                    </a:lnTo>
                    <a:lnTo>
                      <a:pt x="14" y="43"/>
                    </a:lnTo>
                    <a:lnTo>
                      <a:pt x="13" y="42"/>
                    </a:lnTo>
                    <a:lnTo>
                      <a:pt x="12" y="41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5" y="41"/>
                    </a:lnTo>
                    <a:lnTo>
                      <a:pt x="16" y="42"/>
                    </a:lnTo>
                    <a:lnTo>
                      <a:pt x="17" y="42"/>
                    </a:lnTo>
                    <a:lnTo>
                      <a:pt x="18" y="42"/>
                    </a:lnTo>
                    <a:lnTo>
                      <a:pt x="19" y="42"/>
                    </a:lnTo>
                    <a:lnTo>
                      <a:pt x="20" y="42"/>
                    </a:lnTo>
                    <a:lnTo>
                      <a:pt x="20" y="43"/>
                    </a:lnTo>
                    <a:lnTo>
                      <a:pt x="22" y="44"/>
                    </a:lnTo>
                    <a:lnTo>
                      <a:pt x="25" y="44"/>
                    </a:lnTo>
                    <a:lnTo>
                      <a:pt x="27" y="44"/>
                    </a:lnTo>
                    <a:lnTo>
                      <a:pt x="27" y="44"/>
                    </a:lnTo>
                    <a:lnTo>
                      <a:pt x="28" y="44"/>
                    </a:lnTo>
                    <a:lnTo>
                      <a:pt x="29" y="45"/>
                    </a:lnTo>
                    <a:lnTo>
                      <a:pt x="32" y="45"/>
                    </a:lnTo>
                    <a:lnTo>
                      <a:pt x="35" y="45"/>
                    </a:lnTo>
                    <a:lnTo>
                      <a:pt x="37" y="44"/>
                    </a:lnTo>
                    <a:lnTo>
                      <a:pt x="39" y="43"/>
                    </a:lnTo>
                    <a:lnTo>
                      <a:pt x="40" y="42"/>
                    </a:lnTo>
                    <a:lnTo>
                      <a:pt x="40" y="41"/>
                    </a:lnTo>
                    <a:lnTo>
                      <a:pt x="38" y="38"/>
                    </a:lnTo>
                    <a:lnTo>
                      <a:pt x="37" y="37"/>
                    </a:lnTo>
                    <a:lnTo>
                      <a:pt x="36" y="37"/>
                    </a:lnTo>
                    <a:lnTo>
                      <a:pt x="33" y="36"/>
                    </a:lnTo>
                    <a:lnTo>
                      <a:pt x="30" y="35"/>
                    </a:lnTo>
                    <a:lnTo>
                      <a:pt x="26" y="34"/>
                    </a:lnTo>
                    <a:lnTo>
                      <a:pt x="24" y="33"/>
                    </a:lnTo>
                    <a:lnTo>
                      <a:pt x="21" y="32"/>
                    </a:lnTo>
                    <a:lnTo>
                      <a:pt x="14" y="32"/>
                    </a:lnTo>
                    <a:lnTo>
                      <a:pt x="13" y="31"/>
                    </a:lnTo>
                    <a:lnTo>
                      <a:pt x="12" y="32"/>
                    </a:lnTo>
                    <a:lnTo>
                      <a:pt x="9" y="31"/>
                    </a:lnTo>
                    <a:lnTo>
                      <a:pt x="12" y="30"/>
                    </a:lnTo>
                    <a:lnTo>
                      <a:pt x="13" y="30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10" y="29"/>
                    </a:lnTo>
                    <a:lnTo>
                      <a:pt x="9" y="29"/>
                    </a:lnTo>
                    <a:lnTo>
                      <a:pt x="8" y="29"/>
                    </a:lnTo>
                    <a:lnTo>
                      <a:pt x="8" y="29"/>
                    </a:lnTo>
                    <a:lnTo>
                      <a:pt x="8" y="30"/>
                    </a:lnTo>
                    <a:lnTo>
                      <a:pt x="7" y="30"/>
                    </a:lnTo>
                    <a:lnTo>
                      <a:pt x="6" y="30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3" y="3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36"/>
                    </a:lnTo>
                    <a:lnTo>
                      <a:pt x="1" y="36"/>
                    </a:lnTo>
                    <a:lnTo>
                      <a:pt x="2" y="36"/>
                    </a:lnTo>
                    <a:lnTo>
                      <a:pt x="5" y="39"/>
                    </a:lnTo>
                    <a:lnTo>
                      <a:pt x="5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3" y="40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2" y="42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6" y="45"/>
                    </a:lnTo>
                    <a:lnTo>
                      <a:pt x="7" y="46"/>
                    </a:lnTo>
                    <a:lnTo>
                      <a:pt x="7" y="46"/>
                    </a:lnTo>
                    <a:lnTo>
                      <a:pt x="7" y="46"/>
                    </a:lnTo>
                    <a:lnTo>
                      <a:pt x="7" y="47"/>
                    </a:lnTo>
                    <a:lnTo>
                      <a:pt x="6" y="47"/>
                    </a:lnTo>
                    <a:lnTo>
                      <a:pt x="5" y="46"/>
                    </a:lnTo>
                    <a:lnTo>
                      <a:pt x="5" y="46"/>
                    </a:lnTo>
                    <a:lnTo>
                      <a:pt x="5" y="4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6" y="49"/>
                    </a:lnTo>
                    <a:lnTo>
                      <a:pt x="6" y="50"/>
                    </a:lnTo>
                    <a:lnTo>
                      <a:pt x="7" y="50"/>
                    </a:lnTo>
                    <a:lnTo>
                      <a:pt x="7" y="50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9" y="53"/>
                    </a:lnTo>
                    <a:lnTo>
                      <a:pt x="9" y="53"/>
                    </a:lnTo>
                    <a:lnTo>
                      <a:pt x="7" y="55"/>
                    </a:lnTo>
                    <a:lnTo>
                      <a:pt x="7" y="55"/>
                    </a:lnTo>
                    <a:lnTo>
                      <a:pt x="11" y="57"/>
                    </a:lnTo>
                    <a:lnTo>
                      <a:pt x="12" y="57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2" y="60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6" y="66"/>
                    </a:lnTo>
                    <a:lnTo>
                      <a:pt x="2" y="67"/>
                    </a:lnTo>
                    <a:lnTo>
                      <a:pt x="3" y="68"/>
                    </a:lnTo>
                    <a:lnTo>
                      <a:pt x="4" y="67"/>
                    </a:lnTo>
                    <a:lnTo>
                      <a:pt x="5" y="68"/>
                    </a:lnTo>
                    <a:lnTo>
                      <a:pt x="5" y="69"/>
                    </a:lnTo>
                    <a:lnTo>
                      <a:pt x="6" y="69"/>
                    </a:lnTo>
                    <a:lnTo>
                      <a:pt x="6" y="70"/>
                    </a:lnTo>
                    <a:lnTo>
                      <a:pt x="9" y="70"/>
                    </a:lnTo>
                    <a:lnTo>
                      <a:pt x="10" y="71"/>
                    </a:lnTo>
                    <a:lnTo>
                      <a:pt x="9" y="71"/>
                    </a:lnTo>
                    <a:lnTo>
                      <a:pt x="8" y="70"/>
                    </a:lnTo>
                    <a:lnTo>
                      <a:pt x="7" y="70"/>
                    </a:lnTo>
                    <a:lnTo>
                      <a:pt x="6" y="71"/>
                    </a:lnTo>
                    <a:lnTo>
                      <a:pt x="6" y="71"/>
                    </a:lnTo>
                    <a:lnTo>
                      <a:pt x="4" y="71"/>
                    </a:lnTo>
                    <a:lnTo>
                      <a:pt x="4" y="73"/>
                    </a:lnTo>
                    <a:lnTo>
                      <a:pt x="3" y="73"/>
                    </a:lnTo>
                    <a:lnTo>
                      <a:pt x="3" y="74"/>
                    </a:lnTo>
                    <a:lnTo>
                      <a:pt x="3" y="75"/>
                    </a:lnTo>
                    <a:lnTo>
                      <a:pt x="3" y="75"/>
                    </a:lnTo>
                    <a:lnTo>
                      <a:pt x="2" y="75"/>
                    </a:lnTo>
                    <a:lnTo>
                      <a:pt x="2" y="76"/>
                    </a:lnTo>
                    <a:lnTo>
                      <a:pt x="2" y="77"/>
                    </a:lnTo>
                    <a:lnTo>
                      <a:pt x="3" y="77"/>
                    </a:lnTo>
                    <a:lnTo>
                      <a:pt x="2" y="78"/>
                    </a:lnTo>
                    <a:lnTo>
                      <a:pt x="3" y="79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81"/>
                    </a:lnTo>
                    <a:lnTo>
                      <a:pt x="3" y="81"/>
                    </a:lnTo>
                    <a:lnTo>
                      <a:pt x="3" y="82"/>
                    </a:lnTo>
                    <a:lnTo>
                      <a:pt x="4" y="82"/>
                    </a:lnTo>
                    <a:lnTo>
                      <a:pt x="4" y="83"/>
                    </a:lnTo>
                    <a:lnTo>
                      <a:pt x="4" y="83"/>
                    </a:lnTo>
                    <a:lnTo>
                      <a:pt x="3" y="83"/>
                    </a:lnTo>
                    <a:lnTo>
                      <a:pt x="3" y="84"/>
                    </a:lnTo>
                    <a:lnTo>
                      <a:pt x="4" y="85"/>
                    </a:lnTo>
                    <a:lnTo>
                      <a:pt x="5" y="85"/>
                    </a:lnTo>
                    <a:lnTo>
                      <a:pt x="5" y="86"/>
                    </a:lnTo>
                    <a:lnTo>
                      <a:pt x="6" y="86"/>
                    </a:lnTo>
                    <a:lnTo>
                      <a:pt x="6" y="88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7" y="88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1" y="89"/>
                    </a:lnTo>
                    <a:lnTo>
                      <a:pt x="12" y="88"/>
                    </a:lnTo>
                    <a:lnTo>
                      <a:pt x="13" y="88"/>
                    </a:lnTo>
                    <a:lnTo>
                      <a:pt x="13" y="89"/>
                    </a:lnTo>
                    <a:lnTo>
                      <a:pt x="15" y="90"/>
                    </a:lnTo>
                    <a:lnTo>
                      <a:pt x="16" y="90"/>
                    </a:lnTo>
                    <a:lnTo>
                      <a:pt x="16" y="91"/>
                    </a:lnTo>
                    <a:lnTo>
                      <a:pt x="15" y="91"/>
                    </a:lnTo>
                    <a:lnTo>
                      <a:pt x="16" y="92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17" y="94"/>
                    </a:lnTo>
                    <a:lnTo>
                      <a:pt x="18" y="95"/>
                    </a:lnTo>
                    <a:lnTo>
                      <a:pt x="18" y="95"/>
                    </a:lnTo>
                    <a:lnTo>
                      <a:pt x="19" y="97"/>
                    </a:lnTo>
                    <a:lnTo>
                      <a:pt x="19" y="98"/>
                    </a:lnTo>
                    <a:lnTo>
                      <a:pt x="21" y="98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22" y="99"/>
                    </a:lnTo>
                    <a:lnTo>
                      <a:pt x="22" y="99"/>
                    </a:lnTo>
                    <a:lnTo>
                      <a:pt x="23" y="100"/>
                    </a:lnTo>
                    <a:lnTo>
                      <a:pt x="23" y="100"/>
                    </a:lnTo>
                    <a:lnTo>
                      <a:pt x="22" y="101"/>
                    </a:lnTo>
                    <a:lnTo>
                      <a:pt x="21" y="101"/>
                    </a:lnTo>
                    <a:lnTo>
                      <a:pt x="20" y="101"/>
                    </a:lnTo>
                    <a:lnTo>
                      <a:pt x="20" y="101"/>
                    </a:lnTo>
                    <a:lnTo>
                      <a:pt x="20" y="101"/>
                    </a:lnTo>
                    <a:lnTo>
                      <a:pt x="20" y="101"/>
                    </a:lnTo>
                    <a:lnTo>
                      <a:pt x="18" y="101"/>
                    </a:lnTo>
                    <a:lnTo>
                      <a:pt x="18" y="101"/>
                    </a:lnTo>
                    <a:lnTo>
                      <a:pt x="18" y="101"/>
                    </a:lnTo>
                    <a:lnTo>
                      <a:pt x="19" y="103"/>
                    </a:lnTo>
                    <a:lnTo>
                      <a:pt x="19" y="104"/>
                    </a:lnTo>
                    <a:lnTo>
                      <a:pt x="20" y="104"/>
                    </a:lnTo>
                    <a:lnTo>
                      <a:pt x="20" y="105"/>
                    </a:lnTo>
                    <a:lnTo>
                      <a:pt x="20" y="106"/>
                    </a:lnTo>
                    <a:lnTo>
                      <a:pt x="22" y="106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24" y="105"/>
                    </a:lnTo>
                    <a:lnTo>
                      <a:pt x="25" y="104"/>
                    </a:lnTo>
                    <a:lnTo>
                      <a:pt x="28" y="104"/>
                    </a:lnTo>
                    <a:lnTo>
                      <a:pt x="28" y="105"/>
                    </a:lnTo>
                    <a:lnTo>
                      <a:pt x="28" y="105"/>
                    </a:lnTo>
                    <a:lnTo>
                      <a:pt x="29" y="106"/>
                    </a:lnTo>
                    <a:lnTo>
                      <a:pt x="29" y="106"/>
                    </a:lnTo>
                    <a:lnTo>
                      <a:pt x="30" y="106"/>
                    </a:lnTo>
                    <a:lnTo>
                      <a:pt x="30" y="107"/>
                    </a:lnTo>
                    <a:lnTo>
                      <a:pt x="29" y="107"/>
                    </a:lnTo>
                    <a:lnTo>
                      <a:pt x="29" y="107"/>
                    </a:lnTo>
                    <a:lnTo>
                      <a:pt x="29" y="108"/>
                    </a:lnTo>
                    <a:lnTo>
                      <a:pt x="29" y="109"/>
                    </a:lnTo>
                    <a:lnTo>
                      <a:pt x="32" y="109"/>
                    </a:lnTo>
                    <a:lnTo>
                      <a:pt x="34" y="111"/>
                    </a:lnTo>
                    <a:lnTo>
                      <a:pt x="35" y="113"/>
                    </a:lnTo>
                    <a:lnTo>
                      <a:pt x="35" y="113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38" y="113"/>
                    </a:lnTo>
                    <a:lnTo>
                      <a:pt x="38" y="114"/>
                    </a:lnTo>
                    <a:lnTo>
                      <a:pt x="41" y="114"/>
                    </a:lnTo>
                    <a:lnTo>
                      <a:pt x="41" y="114"/>
                    </a:lnTo>
                    <a:lnTo>
                      <a:pt x="41" y="114"/>
                    </a:lnTo>
                    <a:lnTo>
                      <a:pt x="41" y="113"/>
                    </a:lnTo>
                    <a:lnTo>
                      <a:pt x="42" y="113"/>
                    </a:lnTo>
                    <a:lnTo>
                      <a:pt x="42" y="114"/>
                    </a:lnTo>
                    <a:lnTo>
                      <a:pt x="44" y="115"/>
                    </a:lnTo>
                    <a:lnTo>
                      <a:pt x="44" y="115"/>
                    </a:lnTo>
                    <a:lnTo>
                      <a:pt x="46" y="115"/>
                    </a:lnTo>
                    <a:lnTo>
                      <a:pt x="46" y="115"/>
                    </a:lnTo>
                    <a:lnTo>
                      <a:pt x="47" y="116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50" y="116"/>
                    </a:lnTo>
                    <a:lnTo>
                      <a:pt x="51" y="117"/>
                    </a:lnTo>
                    <a:lnTo>
                      <a:pt x="52" y="117"/>
                    </a:lnTo>
                    <a:lnTo>
                      <a:pt x="52" y="117"/>
                    </a:lnTo>
                    <a:lnTo>
                      <a:pt x="52" y="119"/>
                    </a:lnTo>
                    <a:lnTo>
                      <a:pt x="51" y="120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3" y="120"/>
                    </a:lnTo>
                    <a:lnTo>
                      <a:pt x="52" y="121"/>
                    </a:lnTo>
                    <a:lnTo>
                      <a:pt x="51" y="121"/>
                    </a:lnTo>
                    <a:lnTo>
                      <a:pt x="51" y="121"/>
                    </a:lnTo>
                    <a:lnTo>
                      <a:pt x="52" y="122"/>
                    </a:lnTo>
                    <a:lnTo>
                      <a:pt x="52" y="122"/>
                    </a:lnTo>
                    <a:lnTo>
                      <a:pt x="52" y="123"/>
                    </a:lnTo>
                    <a:lnTo>
                      <a:pt x="53" y="123"/>
                    </a:lnTo>
                    <a:lnTo>
                      <a:pt x="53" y="124"/>
                    </a:lnTo>
                    <a:lnTo>
                      <a:pt x="52" y="124"/>
                    </a:lnTo>
                    <a:lnTo>
                      <a:pt x="51" y="124"/>
                    </a:lnTo>
                    <a:lnTo>
                      <a:pt x="51" y="125"/>
                    </a:lnTo>
                    <a:lnTo>
                      <a:pt x="49" y="125"/>
                    </a:lnTo>
                    <a:lnTo>
                      <a:pt x="48" y="125"/>
                    </a:lnTo>
                    <a:lnTo>
                      <a:pt x="48" y="126"/>
                    </a:lnTo>
                    <a:lnTo>
                      <a:pt x="48" y="126"/>
                    </a:lnTo>
                    <a:lnTo>
                      <a:pt x="47" y="126"/>
                    </a:lnTo>
                    <a:lnTo>
                      <a:pt x="47" y="128"/>
                    </a:lnTo>
                    <a:lnTo>
                      <a:pt x="47" y="128"/>
                    </a:lnTo>
                    <a:lnTo>
                      <a:pt x="47" y="128"/>
                    </a:lnTo>
                    <a:lnTo>
                      <a:pt x="48" y="128"/>
                    </a:lnTo>
                    <a:lnTo>
                      <a:pt x="49" y="127"/>
                    </a:lnTo>
                    <a:lnTo>
                      <a:pt x="51" y="127"/>
                    </a:lnTo>
                    <a:lnTo>
                      <a:pt x="51" y="128"/>
                    </a:lnTo>
                    <a:lnTo>
                      <a:pt x="50" y="129"/>
                    </a:lnTo>
                    <a:lnTo>
                      <a:pt x="50" y="129"/>
                    </a:lnTo>
                    <a:lnTo>
                      <a:pt x="49" y="130"/>
                    </a:lnTo>
                    <a:lnTo>
                      <a:pt x="49" y="130"/>
                    </a:lnTo>
                    <a:lnTo>
                      <a:pt x="46" y="131"/>
                    </a:lnTo>
                    <a:lnTo>
                      <a:pt x="49" y="133"/>
                    </a:lnTo>
                    <a:lnTo>
                      <a:pt x="48" y="133"/>
                    </a:lnTo>
                    <a:lnTo>
                      <a:pt x="48" y="133"/>
                    </a:lnTo>
                    <a:lnTo>
                      <a:pt x="47" y="133"/>
                    </a:lnTo>
                    <a:lnTo>
                      <a:pt x="47" y="134"/>
                    </a:lnTo>
                    <a:lnTo>
                      <a:pt x="46" y="135"/>
                    </a:lnTo>
                    <a:lnTo>
                      <a:pt x="46" y="136"/>
                    </a:lnTo>
                    <a:lnTo>
                      <a:pt x="45" y="136"/>
                    </a:lnTo>
                    <a:lnTo>
                      <a:pt x="45" y="137"/>
                    </a:lnTo>
                    <a:lnTo>
                      <a:pt x="44" y="137"/>
                    </a:lnTo>
                    <a:lnTo>
                      <a:pt x="44" y="136"/>
                    </a:lnTo>
                    <a:lnTo>
                      <a:pt x="43" y="136"/>
                    </a:lnTo>
                    <a:lnTo>
                      <a:pt x="43" y="136"/>
                    </a:lnTo>
                    <a:lnTo>
                      <a:pt x="42" y="137"/>
                    </a:lnTo>
                    <a:lnTo>
                      <a:pt x="43" y="137"/>
                    </a:lnTo>
                    <a:lnTo>
                      <a:pt x="43" y="138"/>
                    </a:lnTo>
                    <a:lnTo>
                      <a:pt x="43" y="138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39"/>
                    </a:lnTo>
                    <a:lnTo>
                      <a:pt x="45" y="139"/>
                    </a:lnTo>
                    <a:lnTo>
                      <a:pt x="47" y="139"/>
                    </a:lnTo>
                    <a:lnTo>
                      <a:pt x="47" y="140"/>
                    </a:lnTo>
                    <a:lnTo>
                      <a:pt x="48" y="140"/>
                    </a:lnTo>
                    <a:lnTo>
                      <a:pt x="49" y="141"/>
                    </a:lnTo>
                    <a:lnTo>
                      <a:pt x="49" y="141"/>
                    </a:lnTo>
                    <a:lnTo>
                      <a:pt x="51" y="141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3" y="144"/>
                    </a:lnTo>
                    <a:lnTo>
                      <a:pt x="54" y="145"/>
                    </a:lnTo>
                    <a:lnTo>
                      <a:pt x="54" y="145"/>
                    </a:lnTo>
                    <a:lnTo>
                      <a:pt x="55" y="145"/>
                    </a:lnTo>
                    <a:lnTo>
                      <a:pt x="55" y="145"/>
                    </a:lnTo>
                    <a:lnTo>
                      <a:pt x="56" y="146"/>
                    </a:lnTo>
                    <a:lnTo>
                      <a:pt x="57" y="145"/>
                    </a:lnTo>
                    <a:lnTo>
                      <a:pt x="58" y="145"/>
                    </a:lnTo>
                    <a:lnTo>
                      <a:pt x="59" y="145"/>
                    </a:lnTo>
                    <a:lnTo>
                      <a:pt x="60" y="145"/>
                    </a:lnTo>
                    <a:lnTo>
                      <a:pt x="61" y="146"/>
                    </a:lnTo>
                    <a:lnTo>
                      <a:pt x="64" y="146"/>
                    </a:lnTo>
                    <a:lnTo>
                      <a:pt x="66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70" y="148"/>
                    </a:lnTo>
                    <a:lnTo>
                      <a:pt x="70" y="149"/>
                    </a:lnTo>
                    <a:lnTo>
                      <a:pt x="70" y="149"/>
                    </a:lnTo>
                    <a:lnTo>
                      <a:pt x="71" y="149"/>
                    </a:lnTo>
                    <a:lnTo>
                      <a:pt x="72" y="149"/>
                    </a:lnTo>
                    <a:lnTo>
                      <a:pt x="73" y="149"/>
                    </a:lnTo>
                    <a:lnTo>
                      <a:pt x="73" y="149"/>
                    </a:lnTo>
                    <a:lnTo>
                      <a:pt x="73" y="148"/>
                    </a:lnTo>
                    <a:lnTo>
                      <a:pt x="75" y="148"/>
                    </a:lnTo>
                    <a:lnTo>
                      <a:pt x="76" y="149"/>
                    </a:lnTo>
                    <a:lnTo>
                      <a:pt x="76" y="149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1"/>
                    </a:lnTo>
                    <a:lnTo>
                      <a:pt x="78" y="151"/>
                    </a:lnTo>
                    <a:lnTo>
                      <a:pt x="79" y="151"/>
                    </a:lnTo>
                    <a:lnTo>
                      <a:pt x="79" y="152"/>
                    </a:lnTo>
                    <a:lnTo>
                      <a:pt x="80" y="152"/>
                    </a:lnTo>
                    <a:lnTo>
                      <a:pt x="79" y="152"/>
                    </a:lnTo>
                    <a:lnTo>
                      <a:pt x="81" y="154"/>
                    </a:lnTo>
                    <a:lnTo>
                      <a:pt x="81" y="154"/>
                    </a:lnTo>
                    <a:lnTo>
                      <a:pt x="81" y="154"/>
                    </a:lnTo>
                    <a:lnTo>
                      <a:pt x="82" y="155"/>
                    </a:lnTo>
                    <a:lnTo>
                      <a:pt x="82" y="155"/>
                    </a:lnTo>
                    <a:lnTo>
                      <a:pt x="82" y="156"/>
                    </a:lnTo>
                    <a:lnTo>
                      <a:pt x="82" y="156"/>
                    </a:lnTo>
                    <a:lnTo>
                      <a:pt x="81" y="155"/>
                    </a:lnTo>
                    <a:lnTo>
                      <a:pt x="80" y="155"/>
                    </a:lnTo>
                    <a:lnTo>
                      <a:pt x="79" y="155"/>
                    </a:lnTo>
                    <a:lnTo>
                      <a:pt x="78" y="154"/>
                    </a:lnTo>
                    <a:lnTo>
                      <a:pt x="78" y="154"/>
                    </a:lnTo>
                    <a:lnTo>
                      <a:pt x="78" y="154"/>
                    </a:lnTo>
                    <a:lnTo>
                      <a:pt x="77" y="154"/>
                    </a:lnTo>
                    <a:lnTo>
                      <a:pt x="76" y="154"/>
                    </a:lnTo>
                    <a:lnTo>
                      <a:pt x="76" y="155"/>
                    </a:lnTo>
                    <a:lnTo>
                      <a:pt x="76" y="155"/>
                    </a:lnTo>
                    <a:lnTo>
                      <a:pt x="77" y="155"/>
                    </a:lnTo>
                    <a:lnTo>
                      <a:pt x="77" y="156"/>
                    </a:lnTo>
                    <a:lnTo>
                      <a:pt x="78" y="156"/>
                    </a:lnTo>
                    <a:lnTo>
                      <a:pt x="78" y="156"/>
                    </a:lnTo>
                    <a:lnTo>
                      <a:pt x="78" y="158"/>
                    </a:lnTo>
                    <a:lnTo>
                      <a:pt x="78" y="158"/>
                    </a:lnTo>
                    <a:lnTo>
                      <a:pt x="78" y="158"/>
                    </a:lnTo>
                    <a:lnTo>
                      <a:pt x="78" y="158"/>
                    </a:lnTo>
                    <a:lnTo>
                      <a:pt x="80" y="159"/>
                    </a:lnTo>
                    <a:lnTo>
                      <a:pt x="80" y="159"/>
                    </a:lnTo>
                    <a:lnTo>
                      <a:pt x="80" y="160"/>
                    </a:lnTo>
                    <a:lnTo>
                      <a:pt x="79" y="161"/>
                    </a:lnTo>
                    <a:lnTo>
                      <a:pt x="78" y="161"/>
                    </a:lnTo>
                    <a:lnTo>
                      <a:pt x="80" y="162"/>
                    </a:lnTo>
                    <a:lnTo>
                      <a:pt x="81" y="163"/>
                    </a:lnTo>
                    <a:lnTo>
                      <a:pt x="83" y="163"/>
                    </a:lnTo>
                    <a:lnTo>
                      <a:pt x="83" y="164"/>
                    </a:lnTo>
                    <a:lnTo>
                      <a:pt x="83" y="165"/>
                    </a:lnTo>
                    <a:lnTo>
                      <a:pt x="83" y="166"/>
                    </a:lnTo>
                    <a:lnTo>
                      <a:pt x="81" y="166"/>
                    </a:lnTo>
                    <a:lnTo>
                      <a:pt x="81" y="166"/>
                    </a:lnTo>
                    <a:lnTo>
                      <a:pt x="81" y="166"/>
                    </a:lnTo>
                    <a:lnTo>
                      <a:pt x="81" y="165"/>
                    </a:lnTo>
                    <a:lnTo>
                      <a:pt x="81" y="164"/>
                    </a:lnTo>
                    <a:lnTo>
                      <a:pt x="80" y="164"/>
                    </a:lnTo>
                    <a:lnTo>
                      <a:pt x="80" y="163"/>
                    </a:lnTo>
                    <a:lnTo>
                      <a:pt x="80" y="163"/>
                    </a:lnTo>
                    <a:lnTo>
                      <a:pt x="78" y="163"/>
                    </a:lnTo>
                    <a:lnTo>
                      <a:pt x="77" y="162"/>
                    </a:lnTo>
                    <a:lnTo>
                      <a:pt x="77" y="162"/>
                    </a:lnTo>
                    <a:lnTo>
                      <a:pt x="76" y="162"/>
                    </a:lnTo>
                    <a:lnTo>
                      <a:pt x="76" y="162"/>
                    </a:lnTo>
                    <a:lnTo>
                      <a:pt x="76" y="161"/>
                    </a:lnTo>
                    <a:lnTo>
                      <a:pt x="76" y="161"/>
                    </a:lnTo>
                    <a:lnTo>
                      <a:pt x="75" y="162"/>
                    </a:lnTo>
                    <a:lnTo>
                      <a:pt x="75" y="163"/>
                    </a:lnTo>
                    <a:lnTo>
                      <a:pt x="73" y="163"/>
                    </a:lnTo>
                    <a:lnTo>
                      <a:pt x="74" y="165"/>
                    </a:lnTo>
                    <a:lnTo>
                      <a:pt x="74" y="166"/>
                    </a:lnTo>
                    <a:lnTo>
                      <a:pt x="75" y="167"/>
                    </a:lnTo>
                    <a:lnTo>
                      <a:pt x="75" y="168"/>
                    </a:lnTo>
                    <a:lnTo>
                      <a:pt x="75" y="168"/>
                    </a:lnTo>
                    <a:lnTo>
                      <a:pt x="76" y="168"/>
                    </a:lnTo>
                    <a:lnTo>
                      <a:pt x="75" y="168"/>
                    </a:lnTo>
                    <a:lnTo>
                      <a:pt x="75" y="169"/>
                    </a:lnTo>
                    <a:lnTo>
                      <a:pt x="75" y="169"/>
                    </a:lnTo>
                    <a:lnTo>
                      <a:pt x="75" y="170"/>
                    </a:lnTo>
                    <a:lnTo>
                      <a:pt x="77" y="171"/>
                    </a:lnTo>
                    <a:lnTo>
                      <a:pt x="77" y="173"/>
                    </a:lnTo>
                    <a:lnTo>
                      <a:pt x="78" y="173"/>
                    </a:lnTo>
                    <a:lnTo>
                      <a:pt x="78" y="174"/>
                    </a:lnTo>
                    <a:lnTo>
                      <a:pt x="79" y="176"/>
                    </a:lnTo>
                    <a:lnTo>
                      <a:pt x="80" y="177"/>
                    </a:lnTo>
                    <a:lnTo>
                      <a:pt x="81" y="178"/>
                    </a:lnTo>
                    <a:lnTo>
                      <a:pt x="81" y="179"/>
                    </a:lnTo>
                    <a:lnTo>
                      <a:pt x="82" y="179"/>
                    </a:lnTo>
                    <a:lnTo>
                      <a:pt x="83" y="180"/>
                    </a:lnTo>
                    <a:lnTo>
                      <a:pt x="83" y="180"/>
                    </a:lnTo>
                    <a:lnTo>
                      <a:pt x="84" y="180"/>
                    </a:lnTo>
                    <a:lnTo>
                      <a:pt x="84" y="180"/>
                    </a:lnTo>
                    <a:lnTo>
                      <a:pt x="84" y="180"/>
                    </a:lnTo>
                    <a:lnTo>
                      <a:pt x="83" y="181"/>
                    </a:lnTo>
                    <a:lnTo>
                      <a:pt x="83" y="182"/>
                    </a:lnTo>
                    <a:lnTo>
                      <a:pt x="84" y="182"/>
                    </a:lnTo>
                    <a:lnTo>
                      <a:pt x="84" y="183"/>
                    </a:lnTo>
                    <a:lnTo>
                      <a:pt x="84" y="183"/>
                    </a:lnTo>
                    <a:lnTo>
                      <a:pt x="84" y="184"/>
                    </a:lnTo>
                    <a:lnTo>
                      <a:pt x="83" y="184"/>
                    </a:lnTo>
                    <a:lnTo>
                      <a:pt x="83" y="186"/>
                    </a:lnTo>
                    <a:lnTo>
                      <a:pt x="83" y="186"/>
                    </a:lnTo>
                    <a:lnTo>
                      <a:pt x="82" y="186"/>
                    </a:lnTo>
                    <a:lnTo>
                      <a:pt x="82" y="187"/>
                    </a:lnTo>
                    <a:lnTo>
                      <a:pt x="83" y="188"/>
                    </a:lnTo>
                    <a:lnTo>
                      <a:pt x="82" y="188"/>
                    </a:lnTo>
                    <a:lnTo>
                      <a:pt x="82" y="189"/>
                    </a:lnTo>
                    <a:lnTo>
                      <a:pt x="82" y="189"/>
                    </a:lnTo>
                    <a:lnTo>
                      <a:pt x="82" y="189"/>
                    </a:lnTo>
                    <a:lnTo>
                      <a:pt x="83" y="190"/>
                    </a:lnTo>
                    <a:lnTo>
                      <a:pt x="84" y="190"/>
                    </a:lnTo>
                    <a:lnTo>
                      <a:pt x="85" y="191"/>
                    </a:lnTo>
                    <a:lnTo>
                      <a:pt x="85" y="192"/>
                    </a:lnTo>
                    <a:lnTo>
                      <a:pt x="86" y="192"/>
                    </a:lnTo>
                    <a:lnTo>
                      <a:pt x="86" y="194"/>
                    </a:lnTo>
                    <a:lnTo>
                      <a:pt x="87" y="194"/>
                    </a:lnTo>
                    <a:lnTo>
                      <a:pt x="87" y="194"/>
                    </a:lnTo>
                    <a:lnTo>
                      <a:pt x="88" y="195"/>
                    </a:lnTo>
                    <a:lnTo>
                      <a:pt x="89" y="196"/>
                    </a:lnTo>
                    <a:lnTo>
                      <a:pt x="90" y="196"/>
                    </a:lnTo>
                    <a:lnTo>
                      <a:pt x="90" y="196"/>
                    </a:lnTo>
                    <a:lnTo>
                      <a:pt x="91" y="197"/>
                    </a:lnTo>
                    <a:lnTo>
                      <a:pt x="93" y="199"/>
                    </a:lnTo>
                    <a:lnTo>
                      <a:pt x="93" y="200"/>
                    </a:lnTo>
                    <a:lnTo>
                      <a:pt x="92" y="200"/>
                    </a:lnTo>
                    <a:lnTo>
                      <a:pt x="92" y="203"/>
                    </a:lnTo>
                    <a:lnTo>
                      <a:pt x="93" y="203"/>
                    </a:lnTo>
                    <a:lnTo>
                      <a:pt x="93" y="203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94" y="205"/>
                    </a:lnTo>
                    <a:lnTo>
                      <a:pt x="95" y="206"/>
                    </a:lnTo>
                    <a:lnTo>
                      <a:pt x="96" y="206"/>
                    </a:lnTo>
                    <a:lnTo>
                      <a:pt x="96" y="207"/>
                    </a:lnTo>
                    <a:lnTo>
                      <a:pt x="96" y="207"/>
                    </a:lnTo>
                    <a:lnTo>
                      <a:pt x="97" y="207"/>
                    </a:lnTo>
                    <a:lnTo>
                      <a:pt x="97" y="208"/>
                    </a:lnTo>
                    <a:lnTo>
                      <a:pt x="98" y="208"/>
                    </a:lnTo>
                    <a:lnTo>
                      <a:pt x="98" y="208"/>
                    </a:lnTo>
                    <a:lnTo>
                      <a:pt x="98" y="207"/>
                    </a:lnTo>
                    <a:lnTo>
                      <a:pt x="98" y="207"/>
                    </a:lnTo>
                    <a:lnTo>
                      <a:pt x="98" y="206"/>
                    </a:lnTo>
                    <a:lnTo>
                      <a:pt x="98" y="206"/>
                    </a:lnTo>
                    <a:lnTo>
                      <a:pt x="99" y="206"/>
                    </a:lnTo>
                    <a:lnTo>
                      <a:pt x="99" y="206"/>
                    </a:lnTo>
                    <a:lnTo>
                      <a:pt x="99" y="206"/>
                    </a:lnTo>
                    <a:lnTo>
                      <a:pt x="99" y="207"/>
                    </a:lnTo>
                    <a:lnTo>
                      <a:pt x="100" y="207"/>
                    </a:lnTo>
                    <a:lnTo>
                      <a:pt x="101" y="207"/>
                    </a:lnTo>
                    <a:lnTo>
                      <a:pt x="101" y="207"/>
                    </a:lnTo>
                    <a:lnTo>
                      <a:pt x="101" y="207"/>
                    </a:lnTo>
                    <a:lnTo>
                      <a:pt x="102" y="207"/>
                    </a:lnTo>
                    <a:lnTo>
                      <a:pt x="102" y="209"/>
                    </a:lnTo>
                    <a:lnTo>
                      <a:pt x="103" y="209"/>
                    </a:lnTo>
                    <a:lnTo>
                      <a:pt x="103" y="209"/>
                    </a:lnTo>
                    <a:lnTo>
                      <a:pt x="104" y="209"/>
                    </a:lnTo>
                    <a:lnTo>
                      <a:pt x="105" y="210"/>
                    </a:lnTo>
                    <a:lnTo>
                      <a:pt x="105" y="212"/>
                    </a:lnTo>
                    <a:lnTo>
                      <a:pt x="106" y="212"/>
                    </a:lnTo>
                    <a:lnTo>
                      <a:pt x="106" y="213"/>
                    </a:lnTo>
                    <a:lnTo>
                      <a:pt x="106" y="213"/>
                    </a:lnTo>
                    <a:lnTo>
                      <a:pt x="107" y="213"/>
                    </a:lnTo>
                    <a:lnTo>
                      <a:pt x="107" y="214"/>
                    </a:lnTo>
                    <a:lnTo>
                      <a:pt x="107" y="215"/>
                    </a:lnTo>
                    <a:lnTo>
                      <a:pt x="108" y="216"/>
                    </a:lnTo>
                    <a:lnTo>
                      <a:pt x="108" y="217"/>
                    </a:lnTo>
                    <a:lnTo>
                      <a:pt x="109" y="217"/>
                    </a:lnTo>
                    <a:lnTo>
                      <a:pt x="109" y="217"/>
                    </a:lnTo>
                    <a:lnTo>
                      <a:pt x="109" y="218"/>
                    </a:lnTo>
                    <a:lnTo>
                      <a:pt x="109" y="218"/>
                    </a:lnTo>
                    <a:lnTo>
                      <a:pt x="111" y="218"/>
                    </a:lnTo>
                    <a:lnTo>
                      <a:pt x="112" y="219"/>
                    </a:lnTo>
                    <a:lnTo>
                      <a:pt x="113" y="219"/>
                    </a:lnTo>
                    <a:lnTo>
                      <a:pt x="114" y="219"/>
                    </a:lnTo>
                    <a:lnTo>
                      <a:pt x="115" y="220"/>
                    </a:lnTo>
                    <a:lnTo>
                      <a:pt x="116" y="221"/>
                    </a:lnTo>
                    <a:lnTo>
                      <a:pt x="117" y="222"/>
                    </a:lnTo>
                    <a:lnTo>
                      <a:pt x="119" y="224"/>
                    </a:lnTo>
                    <a:lnTo>
                      <a:pt x="120" y="224"/>
                    </a:lnTo>
                    <a:lnTo>
                      <a:pt x="121" y="224"/>
                    </a:lnTo>
                    <a:lnTo>
                      <a:pt x="122" y="225"/>
                    </a:lnTo>
                    <a:lnTo>
                      <a:pt x="123" y="225"/>
                    </a:lnTo>
                    <a:lnTo>
                      <a:pt x="124" y="224"/>
                    </a:lnTo>
                    <a:lnTo>
                      <a:pt x="124" y="224"/>
                    </a:lnTo>
                    <a:lnTo>
                      <a:pt x="125" y="224"/>
                    </a:lnTo>
                    <a:lnTo>
                      <a:pt x="127" y="223"/>
                    </a:lnTo>
                    <a:lnTo>
                      <a:pt x="128" y="223"/>
                    </a:lnTo>
                    <a:lnTo>
                      <a:pt x="129" y="221"/>
                    </a:lnTo>
                    <a:lnTo>
                      <a:pt x="130" y="222"/>
                    </a:lnTo>
                    <a:lnTo>
                      <a:pt x="130" y="221"/>
                    </a:lnTo>
                    <a:lnTo>
                      <a:pt x="131" y="221"/>
                    </a:lnTo>
                    <a:lnTo>
                      <a:pt x="132" y="223"/>
                    </a:lnTo>
                    <a:lnTo>
                      <a:pt x="132" y="224"/>
                    </a:lnTo>
                    <a:lnTo>
                      <a:pt x="133" y="225"/>
                    </a:lnTo>
                    <a:lnTo>
                      <a:pt x="133" y="225"/>
                    </a:lnTo>
                    <a:lnTo>
                      <a:pt x="133" y="226"/>
                    </a:lnTo>
                    <a:lnTo>
                      <a:pt x="134" y="227"/>
                    </a:lnTo>
                    <a:lnTo>
                      <a:pt x="134" y="227"/>
                    </a:lnTo>
                    <a:lnTo>
                      <a:pt x="135" y="228"/>
                    </a:lnTo>
                    <a:lnTo>
                      <a:pt x="136" y="228"/>
                    </a:lnTo>
                    <a:lnTo>
                      <a:pt x="136" y="228"/>
                    </a:lnTo>
                    <a:lnTo>
                      <a:pt x="136" y="228"/>
                    </a:lnTo>
                    <a:lnTo>
                      <a:pt x="137" y="229"/>
                    </a:lnTo>
                    <a:lnTo>
                      <a:pt x="141" y="229"/>
                    </a:lnTo>
                    <a:lnTo>
                      <a:pt x="142" y="229"/>
                    </a:lnTo>
                    <a:lnTo>
                      <a:pt x="143" y="230"/>
                    </a:lnTo>
                    <a:lnTo>
                      <a:pt x="144" y="230"/>
                    </a:lnTo>
                    <a:lnTo>
                      <a:pt x="144" y="230"/>
                    </a:lnTo>
                    <a:lnTo>
                      <a:pt x="145" y="230"/>
                    </a:lnTo>
                    <a:lnTo>
                      <a:pt x="145" y="230"/>
                    </a:lnTo>
                    <a:lnTo>
                      <a:pt x="146" y="230"/>
                    </a:lnTo>
                    <a:lnTo>
                      <a:pt x="146" y="230"/>
                    </a:lnTo>
                    <a:lnTo>
                      <a:pt x="148" y="231"/>
                    </a:lnTo>
                    <a:lnTo>
                      <a:pt x="149" y="231"/>
                    </a:lnTo>
                    <a:lnTo>
                      <a:pt x="151" y="231"/>
                    </a:lnTo>
                    <a:lnTo>
                      <a:pt x="151" y="231"/>
                    </a:lnTo>
                    <a:lnTo>
                      <a:pt x="151" y="230"/>
                    </a:lnTo>
                    <a:lnTo>
                      <a:pt x="151" y="230"/>
                    </a:lnTo>
                    <a:lnTo>
                      <a:pt x="151" y="230"/>
                    </a:lnTo>
                    <a:lnTo>
                      <a:pt x="151" y="230"/>
                    </a:lnTo>
                    <a:lnTo>
                      <a:pt x="151" y="231"/>
                    </a:lnTo>
                    <a:lnTo>
                      <a:pt x="152" y="230"/>
                    </a:lnTo>
                    <a:lnTo>
                      <a:pt x="152" y="230"/>
                    </a:lnTo>
                    <a:lnTo>
                      <a:pt x="155" y="231"/>
                    </a:lnTo>
                    <a:lnTo>
                      <a:pt x="155" y="231"/>
                    </a:lnTo>
                    <a:lnTo>
                      <a:pt x="156" y="231"/>
                    </a:lnTo>
                    <a:lnTo>
                      <a:pt x="159" y="229"/>
                    </a:lnTo>
                    <a:lnTo>
                      <a:pt x="160" y="230"/>
                    </a:lnTo>
                    <a:lnTo>
                      <a:pt x="162" y="230"/>
                    </a:lnTo>
                    <a:lnTo>
                      <a:pt x="163" y="229"/>
                    </a:lnTo>
                    <a:lnTo>
                      <a:pt x="164" y="229"/>
                    </a:lnTo>
                    <a:lnTo>
                      <a:pt x="164" y="229"/>
                    </a:lnTo>
                    <a:lnTo>
                      <a:pt x="164" y="229"/>
                    </a:lnTo>
                    <a:lnTo>
                      <a:pt x="167" y="229"/>
                    </a:lnTo>
                    <a:lnTo>
                      <a:pt x="167" y="229"/>
                    </a:lnTo>
                    <a:lnTo>
                      <a:pt x="168" y="229"/>
                    </a:lnTo>
                    <a:lnTo>
                      <a:pt x="168" y="228"/>
                    </a:lnTo>
                    <a:lnTo>
                      <a:pt x="169" y="228"/>
                    </a:lnTo>
                    <a:lnTo>
                      <a:pt x="169" y="229"/>
                    </a:lnTo>
                    <a:lnTo>
                      <a:pt x="170" y="229"/>
                    </a:lnTo>
                    <a:lnTo>
                      <a:pt x="171" y="232"/>
                    </a:lnTo>
                    <a:lnTo>
                      <a:pt x="172" y="232"/>
                    </a:lnTo>
                    <a:lnTo>
                      <a:pt x="173" y="233"/>
                    </a:lnTo>
                    <a:lnTo>
                      <a:pt x="174" y="233"/>
                    </a:lnTo>
                    <a:lnTo>
                      <a:pt x="175" y="233"/>
                    </a:lnTo>
                    <a:lnTo>
                      <a:pt x="177" y="234"/>
                    </a:lnTo>
                    <a:lnTo>
                      <a:pt x="178" y="236"/>
                    </a:lnTo>
                    <a:lnTo>
                      <a:pt x="179" y="237"/>
                    </a:lnTo>
                    <a:lnTo>
                      <a:pt x="180" y="237"/>
                    </a:lnTo>
                    <a:lnTo>
                      <a:pt x="181" y="236"/>
                    </a:lnTo>
                    <a:lnTo>
                      <a:pt x="181" y="236"/>
                    </a:lnTo>
                    <a:lnTo>
                      <a:pt x="181" y="236"/>
                    </a:lnTo>
                    <a:lnTo>
                      <a:pt x="181" y="237"/>
                    </a:lnTo>
                    <a:lnTo>
                      <a:pt x="181" y="239"/>
                    </a:lnTo>
                    <a:lnTo>
                      <a:pt x="181" y="239"/>
                    </a:lnTo>
                    <a:lnTo>
                      <a:pt x="182" y="240"/>
                    </a:lnTo>
                    <a:lnTo>
                      <a:pt x="183" y="240"/>
                    </a:lnTo>
                    <a:lnTo>
                      <a:pt x="186" y="240"/>
                    </a:lnTo>
                    <a:lnTo>
                      <a:pt x="187" y="240"/>
                    </a:lnTo>
                    <a:lnTo>
                      <a:pt x="188" y="239"/>
                    </a:lnTo>
                    <a:lnTo>
                      <a:pt x="189" y="238"/>
                    </a:lnTo>
                    <a:lnTo>
                      <a:pt x="189" y="239"/>
                    </a:lnTo>
                    <a:lnTo>
                      <a:pt x="189" y="239"/>
                    </a:lnTo>
                    <a:lnTo>
                      <a:pt x="189" y="240"/>
                    </a:lnTo>
                    <a:lnTo>
                      <a:pt x="188" y="241"/>
                    </a:lnTo>
                    <a:lnTo>
                      <a:pt x="186" y="242"/>
                    </a:lnTo>
                    <a:lnTo>
                      <a:pt x="186" y="242"/>
                    </a:lnTo>
                    <a:lnTo>
                      <a:pt x="184" y="242"/>
                    </a:lnTo>
                    <a:lnTo>
                      <a:pt x="183" y="242"/>
                    </a:lnTo>
                    <a:lnTo>
                      <a:pt x="182" y="243"/>
                    </a:lnTo>
                    <a:lnTo>
                      <a:pt x="182" y="243"/>
                    </a:lnTo>
                    <a:lnTo>
                      <a:pt x="181" y="243"/>
                    </a:lnTo>
                    <a:lnTo>
                      <a:pt x="182" y="245"/>
                    </a:lnTo>
                    <a:lnTo>
                      <a:pt x="183" y="246"/>
                    </a:lnTo>
                    <a:lnTo>
                      <a:pt x="183" y="246"/>
                    </a:lnTo>
                    <a:lnTo>
                      <a:pt x="185" y="247"/>
                    </a:lnTo>
                    <a:lnTo>
                      <a:pt x="186" y="248"/>
                    </a:lnTo>
                    <a:lnTo>
                      <a:pt x="187" y="249"/>
                    </a:lnTo>
                    <a:lnTo>
                      <a:pt x="189" y="250"/>
                    </a:lnTo>
                    <a:lnTo>
                      <a:pt x="191" y="251"/>
                    </a:lnTo>
                    <a:lnTo>
                      <a:pt x="193" y="251"/>
                    </a:lnTo>
                    <a:lnTo>
                      <a:pt x="195" y="250"/>
                    </a:lnTo>
                    <a:lnTo>
                      <a:pt x="196" y="248"/>
                    </a:lnTo>
                    <a:lnTo>
                      <a:pt x="197" y="247"/>
                    </a:lnTo>
                    <a:lnTo>
                      <a:pt x="197" y="246"/>
                    </a:lnTo>
                    <a:lnTo>
                      <a:pt x="197" y="245"/>
                    </a:lnTo>
                    <a:lnTo>
                      <a:pt x="198" y="244"/>
                    </a:lnTo>
                    <a:lnTo>
                      <a:pt x="198" y="243"/>
                    </a:lnTo>
                    <a:lnTo>
                      <a:pt x="199" y="243"/>
                    </a:lnTo>
                    <a:lnTo>
                      <a:pt x="199" y="243"/>
                    </a:lnTo>
                    <a:lnTo>
                      <a:pt x="200" y="242"/>
                    </a:lnTo>
                    <a:lnTo>
                      <a:pt x="200" y="242"/>
                    </a:lnTo>
                    <a:lnTo>
                      <a:pt x="200" y="243"/>
                    </a:lnTo>
                    <a:lnTo>
                      <a:pt x="200" y="243"/>
                    </a:lnTo>
                    <a:lnTo>
                      <a:pt x="200" y="244"/>
                    </a:lnTo>
                    <a:lnTo>
                      <a:pt x="199" y="246"/>
                    </a:lnTo>
                    <a:lnTo>
                      <a:pt x="198" y="246"/>
                    </a:lnTo>
                    <a:lnTo>
                      <a:pt x="198" y="247"/>
                    </a:lnTo>
                    <a:lnTo>
                      <a:pt x="198" y="248"/>
                    </a:lnTo>
                    <a:lnTo>
                      <a:pt x="198" y="248"/>
                    </a:lnTo>
                    <a:lnTo>
                      <a:pt x="199" y="249"/>
                    </a:lnTo>
                    <a:lnTo>
                      <a:pt x="199" y="249"/>
                    </a:lnTo>
                    <a:lnTo>
                      <a:pt x="200" y="249"/>
                    </a:lnTo>
                    <a:lnTo>
                      <a:pt x="200" y="250"/>
                    </a:lnTo>
                    <a:lnTo>
                      <a:pt x="200" y="252"/>
                    </a:lnTo>
                    <a:lnTo>
                      <a:pt x="199" y="254"/>
                    </a:lnTo>
                    <a:lnTo>
                      <a:pt x="199" y="258"/>
                    </a:lnTo>
                    <a:lnTo>
                      <a:pt x="199" y="261"/>
                    </a:lnTo>
                    <a:lnTo>
                      <a:pt x="200" y="264"/>
                    </a:lnTo>
                    <a:lnTo>
                      <a:pt x="202" y="269"/>
                    </a:lnTo>
                    <a:lnTo>
                      <a:pt x="203" y="270"/>
                    </a:lnTo>
                    <a:lnTo>
                      <a:pt x="203" y="273"/>
                    </a:lnTo>
                    <a:lnTo>
                      <a:pt x="203" y="274"/>
                    </a:lnTo>
                    <a:lnTo>
                      <a:pt x="204" y="275"/>
                    </a:lnTo>
                    <a:lnTo>
                      <a:pt x="205" y="275"/>
                    </a:lnTo>
                    <a:lnTo>
                      <a:pt x="205" y="275"/>
                    </a:lnTo>
                    <a:lnTo>
                      <a:pt x="205" y="275"/>
                    </a:lnTo>
                    <a:lnTo>
                      <a:pt x="205" y="276"/>
                    </a:lnTo>
                    <a:lnTo>
                      <a:pt x="206" y="276"/>
                    </a:lnTo>
                    <a:lnTo>
                      <a:pt x="206" y="277"/>
                    </a:lnTo>
                    <a:lnTo>
                      <a:pt x="207" y="280"/>
                    </a:lnTo>
                    <a:lnTo>
                      <a:pt x="209" y="280"/>
                    </a:lnTo>
                    <a:lnTo>
                      <a:pt x="209" y="281"/>
                    </a:lnTo>
                    <a:lnTo>
                      <a:pt x="209" y="281"/>
                    </a:lnTo>
                    <a:lnTo>
                      <a:pt x="209" y="282"/>
                    </a:lnTo>
                    <a:lnTo>
                      <a:pt x="210" y="284"/>
                    </a:lnTo>
                    <a:lnTo>
                      <a:pt x="210" y="287"/>
                    </a:lnTo>
                    <a:lnTo>
                      <a:pt x="211" y="289"/>
                    </a:lnTo>
                    <a:lnTo>
                      <a:pt x="212" y="291"/>
                    </a:lnTo>
                    <a:lnTo>
                      <a:pt x="213" y="293"/>
                    </a:lnTo>
                    <a:lnTo>
                      <a:pt x="214" y="295"/>
                    </a:lnTo>
                    <a:lnTo>
                      <a:pt x="215" y="297"/>
                    </a:lnTo>
                    <a:lnTo>
                      <a:pt x="215" y="298"/>
                    </a:lnTo>
                    <a:lnTo>
                      <a:pt x="215" y="301"/>
                    </a:lnTo>
                    <a:lnTo>
                      <a:pt x="216" y="302"/>
                    </a:lnTo>
                    <a:lnTo>
                      <a:pt x="217" y="304"/>
                    </a:lnTo>
                    <a:lnTo>
                      <a:pt x="218" y="306"/>
                    </a:lnTo>
                    <a:lnTo>
                      <a:pt x="220" y="309"/>
                    </a:lnTo>
                    <a:lnTo>
                      <a:pt x="221" y="310"/>
                    </a:lnTo>
                    <a:lnTo>
                      <a:pt x="222" y="311"/>
                    </a:lnTo>
                    <a:lnTo>
                      <a:pt x="222" y="311"/>
                    </a:lnTo>
                    <a:lnTo>
                      <a:pt x="222" y="311"/>
                    </a:lnTo>
                    <a:lnTo>
                      <a:pt x="223" y="311"/>
                    </a:lnTo>
                    <a:lnTo>
                      <a:pt x="224" y="310"/>
                    </a:lnTo>
                    <a:lnTo>
                      <a:pt x="225" y="310"/>
                    </a:lnTo>
                    <a:lnTo>
                      <a:pt x="225" y="309"/>
                    </a:lnTo>
                    <a:lnTo>
                      <a:pt x="225" y="307"/>
                    </a:lnTo>
                    <a:lnTo>
                      <a:pt x="225" y="306"/>
                    </a:lnTo>
                    <a:lnTo>
                      <a:pt x="226" y="306"/>
                    </a:lnTo>
                    <a:lnTo>
                      <a:pt x="226" y="306"/>
                    </a:lnTo>
                    <a:lnTo>
                      <a:pt x="227" y="306"/>
                    </a:lnTo>
                    <a:lnTo>
                      <a:pt x="228" y="306"/>
                    </a:lnTo>
                    <a:lnTo>
                      <a:pt x="228" y="306"/>
                    </a:lnTo>
                    <a:lnTo>
                      <a:pt x="229" y="305"/>
                    </a:lnTo>
                    <a:lnTo>
                      <a:pt x="229" y="305"/>
                    </a:lnTo>
                    <a:lnTo>
                      <a:pt x="230" y="305"/>
                    </a:lnTo>
                    <a:lnTo>
                      <a:pt x="229" y="305"/>
                    </a:lnTo>
                    <a:lnTo>
                      <a:pt x="229" y="304"/>
                    </a:lnTo>
                    <a:lnTo>
                      <a:pt x="229" y="304"/>
                    </a:lnTo>
                    <a:lnTo>
                      <a:pt x="229" y="303"/>
                    </a:lnTo>
                    <a:lnTo>
                      <a:pt x="229" y="302"/>
                    </a:lnTo>
                    <a:lnTo>
                      <a:pt x="233" y="300"/>
                    </a:lnTo>
                    <a:lnTo>
                      <a:pt x="233" y="300"/>
                    </a:lnTo>
                    <a:lnTo>
                      <a:pt x="233" y="299"/>
                    </a:lnTo>
                    <a:lnTo>
                      <a:pt x="233" y="298"/>
                    </a:lnTo>
                    <a:lnTo>
                      <a:pt x="233" y="297"/>
                    </a:lnTo>
                    <a:lnTo>
                      <a:pt x="232" y="295"/>
                    </a:lnTo>
                    <a:lnTo>
                      <a:pt x="232" y="291"/>
                    </a:lnTo>
                    <a:lnTo>
                      <a:pt x="233" y="290"/>
                    </a:lnTo>
                    <a:lnTo>
                      <a:pt x="233" y="290"/>
                    </a:lnTo>
                    <a:lnTo>
                      <a:pt x="233" y="289"/>
                    </a:lnTo>
                    <a:lnTo>
                      <a:pt x="233" y="288"/>
                    </a:lnTo>
                    <a:lnTo>
                      <a:pt x="233" y="287"/>
                    </a:lnTo>
                    <a:lnTo>
                      <a:pt x="233" y="285"/>
                    </a:lnTo>
                    <a:lnTo>
                      <a:pt x="233" y="284"/>
                    </a:lnTo>
                    <a:lnTo>
                      <a:pt x="232" y="282"/>
                    </a:lnTo>
                    <a:lnTo>
                      <a:pt x="232" y="281"/>
                    </a:lnTo>
                    <a:lnTo>
                      <a:pt x="232" y="280"/>
                    </a:lnTo>
                    <a:lnTo>
                      <a:pt x="232" y="280"/>
                    </a:lnTo>
                    <a:lnTo>
                      <a:pt x="232" y="279"/>
                    </a:lnTo>
                    <a:lnTo>
                      <a:pt x="232" y="278"/>
                    </a:lnTo>
                    <a:lnTo>
                      <a:pt x="232" y="276"/>
                    </a:lnTo>
                    <a:lnTo>
                      <a:pt x="233" y="275"/>
                    </a:lnTo>
                    <a:lnTo>
                      <a:pt x="234" y="275"/>
                    </a:lnTo>
                    <a:lnTo>
                      <a:pt x="235" y="274"/>
                    </a:lnTo>
                    <a:lnTo>
                      <a:pt x="235" y="273"/>
                    </a:lnTo>
                    <a:lnTo>
                      <a:pt x="235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7" y="272"/>
                    </a:lnTo>
                    <a:lnTo>
                      <a:pt x="238" y="271"/>
                    </a:lnTo>
                    <a:lnTo>
                      <a:pt x="238" y="271"/>
                    </a:lnTo>
                    <a:lnTo>
                      <a:pt x="240" y="271"/>
                    </a:lnTo>
                    <a:lnTo>
                      <a:pt x="240" y="270"/>
                    </a:lnTo>
                    <a:lnTo>
                      <a:pt x="240" y="269"/>
                    </a:lnTo>
                    <a:lnTo>
                      <a:pt x="241" y="268"/>
                    </a:lnTo>
                    <a:lnTo>
                      <a:pt x="241" y="267"/>
                    </a:lnTo>
                    <a:lnTo>
                      <a:pt x="242" y="266"/>
                    </a:lnTo>
                    <a:lnTo>
                      <a:pt x="242" y="266"/>
                    </a:lnTo>
                    <a:lnTo>
                      <a:pt x="243" y="265"/>
                    </a:lnTo>
                    <a:lnTo>
                      <a:pt x="244" y="265"/>
                    </a:lnTo>
                    <a:lnTo>
                      <a:pt x="245" y="265"/>
                    </a:lnTo>
                    <a:lnTo>
                      <a:pt x="245" y="264"/>
                    </a:lnTo>
                    <a:lnTo>
                      <a:pt x="246" y="264"/>
                    </a:lnTo>
                    <a:lnTo>
                      <a:pt x="246" y="263"/>
                    </a:lnTo>
                    <a:lnTo>
                      <a:pt x="247" y="260"/>
                    </a:lnTo>
                    <a:lnTo>
                      <a:pt x="248" y="259"/>
                    </a:lnTo>
                    <a:lnTo>
                      <a:pt x="249" y="259"/>
                    </a:lnTo>
                    <a:lnTo>
                      <a:pt x="250" y="258"/>
                    </a:lnTo>
                    <a:lnTo>
                      <a:pt x="251" y="258"/>
                    </a:lnTo>
                    <a:lnTo>
                      <a:pt x="252" y="257"/>
                    </a:lnTo>
                    <a:lnTo>
                      <a:pt x="252" y="257"/>
                    </a:lnTo>
                    <a:lnTo>
                      <a:pt x="251" y="255"/>
                    </a:lnTo>
                    <a:lnTo>
                      <a:pt x="252" y="254"/>
                    </a:lnTo>
                    <a:lnTo>
                      <a:pt x="253" y="256"/>
                    </a:lnTo>
                    <a:lnTo>
                      <a:pt x="257" y="253"/>
                    </a:lnTo>
                    <a:lnTo>
                      <a:pt x="258" y="251"/>
                    </a:lnTo>
                    <a:lnTo>
                      <a:pt x="257" y="251"/>
                    </a:lnTo>
                    <a:lnTo>
                      <a:pt x="257" y="250"/>
                    </a:lnTo>
                    <a:lnTo>
                      <a:pt x="257" y="250"/>
                    </a:lnTo>
                    <a:lnTo>
                      <a:pt x="256" y="249"/>
                    </a:lnTo>
                    <a:lnTo>
                      <a:pt x="256" y="249"/>
                    </a:lnTo>
                    <a:lnTo>
                      <a:pt x="257" y="248"/>
                    </a:lnTo>
                    <a:lnTo>
                      <a:pt x="257" y="248"/>
                    </a:lnTo>
                    <a:lnTo>
                      <a:pt x="258" y="248"/>
                    </a:lnTo>
                    <a:lnTo>
                      <a:pt x="259" y="248"/>
                    </a:lnTo>
                    <a:lnTo>
                      <a:pt x="259" y="247"/>
                    </a:lnTo>
                    <a:lnTo>
                      <a:pt x="260" y="246"/>
                    </a:lnTo>
                    <a:lnTo>
                      <a:pt x="260" y="244"/>
                    </a:lnTo>
                    <a:lnTo>
                      <a:pt x="261" y="245"/>
                    </a:lnTo>
                    <a:lnTo>
                      <a:pt x="261" y="247"/>
                    </a:lnTo>
                    <a:lnTo>
                      <a:pt x="262" y="244"/>
                    </a:lnTo>
                    <a:lnTo>
                      <a:pt x="262" y="246"/>
                    </a:lnTo>
                    <a:lnTo>
                      <a:pt x="263" y="246"/>
                    </a:lnTo>
                    <a:lnTo>
                      <a:pt x="263" y="247"/>
                    </a:lnTo>
                    <a:lnTo>
                      <a:pt x="263" y="248"/>
                    </a:lnTo>
                    <a:lnTo>
                      <a:pt x="263" y="248"/>
                    </a:lnTo>
                    <a:lnTo>
                      <a:pt x="264" y="248"/>
                    </a:lnTo>
                    <a:lnTo>
                      <a:pt x="264" y="248"/>
                    </a:lnTo>
                    <a:lnTo>
                      <a:pt x="264" y="247"/>
                    </a:lnTo>
                    <a:lnTo>
                      <a:pt x="264" y="247"/>
                    </a:lnTo>
                    <a:lnTo>
                      <a:pt x="264" y="246"/>
                    </a:lnTo>
                    <a:lnTo>
                      <a:pt x="265" y="244"/>
                    </a:lnTo>
                    <a:lnTo>
                      <a:pt x="265" y="244"/>
                    </a:lnTo>
                    <a:lnTo>
                      <a:pt x="265" y="244"/>
                    </a:lnTo>
                    <a:lnTo>
                      <a:pt x="266" y="245"/>
                    </a:lnTo>
                    <a:lnTo>
                      <a:pt x="265" y="246"/>
                    </a:lnTo>
                    <a:lnTo>
                      <a:pt x="267" y="248"/>
                    </a:lnTo>
                    <a:lnTo>
                      <a:pt x="267" y="245"/>
                    </a:lnTo>
                    <a:lnTo>
                      <a:pt x="267" y="245"/>
                    </a:lnTo>
                    <a:lnTo>
                      <a:pt x="268" y="245"/>
                    </a:lnTo>
                    <a:lnTo>
                      <a:pt x="268" y="245"/>
                    </a:lnTo>
                    <a:lnTo>
                      <a:pt x="269" y="246"/>
                    </a:lnTo>
                    <a:lnTo>
                      <a:pt x="270" y="246"/>
                    </a:lnTo>
                    <a:lnTo>
                      <a:pt x="271" y="246"/>
                    </a:lnTo>
                    <a:lnTo>
                      <a:pt x="271" y="246"/>
                    </a:lnTo>
                    <a:lnTo>
                      <a:pt x="271" y="245"/>
                    </a:lnTo>
                    <a:lnTo>
                      <a:pt x="271" y="244"/>
                    </a:lnTo>
                    <a:lnTo>
                      <a:pt x="272" y="244"/>
                    </a:lnTo>
                    <a:lnTo>
                      <a:pt x="274" y="245"/>
                    </a:lnTo>
                    <a:lnTo>
                      <a:pt x="274" y="245"/>
                    </a:lnTo>
                    <a:lnTo>
                      <a:pt x="275" y="245"/>
                    </a:lnTo>
                    <a:lnTo>
                      <a:pt x="275" y="244"/>
                    </a:lnTo>
                    <a:lnTo>
                      <a:pt x="275" y="243"/>
                    </a:lnTo>
                    <a:lnTo>
                      <a:pt x="275" y="243"/>
                    </a:lnTo>
                    <a:lnTo>
                      <a:pt x="277" y="245"/>
                    </a:lnTo>
                    <a:lnTo>
                      <a:pt x="277" y="245"/>
                    </a:lnTo>
                    <a:lnTo>
                      <a:pt x="277" y="246"/>
                    </a:lnTo>
                    <a:lnTo>
                      <a:pt x="277" y="247"/>
                    </a:lnTo>
                    <a:lnTo>
                      <a:pt x="276" y="248"/>
                    </a:lnTo>
                    <a:lnTo>
                      <a:pt x="276" y="248"/>
                    </a:lnTo>
                    <a:lnTo>
                      <a:pt x="277" y="249"/>
                    </a:lnTo>
                    <a:lnTo>
                      <a:pt x="278" y="249"/>
                    </a:lnTo>
                    <a:lnTo>
                      <a:pt x="278" y="249"/>
                    </a:lnTo>
                    <a:lnTo>
                      <a:pt x="278" y="249"/>
                    </a:lnTo>
                    <a:lnTo>
                      <a:pt x="279" y="249"/>
                    </a:lnTo>
                    <a:lnTo>
                      <a:pt x="279" y="252"/>
                    </a:lnTo>
                    <a:lnTo>
                      <a:pt x="279" y="252"/>
                    </a:lnTo>
                    <a:lnTo>
                      <a:pt x="279" y="252"/>
                    </a:lnTo>
                    <a:lnTo>
                      <a:pt x="280" y="252"/>
                    </a:lnTo>
                    <a:lnTo>
                      <a:pt x="281" y="253"/>
                    </a:lnTo>
                    <a:lnTo>
                      <a:pt x="282" y="254"/>
                    </a:lnTo>
                    <a:lnTo>
                      <a:pt x="283" y="255"/>
                    </a:lnTo>
                    <a:lnTo>
                      <a:pt x="283" y="255"/>
                    </a:lnTo>
                    <a:lnTo>
                      <a:pt x="283" y="256"/>
                    </a:lnTo>
                    <a:lnTo>
                      <a:pt x="285" y="255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5" y="258"/>
                    </a:lnTo>
                    <a:lnTo>
                      <a:pt x="286" y="259"/>
                    </a:lnTo>
                    <a:lnTo>
                      <a:pt x="287" y="259"/>
                    </a:lnTo>
                    <a:lnTo>
                      <a:pt x="287" y="260"/>
                    </a:lnTo>
                    <a:lnTo>
                      <a:pt x="288" y="260"/>
                    </a:lnTo>
                    <a:lnTo>
                      <a:pt x="289" y="261"/>
                    </a:lnTo>
                    <a:lnTo>
                      <a:pt x="289" y="262"/>
                    </a:lnTo>
                    <a:lnTo>
                      <a:pt x="289" y="263"/>
                    </a:lnTo>
                    <a:lnTo>
                      <a:pt x="289" y="264"/>
                    </a:lnTo>
                    <a:lnTo>
                      <a:pt x="289" y="264"/>
                    </a:lnTo>
                    <a:lnTo>
                      <a:pt x="290" y="264"/>
                    </a:lnTo>
                    <a:lnTo>
                      <a:pt x="290" y="265"/>
                    </a:lnTo>
                    <a:lnTo>
                      <a:pt x="291" y="266"/>
                    </a:lnTo>
                    <a:lnTo>
                      <a:pt x="290" y="267"/>
                    </a:lnTo>
                    <a:lnTo>
                      <a:pt x="290" y="272"/>
                    </a:lnTo>
                    <a:lnTo>
                      <a:pt x="290" y="273"/>
                    </a:lnTo>
                    <a:lnTo>
                      <a:pt x="290" y="273"/>
                    </a:lnTo>
                    <a:lnTo>
                      <a:pt x="291" y="274"/>
                    </a:lnTo>
                    <a:lnTo>
                      <a:pt x="291" y="274"/>
                    </a:lnTo>
                    <a:lnTo>
                      <a:pt x="292" y="274"/>
                    </a:lnTo>
                    <a:lnTo>
                      <a:pt x="293" y="274"/>
                    </a:lnTo>
                    <a:lnTo>
                      <a:pt x="293" y="274"/>
                    </a:lnTo>
                    <a:lnTo>
                      <a:pt x="293" y="274"/>
                    </a:lnTo>
                    <a:lnTo>
                      <a:pt x="294" y="274"/>
                    </a:lnTo>
                    <a:lnTo>
                      <a:pt x="294" y="274"/>
                    </a:lnTo>
                    <a:lnTo>
                      <a:pt x="295" y="274"/>
                    </a:lnTo>
                    <a:lnTo>
                      <a:pt x="295" y="273"/>
                    </a:lnTo>
                    <a:lnTo>
                      <a:pt x="296" y="273"/>
                    </a:lnTo>
                    <a:lnTo>
                      <a:pt x="296" y="272"/>
                    </a:lnTo>
                    <a:lnTo>
                      <a:pt x="297" y="272"/>
                    </a:lnTo>
                    <a:lnTo>
                      <a:pt x="299" y="271"/>
                    </a:lnTo>
                    <a:lnTo>
                      <a:pt x="299" y="271"/>
                    </a:lnTo>
                    <a:lnTo>
                      <a:pt x="299" y="268"/>
                    </a:lnTo>
                    <a:lnTo>
                      <a:pt x="299" y="267"/>
                    </a:lnTo>
                    <a:lnTo>
                      <a:pt x="300" y="267"/>
                    </a:lnTo>
                    <a:lnTo>
                      <a:pt x="301" y="268"/>
                    </a:lnTo>
                    <a:lnTo>
                      <a:pt x="301" y="269"/>
                    </a:lnTo>
                    <a:lnTo>
                      <a:pt x="301" y="271"/>
                    </a:lnTo>
                    <a:lnTo>
                      <a:pt x="302" y="271"/>
                    </a:lnTo>
                    <a:lnTo>
                      <a:pt x="303" y="272"/>
                    </a:lnTo>
                    <a:lnTo>
                      <a:pt x="303" y="272"/>
                    </a:lnTo>
                    <a:lnTo>
                      <a:pt x="304" y="274"/>
                    </a:lnTo>
                    <a:lnTo>
                      <a:pt x="304" y="276"/>
                    </a:lnTo>
                    <a:lnTo>
                      <a:pt x="304" y="278"/>
                    </a:lnTo>
                    <a:lnTo>
                      <a:pt x="304" y="279"/>
                    </a:lnTo>
                    <a:lnTo>
                      <a:pt x="304" y="281"/>
                    </a:lnTo>
                    <a:lnTo>
                      <a:pt x="305" y="281"/>
                    </a:lnTo>
                    <a:lnTo>
                      <a:pt x="306" y="283"/>
                    </a:lnTo>
                    <a:lnTo>
                      <a:pt x="306" y="284"/>
                    </a:lnTo>
                    <a:lnTo>
                      <a:pt x="306" y="284"/>
                    </a:lnTo>
                    <a:lnTo>
                      <a:pt x="308" y="289"/>
                    </a:lnTo>
                    <a:lnTo>
                      <a:pt x="309" y="292"/>
                    </a:lnTo>
                    <a:lnTo>
                      <a:pt x="308" y="292"/>
                    </a:lnTo>
                    <a:lnTo>
                      <a:pt x="308" y="293"/>
                    </a:lnTo>
                    <a:lnTo>
                      <a:pt x="308" y="294"/>
                    </a:lnTo>
                    <a:lnTo>
                      <a:pt x="307" y="295"/>
                    </a:lnTo>
                    <a:lnTo>
                      <a:pt x="307" y="295"/>
                    </a:lnTo>
                    <a:lnTo>
                      <a:pt x="310" y="295"/>
                    </a:lnTo>
                    <a:lnTo>
                      <a:pt x="309" y="298"/>
                    </a:lnTo>
                    <a:lnTo>
                      <a:pt x="309" y="298"/>
                    </a:lnTo>
                    <a:lnTo>
                      <a:pt x="309" y="299"/>
                    </a:lnTo>
                    <a:lnTo>
                      <a:pt x="309" y="300"/>
                    </a:lnTo>
                    <a:lnTo>
                      <a:pt x="309" y="302"/>
                    </a:lnTo>
                    <a:lnTo>
                      <a:pt x="309" y="302"/>
                    </a:lnTo>
                    <a:lnTo>
                      <a:pt x="309" y="303"/>
                    </a:lnTo>
                    <a:lnTo>
                      <a:pt x="310" y="302"/>
                    </a:lnTo>
                    <a:lnTo>
                      <a:pt x="310" y="302"/>
                    </a:lnTo>
                    <a:lnTo>
                      <a:pt x="310" y="301"/>
                    </a:lnTo>
                    <a:lnTo>
                      <a:pt x="310" y="301"/>
                    </a:lnTo>
                    <a:lnTo>
                      <a:pt x="310" y="302"/>
                    </a:lnTo>
                    <a:lnTo>
                      <a:pt x="310" y="302"/>
                    </a:lnTo>
                    <a:lnTo>
                      <a:pt x="309" y="303"/>
                    </a:lnTo>
                    <a:lnTo>
                      <a:pt x="309" y="304"/>
                    </a:lnTo>
                    <a:lnTo>
                      <a:pt x="309" y="304"/>
                    </a:lnTo>
                    <a:lnTo>
                      <a:pt x="309" y="305"/>
                    </a:lnTo>
                    <a:lnTo>
                      <a:pt x="308" y="306"/>
                    </a:lnTo>
                    <a:lnTo>
                      <a:pt x="308" y="307"/>
                    </a:lnTo>
                    <a:lnTo>
                      <a:pt x="308" y="307"/>
                    </a:lnTo>
                    <a:lnTo>
                      <a:pt x="308" y="310"/>
                    </a:lnTo>
                    <a:lnTo>
                      <a:pt x="308" y="311"/>
                    </a:lnTo>
                    <a:lnTo>
                      <a:pt x="308" y="312"/>
                    </a:lnTo>
                    <a:lnTo>
                      <a:pt x="309" y="313"/>
                    </a:lnTo>
                    <a:lnTo>
                      <a:pt x="309" y="313"/>
                    </a:lnTo>
                    <a:lnTo>
                      <a:pt x="309" y="313"/>
                    </a:lnTo>
                    <a:lnTo>
                      <a:pt x="309" y="312"/>
                    </a:lnTo>
                    <a:lnTo>
                      <a:pt x="309" y="311"/>
                    </a:lnTo>
                    <a:lnTo>
                      <a:pt x="309" y="311"/>
                    </a:lnTo>
                    <a:lnTo>
                      <a:pt x="310" y="310"/>
                    </a:lnTo>
                    <a:lnTo>
                      <a:pt x="310" y="312"/>
                    </a:lnTo>
                    <a:lnTo>
                      <a:pt x="310" y="312"/>
                    </a:lnTo>
                    <a:lnTo>
                      <a:pt x="312" y="313"/>
                    </a:lnTo>
                    <a:lnTo>
                      <a:pt x="312" y="314"/>
                    </a:lnTo>
                    <a:lnTo>
                      <a:pt x="313" y="314"/>
                    </a:lnTo>
                    <a:lnTo>
                      <a:pt x="313" y="315"/>
                    </a:lnTo>
                    <a:lnTo>
                      <a:pt x="314" y="317"/>
                    </a:lnTo>
                    <a:lnTo>
                      <a:pt x="314" y="318"/>
                    </a:lnTo>
                    <a:lnTo>
                      <a:pt x="315" y="319"/>
                    </a:lnTo>
                    <a:lnTo>
                      <a:pt x="315" y="320"/>
                    </a:lnTo>
                    <a:lnTo>
                      <a:pt x="316" y="321"/>
                    </a:lnTo>
                    <a:lnTo>
                      <a:pt x="317" y="320"/>
                    </a:lnTo>
                    <a:lnTo>
                      <a:pt x="317" y="320"/>
                    </a:lnTo>
                    <a:lnTo>
                      <a:pt x="317" y="319"/>
                    </a:lnTo>
                    <a:lnTo>
                      <a:pt x="317" y="319"/>
                    </a:lnTo>
                    <a:lnTo>
                      <a:pt x="317" y="318"/>
                    </a:lnTo>
                    <a:lnTo>
                      <a:pt x="318" y="318"/>
                    </a:lnTo>
                    <a:lnTo>
                      <a:pt x="318" y="319"/>
                    </a:lnTo>
                    <a:lnTo>
                      <a:pt x="318" y="319"/>
                    </a:lnTo>
                    <a:lnTo>
                      <a:pt x="319" y="319"/>
                    </a:lnTo>
                    <a:lnTo>
                      <a:pt x="320" y="320"/>
                    </a:lnTo>
                    <a:lnTo>
                      <a:pt x="320" y="320"/>
                    </a:lnTo>
                    <a:lnTo>
                      <a:pt x="320" y="321"/>
                    </a:lnTo>
                    <a:lnTo>
                      <a:pt x="321" y="321"/>
                    </a:lnTo>
                    <a:lnTo>
                      <a:pt x="321" y="321"/>
                    </a:lnTo>
                    <a:lnTo>
                      <a:pt x="320" y="322"/>
                    </a:lnTo>
                    <a:lnTo>
                      <a:pt x="320" y="322"/>
                    </a:lnTo>
                    <a:lnTo>
                      <a:pt x="320" y="323"/>
                    </a:lnTo>
                    <a:lnTo>
                      <a:pt x="321" y="323"/>
                    </a:lnTo>
                    <a:lnTo>
                      <a:pt x="321" y="322"/>
                    </a:lnTo>
                    <a:lnTo>
                      <a:pt x="322" y="322"/>
                    </a:lnTo>
                    <a:lnTo>
                      <a:pt x="322" y="322"/>
                    </a:lnTo>
                    <a:lnTo>
                      <a:pt x="323" y="322"/>
                    </a:lnTo>
                    <a:lnTo>
                      <a:pt x="324" y="323"/>
                    </a:lnTo>
                    <a:lnTo>
                      <a:pt x="324" y="323"/>
                    </a:lnTo>
                    <a:lnTo>
                      <a:pt x="324" y="322"/>
                    </a:lnTo>
                    <a:lnTo>
                      <a:pt x="325" y="322"/>
                    </a:lnTo>
                    <a:lnTo>
                      <a:pt x="325" y="321"/>
                    </a:lnTo>
                    <a:lnTo>
                      <a:pt x="325" y="321"/>
                    </a:lnTo>
                    <a:lnTo>
                      <a:pt x="324" y="320"/>
                    </a:lnTo>
                    <a:lnTo>
                      <a:pt x="324" y="320"/>
                    </a:lnTo>
                    <a:lnTo>
                      <a:pt x="324" y="319"/>
                    </a:lnTo>
                    <a:lnTo>
                      <a:pt x="323" y="318"/>
                    </a:lnTo>
                    <a:lnTo>
                      <a:pt x="323" y="318"/>
                    </a:lnTo>
                    <a:lnTo>
                      <a:pt x="323" y="317"/>
                    </a:lnTo>
                    <a:lnTo>
                      <a:pt x="322" y="317"/>
                    </a:lnTo>
                    <a:lnTo>
                      <a:pt x="321" y="317"/>
                    </a:lnTo>
                    <a:lnTo>
                      <a:pt x="321" y="317"/>
                    </a:lnTo>
                    <a:lnTo>
                      <a:pt x="320" y="317"/>
                    </a:lnTo>
                    <a:lnTo>
                      <a:pt x="319" y="317"/>
                    </a:lnTo>
                    <a:lnTo>
                      <a:pt x="319" y="317"/>
                    </a:lnTo>
                    <a:lnTo>
                      <a:pt x="319" y="316"/>
                    </a:lnTo>
                    <a:lnTo>
                      <a:pt x="319" y="316"/>
                    </a:lnTo>
                    <a:lnTo>
                      <a:pt x="318" y="314"/>
                    </a:lnTo>
                    <a:lnTo>
                      <a:pt x="318" y="314"/>
                    </a:lnTo>
                    <a:lnTo>
                      <a:pt x="318" y="315"/>
                    </a:lnTo>
                    <a:lnTo>
                      <a:pt x="317" y="316"/>
                    </a:lnTo>
                    <a:lnTo>
                      <a:pt x="317" y="316"/>
                    </a:lnTo>
                    <a:lnTo>
                      <a:pt x="317" y="315"/>
                    </a:lnTo>
                    <a:lnTo>
                      <a:pt x="316" y="314"/>
                    </a:lnTo>
                    <a:lnTo>
                      <a:pt x="316" y="314"/>
                    </a:lnTo>
                    <a:lnTo>
                      <a:pt x="316" y="313"/>
                    </a:lnTo>
                    <a:lnTo>
                      <a:pt x="317" y="312"/>
                    </a:lnTo>
                    <a:lnTo>
                      <a:pt x="317" y="312"/>
                    </a:lnTo>
                    <a:lnTo>
                      <a:pt x="317" y="312"/>
                    </a:lnTo>
                    <a:lnTo>
                      <a:pt x="317" y="313"/>
                    </a:lnTo>
                    <a:lnTo>
                      <a:pt x="317" y="313"/>
                    </a:lnTo>
                    <a:lnTo>
                      <a:pt x="318" y="312"/>
                    </a:lnTo>
                    <a:lnTo>
                      <a:pt x="317" y="312"/>
                    </a:lnTo>
                    <a:lnTo>
                      <a:pt x="317" y="311"/>
                    </a:lnTo>
                    <a:lnTo>
                      <a:pt x="317" y="311"/>
                    </a:lnTo>
                    <a:lnTo>
                      <a:pt x="317" y="310"/>
                    </a:lnTo>
                    <a:lnTo>
                      <a:pt x="317" y="310"/>
                    </a:lnTo>
                    <a:lnTo>
                      <a:pt x="316" y="309"/>
                    </a:lnTo>
                    <a:lnTo>
                      <a:pt x="315" y="309"/>
                    </a:lnTo>
                    <a:lnTo>
                      <a:pt x="315" y="306"/>
                    </a:lnTo>
                    <a:lnTo>
                      <a:pt x="312" y="307"/>
                    </a:lnTo>
                    <a:lnTo>
                      <a:pt x="312" y="304"/>
                    </a:lnTo>
                    <a:lnTo>
                      <a:pt x="312" y="302"/>
                    </a:lnTo>
                    <a:lnTo>
                      <a:pt x="312" y="300"/>
                    </a:lnTo>
                    <a:lnTo>
                      <a:pt x="312" y="300"/>
                    </a:lnTo>
                    <a:lnTo>
                      <a:pt x="311" y="299"/>
                    </a:lnTo>
                    <a:lnTo>
                      <a:pt x="312" y="299"/>
                    </a:lnTo>
                    <a:lnTo>
                      <a:pt x="312" y="299"/>
                    </a:lnTo>
                    <a:lnTo>
                      <a:pt x="313" y="298"/>
                    </a:lnTo>
                    <a:lnTo>
                      <a:pt x="313" y="297"/>
                    </a:lnTo>
                    <a:lnTo>
                      <a:pt x="313" y="293"/>
                    </a:lnTo>
                    <a:lnTo>
                      <a:pt x="313" y="293"/>
                    </a:lnTo>
                    <a:lnTo>
                      <a:pt x="314" y="293"/>
                    </a:lnTo>
                    <a:lnTo>
                      <a:pt x="314" y="292"/>
                    </a:lnTo>
                    <a:lnTo>
                      <a:pt x="314" y="292"/>
                    </a:lnTo>
                    <a:lnTo>
                      <a:pt x="314" y="289"/>
                    </a:lnTo>
                    <a:lnTo>
                      <a:pt x="314" y="288"/>
                    </a:lnTo>
                    <a:lnTo>
                      <a:pt x="314" y="288"/>
                    </a:lnTo>
                    <a:lnTo>
                      <a:pt x="314" y="288"/>
                    </a:lnTo>
                    <a:lnTo>
                      <a:pt x="314" y="286"/>
                    </a:lnTo>
                    <a:lnTo>
                      <a:pt x="315" y="286"/>
                    </a:lnTo>
                    <a:lnTo>
                      <a:pt x="315" y="286"/>
                    </a:lnTo>
                    <a:lnTo>
                      <a:pt x="315" y="285"/>
                    </a:lnTo>
                    <a:lnTo>
                      <a:pt x="316" y="285"/>
                    </a:lnTo>
                    <a:lnTo>
                      <a:pt x="317" y="286"/>
                    </a:lnTo>
                    <a:lnTo>
                      <a:pt x="318" y="286"/>
                    </a:lnTo>
                    <a:lnTo>
                      <a:pt x="318" y="287"/>
                    </a:lnTo>
                    <a:lnTo>
                      <a:pt x="318" y="287"/>
                    </a:lnTo>
                    <a:lnTo>
                      <a:pt x="318" y="288"/>
                    </a:lnTo>
                    <a:lnTo>
                      <a:pt x="317" y="288"/>
                    </a:lnTo>
                    <a:lnTo>
                      <a:pt x="317" y="289"/>
                    </a:lnTo>
                    <a:lnTo>
                      <a:pt x="318" y="290"/>
                    </a:lnTo>
                    <a:lnTo>
                      <a:pt x="319" y="290"/>
                    </a:lnTo>
                    <a:lnTo>
                      <a:pt x="320" y="289"/>
                    </a:lnTo>
                    <a:lnTo>
                      <a:pt x="321" y="289"/>
                    </a:lnTo>
                    <a:lnTo>
                      <a:pt x="321" y="289"/>
                    </a:lnTo>
                    <a:lnTo>
                      <a:pt x="322" y="288"/>
                    </a:lnTo>
                    <a:lnTo>
                      <a:pt x="322" y="288"/>
                    </a:lnTo>
                    <a:lnTo>
                      <a:pt x="324" y="294"/>
                    </a:lnTo>
                    <a:lnTo>
                      <a:pt x="324" y="293"/>
                    </a:lnTo>
                    <a:lnTo>
                      <a:pt x="325" y="293"/>
                    </a:lnTo>
                    <a:lnTo>
                      <a:pt x="326" y="293"/>
                    </a:lnTo>
                    <a:lnTo>
                      <a:pt x="326" y="291"/>
                    </a:lnTo>
                    <a:lnTo>
                      <a:pt x="325" y="290"/>
                    </a:lnTo>
                    <a:lnTo>
                      <a:pt x="325" y="288"/>
                    </a:lnTo>
                    <a:lnTo>
                      <a:pt x="324" y="288"/>
                    </a:lnTo>
                    <a:lnTo>
                      <a:pt x="324" y="286"/>
                    </a:lnTo>
                    <a:lnTo>
                      <a:pt x="325" y="285"/>
                    </a:lnTo>
                    <a:lnTo>
                      <a:pt x="325" y="287"/>
                    </a:lnTo>
                    <a:lnTo>
                      <a:pt x="326" y="288"/>
                    </a:lnTo>
                    <a:lnTo>
                      <a:pt x="326" y="289"/>
                    </a:lnTo>
                    <a:lnTo>
                      <a:pt x="326" y="290"/>
                    </a:lnTo>
                    <a:lnTo>
                      <a:pt x="326" y="292"/>
                    </a:lnTo>
                    <a:lnTo>
                      <a:pt x="327" y="293"/>
                    </a:lnTo>
                    <a:lnTo>
                      <a:pt x="327" y="293"/>
                    </a:lnTo>
                    <a:lnTo>
                      <a:pt x="328" y="294"/>
                    </a:lnTo>
                    <a:lnTo>
                      <a:pt x="328" y="294"/>
                    </a:lnTo>
                    <a:lnTo>
                      <a:pt x="327" y="295"/>
                    </a:lnTo>
                    <a:lnTo>
                      <a:pt x="328" y="296"/>
                    </a:lnTo>
                    <a:lnTo>
                      <a:pt x="328" y="296"/>
                    </a:lnTo>
                    <a:lnTo>
                      <a:pt x="329" y="297"/>
                    </a:lnTo>
                    <a:lnTo>
                      <a:pt x="329" y="297"/>
                    </a:lnTo>
                    <a:lnTo>
                      <a:pt x="330" y="296"/>
                    </a:lnTo>
                    <a:lnTo>
                      <a:pt x="330" y="297"/>
                    </a:lnTo>
                    <a:lnTo>
                      <a:pt x="330" y="298"/>
                    </a:lnTo>
                    <a:lnTo>
                      <a:pt x="330" y="298"/>
                    </a:lnTo>
                    <a:lnTo>
                      <a:pt x="331" y="298"/>
                    </a:lnTo>
                    <a:lnTo>
                      <a:pt x="331" y="298"/>
                    </a:lnTo>
                    <a:lnTo>
                      <a:pt x="332" y="298"/>
                    </a:lnTo>
                    <a:lnTo>
                      <a:pt x="332" y="298"/>
                    </a:lnTo>
                    <a:lnTo>
                      <a:pt x="332" y="298"/>
                    </a:lnTo>
                    <a:lnTo>
                      <a:pt x="333" y="300"/>
                    </a:lnTo>
                    <a:lnTo>
                      <a:pt x="334" y="300"/>
                    </a:lnTo>
                    <a:lnTo>
                      <a:pt x="334" y="300"/>
                    </a:lnTo>
                    <a:lnTo>
                      <a:pt x="334" y="300"/>
                    </a:lnTo>
                    <a:lnTo>
                      <a:pt x="333" y="301"/>
                    </a:lnTo>
                    <a:lnTo>
                      <a:pt x="333" y="302"/>
                    </a:lnTo>
                    <a:lnTo>
                      <a:pt x="334" y="303"/>
                    </a:lnTo>
                    <a:lnTo>
                      <a:pt x="335" y="303"/>
                    </a:lnTo>
                    <a:lnTo>
                      <a:pt x="336" y="303"/>
                    </a:lnTo>
                    <a:lnTo>
                      <a:pt x="336" y="303"/>
                    </a:lnTo>
                    <a:lnTo>
                      <a:pt x="335" y="304"/>
                    </a:lnTo>
                    <a:lnTo>
                      <a:pt x="335" y="305"/>
                    </a:lnTo>
                    <a:lnTo>
                      <a:pt x="335" y="305"/>
                    </a:lnTo>
                    <a:lnTo>
                      <a:pt x="335" y="306"/>
                    </a:lnTo>
                    <a:lnTo>
                      <a:pt x="336" y="306"/>
                    </a:lnTo>
                    <a:lnTo>
                      <a:pt x="336" y="307"/>
                    </a:lnTo>
                    <a:lnTo>
                      <a:pt x="336" y="307"/>
                    </a:lnTo>
                    <a:lnTo>
                      <a:pt x="335" y="308"/>
                    </a:lnTo>
                    <a:lnTo>
                      <a:pt x="335" y="309"/>
                    </a:lnTo>
                    <a:lnTo>
                      <a:pt x="336" y="309"/>
                    </a:lnTo>
                    <a:lnTo>
                      <a:pt x="336" y="309"/>
                    </a:lnTo>
                    <a:lnTo>
                      <a:pt x="337" y="309"/>
                    </a:lnTo>
                    <a:lnTo>
                      <a:pt x="338" y="308"/>
                    </a:lnTo>
                    <a:lnTo>
                      <a:pt x="339" y="307"/>
                    </a:lnTo>
                    <a:lnTo>
                      <a:pt x="340" y="307"/>
                    </a:lnTo>
                    <a:lnTo>
                      <a:pt x="340" y="306"/>
                    </a:lnTo>
                    <a:lnTo>
                      <a:pt x="340" y="305"/>
                    </a:lnTo>
                    <a:lnTo>
                      <a:pt x="341" y="305"/>
                    </a:lnTo>
                    <a:lnTo>
                      <a:pt x="341" y="305"/>
                    </a:lnTo>
                    <a:lnTo>
                      <a:pt x="342" y="305"/>
                    </a:lnTo>
                    <a:lnTo>
                      <a:pt x="343" y="304"/>
                    </a:lnTo>
                    <a:lnTo>
                      <a:pt x="343" y="304"/>
                    </a:lnTo>
                    <a:lnTo>
                      <a:pt x="342" y="303"/>
                    </a:lnTo>
                    <a:lnTo>
                      <a:pt x="342" y="303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2" y="302"/>
                    </a:lnTo>
                    <a:lnTo>
                      <a:pt x="343" y="302"/>
                    </a:lnTo>
                    <a:lnTo>
                      <a:pt x="343" y="301"/>
                    </a:lnTo>
                    <a:lnTo>
                      <a:pt x="344" y="301"/>
                    </a:lnTo>
                    <a:lnTo>
                      <a:pt x="344" y="301"/>
                    </a:lnTo>
                    <a:lnTo>
                      <a:pt x="344" y="301"/>
                    </a:lnTo>
                    <a:lnTo>
                      <a:pt x="345" y="301"/>
                    </a:lnTo>
                    <a:lnTo>
                      <a:pt x="346" y="301"/>
                    </a:lnTo>
                    <a:lnTo>
                      <a:pt x="347" y="300"/>
                    </a:lnTo>
                    <a:lnTo>
                      <a:pt x="350" y="299"/>
                    </a:lnTo>
                    <a:lnTo>
                      <a:pt x="352" y="297"/>
                    </a:lnTo>
                    <a:lnTo>
                      <a:pt x="352" y="296"/>
                    </a:lnTo>
                    <a:lnTo>
                      <a:pt x="353" y="294"/>
                    </a:lnTo>
                    <a:lnTo>
                      <a:pt x="353" y="291"/>
                    </a:lnTo>
                    <a:lnTo>
                      <a:pt x="353" y="289"/>
                    </a:lnTo>
                    <a:lnTo>
                      <a:pt x="353" y="288"/>
                    </a:lnTo>
                    <a:lnTo>
                      <a:pt x="352" y="287"/>
                    </a:lnTo>
                    <a:lnTo>
                      <a:pt x="353" y="287"/>
                    </a:lnTo>
                    <a:lnTo>
                      <a:pt x="353" y="285"/>
                    </a:lnTo>
                    <a:lnTo>
                      <a:pt x="352" y="284"/>
                    </a:lnTo>
                    <a:lnTo>
                      <a:pt x="352" y="283"/>
                    </a:lnTo>
                    <a:lnTo>
                      <a:pt x="351" y="281"/>
                    </a:lnTo>
                    <a:lnTo>
                      <a:pt x="351" y="280"/>
                    </a:lnTo>
                    <a:lnTo>
                      <a:pt x="351" y="280"/>
                    </a:lnTo>
                    <a:lnTo>
                      <a:pt x="350" y="279"/>
                    </a:lnTo>
                    <a:lnTo>
                      <a:pt x="351" y="278"/>
                    </a:lnTo>
                    <a:lnTo>
                      <a:pt x="351" y="277"/>
                    </a:lnTo>
                    <a:lnTo>
                      <a:pt x="348" y="275"/>
                    </a:lnTo>
                    <a:lnTo>
                      <a:pt x="346" y="273"/>
                    </a:lnTo>
                    <a:lnTo>
                      <a:pt x="344" y="272"/>
                    </a:lnTo>
                    <a:lnTo>
                      <a:pt x="343" y="271"/>
                    </a:lnTo>
                    <a:lnTo>
                      <a:pt x="342" y="270"/>
                    </a:lnTo>
                    <a:lnTo>
                      <a:pt x="341" y="270"/>
                    </a:lnTo>
                    <a:lnTo>
                      <a:pt x="340" y="269"/>
                    </a:lnTo>
                    <a:lnTo>
                      <a:pt x="340" y="267"/>
                    </a:lnTo>
                    <a:lnTo>
                      <a:pt x="337" y="264"/>
                    </a:lnTo>
                    <a:lnTo>
                      <a:pt x="336" y="262"/>
                    </a:lnTo>
                    <a:lnTo>
                      <a:pt x="334" y="260"/>
                    </a:lnTo>
                    <a:lnTo>
                      <a:pt x="334" y="259"/>
                    </a:lnTo>
                    <a:lnTo>
                      <a:pt x="334" y="258"/>
                    </a:lnTo>
                    <a:lnTo>
                      <a:pt x="334" y="258"/>
                    </a:lnTo>
                    <a:lnTo>
                      <a:pt x="334" y="256"/>
                    </a:lnTo>
                    <a:lnTo>
                      <a:pt x="334" y="255"/>
                    </a:lnTo>
                    <a:lnTo>
                      <a:pt x="335" y="254"/>
                    </a:lnTo>
                    <a:lnTo>
                      <a:pt x="335" y="253"/>
                    </a:lnTo>
                    <a:lnTo>
                      <a:pt x="335" y="253"/>
                    </a:lnTo>
                    <a:lnTo>
                      <a:pt x="336" y="253"/>
                    </a:lnTo>
                    <a:lnTo>
                      <a:pt x="337" y="252"/>
                    </a:lnTo>
                    <a:lnTo>
                      <a:pt x="337" y="252"/>
                    </a:lnTo>
                    <a:lnTo>
                      <a:pt x="337" y="251"/>
                    </a:lnTo>
                    <a:lnTo>
                      <a:pt x="338" y="251"/>
                    </a:lnTo>
                    <a:lnTo>
                      <a:pt x="340" y="251"/>
                    </a:lnTo>
                    <a:lnTo>
                      <a:pt x="340" y="250"/>
                    </a:lnTo>
                    <a:lnTo>
                      <a:pt x="341" y="250"/>
                    </a:lnTo>
                    <a:lnTo>
                      <a:pt x="341" y="249"/>
                    </a:lnTo>
                    <a:lnTo>
                      <a:pt x="341" y="248"/>
                    </a:lnTo>
                    <a:lnTo>
                      <a:pt x="341" y="248"/>
                    </a:lnTo>
                    <a:lnTo>
                      <a:pt x="340" y="248"/>
                    </a:lnTo>
                    <a:lnTo>
                      <a:pt x="339" y="248"/>
                    </a:lnTo>
                    <a:lnTo>
                      <a:pt x="340" y="247"/>
                    </a:lnTo>
                    <a:lnTo>
                      <a:pt x="340" y="247"/>
                    </a:lnTo>
                    <a:lnTo>
                      <a:pt x="341" y="247"/>
                    </a:lnTo>
                    <a:lnTo>
                      <a:pt x="341" y="247"/>
                    </a:lnTo>
                    <a:lnTo>
                      <a:pt x="344" y="245"/>
                    </a:lnTo>
                    <a:lnTo>
                      <a:pt x="345" y="246"/>
                    </a:lnTo>
                    <a:lnTo>
                      <a:pt x="346" y="246"/>
                    </a:lnTo>
                    <a:lnTo>
                      <a:pt x="347" y="246"/>
                    </a:lnTo>
                    <a:lnTo>
                      <a:pt x="348" y="246"/>
                    </a:lnTo>
                    <a:lnTo>
                      <a:pt x="349" y="247"/>
                    </a:lnTo>
                    <a:lnTo>
                      <a:pt x="349" y="247"/>
                    </a:lnTo>
                    <a:lnTo>
                      <a:pt x="349" y="248"/>
                    </a:lnTo>
                    <a:lnTo>
                      <a:pt x="349" y="248"/>
                    </a:lnTo>
                    <a:lnTo>
                      <a:pt x="349" y="250"/>
                    </a:lnTo>
                    <a:lnTo>
                      <a:pt x="349" y="251"/>
                    </a:lnTo>
                    <a:lnTo>
                      <a:pt x="349" y="251"/>
                    </a:lnTo>
                    <a:lnTo>
                      <a:pt x="349" y="252"/>
                    </a:lnTo>
                    <a:lnTo>
                      <a:pt x="350" y="252"/>
                    </a:lnTo>
                    <a:lnTo>
                      <a:pt x="350" y="253"/>
                    </a:lnTo>
                    <a:lnTo>
                      <a:pt x="351" y="253"/>
                    </a:lnTo>
                    <a:lnTo>
                      <a:pt x="351" y="253"/>
                    </a:lnTo>
                    <a:lnTo>
                      <a:pt x="353" y="253"/>
                    </a:lnTo>
                    <a:lnTo>
                      <a:pt x="353" y="252"/>
                    </a:lnTo>
                    <a:lnTo>
                      <a:pt x="353" y="252"/>
                    </a:lnTo>
                    <a:lnTo>
                      <a:pt x="353" y="251"/>
                    </a:lnTo>
                    <a:lnTo>
                      <a:pt x="353" y="249"/>
                    </a:lnTo>
                    <a:lnTo>
                      <a:pt x="353" y="248"/>
                    </a:lnTo>
                    <a:lnTo>
                      <a:pt x="354" y="247"/>
                    </a:lnTo>
                    <a:lnTo>
                      <a:pt x="354" y="247"/>
                    </a:lnTo>
                    <a:lnTo>
                      <a:pt x="356" y="247"/>
                    </a:lnTo>
                    <a:lnTo>
                      <a:pt x="357" y="246"/>
                    </a:lnTo>
                    <a:lnTo>
                      <a:pt x="357" y="246"/>
                    </a:lnTo>
                    <a:lnTo>
                      <a:pt x="358" y="246"/>
                    </a:lnTo>
                    <a:lnTo>
                      <a:pt x="359" y="246"/>
                    </a:lnTo>
                    <a:lnTo>
                      <a:pt x="361" y="246"/>
                    </a:lnTo>
                    <a:lnTo>
                      <a:pt x="362" y="245"/>
                    </a:lnTo>
                    <a:lnTo>
                      <a:pt x="363" y="244"/>
                    </a:lnTo>
                    <a:lnTo>
                      <a:pt x="363" y="242"/>
                    </a:lnTo>
                    <a:lnTo>
                      <a:pt x="363" y="241"/>
                    </a:lnTo>
                    <a:lnTo>
                      <a:pt x="363" y="241"/>
                    </a:lnTo>
                    <a:lnTo>
                      <a:pt x="364" y="241"/>
                    </a:lnTo>
                    <a:lnTo>
                      <a:pt x="365" y="243"/>
                    </a:lnTo>
                    <a:lnTo>
                      <a:pt x="365" y="243"/>
                    </a:lnTo>
                    <a:lnTo>
                      <a:pt x="365" y="243"/>
                    </a:lnTo>
                    <a:lnTo>
                      <a:pt x="366" y="243"/>
                    </a:lnTo>
                    <a:lnTo>
                      <a:pt x="366" y="242"/>
                    </a:lnTo>
                    <a:lnTo>
                      <a:pt x="367" y="242"/>
                    </a:lnTo>
                    <a:lnTo>
                      <a:pt x="368" y="241"/>
                    </a:lnTo>
                    <a:lnTo>
                      <a:pt x="368" y="240"/>
                    </a:lnTo>
                    <a:lnTo>
                      <a:pt x="370" y="241"/>
                    </a:lnTo>
                    <a:lnTo>
                      <a:pt x="371" y="240"/>
                    </a:lnTo>
                    <a:lnTo>
                      <a:pt x="372" y="240"/>
                    </a:lnTo>
                    <a:lnTo>
                      <a:pt x="372" y="241"/>
                    </a:lnTo>
                    <a:lnTo>
                      <a:pt x="374" y="241"/>
                    </a:lnTo>
                    <a:lnTo>
                      <a:pt x="376" y="239"/>
                    </a:lnTo>
                    <a:lnTo>
                      <a:pt x="379" y="236"/>
                    </a:lnTo>
                    <a:lnTo>
                      <a:pt x="380" y="236"/>
                    </a:lnTo>
                    <a:lnTo>
                      <a:pt x="380" y="235"/>
                    </a:lnTo>
                    <a:lnTo>
                      <a:pt x="380" y="235"/>
                    </a:lnTo>
                    <a:lnTo>
                      <a:pt x="380" y="234"/>
                    </a:lnTo>
                    <a:lnTo>
                      <a:pt x="379" y="234"/>
                    </a:lnTo>
                    <a:lnTo>
                      <a:pt x="379" y="233"/>
                    </a:lnTo>
                    <a:lnTo>
                      <a:pt x="380" y="233"/>
                    </a:lnTo>
                    <a:lnTo>
                      <a:pt x="381" y="231"/>
                    </a:lnTo>
                    <a:lnTo>
                      <a:pt x="383" y="231"/>
                    </a:lnTo>
                    <a:lnTo>
                      <a:pt x="383" y="229"/>
                    </a:lnTo>
                    <a:lnTo>
                      <a:pt x="384" y="229"/>
                    </a:lnTo>
                    <a:lnTo>
                      <a:pt x="384" y="227"/>
                    </a:lnTo>
                    <a:lnTo>
                      <a:pt x="385" y="227"/>
                    </a:lnTo>
                    <a:lnTo>
                      <a:pt x="385" y="226"/>
                    </a:lnTo>
                    <a:lnTo>
                      <a:pt x="385" y="225"/>
                    </a:lnTo>
                    <a:lnTo>
                      <a:pt x="385" y="224"/>
                    </a:lnTo>
                    <a:lnTo>
                      <a:pt x="385" y="224"/>
                    </a:lnTo>
                    <a:lnTo>
                      <a:pt x="385" y="223"/>
                    </a:lnTo>
                    <a:lnTo>
                      <a:pt x="385" y="223"/>
                    </a:lnTo>
                    <a:lnTo>
                      <a:pt x="385" y="223"/>
                    </a:lnTo>
                    <a:lnTo>
                      <a:pt x="386" y="222"/>
                    </a:lnTo>
                    <a:lnTo>
                      <a:pt x="386" y="222"/>
                    </a:lnTo>
                    <a:lnTo>
                      <a:pt x="387" y="222"/>
                    </a:lnTo>
                    <a:lnTo>
                      <a:pt x="387" y="220"/>
                    </a:lnTo>
                    <a:lnTo>
                      <a:pt x="386" y="219"/>
                    </a:lnTo>
                    <a:lnTo>
                      <a:pt x="386" y="218"/>
                    </a:lnTo>
                    <a:lnTo>
                      <a:pt x="386" y="218"/>
                    </a:lnTo>
                    <a:lnTo>
                      <a:pt x="387" y="218"/>
                    </a:lnTo>
                    <a:lnTo>
                      <a:pt x="387" y="216"/>
                    </a:lnTo>
                    <a:lnTo>
                      <a:pt x="387" y="216"/>
                    </a:lnTo>
                    <a:lnTo>
                      <a:pt x="387" y="215"/>
                    </a:lnTo>
                    <a:lnTo>
                      <a:pt x="389" y="214"/>
                    </a:lnTo>
                    <a:lnTo>
                      <a:pt x="390" y="214"/>
                    </a:lnTo>
                    <a:lnTo>
                      <a:pt x="390" y="213"/>
                    </a:lnTo>
                    <a:lnTo>
                      <a:pt x="389" y="212"/>
                    </a:lnTo>
                    <a:lnTo>
                      <a:pt x="389" y="212"/>
                    </a:lnTo>
                    <a:lnTo>
                      <a:pt x="389" y="212"/>
                    </a:lnTo>
                    <a:lnTo>
                      <a:pt x="390" y="212"/>
                    </a:lnTo>
                    <a:lnTo>
                      <a:pt x="391" y="212"/>
                    </a:lnTo>
                    <a:lnTo>
                      <a:pt x="391" y="211"/>
                    </a:lnTo>
                    <a:lnTo>
                      <a:pt x="390" y="210"/>
                    </a:lnTo>
                    <a:lnTo>
                      <a:pt x="390" y="210"/>
                    </a:lnTo>
                    <a:lnTo>
                      <a:pt x="391" y="209"/>
                    </a:lnTo>
                    <a:lnTo>
                      <a:pt x="392" y="207"/>
                    </a:lnTo>
                    <a:lnTo>
                      <a:pt x="392" y="207"/>
                    </a:lnTo>
                    <a:lnTo>
                      <a:pt x="392" y="206"/>
                    </a:lnTo>
                    <a:lnTo>
                      <a:pt x="392" y="206"/>
                    </a:lnTo>
                    <a:lnTo>
                      <a:pt x="390" y="205"/>
                    </a:lnTo>
                    <a:lnTo>
                      <a:pt x="388" y="206"/>
                    </a:lnTo>
                    <a:lnTo>
                      <a:pt x="386" y="206"/>
                    </a:lnTo>
                    <a:lnTo>
                      <a:pt x="384" y="206"/>
                    </a:lnTo>
                    <a:lnTo>
                      <a:pt x="384" y="207"/>
                    </a:lnTo>
                    <a:lnTo>
                      <a:pt x="383" y="206"/>
                    </a:lnTo>
                    <a:lnTo>
                      <a:pt x="385" y="206"/>
                    </a:lnTo>
                    <a:lnTo>
                      <a:pt x="385" y="205"/>
                    </a:lnTo>
                    <a:lnTo>
                      <a:pt x="385" y="204"/>
                    </a:lnTo>
                    <a:lnTo>
                      <a:pt x="386" y="204"/>
                    </a:lnTo>
                    <a:lnTo>
                      <a:pt x="386" y="204"/>
                    </a:lnTo>
                    <a:lnTo>
                      <a:pt x="388" y="204"/>
                    </a:lnTo>
                    <a:lnTo>
                      <a:pt x="388" y="203"/>
                    </a:lnTo>
                    <a:lnTo>
                      <a:pt x="387" y="203"/>
                    </a:lnTo>
                    <a:lnTo>
                      <a:pt x="387" y="202"/>
                    </a:lnTo>
                    <a:lnTo>
                      <a:pt x="387" y="202"/>
                    </a:lnTo>
                    <a:lnTo>
                      <a:pt x="387" y="201"/>
                    </a:lnTo>
                    <a:lnTo>
                      <a:pt x="386" y="201"/>
                    </a:lnTo>
                    <a:lnTo>
                      <a:pt x="385" y="201"/>
                    </a:lnTo>
                    <a:lnTo>
                      <a:pt x="384" y="201"/>
                    </a:lnTo>
                    <a:lnTo>
                      <a:pt x="384" y="200"/>
                    </a:lnTo>
                    <a:lnTo>
                      <a:pt x="383" y="200"/>
                    </a:lnTo>
                    <a:lnTo>
                      <a:pt x="383" y="199"/>
                    </a:lnTo>
                    <a:lnTo>
                      <a:pt x="382" y="199"/>
                    </a:lnTo>
                    <a:lnTo>
                      <a:pt x="380" y="199"/>
                    </a:lnTo>
                    <a:lnTo>
                      <a:pt x="379" y="199"/>
                    </a:lnTo>
                    <a:lnTo>
                      <a:pt x="379" y="199"/>
                    </a:lnTo>
                    <a:lnTo>
                      <a:pt x="378" y="197"/>
                    </a:lnTo>
                    <a:lnTo>
                      <a:pt x="377" y="197"/>
                    </a:lnTo>
                    <a:lnTo>
                      <a:pt x="377" y="196"/>
                    </a:lnTo>
                    <a:lnTo>
                      <a:pt x="378" y="197"/>
                    </a:lnTo>
                    <a:lnTo>
                      <a:pt x="378" y="197"/>
                    </a:lnTo>
                    <a:lnTo>
                      <a:pt x="378" y="198"/>
                    </a:lnTo>
                    <a:lnTo>
                      <a:pt x="379" y="198"/>
                    </a:lnTo>
                    <a:lnTo>
                      <a:pt x="380" y="198"/>
                    </a:lnTo>
                    <a:lnTo>
                      <a:pt x="380" y="198"/>
                    </a:lnTo>
                    <a:lnTo>
                      <a:pt x="380" y="198"/>
                    </a:lnTo>
                    <a:lnTo>
                      <a:pt x="383" y="198"/>
                    </a:lnTo>
                    <a:lnTo>
                      <a:pt x="383" y="199"/>
                    </a:lnTo>
                    <a:lnTo>
                      <a:pt x="384" y="199"/>
                    </a:lnTo>
                    <a:lnTo>
                      <a:pt x="387" y="200"/>
                    </a:lnTo>
                    <a:lnTo>
                      <a:pt x="386" y="198"/>
                    </a:lnTo>
                    <a:lnTo>
                      <a:pt x="385" y="198"/>
                    </a:lnTo>
                    <a:lnTo>
                      <a:pt x="385" y="197"/>
                    </a:lnTo>
                    <a:lnTo>
                      <a:pt x="384" y="196"/>
                    </a:lnTo>
                    <a:lnTo>
                      <a:pt x="383" y="196"/>
                    </a:lnTo>
                    <a:lnTo>
                      <a:pt x="382" y="196"/>
                    </a:lnTo>
                    <a:lnTo>
                      <a:pt x="381" y="195"/>
                    </a:lnTo>
                    <a:lnTo>
                      <a:pt x="381" y="194"/>
                    </a:lnTo>
                    <a:lnTo>
                      <a:pt x="381" y="194"/>
                    </a:lnTo>
                    <a:lnTo>
                      <a:pt x="381" y="193"/>
                    </a:lnTo>
                    <a:lnTo>
                      <a:pt x="376" y="187"/>
                    </a:lnTo>
                    <a:lnTo>
                      <a:pt x="374" y="187"/>
                    </a:lnTo>
                    <a:lnTo>
                      <a:pt x="372" y="185"/>
                    </a:lnTo>
                    <a:lnTo>
                      <a:pt x="371" y="185"/>
                    </a:lnTo>
                    <a:lnTo>
                      <a:pt x="371" y="185"/>
                    </a:lnTo>
                    <a:lnTo>
                      <a:pt x="371" y="184"/>
                    </a:lnTo>
                    <a:lnTo>
                      <a:pt x="371" y="184"/>
                    </a:lnTo>
                    <a:lnTo>
                      <a:pt x="370" y="183"/>
                    </a:lnTo>
                    <a:lnTo>
                      <a:pt x="371" y="183"/>
                    </a:lnTo>
                    <a:lnTo>
                      <a:pt x="372" y="182"/>
                    </a:lnTo>
                    <a:lnTo>
                      <a:pt x="372" y="182"/>
                    </a:lnTo>
                    <a:lnTo>
                      <a:pt x="372" y="181"/>
                    </a:lnTo>
                    <a:lnTo>
                      <a:pt x="373" y="181"/>
                    </a:lnTo>
                    <a:lnTo>
                      <a:pt x="373" y="180"/>
                    </a:lnTo>
                    <a:lnTo>
                      <a:pt x="372" y="180"/>
                    </a:lnTo>
                    <a:lnTo>
                      <a:pt x="372" y="179"/>
                    </a:lnTo>
                    <a:lnTo>
                      <a:pt x="372" y="179"/>
                    </a:lnTo>
                    <a:lnTo>
                      <a:pt x="373" y="179"/>
                    </a:lnTo>
                    <a:lnTo>
                      <a:pt x="373" y="179"/>
                    </a:lnTo>
                    <a:lnTo>
                      <a:pt x="374" y="180"/>
                    </a:lnTo>
                    <a:lnTo>
                      <a:pt x="374" y="179"/>
                    </a:lnTo>
                    <a:lnTo>
                      <a:pt x="374" y="178"/>
                    </a:lnTo>
                    <a:lnTo>
                      <a:pt x="374" y="177"/>
                    </a:lnTo>
                    <a:lnTo>
                      <a:pt x="374" y="177"/>
                    </a:lnTo>
                    <a:lnTo>
                      <a:pt x="375" y="177"/>
                    </a:lnTo>
                    <a:lnTo>
                      <a:pt x="377" y="175"/>
                    </a:lnTo>
                    <a:lnTo>
                      <a:pt x="378" y="175"/>
                    </a:lnTo>
                    <a:lnTo>
                      <a:pt x="378" y="175"/>
                    </a:lnTo>
                    <a:lnTo>
                      <a:pt x="380" y="175"/>
                    </a:lnTo>
                    <a:lnTo>
                      <a:pt x="380" y="175"/>
                    </a:lnTo>
                    <a:lnTo>
                      <a:pt x="379" y="175"/>
                    </a:lnTo>
                    <a:lnTo>
                      <a:pt x="379" y="174"/>
                    </a:lnTo>
                    <a:lnTo>
                      <a:pt x="379" y="174"/>
                    </a:lnTo>
                    <a:lnTo>
                      <a:pt x="379" y="173"/>
                    </a:lnTo>
                    <a:lnTo>
                      <a:pt x="378" y="173"/>
                    </a:lnTo>
                    <a:lnTo>
                      <a:pt x="377" y="172"/>
                    </a:lnTo>
                    <a:lnTo>
                      <a:pt x="377" y="173"/>
                    </a:lnTo>
                    <a:lnTo>
                      <a:pt x="375" y="173"/>
                    </a:lnTo>
                    <a:lnTo>
                      <a:pt x="374" y="172"/>
                    </a:lnTo>
                    <a:lnTo>
                      <a:pt x="374" y="172"/>
                    </a:lnTo>
                    <a:lnTo>
                      <a:pt x="373" y="171"/>
                    </a:lnTo>
                    <a:lnTo>
                      <a:pt x="373" y="171"/>
                    </a:lnTo>
                    <a:lnTo>
                      <a:pt x="372" y="171"/>
                    </a:lnTo>
                    <a:lnTo>
                      <a:pt x="371" y="172"/>
                    </a:lnTo>
                    <a:lnTo>
                      <a:pt x="371" y="172"/>
                    </a:lnTo>
                    <a:lnTo>
                      <a:pt x="370" y="173"/>
                    </a:lnTo>
                    <a:lnTo>
                      <a:pt x="370" y="174"/>
                    </a:lnTo>
                    <a:lnTo>
                      <a:pt x="369" y="174"/>
                    </a:lnTo>
                    <a:lnTo>
                      <a:pt x="369" y="174"/>
                    </a:lnTo>
                    <a:lnTo>
                      <a:pt x="367" y="174"/>
                    </a:lnTo>
                    <a:lnTo>
                      <a:pt x="366" y="174"/>
                    </a:lnTo>
                    <a:lnTo>
                      <a:pt x="365" y="173"/>
                    </a:lnTo>
                    <a:lnTo>
                      <a:pt x="365" y="173"/>
                    </a:lnTo>
                    <a:lnTo>
                      <a:pt x="364" y="170"/>
                    </a:lnTo>
                    <a:lnTo>
                      <a:pt x="364" y="170"/>
                    </a:lnTo>
                    <a:lnTo>
                      <a:pt x="364" y="169"/>
                    </a:lnTo>
                    <a:lnTo>
                      <a:pt x="363" y="169"/>
                    </a:lnTo>
                    <a:lnTo>
                      <a:pt x="363" y="170"/>
                    </a:lnTo>
                    <a:lnTo>
                      <a:pt x="363" y="170"/>
                    </a:lnTo>
                    <a:lnTo>
                      <a:pt x="362" y="169"/>
                    </a:lnTo>
                    <a:lnTo>
                      <a:pt x="360" y="169"/>
                    </a:lnTo>
                    <a:lnTo>
                      <a:pt x="359" y="169"/>
                    </a:lnTo>
                    <a:lnTo>
                      <a:pt x="359" y="169"/>
                    </a:lnTo>
                    <a:lnTo>
                      <a:pt x="359" y="168"/>
                    </a:lnTo>
                    <a:lnTo>
                      <a:pt x="358" y="168"/>
                    </a:lnTo>
                    <a:lnTo>
                      <a:pt x="357" y="167"/>
                    </a:lnTo>
                    <a:lnTo>
                      <a:pt x="357" y="165"/>
                    </a:lnTo>
                    <a:lnTo>
                      <a:pt x="359" y="165"/>
                    </a:lnTo>
                    <a:lnTo>
                      <a:pt x="359" y="165"/>
                    </a:lnTo>
                    <a:lnTo>
                      <a:pt x="360" y="165"/>
                    </a:lnTo>
                    <a:lnTo>
                      <a:pt x="360" y="165"/>
                    </a:lnTo>
                    <a:lnTo>
                      <a:pt x="360" y="165"/>
                    </a:lnTo>
                    <a:lnTo>
                      <a:pt x="360" y="164"/>
                    </a:lnTo>
                    <a:lnTo>
                      <a:pt x="361" y="164"/>
                    </a:lnTo>
                    <a:lnTo>
                      <a:pt x="361" y="165"/>
                    </a:lnTo>
                    <a:lnTo>
                      <a:pt x="362" y="165"/>
                    </a:lnTo>
                    <a:lnTo>
                      <a:pt x="362" y="164"/>
                    </a:lnTo>
                    <a:lnTo>
                      <a:pt x="363" y="164"/>
                    </a:lnTo>
                    <a:lnTo>
                      <a:pt x="363" y="163"/>
                    </a:lnTo>
                    <a:lnTo>
                      <a:pt x="362" y="163"/>
                    </a:lnTo>
                    <a:lnTo>
                      <a:pt x="362" y="161"/>
                    </a:lnTo>
                    <a:lnTo>
                      <a:pt x="363" y="161"/>
                    </a:lnTo>
                    <a:lnTo>
                      <a:pt x="363" y="160"/>
                    </a:lnTo>
                    <a:lnTo>
                      <a:pt x="365" y="160"/>
                    </a:lnTo>
                    <a:lnTo>
                      <a:pt x="365" y="160"/>
                    </a:lnTo>
                    <a:lnTo>
                      <a:pt x="365" y="159"/>
                    </a:lnTo>
                    <a:lnTo>
                      <a:pt x="365" y="159"/>
                    </a:lnTo>
                    <a:lnTo>
                      <a:pt x="366" y="158"/>
                    </a:lnTo>
                    <a:lnTo>
                      <a:pt x="366" y="158"/>
                    </a:lnTo>
                    <a:lnTo>
                      <a:pt x="367" y="157"/>
                    </a:lnTo>
                    <a:lnTo>
                      <a:pt x="366" y="157"/>
                    </a:lnTo>
                    <a:lnTo>
                      <a:pt x="368" y="157"/>
                    </a:lnTo>
                    <a:lnTo>
                      <a:pt x="370" y="156"/>
                    </a:lnTo>
                    <a:lnTo>
                      <a:pt x="370" y="157"/>
                    </a:lnTo>
                    <a:lnTo>
                      <a:pt x="371" y="157"/>
                    </a:lnTo>
                    <a:lnTo>
                      <a:pt x="371" y="158"/>
                    </a:lnTo>
                    <a:lnTo>
                      <a:pt x="372" y="159"/>
                    </a:lnTo>
                    <a:lnTo>
                      <a:pt x="372" y="159"/>
                    </a:lnTo>
                    <a:lnTo>
                      <a:pt x="371" y="161"/>
                    </a:lnTo>
                    <a:lnTo>
                      <a:pt x="370" y="162"/>
                    </a:lnTo>
                    <a:lnTo>
                      <a:pt x="370" y="162"/>
                    </a:lnTo>
                    <a:lnTo>
                      <a:pt x="371" y="163"/>
                    </a:lnTo>
                    <a:lnTo>
                      <a:pt x="371" y="164"/>
                    </a:lnTo>
                    <a:lnTo>
                      <a:pt x="372" y="164"/>
                    </a:lnTo>
                    <a:lnTo>
                      <a:pt x="372" y="163"/>
                    </a:lnTo>
                    <a:lnTo>
                      <a:pt x="373" y="163"/>
                    </a:lnTo>
                    <a:lnTo>
                      <a:pt x="372" y="165"/>
                    </a:lnTo>
                    <a:lnTo>
                      <a:pt x="371" y="166"/>
                    </a:lnTo>
                    <a:lnTo>
                      <a:pt x="371" y="167"/>
                    </a:lnTo>
                    <a:lnTo>
                      <a:pt x="372" y="167"/>
                    </a:lnTo>
                    <a:lnTo>
                      <a:pt x="372" y="166"/>
                    </a:lnTo>
                    <a:lnTo>
                      <a:pt x="373" y="166"/>
                    </a:lnTo>
                    <a:lnTo>
                      <a:pt x="373" y="166"/>
                    </a:lnTo>
                    <a:lnTo>
                      <a:pt x="374" y="166"/>
                    </a:lnTo>
                    <a:lnTo>
                      <a:pt x="374" y="165"/>
                    </a:lnTo>
                    <a:lnTo>
                      <a:pt x="374" y="163"/>
                    </a:lnTo>
                    <a:lnTo>
                      <a:pt x="375" y="163"/>
                    </a:lnTo>
                    <a:lnTo>
                      <a:pt x="375" y="163"/>
                    </a:lnTo>
                    <a:lnTo>
                      <a:pt x="378" y="162"/>
                    </a:lnTo>
                    <a:lnTo>
                      <a:pt x="378" y="161"/>
                    </a:lnTo>
                    <a:lnTo>
                      <a:pt x="380" y="161"/>
                    </a:lnTo>
                    <a:lnTo>
                      <a:pt x="381" y="161"/>
                    </a:lnTo>
                    <a:lnTo>
                      <a:pt x="381" y="160"/>
                    </a:lnTo>
                    <a:lnTo>
                      <a:pt x="381" y="160"/>
                    </a:lnTo>
                    <a:lnTo>
                      <a:pt x="382" y="159"/>
                    </a:lnTo>
                    <a:lnTo>
                      <a:pt x="382" y="159"/>
                    </a:lnTo>
                    <a:lnTo>
                      <a:pt x="382" y="159"/>
                    </a:lnTo>
                    <a:lnTo>
                      <a:pt x="382" y="159"/>
                    </a:lnTo>
                    <a:lnTo>
                      <a:pt x="382" y="160"/>
                    </a:lnTo>
                    <a:lnTo>
                      <a:pt x="381" y="161"/>
                    </a:lnTo>
                    <a:lnTo>
                      <a:pt x="381" y="161"/>
                    </a:lnTo>
                    <a:lnTo>
                      <a:pt x="381" y="162"/>
                    </a:lnTo>
                    <a:lnTo>
                      <a:pt x="382" y="161"/>
                    </a:lnTo>
                    <a:lnTo>
                      <a:pt x="382" y="162"/>
                    </a:lnTo>
                    <a:lnTo>
                      <a:pt x="383" y="163"/>
                    </a:lnTo>
                    <a:lnTo>
                      <a:pt x="384" y="162"/>
                    </a:lnTo>
                    <a:lnTo>
                      <a:pt x="384" y="163"/>
                    </a:lnTo>
                    <a:lnTo>
                      <a:pt x="384" y="163"/>
                    </a:lnTo>
                    <a:lnTo>
                      <a:pt x="386" y="163"/>
                    </a:lnTo>
                    <a:lnTo>
                      <a:pt x="386" y="164"/>
                    </a:lnTo>
                    <a:lnTo>
                      <a:pt x="387" y="165"/>
                    </a:lnTo>
                    <a:lnTo>
                      <a:pt x="387" y="167"/>
                    </a:lnTo>
                    <a:lnTo>
                      <a:pt x="389" y="167"/>
                    </a:lnTo>
                    <a:lnTo>
                      <a:pt x="389" y="168"/>
                    </a:lnTo>
                    <a:lnTo>
                      <a:pt x="388" y="168"/>
                    </a:lnTo>
                    <a:lnTo>
                      <a:pt x="387" y="168"/>
                    </a:lnTo>
                    <a:lnTo>
                      <a:pt x="387" y="168"/>
                    </a:lnTo>
                    <a:lnTo>
                      <a:pt x="387" y="169"/>
                    </a:lnTo>
                    <a:lnTo>
                      <a:pt x="387" y="170"/>
                    </a:lnTo>
                    <a:lnTo>
                      <a:pt x="387" y="170"/>
                    </a:lnTo>
                    <a:lnTo>
                      <a:pt x="388" y="171"/>
                    </a:lnTo>
                    <a:lnTo>
                      <a:pt x="390" y="171"/>
                    </a:lnTo>
                    <a:lnTo>
                      <a:pt x="390" y="171"/>
                    </a:lnTo>
                    <a:lnTo>
                      <a:pt x="391" y="171"/>
                    </a:lnTo>
                    <a:lnTo>
                      <a:pt x="391" y="172"/>
                    </a:lnTo>
                    <a:lnTo>
                      <a:pt x="392" y="172"/>
                    </a:lnTo>
                    <a:lnTo>
                      <a:pt x="392" y="172"/>
                    </a:lnTo>
                    <a:lnTo>
                      <a:pt x="393" y="172"/>
                    </a:lnTo>
                    <a:lnTo>
                      <a:pt x="394" y="172"/>
                    </a:lnTo>
                    <a:lnTo>
                      <a:pt x="395" y="172"/>
                    </a:lnTo>
                    <a:lnTo>
                      <a:pt x="395" y="172"/>
                    </a:lnTo>
                    <a:lnTo>
                      <a:pt x="395" y="172"/>
                    </a:lnTo>
                    <a:lnTo>
                      <a:pt x="395" y="173"/>
                    </a:lnTo>
                    <a:lnTo>
                      <a:pt x="396" y="173"/>
                    </a:lnTo>
                    <a:lnTo>
                      <a:pt x="396" y="173"/>
                    </a:lnTo>
                    <a:lnTo>
                      <a:pt x="397" y="174"/>
                    </a:lnTo>
                    <a:lnTo>
                      <a:pt x="398" y="176"/>
                    </a:lnTo>
                    <a:lnTo>
                      <a:pt x="398" y="176"/>
                    </a:lnTo>
                    <a:lnTo>
                      <a:pt x="397" y="175"/>
                    </a:lnTo>
                    <a:lnTo>
                      <a:pt x="397" y="175"/>
                    </a:lnTo>
                    <a:lnTo>
                      <a:pt x="396" y="175"/>
                    </a:lnTo>
                    <a:lnTo>
                      <a:pt x="395" y="175"/>
                    </a:lnTo>
                    <a:lnTo>
                      <a:pt x="395" y="175"/>
                    </a:lnTo>
                    <a:lnTo>
                      <a:pt x="396" y="176"/>
                    </a:lnTo>
                    <a:lnTo>
                      <a:pt x="396" y="177"/>
                    </a:lnTo>
                    <a:lnTo>
                      <a:pt x="397" y="177"/>
                    </a:lnTo>
                    <a:lnTo>
                      <a:pt x="398" y="179"/>
                    </a:lnTo>
                    <a:lnTo>
                      <a:pt x="400" y="180"/>
                    </a:lnTo>
                    <a:lnTo>
                      <a:pt x="400" y="181"/>
                    </a:lnTo>
                    <a:lnTo>
                      <a:pt x="399" y="182"/>
                    </a:lnTo>
                    <a:lnTo>
                      <a:pt x="399" y="184"/>
                    </a:lnTo>
                    <a:lnTo>
                      <a:pt x="399" y="184"/>
                    </a:lnTo>
                    <a:lnTo>
                      <a:pt x="400" y="185"/>
                    </a:lnTo>
                    <a:lnTo>
                      <a:pt x="401" y="185"/>
                    </a:lnTo>
                    <a:lnTo>
                      <a:pt x="401" y="186"/>
                    </a:lnTo>
                    <a:lnTo>
                      <a:pt x="400" y="186"/>
                    </a:lnTo>
                    <a:lnTo>
                      <a:pt x="400" y="187"/>
                    </a:lnTo>
                    <a:lnTo>
                      <a:pt x="401" y="187"/>
                    </a:lnTo>
                    <a:lnTo>
                      <a:pt x="402" y="187"/>
                    </a:lnTo>
                    <a:lnTo>
                      <a:pt x="403" y="187"/>
                    </a:lnTo>
                    <a:lnTo>
                      <a:pt x="403" y="186"/>
                    </a:lnTo>
                    <a:lnTo>
                      <a:pt x="403" y="186"/>
                    </a:lnTo>
                    <a:lnTo>
                      <a:pt x="403" y="186"/>
                    </a:lnTo>
                    <a:lnTo>
                      <a:pt x="406" y="184"/>
                    </a:lnTo>
                    <a:lnTo>
                      <a:pt x="408" y="185"/>
                    </a:lnTo>
                    <a:lnTo>
                      <a:pt x="408" y="184"/>
                    </a:lnTo>
                    <a:lnTo>
                      <a:pt x="410" y="184"/>
                    </a:lnTo>
                    <a:lnTo>
                      <a:pt x="411" y="183"/>
                    </a:lnTo>
                    <a:lnTo>
                      <a:pt x="411" y="183"/>
                    </a:lnTo>
                    <a:lnTo>
                      <a:pt x="411" y="182"/>
                    </a:lnTo>
                    <a:lnTo>
                      <a:pt x="411" y="181"/>
                    </a:lnTo>
                    <a:lnTo>
                      <a:pt x="410" y="181"/>
                    </a:lnTo>
                    <a:lnTo>
                      <a:pt x="409" y="180"/>
                    </a:lnTo>
                    <a:lnTo>
                      <a:pt x="410" y="179"/>
                    </a:lnTo>
                    <a:lnTo>
                      <a:pt x="410" y="179"/>
                    </a:lnTo>
                    <a:lnTo>
                      <a:pt x="409" y="178"/>
                    </a:lnTo>
                    <a:lnTo>
                      <a:pt x="409" y="177"/>
                    </a:lnTo>
                    <a:lnTo>
                      <a:pt x="407" y="175"/>
                    </a:lnTo>
                    <a:lnTo>
                      <a:pt x="406" y="174"/>
                    </a:lnTo>
                    <a:lnTo>
                      <a:pt x="405" y="172"/>
                    </a:lnTo>
                    <a:lnTo>
                      <a:pt x="403" y="172"/>
                    </a:lnTo>
                    <a:lnTo>
                      <a:pt x="403" y="172"/>
                    </a:lnTo>
                    <a:lnTo>
                      <a:pt x="403" y="171"/>
                    </a:lnTo>
                    <a:lnTo>
                      <a:pt x="402" y="171"/>
                    </a:lnTo>
                    <a:lnTo>
                      <a:pt x="400" y="169"/>
                    </a:lnTo>
                    <a:lnTo>
                      <a:pt x="400" y="168"/>
                    </a:lnTo>
                    <a:lnTo>
                      <a:pt x="399" y="169"/>
                    </a:lnTo>
                    <a:lnTo>
                      <a:pt x="399" y="169"/>
                    </a:lnTo>
                    <a:lnTo>
                      <a:pt x="400" y="168"/>
                    </a:lnTo>
                    <a:lnTo>
                      <a:pt x="399" y="168"/>
                    </a:lnTo>
                    <a:lnTo>
                      <a:pt x="399" y="167"/>
                    </a:lnTo>
                    <a:lnTo>
                      <a:pt x="396" y="166"/>
                    </a:lnTo>
                    <a:lnTo>
                      <a:pt x="395" y="166"/>
                    </a:lnTo>
                    <a:lnTo>
                      <a:pt x="395" y="165"/>
                    </a:lnTo>
                    <a:lnTo>
                      <a:pt x="395" y="165"/>
                    </a:lnTo>
                    <a:lnTo>
                      <a:pt x="396" y="164"/>
                    </a:lnTo>
                    <a:lnTo>
                      <a:pt x="395" y="164"/>
                    </a:lnTo>
                    <a:lnTo>
                      <a:pt x="394" y="163"/>
                    </a:lnTo>
                    <a:lnTo>
                      <a:pt x="394" y="163"/>
                    </a:lnTo>
                    <a:lnTo>
                      <a:pt x="394" y="162"/>
                    </a:lnTo>
                    <a:lnTo>
                      <a:pt x="395" y="162"/>
                    </a:lnTo>
                    <a:lnTo>
                      <a:pt x="395" y="162"/>
                    </a:lnTo>
                    <a:lnTo>
                      <a:pt x="396" y="161"/>
                    </a:lnTo>
                    <a:lnTo>
                      <a:pt x="397" y="161"/>
                    </a:lnTo>
                    <a:lnTo>
                      <a:pt x="397" y="161"/>
                    </a:lnTo>
                    <a:lnTo>
                      <a:pt x="398" y="159"/>
                    </a:lnTo>
                    <a:lnTo>
                      <a:pt x="398" y="159"/>
                    </a:lnTo>
                    <a:lnTo>
                      <a:pt x="398" y="158"/>
                    </a:lnTo>
                    <a:lnTo>
                      <a:pt x="398" y="158"/>
                    </a:lnTo>
                    <a:lnTo>
                      <a:pt x="400" y="157"/>
                    </a:lnTo>
                    <a:lnTo>
                      <a:pt x="399" y="155"/>
                    </a:lnTo>
                    <a:lnTo>
                      <a:pt x="399" y="155"/>
                    </a:lnTo>
                    <a:lnTo>
                      <a:pt x="398" y="154"/>
                    </a:lnTo>
                    <a:lnTo>
                      <a:pt x="398" y="153"/>
                    </a:lnTo>
                    <a:lnTo>
                      <a:pt x="399" y="151"/>
                    </a:lnTo>
                    <a:lnTo>
                      <a:pt x="399" y="151"/>
                    </a:lnTo>
                    <a:lnTo>
                      <a:pt x="400" y="151"/>
                    </a:lnTo>
                    <a:lnTo>
                      <a:pt x="400" y="151"/>
                    </a:lnTo>
                    <a:lnTo>
                      <a:pt x="399" y="150"/>
                    </a:lnTo>
                    <a:lnTo>
                      <a:pt x="399" y="150"/>
                    </a:lnTo>
                    <a:lnTo>
                      <a:pt x="401" y="150"/>
                    </a:lnTo>
                    <a:lnTo>
                      <a:pt x="401" y="146"/>
                    </a:lnTo>
                    <a:lnTo>
                      <a:pt x="401" y="146"/>
                    </a:lnTo>
                    <a:lnTo>
                      <a:pt x="402" y="146"/>
                    </a:lnTo>
                    <a:lnTo>
                      <a:pt x="403" y="146"/>
                    </a:lnTo>
                    <a:lnTo>
                      <a:pt x="403" y="147"/>
                    </a:lnTo>
                    <a:lnTo>
                      <a:pt x="404" y="146"/>
                    </a:lnTo>
                    <a:lnTo>
                      <a:pt x="404" y="147"/>
                    </a:lnTo>
                    <a:lnTo>
                      <a:pt x="405" y="147"/>
                    </a:lnTo>
                    <a:lnTo>
                      <a:pt x="405" y="148"/>
                    </a:lnTo>
                    <a:lnTo>
                      <a:pt x="406" y="148"/>
                    </a:lnTo>
                    <a:lnTo>
                      <a:pt x="406" y="148"/>
                    </a:lnTo>
                    <a:lnTo>
                      <a:pt x="407" y="148"/>
                    </a:lnTo>
                    <a:lnTo>
                      <a:pt x="408" y="148"/>
                    </a:lnTo>
                    <a:lnTo>
                      <a:pt x="408" y="148"/>
                    </a:lnTo>
                    <a:lnTo>
                      <a:pt x="408" y="148"/>
                    </a:lnTo>
                    <a:lnTo>
                      <a:pt x="408" y="149"/>
                    </a:lnTo>
                    <a:lnTo>
                      <a:pt x="409" y="149"/>
                    </a:lnTo>
                    <a:lnTo>
                      <a:pt x="409" y="148"/>
                    </a:lnTo>
                    <a:lnTo>
                      <a:pt x="410" y="148"/>
                    </a:lnTo>
                    <a:lnTo>
                      <a:pt x="411" y="148"/>
                    </a:lnTo>
                    <a:lnTo>
                      <a:pt x="412" y="147"/>
                    </a:lnTo>
                    <a:lnTo>
                      <a:pt x="412" y="147"/>
                    </a:lnTo>
                    <a:lnTo>
                      <a:pt x="413" y="145"/>
                    </a:lnTo>
                    <a:lnTo>
                      <a:pt x="413" y="144"/>
                    </a:lnTo>
                    <a:lnTo>
                      <a:pt x="413" y="143"/>
                    </a:lnTo>
                    <a:lnTo>
                      <a:pt x="413" y="141"/>
                    </a:lnTo>
                    <a:lnTo>
                      <a:pt x="415" y="140"/>
                    </a:lnTo>
                    <a:lnTo>
                      <a:pt x="415" y="137"/>
                    </a:lnTo>
                    <a:lnTo>
                      <a:pt x="415" y="136"/>
                    </a:lnTo>
                    <a:lnTo>
                      <a:pt x="415" y="136"/>
                    </a:lnTo>
                    <a:lnTo>
                      <a:pt x="416" y="135"/>
                    </a:lnTo>
                    <a:lnTo>
                      <a:pt x="416" y="133"/>
                    </a:lnTo>
                    <a:lnTo>
                      <a:pt x="417" y="132"/>
                    </a:lnTo>
                    <a:lnTo>
                      <a:pt x="417" y="131"/>
                    </a:lnTo>
                    <a:lnTo>
                      <a:pt x="416" y="130"/>
                    </a:lnTo>
                    <a:lnTo>
                      <a:pt x="416" y="129"/>
                    </a:lnTo>
                    <a:lnTo>
                      <a:pt x="416" y="129"/>
                    </a:lnTo>
                    <a:lnTo>
                      <a:pt x="416" y="128"/>
                    </a:lnTo>
                    <a:lnTo>
                      <a:pt x="416" y="127"/>
                    </a:lnTo>
                    <a:lnTo>
                      <a:pt x="417" y="127"/>
                    </a:lnTo>
                    <a:lnTo>
                      <a:pt x="417" y="126"/>
                    </a:lnTo>
                    <a:lnTo>
                      <a:pt x="417" y="126"/>
                    </a:lnTo>
                    <a:lnTo>
                      <a:pt x="417" y="125"/>
                    </a:lnTo>
                    <a:lnTo>
                      <a:pt x="417" y="125"/>
                    </a:lnTo>
                    <a:lnTo>
                      <a:pt x="416" y="124"/>
                    </a:lnTo>
                    <a:lnTo>
                      <a:pt x="417" y="124"/>
                    </a:lnTo>
                    <a:lnTo>
                      <a:pt x="417" y="123"/>
                    </a:lnTo>
                    <a:lnTo>
                      <a:pt x="417" y="123"/>
                    </a:lnTo>
                    <a:lnTo>
                      <a:pt x="417" y="122"/>
                    </a:lnTo>
                    <a:lnTo>
                      <a:pt x="417" y="121"/>
                    </a:lnTo>
                    <a:lnTo>
                      <a:pt x="417" y="121"/>
                    </a:lnTo>
                    <a:lnTo>
                      <a:pt x="416" y="119"/>
                    </a:lnTo>
                    <a:lnTo>
                      <a:pt x="416" y="119"/>
                    </a:lnTo>
                    <a:lnTo>
                      <a:pt x="416" y="118"/>
                    </a:lnTo>
                    <a:lnTo>
                      <a:pt x="415" y="118"/>
                    </a:lnTo>
                    <a:lnTo>
                      <a:pt x="415" y="117"/>
                    </a:lnTo>
                    <a:lnTo>
                      <a:pt x="415" y="117"/>
                    </a:lnTo>
                    <a:lnTo>
                      <a:pt x="415" y="116"/>
                    </a:lnTo>
                    <a:lnTo>
                      <a:pt x="415" y="116"/>
                    </a:lnTo>
                    <a:lnTo>
                      <a:pt x="414" y="115"/>
                    </a:lnTo>
                    <a:lnTo>
                      <a:pt x="414" y="115"/>
                    </a:lnTo>
                    <a:lnTo>
                      <a:pt x="414" y="115"/>
                    </a:lnTo>
                    <a:lnTo>
                      <a:pt x="414" y="115"/>
                    </a:lnTo>
                    <a:lnTo>
                      <a:pt x="413" y="114"/>
                    </a:lnTo>
                    <a:lnTo>
                      <a:pt x="413" y="114"/>
                    </a:lnTo>
                    <a:lnTo>
                      <a:pt x="412" y="113"/>
                    </a:lnTo>
                    <a:lnTo>
                      <a:pt x="412" y="113"/>
                    </a:lnTo>
                    <a:lnTo>
                      <a:pt x="411" y="112"/>
                    </a:lnTo>
                    <a:lnTo>
                      <a:pt x="411" y="111"/>
                    </a:lnTo>
                    <a:lnTo>
                      <a:pt x="411" y="111"/>
                    </a:lnTo>
                    <a:lnTo>
                      <a:pt x="411" y="110"/>
                    </a:lnTo>
                    <a:lnTo>
                      <a:pt x="410" y="110"/>
                    </a:lnTo>
                    <a:lnTo>
                      <a:pt x="410" y="109"/>
                    </a:lnTo>
                    <a:lnTo>
                      <a:pt x="411" y="108"/>
                    </a:lnTo>
                    <a:lnTo>
                      <a:pt x="411" y="106"/>
                    </a:lnTo>
                    <a:lnTo>
                      <a:pt x="410" y="106"/>
                    </a:lnTo>
                    <a:lnTo>
                      <a:pt x="410" y="105"/>
                    </a:lnTo>
                    <a:lnTo>
                      <a:pt x="409" y="105"/>
                    </a:lnTo>
                    <a:lnTo>
                      <a:pt x="408" y="104"/>
                    </a:lnTo>
                    <a:lnTo>
                      <a:pt x="408" y="104"/>
                    </a:lnTo>
                    <a:lnTo>
                      <a:pt x="408" y="104"/>
                    </a:lnTo>
                    <a:lnTo>
                      <a:pt x="408" y="103"/>
                    </a:lnTo>
                    <a:lnTo>
                      <a:pt x="407" y="102"/>
                    </a:lnTo>
                    <a:lnTo>
                      <a:pt x="406" y="102"/>
                    </a:lnTo>
                    <a:lnTo>
                      <a:pt x="406" y="102"/>
                    </a:lnTo>
                    <a:lnTo>
                      <a:pt x="405" y="102"/>
                    </a:lnTo>
                    <a:lnTo>
                      <a:pt x="404" y="101"/>
                    </a:lnTo>
                    <a:lnTo>
                      <a:pt x="404" y="101"/>
                    </a:lnTo>
                    <a:lnTo>
                      <a:pt x="404" y="101"/>
                    </a:lnTo>
                    <a:lnTo>
                      <a:pt x="405" y="101"/>
                    </a:lnTo>
                    <a:lnTo>
                      <a:pt x="405" y="101"/>
                    </a:lnTo>
                    <a:lnTo>
                      <a:pt x="406" y="101"/>
                    </a:lnTo>
                    <a:lnTo>
                      <a:pt x="406" y="101"/>
                    </a:lnTo>
                    <a:lnTo>
                      <a:pt x="407" y="101"/>
                    </a:lnTo>
                    <a:lnTo>
                      <a:pt x="407" y="101"/>
                    </a:lnTo>
                    <a:lnTo>
                      <a:pt x="406" y="101"/>
                    </a:lnTo>
                    <a:lnTo>
                      <a:pt x="406" y="100"/>
                    </a:lnTo>
                    <a:lnTo>
                      <a:pt x="405" y="100"/>
                    </a:lnTo>
                    <a:lnTo>
                      <a:pt x="405" y="100"/>
                    </a:lnTo>
                    <a:lnTo>
                      <a:pt x="400" y="98"/>
                    </a:lnTo>
                    <a:lnTo>
                      <a:pt x="400" y="98"/>
                    </a:lnTo>
                    <a:lnTo>
                      <a:pt x="399" y="98"/>
                    </a:lnTo>
                    <a:lnTo>
                      <a:pt x="399" y="97"/>
                    </a:lnTo>
                    <a:lnTo>
                      <a:pt x="398" y="97"/>
                    </a:lnTo>
                    <a:lnTo>
                      <a:pt x="397" y="96"/>
                    </a:lnTo>
                    <a:lnTo>
                      <a:pt x="397" y="95"/>
                    </a:lnTo>
                    <a:lnTo>
                      <a:pt x="396" y="95"/>
                    </a:lnTo>
                    <a:lnTo>
                      <a:pt x="396" y="96"/>
                    </a:lnTo>
                    <a:lnTo>
                      <a:pt x="395" y="97"/>
                    </a:lnTo>
                    <a:lnTo>
                      <a:pt x="393" y="95"/>
                    </a:lnTo>
                    <a:lnTo>
                      <a:pt x="395" y="98"/>
                    </a:lnTo>
                    <a:lnTo>
                      <a:pt x="395" y="100"/>
                    </a:lnTo>
                    <a:lnTo>
                      <a:pt x="394" y="100"/>
                    </a:lnTo>
                    <a:lnTo>
                      <a:pt x="394" y="98"/>
                    </a:lnTo>
                    <a:lnTo>
                      <a:pt x="393" y="97"/>
                    </a:lnTo>
                    <a:lnTo>
                      <a:pt x="393" y="99"/>
                    </a:lnTo>
                    <a:lnTo>
                      <a:pt x="390" y="99"/>
                    </a:lnTo>
                    <a:lnTo>
                      <a:pt x="390" y="99"/>
                    </a:lnTo>
                    <a:lnTo>
                      <a:pt x="390" y="98"/>
                    </a:lnTo>
                    <a:lnTo>
                      <a:pt x="390" y="97"/>
                    </a:lnTo>
                    <a:lnTo>
                      <a:pt x="389" y="97"/>
                    </a:lnTo>
                    <a:lnTo>
                      <a:pt x="388" y="97"/>
                    </a:lnTo>
                    <a:lnTo>
                      <a:pt x="383" y="85"/>
                    </a:lnTo>
                    <a:lnTo>
                      <a:pt x="383" y="85"/>
                    </a:lnTo>
                    <a:lnTo>
                      <a:pt x="382" y="84"/>
                    </a:lnTo>
                    <a:lnTo>
                      <a:pt x="382" y="83"/>
                    </a:lnTo>
                    <a:lnTo>
                      <a:pt x="383" y="83"/>
                    </a:lnTo>
                    <a:lnTo>
                      <a:pt x="384" y="82"/>
                    </a:lnTo>
                    <a:lnTo>
                      <a:pt x="384" y="80"/>
                    </a:lnTo>
                    <a:lnTo>
                      <a:pt x="385" y="80"/>
                    </a:lnTo>
                    <a:lnTo>
                      <a:pt x="384" y="78"/>
                    </a:lnTo>
                    <a:lnTo>
                      <a:pt x="385" y="77"/>
                    </a:lnTo>
                    <a:lnTo>
                      <a:pt x="385" y="75"/>
                    </a:lnTo>
                    <a:lnTo>
                      <a:pt x="386" y="74"/>
                    </a:lnTo>
                    <a:lnTo>
                      <a:pt x="386" y="74"/>
                    </a:lnTo>
                    <a:lnTo>
                      <a:pt x="387" y="73"/>
                    </a:lnTo>
                    <a:lnTo>
                      <a:pt x="388" y="73"/>
                    </a:lnTo>
                    <a:lnTo>
                      <a:pt x="389" y="73"/>
                    </a:lnTo>
                    <a:lnTo>
                      <a:pt x="390" y="73"/>
                    </a:lnTo>
                    <a:lnTo>
                      <a:pt x="397" y="73"/>
                    </a:lnTo>
                    <a:lnTo>
                      <a:pt x="398" y="74"/>
                    </a:lnTo>
                    <a:lnTo>
                      <a:pt x="399" y="74"/>
                    </a:lnTo>
                    <a:lnTo>
                      <a:pt x="399" y="73"/>
                    </a:lnTo>
                    <a:lnTo>
                      <a:pt x="403" y="74"/>
                    </a:lnTo>
                    <a:lnTo>
                      <a:pt x="405" y="73"/>
                    </a:lnTo>
                    <a:lnTo>
                      <a:pt x="407" y="74"/>
                    </a:lnTo>
                    <a:lnTo>
                      <a:pt x="407" y="72"/>
                    </a:lnTo>
                    <a:lnTo>
                      <a:pt x="411" y="72"/>
                    </a:lnTo>
                    <a:lnTo>
                      <a:pt x="412" y="72"/>
                    </a:lnTo>
                    <a:lnTo>
                      <a:pt x="412" y="73"/>
                    </a:lnTo>
                    <a:lnTo>
                      <a:pt x="413" y="73"/>
                    </a:lnTo>
                    <a:lnTo>
                      <a:pt x="413" y="73"/>
                    </a:lnTo>
                    <a:lnTo>
                      <a:pt x="414" y="73"/>
                    </a:lnTo>
                    <a:lnTo>
                      <a:pt x="414" y="72"/>
                    </a:lnTo>
                    <a:lnTo>
                      <a:pt x="415" y="72"/>
                    </a:lnTo>
                    <a:lnTo>
                      <a:pt x="416" y="73"/>
                    </a:lnTo>
                    <a:lnTo>
                      <a:pt x="419" y="74"/>
                    </a:lnTo>
                    <a:lnTo>
                      <a:pt x="415" y="74"/>
                    </a:lnTo>
                    <a:lnTo>
                      <a:pt x="415" y="75"/>
                    </a:lnTo>
                    <a:lnTo>
                      <a:pt x="416" y="75"/>
                    </a:lnTo>
                    <a:lnTo>
                      <a:pt x="417" y="75"/>
                    </a:lnTo>
                    <a:lnTo>
                      <a:pt x="417" y="76"/>
                    </a:lnTo>
                    <a:lnTo>
                      <a:pt x="418" y="76"/>
                    </a:lnTo>
                    <a:lnTo>
                      <a:pt x="418" y="75"/>
                    </a:lnTo>
                    <a:lnTo>
                      <a:pt x="419" y="75"/>
                    </a:lnTo>
                    <a:lnTo>
                      <a:pt x="420" y="75"/>
                    </a:lnTo>
                    <a:lnTo>
                      <a:pt x="420" y="75"/>
                    </a:lnTo>
                    <a:lnTo>
                      <a:pt x="420" y="75"/>
                    </a:lnTo>
                    <a:lnTo>
                      <a:pt x="422" y="75"/>
                    </a:lnTo>
                    <a:lnTo>
                      <a:pt x="423" y="74"/>
                    </a:lnTo>
                    <a:lnTo>
                      <a:pt x="424" y="74"/>
                    </a:lnTo>
                    <a:lnTo>
                      <a:pt x="424" y="75"/>
                    </a:lnTo>
                    <a:lnTo>
                      <a:pt x="426" y="75"/>
                    </a:lnTo>
                    <a:lnTo>
                      <a:pt x="426" y="74"/>
                    </a:lnTo>
                    <a:lnTo>
                      <a:pt x="426" y="74"/>
                    </a:lnTo>
                    <a:lnTo>
                      <a:pt x="429" y="74"/>
                    </a:lnTo>
                    <a:lnTo>
                      <a:pt x="426" y="72"/>
                    </a:lnTo>
                    <a:lnTo>
                      <a:pt x="424" y="73"/>
                    </a:lnTo>
                    <a:lnTo>
                      <a:pt x="424" y="72"/>
                    </a:lnTo>
                    <a:lnTo>
                      <a:pt x="423" y="71"/>
                    </a:lnTo>
                    <a:lnTo>
                      <a:pt x="423" y="71"/>
                    </a:lnTo>
                    <a:lnTo>
                      <a:pt x="423" y="70"/>
                    </a:lnTo>
                    <a:lnTo>
                      <a:pt x="423" y="69"/>
                    </a:lnTo>
                    <a:lnTo>
                      <a:pt x="424" y="67"/>
                    </a:lnTo>
                    <a:lnTo>
                      <a:pt x="424" y="66"/>
                    </a:lnTo>
                    <a:lnTo>
                      <a:pt x="425" y="65"/>
                    </a:lnTo>
                    <a:lnTo>
                      <a:pt x="424" y="65"/>
                    </a:lnTo>
                    <a:lnTo>
                      <a:pt x="423" y="64"/>
                    </a:lnTo>
                    <a:lnTo>
                      <a:pt x="423" y="63"/>
                    </a:lnTo>
                    <a:lnTo>
                      <a:pt x="424" y="63"/>
                    </a:lnTo>
                    <a:lnTo>
                      <a:pt x="425" y="63"/>
                    </a:lnTo>
                    <a:lnTo>
                      <a:pt x="427" y="63"/>
                    </a:lnTo>
                    <a:lnTo>
                      <a:pt x="428" y="63"/>
                    </a:lnTo>
                    <a:lnTo>
                      <a:pt x="429" y="63"/>
                    </a:lnTo>
                    <a:lnTo>
                      <a:pt x="430" y="62"/>
                    </a:lnTo>
                    <a:lnTo>
                      <a:pt x="432" y="64"/>
                    </a:lnTo>
                    <a:lnTo>
                      <a:pt x="433" y="63"/>
                    </a:lnTo>
                    <a:lnTo>
                      <a:pt x="433" y="63"/>
                    </a:lnTo>
                    <a:lnTo>
                      <a:pt x="434" y="64"/>
                    </a:lnTo>
                    <a:lnTo>
                      <a:pt x="434" y="65"/>
                    </a:lnTo>
                    <a:lnTo>
                      <a:pt x="434" y="65"/>
                    </a:lnTo>
                    <a:lnTo>
                      <a:pt x="435" y="66"/>
                    </a:lnTo>
                    <a:lnTo>
                      <a:pt x="437" y="66"/>
                    </a:lnTo>
                    <a:lnTo>
                      <a:pt x="437" y="67"/>
                    </a:lnTo>
                    <a:lnTo>
                      <a:pt x="438" y="67"/>
                    </a:lnTo>
                    <a:lnTo>
                      <a:pt x="438" y="68"/>
                    </a:lnTo>
                    <a:lnTo>
                      <a:pt x="438" y="68"/>
                    </a:lnTo>
                    <a:lnTo>
                      <a:pt x="440" y="67"/>
                    </a:lnTo>
                    <a:lnTo>
                      <a:pt x="441" y="65"/>
                    </a:lnTo>
                    <a:lnTo>
                      <a:pt x="441" y="64"/>
                    </a:lnTo>
                    <a:lnTo>
                      <a:pt x="441" y="64"/>
                    </a:lnTo>
                    <a:lnTo>
                      <a:pt x="442" y="63"/>
                    </a:lnTo>
                    <a:lnTo>
                      <a:pt x="444" y="64"/>
                    </a:lnTo>
                    <a:lnTo>
                      <a:pt x="444" y="63"/>
                    </a:lnTo>
                    <a:lnTo>
                      <a:pt x="442" y="62"/>
                    </a:lnTo>
                    <a:lnTo>
                      <a:pt x="442" y="62"/>
                    </a:lnTo>
                    <a:lnTo>
                      <a:pt x="441" y="61"/>
                    </a:lnTo>
                    <a:lnTo>
                      <a:pt x="440" y="60"/>
                    </a:lnTo>
                    <a:lnTo>
                      <a:pt x="440" y="60"/>
                    </a:lnTo>
                    <a:lnTo>
                      <a:pt x="439" y="60"/>
                    </a:lnTo>
                    <a:lnTo>
                      <a:pt x="439" y="59"/>
                    </a:lnTo>
                    <a:lnTo>
                      <a:pt x="442" y="59"/>
                    </a:lnTo>
                    <a:lnTo>
                      <a:pt x="444" y="59"/>
                    </a:lnTo>
                    <a:lnTo>
                      <a:pt x="447" y="59"/>
                    </a:lnTo>
                    <a:lnTo>
                      <a:pt x="447" y="60"/>
                    </a:lnTo>
                    <a:lnTo>
                      <a:pt x="447" y="60"/>
                    </a:lnTo>
                    <a:lnTo>
                      <a:pt x="446" y="60"/>
                    </a:lnTo>
                    <a:lnTo>
                      <a:pt x="444" y="60"/>
                    </a:lnTo>
                    <a:lnTo>
                      <a:pt x="444" y="61"/>
                    </a:lnTo>
                    <a:lnTo>
                      <a:pt x="445" y="63"/>
                    </a:lnTo>
                    <a:lnTo>
                      <a:pt x="446" y="63"/>
                    </a:lnTo>
                    <a:lnTo>
                      <a:pt x="446" y="64"/>
                    </a:lnTo>
                    <a:lnTo>
                      <a:pt x="448" y="65"/>
                    </a:lnTo>
                    <a:lnTo>
                      <a:pt x="448" y="66"/>
                    </a:lnTo>
                    <a:lnTo>
                      <a:pt x="449" y="67"/>
                    </a:lnTo>
                    <a:lnTo>
                      <a:pt x="447" y="67"/>
                    </a:lnTo>
                    <a:lnTo>
                      <a:pt x="447" y="68"/>
                    </a:lnTo>
                    <a:lnTo>
                      <a:pt x="446" y="68"/>
                    </a:lnTo>
                    <a:lnTo>
                      <a:pt x="446" y="69"/>
                    </a:lnTo>
                    <a:lnTo>
                      <a:pt x="446" y="69"/>
                    </a:lnTo>
                    <a:lnTo>
                      <a:pt x="446" y="70"/>
                    </a:lnTo>
                    <a:lnTo>
                      <a:pt x="446" y="71"/>
                    </a:lnTo>
                    <a:lnTo>
                      <a:pt x="446" y="72"/>
                    </a:lnTo>
                    <a:lnTo>
                      <a:pt x="445" y="73"/>
                    </a:lnTo>
                    <a:lnTo>
                      <a:pt x="445" y="74"/>
                    </a:lnTo>
                    <a:lnTo>
                      <a:pt x="445" y="75"/>
                    </a:lnTo>
                    <a:lnTo>
                      <a:pt x="445" y="75"/>
                    </a:lnTo>
                    <a:lnTo>
                      <a:pt x="445" y="76"/>
                    </a:lnTo>
                    <a:lnTo>
                      <a:pt x="446" y="76"/>
                    </a:lnTo>
                    <a:lnTo>
                      <a:pt x="445" y="77"/>
                    </a:lnTo>
                    <a:lnTo>
                      <a:pt x="445" y="77"/>
                    </a:lnTo>
                    <a:lnTo>
                      <a:pt x="444" y="79"/>
                    </a:lnTo>
                    <a:lnTo>
                      <a:pt x="443" y="79"/>
                    </a:lnTo>
                    <a:lnTo>
                      <a:pt x="443" y="79"/>
                    </a:lnTo>
                    <a:lnTo>
                      <a:pt x="442" y="79"/>
                    </a:lnTo>
                    <a:lnTo>
                      <a:pt x="442" y="80"/>
                    </a:lnTo>
                    <a:lnTo>
                      <a:pt x="442" y="80"/>
                    </a:lnTo>
                    <a:lnTo>
                      <a:pt x="442" y="81"/>
                    </a:lnTo>
                    <a:lnTo>
                      <a:pt x="443" y="81"/>
                    </a:lnTo>
                    <a:lnTo>
                      <a:pt x="443" y="83"/>
                    </a:lnTo>
                    <a:lnTo>
                      <a:pt x="443" y="84"/>
                    </a:lnTo>
                    <a:lnTo>
                      <a:pt x="443" y="85"/>
                    </a:lnTo>
                    <a:lnTo>
                      <a:pt x="443" y="85"/>
                    </a:lnTo>
                    <a:lnTo>
                      <a:pt x="443" y="86"/>
                    </a:lnTo>
                    <a:lnTo>
                      <a:pt x="443" y="87"/>
                    </a:lnTo>
                    <a:lnTo>
                      <a:pt x="444" y="88"/>
                    </a:lnTo>
                    <a:lnTo>
                      <a:pt x="445" y="90"/>
                    </a:lnTo>
                    <a:lnTo>
                      <a:pt x="447" y="91"/>
                    </a:lnTo>
                    <a:lnTo>
                      <a:pt x="448" y="92"/>
                    </a:lnTo>
                    <a:lnTo>
                      <a:pt x="449" y="93"/>
                    </a:lnTo>
                    <a:lnTo>
                      <a:pt x="453" y="97"/>
                    </a:lnTo>
                    <a:lnTo>
                      <a:pt x="453" y="97"/>
                    </a:lnTo>
                    <a:lnTo>
                      <a:pt x="458" y="102"/>
                    </a:lnTo>
                    <a:lnTo>
                      <a:pt x="461" y="103"/>
                    </a:lnTo>
                    <a:lnTo>
                      <a:pt x="463" y="104"/>
                    </a:lnTo>
                    <a:lnTo>
                      <a:pt x="463" y="105"/>
                    </a:lnTo>
                    <a:lnTo>
                      <a:pt x="464" y="105"/>
                    </a:lnTo>
                    <a:lnTo>
                      <a:pt x="464" y="106"/>
                    </a:lnTo>
                    <a:lnTo>
                      <a:pt x="467" y="109"/>
                    </a:lnTo>
                    <a:lnTo>
                      <a:pt x="468" y="109"/>
                    </a:lnTo>
                    <a:lnTo>
                      <a:pt x="468" y="111"/>
                    </a:lnTo>
                    <a:lnTo>
                      <a:pt x="469" y="111"/>
                    </a:lnTo>
                    <a:lnTo>
                      <a:pt x="469" y="110"/>
                    </a:lnTo>
                    <a:lnTo>
                      <a:pt x="470" y="110"/>
                    </a:lnTo>
                    <a:lnTo>
                      <a:pt x="470" y="109"/>
                    </a:lnTo>
                    <a:lnTo>
                      <a:pt x="470" y="109"/>
                    </a:lnTo>
                    <a:lnTo>
                      <a:pt x="469" y="108"/>
                    </a:lnTo>
                    <a:lnTo>
                      <a:pt x="470" y="108"/>
                    </a:lnTo>
                    <a:lnTo>
                      <a:pt x="470" y="107"/>
                    </a:lnTo>
                    <a:lnTo>
                      <a:pt x="470" y="106"/>
                    </a:lnTo>
                    <a:lnTo>
                      <a:pt x="470" y="105"/>
                    </a:lnTo>
                    <a:lnTo>
                      <a:pt x="469" y="104"/>
                    </a:lnTo>
                    <a:lnTo>
                      <a:pt x="469" y="104"/>
                    </a:lnTo>
                    <a:lnTo>
                      <a:pt x="468" y="103"/>
                    </a:lnTo>
                    <a:lnTo>
                      <a:pt x="468" y="102"/>
                    </a:lnTo>
                    <a:lnTo>
                      <a:pt x="468" y="101"/>
                    </a:lnTo>
                    <a:lnTo>
                      <a:pt x="469" y="100"/>
                    </a:lnTo>
                    <a:lnTo>
                      <a:pt x="470" y="100"/>
                    </a:lnTo>
                    <a:lnTo>
                      <a:pt x="471" y="101"/>
                    </a:lnTo>
                    <a:lnTo>
                      <a:pt x="471" y="101"/>
                    </a:lnTo>
                    <a:lnTo>
                      <a:pt x="471" y="101"/>
                    </a:lnTo>
                    <a:lnTo>
                      <a:pt x="472" y="101"/>
                    </a:lnTo>
                    <a:lnTo>
                      <a:pt x="471" y="101"/>
                    </a:lnTo>
                    <a:lnTo>
                      <a:pt x="471" y="100"/>
                    </a:lnTo>
                    <a:lnTo>
                      <a:pt x="470" y="100"/>
                    </a:lnTo>
                    <a:lnTo>
                      <a:pt x="470" y="99"/>
                    </a:lnTo>
                    <a:lnTo>
                      <a:pt x="469" y="98"/>
                    </a:lnTo>
                    <a:lnTo>
                      <a:pt x="468" y="98"/>
                    </a:lnTo>
                    <a:lnTo>
                      <a:pt x="468" y="98"/>
                    </a:lnTo>
                    <a:lnTo>
                      <a:pt x="468" y="97"/>
                    </a:lnTo>
                    <a:lnTo>
                      <a:pt x="468" y="96"/>
                    </a:lnTo>
                    <a:lnTo>
                      <a:pt x="468" y="95"/>
                    </a:lnTo>
                    <a:lnTo>
                      <a:pt x="468" y="95"/>
                    </a:lnTo>
                    <a:lnTo>
                      <a:pt x="469" y="94"/>
                    </a:lnTo>
                    <a:lnTo>
                      <a:pt x="469" y="94"/>
                    </a:lnTo>
                    <a:lnTo>
                      <a:pt x="470" y="94"/>
                    </a:lnTo>
                    <a:lnTo>
                      <a:pt x="471" y="94"/>
                    </a:lnTo>
                    <a:lnTo>
                      <a:pt x="472" y="94"/>
                    </a:lnTo>
                    <a:lnTo>
                      <a:pt x="472" y="93"/>
                    </a:lnTo>
                    <a:lnTo>
                      <a:pt x="471" y="92"/>
                    </a:lnTo>
                    <a:lnTo>
                      <a:pt x="470" y="92"/>
                    </a:lnTo>
                    <a:lnTo>
                      <a:pt x="469" y="91"/>
                    </a:lnTo>
                    <a:lnTo>
                      <a:pt x="468" y="91"/>
                    </a:lnTo>
                    <a:lnTo>
                      <a:pt x="467" y="90"/>
                    </a:lnTo>
                    <a:lnTo>
                      <a:pt x="467" y="89"/>
                    </a:lnTo>
                    <a:lnTo>
                      <a:pt x="466" y="88"/>
                    </a:lnTo>
                    <a:lnTo>
                      <a:pt x="466" y="87"/>
                    </a:lnTo>
                    <a:lnTo>
                      <a:pt x="466" y="87"/>
                    </a:lnTo>
                    <a:lnTo>
                      <a:pt x="466" y="86"/>
                    </a:lnTo>
                    <a:lnTo>
                      <a:pt x="467" y="86"/>
                    </a:lnTo>
                    <a:lnTo>
                      <a:pt x="468" y="87"/>
                    </a:lnTo>
                    <a:lnTo>
                      <a:pt x="469" y="88"/>
                    </a:lnTo>
                    <a:lnTo>
                      <a:pt x="469" y="88"/>
                    </a:lnTo>
                    <a:lnTo>
                      <a:pt x="469" y="87"/>
                    </a:lnTo>
                    <a:lnTo>
                      <a:pt x="469" y="87"/>
                    </a:lnTo>
                    <a:lnTo>
                      <a:pt x="469" y="86"/>
                    </a:lnTo>
                    <a:lnTo>
                      <a:pt x="468" y="86"/>
                    </a:lnTo>
                    <a:lnTo>
                      <a:pt x="468" y="85"/>
                    </a:lnTo>
                    <a:lnTo>
                      <a:pt x="468" y="85"/>
                    </a:lnTo>
                    <a:lnTo>
                      <a:pt x="466" y="85"/>
                    </a:lnTo>
                    <a:lnTo>
                      <a:pt x="463" y="82"/>
                    </a:lnTo>
                    <a:lnTo>
                      <a:pt x="463" y="80"/>
                    </a:lnTo>
                    <a:lnTo>
                      <a:pt x="463" y="80"/>
                    </a:lnTo>
                    <a:lnTo>
                      <a:pt x="462" y="80"/>
                    </a:lnTo>
                    <a:lnTo>
                      <a:pt x="461" y="79"/>
                    </a:lnTo>
                    <a:lnTo>
                      <a:pt x="460" y="79"/>
                    </a:lnTo>
                    <a:lnTo>
                      <a:pt x="459" y="79"/>
                    </a:lnTo>
                    <a:lnTo>
                      <a:pt x="459" y="80"/>
                    </a:lnTo>
                    <a:lnTo>
                      <a:pt x="459" y="80"/>
                    </a:lnTo>
                    <a:lnTo>
                      <a:pt x="459" y="80"/>
                    </a:lnTo>
                    <a:lnTo>
                      <a:pt x="458" y="80"/>
                    </a:lnTo>
                    <a:lnTo>
                      <a:pt x="457" y="79"/>
                    </a:lnTo>
                    <a:lnTo>
                      <a:pt x="456" y="79"/>
                    </a:lnTo>
                    <a:lnTo>
                      <a:pt x="456" y="78"/>
                    </a:lnTo>
                    <a:lnTo>
                      <a:pt x="455" y="78"/>
                    </a:lnTo>
                    <a:lnTo>
                      <a:pt x="455" y="77"/>
                    </a:lnTo>
                    <a:lnTo>
                      <a:pt x="456" y="76"/>
                    </a:lnTo>
                    <a:lnTo>
                      <a:pt x="456" y="75"/>
                    </a:lnTo>
                    <a:lnTo>
                      <a:pt x="455" y="74"/>
                    </a:lnTo>
                    <a:lnTo>
                      <a:pt x="454" y="72"/>
                    </a:lnTo>
                    <a:lnTo>
                      <a:pt x="453" y="72"/>
                    </a:lnTo>
                    <a:lnTo>
                      <a:pt x="453" y="71"/>
                    </a:lnTo>
                    <a:lnTo>
                      <a:pt x="454" y="71"/>
                    </a:lnTo>
                    <a:lnTo>
                      <a:pt x="454" y="71"/>
                    </a:lnTo>
                    <a:lnTo>
                      <a:pt x="455" y="71"/>
                    </a:lnTo>
                    <a:lnTo>
                      <a:pt x="456" y="70"/>
                    </a:lnTo>
                    <a:lnTo>
                      <a:pt x="458" y="72"/>
                    </a:lnTo>
                    <a:lnTo>
                      <a:pt x="458" y="71"/>
                    </a:lnTo>
                    <a:lnTo>
                      <a:pt x="458" y="71"/>
                    </a:lnTo>
                    <a:lnTo>
                      <a:pt x="458" y="70"/>
                    </a:lnTo>
                    <a:lnTo>
                      <a:pt x="458" y="70"/>
                    </a:lnTo>
                    <a:lnTo>
                      <a:pt x="458" y="69"/>
                    </a:lnTo>
                    <a:lnTo>
                      <a:pt x="458" y="69"/>
                    </a:lnTo>
                    <a:lnTo>
                      <a:pt x="459" y="68"/>
                    </a:lnTo>
                    <a:lnTo>
                      <a:pt x="459" y="68"/>
                    </a:lnTo>
                    <a:lnTo>
                      <a:pt x="460" y="69"/>
                    </a:lnTo>
                    <a:lnTo>
                      <a:pt x="461" y="70"/>
                    </a:lnTo>
                    <a:lnTo>
                      <a:pt x="461" y="71"/>
                    </a:lnTo>
                    <a:lnTo>
                      <a:pt x="462" y="71"/>
                    </a:lnTo>
                    <a:lnTo>
                      <a:pt x="463" y="72"/>
                    </a:lnTo>
                    <a:lnTo>
                      <a:pt x="463" y="69"/>
                    </a:lnTo>
                    <a:lnTo>
                      <a:pt x="464" y="69"/>
                    </a:lnTo>
                    <a:lnTo>
                      <a:pt x="466" y="69"/>
                    </a:lnTo>
                    <a:lnTo>
                      <a:pt x="468" y="68"/>
                    </a:lnTo>
                    <a:lnTo>
                      <a:pt x="469" y="68"/>
                    </a:lnTo>
                    <a:lnTo>
                      <a:pt x="472" y="70"/>
                    </a:lnTo>
                    <a:lnTo>
                      <a:pt x="472" y="70"/>
                    </a:lnTo>
                    <a:lnTo>
                      <a:pt x="473" y="70"/>
                    </a:lnTo>
                    <a:lnTo>
                      <a:pt x="476" y="71"/>
                    </a:lnTo>
                    <a:lnTo>
                      <a:pt x="474" y="67"/>
                    </a:lnTo>
                    <a:lnTo>
                      <a:pt x="475" y="67"/>
                    </a:lnTo>
                    <a:lnTo>
                      <a:pt x="476" y="67"/>
                    </a:lnTo>
                    <a:lnTo>
                      <a:pt x="477" y="66"/>
                    </a:lnTo>
                    <a:lnTo>
                      <a:pt x="477" y="65"/>
                    </a:lnTo>
                    <a:lnTo>
                      <a:pt x="476" y="65"/>
                    </a:lnTo>
                    <a:lnTo>
                      <a:pt x="476" y="64"/>
                    </a:lnTo>
                    <a:lnTo>
                      <a:pt x="477" y="64"/>
                    </a:lnTo>
                    <a:lnTo>
                      <a:pt x="477" y="63"/>
                    </a:lnTo>
                    <a:lnTo>
                      <a:pt x="478" y="63"/>
                    </a:lnTo>
                    <a:lnTo>
                      <a:pt x="479" y="63"/>
                    </a:lnTo>
                    <a:lnTo>
                      <a:pt x="480" y="63"/>
                    </a:lnTo>
                    <a:lnTo>
                      <a:pt x="481" y="63"/>
                    </a:lnTo>
                    <a:lnTo>
                      <a:pt x="481" y="62"/>
                    </a:lnTo>
                    <a:lnTo>
                      <a:pt x="482" y="62"/>
                    </a:lnTo>
                    <a:lnTo>
                      <a:pt x="482" y="61"/>
                    </a:lnTo>
                    <a:lnTo>
                      <a:pt x="483" y="60"/>
                    </a:lnTo>
                    <a:lnTo>
                      <a:pt x="483" y="60"/>
                    </a:lnTo>
                    <a:lnTo>
                      <a:pt x="483" y="60"/>
                    </a:lnTo>
                    <a:lnTo>
                      <a:pt x="482" y="58"/>
                    </a:lnTo>
                    <a:lnTo>
                      <a:pt x="484" y="58"/>
                    </a:lnTo>
                    <a:lnTo>
                      <a:pt x="484" y="59"/>
                    </a:lnTo>
                    <a:lnTo>
                      <a:pt x="488" y="60"/>
                    </a:lnTo>
                    <a:lnTo>
                      <a:pt x="489" y="60"/>
                    </a:lnTo>
                    <a:lnTo>
                      <a:pt x="490" y="60"/>
                    </a:lnTo>
                    <a:lnTo>
                      <a:pt x="492" y="60"/>
                    </a:lnTo>
                    <a:lnTo>
                      <a:pt x="492" y="59"/>
                    </a:lnTo>
                    <a:lnTo>
                      <a:pt x="491" y="58"/>
                    </a:lnTo>
                    <a:lnTo>
                      <a:pt x="489" y="58"/>
                    </a:lnTo>
                    <a:lnTo>
                      <a:pt x="489" y="57"/>
                    </a:lnTo>
                    <a:lnTo>
                      <a:pt x="488" y="57"/>
                    </a:lnTo>
                    <a:lnTo>
                      <a:pt x="488" y="57"/>
                    </a:lnTo>
                    <a:lnTo>
                      <a:pt x="487" y="57"/>
                    </a:lnTo>
                    <a:lnTo>
                      <a:pt x="486" y="56"/>
                    </a:lnTo>
                    <a:lnTo>
                      <a:pt x="485" y="56"/>
                    </a:lnTo>
                    <a:lnTo>
                      <a:pt x="484" y="56"/>
                    </a:lnTo>
                    <a:lnTo>
                      <a:pt x="483" y="56"/>
                    </a:lnTo>
                    <a:lnTo>
                      <a:pt x="483" y="55"/>
                    </a:lnTo>
                    <a:lnTo>
                      <a:pt x="479" y="52"/>
                    </a:lnTo>
                    <a:lnTo>
                      <a:pt x="478" y="53"/>
                    </a:lnTo>
                    <a:lnTo>
                      <a:pt x="478" y="53"/>
                    </a:lnTo>
                    <a:lnTo>
                      <a:pt x="477" y="52"/>
                    </a:lnTo>
                    <a:lnTo>
                      <a:pt x="477" y="52"/>
                    </a:lnTo>
                    <a:lnTo>
                      <a:pt x="476" y="52"/>
                    </a:lnTo>
                    <a:lnTo>
                      <a:pt x="476" y="52"/>
                    </a:lnTo>
                    <a:lnTo>
                      <a:pt x="475" y="52"/>
                    </a:lnTo>
                    <a:lnTo>
                      <a:pt x="474" y="51"/>
                    </a:lnTo>
                    <a:lnTo>
                      <a:pt x="474" y="51"/>
                    </a:lnTo>
                    <a:lnTo>
                      <a:pt x="471" y="51"/>
                    </a:lnTo>
                    <a:lnTo>
                      <a:pt x="470" y="51"/>
                    </a:lnTo>
                    <a:lnTo>
                      <a:pt x="469" y="51"/>
                    </a:lnTo>
                    <a:lnTo>
                      <a:pt x="468" y="49"/>
                    </a:lnTo>
                    <a:lnTo>
                      <a:pt x="468" y="49"/>
                    </a:lnTo>
                    <a:lnTo>
                      <a:pt x="468" y="49"/>
                    </a:lnTo>
                    <a:lnTo>
                      <a:pt x="470" y="49"/>
                    </a:lnTo>
                    <a:lnTo>
                      <a:pt x="471" y="50"/>
                    </a:lnTo>
                    <a:lnTo>
                      <a:pt x="472" y="50"/>
                    </a:lnTo>
                    <a:lnTo>
                      <a:pt x="473" y="50"/>
                    </a:lnTo>
                    <a:lnTo>
                      <a:pt x="475" y="50"/>
                    </a:lnTo>
                    <a:lnTo>
                      <a:pt x="475" y="51"/>
                    </a:lnTo>
                    <a:lnTo>
                      <a:pt x="476" y="51"/>
                    </a:lnTo>
                    <a:lnTo>
                      <a:pt x="477" y="50"/>
                    </a:lnTo>
                    <a:lnTo>
                      <a:pt x="477" y="50"/>
                    </a:lnTo>
                    <a:lnTo>
                      <a:pt x="478" y="50"/>
                    </a:lnTo>
                    <a:lnTo>
                      <a:pt x="480" y="49"/>
                    </a:lnTo>
                    <a:lnTo>
                      <a:pt x="480" y="48"/>
                    </a:lnTo>
                    <a:lnTo>
                      <a:pt x="480" y="48"/>
                    </a:lnTo>
                    <a:lnTo>
                      <a:pt x="479" y="47"/>
                    </a:lnTo>
                    <a:lnTo>
                      <a:pt x="479" y="47"/>
                    </a:lnTo>
                    <a:lnTo>
                      <a:pt x="478" y="47"/>
                    </a:lnTo>
                    <a:lnTo>
                      <a:pt x="478" y="46"/>
                    </a:lnTo>
                    <a:lnTo>
                      <a:pt x="477" y="46"/>
                    </a:lnTo>
                    <a:lnTo>
                      <a:pt x="477" y="46"/>
                    </a:lnTo>
                    <a:lnTo>
                      <a:pt x="475" y="45"/>
                    </a:lnTo>
                    <a:lnTo>
                      <a:pt x="474" y="44"/>
                    </a:lnTo>
                    <a:lnTo>
                      <a:pt x="475" y="44"/>
                    </a:lnTo>
                    <a:lnTo>
                      <a:pt x="476" y="44"/>
                    </a:lnTo>
                    <a:lnTo>
                      <a:pt x="477" y="44"/>
                    </a:lnTo>
                    <a:lnTo>
                      <a:pt x="477" y="45"/>
                    </a:lnTo>
                    <a:lnTo>
                      <a:pt x="478" y="45"/>
                    </a:lnTo>
                    <a:lnTo>
                      <a:pt x="478" y="45"/>
                    </a:lnTo>
                    <a:lnTo>
                      <a:pt x="479" y="45"/>
                    </a:lnTo>
                    <a:lnTo>
                      <a:pt x="480" y="46"/>
                    </a:lnTo>
                    <a:lnTo>
                      <a:pt x="481" y="47"/>
                    </a:lnTo>
                    <a:lnTo>
                      <a:pt x="482" y="47"/>
                    </a:lnTo>
                    <a:lnTo>
                      <a:pt x="483" y="47"/>
                    </a:lnTo>
                    <a:lnTo>
                      <a:pt x="484" y="47"/>
                    </a:lnTo>
                    <a:lnTo>
                      <a:pt x="484" y="47"/>
                    </a:lnTo>
                    <a:lnTo>
                      <a:pt x="484" y="47"/>
                    </a:lnTo>
                    <a:lnTo>
                      <a:pt x="487" y="47"/>
                    </a:lnTo>
                    <a:lnTo>
                      <a:pt x="488" y="47"/>
                    </a:lnTo>
                    <a:lnTo>
                      <a:pt x="492" y="48"/>
                    </a:lnTo>
                    <a:lnTo>
                      <a:pt x="494" y="49"/>
                    </a:lnTo>
                    <a:lnTo>
                      <a:pt x="496" y="49"/>
                    </a:lnTo>
                    <a:lnTo>
                      <a:pt x="496" y="50"/>
                    </a:lnTo>
                    <a:lnTo>
                      <a:pt x="497" y="50"/>
                    </a:lnTo>
                    <a:lnTo>
                      <a:pt x="499" y="51"/>
                    </a:lnTo>
                    <a:lnTo>
                      <a:pt x="500" y="51"/>
                    </a:lnTo>
                    <a:lnTo>
                      <a:pt x="500" y="51"/>
                    </a:lnTo>
                    <a:lnTo>
                      <a:pt x="500" y="51"/>
                    </a:lnTo>
                    <a:lnTo>
                      <a:pt x="501" y="51"/>
                    </a:lnTo>
                    <a:lnTo>
                      <a:pt x="501" y="52"/>
                    </a:lnTo>
                    <a:lnTo>
                      <a:pt x="502" y="52"/>
                    </a:lnTo>
                    <a:lnTo>
                      <a:pt x="503" y="52"/>
                    </a:lnTo>
                    <a:lnTo>
                      <a:pt x="504" y="52"/>
                    </a:lnTo>
                    <a:lnTo>
                      <a:pt x="504" y="53"/>
                    </a:lnTo>
                    <a:lnTo>
                      <a:pt x="505" y="53"/>
                    </a:lnTo>
                    <a:lnTo>
                      <a:pt x="505" y="52"/>
                    </a:lnTo>
                    <a:lnTo>
                      <a:pt x="505" y="51"/>
                    </a:lnTo>
                    <a:lnTo>
                      <a:pt x="503" y="50"/>
                    </a:lnTo>
                    <a:lnTo>
                      <a:pt x="503" y="50"/>
                    </a:lnTo>
                    <a:lnTo>
                      <a:pt x="504" y="49"/>
                    </a:lnTo>
                    <a:lnTo>
                      <a:pt x="501" y="48"/>
                    </a:lnTo>
                    <a:lnTo>
                      <a:pt x="502" y="47"/>
                    </a:lnTo>
                    <a:lnTo>
                      <a:pt x="499" y="46"/>
                    </a:lnTo>
                    <a:lnTo>
                      <a:pt x="502" y="47"/>
                    </a:lnTo>
                    <a:lnTo>
                      <a:pt x="502" y="45"/>
                    </a:lnTo>
                    <a:lnTo>
                      <a:pt x="503" y="45"/>
                    </a:lnTo>
                    <a:lnTo>
                      <a:pt x="503" y="46"/>
                    </a:lnTo>
                    <a:close/>
                    <a:moveTo>
                      <a:pt x="397" y="169"/>
                    </a:moveTo>
                    <a:lnTo>
                      <a:pt x="397" y="169"/>
                    </a:lnTo>
                    <a:lnTo>
                      <a:pt x="396" y="169"/>
                    </a:lnTo>
                    <a:lnTo>
                      <a:pt x="397" y="169"/>
                    </a:lnTo>
                    <a:close/>
                    <a:moveTo>
                      <a:pt x="396" y="170"/>
                    </a:moveTo>
                    <a:lnTo>
                      <a:pt x="396" y="170"/>
                    </a:lnTo>
                    <a:lnTo>
                      <a:pt x="396" y="170"/>
                    </a:lnTo>
                    <a:lnTo>
                      <a:pt x="395" y="170"/>
                    </a:lnTo>
                    <a:lnTo>
                      <a:pt x="396" y="170"/>
                    </a:lnTo>
                    <a:close/>
                    <a:moveTo>
                      <a:pt x="395" y="170"/>
                    </a:moveTo>
                    <a:lnTo>
                      <a:pt x="395" y="170"/>
                    </a:lnTo>
                    <a:lnTo>
                      <a:pt x="395" y="170"/>
                    </a:lnTo>
                    <a:lnTo>
                      <a:pt x="395" y="170"/>
                    </a:lnTo>
                    <a:lnTo>
                      <a:pt x="396" y="171"/>
                    </a:lnTo>
                    <a:lnTo>
                      <a:pt x="396" y="171"/>
                    </a:lnTo>
                    <a:lnTo>
                      <a:pt x="395" y="171"/>
                    </a:lnTo>
                    <a:lnTo>
                      <a:pt x="395" y="171"/>
                    </a:lnTo>
                    <a:lnTo>
                      <a:pt x="395" y="171"/>
                    </a:lnTo>
                    <a:lnTo>
                      <a:pt x="395" y="171"/>
                    </a:lnTo>
                    <a:lnTo>
                      <a:pt x="395" y="170"/>
                    </a:lnTo>
                    <a:lnTo>
                      <a:pt x="395" y="170"/>
                    </a:lnTo>
                    <a:close/>
                    <a:moveTo>
                      <a:pt x="281" y="242"/>
                    </a:moveTo>
                    <a:lnTo>
                      <a:pt x="281" y="243"/>
                    </a:lnTo>
                    <a:lnTo>
                      <a:pt x="281" y="243"/>
                    </a:lnTo>
                    <a:lnTo>
                      <a:pt x="281" y="242"/>
                    </a:lnTo>
                    <a:lnTo>
                      <a:pt x="281" y="242"/>
                    </a:lnTo>
                    <a:close/>
                    <a:moveTo>
                      <a:pt x="105" y="153"/>
                    </a:moveTo>
                    <a:lnTo>
                      <a:pt x="105" y="152"/>
                    </a:lnTo>
                    <a:lnTo>
                      <a:pt x="105" y="152"/>
                    </a:lnTo>
                    <a:lnTo>
                      <a:pt x="105" y="152"/>
                    </a:lnTo>
                    <a:lnTo>
                      <a:pt x="106" y="151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7" y="150"/>
                    </a:lnTo>
                    <a:lnTo>
                      <a:pt x="108" y="150"/>
                    </a:lnTo>
                    <a:lnTo>
                      <a:pt x="108" y="151"/>
                    </a:lnTo>
                    <a:lnTo>
                      <a:pt x="109" y="151"/>
                    </a:lnTo>
                    <a:lnTo>
                      <a:pt x="109" y="151"/>
                    </a:lnTo>
                    <a:lnTo>
                      <a:pt x="109" y="151"/>
                    </a:lnTo>
                    <a:lnTo>
                      <a:pt x="109" y="152"/>
                    </a:lnTo>
                    <a:lnTo>
                      <a:pt x="109" y="152"/>
                    </a:lnTo>
                    <a:lnTo>
                      <a:pt x="110" y="153"/>
                    </a:lnTo>
                    <a:lnTo>
                      <a:pt x="111" y="154"/>
                    </a:lnTo>
                    <a:lnTo>
                      <a:pt x="112" y="154"/>
                    </a:lnTo>
                    <a:lnTo>
                      <a:pt x="112" y="155"/>
                    </a:lnTo>
                    <a:lnTo>
                      <a:pt x="113" y="155"/>
                    </a:lnTo>
                    <a:lnTo>
                      <a:pt x="113" y="156"/>
                    </a:lnTo>
                    <a:lnTo>
                      <a:pt x="113" y="157"/>
                    </a:lnTo>
                    <a:lnTo>
                      <a:pt x="112" y="157"/>
                    </a:lnTo>
                    <a:lnTo>
                      <a:pt x="111" y="156"/>
                    </a:lnTo>
                    <a:lnTo>
                      <a:pt x="110" y="156"/>
                    </a:lnTo>
                    <a:lnTo>
                      <a:pt x="110" y="157"/>
                    </a:lnTo>
                    <a:lnTo>
                      <a:pt x="108" y="157"/>
                    </a:lnTo>
                    <a:lnTo>
                      <a:pt x="107" y="156"/>
                    </a:lnTo>
                    <a:lnTo>
                      <a:pt x="107" y="156"/>
                    </a:lnTo>
                    <a:lnTo>
                      <a:pt x="106" y="156"/>
                    </a:lnTo>
                    <a:lnTo>
                      <a:pt x="106" y="155"/>
                    </a:lnTo>
                    <a:lnTo>
                      <a:pt x="106" y="155"/>
                    </a:lnTo>
                    <a:lnTo>
                      <a:pt x="106" y="154"/>
                    </a:lnTo>
                    <a:lnTo>
                      <a:pt x="105" y="153"/>
                    </a:lnTo>
                    <a:close/>
                    <a:moveTo>
                      <a:pt x="113" y="151"/>
                    </a:moveTo>
                    <a:lnTo>
                      <a:pt x="113" y="152"/>
                    </a:lnTo>
                    <a:lnTo>
                      <a:pt x="113" y="152"/>
                    </a:lnTo>
                    <a:lnTo>
                      <a:pt x="113" y="151"/>
                    </a:lnTo>
                    <a:close/>
                    <a:moveTo>
                      <a:pt x="84" y="154"/>
                    </a:moveTo>
                    <a:lnTo>
                      <a:pt x="84" y="154"/>
                    </a:lnTo>
                    <a:lnTo>
                      <a:pt x="85" y="154"/>
                    </a:lnTo>
                    <a:lnTo>
                      <a:pt x="84" y="154"/>
                    </a:lnTo>
                    <a:close/>
                    <a:moveTo>
                      <a:pt x="90" y="166"/>
                    </a:moveTo>
                    <a:lnTo>
                      <a:pt x="89" y="166"/>
                    </a:lnTo>
                    <a:lnTo>
                      <a:pt x="89" y="166"/>
                    </a:lnTo>
                    <a:lnTo>
                      <a:pt x="89" y="166"/>
                    </a:lnTo>
                    <a:lnTo>
                      <a:pt x="89" y="166"/>
                    </a:lnTo>
                    <a:lnTo>
                      <a:pt x="90" y="166"/>
                    </a:lnTo>
                    <a:lnTo>
                      <a:pt x="90" y="166"/>
                    </a:lnTo>
                    <a:close/>
                    <a:moveTo>
                      <a:pt x="114" y="175"/>
                    </a:moveTo>
                    <a:lnTo>
                      <a:pt x="113" y="175"/>
                    </a:lnTo>
                    <a:lnTo>
                      <a:pt x="113" y="175"/>
                    </a:lnTo>
                    <a:lnTo>
                      <a:pt x="112" y="175"/>
                    </a:lnTo>
                    <a:lnTo>
                      <a:pt x="112" y="175"/>
                    </a:lnTo>
                    <a:lnTo>
                      <a:pt x="111" y="175"/>
                    </a:lnTo>
                    <a:lnTo>
                      <a:pt x="111" y="175"/>
                    </a:lnTo>
                    <a:lnTo>
                      <a:pt x="110" y="175"/>
                    </a:lnTo>
                    <a:lnTo>
                      <a:pt x="109" y="175"/>
                    </a:lnTo>
                    <a:lnTo>
                      <a:pt x="108" y="175"/>
                    </a:lnTo>
                    <a:lnTo>
                      <a:pt x="107" y="176"/>
                    </a:lnTo>
                    <a:lnTo>
                      <a:pt x="106" y="177"/>
                    </a:lnTo>
                    <a:lnTo>
                      <a:pt x="105" y="176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02" y="176"/>
                    </a:lnTo>
                    <a:lnTo>
                      <a:pt x="101" y="175"/>
                    </a:lnTo>
                    <a:lnTo>
                      <a:pt x="100" y="175"/>
                    </a:lnTo>
                    <a:lnTo>
                      <a:pt x="100" y="174"/>
                    </a:lnTo>
                    <a:lnTo>
                      <a:pt x="99" y="174"/>
                    </a:lnTo>
                    <a:lnTo>
                      <a:pt x="99" y="173"/>
                    </a:lnTo>
                    <a:lnTo>
                      <a:pt x="98" y="173"/>
                    </a:lnTo>
                    <a:lnTo>
                      <a:pt x="98" y="172"/>
                    </a:lnTo>
                    <a:lnTo>
                      <a:pt x="95" y="172"/>
                    </a:lnTo>
                    <a:lnTo>
                      <a:pt x="94" y="171"/>
                    </a:lnTo>
                    <a:lnTo>
                      <a:pt x="93" y="169"/>
                    </a:lnTo>
                    <a:lnTo>
                      <a:pt x="93" y="168"/>
                    </a:lnTo>
                    <a:lnTo>
                      <a:pt x="93" y="168"/>
                    </a:lnTo>
                    <a:lnTo>
                      <a:pt x="93" y="168"/>
                    </a:lnTo>
                    <a:lnTo>
                      <a:pt x="92" y="167"/>
                    </a:lnTo>
                    <a:lnTo>
                      <a:pt x="92" y="167"/>
                    </a:lnTo>
                    <a:lnTo>
                      <a:pt x="92" y="167"/>
                    </a:lnTo>
                    <a:lnTo>
                      <a:pt x="93" y="167"/>
                    </a:lnTo>
                    <a:lnTo>
                      <a:pt x="93" y="165"/>
                    </a:lnTo>
                    <a:lnTo>
                      <a:pt x="93" y="166"/>
                    </a:lnTo>
                    <a:lnTo>
                      <a:pt x="94" y="166"/>
                    </a:lnTo>
                    <a:lnTo>
                      <a:pt x="94" y="165"/>
                    </a:lnTo>
                    <a:lnTo>
                      <a:pt x="93" y="163"/>
                    </a:lnTo>
                    <a:lnTo>
                      <a:pt x="93" y="160"/>
                    </a:lnTo>
                    <a:lnTo>
                      <a:pt x="94" y="160"/>
                    </a:lnTo>
                    <a:lnTo>
                      <a:pt x="95" y="159"/>
                    </a:lnTo>
                    <a:lnTo>
                      <a:pt x="97" y="160"/>
                    </a:lnTo>
                    <a:lnTo>
                      <a:pt x="97" y="159"/>
                    </a:lnTo>
                    <a:lnTo>
                      <a:pt x="96" y="158"/>
                    </a:lnTo>
                    <a:lnTo>
                      <a:pt x="96" y="158"/>
                    </a:lnTo>
                    <a:lnTo>
                      <a:pt x="95" y="158"/>
                    </a:lnTo>
                    <a:lnTo>
                      <a:pt x="94" y="158"/>
                    </a:lnTo>
                    <a:lnTo>
                      <a:pt x="94" y="158"/>
                    </a:lnTo>
                    <a:lnTo>
                      <a:pt x="93" y="157"/>
                    </a:lnTo>
                    <a:lnTo>
                      <a:pt x="93" y="157"/>
                    </a:lnTo>
                    <a:lnTo>
                      <a:pt x="91" y="155"/>
                    </a:lnTo>
                    <a:lnTo>
                      <a:pt x="91" y="154"/>
                    </a:lnTo>
                    <a:lnTo>
                      <a:pt x="88" y="151"/>
                    </a:lnTo>
                    <a:lnTo>
                      <a:pt x="88" y="151"/>
                    </a:lnTo>
                    <a:lnTo>
                      <a:pt x="88" y="150"/>
                    </a:lnTo>
                    <a:lnTo>
                      <a:pt x="87" y="150"/>
                    </a:lnTo>
                    <a:lnTo>
                      <a:pt x="87" y="150"/>
                    </a:lnTo>
                    <a:lnTo>
                      <a:pt x="86" y="149"/>
                    </a:lnTo>
                    <a:lnTo>
                      <a:pt x="86" y="149"/>
                    </a:lnTo>
                    <a:lnTo>
                      <a:pt x="86" y="148"/>
                    </a:lnTo>
                    <a:lnTo>
                      <a:pt x="85" y="148"/>
                    </a:lnTo>
                    <a:lnTo>
                      <a:pt x="85" y="147"/>
                    </a:lnTo>
                    <a:lnTo>
                      <a:pt x="84" y="147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5"/>
                    </a:lnTo>
                    <a:lnTo>
                      <a:pt x="84" y="144"/>
                    </a:lnTo>
                    <a:lnTo>
                      <a:pt x="84" y="143"/>
                    </a:lnTo>
                    <a:lnTo>
                      <a:pt x="83" y="143"/>
                    </a:lnTo>
                    <a:lnTo>
                      <a:pt x="83" y="142"/>
                    </a:lnTo>
                    <a:lnTo>
                      <a:pt x="82" y="141"/>
                    </a:lnTo>
                    <a:lnTo>
                      <a:pt x="82" y="141"/>
                    </a:lnTo>
                    <a:lnTo>
                      <a:pt x="81" y="141"/>
                    </a:lnTo>
                    <a:lnTo>
                      <a:pt x="80" y="140"/>
                    </a:lnTo>
                    <a:lnTo>
                      <a:pt x="80" y="139"/>
                    </a:lnTo>
                    <a:lnTo>
                      <a:pt x="82" y="137"/>
                    </a:lnTo>
                    <a:lnTo>
                      <a:pt x="83" y="137"/>
                    </a:lnTo>
                    <a:lnTo>
                      <a:pt x="83" y="136"/>
                    </a:lnTo>
                    <a:lnTo>
                      <a:pt x="83" y="136"/>
                    </a:lnTo>
                    <a:lnTo>
                      <a:pt x="83" y="135"/>
                    </a:lnTo>
                    <a:lnTo>
                      <a:pt x="82" y="135"/>
                    </a:lnTo>
                    <a:lnTo>
                      <a:pt x="83" y="135"/>
                    </a:lnTo>
                    <a:lnTo>
                      <a:pt x="83" y="135"/>
                    </a:lnTo>
                    <a:lnTo>
                      <a:pt x="84" y="135"/>
                    </a:lnTo>
                    <a:lnTo>
                      <a:pt x="85" y="134"/>
                    </a:lnTo>
                    <a:lnTo>
                      <a:pt x="87" y="134"/>
                    </a:lnTo>
                    <a:lnTo>
                      <a:pt x="87" y="134"/>
                    </a:lnTo>
                    <a:lnTo>
                      <a:pt x="86" y="133"/>
                    </a:lnTo>
                    <a:lnTo>
                      <a:pt x="88" y="133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1"/>
                    </a:lnTo>
                    <a:lnTo>
                      <a:pt x="86" y="131"/>
                    </a:lnTo>
                    <a:lnTo>
                      <a:pt x="87" y="131"/>
                    </a:lnTo>
                    <a:lnTo>
                      <a:pt x="87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9" y="131"/>
                    </a:lnTo>
                    <a:lnTo>
                      <a:pt x="89" y="130"/>
                    </a:lnTo>
                    <a:lnTo>
                      <a:pt x="90" y="129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7" y="129"/>
                    </a:lnTo>
                    <a:lnTo>
                      <a:pt x="98" y="129"/>
                    </a:lnTo>
                    <a:lnTo>
                      <a:pt x="99" y="129"/>
                    </a:lnTo>
                    <a:lnTo>
                      <a:pt x="99" y="129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101" y="129"/>
                    </a:lnTo>
                    <a:lnTo>
                      <a:pt x="102" y="131"/>
                    </a:lnTo>
                    <a:lnTo>
                      <a:pt x="102" y="133"/>
                    </a:lnTo>
                    <a:lnTo>
                      <a:pt x="102" y="133"/>
                    </a:lnTo>
                    <a:lnTo>
                      <a:pt x="102" y="133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102" y="135"/>
                    </a:lnTo>
                    <a:lnTo>
                      <a:pt x="103" y="135"/>
                    </a:lnTo>
                    <a:lnTo>
                      <a:pt x="104" y="136"/>
                    </a:lnTo>
                    <a:lnTo>
                      <a:pt x="105" y="136"/>
                    </a:lnTo>
                    <a:lnTo>
                      <a:pt x="106" y="135"/>
                    </a:lnTo>
                    <a:lnTo>
                      <a:pt x="106" y="135"/>
                    </a:lnTo>
                    <a:lnTo>
                      <a:pt x="107" y="135"/>
                    </a:lnTo>
                    <a:lnTo>
                      <a:pt x="107" y="137"/>
                    </a:lnTo>
                    <a:lnTo>
                      <a:pt x="108" y="138"/>
                    </a:lnTo>
                    <a:lnTo>
                      <a:pt x="106" y="138"/>
                    </a:lnTo>
                    <a:lnTo>
                      <a:pt x="106" y="139"/>
                    </a:lnTo>
                    <a:lnTo>
                      <a:pt x="106" y="139"/>
                    </a:lnTo>
                    <a:lnTo>
                      <a:pt x="105" y="139"/>
                    </a:lnTo>
                    <a:lnTo>
                      <a:pt x="105" y="138"/>
                    </a:lnTo>
                    <a:lnTo>
                      <a:pt x="105" y="138"/>
                    </a:lnTo>
                    <a:lnTo>
                      <a:pt x="105" y="137"/>
                    </a:lnTo>
                    <a:lnTo>
                      <a:pt x="106" y="137"/>
                    </a:lnTo>
                    <a:lnTo>
                      <a:pt x="106" y="137"/>
                    </a:lnTo>
                    <a:lnTo>
                      <a:pt x="104" y="137"/>
                    </a:lnTo>
                    <a:lnTo>
                      <a:pt x="103" y="137"/>
                    </a:lnTo>
                    <a:lnTo>
                      <a:pt x="102" y="137"/>
                    </a:lnTo>
                    <a:lnTo>
                      <a:pt x="101" y="136"/>
                    </a:lnTo>
                    <a:lnTo>
                      <a:pt x="100" y="136"/>
                    </a:lnTo>
                    <a:lnTo>
                      <a:pt x="99" y="136"/>
                    </a:lnTo>
                    <a:lnTo>
                      <a:pt x="98" y="136"/>
                    </a:lnTo>
                    <a:lnTo>
                      <a:pt x="97" y="135"/>
                    </a:lnTo>
                    <a:lnTo>
                      <a:pt x="96" y="135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8"/>
                    </a:lnTo>
                    <a:lnTo>
                      <a:pt x="95" y="138"/>
                    </a:lnTo>
                    <a:lnTo>
                      <a:pt x="96" y="139"/>
                    </a:lnTo>
                    <a:lnTo>
                      <a:pt x="96" y="139"/>
                    </a:lnTo>
                    <a:lnTo>
                      <a:pt x="97" y="139"/>
                    </a:lnTo>
                    <a:lnTo>
                      <a:pt x="98" y="139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97" y="140"/>
                    </a:lnTo>
                    <a:lnTo>
                      <a:pt x="96" y="140"/>
                    </a:lnTo>
                    <a:lnTo>
                      <a:pt x="96" y="140"/>
                    </a:lnTo>
                    <a:lnTo>
                      <a:pt x="95" y="139"/>
                    </a:lnTo>
                    <a:lnTo>
                      <a:pt x="94" y="139"/>
                    </a:lnTo>
                    <a:lnTo>
                      <a:pt x="94" y="139"/>
                    </a:lnTo>
                    <a:lnTo>
                      <a:pt x="93" y="139"/>
                    </a:lnTo>
                    <a:lnTo>
                      <a:pt x="93" y="140"/>
                    </a:lnTo>
                    <a:lnTo>
                      <a:pt x="94" y="140"/>
                    </a:lnTo>
                    <a:lnTo>
                      <a:pt x="95" y="141"/>
                    </a:lnTo>
                    <a:lnTo>
                      <a:pt x="95" y="141"/>
                    </a:lnTo>
                    <a:lnTo>
                      <a:pt x="96" y="141"/>
                    </a:lnTo>
                    <a:lnTo>
                      <a:pt x="96" y="142"/>
                    </a:lnTo>
                    <a:lnTo>
                      <a:pt x="96" y="143"/>
                    </a:lnTo>
                    <a:lnTo>
                      <a:pt x="98" y="144"/>
                    </a:lnTo>
                    <a:lnTo>
                      <a:pt x="98" y="145"/>
                    </a:lnTo>
                    <a:lnTo>
                      <a:pt x="98" y="146"/>
                    </a:lnTo>
                    <a:lnTo>
                      <a:pt x="100" y="146"/>
                    </a:lnTo>
                    <a:lnTo>
                      <a:pt x="100" y="148"/>
                    </a:lnTo>
                    <a:lnTo>
                      <a:pt x="102" y="148"/>
                    </a:lnTo>
                    <a:lnTo>
                      <a:pt x="104" y="149"/>
                    </a:lnTo>
                    <a:lnTo>
                      <a:pt x="105" y="149"/>
                    </a:lnTo>
                    <a:lnTo>
                      <a:pt x="105" y="150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3" y="151"/>
                    </a:lnTo>
                    <a:lnTo>
                      <a:pt x="103" y="152"/>
                    </a:lnTo>
                    <a:lnTo>
                      <a:pt x="104" y="152"/>
                    </a:lnTo>
                    <a:lnTo>
                      <a:pt x="104" y="152"/>
                    </a:lnTo>
                    <a:lnTo>
                      <a:pt x="104" y="153"/>
                    </a:lnTo>
                    <a:lnTo>
                      <a:pt x="104" y="154"/>
                    </a:lnTo>
                    <a:lnTo>
                      <a:pt x="105" y="154"/>
                    </a:lnTo>
                    <a:lnTo>
                      <a:pt x="105" y="155"/>
                    </a:lnTo>
                    <a:lnTo>
                      <a:pt x="106" y="155"/>
                    </a:lnTo>
                    <a:lnTo>
                      <a:pt x="106" y="156"/>
                    </a:lnTo>
                    <a:lnTo>
                      <a:pt x="106" y="156"/>
                    </a:lnTo>
                    <a:lnTo>
                      <a:pt x="106" y="156"/>
                    </a:lnTo>
                    <a:lnTo>
                      <a:pt x="106" y="157"/>
                    </a:lnTo>
                    <a:lnTo>
                      <a:pt x="106" y="157"/>
                    </a:lnTo>
                    <a:lnTo>
                      <a:pt x="106" y="158"/>
                    </a:lnTo>
                    <a:lnTo>
                      <a:pt x="106" y="158"/>
                    </a:lnTo>
                    <a:lnTo>
                      <a:pt x="106" y="159"/>
                    </a:lnTo>
                    <a:lnTo>
                      <a:pt x="106" y="160"/>
                    </a:lnTo>
                    <a:lnTo>
                      <a:pt x="107" y="160"/>
                    </a:lnTo>
                    <a:lnTo>
                      <a:pt x="107" y="161"/>
                    </a:lnTo>
                    <a:lnTo>
                      <a:pt x="107" y="161"/>
                    </a:lnTo>
                    <a:lnTo>
                      <a:pt x="109" y="161"/>
                    </a:lnTo>
                    <a:lnTo>
                      <a:pt x="109" y="162"/>
                    </a:lnTo>
                    <a:lnTo>
                      <a:pt x="110" y="163"/>
                    </a:lnTo>
                    <a:lnTo>
                      <a:pt x="109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8" y="163"/>
                    </a:lnTo>
                    <a:lnTo>
                      <a:pt x="108" y="164"/>
                    </a:lnTo>
                    <a:lnTo>
                      <a:pt x="109" y="164"/>
                    </a:lnTo>
                    <a:lnTo>
                      <a:pt x="109" y="164"/>
                    </a:lnTo>
                    <a:lnTo>
                      <a:pt x="110" y="164"/>
                    </a:lnTo>
                    <a:lnTo>
                      <a:pt x="110" y="165"/>
                    </a:lnTo>
                    <a:lnTo>
                      <a:pt x="111" y="165"/>
                    </a:lnTo>
                    <a:lnTo>
                      <a:pt x="111" y="166"/>
                    </a:lnTo>
                    <a:lnTo>
                      <a:pt x="112" y="168"/>
                    </a:lnTo>
                    <a:lnTo>
                      <a:pt x="112" y="169"/>
                    </a:lnTo>
                    <a:lnTo>
                      <a:pt x="112" y="169"/>
                    </a:lnTo>
                    <a:lnTo>
                      <a:pt x="112" y="170"/>
                    </a:lnTo>
                    <a:lnTo>
                      <a:pt x="112" y="171"/>
                    </a:lnTo>
                    <a:lnTo>
                      <a:pt x="112" y="172"/>
                    </a:lnTo>
                    <a:lnTo>
                      <a:pt x="112" y="173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13" y="173"/>
                    </a:lnTo>
                    <a:lnTo>
                      <a:pt x="113" y="174"/>
                    </a:lnTo>
                    <a:lnTo>
                      <a:pt x="113" y="174"/>
                    </a:lnTo>
                    <a:lnTo>
                      <a:pt x="114" y="175"/>
                    </a:lnTo>
                    <a:lnTo>
                      <a:pt x="114" y="175"/>
                    </a:lnTo>
                    <a:close/>
                    <a:moveTo>
                      <a:pt x="114" y="153"/>
                    </a:moveTo>
                    <a:lnTo>
                      <a:pt x="113" y="152"/>
                    </a:lnTo>
                    <a:lnTo>
                      <a:pt x="113" y="152"/>
                    </a:lnTo>
                    <a:lnTo>
                      <a:pt x="114" y="153"/>
                    </a:lnTo>
                    <a:lnTo>
                      <a:pt x="114" y="153"/>
                    </a:lnTo>
                    <a:close/>
                    <a:moveTo>
                      <a:pt x="116" y="172"/>
                    </a:moveTo>
                    <a:lnTo>
                      <a:pt x="116" y="172"/>
                    </a:lnTo>
                    <a:lnTo>
                      <a:pt x="116" y="172"/>
                    </a:lnTo>
                    <a:lnTo>
                      <a:pt x="116" y="171"/>
                    </a:lnTo>
                    <a:lnTo>
                      <a:pt x="116" y="172"/>
                    </a:lnTo>
                    <a:close/>
                    <a:moveTo>
                      <a:pt x="122" y="169"/>
                    </a:moveTo>
                    <a:lnTo>
                      <a:pt x="122" y="169"/>
                    </a:lnTo>
                    <a:lnTo>
                      <a:pt x="122" y="169"/>
                    </a:lnTo>
                    <a:lnTo>
                      <a:pt x="122" y="169"/>
                    </a:lnTo>
                    <a:close/>
                    <a:moveTo>
                      <a:pt x="118" y="155"/>
                    </a:moveTo>
                    <a:lnTo>
                      <a:pt x="118" y="154"/>
                    </a:lnTo>
                    <a:lnTo>
                      <a:pt x="117" y="154"/>
                    </a:lnTo>
                    <a:lnTo>
                      <a:pt x="114" y="138"/>
                    </a:lnTo>
                    <a:lnTo>
                      <a:pt x="116" y="137"/>
                    </a:lnTo>
                    <a:lnTo>
                      <a:pt x="116" y="137"/>
                    </a:lnTo>
                    <a:lnTo>
                      <a:pt x="114" y="138"/>
                    </a:lnTo>
                    <a:lnTo>
                      <a:pt x="117" y="154"/>
                    </a:lnTo>
                    <a:lnTo>
                      <a:pt x="118" y="154"/>
                    </a:lnTo>
                    <a:lnTo>
                      <a:pt x="119" y="155"/>
                    </a:lnTo>
                    <a:lnTo>
                      <a:pt x="122" y="155"/>
                    </a:lnTo>
                    <a:lnTo>
                      <a:pt x="122" y="155"/>
                    </a:lnTo>
                    <a:lnTo>
                      <a:pt x="118" y="155"/>
                    </a:lnTo>
                    <a:close/>
                    <a:moveTo>
                      <a:pt x="184" y="235"/>
                    </a:moveTo>
                    <a:lnTo>
                      <a:pt x="184" y="235"/>
                    </a:lnTo>
                    <a:lnTo>
                      <a:pt x="184" y="235"/>
                    </a:lnTo>
                    <a:lnTo>
                      <a:pt x="184" y="235"/>
                    </a:lnTo>
                    <a:lnTo>
                      <a:pt x="184" y="235"/>
                    </a:lnTo>
                    <a:close/>
                    <a:moveTo>
                      <a:pt x="281" y="241"/>
                    </a:moveTo>
                    <a:lnTo>
                      <a:pt x="281" y="241"/>
                    </a:lnTo>
                    <a:lnTo>
                      <a:pt x="281" y="241"/>
                    </a:lnTo>
                    <a:lnTo>
                      <a:pt x="281" y="241"/>
                    </a:lnTo>
                    <a:close/>
                    <a:moveTo>
                      <a:pt x="279" y="248"/>
                    </a:moveTo>
                    <a:lnTo>
                      <a:pt x="279" y="248"/>
                    </a:lnTo>
                    <a:lnTo>
                      <a:pt x="280" y="248"/>
                    </a:lnTo>
                    <a:lnTo>
                      <a:pt x="280" y="249"/>
                    </a:lnTo>
                    <a:lnTo>
                      <a:pt x="279" y="248"/>
                    </a:lnTo>
                    <a:close/>
                    <a:moveTo>
                      <a:pt x="282" y="245"/>
                    </a:moveTo>
                    <a:lnTo>
                      <a:pt x="281" y="245"/>
                    </a:lnTo>
                    <a:lnTo>
                      <a:pt x="281" y="245"/>
                    </a:lnTo>
                    <a:lnTo>
                      <a:pt x="281" y="245"/>
                    </a:lnTo>
                    <a:lnTo>
                      <a:pt x="281" y="246"/>
                    </a:lnTo>
                    <a:lnTo>
                      <a:pt x="280" y="245"/>
                    </a:lnTo>
                    <a:lnTo>
                      <a:pt x="280" y="245"/>
                    </a:lnTo>
                    <a:lnTo>
                      <a:pt x="281" y="246"/>
                    </a:lnTo>
                    <a:lnTo>
                      <a:pt x="281" y="244"/>
                    </a:lnTo>
                    <a:lnTo>
                      <a:pt x="281" y="244"/>
                    </a:lnTo>
                    <a:lnTo>
                      <a:pt x="281" y="245"/>
                    </a:lnTo>
                    <a:lnTo>
                      <a:pt x="282" y="245"/>
                    </a:lnTo>
                    <a:lnTo>
                      <a:pt x="282" y="244"/>
                    </a:lnTo>
                    <a:lnTo>
                      <a:pt x="282" y="244"/>
                    </a:lnTo>
                    <a:lnTo>
                      <a:pt x="282" y="245"/>
                    </a:lnTo>
                    <a:close/>
                    <a:moveTo>
                      <a:pt x="303" y="262"/>
                    </a:moveTo>
                    <a:lnTo>
                      <a:pt x="301" y="262"/>
                    </a:lnTo>
                    <a:lnTo>
                      <a:pt x="301" y="262"/>
                    </a:lnTo>
                    <a:lnTo>
                      <a:pt x="303" y="262"/>
                    </a:lnTo>
                    <a:lnTo>
                      <a:pt x="303" y="262"/>
                    </a:lnTo>
                    <a:close/>
                    <a:moveTo>
                      <a:pt x="307" y="270"/>
                    </a:moveTo>
                    <a:lnTo>
                      <a:pt x="307" y="270"/>
                    </a:lnTo>
                    <a:lnTo>
                      <a:pt x="307" y="270"/>
                    </a:lnTo>
                    <a:lnTo>
                      <a:pt x="307" y="270"/>
                    </a:lnTo>
                    <a:lnTo>
                      <a:pt x="307" y="270"/>
                    </a:lnTo>
                    <a:close/>
                    <a:moveTo>
                      <a:pt x="307" y="276"/>
                    </a:moveTo>
                    <a:lnTo>
                      <a:pt x="307" y="277"/>
                    </a:lnTo>
                    <a:lnTo>
                      <a:pt x="307" y="276"/>
                    </a:lnTo>
                    <a:lnTo>
                      <a:pt x="307" y="276"/>
                    </a:lnTo>
                    <a:lnTo>
                      <a:pt x="307" y="276"/>
                    </a:lnTo>
                    <a:close/>
                    <a:moveTo>
                      <a:pt x="308" y="273"/>
                    </a:moveTo>
                    <a:lnTo>
                      <a:pt x="308" y="273"/>
                    </a:lnTo>
                    <a:lnTo>
                      <a:pt x="308" y="274"/>
                    </a:lnTo>
                    <a:lnTo>
                      <a:pt x="308" y="274"/>
                    </a:lnTo>
                    <a:lnTo>
                      <a:pt x="307" y="273"/>
                    </a:lnTo>
                    <a:lnTo>
                      <a:pt x="308" y="273"/>
                    </a:lnTo>
                    <a:lnTo>
                      <a:pt x="308" y="273"/>
                    </a:lnTo>
                    <a:lnTo>
                      <a:pt x="308" y="273"/>
                    </a:lnTo>
                    <a:close/>
                    <a:moveTo>
                      <a:pt x="311" y="298"/>
                    </a:moveTo>
                    <a:lnTo>
                      <a:pt x="310" y="299"/>
                    </a:lnTo>
                    <a:lnTo>
                      <a:pt x="310" y="299"/>
                    </a:lnTo>
                    <a:lnTo>
                      <a:pt x="312" y="298"/>
                    </a:lnTo>
                    <a:lnTo>
                      <a:pt x="312" y="296"/>
                    </a:lnTo>
                    <a:lnTo>
                      <a:pt x="311" y="298"/>
                    </a:lnTo>
                    <a:close/>
                    <a:moveTo>
                      <a:pt x="313" y="295"/>
                    </a:moveTo>
                    <a:lnTo>
                      <a:pt x="313" y="295"/>
                    </a:lnTo>
                    <a:lnTo>
                      <a:pt x="313" y="295"/>
                    </a:lnTo>
                    <a:lnTo>
                      <a:pt x="313" y="295"/>
                    </a:lnTo>
                    <a:lnTo>
                      <a:pt x="313" y="295"/>
                    </a:lnTo>
                    <a:close/>
                    <a:moveTo>
                      <a:pt x="398" y="148"/>
                    </a:moveTo>
                    <a:lnTo>
                      <a:pt x="398" y="149"/>
                    </a:lnTo>
                    <a:lnTo>
                      <a:pt x="398" y="149"/>
                    </a:lnTo>
                    <a:lnTo>
                      <a:pt x="397" y="149"/>
                    </a:lnTo>
                    <a:lnTo>
                      <a:pt x="397" y="148"/>
                    </a:lnTo>
                    <a:lnTo>
                      <a:pt x="397" y="148"/>
                    </a:lnTo>
                    <a:lnTo>
                      <a:pt x="398" y="147"/>
                    </a:lnTo>
                    <a:lnTo>
                      <a:pt x="400" y="147"/>
                    </a:lnTo>
                    <a:lnTo>
                      <a:pt x="399" y="145"/>
                    </a:lnTo>
                    <a:lnTo>
                      <a:pt x="399" y="146"/>
                    </a:lnTo>
                    <a:lnTo>
                      <a:pt x="400" y="148"/>
                    </a:lnTo>
                    <a:lnTo>
                      <a:pt x="398" y="14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62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652" name="Freeform 148"/>
              <p:cNvSpPr>
                <a:spLocks/>
              </p:cNvSpPr>
              <p:nvPr/>
            </p:nvSpPr>
            <p:spPr bwMode="gray">
              <a:xfrm>
                <a:off x="5513388" y="4167188"/>
                <a:ext cx="14288" cy="1428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3" y="0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0" y="5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2" y="8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5" y="8"/>
                  </a:cxn>
                  <a:cxn ang="0">
                    <a:pos x="6" y="8"/>
                  </a:cxn>
                  <a:cxn ang="0">
                    <a:pos x="8" y="8"/>
                  </a:cxn>
                  <a:cxn ang="0">
                    <a:pos x="8" y="7"/>
                  </a:cxn>
                  <a:cxn ang="0">
                    <a:pos x="8" y="5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9" y="3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0"/>
                  </a:cxn>
                </a:cxnLst>
                <a:rect l="0" t="0" r="r" b="b"/>
                <a:pathLst>
                  <a:path w="9" h="9">
                    <a:moveTo>
                      <a:pt x="8" y="0"/>
                    </a:move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5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noFill/>
                <a:miter lim="800000"/>
                <a:headEnd/>
                <a:tailEnd/>
              </a:ln>
              <a:effectLst>
                <a:outerShdw blurRad="381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432" name="Gruppieren 431"/>
              <p:cNvGrpSpPr/>
              <p:nvPr/>
            </p:nvGrpSpPr>
            <p:grpSpPr bwMode="gray">
              <a:xfrm>
                <a:off x="4752976" y="3749675"/>
                <a:ext cx="442913" cy="473076"/>
                <a:chOff x="4752976" y="3749675"/>
                <a:chExt cx="442913" cy="473076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1636" name="Freeform 132"/>
                <p:cNvSpPr>
                  <a:spLocks/>
                </p:cNvSpPr>
                <p:nvPr/>
              </p:nvSpPr>
              <p:spPr bwMode="gray">
                <a:xfrm>
                  <a:off x="4994276" y="3930650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38" name="Freeform 134"/>
                <p:cNvSpPr>
                  <a:spLocks/>
                </p:cNvSpPr>
                <p:nvPr/>
              </p:nvSpPr>
              <p:spPr bwMode="gray">
                <a:xfrm>
                  <a:off x="4927601" y="3908425"/>
                  <a:ext cx="17463" cy="6350"/>
                </a:xfrm>
                <a:custGeom>
                  <a:avLst/>
                  <a:gdLst/>
                  <a:ahLst/>
                  <a:cxnLst>
                    <a:cxn ang="0">
                      <a:pos x="10" y="1"/>
                    </a:cxn>
                    <a:cxn ang="0">
                      <a:pos x="9" y="1"/>
                    </a:cxn>
                    <a:cxn ang="0">
                      <a:pos x="8" y="1"/>
                    </a:cxn>
                    <a:cxn ang="0">
                      <a:pos x="7" y="1"/>
                    </a:cxn>
                    <a:cxn ang="0">
                      <a:pos x="7" y="1"/>
                    </a:cxn>
                    <a:cxn ang="0">
                      <a:pos x="6" y="1"/>
                    </a:cxn>
                    <a:cxn ang="0">
                      <a:pos x="6" y="0"/>
                    </a:cxn>
                    <a:cxn ang="0">
                      <a:pos x="5" y="0"/>
                    </a:cxn>
                    <a:cxn ang="0">
                      <a:pos x="5" y="1"/>
                    </a:cxn>
                    <a:cxn ang="0">
                      <a:pos x="4" y="1"/>
                    </a:cxn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4"/>
                    </a:cxn>
                    <a:cxn ang="0">
                      <a:pos x="1" y="4"/>
                    </a:cxn>
                    <a:cxn ang="0">
                      <a:pos x="1" y="4"/>
                    </a:cxn>
                    <a:cxn ang="0">
                      <a:pos x="2" y="4"/>
                    </a:cxn>
                    <a:cxn ang="0">
                      <a:pos x="3" y="4"/>
                    </a:cxn>
                    <a:cxn ang="0">
                      <a:pos x="3" y="4"/>
                    </a:cxn>
                    <a:cxn ang="0">
                      <a:pos x="4" y="4"/>
                    </a:cxn>
                    <a:cxn ang="0">
                      <a:pos x="4" y="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10" y="3"/>
                    </a:cxn>
                    <a:cxn ang="0">
                      <a:pos x="11" y="2"/>
                    </a:cxn>
                    <a:cxn ang="0">
                      <a:pos x="11" y="1"/>
                    </a:cxn>
                    <a:cxn ang="0">
                      <a:pos x="10" y="1"/>
                    </a:cxn>
                    <a:cxn ang="0">
                      <a:pos x="10" y="1"/>
                    </a:cxn>
                  </a:cxnLst>
                  <a:rect l="0" t="0" r="r" b="b"/>
                  <a:pathLst>
                    <a:path w="11" h="4">
                      <a:moveTo>
                        <a:pt x="10" y="1"/>
                      </a:move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3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800000"/>
                  <a:headEnd/>
                  <a:tailEnd/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108000" rIns="72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</a:pP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1640" name="Rectangle 136"/>
                <p:cNvSpPr>
                  <a:spLocks noChangeArrowheads="1"/>
                </p:cNvSpPr>
                <p:nvPr/>
              </p:nvSpPr>
              <p:spPr bwMode="gray">
                <a:xfrm>
                  <a:off x="5053013" y="3995738"/>
                  <a:ext cx="1588" cy="15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3" name="Freeform 149"/>
                <p:cNvSpPr>
                  <a:spLocks/>
                </p:cNvSpPr>
                <p:nvPr/>
              </p:nvSpPr>
              <p:spPr bwMode="gray">
                <a:xfrm>
                  <a:off x="4776788" y="3890963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4" name="Freeform 150"/>
                <p:cNvSpPr>
                  <a:spLocks/>
                </p:cNvSpPr>
                <p:nvPr/>
              </p:nvSpPr>
              <p:spPr bwMode="gray">
                <a:xfrm>
                  <a:off x="4784726" y="3905250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5" name="Freeform 151"/>
                <p:cNvSpPr>
                  <a:spLocks/>
                </p:cNvSpPr>
                <p:nvPr/>
              </p:nvSpPr>
              <p:spPr bwMode="gray">
                <a:xfrm>
                  <a:off x="4783138" y="3898900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2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6" name="Freeform 152"/>
                <p:cNvSpPr>
                  <a:spLocks/>
                </p:cNvSpPr>
                <p:nvPr/>
              </p:nvSpPr>
              <p:spPr bwMode="gray">
                <a:xfrm>
                  <a:off x="4787901" y="3905250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7" name="Freeform 153"/>
                <p:cNvSpPr>
                  <a:spLocks/>
                </p:cNvSpPr>
                <p:nvPr/>
              </p:nvSpPr>
              <p:spPr bwMode="gray">
                <a:xfrm>
                  <a:off x="4776788" y="3892550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8" name="Freeform 154"/>
                <p:cNvSpPr>
                  <a:spLocks/>
                </p:cNvSpPr>
                <p:nvPr/>
              </p:nvSpPr>
              <p:spPr bwMode="gray">
                <a:xfrm>
                  <a:off x="4779963" y="3884613"/>
                  <a:ext cx="6350" cy="6350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" y="3"/>
                    </a:cxn>
                    <a:cxn ang="0">
                      <a:pos x="2" y="3"/>
                    </a:cxn>
                    <a:cxn ang="0">
                      <a:pos x="2" y="2"/>
                    </a:cxn>
                    <a:cxn ang="0">
                      <a:pos x="2" y="2"/>
                    </a:cxn>
                    <a:cxn ang="0">
                      <a:pos x="3" y="1"/>
                    </a:cxn>
                    <a:cxn ang="0">
                      <a:pos x="4" y="1"/>
                    </a:cxn>
                    <a:cxn ang="0">
                      <a:pos x="4" y="0"/>
                    </a:cxn>
                    <a:cxn ang="0">
                      <a:pos x="3" y="1"/>
                    </a:cxn>
                    <a:cxn ang="0">
                      <a:pos x="2" y="1"/>
                    </a:cxn>
                    <a:cxn ang="0">
                      <a:pos x="1" y="2"/>
                    </a:cxn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0" y="3"/>
                    </a:cxn>
                    <a:cxn ang="0">
                      <a:pos x="0" y="3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4" h="4">
                      <a:moveTo>
                        <a:pt x="0" y="4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59" name="Freeform 155"/>
                <p:cNvSpPr>
                  <a:spLocks/>
                </p:cNvSpPr>
                <p:nvPr/>
              </p:nvSpPr>
              <p:spPr bwMode="gray">
                <a:xfrm>
                  <a:off x="4781551" y="3890963"/>
                  <a:ext cx="4763" cy="3175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2"/>
                    </a:cxn>
                    <a:cxn ang="0">
                      <a:pos x="3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0" name="Freeform 156"/>
                <p:cNvSpPr>
                  <a:spLocks/>
                </p:cNvSpPr>
                <p:nvPr/>
              </p:nvSpPr>
              <p:spPr bwMode="gray">
                <a:xfrm>
                  <a:off x="4810126" y="3870325"/>
                  <a:ext cx="3175" cy="4763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1" y="3"/>
                    </a:cxn>
                    <a:cxn ang="0">
                      <a:pos x="2" y="3"/>
                    </a:cxn>
                    <a:cxn ang="0">
                      <a:pos x="2" y="3"/>
                    </a:cxn>
                    <a:cxn ang="0">
                      <a:pos x="2" y="2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1" name="Freeform 157"/>
                <p:cNvSpPr>
                  <a:spLocks/>
                </p:cNvSpPr>
                <p:nvPr/>
              </p:nvSpPr>
              <p:spPr bwMode="gray">
                <a:xfrm>
                  <a:off x="4803776" y="3883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2" name="Freeform 158"/>
                <p:cNvSpPr>
                  <a:spLocks/>
                </p:cNvSpPr>
                <p:nvPr/>
              </p:nvSpPr>
              <p:spPr bwMode="gray">
                <a:xfrm>
                  <a:off x="4814888" y="38703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3" name="Freeform 159"/>
                <p:cNvSpPr>
                  <a:spLocks/>
                </p:cNvSpPr>
                <p:nvPr/>
              </p:nvSpPr>
              <p:spPr bwMode="gray">
                <a:xfrm>
                  <a:off x="4802188" y="388143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4" name="Freeform 160"/>
                <p:cNvSpPr>
                  <a:spLocks/>
                </p:cNvSpPr>
                <p:nvPr/>
              </p:nvSpPr>
              <p:spPr bwMode="gray">
                <a:xfrm>
                  <a:off x="4781551" y="3903663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5" name="Freeform 161"/>
                <p:cNvSpPr>
                  <a:spLocks/>
                </p:cNvSpPr>
                <p:nvPr/>
              </p:nvSpPr>
              <p:spPr bwMode="gray">
                <a:xfrm>
                  <a:off x="4789488" y="3913188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2" y="1"/>
                    </a:cxn>
                  </a:cxnLst>
                  <a:rect l="0" t="0" r="r" b="b"/>
                  <a:pathLst>
                    <a:path w="2" h="2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6" name="Freeform 162"/>
                <p:cNvSpPr>
                  <a:spLocks/>
                </p:cNvSpPr>
                <p:nvPr/>
              </p:nvSpPr>
              <p:spPr bwMode="gray">
                <a:xfrm>
                  <a:off x="4781551" y="3884613"/>
                  <a:ext cx="44450" cy="61913"/>
                </a:xfrm>
                <a:custGeom>
                  <a:avLst/>
                  <a:gdLst/>
                  <a:ahLst/>
                  <a:cxnLst>
                    <a:cxn ang="0">
                      <a:pos x="2" y="8"/>
                    </a:cxn>
                    <a:cxn ang="0">
                      <a:pos x="5" y="8"/>
                    </a:cxn>
                    <a:cxn ang="0">
                      <a:pos x="3" y="10"/>
                    </a:cxn>
                    <a:cxn ang="0">
                      <a:pos x="5" y="12"/>
                    </a:cxn>
                    <a:cxn ang="0">
                      <a:pos x="6" y="14"/>
                    </a:cxn>
                    <a:cxn ang="0">
                      <a:pos x="4" y="16"/>
                    </a:cxn>
                    <a:cxn ang="0">
                      <a:pos x="6" y="17"/>
                    </a:cxn>
                    <a:cxn ang="0">
                      <a:pos x="10" y="16"/>
                    </a:cxn>
                    <a:cxn ang="0">
                      <a:pos x="9" y="18"/>
                    </a:cxn>
                    <a:cxn ang="0">
                      <a:pos x="12" y="20"/>
                    </a:cxn>
                    <a:cxn ang="0">
                      <a:pos x="7" y="24"/>
                    </a:cxn>
                    <a:cxn ang="0">
                      <a:pos x="6" y="25"/>
                    </a:cxn>
                    <a:cxn ang="0">
                      <a:pos x="6" y="28"/>
                    </a:cxn>
                    <a:cxn ang="0">
                      <a:pos x="4" y="29"/>
                    </a:cxn>
                    <a:cxn ang="0">
                      <a:pos x="4" y="31"/>
                    </a:cxn>
                    <a:cxn ang="0">
                      <a:pos x="6" y="30"/>
                    </a:cxn>
                    <a:cxn ang="0">
                      <a:pos x="8" y="32"/>
                    </a:cxn>
                    <a:cxn ang="0">
                      <a:pos x="11" y="31"/>
                    </a:cxn>
                    <a:cxn ang="0">
                      <a:pos x="12" y="32"/>
                    </a:cxn>
                    <a:cxn ang="0">
                      <a:pos x="6" y="33"/>
                    </a:cxn>
                    <a:cxn ang="0">
                      <a:pos x="4" y="34"/>
                    </a:cxn>
                    <a:cxn ang="0">
                      <a:pos x="2" y="36"/>
                    </a:cxn>
                    <a:cxn ang="0">
                      <a:pos x="0" y="38"/>
                    </a:cxn>
                    <a:cxn ang="0">
                      <a:pos x="1" y="39"/>
                    </a:cxn>
                    <a:cxn ang="0">
                      <a:pos x="6" y="37"/>
                    </a:cxn>
                    <a:cxn ang="0">
                      <a:pos x="8" y="37"/>
                    </a:cxn>
                    <a:cxn ang="0">
                      <a:pos x="11" y="35"/>
                    </a:cxn>
                    <a:cxn ang="0">
                      <a:pos x="15" y="35"/>
                    </a:cxn>
                    <a:cxn ang="0">
                      <a:pos x="17" y="36"/>
                    </a:cxn>
                    <a:cxn ang="0">
                      <a:pos x="17" y="34"/>
                    </a:cxn>
                    <a:cxn ang="0">
                      <a:pos x="23" y="35"/>
                    </a:cxn>
                    <a:cxn ang="0">
                      <a:pos x="26" y="33"/>
                    </a:cxn>
                    <a:cxn ang="0">
                      <a:pos x="24" y="30"/>
                    </a:cxn>
                    <a:cxn ang="0">
                      <a:pos x="27" y="29"/>
                    </a:cxn>
                    <a:cxn ang="0">
                      <a:pos x="27" y="26"/>
                    </a:cxn>
                    <a:cxn ang="0">
                      <a:pos x="24" y="25"/>
                    </a:cxn>
                    <a:cxn ang="0">
                      <a:pos x="22" y="25"/>
                    </a:cxn>
                    <a:cxn ang="0">
                      <a:pos x="21" y="22"/>
                    </a:cxn>
                    <a:cxn ang="0">
                      <a:pos x="21" y="22"/>
                    </a:cxn>
                    <a:cxn ang="0">
                      <a:pos x="21" y="20"/>
                    </a:cxn>
                    <a:cxn ang="0">
                      <a:pos x="18" y="17"/>
                    </a:cxn>
                    <a:cxn ang="0">
                      <a:pos x="17" y="14"/>
                    </a:cxn>
                    <a:cxn ang="0">
                      <a:pos x="16" y="12"/>
                    </a:cxn>
                    <a:cxn ang="0">
                      <a:pos x="12" y="12"/>
                    </a:cxn>
                    <a:cxn ang="0">
                      <a:pos x="10" y="11"/>
                    </a:cxn>
                    <a:cxn ang="0">
                      <a:pos x="14" y="10"/>
                    </a:cxn>
                    <a:cxn ang="0">
                      <a:pos x="13" y="10"/>
                    </a:cxn>
                    <a:cxn ang="0">
                      <a:pos x="15" y="7"/>
                    </a:cxn>
                    <a:cxn ang="0">
                      <a:pos x="16" y="5"/>
                    </a:cxn>
                    <a:cxn ang="0">
                      <a:pos x="17" y="4"/>
                    </a:cxn>
                    <a:cxn ang="0">
                      <a:pos x="10" y="4"/>
                    </a:cxn>
                    <a:cxn ang="0">
                      <a:pos x="9" y="4"/>
                    </a:cxn>
                    <a:cxn ang="0">
                      <a:pos x="12" y="1"/>
                    </a:cxn>
                    <a:cxn ang="0">
                      <a:pos x="10" y="0"/>
                    </a:cxn>
                    <a:cxn ang="0">
                      <a:pos x="6" y="0"/>
                    </a:cxn>
                    <a:cxn ang="0">
                      <a:pos x="6" y="1"/>
                    </a:cxn>
                    <a:cxn ang="0">
                      <a:pos x="3" y="4"/>
                    </a:cxn>
                  </a:cxnLst>
                  <a:rect l="0" t="0" r="r" b="b"/>
                  <a:pathLst>
                    <a:path w="28" h="39">
                      <a:moveTo>
                        <a:pt x="4" y="6"/>
                      </a:moveTo>
                      <a:lnTo>
                        <a:pt x="3" y="7"/>
                      </a:ln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5" y="8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4" y="10"/>
                      </a:lnTo>
                      <a:lnTo>
                        <a:pt x="3" y="10"/>
                      </a:lnTo>
                      <a:lnTo>
                        <a:pt x="3" y="12"/>
                      </a:lnTo>
                      <a:lnTo>
                        <a:pt x="3" y="12"/>
                      </a:lnTo>
                      <a:lnTo>
                        <a:pt x="4" y="12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6" y="11"/>
                      </a:lnTo>
                      <a:lnTo>
                        <a:pt x="5" y="12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5" y="15"/>
                      </a:lnTo>
                      <a:lnTo>
                        <a:pt x="5" y="15"/>
                      </a:lnTo>
                      <a:lnTo>
                        <a:pt x="4" y="16"/>
                      </a:lnTo>
                      <a:lnTo>
                        <a:pt x="4" y="17"/>
                      </a:lnTo>
                      <a:lnTo>
                        <a:pt x="5" y="17"/>
                      </a:lnTo>
                      <a:lnTo>
                        <a:pt x="6" y="17"/>
                      </a:lnTo>
                      <a:lnTo>
                        <a:pt x="6" y="17"/>
                      </a:lnTo>
                      <a:lnTo>
                        <a:pt x="8" y="17"/>
                      </a:lnTo>
                      <a:lnTo>
                        <a:pt x="8" y="16"/>
                      </a:lnTo>
                      <a:lnTo>
                        <a:pt x="9" y="16"/>
                      </a:lnTo>
                      <a:lnTo>
                        <a:pt x="10" y="16"/>
                      </a:lnTo>
                      <a:lnTo>
                        <a:pt x="12" y="16"/>
                      </a:lnTo>
                      <a:lnTo>
                        <a:pt x="11" y="16"/>
                      </a:lnTo>
                      <a:lnTo>
                        <a:pt x="9" y="18"/>
                      </a:lnTo>
                      <a:lnTo>
                        <a:pt x="9" y="18"/>
                      </a:lnTo>
                      <a:lnTo>
                        <a:pt x="10" y="19"/>
                      </a:lnTo>
                      <a:lnTo>
                        <a:pt x="11" y="19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1"/>
                      </a:lnTo>
                      <a:lnTo>
                        <a:pt x="11" y="22"/>
                      </a:lnTo>
                      <a:lnTo>
                        <a:pt x="11" y="24"/>
                      </a:lnTo>
                      <a:lnTo>
                        <a:pt x="7" y="24"/>
                      </a:lnTo>
                      <a:lnTo>
                        <a:pt x="6" y="23"/>
                      </a:lnTo>
                      <a:lnTo>
                        <a:pt x="5" y="23"/>
                      </a:lnTo>
                      <a:lnTo>
                        <a:pt x="5" y="24"/>
                      </a:lnTo>
                      <a:lnTo>
                        <a:pt x="6" y="25"/>
                      </a:lnTo>
                      <a:lnTo>
                        <a:pt x="5" y="26"/>
                      </a:lnTo>
                      <a:lnTo>
                        <a:pt x="7" y="25"/>
                      </a:lnTo>
                      <a:lnTo>
                        <a:pt x="7" y="27"/>
                      </a:lnTo>
                      <a:lnTo>
                        <a:pt x="6" y="28"/>
                      </a:lnTo>
                      <a:lnTo>
                        <a:pt x="6" y="28"/>
                      </a:lnTo>
                      <a:lnTo>
                        <a:pt x="5" y="29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9"/>
                      </a:lnTo>
                      <a:lnTo>
                        <a:pt x="3" y="31"/>
                      </a:lnTo>
                      <a:lnTo>
                        <a:pt x="4" y="31"/>
                      </a:lnTo>
                      <a:lnTo>
                        <a:pt x="4" y="31"/>
                      </a:lnTo>
                      <a:lnTo>
                        <a:pt x="4" y="31"/>
                      </a:lnTo>
                      <a:lnTo>
                        <a:pt x="5" y="30"/>
                      </a:lnTo>
                      <a:lnTo>
                        <a:pt x="5" y="30"/>
                      </a:lnTo>
                      <a:lnTo>
                        <a:pt x="6" y="30"/>
                      </a:lnTo>
                      <a:lnTo>
                        <a:pt x="6" y="31"/>
                      </a:lnTo>
                      <a:lnTo>
                        <a:pt x="6" y="31"/>
                      </a:lnTo>
                      <a:lnTo>
                        <a:pt x="7" y="31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9" y="32"/>
                      </a:lnTo>
                      <a:lnTo>
                        <a:pt x="10" y="32"/>
                      </a:lnTo>
                      <a:lnTo>
                        <a:pt x="11" y="31"/>
                      </a:lnTo>
                      <a:lnTo>
                        <a:pt x="11" y="31"/>
                      </a:lnTo>
                      <a:lnTo>
                        <a:pt x="13" y="31"/>
                      </a:lnTo>
                      <a:lnTo>
                        <a:pt x="12" y="31"/>
                      </a:lnTo>
                      <a:lnTo>
                        <a:pt x="12" y="32"/>
                      </a:lnTo>
                      <a:lnTo>
                        <a:pt x="11" y="32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6" y="33"/>
                      </a:lnTo>
                      <a:lnTo>
                        <a:pt x="6" y="34"/>
                      </a:lnTo>
                      <a:lnTo>
                        <a:pt x="5" y="34"/>
                      </a:lnTo>
                      <a:lnTo>
                        <a:pt x="5" y="34"/>
                      </a:lnTo>
                      <a:lnTo>
                        <a:pt x="4" y="34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2" y="36"/>
                      </a:lnTo>
                      <a:lnTo>
                        <a:pt x="2" y="36"/>
                      </a:lnTo>
                      <a:lnTo>
                        <a:pt x="2" y="37"/>
                      </a:lnTo>
                      <a:lnTo>
                        <a:pt x="2" y="37"/>
                      </a:lnTo>
                      <a:lnTo>
                        <a:pt x="1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1" y="39"/>
                      </a:lnTo>
                      <a:lnTo>
                        <a:pt x="3" y="39"/>
                      </a:lnTo>
                      <a:lnTo>
                        <a:pt x="3" y="38"/>
                      </a:lnTo>
                      <a:lnTo>
                        <a:pt x="4" y="37"/>
                      </a:lnTo>
                      <a:lnTo>
                        <a:pt x="6" y="37"/>
                      </a:lnTo>
                      <a:lnTo>
                        <a:pt x="6" y="37"/>
                      </a:lnTo>
                      <a:lnTo>
                        <a:pt x="7" y="38"/>
                      </a:lnTo>
                      <a:lnTo>
                        <a:pt x="8" y="38"/>
                      </a:lnTo>
                      <a:lnTo>
                        <a:pt x="8" y="37"/>
                      </a:lnTo>
                      <a:lnTo>
                        <a:pt x="8" y="37"/>
                      </a:lnTo>
                      <a:lnTo>
                        <a:pt x="9" y="36"/>
                      </a:lnTo>
                      <a:lnTo>
                        <a:pt x="10" y="35"/>
                      </a:lnTo>
                      <a:lnTo>
                        <a:pt x="11" y="35"/>
                      </a:lnTo>
                      <a:lnTo>
                        <a:pt x="12" y="36"/>
                      </a:lnTo>
                      <a:lnTo>
                        <a:pt x="13" y="36"/>
                      </a:lnTo>
                      <a:lnTo>
                        <a:pt x="15" y="35"/>
                      </a:lnTo>
                      <a:lnTo>
                        <a:pt x="15" y="35"/>
                      </a:lnTo>
                      <a:lnTo>
                        <a:pt x="15" y="36"/>
                      </a:lnTo>
                      <a:lnTo>
                        <a:pt x="16" y="36"/>
                      </a:lnTo>
                      <a:lnTo>
                        <a:pt x="17" y="36"/>
                      </a:lnTo>
                      <a:lnTo>
                        <a:pt x="17" y="36"/>
                      </a:lnTo>
                      <a:lnTo>
                        <a:pt x="17" y="36"/>
                      </a:lnTo>
                      <a:lnTo>
                        <a:pt x="17" y="35"/>
                      </a:lnTo>
                      <a:lnTo>
                        <a:pt x="17" y="34"/>
                      </a:lnTo>
                      <a:lnTo>
                        <a:pt x="17" y="34"/>
                      </a:lnTo>
                      <a:lnTo>
                        <a:pt x="18" y="35"/>
                      </a:lnTo>
                      <a:lnTo>
                        <a:pt x="18" y="35"/>
                      </a:lnTo>
                      <a:lnTo>
                        <a:pt x="19" y="35"/>
                      </a:lnTo>
                      <a:lnTo>
                        <a:pt x="23" y="35"/>
                      </a:lnTo>
                      <a:lnTo>
                        <a:pt x="25" y="34"/>
                      </a:lnTo>
                      <a:lnTo>
                        <a:pt x="25" y="34"/>
                      </a:lnTo>
                      <a:lnTo>
                        <a:pt x="26" y="33"/>
                      </a:lnTo>
                      <a:lnTo>
                        <a:pt x="26" y="33"/>
                      </a:lnTo>
                      <a:lnTo>
                        <a:pt x="26" y="32"/>
                      </a:lnTo>
                      <a:lnTo>
                        <a:pt x="23" y="32"/>
                      </a:lnTo>
                      <a:lnTo>
                        <a:pt x="25" y="32"/>
                      </a:lnTo>
                      <a:lnTo>
                        <a:pt x="24" y="30"/>
                      </a:lnTo>
                      <a:lnTo>
                        <a:pt x="25" y="30"/>
                      </a:lnTo>
                      <a:lnTo>
                        <a:pt x="26" y="29"/>
                      </a:lnTo>
                      <a:lnTo>
                        <a:pt x="26" y="29"/>
                      </a:lnTo>
                      <a:lnTo>
                        <a:pt x="27" y="29"/>
                      </a:lnTo>
                      <a:lnTo>
                        <a:pt x="27" y="29"/>
                      </a:lnTo>
                      <a:lnTo>
                        <a:pt x="28" y="27"/>
                      </a:lnTo>
                      <a:lnTo>
                        <a:pt x="27" y="26"/>
                      </a:lnTo>
                      <a:lnTo>
                        <a:pt x="27" y="26"/>
                      </a:lnTo>
                      <a:lnTo>
                        <a:pt x="26" y="25"/>
                      </a:lnTo>
                      <a:lnTo>
                        <a:pt x="26" y="25"/>
                      </a:lnTo>
                      <a:lnTo>
                        <a:pt x="25" y="25"/>
                      </a:lnTo>
                      <a:lnTo>
                        <a:pt x="24" y="25"/>
                      </a:lnTo>
                      <a:lnTo>
                        <a:pt x="23" y="25"/>
                      </a:lnTo>
                      <a:lnTo>
                        <a:pt x="23" y="26"/>
                      </a:lnTo>
                      <a:lnTo>
                        <a:pt x="22" y="26"/>
                      </a:lnTo>
                      <a:lnTo>
                        <a:pt x="22" y="25"/>
                      </a:lnTo>
                      <a:lnTo>
                        <a:pt x="23" y="24"/>
                      </a:lnTo>
                      <a:lnTo>
                        <a:pt x="23" y="24"/>
                      </a:lnTo>
                      <a:lnTo>
                        <a:pt x="23" y="23"/>
                      </a:lnTo>
                      <a:lnTo>
                        <a:pt x="21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1" y="22"/>
                      </a:lnTo>
                      <a:lnTo>
                        <a:pt x="22" y="22"/>
                      </a:lnTo>
                      <a:lnTo>
                        <a:pt x="22" y="21"/>
                      </a:lnTo>
                      <a:lnTo>
                        <a:pt x="22" y="21"/>
                      </a:lnTo>
                      <a:lnTo>
                        <a:pt x="21" y="20"/>
                      </a:lnTo>
                      <a:lnTo>
                        <a:pt x="20" y="19"/>
                      </a:lnTo>
                      <a:lnTo>
                        <a:pt x="19" y="18"/>
                      </a:lnTo>
                      <a:lnTo>
                        <a:pt x="18" y="18"/>
                      </a:lnTo>
                      <a:lnTo>
                        <a:pt x="18" y="17"/>
                      </a:lnTo>
                      <a:lnTo>
                        <a:pt x="17" y="17"/>
                      </a:lnTo>
                      <a:lnTo>
                        <a:pt x="17" y="16"/>
                      </a:lnTo>
                      <a:lnTo>
                        <a:pt x="17" y="15"/>
                      </a:lnTo>
                      <a:lnTo>
                        <a:pt x="17" y="14"/>
                      </a:lnTo>
                      <a:lnTo>
                        <a:pt x="17" y="13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16" y="12"/>
                      </a:lnTo>
                      <a:lnTo>
                        <a:pt x="15" y="12"/>
                      </a:lnTo>
                      <a:lnTo>
                        <a:pt x="14" y="11"/>
                      </a:lnTo>
                      <a:lnTo>
                        <a:pt x="13" y="11"/>
                      </a:lnTo>
                      <a:lnTo>
                        <a:pt x="12" y="12"/>
                      </a:lnTo>
                      <a:lnTo>
                        <a:pt x="11" y="12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10" y="11"/>
                      </a:lnTo>
                      <a:lnTo>
                        <a:pt x="11" y="11"/>
                      </a:lnTo>
                      <a:lnTo>
                        <a:pt x="12" y="11"/>
                      </a:lnTo>
                      <a:lnTo>
                        <a:pt x="13" y="11"/>
                      </a:lnTo>
                      <a:lnTo>
                        <a:pt x="14" y="10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12" y="10"/>
                      </a:lnTo>
                      <a:lnTo>
                        <a:pt x="13" y="10"/>
                      </a:lnTo>
                      <a:lnTo>
                        <a:pt x="14" y="9"/>
                      </a:lnTo>
                      <a:lnTo>
                        <a:pt x="14" y="9"/>
                      </a:lnTo>
                      <a:lnTo>
                        <a:pt x="15" y="8"/>
                      </a:lnTo>
                      <a:lnTo>
                        <a:pt x="15" y="7"/>
                      </a:lnTo>
                      <a:lnTo>
                        <a:pt x="15" y="7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5"/>
                      </a:lnTo>
                      <a:lnTo>
                        <a:pt x="17" y="5"/>
                      </a:lnTo>
                      <a:lnTo>
                        <a:pt x="17" y="5"/>
                      </a:lnTo>
                      <a:lnTo>
                        <a:pt x="17" y="5"/>
                      </a:lnTo>
                      <a:lnTo>
                        <a:pt x="17" y="4"/>
                      </a:lnTo>
                      <a:lnTo>
                        <a:pt x="13" y="4"/>
                      </a:lnTo>
                      <a:lnTo>
                        <a:pt x="13" y="4"/>
                      </a:lnTo>
                      <a:lnTo>
                        <a:pt x="11" y="4"/>
                      </a:lnTo>
                      <a:lnTo>
                        <a:pt x="10" y="4"/>
                      </a:lnTo>
                      <a:lnTo>
                        <a:pt x="9" y="4"/>
                      </a:lnTo>
                      <a:lnTo>
                        <a:pt x="9" y="5"/>
                      </a:lnTo>
                      <a:lnTo>
                        <a:pt x="8" y="5"/>
                      </a:lnTo>
                      <a:lnTo>
                        <a:pt x="9" y="4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2" y="2"/>
                      </a:lnTo>
                      <a:lnTo>
                        <a:pt x="12" y="1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3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5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7" name="Freeform 163"/>
                <p:cNvSpPr>
                  <a:spLocks/>
                </p:cNvSpPr>
                <p:nvPr/>
              </p:nvSpPr>
              <p:spPr bwMode="gray">
                <a:xfrm>
                  <a:off x="4973638" y="4029075"/>
                  <a:ext cx="1588" cy="4763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1" y="2"/>
                    </a:cxn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2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1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8" name="Freeform 164"/>
                <p:cNvSpPr>
                  <a:spLocks/>
                </p:cNvSpPr>
                <p:nvPr/>
              </p:nvSpPr>
              <p:spPr bwMode="gray">
                <a:xfrm>
                  <a:off x="4965701" y="4019550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69" name="Freeform 165"/>
                <p:cNvSpPr>
                  <a:spLocks/>
                </p:cNvSpPr>
                <p:nvPr/>
              </p:nvSpPr>
              <p:spPr bwMode="gray">
                <a:xfrm>
                  <a:off x="4968876" y="4016375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0" name="Freeform 166"/>
                <p:cNvSpPr>
                  <a:spLocks/>
                </p:cNvSpPr>
                <p:nvPr/>
              </p:nvSpPr>
              <p:spPr bwMode="gray">
                <a:xfrm>
                  <a:off x="4970463" y="4014788"/>
                  <a:ext cx="3175" cy="476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1" name="Freeform 167"/>
                <p:cNvSpPr>
                  <a:spLocks/>
                </p:cNvSpPr>
                <p:nvPr/>
              </p:nvSpPr>
              <p:spPr bwMode="gray">
                <a:xfrm>
                  <a:off x="4906963" y="3892550"/>
                  <a:ext cx="4763" cy="7938"/>
                </a:xfrm>
                <a:custGeom>
                  <a:avLst/>
                  <a:gdLst/>
                  <a:ahLst/>
                  <a:cxnLst>
                    <a:cxn ang="0">
                      <a:pos x="2" y="1"/>
                    </a:cxn>
                    <a:cxn ang="0">
                      <a:pos x="1" y="2"/>
                    </a:cxn>
                    <a:cxn ang="0">
                      <a:pos x="1" y="3"/>
                    </a:cxn>
                    <a:cxn ang="0">
                      <a:pos x="1" y="4"/>
                    </a:cxn>
                    <a:cxn ang="0">
                      <a:pos x="1" y="5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4"/>
                    </a:cxn>
                    <a:cxn ang="0">
                      <a:pos x="2" y="3"/>
                    </a:cxn>
                    <a:cxn ang="0">
                      <a:pos x="2" y="3"/>
                    </a:cxn>
                    <a:cxn ang="0">
                      <a:pos x="2" y="2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2" y="1"/>
                    </a:cxn>
                  </a:cxnLst>
                  <a:rect l="0" t="0" r="r" b="b"/>
                  <a:pathLst>
                    <a:path w="3" h="5">
                      <a:moveTo>
                        <a:pt x="2" y="1"/>
                      </a:move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2" name="Freeform 168"/>
                <p:cNvSpPr>
                  <a:spLocks/>
                </p:cNvSpPr>
                <p:nvPr/>
              </p:nvSpPr>
              <p:spPr bwMode="gray">
                <a:xfrm>
                  <a:off x="4916488" y="3889375"/>
                  <a:ext cx="4763" cy="635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0" y="3"/>
                    </a:cxn>
                    <a:cxn ang="0">
                      <a:pos x="0" y="3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1" y="3"/>
                    </a:cxn>
                    <a:cxn ang="0">
                      <a:pos x="2" y="3"/>
                    </a:cxn>
                    <a:cxn ang="0">
                      <a:pos x="2" y="2"/>
                    </a:cxn>
                    <a:cxn ang="0">
                      <a:pos x="2" y="2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3" name="Freeform 169"/>
                <p:cNvSpPr>
                  <a:spLocks/>
                </p:cNvSpPr>
                <p:nvPr/>
              </p:nvSpPr>
              <p:spPr bwMode="gray">
                <a:xfrm>
                  <a:off x="4819651" y="4025900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4" name="Freeform 170"/>
                <p:cNvSpPr>
                  <a:spLocks/>
                </p:cNvSpPr>
                <p:nvPr/>
              </p:nvSpPr>
              <p:spPr bwMode="gray">
                <a:xfrm>
                  <a:off x="4835526" y="4017963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2" y="2"/>
                    </a:cxn>
                    <a:cxn ang="0">
                      <a:pos x="2" y="1"/>
                    </a:cxn>
                    <a:cxn ang="0">
                      <a:pos x="1" y="1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5" name="Freeform 171"/>
                <p:cNvSpPr>
                  <a:spLocks/>
                </p:cNvSpPr>
                <p:nvPr/>
              </p:nvSpPr>
              <p:spPr bwMode="gray">
                <a:xfrm>
                  <a:off x="4827588" y="4019550"/>
                  <a:ext cx="4763" cy="4763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2"/>
                    </a:cxn>
                    <a:cxn ang="0">
                      <a:pos x="1" y="3"/>
                    </a:cxn>
                    <a:cxn ang="0">
                      <a:pos x="3" y="3"/>
                    </a:cxn>
                    <a:cxn ang="0">
                      <a:pos x="3" y="2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6" name="Freeform 172"/>
                <p:cNvSpPr>
                  <a:spLocks noEditPoints="1"/>
                </p:cNvSpPr>
                <p:nvPr/>
              </p:nvSpPr>
              <p:spPr bwMode="gray">
                <a:xfrm>
                  <a:off x="4752976" y="3878263"/>
                  <a:ext cx="442913" cy="344488"/>
                </a:xfrm>
                <a:custGeom>
                  <a:avLst/>
                  <a:gdLst/>
                  <a:ahLst/>
                  <a:cxnLst>
                    <a:cxn ang="0">
                      <a:pos x="763" y="447"/>
                    </a:cxn>
                    <a:cxn ang="0">
                      <a:pos x="722" y="492"/>
                    </a:cxn>
                    <a:cxn ang="0">
                      <a:pos x="704" y="448"/>
                    </a:cxn>
                    <a:cxn ang="0">
                      <a:pos x="671" y="418"/>
                    </a:cxn>
                    <a:cxn ang="0">
                      <a:pos x="660" y="382"/>
                    </a:cxn>
                    <a:cxn ang="0">
                      <a:pos x="629" y="327"/>
                    </a:cxn>
                    <a:cxn ang="0">
                      <a:pos x="605" y="280"/>
                    </a:cxn>
                    <a:cxn ang="0">
                      <a:pos x="619" y="253"/>
                    </a:cxn>
                    <a:cxn ang="0">
                      <a:pos x="625" y="237"/>
                    </a:cxn>
                    <a:cxn ang="0">
                      <a:pos x="563" y="211"/>
                    </a:cxn>
                    <a:cxn ang="0">
                      <a:pos x="567" y="239"/>
                    </a:cxn>
                    <a:cxn ang="0">
                      <a:pos x="463" y="235"/>
                    </a:cxn>
                    <a:cxn ang="0">
                      <a:pos x="417" y="207"/>
                    </a:cxn>
                    <a:cxn ang="0">
                      <a:pos x="456" y="168"/>
                    </a:cxn>
                    <a:cxn ang="0">
                      <a:pos x="485" y="196"/>
                    </a:cxn>
                    <a:cxn ang="0">
                      <a:pos x="494" y="172"/>
                    </a:cxn>
                    <a:cxn ang="0">
                      <a:pos x="538" y="137"/>
                    </a:cxn>
                    <a:cxn ang="0">
                      <a:pos x="478" y="106"/>
                    </a:cxn>
                    <a:cxn ang="0">
                      <a:pos x="445" y="85"/>
                    </a:cxn>
                    <a:cxn ang="0">
                      <a:pos x="407" y="46"/>
                    </a:cxn>
                    <a:cxn ang="0">
                      <a:pos x="390" y="4"/>
                    </a:cxn>
                    <a:cxn ang="0">
                      <a:pos x="359" y="24"/>
                    </a:cxn>
                    <a:cxn ang="0">
                      <a:pos x="328" y="49"/>
                    </a:cxn>
                    <a:cxn ang="0">
                      <a:pos x="308" y="65"/>
                    </a:cxn>
                    <a:cxn ang="0">
                      <a:pos x="259" y="73"/>
                    </a:cxn>
                    <a:cxn ang="0">
                      <a:pos x="215" y="51"/>
                    </a:cxn>
                    <a:cxn ang="0">
                      <a:pos x="200" y="40"/>
                    </a:cxn>
                    <a:cxn ang="0">
                      <a:pos x="198" y="76"/>
                    </a:cxn>
                    <a:cxn ang="0">
                      <a:pos x="166" y="87"/>
                    </a:cxn>
                    <a:cxn ang="0">
                      <a:pos x="125" y="124"/>
                    </a:cxn>
                    <a:cxn ang="0">
                      <a:pos x="78" y="138"/>
                    </a:cxn>
                    <a:cxn ang="0">
                      <a:pos x="95" y="171"/>
                    </a:cxn>
                    <a:cxn ang="0">
                      <a:pos x="42" y="211"/>
                    </a:cxn>
                    <a:cxn ang="0">
                      <a:pos x="11" y="241"/>
                    </a:cxn>
                    <a:cxn ang="0">
                      <a:pos x="20" y="296"/>
                    </a:cxn>
                    <a:cxn ang="0">
                      <a:pos x="80" y="303"/>
                    </a:cxn>
                    <a:cxn ang="0">
                      <a:pos x="116" y="251"/>
                    </a:cxn>
                    <a:cxn ang="0">
                      <a:pos x="148" y="213"/>
                    </a:cxn>
                    <a:cxn ang="0">
                      <a:pos x="205" y="200"/>
                    </a:cxn>
                    <a:cxn ang="0">
                      <a:pos x="259" y="246"/>
                    </a:cxn>
                    <a:cxn ang="0">
                      <a:pos x="288" y="282"/>
                    </a:cxn>
                    <a:cxn ang="0">
                      <a:pos x="312" y="259"/>
                    </a:cxn>
                    <a:cxn ang="0">
                      <a:pos x="256" y="210"/>
                    </a:cxn>
                    <a:cxn ang="0">
                      <a:pos x="259" y="185"/>
                    </a:cxn>
                    <a:cxn ang="0">
                      <a:pos x="302" y="217"/>
                    </a:cxn>
                    <a:cxn ang="0">
                      <a:pos x="325" y="258"/>
                    </a:cxn>
                    <a:cxn ang="0">
                      <a:pos x="373" y="287"/>
                    </a:cxn>
                    <a:cxn ang="0">
                      <a:pos x="364" y="266"/>
                    </a:cxn>
                    <a:cxn ang="0">
                      <a:pos x="383" y="249"/>
                    </a:cxn>
                    <a:cxn ang="0">
                      <a:pos x="432" y="248"/>
                    </a:cxn>
                    <a:cxn ang="0">
                      <a:pos x="426" y="302"/>
                    </a:cxn>
                    <a:cxn ang="0">
                      <a:pos x="494" y="304"/>
                    </a:cxn>
                    <a:cxn ang="0">
                      <a:pos x="510" y="320"/>
                    </a:cxn>
                    <a:cxn ang="0">
                      <a:pos x="508" y="403"/>
                    </a:cxn>
                    <a:cxn ang="0">
                      <a:pos x="565" y="503"/>
                    </a:cxn>
                    <a:cxn ang="0">
                      <a:pos x="624" y="630"/>
                    </a:cxn>
                    <a:cxn ang="0">
                      <a:pos x="726" y="592"/>
                    </a:cxn>
                    <a:cxn ang="0">
                      <a:pos x="780" y="548"/>
                    </a:cxn>
                    <a:cxn ang="0">
                      <a:pos x="92" y="214"/>
                    </a:cxn>
                    <a:cxn ang="0">
                      <a:pos x="290" y="206"/>
                    </a:cxn>
                    <a:cxn ang="0">
                      <a:pos x="333" y="225"/>
                    </a:cxn>
                    <a:cxn ang="0">
                      <a:pos x="512" y="361"/>
                    </a:cxn>
                  </a:cxnLst>
                  <a:rect l="0" t="0" r="r" b="b"/>
                  <a:pathLst>
                    <a:path w="812" h="631">
                      <a:moveTo>
                        <a:pt x="810" y="496"/>
                      </a:moveTo>
                      <a:cubicBezTo>
                        <a:pt x="807" y="496"/>
                        <a:pt x="807" y="496"/>
                        <a:pt x="807" y="496"/>
                      </a:cubicBezTo>
                      <a:cubicBezTo>
                        <a:pt x="807" y="495"/>
                        <a:pt x="807" y="495"/>
                        <a:pt x="807" y="495"/>
                      </a:cubicBezTo>
                      <a:cubicBezTo>
                        <a:pt x="804" y="492"/>
                        <a:pt x="804" y="492"/>
                        <a:pt x="804" y="492"/>
                      </a:cubicBezTo>
                      <a:cubicBezTo>
                        <a:pt x="803" y="489"/>
                        <a:pt x="803" y="489"/>
                        <a:pt x="803" y="489"/>
                      </a:cubicBezTo>
                      <a:cubicBezTo>
                        <a:pt x="799" y="485"/>
                        <a:pt x="799" y="485"/>
                        <a:pt x="799" y="485"/>
                      </a:cubicBezTo>
                      <a:cubicBezTo>
                        <a:pt x="798" y="483"/>
                        <a:pt x="798" y="483"/>
                        <a:pt x="798" y="483"/>
                      </a:cubicBezTo>
                      <a:cubicBezTo>
                        <a:pt x="794" y="480"/>
                        <a:pt x="794" y="480"/>
                        <a:pt x="794" y="480"/>
                      </a:cubicBezTo>
                      <a:cubicBezTo>
                        <a:pt x="787" y="478"/>
                        <a:pt x="787" y="478"/>
                        <a:pt x="787" y="478"/>
                      </a:cubicBezTo>
                      <a:cubicBezTo>
                        <a:pt x="782" y="477"/>
                        <a:pt x="782" y="477"/>
                        <a:pt x="782" y="477"/>
                      </a:cubicBezTo>
                      <a:cubicBezTo>
                        <a:pt x="779" y="477"/>
                        <a:pt x="779" y="477"/>
                        <a:pt x="779" y="477"/>
                      </a:cubicBezTo>
                      <a:cubicBezTo>
                        <a:pt x="778" y="476"/>
                        <a:pt x="778" y="476"/>
                        <a:pt x="778" y="476"/>
                      </a:cubicBezTo>
                      <a:cubicBezTo>
                        <a:pt x="776" y="476"/>
                        <a:pt x="776" y="476"/>
                        <a:pt x="776" y="476"/>
                      </a:cubicBezTo>
                      <a:cubicBezTo>
                        <a:pt x="774" y="474"/>
                        <a:pt x="774" y="474"/>
                        <a:pt x="774" y="474"/>
                      </a:cubicBezTo>
                      <a:cubicBezTo>
                        <a:pt x="770" y="472"/>
                        <a:pt x="770" y="472"/>
                        <a:pt x="770" y="472"/>
                      </a:cubicBezTo>
                      <a:cubicBezTo>
                        <a:pt x="769" y="469"/>
                        <a:pt x="769" y="469"/>
                        <a:pt x="769" y="469"/>
                      </a:cubicBezTo>
                      <a:cubicBezTo>
                        <a:pt x="769" y="468"/>
                        <a:pt x="769" y="468"/>
                        <a:pt x="769" y="468"/>
                      </a:cubicBezTo>
                      <a:cubicBezTo>
                        <a:pt x="768" y="466"/>
                        <a:pt x="768" y="466"/>
                        <a:pt x="768" y="466"/>
                      </a:cubicBezTo>
                      <a:cubicBezTo>
                        <a:pt x="768" y="466"/>
                        <a:pt x="768" y="466"/>
                        <a:pt x="768" y="466"/>
                      </a:cubicBezTo>
                      <a:cubicBezTo>
                        <a:pt x="767" y="464"/>
                        <a:pt x="767" y="464"/>
                        <a:pt x="767" y="464"/>
                      </a:cubicBezTo>
                      <a:cubicBezTo>
                        <a:pt x="766" y="461"/>
                        <a:pt x="766" y="461"/>
                        <a:pt x="766" y="461"/>
                      </a:cubicBezTo>
                      <a:cubicBezTo>
                        <a:pt x="766" y="454"/>
                        <a:pt x="766" y="454"/>
                        <a:pt x="766" y="454"/>
                      </a:cubicBezTo>
                      <a:cubicBezTo>
                        <a:pt x="767" y="451"/>
                        <a:pt x="767" y="451"/>
                        <a:pt x="767" y="451"/>
                      </a:cubicBezTo>
                      <a:cubicBezTo>
                        <a:pt x="767" y="445"/>
                        <a:pt x="767" y="445"/>
                        <a:pt x="767" y="445"/>
                      </a:cubicBezTo>
                      <a:cubicBezTo>
                        <a:pt x="766" y="443"/>
                        <a:pt x="766" y="443"/>
                        <a:pt x="766" y="443"/>
                      </a:cubicBezTo>
                      <a:cubicBezTo>
                        <a:pt x="765" y="443"/>
                        <a:pt x="765" y="443"/>
                        <a:pt x="765" y="443"/>
                      </a:cubicBezTo>
                      <a:cubicBezTo>
                        <a:pt x="764" y="445"/>
                        <a:pt x="764" y="445"/>
                        <a:pt x="764" y="445"/>
                      </a:cubicBezTo>
                      <a:cubicBezTo>
                        <a:pt x="763" y="447"/>
                        <a:pt x="763" y="447"/>
                        <a:pt x="763" y="447"/>
                      </a:cubicBezTo>
                      <a:cubicBezTo>
                        <a:pt x="762" y="450"/>
                        <a:pt x="762" y="450"/>
                        <a:pt x="762" y="450"/>
                      </a:cubicBezTo>
                      <a:cubicBezTo>
                        <a:pt x="760" y="454"/>
                        <a:pt x="760" y="454"/>
                        <a:pt x="760" y="454"/>
                      </a:cubicBezTo>
                      <a:cubicBezTo>
                        <a:pt x="759" y="455"/>
                        <a:pt x="759" y="455"/>
                        <a:pt x="759" y="455"/>
                      </a:cubicBezTo>
                      <a:cubicBezTo>
                        <a:pt x="759" y="456"/>
                        <a:pt x="759" y="456"/>
                        <a:pt x="759" y="456"/>
                      </a:cubicBezTo>
                      <a:cubicBezTo>
                        <a:pt x="758" y="456"/>
                        <a:pt x="758" y="456"/>
                        <a:pt x="758" y="456"/>
                      </a:cubicBezTo>
                      <a:cubicBezTo>
                        <a:pt x="756" y="457"/>
                        <a:pt x="756" y="457"/>
                        <a:pt x="756" y="457"/>
                      </a:cubicBezTo>
                      <a:cubicBezTo>
                        <a:pt x="751" y="462"/>
                        <a:pt x="751" y="462"/>
                        <a:pt x="751" y="462"/>
                      </a:cubicBezTo>
                      <a:cubicBezTo>
                        <a:pt x="750" y="464"/>
                        <a:pt x="750" y="464"/>
                        <a:pt x="750" y="464"/>
                      </a:cubicBezTo>
                      <a:cubicBezTo>
                        <a:pt x="748" y="466"/>
                        <a:pt x="748" y="466"/>
                        <a:pt x="748" y="466"/>
                      </a:cubicBezTo>
                      <a:cubicBezTo>
                        <a:pt x="746" y="468"/>
                        <a:pt x="746" y="468"/>
                        <a:pt x="746" y="468"/>
                      </a:cubicBezTo>
                      <a:cubicBezTo>
                        <a:pt x="745" y="470"/>
                        <a:pt x="745" y="470"/>
                        <a:pt x="745" y="470"/>
                      </a:cubicBezTo>
                      <a:cubicBezTo>
                        <a:pt x="745" y="473"/>
                        <a:pt x="745" y="473"/>
                        <a:pt x="745" y="473"/>
                      </a:cubicBezTo>
                      <a:cubicBezTo>
                        <a:pt x="744" y="475"/>
                        <a:pt x="744" y="475"/>
                        <a:pt x="744" y="475"/>
                      </a:cubicBezTo>
                      <a:cubicBezTo>
                        <a:pt x="744" y="476"/>
                        <a:pt x="744" y="476"/>
                        <a:pt x="744" y="476"/>
                      </a:cubicBezTo>
                      <a:cubicBezTo>
                        <a:pt x="743" y="477"/>
                        <a:pt x="743" y="477"/>
                        <a:pt x="743" y="477"/>
                      </a:cubicBezTo>
                      <a:cubicBezTo>
                        <a:pt x="737" y="477"/>
                        <a:pt x="737" y="477"/>
                        <a:pt x="737" y="477"/>
                      </a:cubicBezTo>
                      <a:cubicBezTo>
                        <a:pt x="734" y="476"/>
                        <a:pt x="734" y="476"/>
                        <a:pt x="734" y="476"/>
                      </a:cubicBezTo>
                      <a:cubicBezTo>
                        <a:pt x="727" y="476"/>
                        <a:pt x="727" y="476"/>
                        <a:pt x="727" y="476"/>
                      </a:cubicBezTo>
                      <a:cubicBezTo>
                        <a:pt x="724" y="477"/>
                        <a:pt x="724" y="477"/>
                        <a:pt x="724" y="477"/>
                      </a:cubicBezTo>
                      <a:cubicBezTo>
                        <a:pt x="720" y="479"/>
                        <a:pt x="720" y="479"/>
                        <a:pt x="720" y="479"/>
                      </a:cubicBezTo>
                      <a:cubicBezTo>
                        <a:pt x="716" y="479"/>
                        <a:pt x="716" y="479"/>
                        <a:pt x="716" y="479"/>
                      </a:cubicBezTo>
                      <a:cubicBezTo>
                        <a:pt x="714" y="477"/>
                        <a:pt x="714" y="477"/>
                        <a:pt x="714" y="477"/>
                      </a:cubicBezTo>
                      <a:cubicBezTo>
                        <a:pt x="712" y="476"/>
                        <a:pt x="712" y="476"/>
                        <a:pt x="712" y="476"/>
                      </a:cubicBezTo>
                      <a:cubicBezTo>
                        <a:pt x="712" y="478"/>
                        <a:pt x="712" y="478"/>
                        <a:pt x="712" y="478"/>
                      </a:cubicBezTo>
                      <a:cubicBezTo>
                        <a:pt x="715" y="481"/>
                        <a:pt x="715" y="481"/>
                        <a:pt x="715" y="481"/>
                      </a:cubicBezTo>
                      <a:cubicBezTo>
                        <a:pt x="717" y="486"/>
                        <a:pt x="717" y="486"/>
                        <a:pt x="717" y="486"/>
                      </a:cubicBezTo>
                      <a:cubicBezTo>
                        <a:pt x="721" y="490"/>
                        <a:pt x="721" y="490"/>
                        <a:pt x="721" y="490"/>
                      </a:cubicBezTo>
                      <a:cubicBezTo>
                        <a:pt x="722" y="492"/>
                        <a:pt x="722" y="492"/>
                        <a:pt x="722" y="492"/>
                      </a:cubicBezTo>
                      <a:cubicBezTo>
                        <a:pt x="724" y="493"/>
                        <a:pt x="724" y="493"/>
                        <a:pt x="724" y="493"/>
                      </a:cubicBezTo>
                      <a:cubicBezTo>
                        <a:pt x="725" y="494"/>
                        <a:pt x="725" y="494"/>
                        <a:pt x="725" y="494"/>
                      </a:cubicBezTo>
                      <a:cubicBezTo>
                        <a:pt x="722" y="494"/>
                        <a:pt x="722" y="494"/>
                        <a:pt x="722" y="494"/>
                      </a:cubicBezTo>
                      <a:cubicBezTo>
                        <a:pt x="721" y="492"/>
                        <a:pt x="721" y="492"/>
                        <a:pt x="721" y="492"/>
                      </a:cubicBezTo>
                      <a:cubicBezTo>
                        <a:pt x="719" y="491"/>
                        <a:pt x="719" y="491"/>
                        <a:pt x="719" y="491"/>
                      </a:cubicBezTo>
                      <a:cubicBezTo>
                        <a:pt x="718" y="489"/>
                        <a:pt x="718" y="489"/>
                        <a:pt x="718" y="489"/>
                      </a:cubicBezTo>
                      <a:cubicBezTo>
                        <a:pt x="714" y="485"/>
                        <a:pt x="714" y="485"/>
                        <a:pt x="714" y="485"/>
                      </a:cubicBezTo>
                      <a:cubicBezTo>
                        <a:pt x="712" y="481"/>
                        <a:pt x="712" y="481"/>
                        <a:pt x="712" y="481"/>
                      </a:cubicBezTo>
                      <a:cubicBezTo>
                        <a:pt x="709" y="478"/>
                        <a:pt x="709" y="478"/>
                        <a:pt x="709" y="478"/>
                      </a:cubicBezTo>
                      <a:cubicBezTo>
                        <a:pt x="709" y="476"/>
                        <a:pt x="709" y="476"/>
                        <a:pt x="709" y="476"/>
                      </a:cubicBezTo>
                      <a:cubicBezTo>
                        <a:pt x="708" y="475"/>
                        <a:pt x="708" y="475"/>
                        <a:pt x="708" y="475"/>
                      </a:cubicBezTo>
                      <a:cubicBezTo>
                        <a:pt x="708" y="472"/>
                        <a:pt x="708" y="472"/>
                        <a:pt x="708" y="472"/>
                      </a:cubicBezTo>
                      <a:cubicBezTo>
                        <a:pt x="707" y="473"/>
                        <a:pt x="707" y="473"/>
                        <a:pt x="707" y="473"/>
                      </a:cubicBezTo>
                      <a:cubicBezTo>
                        <a:pt x="705" y="471"/>
                        <a:pt x="705" y="471"/>
                        <a:pt x="705" y="471"/>
                      </a:cubicBezTo>
                      <a:cubicBezTo>
                        <a:pt x="702" y="471"/>
                        <a:pt x="702" y="471"/>
                        <a:pt x="702" y="471"/>
                      </a:cubicBezTo>
                      <a:cubicBezTo>
                        <a:pt x="701" y="469"/>
                        <a:pt x="701" y="469"/>
                        <a:pt x="701" y="469"/>
                      </a:cubicBezTo>
                      <a:cubicBezTo>
                        <a:pt x="704" y="469"/>
                        <a:pt x="704" y="469"/>
                        <a:pt x="704" y="469"/>
                      </a:cubicBezTo>
                      <a:cubicBezTo>
                        <a:pt x="707" y="471"/>
                        <a:pt x="707" y="471"/>
                        <a:pt x="707" y="471"/>
                      </a:cubicBezTo>
                      <a:cubicBezTo>
                        <a:pt x="709" y="469"/>
                        <a:pt x="709" y="469"/>
                        <a:pt x="709" y="469"/>
                      </a:cubicBezTo>
                      <a:cubicBezTo>
                        <a:pt x="710" y="466"/>
                        <a:pt x="710" y="466"/>
                        <a:pt x="710" y="466"/>
                      </a:cubicBezTo>
                      <a:cubicBezTo>
                        <a:pt x="711" y="464"/>
                        <a:pt x="711" y="464"/>
                        <a:pt x="711" y="464"/>
                      </a:cubicBezTo>
                      <a:cubicBezTo>
                        <a:pt x="712" y="461"/>
                        <a:pt x="712" y="461"/>
                        <a:pt x="712" y="461"/>
                      </a:cubicBezTo>
                      <a:cubicBezTo>
                        <a:pt x="712" y="452"/>
                        <a:pt x="712" y="452"/>
                        <a:pt x="712" y="452"/>
                      </a:cubicBezTo>
                      <a:cubicBezTo>
                        <a:pt x="710" y="450"/>
                        <a:pt x="710" y="450"/>
                        <a:pt x="710" y="450"/>
                      </a:cubicBezTo>
                      <a:cubicBezTo>
                        <a:pt x="709" y="448"/>
                        <a:pt x="709" y="448"/>
                        <a:pt x="709" y="448"/>
                      </a:cubicBezTo>
                      <a:cubicBezTo>
                        <a:pt x="707" y="447"/>
                        <a:pt x="707" y="447"/>
                        <a:pt x="707" y="447"/>
                      </a:cubicBezTo>
                      <a:cubicBezTo>
                        <a:pt x="705" y="447"/>
                        <a:pt x="705" y="447"/>
                        <a:pt x="705" y="447"/>
                      </a:cubicBezTo>
                      <a:cubicBezTo>
                        <a:pt x="704" y="448"/>
                        <a:pt x="704" y="448"/>
                        <a:pt x="704" y="448"/>
                      </a:cubicBezTo>
                      <a:cubicBezTo>
                        <a:pt x="703" y="450"/>
                        <a:pt x="703" y="450"/>
                        <a:pt x="703" y="450"/>
                      </a:cubicBezTo>
                      <a:cubicBezTo>
                        <a:pt x="702" y="453"/>
                        <a:pt x="702" y="453"/>
                        <a:pt x="702" y="453"/>
                      </a:cubicBezTo>
                      <a:cubicBezTo>
                        <a:pt x="702" y="465"/>
                        <a:pt x="702" y="465"/>
                        <a:pt x="702" y="465"/>
                      </a:cubicBezTo>
                      <a:cubicBezTo>
                        <a:pt x="700" y="467"/>
                        <a:pt x="700" y="467"/>
                        <a:pt x="700" y="467"/>
                      </a:cubicBezTo>
                      <a:cubicBezTo>
                        <a:pt x="700" y="468"/>
                        <a:pt x="700" y="468"/>
                        <a:pt x="700" y="468"/>
                      </a:cubicBezTo>
                      <a:cubicBezTo>
                        <a:pt x="700" y="468"/>
                        <a:pt x="700" y="468"/>
                        <a:pt x="700" y="468"/>
                      </a:cubicBezTo>
                      <a:cubicBezTo>
                        <a:pt x="700" y="467"/>
                        <a:pt x="700" y="467"/>
                        <a:pt x="700" y="467"/>
                      </a:cubicBezTo>
                      <a:cubicBezTo>
                        <a:pt x="699" y="466"/>
                        <a:pt x="699" y="466"/>
                        <a:pt x="699" y="466"/>
                      </a:cubicBezTo>
                      <a:cubicBezTo>
                        <a:pt x="698" y="463"/>
                        <a:pt x="698" y="463"/>
                        <a:pt x="698" y="463"/>
                      </a:cubicBezTo>
                      <a:cubicBezTo>
                        <a:pt x="697" y="461"/>
                        <a:pt x="697" y="461"/>
                        <a:pt x="697" y="461"/>
                      </a:cubicBezTo>
                      <a:cubicBezTo>
                        <a:pt x="697" y="459"/>
                        <a:pt x="697" y="459"/>
                        <a:pt x="697" y="459"/>
                      </a:cubicBezTo>
                      <a:cubicBezTo>
                        <a:pt x="696" y="457"/>
                        <a:pt x="696" y="457"/>
                        <a:pt x="696" y="457"/>
                      </a:cubicBezTo>
                      <a:cubicBezTo>
                        <a:pt x="694" y="456"/>
                        <a:pt x="694" y="456"/>
                        <a:pt x="694" y="456"/>
                      </a:cubicBezTo>
                      <a:cubicBezTo>
                        <a:pt x="692" y="454"/>
                        <a:pt x="692" y="454"/>
                        <a:pt x="692" y="454"/>
                      </a:cubicBezTo>
                      <a:cubicBezTo>
                        <a:pt x="690" y="454"/>
                        <a:pt x="690" y="454"/>
                        <a:pt x="690" y="454"/>
                      </a:cubicBezTo>
                      <a:cubicBezTo>
                        <a:pt x="689" y="452"/>
                        <a:pt x="689" y="452"/>
                        <a:pt x="689" y="452"/>
                      </a:cubicBezTo>
                      <a:cubicBezTo>
                        <a:pt x="689" y="446"/>
                        <a:pt x="689" y="446"/>
                        <a:pt x="689" y="446"/>
                      </a:cubicBezTo>
                      <a:cubicBezTo>
                        <a:pt x="688" y="444"/>
                        <a:pt x="688" y="444"/>
                        <a:pt x="688" y="444"/>
                      </a:cubicBezTo>
                      <a:cubicBezTo>
                        <a:pt x="688" y="442"/>
                        <a:pt x="688" y="442"/>
                        <a:pt x="688" y="442"/>
                      </a:cubicBezTo>
                      <a:cubicBezTo>
                        <a:pt x="686" y="439"/>
                        <a:pt x="686" y="439"/>
                        <a:pt x="686" y="439"/>
                      </a:cubicBezTo>
                      <a:cubicBezTo>
                        <a:pt x="678" y="435"/>
                        <a:pt x="678" y="435"/>
                        <a:pt x="678" y="435"/>
                      </a:cubicBezTo>
                      <a:cubicBezTo>
                        <a:pt x="677" y="434"/>
                        <a:pt x="677" y="434"/>
                        <a:pt x="677" y="434"/>
                      </a:cubicBezTo>
                      <a:cubicBezTo>
                        <a:pt x="676" y="432"/>
                        <a:pt x="676" y="432"/>
                        <a:pt x="676" y="432"/>
                      </a:cubicBezTo>
                      <a:cubicBezTo>
                        <a:pt x="676" y="428"/>
                        <a:pt x="676" y="428"/>
                        <a:pt x="676" y="428"/>
                      </a:cubicBezTo>
                      <a:cubicBezTo>
                        <a:pt x="673" y="425"/>
                        <a:pt x="673" y="425"/>
                        <a:pt x="673" y="425"/>
                      </a:cubicBezTo>
                      <a:cubicBezTo>
                        <a:pt x="672" y="423"/>
                        <a:pt x="672" y="423"/>
                        <a:pt x="672" y="423"/>
                      </a:cubicBezTo>
                      <a:cubicBezTo>
                        <a:pt x="671" y="422"/>
                        <a:pt x="671" y="422"/>
                        <a:pt x="671" y="422"/>
                      </a:cubicBezTo>
                      <a:cubicBezTo>
                        <a:pt x="671" y="418"/>
                        <a:pt x="671" y="418"/>
                        <a:pt x="671" y="418"/>
                      </a:cubicBezTo>
                      <a:cubicBezTo>
                        <a:pt x="670" y="418"/>
                        <a:pt x="670" y="418"/>
                        <a:pt x="670" y="418"/>
                      </a:cubicBezTo>
                      <a:cubicBezTo>
                        <a:pt x="669" y="417"/>
                        <a:pt x="669" y="417"/>
                        <a:pt x="669" y="417"/>
                      </a:cubicBezTo>
                      <a:cubicBezTo>
                        <a:pt x="665" y="417"/>
                        <a:pt x="665" y="417"/>
                        <a:pt x="665" y="417"/>
                      </a:cubicBezTo>
                      <a:cubicBezTo>
                        <a:pt x="664" y="415"/>
                        <a:pt x="664" y="415"/>
                        <a:pt x="664" y="415"/>
                      </a:cubicBezTo>
                      <a:cubicBezTo>
                        <a:pt x="668" y="415"/>
                        <a:pt x="668" y="415"/>
                        <a:pt x="668" y="415"/>
                      </a:cubicBezTo>
                      <a:cubicBezTo>
                        <a:pt x="666" y="414"/>
                        <a:pt x="666" y="414"/>
                        <a:pt x="666" y="414"/>
                      </a:cubicBezTo>
                      <a:cubicBezTo>
                        <a:pt x="664" y="412"/>
                        <a:pt x="664" y="412"/>
                        <a:pt x="664" y="412"/>
                      </a:cubicBezTo>
                      <a:cubicBezTo>
                        <a:pt x="662" y="408"/>
                        <a:pt x="662" y="408"/>
                        <a:pt x="662" y="408"/>
                      </a:cubicBezTo>
                      <a:cubicBezTo>
                        <a:pt x="662" y="406"/>
                        <a:pt x="662" y="406"/>
                        <a:pt x="662" y="406"/>
                      </a:cubicBezTo>
                      <a:cubicBezTo>
                        <a:pt x="660" y="405"/>
                        <a:pt x="660" y="405"/>
                        <a:pt x="660" y="405"/>
                      </a:cubicBezTo>
                      <a:cubicBezTo>
                        <a:pt x="659" y="401"/>
                        <a:pt x="659" y="401"/>
                        <a:pt x="659" y="401"/>
                      </a:cubicBezTo>
                      <a:cubicBezTo>
                        <a:pt x="665" y="401"/>
                        <a:pt x="665" y="401"/>
                        <a:pt x="665" y="401"/>
                      </a:cubicBezTo>
                      <a:cubicBezTo>
                        <a:pt x="665" y="398"/>
                        <a:pt x="665" y="398"/>
                        <a:pt x="665" y="398"/>
                      </a:cubicBezTo>
                      <a:cubicBezTo>
                        <a:pt x="664" y="397"/>
                        <a:pt x="664" y="397"/>
                        <a:pt x="664" y="397"/>
                      </a:cubicBezTo>
                      <a:cubicBezTo>
                        <a:pt x="660" y="397"/>
                        <a:pt x="660" y="397"/>
                        <a:pt x="660" y="397"/>
                      </a:cubicBezTo>
                      <a:cubicBezTo>
                        <a:pt x="660" y="398"/>
                        <a:pt x="660" y="398"/>
                        <a:pt x="660" y="398"/>
                      </a:cubicBezTo>
                      <a:cubicBezTo>
                        <a:pt x="659" y="395"/>
                        <a:pt x="659" y="395"/>
                        <a:pt x="659" y="395"/>
                      </a:cubicBezTo>
                      <a:cubicBezTo>
                        <a:pt x="662" y="395"/>
                        <a:pt x="662" y="395"/>
                        <a:pt x="662" y="395"/>
                      </a:cubicBezTo>
                      <a:cubicBezTo>
                        <a:pt x="663" y="396"/>
                        <a:pt x="663" y="396"/>
                        <a:pt x="663" y="396"/>
                      </a:cubicBezTo>
                      <a:cubicBezTo>
                        <a:pt x="667" y="394"/>
                        <a:pt x="667" y="394"/>
                        <a:pt x="667" y="394"/>
                      </a:cubicBezTo>
                      <a:cubicBezTo>
                        <a:pt x="668" y="393"/>
                        <a:pt x="668" y="393"/>
                        <a:pt x="668" y="393"/>
                      </a:cubicBezTo>
                      <a:cubicBezTo>
                        <a:pt x="667" y="392"/>
                        <a:pt x="667" y="392"/>
                        <a:pt x="667" y="392"/>
                      </a:cubicBezTo>
                      <a:cubicBezTo>
                        <a:pt x="667" y="391"/>
                        <a:pt x="667" y="391"/>
                        <a:pt x="667" y="391"/>
                      </a:cubicBezTo>
                      <a:cubicBezTo>
                        <a:pt x="665" y="389"/>
                        <a:pt x="665" y="389"/>
                        <a:pt x="665" y="389"/>
                      </a:cubicBezTo>
                      <a:cubicBezTo>
                        <a:pt x="663" y="388"/>
                        <a:pt x="663" y="388"/>
                        <a:pt x="663" y="388"/>
                      </a:cubicBezTo>
                      <a:cubicBezTo>
                        <a:pt x="662" y="383"/>
                        <a:pt x="662" y="383"/>
                        <a:pt x="662" y="383"/>
                      </a:cubicBezTo>
                      <a:cubicBezTo>
                        <a:pt x="661" y="383"/>
                        <a:pt x="661" y="383"/>
                        <a:pt x="661" y="383"/>
                      </a:cubicBezTo>
                      <a:cubicBezTo>
                        <a:pt x="660" y="382"/>
                        <a:pt x="660" y="382"/>
                        <a:pt x="660" y="382"/>
                      </a:cubicBezTo>
                      <a:cubicBezTo>
                        <a:pt x="658" y="381"/>
                        <a:pt x="658" y="381"/>
                        <a:pt x="658" y="381"/>
                      </a:cubicBezTo>
                      <a:cubicBezTo>
                        <a:pt x="657" y="380"/>
                        <a:pt x="657" y="380"/>
                        <a:pt x="657" y="380"/>
                      </a:cubicBezTo>
                      <a:cubicBezTo>
                        <a:pt x="657" y="374"/>
                        <a:pt x="657" y="374"/>
                        <a:pt x="657" y="374"/>
                      </a:cubicBezTo>
                      <a:cubicBezTo>
                        <a:pt x="658" y="372"/>
                        <a:pt x="658" y="372"/>
                        <a:pt x="658" y="372"/>
                      </a:cubicBezTo>
                      <a:cubicBezTo>
                        <a:pt x="658" y="370"/>
                        <a:pt x="658" y="370"/>
                        <a:pt x="658" y="370"/>
                      </a:cubicBezTo>
                      <a:cubicBezTo>
                        <a:pt x="652" y="364"/>
                        <a:pt x="652" y="364"/>
                        <a:pt x="652" y="364"/>
                      </a:cubicBezTo>
                      <a:cubicBezTo>
                        <a:pt x="651" y="362"/>
                        <a:pt x="651" y="362"/>
                        <a:pt x="651" y="362"/>
                      </a:cubicBezTo>
                      <a:cubicBezTo>
                        <a:pt x="650" y="361"/>
                        <a:pt x="650" y="361"/>
                        <a:pt x="650" y="361"/>
                      </a:cubicBezTo>
                      <a:cubicBezTo>
                        <a:pt x="647" y="361"/>
                        <a:pt x="647" y="361"/>
                        <a:pt x="647" y="361"/>
                      </a:cubicBezTo>
                      <a:cubicBezTo>
                        <a:pt x="644" y="358"/>
                        <a:pt x="644" y="358"/>
                        <a:pt x="644" y="358"/>
                      </a:cubicBezTo>
                      <a:cubicBezTo>
                        <a:pt x="642" y="357"/>
                        <a:pt x="642" y="357"/>
                        <a:pt x="642" y="357"/>
                      </a:cubicBezTo>
                      <a:cubicBezTo>
                        <a:pt x="641" y="356"/>
                        <a:pt x="641" y="356"/>
                        <a:pt x="641" y="356"/>
                      </a:cubicBezTo>
                      <a:cubicBezTo>
                        <a:pt x="637" y="356"/>
                        <a:pt x="637" y="356"/>
                        <a:pt x="637" y="356"/>
                      </a:cubicBezTo>
                      <a:cubicBezTo>
                        <a:pt x="637" y="348"/>
                        <a:pt x="637" y="348"/>
                        <a:pt x="637" y="348"/>
                      </a:cubicBezTo>
                      <a:cubicBezTo>
                        <a:pt x="636" y="348"/>
                        <a:pt x="636" y="348"/>
                        <a:pt x="636" y="348"/>
                      </a:cubicBezTo>
                      <a:cubicBezTo>
                        <a:pt x="635" y="347"/>
                        <a:pt x="635" y="347"/>
                        <a:pt x="635" y="347"/>
                      </a:cubicBezTo>
                      <a:cubicBezTo>
                        <a:pt x="630" y="345"/>
                        <a:pt x="630" y="345"/>
                        <a:pt x="630" y="345"/>
                      </a:cubicBezTo>
                      <a:cubicBezTo>
                        <a:pt x="628" y="343"/>
                        <a:pt x="628" y="343"/>
                        <a:pt x="628" y="343"/>
                      </a:cubicBezTo>
                      <a:cubicBezTo>
                        <a:pt x="626" y="342"/>
                        <a:pt x="626" y="342"/>
                        <a:pt x="626" y="342"/>
                      </a:cubicBezTo>
                      <a:cubicBezTo>
                        <a:pt x="625" y="341"/>
                        <a:pt x="625" y="341"/>
                        <a:pt x="625" y="341"/>
                      </a:cubicBezTo>
                      <a:cubicBezTo>
                        <a:pt x="625" y="340"/>
                        <a:pt x="625" y="340"/>
                        <a:pt x="625" y="340"/>
                      </a:cubicBezTo>
                      <a:cubicBezTo>
                        <a:pt x="626" y="338"/>
                        <a:pt x="626" y="338"/>
                        <a:pt x="626" y="338"/>
                      </a:cubicBezTo>
                      <a:cubicBezTo>
                        <a:pt x="627" y="337"/>
                        <a:pt x="627" y="337"/>
                        <a:pt x="627" y="337"/>
                      </a:cubicBezTo>
                      <a:cubicBezTo>
                        <a:pt x="625" y="335"/>
                        <a:pt x="625" y="335"/>
                        <a:pt x="625" y="335"/>
                      </a:cubicBezTo>
                      <a:cubicBezTo>
                        <a:pt x="625" y="334"/>
                        <a:pt x="625" y="334"/>
                        <a:pt x="625" y="334"/>
                      </a:cubicBezTo>
                      <a:cubicBezTo>
                        <a:pt x="627" y="332"/>
                        <a:pt x="627" y="332"/>
                        <a:pt x="627" y="332"/>
                      </a:cubicBezTo>
                      <a:cubicBezTo>
                        <a:pt x="629" y="332"/>
                        <a:pt x="629" y="332"/>
                        <a:pt x="629" y="332"/>
                      </a:cubicBezTo>
                      <a:cubicBezTo>
                        <a:pt x="629" y="327"/>
                        <a:pt x="629" y="327"/>
                        <a:pt x="629" y="327"/>
                      </a:cubicBezTo>
                      <a:cubicBezTo>
                        <a:pt x="630" y="327"/>
                        <a:pt x="630" y="327"/>
                        <a:pt x="630" y="327"/>
                      </a:cubicBezTo>
                      <a:cubicBezTo>
                        <a:pt x="632" y="325"/>
                        <a:pt x="632" y="325"/>
                        <a:pt x="632" y="325"/>
                      </a:cubicBezTo>
                      <a:cubicBezTo>
                        <a:pt x="632" y="324"/>
                        <a:pt x="632" y="324"/>
                        <a:pt x="632" y="324"/>
                      </a:cubicBezTo>
                      <a:cubicBezTo>
                        <a:pt x="631" y="322"/>
                        <a:pt x="631" y="322"/>
                        <a:pt x="631" y="322"/>
                      </a:cubicBezTo>
                      <a:cubicBezTo>
                        <a:pt x="629" y="320"/>
                        <a:pt x="629" y="320"/>
                        <a:pt x="629" y="320"/>
                      </a:cubicBezTo>
                      <a:cubicBezTo>
                        <a:pt x="629" y="319"/>
                        <a:pt x="629" y="319"/>
                        <a:pt x="629" y="319"/>
                      </a:cubicBezTo>
                      <a:cubicBezTo>
                        <a:pt x="632" y="316"/>
                        <a:pt x="632" y="316"/>
                        <a:pt x="632" y="316"/>
                      </a:cubicBezTo>
                      <a:cubicBezTo>
                        <a:pt x="632" y="315"/>
                        <a:pt x="632" y="315"/>
                        <a:pt x="632" y="315"/>
                      </a:cubicBezTo>
                      <a:cubicBezTo>
                        <a:pt x="630" y="315"/>
                        <a:pt x="630" y="315"/>
                        <a:pt x="630" y="315"/>
                      </a:cubicBezTo>
                      <a:cubicBezTo>
                        <a:pt x="628" y="316"/>
                        <a:pt x="628" y="316"/>
                        <a:pt x="628" y="316"/>
                      </a:cubicBezTo>
                      <a:cubicBezTo>
                        <a:pt x="627" y="317"/>
                        <a:pt x="627" y="317"/>
                        <a:pt x="627" y="317"/>
                      </a:cubicBezTo>
                      <a:cubicBezTo>
                        <a:pt x="625" y="314"/>
                        <a:pt x="625" y="314"/>
                        <a:pt x="625" y="314"/>
                      </a:cubicBezTo>
                      <a:cubicBezTo>
                        <a:pt x="621" y="313"/>
                        <a:pt x="621" y="313"/>
                        <a:pt x="621" y="313"/>
                      </a:cubicBezTo>
                      <a:cubicBezTo>
                        <a:pt x="621" y="310"/>
                        <a:pt x="621" y="310"/>
                        <a:pt x="621" y="310"/>
                      </a:cubicBezTo>
                      <a:cubicBezTo>
                        <a:pt x="619" y="308"/>
                        <a:pt x="619" y="308"/>
                        <a:pt x="619" y="308"/>
                      </a:cubicBezTo>
                      <a:cubicBezTo>
                        <a:pt x="615" y="300"/>
                        <a:pt x="615" y="300"/>
                        <a:pt x="615" y="300"/>
                      </a:cubicBezTo>
                      <a:cubicBezTo>
                        <a:pt x="615" y="298"/>
                        <a:pt x="615" y="298"/>
                        <a:pt x="615" y="298"/>
                      </a:cubicBezTo>
                      <a:cubicBezTo>
                        <a:pt x="607" y="300"/>
                        <a:pt x="607" y="300"/>
                        <a:pt x="607" y="300"/>
                      </a:cubicBezTo>
                      <a:cubicBezTo>
                        <a:pt x="607" y="298"/>
                        <a:pt x="607" y="298"/>
                        <a:pt x="607" y="298"/>
                      </a:cubicBezTo>
                      <a:cubicBezTo>
                        <a:pt x="612" y="297"/>
                        <a:pt x="612" y="297"/>
                        <a:pt x="612" y="297"/>
                      </a:cubicBezTo>
                      <a:cubicBezTo>
                        <a:pt x="612" y="295"/>
                        <a:pt x="612" y="295"/>
                        <a:pt x="612" y="295"/>
                      </a:cubicBezTo>
                      <a:cubicBezTo>
                        <a:pt x="608" y="294"/>
                        <a:pt x="608" y="294"/>
                        <a:pt x="608" y="294"/>
                      </a:cubicBezTo>
                      <a:cubicBezTo>
                        <a:pt x="608" y="289"/>
                        <a:pt x="608" y="289"/>
                        <a:pt x="608" y="289"/>
                      </a:cubicBezTo>
                      <a:cubicBezTo>
                        <a:pt x="605" y="287"/>
                        <a:pt x="605" y="287"/>
                        <a:pt x="605" y="287"/>
                      </a:cubicBezTo>
                      <a:cubicBezTo>
                        <a:pt x="604" y="283"/>
                        <a:pt x="604" y="283"/>
                        <a:pt x="604" y="283"/>
                      </a:cubicBezTo>
                      <a:cubicBezTo>
                        <a:pt x="604" y="282"/>
                        <a:pt x="604" y="282"/>
                        <a:pt x="604" y="282"/>
                      </a:cubicBezTo>
                      <a:cubicBezTo>
                        <a:pt x="604" y="281"/>
                        <a:pt x="604" y="281"/>
                        <a:pt x="604" y="281"/>
                      </a:cubicBezTo>
                      <a:cubicBezTo>
                        <a:pt x="605" y="280"/>
                        <a:pt x="605" y="280"/>
                        <a:pt x="605" y="280"/>
                      </a:cubicBezTo>
                      <a:cubicBezTo>
                        <a:pt x="604" y="280"/>
                        <a:pt x="604" y="280"/>
                        <a:pt x="604" y="280"/>
                      </a:cubicBezTo>
                      <a:cubicBezTo>
                        <a:pt x="603" y="279"/>
                        <a:pt x="603" y="279"/>
                        <a:pt x="603" y="279"/>
                      </a:cubicBezTo>
                      <a:cubicBezTo>
                        <a:pt x="605" y="262"/>
                        <a:pt x="605" y="262"/>
                        <a:pt x="605" y="262"/>
                      </a:cubicBezTo>
                      <a:cubicBezTo>
                        <a:pt x="606" y="264"/>
                        <a:pt x="606" y="264"/>
                        <a:pt x="606" y="264"/>
                      </a:cubicBezTo>
                      <a:cubicBezTo>
                        <a:pt x="606" y="265"/>
                        <a:pt x="606" y="265"/>
                        <a:pt x="606" y="265"/>
                      </a:cubicBezTo>
                      <a:cubicBezTo>
                        <a:pt x="607" y="266"/>
                        <a:pt x="607" y="266"/>
                        <a:pt x="607" y="266"/>
                      </a:cubicBezTo>
                      <a:cubicBezTo>
                        <a:pt x="610" y="262"/>
                        <a:pt x="610" y="262"/>
                        <a:pt x="610" y="262"/>
                      </a:cubicBezTo>
                      <a:cubicBezTo>
                        <a:pt x="613" y="262"/>
                        <a:pt x="613" y="262"/>
                        <a:pt x="613" y="262"/>
                      </a:cubicBezTo>
                      <a:cubicBezTo>
                        <a:pt x="615" y="264"/>
                        <a:pt x="615" y="264"/>
                        <a:pt x="615" y="264"/>
                      </a:cubicBezTo>
                      <a:cubicBezTo>
                        <a:pt x="620" y="264"/>
                        <a:pt x="620" y="264"/>
                        <a:pt x="620" y="264"/>
                      </a:cubicBezTo>
                      <a:cubicBezTo>
                        <a:pt x="620" y="266"/>
                        <a:pt x="620" y="266"/>
                        <a:pt x="620" y="266"/>
                      </a:cubicBezTo>
                      <a:cubicBezTo>
                        <a:pt x="621" y="267"/>
                        <a:pt x="621" y="267"/>
                        <a:pt x="621" y="267"/>
                      </a:cubicBezTo>
                      <a:cubicBezTo>
                        <a:pt x="621" y="269"/>
                        <a:pt x="621" y="269"/>
                        <a:pt x="621" y="269"/>
                      </a:cubicBezTo>
                      <a:cubicBezTo>
                        <a:pt x="622" y="271"/>
                        <a:pt x="622" y="271"/>
                        <a:pt x="622" y="271"/>
                      </a:cubicBezTo>
                      <a:cubicBezTo>
                        <a:pt x="622" y="273"/>
                        <a:pt x="622" y="273"/>
                        <a:pt x="622" y="273"/>
                      </a:cubicBezTo>
                      <a:cubicBezTo>
                        <a:pt x="623" y="274"/>
                        <a:pt x="623" y="274"/>
                        <a:pt x="623" y="274"/>
                      </a:cubicBezTo>
                      <a:cubicBezTo>
                        <a:pt x="623" y="275"/>
                        <a:pt x="623" y="275"/>
                        <a:pt x="623" y="275"/>
                      </a:cubicBezTo>
                      <a:cubicBezTo>
                        <a:pt x="628" y="275"/>
                        <a:pt x="628" y="275"/>
                        <a:pt x="628" y="275"/>
                      </a:cubicBezTo>
                      <a:cubicBezTo>
                        <a:pt x="628" y="268"/>
                        <a:pt x="628" y="268"/>
                        <a:pt x="628" y="268"/>
                      </a:cubicBezTo>
                      <a:cubicBezTo>
                        <a:pt x="627" y="266"/>
                        <a:pt x="627" y="266"/>
                        <a:pt x="627" y="266"/>
                      </a:cubicBezTo>
                      <a:cubicBezTo>
                        <a:pt x="627" y="264"/>
                        <a:pt x="627" y="264"/>
                        <a:pt x="627" y="264"/>
                      </a:cubicBezTo>
                      <a:cubicBezTo>
                        <a:pt x="622" y="263"/>
                        <a:pt x="622" y="263"/>
                        <a:pt x="622" y="263"/>
                      </a:cubicBezTo>
                      <a:cubicBezTo>
                        <a:pt x="620" y="260"/>
                        <a:pt x="620" y="260"/>
                        <a:pt x="620" y="260"/>
                      </a:cubicBezTo>
                      <a:cubicBezTo>
                        <a:pt x="616" y="258"/>
                        <a:pt x="616" y="258"/>
                        <a:pt x="616" y="258"/>
                      </a:cubicBezTo>
                      <a:cubicBezTo>
                        <a:pt x="618" y="258"/>
                        <a:pt x="618" y="258"/>
                        <a:pt x="618" y="258"/>
                      </a:cubicBezTo>
                      <a:cubicBezTo>
                        <a:pt x="620" y="255"/>
                        <a:pt x="620" y="255"/>
                        <a:pt x="620" y="255"/>
                      </a:cubicBezTo>
                      <a:cubicBezTo>
                        <a:pt x="620" y="254"/>
                        <a:pt x="620" y="254"/>
                        <a:pt x="620" y="254"/>
                      </a:cubicBezTo>
                      <a:cubicBezTo>
                        <a:pt x="619" y="253"/>
                        <a:pt x="619" y="253"/>
                        <a:pt x="619" y="253"/>
                      </a:cubicBezTo>
                      <a:cubicBezTo>
                        <a:pt x="616" y="251"/>
                        <a:pt x="616" y="251"/>
                        <a:pt x="616" y="251"/>
                      </a:cubicBezTo>
                      <a:cubicBezTo>
                        <a:pt x="615" y="250"/>
                        <a:pt x="615" y="250"/>
                        <a:pt x="615" y="250"/>
                      </a:cubicBezTo>
                      <a:cubicBezTo>
                        <a:pt x="614" y="250"/>
                        <a:pt x="614" y="250"/>
                        <a:pt x="614" y="250"/>
                      </a:cubicBezTo>
                      <a:cubicBezTo>
                        <a:pt x="615" y="249"/>
                        <a:pt x="615" y="249"/>
                        <a:pt x="615" y="249"/>
                      </a:cubicBezTo>
                      <a:cubicBezTo>
                        <a:pt x="615" y="245"/>
                        <a:pt x="615" y="245"/>
                        <a:pt x="615" y="245"/>
                      </a:cubicBezTo>
                      <a:cubicBezTo>
                        <a:pt x="614" y="244"/>
                        <a:pt x="614" y="244"/>
                        <a:pt x="614" y="244"/>
                      </a:cubicBezTo>
                      <a:cubicBezTo>
                        <a:pt x="611" y="244"/>
                        <a:pt x="611" y="244"/>
                        <a:pt x="611" y="244"/>
                      </a:cubicBezTo>
                      <a:cubicBezTo>
                        <a:pt x="611" y="242"/>
                        <a:pt x="611" y="242"/>
                        <a:pt x="611" y="242"/>
                      </a:cubicBezTo>
                      <a:cubicBezTo>
                        <a:pt x="609" y="241"/>
                        <a:pt x="609" y="241"/>
                        <a:pt x="609" y="241"/>
                      </a:cubicBezTo>
                      <a:cubicBezTo>
                        <a:pt x="608" y="239"/>
                        <a:pt x="608" y="239"/>
                        <a:pt x="608" y="239"/>
                      </a:cubicBezTo>
                      <a:cubicBezTo>
                        <a:pt x="606" y="239"/>
                        <a:pt x="606" y="239"/>
                        <a:pt x="606" y="239"/>
                      </a:cubicBezTo>
                      <a:cubicBezTo>
                        <a:pt x="606" y="238"/>
                        <a:pt x="606" y="238"/>
                        <a:pt x="606" y="238"/>
                      </a:cubicBezTo>
                      <a:cubicBezTo>
                        <a:pt x="607" y="238"/>
                        <a:pt x="607" y="238"/>
                        <a:pt x="607" y="238"/>
                      </a:cubicBezTo>
                      <a:cubicBezTo>
                        <a:pt x="609" y="239"/>
                        <a:pt x="609" y="239"/>
                        <a:pt x="609" y="239"/>
                      </a:cubicBezTo>
                      <a:cubicBezTo>
                        <a:pt x="610" y="239"/>
                        <a:pt x="610" y="239"/>
                        <a:pt x="610" y="239"/>
                      </a:cubicBezTo>
                      <a:cubicBezTo>
                        <a:pt x="610" y="238"/>
                        <a:pt x="610" y="238"/>
                        <a:pt x="610" y="238"/>
                      </a:cubicBezTo>
                      <a:cubicBezTo>
                        <a:pt x="612" y="236"/>
                        <a:pt x="612" y="236"/>
                        <a:pt x="612" y="236"/>
                      </a:cubicBezTo>
                      <a:cubicBezTo>
                        <a:pt x="616" y="236"/>
                        <a:pt x="616" y="236"/>
                        <a:pt x="616" y="236"/>
                      </a:cubicBezTo>
                      <a:cubicBezTo>
                        <a:pt x="617" y="237"/>
                        <a:pt x="617" y="237"/>
                        <a:pt x="617" y="237"/>
                      </a:cubicBezTo>
                      <a:cubicBezTo>
                        <a:pt x="617" y="238"/>
                        <a:pt x="617" y="238"/>
                        <a:pt x="617" y="238"/>
                      </a:cubicBezTo>
                      <a:cubicBezTo>
                        <a:pt x="620" y="241"/>
                        <a:pt x="620" y="241"/>
                        <a:pt x="620" y="241"/>
                      </a:cubicBezTo>
                      <a:cubicBezTo>
                        <a:pt x="622" y="240"/>
                        <a:pt x="622" y="240"/>
                        <a:pt x="622" y="240"/>
                      </a:cubicBezTo>
                      <a:cubicBezTo>
                        <a:pt x="624" y="240"/>
                        <a:pt x="624" y="240"/>
                        <a:pt x="624" y="240"/>
                      </a:cubicBezTo>
                      <a:cubicBezTo>
                        <a:pt x="627" y="243"/>
                        <a:pt x="627" y="243"/>
                        <a:pt x="627" y="243"/>
                      </a:cubicBezTo>
                      <a:cubicBezTo>
                        <a:pt x="628" y="242"/>
                        <a:pt x="628" y="242"/>
                        <a:pt x="628" y="242"/>
                      </a:cubicBezTo>
                      <a:cubicBezTo>
                        <a:pt x="627" y="240"/>
                        <a:pt x="627" y="240"/>
                        <a:pt x="627" y="240"/>
                      </a:cubicBezTo>
                      <a:cubicBezTo>
                        <a:pt x="626" y="239"/>
                        <a:pt x="626" y="239"/>
                        <a:pt x="626" y="239"/>
                      </a:cubicBezTo>
                      <a:cubicBezTo>
                        <a:pt x="625" y="237"/>
                        <a:pt x="625" y="237"/>
                        <a:pt x="625" y="237"/>
                      </a:cubicBezTo>
                      <a:cubicBezTo>
                        <a:pt x="624" y="236"/>
                        <a:pt x="624" y="236"/>
                        <a:pt x="624" y="236"/>
                      </a:cubicBezTo>
                      <a:cubicBezTo>
                        <a:pt x="623" y="236"/>
                        <a:pt x="623" y="236"/>
                        <a:pt x="623" y="236"/>
                      </a:cubicBezTo>
                      <a:cubicBezTo>
                        <a:pt x="620" y="233"/>
                        <a:pt x="620" y="233"/>
                        <a:pt x="620" y="233"/>
                      </a:cubicBezTo>
                      <a:cubicBezTo>
                        <a:pt x="621" y="232"/>
                        <a:pt x="621" y="232"/>
                        <a:pt x="621" y="232"/>
                      </a:cubicBezTo>
                      <a:cubicBezTo>
                        <a:pt x="623" y="232"/>
                        <a:pt x="623" y="232"/>
                        <a:pt x="623" y="232"/>
                      </a:cubicBezTo>
                      <a:cubicBezTo>
                        <a:pt x="621" y="230"/>
                        <a:pt x="621" y="230"/>
                        <a:pt x="621" y="230"/>
                      </a:cubicBezTo>
                      <a:cubicBezTo>
                        <a:pt x="619" y="229"/>
                        <a:pt x="619" y="229"/>
                        <a:pt x="619" y="229"/>
                      </a:cubicBezTo>
                      <a:cubicBezTo>
                        <a:pt x="617" y="227"/>
                        <a:pt x="617" y="227"/>
                        <a:pt x="617" y="227"/>
                      </a:cubicBezTo>
                      <a:cubicBezTo>
                        <a:pt x="614" y="227"/>
                        <a:pt x="614" y="227"/>
                        <a:pt x="614" y="227"/>
                      </a:cubicBezTo>
                      <a:cubicBezTo>
                        <a:pt x="614" y="226"/>
                        <a:pt x="614" y="226"/>
                        <a:pt x="614" y="226"/>
                      </a:cubicBezTo>
                      <a:cubicBezTo>
                        <a:pt x="615" y="225"/>
                        <a:pt x="615" y="225"/>
                        <a:pt x="615" y="225"/>
                      </a:cubicBezTo>
                      <a:cubicBezTo>
                        <a:pt x="615" y="223"/>
                        <a:pt x="615" y="223"/>
                        <a:pt x="615" y="223"/>
                      </a:cubicBezTo>
                      <a:cubicBezTo>
                        <a:pt x="610" y="222"/>
                        <a:pt x="610" y="222"/>
                        <a:pt x="610" y="222"/>
                      </a:cubicBezTo>
                      <a:cubicBezTo>
                        <a:pt x="607" y="220"/>
                        <a:pt x="607" y="220"/>
                        <a:pt x="607" y="220"/>
                      </a:cubicBezTo>
                      <a:cubicBezTo>
                        <a:pt x="605" y="219"/>
                        <a:pt x="605" y="219"/>
                        <a:pt x="605" y="219"/>
                      </a:cubicBezTo>
                      <a:cubicBezTo>
                        <a:pt x="600" y="219"/>
                        <a:pt x="600" y="219"/>
                        <a:pt x="600" y="219"/>
                      </a:cubicBezTo>
                      <a:cubicBezTo>
                        <a:pt x="600" y="220"/>
                        <a:pt x="600" y="220"/>
                        <a:pt x="600" y="220"/>
                      </a:cubicBezTo>
                      <a:cubicBezTo>
                        <a:pt x="598" y="220"/>
                        <a:pt x="598" y="220"/>
                        <a:pt x="598" y="220"/>
                      </a:cubicBezTo>
                      <a:cubicBezTo>
                        <a:pt x="597" y="221"/>
                        <a:pt x="597" y="221"/>
                        <a:pt x="597" y="221"/>
                      </a:cubicBezTo>
                      <a:cubicBezTo>
                        <a:pt x="593" y="221"/>
                        <a:pt x="593" y="221"/>
                        <a:pt x="593" y="221"/>
                      </a:cubicBezTo>
                      <a:cubicBezTo>
                        <a:pt x="591" y="220"/>
                        <a:pt x="591" y="220"/>
                        <a:pt x="591" y="220"/>
                      </a:cubicBezTo>
                      <a:cubicBezTo>
                        <a:pt x="590" y="220"/>
                        <a:pt x="590" y="220"/>
                        <a:pt x="590" y="220"/>
                      </a:cubicBezTo>
                      <a:cubicBezTo>
                        <a:pt x="590" y="219"/>
                        <a:pt x="590" y="219"/>
                        <a:pt x="590" y="219"/>
                      </a:cubicBezTo>
                      <a:cubicBezTo>
                        <a:pt x="581" y="214"/>
                        <a:pt x="581" y="214"/>
                        <a:pt x="581" y="214"/>
                      </a:cubicBezTo>
                      <a:cubicBezTo>
                        <a:pt x="580" y="214"/>
                        <a:pt x="580" y="214"/>
                        <a:pt x="580" y="214"/>
                      </a:cubicBezTo>
                      <a:cubicBezTo>
                        <a:pt x="579" y="213"/>
                        <a:pt x="579" y="213"/>
                        <a:pt x="579" y="213"/>
                      </a:cubicBezTo>
                      <a:cubicBezTo>
                        <a:pt x="573" y="213"/>
                        <a:pt x="573" y="213"/>
                        <a:pt x="573" y="213"/>
                      </a:cubicBezTo>
                      <a:cubicBezTo>
                        <a:pt x="563" y="211"/>
                        <a:pt x="563" y="211"/>
                        <a:pt x="563" y="211"/>
                      </a:cubicBezTo>
                      <a:cubicBezTo>
                        <a:pt x="560" y="210"/>
                        <a:pt x="560" y="210"/>
                        <a:pt x="560" y="210"/>
                      </a:cubicBezTo>
                      <a:cubicBezTo>
                        <a:pt x="558" y="209"/>
                        <a:pt x="558" y="209"/>
                        <a:pt x="558" y="209"/>
                      </a:cubicBezTo>
                      <a:cubicBezTo>
                        <a:pt x="554" y="207"/>
                        <a:pt x="554" y="207"/>
                        <a:pt x="554" y="207"/>
                      </a:cubicBezTo>
                      <a:cubicBezTo>
                        <a:pt x="552" y="207"/>
                        <a:pt x="552" y="207"/>
                        <a:pt x="552" y="207"/>
                      </a:cubicBezTo>
                      <a:cubicBezTo>
                        <a:pt x="548" y="211"/>
                        <a:pt x="548" y="211"/>
                        <a:pt x="548" y="211"/>
                      </a:cubicBezTo>
                      <a:cubicBezTo>
                        <a:pt x="549" y="211"/>
                        <a:pt x="549" y="211"/>
                        <a:pt x="549" y="211"/>
                      </a:cubicBezTo>
                      <a:cubicBezTo>
                        <a:pt x="550" y="211"/>
                        <a:pt x="550" y="211"/>
                        <a:pt x="550" y="211"/>
                      </a:cubicBezTo>
                      <a:cubicBezTo>
                        <a:pt x="551" y="212"/>
                        <a:pt x="551" y="212"/>
                        <a:pt x="551" y="212"/>
                      </a:cubicBezTo>
                      <a:cubicBezTo>
                        <a:pt x="553" y="213"/>
                        <a:pt x="553" y="213"/>
                        <a:pt x="553" y="213"/>
                      </a:cubicBezTo>
                      <a:cubicBezTo>
                        <a:pt x="556" y="215"/>
                        <a:pt x="556" y="215"/>
                        <a:pt x="556" y="215"/>
                      </a:cubicBezTo>
                      <a:cubicBezTo>
                        <a:pt x="559" y="216"/>
                        <a:pt x="559" y="216"/>
                        <a:pt x="559" y="216"/>
                      </a:cubicBezTo>
                      <a:cubicBezTo>
                        <a:pt x="561" y="217"/>
                        <a:pt x="561" y="217"/>
                        <a:pt x="561" y="217"/>
                      </a:cubicBezTo>
                      <a:cubicBezTo>
                        <a:pt x="562" y="217"/>
                        <a:pt x="562" y="217"/>
                        <a:pt x="562" y="217"/>
                      </a:cubicBezTo>
                      <a:cubicBezTo>
                        <a:pt x="563" y="218"/>
                        <a:pt x="563" y="218"/>
                        <a:pt x="563" y="218"/>
                      </a:cubicBezTo>
                      <a:cubicBezTo>
                        <a:pt x="565" y="219"/>
                        <a:pt x="565" y="219"/>
                        <a:pt x="565" y="219"/>
                      </a:cubicBezTo>
                      <a:cubicBezTo>
                        <a:pt x="566" y="221"/>
                        <a:pt x="566" y="221"/>
                        <a:pt x="566" y="221"/>
                      </a:cubicBezTo>
                      <a:cubicBezTo>
                        <a:pt x="568" y="222"/>
                        <a:pt x="568" y="222"/>
                        <a:pt x="568" y="222"/>
                      </a:cubicBezTo>
                      <a:cubicBezTo>
                        <a:pt x="568" y="224"/>
                        <a:pt x="568" y="224"/>
                        <a:pt x="568" y="224"/>
                      </a:cubicBezTo>
                      <a:cubicBezTo>
                        <a:pt x="569" y="227"/>
                        <a:pt x="569" y="227"/>
                        <a:pt x="569" y="227"/>
                      </a:cubicBezTo>
                      <a:cubicBezTo>
                        <a:pt x="569" y="230"/>
                        <a:pt x="569" y="230"/>
                        <a:pt x="569" y="230"/>
                      </a:cubicBezTo>
                      <a:cubicBezTo>
                        <a:pt x="570" y="231"/>
                        <a:pt x="570" y="231"/>
                        <a:pt x="570" y="231"/>
                      </a:cubicBezTo>
                      <a:cubicBezTo>
                        <a:pt x="571" y="233"/>
                        <a:pt x="571" y="233"/>
                        <a:pt x="571" y="233"/>
                      </a:cubicBezTo>
                      <a:cubicBezTo>
                        <a:pt x="572" y="234"/>
                        <a:pt x="572" y="234"/>
                        <a:pt x="572" y="234"/>
                      </a:cubicBezTo>
                      <a:cubicBezTo>
                        <a:pt x="572" y="235"/>
                        <a:pt x="572" y="235"/>
                        <a:pt x="572" y="235"/>
                      </a:cubicBezTo>
                      <a:cubicBezTo>
                        <a:pt x="571" y="236"/>
                        <a:pt x="571" y="236"/>
                        <a:pt x="571" y="236"/>
                      </a:cubicBezTo>
                      <a:cubicBezTo>
                        <a:pt x="570" y="237"/>
                        <a:pt x="570" y="237"/>
                        <a:pt x="570" y="237"/>
                      </a:cubicBezTo>
                      <a:cubicBezTo>
                        <a:pt x="569" y="237"/>
                        <a:pt x="569" y="237"/>
                        <a:pt x="569" y="237"/>
                      </a:cubicBezTo>
                      <a:cubicBezTo>
                        <a:pt x="567" y="239"/>
                        <a:pt x="567" y="239"/>
                        <a:pt x="567" y="239"/>
                      </a:cubicBezTo>
                      <a:cubicBezTo>
                        <a:pt x="561" y="243"/>
                        <a:pt x="561" y="243"/>
                        <a:pt x="561" y="243"/>
                      </a:cubicBezTo>
                      <a:cubicBezTo>
                        <a:pt x="559" y="244"/>
                        <a:pt x="559" y="244"/>
                        <a:pt x="559" y="244"/>
                      </a:cubicBezTo>
                      <a:cubicBezTo>
                        <a:pt x="545" y="244"/>
                        <a:pt x="545" y="244"/>
                        <a:pt x="545" y="244"/>
                      </a:cubicBezTo>
                      <a:cubicBezTo>
                        <a:pt x="536" y="246"/>
                        <a:pt x="536" y="246"/>
                        <a:pt x="536" y="246"/>
                      </a:cubicBezTo>
                      <a:cubicBezTo>
                        <a:pt x="524" y="242"/>
                        <a:pt x="524" y="242"/>
                        <a:pt x="524" y="242"/>
                      </a:cubicBezTo>
                      <a:cubicBezTo>
                        <a:pt x="520" y="244"/>
                        <a:pt x="520" y="244"/>
                        <a:pt x="520" y="244"/>
                      </a:cubicBezTo>
                      <a:cubicBezTo>
                        <a:pt x="520" y="243"/>
                        <a:pt x="520" y="243"/>
                        <a:pt x="520" y="243"/>
                      </a:cubicBezTo>
                      <a:cubicBezTo>
                        <a:pt x="519" y="242"/>
                        <a:pt x="519" y="242"/>
                        <a:pt x="519" y="242"/>
                      </a:cubicBezTo>
                      <a:cubicBezTo>
                        <a:pt x="518" y="240"/>
                        <a:pt x="518" y="240"/>
                        <a:pt x="518" y="240"/>
                      </a:cubicBezTo>
                      <a:cubicBezTo>
                        <a:pt x="517" y="239"/>
                        <a:pt x="517" y="239"/>
                        <a:pt x="517" y="239"/>
                      </a:cubicBezTo>
                      <a:cubicBezTo>
                        <a:pt x="515" y="239"/>
                        <a:pt x="515" y="239"/>
                        <a:pt x="515" y="239"/>
                      </a:cubicBezTo>
                      <a:cubicBezTo>
                        <a:pt x="513" y="240"/>
                        <a:pt x="513" y="240"/>
                        <a:pt x="513" y="240"/>
                      </a:cubicBezTo>
                      <a:cubicBezTo>
                        <a:pt x="512" y="241"/>
                        <a:pt x="512" y="241"/>
                        <a:pt x="512" y="241"/>
                      </a:cubicBezTo>
                      <a:cubicBezTo>
                        <a:pt x="507" y="238"/>
                        <a:pt x="507" y="238"/>
                        <a:pt x="507" y="238"/>
                      </a:cubicBezTo>
                      <a:cubicBezTo>
                        <a:pt x="507" y="234"/>
                        <a:pt x="507" y="234"/>
                        <a:pt x="507" y="234"/>
                      </a:cubicBezTo>
                      <a:cubicBezTo>
                        <a:pt x="499" y="236"/>
                        <a:pt x="499" y="236"/>
                        <a:pt x="499" y="236"/>
                      </a:cubicBezTo>
                      <a:cubicBezTo>
                        <a:pt x="495" y="233"/>
                        <a:pt x="495" y="233"/>
                        <a:pt x="495" y="233"/>
                      </a:cubicBezTo>
                      <a:cubicBezTo>
                        <a:pt x="494" y="230"/>
                        <a:pt x="494" y="230"/>
                        <a:pt x="494" y="230"/>
                      </a:cubicBezTo>
                      <a:cubicBezTo>
                        <a:pt x="493" y="230"/>
                        <a:pt x="493" y="230"/>
                        <a:pt x="493" y="230"/>
                      </a:cubicBezTo>
                      <a:cubicBezTo>
                        <a:pt x="492" y="231"/>
                        <a:pt x="492" y="231"/>
                        <a:pt x="492" y="231"/>
                      </a:cubicBezTo>
                      <a:cubicBezTo>
                        <a:pt x="489" y="231"/>
                        <a:pt x="489" y="231"/>
                        <a:pt x="489" y="231"/>
                      </a:cubicBezTo>
                      <a:cubicBezTo>
                        <a:pt x="487" y="232"/>
                        <a:pt x="487" y="232"/>
                        <a:pt x="487" y="232"/>
                      </a:cubicBezTo>
                      <a:cubicBezTo>
                        <a:pt x="482" y="232"/>
                        <a:pt x="482" y="232"/>
                        <a:pt x="482" y="232"/>
                      </a:cubicBezTo>
                      <a:cubicBezTo>
                        <a:pt x="478" y="231"/>
                        <a:pt x="478" y="231"/>
                        <a:pt x="478" y="231"/>
                      </a:cubicBezTo>
                      <a:cubicBezTo>
                        <a:pt x="473" y="231"/>
                        <a:pt x="473" y="231"/>
                        <a:pt x="473" y="231"/>
                      </a:cubicBezTo>
                      <a:cubicBezTo>
                        <a:pt x="471" y="232"/>
                        <a:pt x="471" y="232"/>
                        <a:pt x="471" y="232"/>
                      </a:cubicBezTo>
                      <a:cubicBezTo>
                        <a:pt x="465" y="234"/>
                        <a:pt x="465" y="234"/>
                        <a:pt x="465" y="234"/>
                      </a:cubicBezTo>
                      <a:cubicBezTo>
                        <a:pt x="463" y="235"/>
                        <a:pt x="463" y="235"/>
                        <a:pt x="463" y="235"/>
                      </a:cubicBezTo>
                      <a:cubicBezTo>
                        <a:pt x="462" y="236"/>
                        <a:pt x="462" y="236"/>
                        <a:pt x="462" y="236"/>
                      </a:cubicBezTo>
                      <a:cubicBezTo>
                        <a:pt x="460" y="237"/>
                        <a:pt x="460" y="237"/>
                        <a:pt x="460" y="237"/>
                      </a:cubicBezTo>
                      <a:cubicBezTo>
                        <a:pt x="458" y="239"/>
                        <a:pt x="458" y="239"/>
                        <a:pt x="458" y="239"/>
                      </a:cubicBezTo>
                      <a:cubicBezTo>
                        <a:pt x="457" y="239"/>
                        <a:pt x="457" y="239"/>
                        <a:pt x="457" y="239"/>
                      </a:cubicBezTo>
                      <a:cubicBezTo>
                        <a:pt x="455" y="243"/>
                        <a:pt x="455" y="243"/>
                        <a:pt x="455" y="243"/>
                      </a:cubicBezTo>
                      <a:cubicBezTo>
                        <a:pt x="452" y="243"/>
                        <a:pt x="452" y="243"/>
                        <a:pt x="452" y="243"/>
                      </a:cubicBezTo>
                      <a:cubicBezTo>
                        <a:pt x="448" y="242"/>
                        <a:pt x="448" y="242"/>
                        <a:pt x="448" y="242"/>
                      </a:cubicBezTo>
                      <a:cubicBezTo>
                        <a:pt x="438" y="242"/>
                        <a:pt x="438" y="242"/>
                        <a:pt x="438" y="242"/>
                      </a:cubicBezTo>
                      <a:cubicBezTo>
                        <a:pt x="436" y="241"/>
                        <a:pt x="436" y="241"/>
                        <a:pt x="436" y="241"/>
                      </a:cubicBezTo>
                      <a:cubicBezTo>
                        <a:pt x="433" y="241"/>
                        <a:pt x="433" y="241"/>
                        <a:pt x="433" y="241"/>
                      </a:cubicBezTo>
                      <a:cubicBezTo>
                        <a:pt x="431" y="240"/>
                        <a:pt x="431" y="240"/>
                        <a:pt x="431" y="240"/>
                      </a:cubicBezTo>
                      <a:cubicBezTo>
                        <a:pt x="429" y="240"/>
                        <a:pt x="429" y="240"/>
                        <a:pt x="429" y="240"/>
                      </a:cubicBezTo>
                      <a:cubicBezTo>
                        <a:pt x="428" y="239"/>
                        <a:pt x="428" y="239"/>
                        <a:pt x="428" y="239"/>
                      </a:cubicBezTo>
                      <a:cubicBezTo>
                        <a:pt x="422" y="239"/>
                        <a:pt x="422" y="239"/>
                        <a:pt x="422" y="239"/>
                      </a:cubicBezTo>
                      <a:cubicBezTo>
                        <a:pt x="420" y="237"/>
                        <a:pt x="420" y="237"/>
                        <a:pt x="420" y="237"/>
                      </a:cubicBezTo>
                      <a:cubicBezTo>
                        <a:pt x="419" y="234"/>
                        <a:pt x="419" y="234"/>
                        <a:pt x="419" y="234"/>
                      </a:cubicBezTo>
                      <a:cubicBezTo>
                        <a:pt x="419" y="232"/>
                        <a:pt x="419" y="232"/>
                        <a:pt x="419" y="232"/>
                      </a:cubicBezTo>
                      <a:cubicBezTo>
                        <a:pt x="416" y="232"/>
                        <a:pt x="416" y="232"/>
                        <a:pt x="416" y="232"/>
                      </a:cubicBezTo>
                      <a:cubicBezTo>
                        <a:pt x="416" y="230"/>
                        <a:pt x="416" y="230"/>
                        <a:pt x="416" y="230"/>
                      </a:cubicBezTo>
                      <a:cubicBezTo>
                        <a:pt x="412" y="225"/>
                        <a:pt x="412" y="225"/>
                        <a:pt x="412" y="225"/>
                      </a:cubicBezTo>
                      <a:cubicBezTo>
                        <a:pt x="413" y="221"/>
                        <a:pt x="413" y="221"/>
                        <a:pt x="413" y="221"/>
                      </a:cubicBezTo>
                      <a:cubicBezTo>
                        <a:pt x="415" y="215"/>
                        <a:pt x="415" y="215"/>
                        <a:pt x="415" y="215"/>
                      </a:cubicBezTo>
                      <a:cubicBezTo>
                        <a:pt x="416" y="214"/>
                        <a:pt x="416" y="214"/>
                        <a:pt x="416" y="214"/>
                      </a:cubicBezTo>
                      <a:cubicBezTo>
                        <a:pt x="420" y="214"/>
                        <a:pt x="420" y="214"/>
                        <a:pt x="420" y="214"/>
                      </a:cubicBezTo>
                      <a:cubicBezTo>
                        <a:pt x="420" y="211"/>
                        <a:pt x="420" y="211"/>
                        <a:pt x="420" y="211"/>
                      </a:cubicBezTo>
                      <a:cubicBezTo>
                        <a:pt x="419" y="209"/>
                        <a:pt x="419" y="209"/>
                        <a:pt x="419" y="209"/>
                      </a:cubicBezTo>
                      <a:cubicBezTo>
                        <a:pt x="416" y="209"/>
                        <a:pt x="416" y="209"/>
                        <a:pt x="416" y="209"/>
                      </a:cubicBezTo>
                      <a:cubicBezTo>
                        <a:pt x="417" y="207"/>
                        <a:pt x="417" y="207"/>
                        <a:pt x="417" y="207"/>
                      </a:cubicBezTo>
                      <a:cubicBezTo>
                        <a:pt x="420" y="207"/>
                        <a:pt x="420" y="207"/>
                        <a:pt x="420" y="207"/>
                      </a:cubicBezTo>
                      <a:cubicBezTo>
                        <a:pt x="420" y="200"/>
                        <a:pt x="420" y="200"/>
                        <a:pt x="420" y="200"/>
                      </a:cubicBezTo>
                      <a:cubicBezTo>
                        <a:pt x="421" y="199"/>
                        <a:pt x="421" y="199"/>
                        <a:pt x="421" y="199"/>
                      </a:cubicBezTo>
                      <a:cubicBezTo>
                        <a:pt x="423" y="196"/>
                        <a:pt x="423" y="196"/>
                        <a:pt x="423" y="196"/>
                      </a:cubicBezTo>
                      <a:cubicBezTo>
                        <a:pt x="424" y="194"/>
                        <a:pt x="424" y="194"/>
                        <a:pt x="424" y="194"/>
                      </a:cubicBezTo>
                      <a:cubicBezTo>
                        <a:pt x="425" y="193"/>
                        <a:pt x="425" y="193"/>
                        <a:pt x="425" y="193"/>
                      </a:cubicBezTo>
                      <a:cubicBezTo>
                        <a:pt x="431" y="193"/>
                        <a:pt x="431" y="193"/>
                        <a:pt x="431" y="193"/>
                      </a:cubicBezTo>
                      <a:cubicBezTo>
                        <a:pt x="432" y="192"/>
                        <a:pt x="432" y="192"/>
                        <a:pt x="432" y="192"/>
                      </a:cubicBezTo>
                      <a:cubicBezTo>
                        <a:pt x="432" y="190"/>
                        <a:pt x="432" y="190"/>
                        <a:pt x="432" y="190"/>
                      </a:cubicBezTo>
                      <a:cubicBezTo>
                        <a:pt x="430" y="185"/>
                        <a:pt x="430" y="185"/>
                        <a:pt x="430" y="185"/>
                      </a:cubicBezTo>
                      <a:cubicBezTo>
                        <a:pt x="431" y="184"/>
                        <a:pt x="431" y="184"/>
                        <a:pt x="431" y="184"/>
                      </a:cubicBezTo>
                      <a:cubicBezTo>
                        <a:pt x="432" y="184"/>
                        <a:pt x="432" y="184"/>
                        <a:pt x="432" y="184"/>
                      </a:cubicBezTo>
                      <a:cubicBezTo>
                        <a:pt x="431" y="183"/>
                        <a:pt x="431" y="183"/>
                        <a:pt x="431" y="183"/>
                      </a:cubicBezTo>
                      <a:cubicBezTo>
                        <a:pt x="431" y="183"/>
                        <a:pt x="431" y="183"/>
                        <a:pt x="431" y="183"/>
                      </a:cubicBezTo>
                      <a:cubicBezTo>
                        <a:pt x="432" y="183"/>
                        <a:pt x="432" y="183"/>
                        <a:pt x="432" y="183"/>
                      </a:cubicBezTo>
                      <a:cubicBezTo>
                        <a:pt x="433" y="182"/>
                        <a:pt x="433" y="182"/>
                        <a:pt x="433" y="182"/>
                      </a:cubicBezTo>
                      <a:cubicBezTo>
                        <a:pt x="436" y="181"/>
                        <a:pt x="436" y="181"/>
                        <a:pt x="436" y="181"/>
                      </a:cubicBezTo>
                      <a:cubicBezTo>
                        <a:pt x="438" y="180"/>
                        <a:pt x="438" y="180"/>
                        <a:pt x="438" y="180"/>
                      </a:cubicBezTo>
                      <a:cubicBezTo>
                        <a:pt x="439" y="179"/>
                        <a:pt x="439" y="179"/>
                        <a:pt x="439" y="179"/>
                      </a:cubicBezTo>
                      <a:cubicBezTo>
                        <a:pt x="440" y="177"/>
                        <a:pt x="440" y="177"/>
                        <a:pt x="440" y="177"/>
                      </a:cubicBezTo>
                      <a:cubicBezTo>
                        <a:pt x="441" y="176"/>
                        <a:pt x="441" y="176"/>
                        <a:pt x="441" y="176"/>
                      </a:cubicBezTo>
                      <a:cubicBezTo>
                        <a:pt x="442" y="174"/>
                        <a:pt x="442" y="174"/>
                        <a:pt x="442" y="174"/>
                      </a:cubicBezTo>
                      <a:cubicBezTo>
                        <a:pt x="443" y="172"/>
                        <a:pt x="443" y="172"/>
                        <a:pt x="443" y="172"/>
                      </a:cubicBezTo>
                      <a:cubicBezTo>
                        <a:pt x="443" y="171"/>
                        <a:pt x="443" y="171"/>
                        <a:pt x="443" y="171"/>
                      </a:cubicBezTo>
                      <a:cubicBezTo>
                        <a:pt x="448" y="169"/>
                        <a:pt x="448" y="169"/>
                        <a:pt x="448" y="169"/>
                      </a:cubicBezTo>
                      <a:cubicBezTo>
                        <a:pt x="451" y="167"/>
                        <a:pt x="451" y="167"/>
                        <a:pt x="451" y="167"/>
                      </a:cubicBezTo>
                      <a:cubicBezTo>
                        <a:pt x="454" y="168"/>
                        <a:pt x="454" y="168"/>
                        <a:pt x="454" y="168"/>
                      </a:cubicBezTo>
                      <a:cubicBezTo>
                        <a:pt x="456" y="168"/>
                        <a:pt x="456" y="168"/>
                        <a:pt x="456" y="168"/>
                      </a:cubicBezTo>
                      <a:cubicBezTo>
                        <a:pt x="458" y="169"/>
                        <a:pt x="458" y="169"/>
                        <a:pt x="458" y="169"/>
                      </a:cubicBezTo>
                      <a:cubicBezTo>
                        <a:pt x="461" y="169"/>
                        <a:pt x="461" y="169"/>
                        <a:pt x="461" y="169"/>
                      </a:cubicBezTo>
                      <a:cubicBezTo>
                        <a:pt x="463" y="167"/>
                        <a:pt x="463" y="167"/>
                        <a:pt x="463" y="167"/>
                      </a:cubicBezTo>
                      <a:cubicBezTo>
                        <a:pt x="460" y="171"/>
                        <a:pt x="460" y="171"/>
                        <a:pt x="460" y="171"/>
                      </a:cubicBezTo>
                      <a:cubicBezTo>
                        <a:pt x="456" y="171"/>
                        <a:pt x="456" y="171"/>
                        <a:pt x="456" y="171"/>
                      </a:cubicBezTo>
                      <a:cubicBezTo>
                        <a:pt x="457" y="172"/>
                        <a:pt x="457" y="172"/>
                        <a:pt x="457" y="172"/>
                      </a:cubicBezTo>
                      <a:cubicBezTo>
                        <a:pt x="459" y="174"/>
                        <a:pt x="459" y="174"/>
                        <a:pt x="459" y="174"/>
                      </a:cubicBezTo>
                      <a:cubicBezTo>
                        <a:pt x="461" y="176"/>
                        <a:pt x="461" y="176"/>
                        <a:pt x="461" y="176"/>
                      </a:cubicBezTo>
                      <a:cubicBezTo>
                        <a:pt x="473" y="176"/>
                        <a:pt x="473" y="176"/>
                        <a:pt x="473" y="176"/>
                      </a:cubicBezTo>
                      <a:cubicBezTo>
                        <a:pt x="475" y="179"/>
                        <a:pt x="475" y="179"/>
                        <a:pt x="475" y="179"/>
                      </a:cubicBezTo>
                      <a:cubicBezTo>
                        <a:pt x="473" y="180"/>
                        <a:pt x="473" y="180"/>
                        <a:pt x="473" y="180"/>
                      </a:cubicBezTo>
                      <a:cubicBezTo>
                        <a:pt x="472" y="181"/>
                        <a:pt x="472" y="181"/>
                        <a:pt x="472" y="181"/>
                      </a:cubicBezTo>
                      <a:cubicBezTo>
                        <a:pt x="466" y="184"/>
                        <a:pt x="466" y="184"/>
                        <a:pt x="466" y="184"/>
                      </a:cubicBezTo>
                      <a:cubicBezTo>
                        <a:pt x="465" y="185"/>
                        <a:pt x="465" y="185"/>
                        <a:pt x="465" y="185"/>
                      </a:cubicBezTo>
                      <a:cubicBezTo>
                        <a:pt x="465" y="186"/>
                        <a:pt x="465" y="186"/>
                        <a:pt x="465" y="186"/>
                      </a:cubicBezTo>
                      <a:cubicBezTo>
                        <a:pt x="466" y="186"/>
                        <a:pt x="466" y="186"/>
                        <a:pt x="466" y="186"/>
                      </a:cubicBezTo>
                      <a:cubicBezTo>
                        <a:pt x="467" y="187"/>
                        <a:pt x="467" y="187"/>
                        <a:pt x="467" y="187"/>
                      </a:cubicBezTo>
                      <a:cubicBezTo>
                        <a:pt x="472" y="187"/>
                        <a:pt x="472" y="187"/>
                        <a:pt x="472" y="187"/>
                      </a:cubicBezTo>
                      <a:cubicBezTo>
                        <a:pt x="474" y="188"/>
                        <a:pt x="474" y="188"/>
                        <a:pt x="474" y="188"/>
                      </a:cubicBezTo>
                      <a:cubicBezTo>
                        <a:pt x="476" y="190"/>
                        <a:pt x="476" y="190"/>
                        <a:pt x="476" y="190"/>
                      </a:cubicBezTo>
                      <a:cubicBezTo>
                        <a:pt x="476" y="194"/>
                        <a:pt x="476" y="194"/>
                        <a:pt x="476" y="194"/>
                      </a:cubicBezTo>
                      <a:cubicBezTo>
                        <a:pt x="475" y="196"/>
                        <a:pt x="475" y="196"/>
                        <a:pt x="475" y="196"/>
                      </a:cubicBezTo>
                      <a:cubicBezTo>
                        <a:pt x="475" y="198"/>
                        <a:pt x="475" y="198"/>
                        <a:pt x="475" y="198"/>
                      </a:cubicBezTo>
                      <a:cubicBezTo>
                        <a:pt x="478" y="198"/>
                        <a:pt x="478" y="198"/>
                        <a:pt x="478" y="198"/>
                      </a:cubicBezTo>
                      <a:cubicBezTo>
                        <a:pt x="480" y="199"/>
                        <a:pt x="480" y="199"/>
                        <a:pt x="480" y="199"/>
                      </a:cubicBezTo>
                      <a:cubicBezTo>
                        <a:pt x="482" y="199"/>
                        <a:pt x="482" y="199"/>
                        <a:pt x="482" y="199"/>
                      </a:cubicBezTo>
                      <a:cubicBezTo>
                        <a:pt x="482" y="198"/>
                        <a:pt x="482" y="198"/>
                        <a:pt x="482" y="198"/>
                      </a:cubicBezTo>
                      <a:cubicBezTo>
                        <a:pt x="485" y="196"/>
                        <a:pt x="485" y="196"/>
                        <a:pt x="485" y="196"/>
                      </a:cubicBezTo>
                      <a:cubicBezTo>
                        <a:pt x="487" y="195"/>
                        <a:pt x="487" y="195"/>
                        <a:pt x="487" y="195"/>
                      </a:cubicBezTo>
                      <a:cubicBezTo>
                        <a:pt x="488" y="194"/>
                        <a:pt x="488" y="194"/>
                        <a:pt x="488" y="194"/>
                      </a:cubicBezTo>
                      <a:cubicBezTo>
                        <a:pt x="493" y="194"/>
                        <a:pt x="493" y="194"/>
                        <a:pt x="493" y="194"/>
                      </a:cubicBezTo>
                      <a:cubicBezTo>
                        <a:pt x="496" y="191"/>
                        <a:pt x="496" y="191"/>
                        <a:pt x="496" y="191"/>
                      </a:cubicBezTo>
                      <a:cubicBezTo>
                        <a:pt x="496" y="190"/>
                        <a:pt x="496" y="190"/>
                        <a:pt x="496" y="190"/>
                      </a:cubicBezTo>
                      <a:cubicBezTo>
                        <a:pt x="497" y="189"/>
                        <a:pt x="497" y="189"/>
                        <a:pt x="497" y="189"/>
                      </a:cubicBezTo>
                      <a:cubicBezTo>
                        <a:pt x="498" y="189"/>
                        <a:pt x="498" y="189"/>
                        <a:pt x="498" y="189"/>
                      </a:cubicBezTo>
                      <a:cubicBezTo>
                        <a:pt x="500" y="191"/>
                        <a:pt x="500" y="191"/>
                        <a:pt x="500" y="191"/>
                      </a:cubicBezTo>
                      <a:cubicBezTo>
                        <a:pt x="506" y="190"/>
                        <a:pt x="506" y="190"/>
                        <a:pt x="506" y="190"/>
                      </a:cubicBezTo>
                      <a:cubicBezTo>
                        <a:pt x="506" y="187"/>
                        <a:pt x="506" y="187"/>
                        <a:pt x="506" y="187"/>
                      </a:cubicBezTo>
                      <a:cubicBezTo>
                        <a:pt x="508" y="185"/>
                        <a:pt x="508" y="185"/>
                        <a:pt x="508" y="185"/>
                      </a:cubicBezTo>
                      <a:cubicBezTo>
                        <a:pt x="503" y="185"/>
                        <a:pt x="503" y="185"/>
                        <a:pt x="503" y="185"/>
                      </a:cubicBezTo>
                      <a:cubicBezTo>
                        <a:pt x="502" y="186"/>
                        <a:pt x="502" y="186"/>
                        <a:pt x="502" y="186"/>
                      </a:cubicBezTo>
                      <a:cubicBezTo>
                        <a:pt x="500" y="187"/>
                        <a:pt x="500" y="187"/>
                        <a:pt x="500" y="187"/>
                      </a:cubicBezTo>
                      <a:cubicBezTo>
                        <a:pt x="495" y="187"/>
                        <a:pt x="495" y="187"/>
                        <a:pt x="495" y="187"/>
                      </a:cubicBezTo>
                      <a:cubicBezTo>
                        <a:pt x="494" y="186"/>
                        <a:pt x="494" y="186"/>
                        <a:pt x="494" y="186"/>
                      </a:cubicBezTo>
                      <a:cubicBezTo>
                        <a:pt x="492" y="185"/>
                        <a:pt x="492" y="185"/>
                        <a:pt x="492" y="185"/>
                      </a:cubicBezTo>
                      <a:cubicBezTo>
                        <a:pt x="491" y="184"/>
                        <a:pt x="491" y="184"/>
                        <a:pt x="491" y="184"/>
                      </a:cubicBezTo>
                      <a:cubicBezTo>
                        <a:pt x="491" y="182"/>
                        <a:pt x="491" y="182"/>
                        <a:pt x="491" y="182"/>
                      </a:cubicBezTo>
                      <a:cubicBezTo>
                        <a:pt x="490" y="181"/>
                        <a:pt x="490" y="181"/>
                        <a:pt x="490" y="181"/>
                      </a:cubicBezTo>
                      <a:cubicBezTo>
                        <a:pt x="488" y="181"/>
                        <a:pt x="488" y="181"/>
                        <a:pt x="488" y="181"/>
                      </a:cubicBezTo>
                      <a:cubicBezTo>
                        <a:pt x="483" y="178"/>
                        <a:pt x="483" y="178"/>
                        <a:pt x="483" y="178"/>
                      </a:cubicBezTo>
                      <a:cubicBezTo>
                        <a:pt x="477" y="177"/>
                        <a:pt x="477" y="177"/>
                        <a:pt x="477" y="177"/>
                      </a:cubicBezTo>
                      <a:cubicBezTo>
                        <a:pt x="476" y="175"/>
                        <a:pt x="476" y="175"/>
                        <a:pt x="476" y="175"/>
                      </a:cubicBezTo>
                      <a:cubicBezTo>
                        <a:pt x="488" y="175"/>
                        <a:pt x="488" y="175"/>
                        <a:pt x="488" y="175"/>
                      </a:cubicBezTo>
                      <a:cubicBezTo>
                        <a:pt x="490" y="174"/>
                        <a:pt x="490" y="174"/>
                        <a:pt x="490" y="174"/>
                      </a:cubicBezTo>
                      <a:cubicBezTo>
                        <a:pt x="492" y="171"/>
                        <a:pt x="492" y="171"/>
                        <a:pt x="492" y="171"/>
                      </a:cubicBezTo>
                      <a:cubicBezTo>
                        <a:pt x="494" y="172"/>
                        <a:pt x="494" y="172"/>
                        <a:pt x="494" y="172"/>
                      </a:cubicBezTo>
                      <a:cubicBezTo>
                        <a:pt x="495" y="171"/>
                        <a:pt x="495" y="171"/>
                        <a:pt x="495" y="171"/>
                      </a:cubicBezTo>
                      <a:cubicBezTo>
                        <a:pt x="497" y="170"/>
                        <a:pt x="497" y="170"/>
                        <a:pt x="497" y="170"/>
                      </a:cubicBezTo>
                      <a:cubicBezTo>
                        <a:pt x="498" y="169"/>
                        <a:pt x="498" y="169"/>
                        <a:pt x="498" y="169"/>
                      </a:cubicBezTo>
                      <a:cubicBezTo>
                        <a:pt x="500" y="168"/>
                        <a:pt x="500" y="168"/>
                        <a:pt x="500" y="168"/>
                      </a:cubicBezTo>
                      <a:cubicBezTo>
                        <a:pt x="504" y="168"/>
                        <a:pt x="504" y="168"/>
                        <a:pt x="504" y="168"/>
                      </a:cubicBezTo>
                      <a:cubicBezTo>
                        <a:pt x="506" y="167"/>
                        <a:pt x="506" y="167"/>
                        <a:pt x="506" y="167"/>
                      </a:cubicBezTo>
                      <a:cubicBezTo>
                        <a:pt x="508" y="167"/>
                        <a:pt x="508" y="167"/>
                        <a:pt x="508" y="167"/>
                      </a:cubicBezTo>
                      <a:cubicBezTo>
                        <a:pt x="517" y="162"/>
                        <a:pt x="517" y="162"/>
                        <a:pt x="517" y="162"/>
                      </a:cubicBezTo>
                      <a:cubicBezTo>
                        <a:pt x="523" y="162"/>
                        <a:pt x="523" y="162"/>
                        <a:pt x="523" y="162"/>
                      </a:cubicBezTo>
                      <a:cubicBezTo>
                        <a:pt x="523" y="156"/>
                        <a:pt x="523" y="156"/>
                        <a:pt x="523" y="156"/>
                      </a:cubicBezTo>
                      <a:cubicBezTo>
                        <a:pt x="526" y="156"/>
                        <a:pt x="526" y="156"/>
                        <a:pt x="526" y="156"/>
                      </a:cubicBezTo>
                      <a:cubicBezTo>
                        <a:pt x="527" y="155"/>
                        <a:pt x="527" y="155"/>
                        <a:pt x="527" y="155"/>
                      </a:cubicBezTo>
                      <a:cubicBezTo>
                        <a:pt x="527" y="154"/>
                        <a:pt x="527" y="154"/>
                        <a:pt x="527" y="154"/>
                      </a:cubicBezTo>
                      <a:cubicBezTo>
                        <a:pt x="529" y="152"/>
                        <a:pt x="529" y="152"/>
                        <a:pt x="529" y="152"/>
                      </a:cubicBezTo>
                      <a:cubicBezTo>
                        <a:pt x="534" y="152"/>
                        <a:pt x="534" y="152"/>
                        <a:pt x="534" y="152"/>
                      </a:cubicBezTo>
                      <a:cubicBezTo>
                        <a:pt x="536" y="151"/>
                        <a:pt x="536" y="151"/>
                        <a:pt x="536" y="151"/>
                      </a:cubicBezTo>
                      <a:cubicBezTo>
                        <a:pt x="538" y="151"/>
                        <a:pt x="538" y="151"/>
                        <a:pt x="538" y="151"/>
                      </a:cubicBezTo>
                      <a:cubicBezTo>
                        <a:pt x="540" y="149"/>
                        <a:pt x="540" y="149"/>
                        <a:pt x="540" y="149"/>
                      </a:cubicBezTo>
                      <a:cubicBezTo>
                        <a:pt x="540" y="148"/>
                        <a:pt x="540" y="148"/>
                        <a:pt x="540" y="148"/>
                      </a:cubicBezTo>
                      <a:cubicBezTo>
                        <a:pt x="539" y="145"/>
                        <a:pt x="539" y="145"/>
                        <a:pt x="539" y="145"/>
                      </a:cubicBezTo>
                      <a:cubicBezTo>
                        <a:pt x="539" y="143"/>
                        <a:pt x="539" y="143"/>
                        <a:pt x="539" y="143"/>
                      </a:cubicBezTo>
                      <a:cubicBezTo>
                        <a:pt x="537" y="142"/>
                        <a:pt x="537" y="142"/>
                        <a:pt x="537" y="142"/>
                      </a:cubicBezTo>
                      <a:cubicBezTo>
                        <a:pt x="535" y="140"/>
                        <a:pt x="535" y="140"/>
                        <a:pt x="535" y="140"/>
                      </a:cubicBezTo>
                      <a:cubicBezTo>
                        <a:pt x="536" y="139"/>
                        <a:pt x="536" y="139"/>
                        <a:pt x="536" y="139"/>
                      </a:cubicBezTo>
                      <a:cubicBezTo>
                        <a:pt x="539" y="139"/>
                        <a:pt x="539" y="139"/>
                        <a:pt x="539" y="139"/>
                      </a:cubicBezTo>
                      <a:cubicBezTo>
                        <a:pt x="540" y="138"/>
                        <a:pt x="540" y="138"/>
                        <a:pt x="540" y="138"/>
                      </a:cubicBezTo>
                      <a:cubicBezTo>
                        <a:pt x="539" y="137"/>
                        <a:pt x="539" y="137"/>
                        <a:pt x="539" y="137"/>
                      </a:cubicBezTo>
                      <a:cubicBezTo>
                        <a:pt x="538" y="137"/>
                        <a:pt x="538" y="137"/>
                        <a:pt x="538" y="137"/>
                      </a:cubicBezTo>
                      <a:cubicBezTo>
                        <a:pt x="537" y="136"/>
                        <a:pt x="537" y="136"/>
                        <a:pt x="537" y="136"/>
                      </a:cubicBezTo>
                      <a:cubicBezTo>
                        <a:pt x="536" y="136"/>
                        <a:pt x="536" y="136"/>
                        <a:pt x="536" y="136"/>
                      </a:cubicBezTo>
                      <a:cubicBezTo>
                        <a:pt x="539" y="134"/>
                        <a:pt x="539" y="134"/>
                        <a:pt x="539" y="134"/>
                      </a:cubicBezTo>
                      <a:cubicBezTo>
                        <a:pt x="539" y="130"/>
                        <a:pt x="539" y="130"/>
                        <a:pt x="539" y="130"/>
                      </a:cubicBezTo>
                      <a:cubicBezTo>
                        <a:pt x="538" y="129"/>
                        <a:pt x="538" y="129"/>
                        <a:pt x="538" y="129"/>
                      </a:cubicBezTo>
                      <a:cubicBezTo>
                        <a:pt x="534" y="129"/>
                        <a:pt x="534" y="129"/>
                        <a:pt x="534" y="129"/>
                      </a:cubicBezTo>
                      <a:cubicBezTo>
                        <a:pt x="531" y="127"/>
                        <a:pt x="531" y="127"/>
                        <a:pt x="531" y="127"/>
                      </a:cubicBezTo>
                      <a:cubicBezTo>
                        <a:pt x="530" y="126"/>
                        <a:pt x="530" y="126"/>
                        <a:pt x="530" y="126"/>
                      </a:cubicBezTo>
                      <a:cubicBezTo>
                        <a:pt x="530" y="125"/>
                        <a:pt x="530" y="125"/>
                        <a:pt x="530" y="125"/>
                      </a:cubicBezTo>
                      <a:cubicBezTo>
                        <a:pt x="523" y="125"/>
                        <a:pt x="523" y="125"/>
                        <a:pt x="523" y="125"/>
                      </a:cubicBezTo>
                      <a:cubicBezTo>
                        <a:pt x="521" y="124"/>
                        <a:pt x="521" y="124"/>
                        <a:pt x="521" y="124"/>
                      </a:cubicBezTo>
                      <a:cubicBezTo>
                        <a:pt x="520" y="123"/>
                        <a:pt x="520" y="123"/>
                        <a:pt x="520" y="123"/>
                      </a:cubicBezTo>
                      <a:cubicBezTo>
                        <a:pt x="517" y="123"/>
                        <a:pt x="517" y="123"/>
                        <a:pt x="517" y="123"/>
                      </a:cubicBezTo>
                      <a:cubicBezTo>
                        <a:pt x="514" y="124"/>
                        <a:pt x="514" y="124"/>
                        <a:pt x="514" y="124"/>
                      </a:cubicBezTo>
                      <a:cubicBezTo>
                        <a:pt x="510" y="120"/>
                        <a:pt x="510" y="120"/>
                        <a:pt x="510" y="120"/>
                      </a:cubicBezTo>
                      <a:cubicBezTo>
                        <a:pt x="509" y="118"/>
                        <a:pt x="509" y="118"/>
                        <a:pt x="509" y="118"/>
                      </a:cubicBezTo>
                      <a:cubicBezTo>
                        <a:pt x="507" y="118"/>
                        <a:pt x="507" y="118"/>
                        <a:pt x="507" y="118"/>
                      </a:cubicBezTo>
                      <a:cubicBezTo>
                        <a:pt x="506" y="119"/>
                        <a:pt x="506" y="119"/>
                        <a:pt x="506" y="119"/>
                      </a:cubicBezTo>
                      <a:cubicBezTo>
                        <a:pt x="506" y="120"/>
                        <a:pt x="506" y="120"/>
                        <a:pt x="506" y="120"/>
                      </a:cubicBezTo>
                      <a:cubicBezTo>
                        <a:pt x="505" y="119"/>
                        <a:pt x="505" y="119"/>
                        <a:pt x="505" y="119"/>
                      </a:cubicBezTo>
                      <a:cubicBezTo>
                        <a:pt x="497" y="119"/>
                        <a:pt x="497" y="119"/>
                        <a:pt x="497" y="119"/>
                      </a:cubicBezTo>
                      <a:cubicBezTo>
                        <a:pt x="496" y="118"/>
                        <a:pt x="496" y="118"/>
                        <a:pt x="496" y="118"/>
                      </a:cubicBezTo>
                      <a:cubicBezTo>
                        <a:pt x="494" y="118"/>
                        <a:pt x="494" y="118"/>
                        <a:pt x="494" y="118"/>
                      </a:cubicBezTo>
                      <a:cubicBezTo>
                        <a:pt x="493" y="117"/>
                        <a:pt x="493" y="117"/>
                        <a:pt x="493" y="117"/>
                      </a:cubicBezTo>
                      <a:cubicBezTo>
                        <a:pt x="489" y="118"/>
                        <a:pt x="489" y="118"/>
                        <a:pt x="489" y="118"/>
                      </a:cubicBezTo>
                      <a:cubicBezTo>
                        <a:pt x="488" y="118"/>
                        <a:pt x="488" y="118"/>
                        <a:pt x="488" y="118"/>
                      </a:cubicBezTo>
                      <a:cubicBezTo>
                        <a:pt x="486" y="109"/>
                        <a:pt x="486" y="109"/>
                        <a:pt x="486" y="109"/>
                      </a:cubicBezTo>
                      <a:cubicBezTo>
                        <a:pt x="478" y="106"/>
                        <a:pt x="478" y="106"/>
                        <a:pt x="478" y="106"/>
                      </a:cubicBezTo>
                      <a:cubicBezTo>
                        <a:pt x="472" y="106"/>
                        <a:pt x="472" y="106"/>
                        <a:pt x="472" y="106"/>
                      </a:cubicBezTo>
                      <a:cubicBezTo>
                        <a:pt x="472" y="103"/>
                        <a:pt x="472" y="103"/>
                        <a:pt x="472" y="103"/>
                      </a:cubicBezTo>
                      <a:cubicBezTo>
                        <a:pt x="471" y="100"/>
                        <a:pt x="471" y="100"/>
                        <a:pt x="471" y="100"/>
                      </a:cubicBezTo>
                      <a:cubicBezTo>
                        <a:pt x="472" y="100"/>
                        <a:pt x="472" y="100"/>
                        <a:pt x="472" y="100"/>
                      </a:cubicBezTo>
                      <a:cubicBezTo>
                        <a:pt x="473" y="99"/>
                        <a:pt x="473" y="99"/>
                        <a:pt x="473" y="99"/>
                      </a:cubicBezTo>
                      <a:cubicBezTo>
                        <a:pt x="473" y="97"/>
                        <a:pt x="473" y="97"/>
                        <a:pt x="473" y="97"/>
                      </a:cubicBezTo>
                      <a:cubicBezTo>
                        <a:pt x="472" y="97"/>
                        <a:pt x="472" y="97"/>
                        <a:pt x="472" y="97"/>
                      </a:cubicBezTo>
                      <a:cubicBezTo>
                        <a:pt x="470" y="96"/>
                        <a:pt x="470" y="96"/>
                        <a:pt x="470" y="96"/>
                      </a:cubicBezTo>
                      <a:cubicBezTo>
                        <a:pt x="469" y="95"/>
                        <a:pt x="469" y="95"/>
                        <a:pt x="469" y="95"/>
                      </a:cubicBezTo>
                      <a:cubicBezTo>
                        <a:pt x="468" y="95"/>
                        <a:pt x="468" y="95"/>
                        <a:pt x="468" y="95"/>
                      </a:cubicBezTo>
                      <a:cubicBezTo>
                        <a:pt x="467" y="92"/>
                        <a:pt x="467" y="92"/>
                        <a:pt x="467" y="92"/>
                      </a:cubicBezTo>
                      <a:cubicBezTo>
                        <a:pt x="459" y="92"/>
                        <a:pt x="459" y="92"/>
                        <a:pt x="459" y="92"/>
                      </a:cubicBezTo>
                      <a:cubicBezTo>
                        <a:pt x="457" y="93"/>
                        <a:pt x="457" y="93"/>
                        <a:pt x="457" y="93"/>
                      </a:cubicBezTo>
                      <a:cubicBezTo>
                        <a:pt x="451" y="93"/>
                        <a:pt x="451" y="93"/>
                        <a:pt x="451" y="93"/>
                      </a:cubicBezTo>
                      <a:cubicBezTo>
                        <a:pt x="451" y="95"/>
                        <a:pt x="451" y="95"/>
                        <a:pt x="451" y="95"/>
                      </a:cubicBezTo>
                      <a:cubicBezTo>
                        <a:pt x="450" y="96"/>
                        <a:pt x="450" y="96"/>
                        <a:pt x="450" y="96"/>
                      </a:cubicBezTo>
                      <a:cubicBezTo>
                        <a:pt x="444" y="96"/>
                        <a:pt x="444" y="96"/>
                        <a:pt x="444" y="96"/>
                      </a:cubicBezTo>
                      <a:cubicBezTo>
                        <a:pt x="443" y="95"/>
                        <a:pt x="443" y="95"/>
                        <a:pt x="443" y="95"/>
                      </a:cubicBezTo>
                      <a:cubicBezTo>
                        <a:pt x="442" y="93"/>
                        <a:pt x="442" y="93"/>
                        <a:pt x="442" y="93"/>
                      </a:cubicBezTo>
                      <a:cubicBezTo>
                        <a:pt x="441" y="92"/>
                        <a:pt x="441" y="92"/>
                        <a:pt x="441" y="92"/>
                      </a:cubicBezTo>
                      <a:cubicBezTo>
                        <a:pt x="441" y="89"/>
                        <a:pt x="441" y="89"/>
                        <a:pt x="441" y="89"/>
                      </a:cubicBezTo>
                      <a:cubicBezTo>
                        <a:pt x="439" y="87"/>
                        <a:pt x="439" y="87"/>
                        <a:pt x="439" y="87"/>
                      </a:cubicBezTo>
                      <a:cubicBezTo>
                        <a:pt x="438" y="83"/>
                        <a:pt x="438" y="83"/>
                        <a:pt x="438" y="83"/>
                      </a:cubicBezTo>
                      <a:cubicBezTo>
                        <a:pt x="442" y="83"/>
                        <a:pt x="442" y="83"/>
                        <a:pt x="442" y="83"/>
                      </a:cubicBezTo>
                      <a:cubicBezTo>
                        <a:pt x="442" y="84"/>
                        <a:pt x="442" y="84"/>
                        <a:pt x="442" y="84"/>
                      </a:cubicBezTo>
                      <a:cubicBezTo>
                        <a:pt x="443" y="84"/>
                        <a:pt x="443" y="84"/>
                        <a:pt x="443" y="84"/>
                      </a:cubicBezTo>
                      <a:cubicBezTo>
                        <a:pt x="444" y="85"/>
                        <a:pt x="444" y="85"/>
                        <a:pt x="444" y="85"/>
                      </a:cubicBezTo>
                      <a:cubicBezTo>
                        <a:pt x="445" y="85"/>
                        <a:pt x="445" y="85"/>
                        <a:pt x="445" y="85"/>
                      </a:cubicBezTo>
                      <a:cubicBezTo>
                        <a:pt x="449" y="83"/>
                        <a:pt x="449" y="83"/>
                        <a:pt x="449" y="83"/>
                      </a:cubicBezTo>
                      <a:cubicBezTo>
                        <a:pt x="450" y="81"/>
                        <a:pt x="450" y="81"/>
                        <a:pt x="450" y="81"/>
                      </a:cubicBezTo>
                      <a:cubicBezTo>
                        <a:pt x="452" y="80"/>
                        <a:pt x="452" y="80"/>
                        <a:pt x="452" y="80"/>
                      </a:cubicBezTo>
                      <a:cubicBezTo>
                        <a:pt x="448" y="78"/>
                        <a:pt x="448" y="78"/>
                        <a:pt x="448" y="78"/>
                      </a:cubicBezTo>
                      <a:cubicBezTo>
                        <a:pt x="449" y="77"/>
                        <a:pt x="449" y="77"/>
                        <a:pt x="449" y="77"/>
                      </a:cubicBezTo>
                      <a:cubicBezTo>
                        <a:pt x="449" y="76"/>
                        <a:pt x="449" y="76"/>
                        <a:pt x="449" y="76"/>
                      </a:cubicBezTo>
                      <a:cubicBezTo>
                        <a:pt x="448" y="76"/>
                        <a:pt x="448" y="76"/>
                        <a:pt x="448" y="76"/>
                      </a:cubicBezTo>
                      <a:cubicBezTo>
                        <a:pt x="447" y="75"/>
                        <a:pt x="447" y="75"/>
                        <a:pt x="447" y="75"/>
                      </a:cubicBezTo>
                      <a:cubicBezTo>
                        <a:pt x="441" y="75"/>
                        <a:pt x="441" y="75"/>
                        <a:pt x="441" y="75"/>
                      </a:cubicBezTo>
                      <a:cubicBezTo>
                        <a:pt x="441" y="71"/>
                        <a:pt x="441" y="71"/>
                        <a:pt x="441" y="71"/>
                      </a:cubicBezTo>
                      <a:cubicBezTo>
                        <a:pt x="436" y="69"/>
                        <a:pt x="436" y="69"/>
                        <a:pt x="436" y="69"/>
                      </a:cubicBezTo>
                      <a:cubicBezTo>
                        <a:pt x="436" y="66"/>
                        <a:pt x="436" y="66"/>
                        <a:pt x="436" y="66"/>
                      </a:cubicBezTo>
                      <a:cubicBezTo>
                        <a:pt x="433" y="63"/>
                        <a:pt x="433" y="63"/>
                        <a:pt x="433" y="63"/>
                      </a:cubicBezTo>
                      <a:cubicBezTo>
                        <a:pt x="431" y="62"/>
                        <a:pt x="431" y="62"/>
                        <a:pt x="431" y="62"/>
                      </a:cubicBezTo>
                      <a:cubicBezTo>
                        <a:pt x="430" y="61"/>
                        <a:pt x="430" y="61"/>
                        <a:pt x="430" y="61"/>
                      </a:cubicBezTo>
                      <a:cubicBezTo>
                        <a:pt x="431" y="58"/>
                        <a:pt x="431" y="58"/>
                        <a:pt x="431" y="58"/>
                      </a:cubicBezTo>
                      <a:cubicBezTo>
                        <a:pt x="429" y="55"/>
                        <a:pt x="429" y="55"/>
                        <a:pt x="429" y="55"/>
                      </a:cubicBezTo>
                      <a:cubicBezTo>
                        <a:pt x="430" y="54"/>
                        <a:pt x="430" y="54"/>
                        <a:pt x="430" y="54"/>
                      </a:cubicBezTo>
                      <a:cubicBezTo>
                        <a:pt x="430" y="52"/>
                        <a:pt x="430" y="52"/>
                        <a:pt x="430" y="52"/>
                      </a:cubicBezTo>
                      <a:cubicBezTo>
                        <a:pt x="429" y="51"/>
                        <a:pt x="429" y="51"/>
                        <a:pt x="429" y="51"/>
                      </a:cubicBezTo>
                      <a:cubicBezTo>
                        <a:pt x="423" y="48"/>
                        <a:pt x="423" y="48"/>
                        <a:pt x="423" y="48"/>
                      </a:cubicBezTo>
                      <a:cubicBezTo>
                        <a:pt x="422" y="47"/>
                        <a:pt x="422" y="47"/>
                        <a:pt x="422" y="47"/>
                      </a:cubicBezTo>
                      <a:cubicBezTo>
                        <a:pt x="421" y="47"/>
                        <a:pt x="421" y="47"/>
                        <a:pt x="421" y="47"/>
                      </a:cubicBezTo>
                      <a:cubicBezTo>
                        <a:pt x="416" y="50"/>
                        <a:pt x="416" y="50"/>
                        <a:pt x="416" y="50"/>
                      </a:cubicBezTo>
                      <a:cubicBezTo>
                        <a:pt x="415" y="47"/>
                        <a:pt x="415" y="47"/>
                        <a:pt x="415" y="47"/>
                      </a:cubicBezTo>
                      <a:cubicBezTo>
                        <a:pt x="409" y="46"/>
                        <a:pt x="409" y="46"/>
                        <a:pt x="409" y="46"/>
                      </a:cubicBezTo>
                      <a:cubicBezTo>
                        <a:pt x="407" y="47"/>
                        <a:pt x="407" y="47"/>
                        <a:pt x="407" y="47"/>
                      </a:cubicBezTo>
                      <a:cubicBezTo>
                        <a:pt x="407" y="46"/>
                        <a:pt x="407" y="46"/>
                        <a:pt x="407" y="46"/>
                      </a:cubicBezTo>
                      <a:cubicBezTo>
                        <a:pt x="407" y="46"/>
                        <a:pt x="407" y="46"/>
                        <a:pt x="407" y="46"/>
                      </a:cubicBezTo>
                      <a:cubicBezTo>
                        <a:pt x="406" y="45"/>
                        <a:pt x="406" y="45"/>
                        <a:pt x="406" y="45"/>
                      </a:cubicBezTo>
                      <a:cubicBezTo>
                        <a:pt x="404" y="45"/>
                        <a:pt x="404" y="45"/>
                        <a:pt x="404" y="45"/>
                      </a:cubicBezTo>
                      <a:cubicBezTo>
                        <a:pt x="402" y="44"/>
                        <a:pt x="402" y="44"/>
                        <a:pt x="402" y="44"/>
                      </a:cubicBezTo>
                      <a:cubicBezTo>
                        <a:pt x="402" y="44"/>
                        <a:pt x="402" y="44"/>
                        <a:pt x="402" y="44"/>
                      </a:cubicBezTo>
                      <a:cubicBezTo>
                        <a:pt x="401" y="44"/>
                        <a:pt x="401" y="44"/>
                        <a:pt x="401" y="44"/>
                      </a:cubicBezTo>
                      <a:cubicBezTo>
                        <a:pt x="400" y="43"/>
                        <a:pt x="400" y="43"/>
                        <a:pt x="400" y="43"/>
                      </a:cubicBezTo>
                      <a:cubicBezTo>
                        <a:pt x="400" y="39"/>
                        <a:pt x="400" y="39"/>
                        <a:pt x="400" y="39"/>
                      </a:cubicBezTo>
                      <a:cubicBezTo>
                        <a:pt x="398" y="37"/>
                        <a:pt x="398" y="37"/>
                        <a:pt x="398" y="37"/>
                      </a:cubicBezTo>
                      <a:cubicBezTo>
                        <a:pt x="397" y="36"/>
                        <a:pt x="397" y="36"/>
                        <a:pt x="397" y="36"/>
                      </a:cubicBezTo>
                      <a:cubicBezTo>
                        <a:pt x="396" y="35"/>
                        <a:pt x="396" y="35"/>
                        <a:pt x="396" y="35"/>
                      </a:cubicBezTo>
                      <a:cubicBezTo>
                        <a:pt x="395" y="34"/>
                        <a:pt x="395" y="34"/>
                        <a:pt x="395" y="34"/>
                      </a:cubicBezTo>
                      <a:cubicBezTo>
                        <a:pt x="394" y="31"/>
                        <a:pt x="394" y="31"/>
                        <a:pt x="394" y="31"/>
                      </a:cubicBezTo>
                      <a:cubicBezTo>
                        <a:pt x="396" y="31"/>
                        <a:pt x="396" y="31"/>
                        <a:pt x="396" y="31"/>
                      </a:cubicBezTo>
                      <a:cubicBezTo>
                        <a:pt x="396" y="30"/>
                        <a:pt x="396" y="30"/>
                        <a:pt x="396" y="30"/>
                      </a:cubicBezTo>
                      <a:cubicBezTo>
                        <a:pt x="395" y="29"/>
                        <a:pt x="395" y="29"/>
                        <a:pt x="395" y="29"/>
                      </a:cubicBezTo>
                      <a:cubicBezTo>
                        <a:pt x="393" y="28"/>
                        <a:pt x="393" y="28"/>
                        <a:pt x="393" y="28"/>
                      </a:cubicBezTo>
                      <a:cubicBezTo>
                        <a:pt x="390" y="21"/>
                        <a:pt x="390" y="21"/>
                        <a:pt x="390" y="21"/>
                      </a:cubicBezTo>
                      <a:cubicBezTo>
                        <a:pt x="392" y="20"/>
                        <a:pt x="392" y="20"/>
                        <a:pt x="392" y="20"/>
                      </a:cubicBezTo>
                      <a:cubicBezTo>
                        <a:pt x="390" y="17"/>
                        <a:pt x="390" y="17"/>
                        <a:pt x="390" y="17"/>
                      </a:cubicBezTo>
                      <a:cubicBezTo>
                        <a:pt x="388" y="16"/>
                        <a:pt x="388" y="16"/>
                        <a:pt x="388" y="16"/>
                      </a:cubicBezTo>
                      <a:cubicBezTo>
                        <a:pt x="390" y="13"/>
                        <a:pt x="390" y="13"/>
                        <a:pt x="390" y="13"/>
                      </a:cubicBezTo>
                      <a:cubicBezTo>
                        <a:pt x="387" y="12"/>
                        <a:pt x="387" y="12"/>
                        <a:pt x="387" y="12"/>
                      </a:cubicBezTo>
                      <a:cubicBezTo>
                        <a:pt x="387" y="9"/>
                        <a:pt x="387" y="9"/>
                        <a:pt x="387" y="9"/>
                      </a:cubicBezTo>
                      <a:cubicBezTo>
                        <a:pt x="389" y="7"/>
                        <a:pt x="389" y="7"/>
                        <a:pt x="389" y="7"/>
                      </a:cubicBezTo>
                      <a:cubicBezTo>
                        <a:pt x="390" y="7"/>
                        <a:pt x="390" y="7"/>
                        <a:pt x="390" y="7"/>
                      </a:cubicBezTo>
                      <a:cubicBezTo>
                        <a:pt x="391" y="6"/>
                        <a:pt x="391" y="6"/>
                        <a:pt x="391" y="6"/>
                      </a:cubicBezTo>
                      <a:cubicBezTo>
                        <a:pt x="390" y="4"/>
                        <a:pt x="390" y="4"/>
                        <a:pt x="390" y="4"/>
                      </a:cubicBezTo>
                      <a:cubicBezTo>
                        <a:pt x="391" y="3"/>
                        <a:pt x="391" y="3"/>
                        <a:pt x="391" y="3"/>
                      </a:cubicBezTo>
                      <a:cubicBezTo>
                        <a:pt x="389" y="2"/>
                        <a:pt x="389" y="2"/>
                        <a:pt x="389" y="2"/>
                      </a:cubicBezTo>
                      <a:cubicBezTo>
                        <a:pt x="386" y="2"/>
                        <a:pt x="386" y="2"/>
                        <a:pt x="386" y="2"/>
                      </a:cubicBezTo>
                      <a:cubicBezTo>
                        <a:pt x="384" y="1"/>
                        <a:pt x="384" y="1"/>
                        <a:pt x="384" y="1"/>
                      </a:cubicBezTo>
                      <a:cubicBezTo>
                        <a:pt x="381" y="1"/>
                        <a:pt x="381" y="1"/>
                        <a:pt x="381" y="1"/>
                      </a:cubicBezTo>
                      <a:cubicBezTo>
                        <a:pt x="379" y="0"/>
                        <a:pt x="379" y="0"/>
                        <a:pt x="379" y="0"/>
                      </a:cubicBezTo>
                      <a:cubicBezTo>
                        <a:pt x="369" y="0"/>
                        <a:pt x="369" y="0"/>
                        <a:pt x="369" y="0"/>
                      </a:cubicBezTo>
                      <a:cubicBezTo>
                        <a:pt x="367" y="1"/>
                        <a:pt x="367" y="1"/>
                        <a:pt x="367" y="1"/>
                      </a:cubicBezTo>
                      <a:cubicBezTo>
                        <a:pt x="361" y="1"/>
                        <a:pt x="361" y="1"/>
                        <a:pt x="361" y="1"/>
                      </a:cubicBezTo>
                      <a:cubicBezTo>
                        <a:pt x="360" y="2"/>
                        <a:pt x="360" y="2"/>
                        <a:pt x="360" y="2"/>
                      </a:cubicBezTo>
                      <a:cubicBezTo>
                        <a:pt x="357" y="3"/>
                        <a:pt x="357" y="3"/>
                        <a:pt x="357" y="3"/>
                      </a:cubicBezTo>
                      <a:cubicBezTo>
                        <a:pt x="354" y="4"/>
                        <a:pt x="354" y="4"/>
                        <a:pt x="354" y="4"/>
                      </a:cubicBezTo>
                      <a:cubicBezTo>
                        <a:pt x="352" y="5"/>
                        <a:pt x="352" y="5"/>
                        <a:pt x="352" y="5"/>
                      </a:cubicBezTo>
                      <a:cubicBezTo>
                        <a:pt x="351" y="5"/>
                        <a:pt x="351" y="5"/>
                        <a:pt x="351" y="5"/>
                      </a:cubicBezTo>
                      <a:cubicBezTo>
                        <a:pt x="350" y="6"/>
                        <a:pt x="350" y="6"/>
                        <a:pt x="350" y="6"/>
                      </a:cubicBezTo>
                      <a:cubicBezTo>
                        <a:pt x="350" y="7"/>
                        <a:pt x="350" y="7"/>
                        <a:pt x="350" y="7"/>
                      </a:cubicBezTo>
                      <a:cubicBezTo>
                        <a:pt x="351" y="9"/>
                        <a:pt x="351" y="9"/>
                        <a:pt x="351" y="9"/>
                      </a:cubicBezTo>
                      <a:cubicBezTo>
                        <a:pt x="351" y="11"/>
                        <a:pt x="351" y="11"/>
                        <a:pt x="351" y="11"/>
                      </a:cubicBezTo>
                      <a:cubicBezTo>
                        <a:pt x="352" y="12"/>
                        <a:pt x="352" y="12"/>
                        <a:pt x="352" y="12"/>
                      </a:cubicBezTo>
                      <a:cubicBezTo>
                        <a:pt x="352" y="13"/>
                        <a:pt x="352" y="13"/>
                        <a:pt x="352" y="13"/>
                      </a:cubicBezTo>
                      <a:cubicBezTo>
                        <a:pt x="360" y="14"/>
                        <a:pt x="360" y="14"/>
                        <a:pt x="360" y="14"/>
                      </a:cubicBezTo>
                      <a:cubicBezTo>
                        <a:pt x="358" y="19"/>
                        <a:pt x="358" y="19"/>
                        <a:pt x="358" y="19"/>
                      </a:cubicBezTo>
                      <a:cubicBezTo>
                        <a:pt x="360" y="19"/>
                        <a:pt x="360" y="19"/>
                        <a:pt x="360" y="19"/>
                      </a:cubicBezTo>
                      <a:cubicBezTo>
                        <a:pt x="360" y="21"/>
                        <a:pt x="360" y="21"/>
                        <a:pt x="360" y="21"/>
                      </a:cubicBezTo>
                      <a:cubicBezTo>
                        <a:pt x="360" y="22"/>
                        <a:pt x="360" y="22"/>
                        <a:pt x="360" y="22"/>
                      </a:cubicBezTo>
                      <a:cubicBezTo>
                        <a:pt x="358" y="22"/>
                        <a:pt x="358" y="22"/>
                        <a:pt x="358" y="22"/>
                      </a:cubicBezTo>
                      <a:cubicBezTo>
                        <a:pt x="359" y="23"/>
                        <a:pt x="359" y="23"/>
                        <a:pt x="359" y="23"/>
                      </a:cubicBezTo>
                      <a:cubicBezTo>
                        <a:pt x="359" y="24"/>
                        <a:pt x="359" y="24"/>
                        <a:pt x="359" y="24"/>
                      </a:cubicBezTo>
                      <a:cubicBezTo>
                        <a:pt x="360" y="26"/>
                        <a:pt x="360" y="26"/>
                        <a:pt x="360" y="26"/>
                      </a:cubicBezTo>
                      <a:cubicBezTo>
                        <a:pt x="360" y="29"/>
                        <a:pt x="360" y="29"/>
                        <a:pt x="360" y="29"/>
                      </a:cubicBezTo>
                      <a:cubicBezTo>
                        <a:pt x="361" y="30"/>
                        <a:pt x="361" y="30"/>
                        <a:pt x="361" y="30"/>
                      </a:cubicBezTo>
                      <a:cubicBezTo>
                        <a:pt x="360" y="32"/>
                        <a:pt x="360" y="32"/>
                        <a:pt x="360" y="32"/>
                      </a:cubicBezTo>
                      <a:cubicBezTo>
                        <a:pt x="355" y="32"/>
                        <a:pt x="355" y="32"/>
                        <a:pt x="355" y="32"/>
                      </a:cubicBezTo>
                      <a:cubicBezTo>
                        <a:pt x="352" y="31"/>
                        <a:pt x="352" y="31"/>
                        <a:pt x="352" y="31"/>
                      </a:cubicBezTo>
                      <a:cubicBezTo>
                        <a:pt x="350" y="31"/>
                        <a:pt x="350" y="31"/>
                        <a:pt x="350" y="31"/>
                      </a:cubicBezTo>
                      <a:cubicBezTo>
                        <a:pt x="348" y="28"/>
                        <a:pt x="348" y="28"/>
                        <a:pt x="348" y="28"/>
                      </a:cubicBezTo>
                      <a:cubicBezTo>
                        <a:pt x="342" y="23"/>
                        <a:pt x="342" y="23"/>
                        <a:pt x="342" y="23"/>
                      </a:cubicBezTo>
                      <a:cubicBezTo>
                        <a:pt x="340" y="23"/>
                        <a:pt x="340" y="23"/>
                        <a:pt x="340" y="23"/>
                      </a:cubicBezTo>
                      <a:cubicBezTo>
                        <a:pt x="338" y="24"/>
                        <a:pt x="338" y="24"/>
                        <a:pt x="338" y="24"/>
                      </a:cubicBezTo>
                      <a:cubicBezTo>
                        <a:pt x="336" y="24"/>
                        <a:pt x="336" y="24"/>
                        <a:pt x="336" y="24"/>
                      </a:cubicBezTo>
                      <a:cubicBezTo>
                        <a:pt x="334" y="25"/>
                        <a:pt x="334" y="25"/>
                        <a:pt x="334" y="25"/>
                      </a:cubicBezTo>
                      <a:cubicBezTo>
                        <a:pt x="333" y="26"/>
                        <a:pt x="333" y="26"/>
                        <a:pt x="333" y="26"/>
                      </a:cubicBezTo>
                      <a:cubicBezTo>
                        <a:pt x="332" y="28"/>
                        <a:pt x="332" y="28"/>
                        <a:pt x="332" y="28"/>
                      </a:cubicBezTo>
                      <a:cubicBezTo>
                        <a:pt x="332" y="30"/>
                        <a:pt x="332" y="30"/>
                        <a:pt x="332" y="30"/>
                      </a:cubicBezTo>
                      <a:cubicBezTo>
                        <a:pt x="331" y="32"/>
                        <a:pt x="331" y="32"/>
                        <a:pt x="331" y="32"/>
                      </a:cubicBezTo>
                      <a:cubicBezTo>
                        <a:pt x="329" y="33"/>
                        <a:pt x="329" y="33"/>
                        <a:pt x="329" y="33"/>
                      </a:cubicBezTo>
                      <a:cubicBezTo>
                        <a:pt x="328" y="35"/>
                        <a:pt x="328" y="35"/>
                        <a:pt x="328" y="35"/>
                      </a:cubicBezTo>
                      <a:cubicBezTo>
                        <a:pt x="328" y="38"/>
                        <a:pt x="328" y="38"/>
                        <a:pt x="328" y="38"/>
                      </a:cubicBezTo>
                      <a:cubicBezTo>
                        <a:pt x="329" y="40"/>
                        <a:pt x="329" y="40"/>
                        <a:pt x="329" y="40"/>
                      </a:cubicBezTo>
                      <a:cubicBezTo>
                        <a:pt x="329" y="41"/>
                        <a:pt x="329" y="41"/>
                        <a:pt x="329" y="41"/>
                      </a:cubicBezTo>
                      <a:cubicBezTo>
                        <a:pt x="330" y="41"/>
                        <a:pt x="330" y="41"/>
                        <a:pt x="330" y="41"/>
                      </a:cubicBezTo>
                      <a:cubicBezTo>
                        <a:pt x="331" y="41"/>
                        <a:pt x="331" y="41"/>
                        <a:pt x="331" y="41"/>
                      </a:cubicBezTo>
                      <a:cubicBezTo>
                        <a:pt x="331" y="42"/>
                        <a:pt x="331" y="42"/>
                        <a:pt x="331" y="42"/>
                      </a:cubicBezTo>
                      <a:cubicBezTo>
                        <a:pt x="329" y="43"/>
                        <a:pt x="329" y="43"/>
                        <a:pt x="329" y="43"/>
                      </a:cubicBezTo>
                      <a:cubicBezTo>
                        <a:pt x="328" y="43"/>
                        <a:pt x="328" y="43"/>
                        <a:pt x="328" y="43"/>
                      </a:cubicBezTo>
                      <a:cubicBezTo>
                        <a:pt x="328" y="49"/>
                        <a:pt x="328" y="49"/>
                        <a:pt x="328" y="49"/>
                      </a:cubicBezTo>
                      <a:cubicBezTo>
                        <a:pt x="330" y="53"/>
                        <a:pt x="330" y="53"/>
                        <a:pt x="330" y="53"/>
                      </a:cubicBezTo>
                      <a:cubicBezTo>
                        <a:pt x="331" y="54"/>
                        <a:pt x="331" y="54"/>
                        <a:pt x="331" y="54"/>
                      </a:cubicBezTo>
                      <a:cubicBezTo>
                        <a:pt x="331" y="55"/>
                        <a:pt x="331" y="55"/>
                        <a:pt x="331" y="55"/>
                      </a:cubicBezTo>
                      <a:cubicBezTo>
                        <a:pt x="334" y="55"/>
                        <a:pt x="334" y="55"/>
                        <a:pt x="334" y="55"/>
                      </a:cubicBezTo>
                      <a:cubicBezTo>
                        <a:pt x="334" y="56"/>
                        <a:pt x="334" y="56"/>
                        <a:pt x="334" y="56"/>
                      </a:cubicBezTo>
                      <a:cubicBezTo>
                        <a:pt x="336" y="56"/>
                        <a:pt x="336" y="56"/>
                        <a:pt x="336" y="56"/>
                      </a:cubicBezTo>
                      <a:cubicBezTo>
                        <a:pt x="337" y="57"/>
                        <a:pt x="337" y="57"/>
                        <a:pt x="337" y="57"/>
                      </a:cubicBezTo>
                      <a:cubicBezTo>
                        <a:pt x="341" y="57"/>
                        <a:pt x="341" y="57"/>
                        <a:pt x="341" y="57"/>
                      </a:cubicBezTo>
                      <a:cubicBezTo>
                        <a:pt x="343" y="56"/>
                        <a:pt x="343" y="56"/>
                        <a:pt x="343" y="56"/>
                      </a:cubicBezTo>
                      <a:cubicBezTo>
                        <a:pt x="346" y="56"/>
                        <a:pt x="346" y="56"/>
                        <a:pt x="346" y="56"/>
                      </a:cubicBezTo>
                      <a:cubicBezTo>
                        <a:pt x="347" y="58"/>
                        <a:pt x="347" y="58"/>
                        <a:pt x="347" y="58"/>
                      </a:cubicBezTo>
                      <a:cubicBezTo>
                        <a:pt x="347" y="61"/>
                        <a:pt x="347" y="61"/>
                        <a:pt x="347" y="61"/>
                      </a:cubicBezTo>
                      <a:cubicBezTo>
                        <a:pt x="345" y="63"/>
                        <a:pt x="345" y="63"/>
                        <a:pt x="345" y="63"/>
                      </a:cubicBezTo>
                      <a:cubicBezTo>
                        <a:pt x="346" y="66"/>
                        <a:pt x="346" y="66"/>
                        <a:pt x="346" y="66"/>
                      </a:cubicBezTo>
                      <a:cubicBezTo>
                        <a:pt x="346" y="66"/>
                        <a:pt x="346" y="66"/>
                        <a:pt x="346" y="66"/>
                      </a:cubicBezTo>
                      <a:cubicBezTo>
                        <a:pt x="346" y="67"/>
                        <a:pt x="346" y="67"/>
                        <a:pt x="346" y="67"/>
                      </a:cubicBezTo>
                      <a:cubicBezTo>
                        <a:pt x="331" y="67"/>
                        <a:pt x="331" y="67"/>
                        <a:pt x="331" y="67"/>
                      </a:cubicBezTo>
                      <a:cubicBezTo>
                        <a:pt x="330" y="66"/>
                        <a:pt x="330" y="66"/>
                        <a:pt x="330" y="66"/>
                      </a:cubicBezTo>
                      <a:cubicBezTo>
                        <a:pt x="328" y="66"/>
                        <a:pt x="328" y="66"/>
                        <a:pt x="328" y="66"/>
                      </a:cubicBezTo>
                      <a:cubicBezTo>
                        <a:pt x="327" y="65"/>
                        <a:pt x="327" y="65"/>
                        <a:pt x="327" y="65"/>
                      </a:cubicBezTo>
                      <a:cubicBezTo>
                        <a:pt x="323" y="65"/>
                        <a:pt x="323" y="65"/>
                        <a:pt x="323" y="65"/>
                      </a:cubicBezTo>
                      <a:cubicBezTo>
                        <a:pt x="322" y="66"/>
                        <a:pt x="322" y="66"/>
                        <a:pt x="322" y="66"/>
                      </a:cubicBezTo>
                      <a:cubicBezTo>
                        <a:pt x="320" y="66"/>
                        <a:pt x="320" y="66"/>
                        <a:pt x="320" y="66"/>
                      </a:cubicBezTo>
                      <a:cubicBezTo>
                        <a:pt x="319" y="65"/>
                        <a:pt x="319" y="65"/>
                        <a:pt x="319" y="65"/>
                      </a:cubicBezTo>
                      <a:cubicBezTo>
                        <a:pt x="314" y="65"/>
                        <a:pt x="314" y="65"/>
                        <a:pt x="314" y="65"/>
                      </a:cubicBezTo>
                      <a:cubicBezTo>
                        <a:pt x="312" y="66"/>
                        <a:pt x="312" y="66"/>
                        <a:pt x="312" y="66"/>
                      </a:cubicBezTo>
                      <a:cubicBezTo>
                        <a:pt x="309" y="66"/>
                        <a:pt x="309" y="66"/>
                        <a:pt x="309" y="66"/>
                      </a:cubicBezTo>
                      <a:cubicBezTo>
                        <a:pt x="308" y="65"/>
                        <a:pt x="308" y="65"/>
                        <a:pt x="308" y="65"/>
                      </a:cubicBezTo>
                      <a:cubicBezTo>
                        <a:pt x="307" y="63"/>
                        <a:pt x="307" y="63"/>
                        <a:pt x="307" y="63"/>
                      </a:cubicBezTo>
                      <a:cubicBezTo>
                        <a:pt x="306" y="62"/>
                        <a:pt x="306" y="62"/>
                        <a:pt x="306" y="62"/>
                      </a:cubicBezTo>
                      <a:cubicBezTo>
                        <a:pt x="306" y="61"/>
                        <a:pt x="306" y="61"/>
                        <a:pt x="306" y="61"/>
                      </a:cubicBezTo>
                      <a:cubicBezTo>
                        <a:pt x="305" y="61"/>
                        <a:pt x="305" y="61"/>
                        <a:pt x="305" y="61"/>
                      </a:cubicBezTo>
                      <a:cubicBezTo>
                        <a:pt x="304" y="60"/>
                        <a:pt x="304" y="60"/>
                        <a:pt x="304" y="60"/>
                      </a:cubicBezTo>
                      <a:cubicBezTo>
                        <a:pt x="297" y="60"/>
                        <a:pt x="297" y="60"/>
                        <a:pt x="297" y="60"/>
                      </a:cubicBezTo>
                      <a:cubicBezTo>
                        <a:pt x="293" y="61"/>
                        <a:pt x="293" y="61"/>
                        <a:pt x="293" y="61"/>
                      </a:cubicBezTo>
                      <a:cubicBezTo>
                        <a:pt x="291" y="62"/>
                        <a:pt x="291" y="62"/>
                        <a:pt x="291" y="62"/>
                      </a:cubicBezTo>
                      <a:cubicBezTo>
                        <a:pt x="288" y="62"/>
                        <a:pt x="288" y="62"/>
                        <a:pt x="288" y="62"/>
                      </a:cubicBezTo>
                      <a:cubicBezTo>
                        <a:pt x="286" y="63"/>
                        <a:pt x="286" y="63"/>
                        <a:pt x="286" y="63"/>
                      </a:cubicBezTo>
                      <a:cubicBezTo>
                        <a:pt x="285" y="64"/>
                        <a:pt x="285" y="64"/>
                        <a:pt x="285" y="64"/>
                      </a:cubicBezTo>
                      <a:cubicBezTo>
                        <a:pt x="284" y="64"/>
                        <a:pt x="284" y="64"/>
                        <a:pt x="284" y="64"/>
                      </a:cubicBezTo>
                      <a:cubicBezTo>
                        <a:pt x="281" y="67"/>
                        <a:pt x="281" y="67"/>
                        <a:pt x="281" y="67"/>
                      </a:cubicBezTo>
                      <a:cubicBezTo>
                        <a:pt x="271" y="68"/>
                        <a:pt x="271" y="68"/>
                        <a:pt x="271" y="68"/>
                      </a:cubicBezTo>
                      <a:cubicBezTo>
                        <a:pt x="270" y="68"/>
                        <a:pt x="270" y="68"/>
                        <a:pt x="270" y="68"/>
                      </a:cubicBezTo>
                      <a:cubicBezTo>
                        <a:pt x="269" y="69"/>
                        <a:pt x="269" y="69"/>
                        <a:pt x="269" y="69"/>
                      </a:cubicBezTo>
                      <a:cubicBezTo>
                        <a:pt x="264" y="71"/>
                        <a:pt x="264" y="71"/>
                        <a:pt x="264" y="71"/>
                      </a:cubicBezTo>
                      <a:cubicBezTo>
                        <a:pt x="263" y="71"/>
                        <a:pt x="263" y="71"/>
                        <a:pt x="263" y="71"/>
                      </a:cubicBezTo>
                      <a:cubicBezTo>
                        <a:pt x="262" y="72"/>
                        <a:pt x="262" y="72"/>
                        <a:pt x="262" y="72"/>
                      </a:cubicBezTo>
                      <a:cubicBezTo>
                        <a:pt x="263" y="73"/>
                        <a:pt x="263" y="73"/>
                        <a:pt x="263" y="73"/>
                      </a:cubicBezTo>
                      <a:cubicBezTo>
                        <a:pt x="263" y="76"/>
                        <a:pt x="263" y="76"/>
                        <a:pt x="263" y="76"/>
                      </a:cubicBezTo>
                      <a:cubicBezTo>
                        <a:pt x="262" y="75"/>
                        <a:pt x="262" y="75"/>
                        <a:pt x="262" y="75"/>
                      </a:cubicBezTo>
                      <a:cubicBezTo>
                        <a:pt x="262" y="75"/>
                        <a:pt x="262" y="75"/>
                        <a:pt x="262" y="75"/>
                      </a:cubicBezTo>
                      <a:cubicBezTo>
                        <a:pt x="262" y="75"/>
                        <a:pt x="262" y="75"/>
                        <a:pt x="262" y="75"/>
                      </a:cubicBezTo>
                      <a:cubicBezTo>
                        <a:pt x="261" y="75"/>
                        <a:pt x="261" y="75"/>
                        <a:pt x="261" y="75"/>
                      </a:cubicBezTo>
                      <a:cubicBezTo>
                        <a:pt x="261" y="75"/>
                        <a:pt x="261" y="75"/>
                        <a:pt x="261" y="75"/>
                      </a:cubicBezTo>
                      <a:cubicBezTo>
                        <a:pt x="259" y="74"/>
                        <a:pt x="259" y="74"/>
                        <a:pt x="259" y="74"/>
                      </a:cubicBezTo>
                      <a:cubicBezTo>
                        <a:pt x="259" y="73"/>
                        <a:pt x="259" y="73"/>
                        <a:pt x="259" y="73"/>
                      </a:cubicBezTo>
                      <a:cubicBezTo>
                        <a:pt x="258" y="71"/>
                        <a:pt x="258" y="71"/>
                        <a:pt x="258" y="71"/>
                      </a:cubicBezTo>
                      <a:cubicBezTo>
                        <a:pt x="257" y="70"/>
                        <a:pt x="257" y="70"/>
                        <a:pt x="257" y="70"/>
                      </a:cubicBezTo>
                      <a:cubicBezTo>
                        <a:pt x="254" y="70"/>
                        <a:pt x="254" y="70"/>
                        <a:pt x="254" y="70"/>
                      </a:cubicBezTo>
                      <a:cubicBezTo>
                        <a:pt x="253" y="69"/>
                        <a:pt x="253" y="69"/>
                        <a:pt x="253" y="69"/>
                      </a:cubicBezTo>
                      <a:cubicBezTo>
                        <a:pt x="252" y="69"/>
                        <a:pt x="252" y="69"/>
                        <a:pt x="252" y="69"/>
                      </a:cubicBezTo>
                      <a:cubicBezTo>
                        <a:pt x="251" y="68"/>
                        <a:pt x="251" y="68"/>
                        <a:pt x="251" y="68"/>
                      </a:cubicBezTo>
                      <a:cubicBezTo>
                        <a:pt x="249" y="68"/>
                        <a:pt x="249" y="68"/>
                        <a:pt x="249" y="68"/>
                      </a:cubicBezTo>
                      <a:cubicBezTo>
                        <a:pt x="248" y="67"/>
                        <a:pt x="248" y="67"/>
                        <a:pt x="248" y="67"/>
                      </a:cubicBezTo>
                      <a:cubicBezTo>
                        <a:pt x="244" y="67"/>
                        <a:pt x="244" y="67"/>
                        <a:pt x="244" y="67"/>
                      </a:cubicBezTo>
                      <a:cubicBezTo>
                        <a:pt x="242" y="69"/>
                        <a:pt x="242" y="69"/>
                        <a:pt x="242" y="69"/>
                      </a:cubicBezTo>
                      <a:cubicBezTo>
                        <a:pt x="234" y="69"/>
                        <a:pt x="234" y="69"/>
                        <a:pt x="234" y="69"/>
                      </a:cubicBezTo>
                      <a:cubicBezTo>
                        <a:pt x="234" y="72"/>
                        <a:pt x="234" y="72"/>
                        <a:pt x="234" y="72"/>
                      </a:cubicBezTo>
                      <a:cubicBezTo>
                        <a:pt x="227" y="72"/>
                        <a:pt x="227" y="72"/>
                        <a:pt x="227" y="72"/>
                      </a:cubicBezTo>
                      <a:cubicBezTo>
                        <a:pt x="227" y="70"/>
                        <a:pt x="227" y="70"/>
                        <a:pt x="227" y="70"/>
                      </a:cubicBezTo>
                      <a:cubicBezTo>
                        <a:pt x="229" y="68"/>
                        <a:pt x="229" y="68"/>
                        <a:pt x="229" y="68"/>
                      </a:cubicBezTo>
                      <a:cubicBezTo>
                        <a:pt x="229" y="67"/>
                        <a:pt x="229" y="67"/>
                        <a:pt x="229" y="67"/>
                      </a:cubicBezTo>
                      <a:cubicBezTo>
                        <a:pt x="230" y="65"/>
                        <a:pt x="230" y="65"/>
                        <a:pt x="230" y="65"/>
                      </a:cubicBezTo>
                      <a:cubicBezTo>
                        <a:pt x="226" y="67"/>
                        <a:pt x="226" y="67"/>
                        <a:pt x="226" y="67"/>
                      </a:cubicBezTo>
                      <a:cubicBezTo>
                        <a:pt x="219" y="66"/>
                        <a:pt x="219" y="66"/>
                        <a:pt x="219" y="66"/>
                      </a:cubicBezTo>
                      <a:cubicBezTo>
                        <a:pt x="218" y="65"/>
                        <a:pt x="218" y="65"/>
                        <a:pt x="218" y="65"/>
                      </a:cubicBezTo>
                      <a:cubicBezTo>
                        <a:pt x="218" y="63"/>
                        <a:pt x="218" y="63"/>
                        <a:pt x="218" y="63"/>
                      </a:cubicBezTo>
                      <a:cubicBezTo>
                        <a:pt x="217" y="61"/>
                        <a:pt x="217" y="61"/>
                        <a:pt x="217" y="61"/>
                      </a:cubicBezTo>
                      <a:cubicBezTo>
                        <a:pt x="216" y="61"/>
                        <a:pt x="216" y="61"/>
                        <a:pt x="216" y="61"/>
                      </a:cubicBezTo>
                      <a:cubicBezTo>
                        <a:pt x="216" y="60"/>
                        <a:pt x="216" y="60"/>
                        <a:pt x="216" y="60"/>
                      </a:cubicBezTo>
                      <a:cubicBezTo>
                        <a:pt x="215" y="59"/>
                        <a:pt x="215" y="59"/>
                        <a:pt x="215" y="59"/>
                      </a:cubicBezTo>
                      <a:cubicBezTo>
                        <a:pt x="215" y="56"/>
                        <a:pt x="215" y="56"/>
                        <a:pt x="215" y="56"/>
                      </a:cubicBezTo>
                      <a:cubicBezTo>
                        <a:pt x="216" y="52"/>
                        <a:pt x="216" y="52"/>
                        <a:pt x="216" y="52"/>
                      </a:cubicBezTo>
                      <a:cubicBezTo>
                        <a:pt x="215" y="51"/>
                        <a:pt x="215" y="51"/>
                        <a:pt x="215" y="51"/>
                      </a:cubicBezTo>
                      <a:cubicBezTo>
                        <a:pt x="215" y="49"/>
                        <a:pt x="215" y="49"/>
                        <a:pt x="215" y="49"/>
                      </a:cubicBezTo>
                      <a:cubicBezTo>
                        <a:pt x="219" y="46"/>
                        <a:pt x="219" y="46"/>
                        <a:pt x="219" y="46"/>
                      </a:cubicBezTo>
                      <a:cubicBezTo>
                        <a:pt x="221" y="41"/>
                        <a:pt x="221" y="41"/>
                        <a:pt x="221" y="41"/>
                      </a:cubicBezTo>
                      <a:cubicBezTo>
                        <a:pt x="224" y="41"/>
                        <a:pt x="224" y="41"/>
                        <a:pt x="224" y="41"/>
                      </a:cubicBezTo>
                      <a:cubicBezTo>
                        <a:pt x="226" y="36"/>
                        <a:pt x="226" y="36"/>
                        <a:pt x="226" y="36"/>
                      </a:cubicBezTo>
                      <a:cubicBezTo>
                        <a:pt x="219" y="36"/>
                        <a:pt x="219" y="36"/>
                        <a:pt x="219" y="36"/>
                      </a:cubicBezTo>
                      <a:cubicBezTo>
                        <a:pt x="219" y="32"/>
                        <a:pt x="219" y="32"/>
                        <a:pt x="219" y="32"/>
                      </a:cubicBezTo>
                      <a:cubicBezTo>
                        <a:pt x="223" y="28"/>
                        <a:pt x="223" y="28"/>
                        <a:pt x="223" y="28"/>
                      </a:cubicBezTo>
                      <a:cubicBezTo>
                        <a:pt x="223" y="26"/>
                        <a:pt x="223" y="26"/>
                        <a:pt x="223" y="26"/>
                      </a:cubicBezTo>
                      <a:cubicBezTo>
                        <a:pt x="223" y="24"/>
                        <a:pt x="223" y="24"/>
                        <a:pt x="223" y="24"/>
                      </a:cubicBezTo>
                      <a:cubicBezTo>
                        <a:pt x="216" y="24"/>
                        <a:pt x="216" y="24"/>
                        <a:pt x="216" y="24"/>
                      </a:cubicBezTo>
                      <a:cubicBezTo>
                        <a:pt x="216" y="26"/>
                        <a:pt x="216" y="26"/>
                        <a:pt x="216" y="26"/>
                      </a:cubicBezTo>
                      <a:cubicBezTo>
                        <a:pt x="213" y="28"/>
                        <a:pt x="213" y="28"/>
                        <a:pt x="213" y="28"/>
                      </a:cubicBezTo>
                      <a:cubicBezTo>
                        <a:pt x="213" y="30"/>
                        <a:pt x="213" y="30"/>
                        <a:pt x="213" y="30"/>
                      </a:cubicBezTo>
                      <a:cubicBezTo>
                        <a:pt x="212" y="30"/>
                        <a:pt x="212" y="30"/>
                        <a:pt x="212" y="30"/>
                      </a:cubicBezTo>
                      <a:cubicBezTo>
                        <a:pt x="212" y="36"/>
                        <a:pt x="212" y="36"/>
                        <a:pt x="212" y="36"/>
                      </a:cubicBezTo>
                      <a:cubicBezTo>
                        <a:pt x="209" y="33"/>
                        <a:pt x="209" y="33"/>
                        <a:pt x="209" y="33"/>
                      </a:cubicBezTo>
                      <a:cubicBezTo>
                        <a:pt x="208" y="28"/>
                        <a:pt x="208" y="28"/>
                        <a:pt x="208" y="28"/>
                      </a:cubicBezTo>
                      <a:cubicBezTo>
                        <a:pt x="205" y="30"/>
                        <a:pt x="205" y="30"/>
                        <a:pt x="205" y="30"/>
                      </a:cubicBezTo>
                      <a:cubicBezTo>
                        <a:pt x="203" y="30"/>
                        <a:pt x="203" y="30"/>
                        <a:pt x="203" y="30"/>
                      </a:cubicBezTo>
                      <a:cubicBezTo>
                        <a:pt x="203" y="32"/>
                        <a:pt x="203" y="32"/>
                        <a:pt x="203" y="32"/>
                      </a:cubicBezTo>
                      <a:cubicBezTo>
                        <a:pt x="203" y="33"/>
                        <a:pt x="203" y="33"/>
                        <a:pt x="203" y="33"/>
                      </a:cubicBezTo>
                      <a:cubicBezTo>
                        <a:pt x="205" y="33"/>
                        <a:pt x="205" y="33"/>
                        <a:pt x="205" y="33"/>
                      </a:cubicBezTo>
                      <a:cubicBezTo>
                        <a:pt x="208" y="36"/>
                        <a:pt x="208" y="36"/>
                        <a:pt x="208" y="36"/>
                      </a:cubicBezTo>
                      <a:cubicBezTo>
                        <a:pt x="208" y="38"/>
                        <a:pt x="208" y="38"/>
                        <a:pt x="208" y="38"/>
                      </a:cubicBezTo>
                      <a:cubicBezTo>
                        <a:pt x="203" y="36"/>
                        <a:pt x="203" y="36"/>
                        <a:pt x="203" y="36"/>
                      </a:cubicBezTo>
                      <a:cubicBezTo>
                        <a:pt x="201" y="40"/>
                        <a:pt x="201" y="40"/>
                        <a:pt x="201" y="40"/>
                      </a:cubicBezTo>
                      <a:cubicBezTo>
                        <a:pt x="200" y="40"/>
                        <a:pt x="200" y="40"/>
                        <a:pt x="200" y="40"/>
                      </a:cubicBezTo>
                      <a:cubicBezTo>
                        <a:pt x="200" y="43"/>
                        <a:pt x="200" y="43"/>
                        <a:pt x="200" y="43"/>
                      </a:cubicBezTo>
                      <a:cubicBezTo>
                        <a:pt x="200" y="44"/>
                        <a:pt x="200" y="44"/>
                        <a:pt x="200" y="44"/>
                      </a:cubicBezTo>
                      <a:cubicBezTo>
                        <a:pt x="203" y="46"/>
                        <a:pt x="203" y="46"/>
                        <a:pt x="203" y="46"/>
                      </a:cubicBezTo>
                      <a:cubicBezTo>
                        <a:pt x="205" y="46"/>
                        <a:pt x="205" y="46"/>
                        <a:pt x="205" y="46"/>
                      </a:cubicBezTo>
                      <a:cubicBezTo>
                        <a:pt x="201" y="49"/>
                        <a:pt x="201" y="49"/>
                        <a:pt x="201" y="49"/>
                      </a:cubicBezTo>
                      <a:cubicBezTo>
                        <a:pt x="201" y="51"/>
                        <a:pt x="201" y="51"/>
                        <a:pt x="201" y="51"/>
                      </a:cubicBezTo>
                      <a:cubicBezTo>
                        <a:pt x="203" y="52"/>
                        <a:pt x="203" y="52"/>
                        <a:pt x="203" y="52"/>
                      </a:cubicBezTo>
                      <a:cubicBezTo>
                        <a:pt x="205" y="52"/>
                        <a:pt x="205" y="52"/>
                        <a:pt x="205" y="52"/>
                      </a:cubicBezTo>
                      <a:cubicBezTo>
                        <a:pt x="205" y="56"/>
                        <a:pt x="205" y="56"/>
                        <a:pt x="205" y="56"/>
                      </a:cubicBezTo>
                      <a:cubicBezTo>
                        <a:pt x="203" y="59"/>
                        <a:pt x="203" y="59"/>
                        <a:pt x="203" y="59"/>
                      </a:cubicBezTo>
                      <a:cubicBezTo>
                        <a:pt x="205" y="59"/>
                        <a:pt x="205" y="59"/>
                        <a:pt x="205" y="59"/>
                      </a:cubicBezTo>
                      <a:cubicBezTo>
                        <a:pt x="211" y="59"/>
                        <a:pt x="211" y="59"/>
                        <a:pt x="211" y="59"/>
                      </a:cubicBezTo>
                      <a:cubicBezTo>
                        <a:pt x="211" y="60"/>
                        <a:pt x="211" y="60"/>
                        <a:pt x="211" y="60"/>
                      </a:cubicBezTo>
                      <a:cubicBezTo>
                        <a:pt x="215" y="60"/>
                        <a:pt x="215" y="60"/>
                        <a:pt x="215" y="60"/>
                      </a:cubicBezTo>
                      <a:cubicBezTo>
                        <a:pt x="216" y="62"/>
                        <a:pt x="216" y="62"/>
                        <a:pt x="216" y="62"/>
                      </a:cubicBezTo>
                      <a:cubicBezTo>
                        <a:pt x="215" y="61"/>
                        <a:pt x="215" y="61"/>
                        <a:pt x="215" y="61"/>
                      </a:cubicBezTo>
                      <a:cubicBezTo>
                        <a:pt x="211" y="61"/>
                        <a:pt x="211" y="61"/>
                        <a:pt x="211" y="61"/>
                      </a:cubicBezTo>
                      <a:cubicBezTo>
                        <a:pt x="210" y="60"/>
                        <a:pt x="210" y="60"/>
                        <a:pt x="210" y="60"/>
                      </a:cubicBezTo>
                      <a:cubicBezTo>
                        <a:pt x="205" y="60"/>
                        <a:pt x="205" y="60"/>
                        <a:pt x="205" y="60"/>
                      </a:cubicBezTo>
                      <a:cubicBezTo>
                        <a:pt x="209" y="66"/>
                        <a:pt x="209" y="66"/>
                        <a:pt x="209" y="66"/>
                      </a:cubicBezTo>
                      <a:cubicBezTo>
                        <a:pt x="207" y="68"/>
                        <a:pt x="207" y="68"/>
                        <a:pt x="207" y="68"/>
                      </a:cubicBezTo>
                      <a:cubicBezTo>
                        <a:pt x="210" y="72"/>
                        <a:pt x="210" y="72"/>
                        <a:pt x="210" y="72"/>
                      </a:cubicBezTo>
                      <a:cubicBezTo>
                        <a:pt x="213" y="75"/>
                        <a:pt x="213" y="75"/>
                        <a:pt x="213" y="75"/>
                      </a:cubicBezTo>
                      <a:cubicBezTo>
                        <a:pt x="208" y="73"/>
                        <a:pt x="208" y="73"/>
                        <a:pt x="208" y="73"/>
                      </a:cubicBezTo>
                      <a:cubicBezTo>
                        <a:pt x="204" y="74"/>
                        <a:pt x="204" y="74"/>
                        <a:pt x="204" y="74"/>
                      </a:cubicBezTo>
                      <a:cubicBezTo>
                        <a:pt x="204" y="78"/>
                        <a:pt x="204" y="78"/>
                        <a:pt x="204" y="78"/>
                      </a:cubicBezTo>
                      <a:cubicBezTo>
                        <a:pt x="199" y="78"/>
                        <a:pt x="199" y="78"/>
                        <a:pt x="199" y="78"/>
                      </a:cubicBezTo>
                      <a:cubicBezTo>
                        <a:pt x="198" y="76"/>
                        <a:pt x="198" y="76"/>
                        <a:pt x="198" y="76"/>
                      </a:cubicBezTo>
                      <a:cubicBezTo>
                        <a:pt x="191" y="76"/>
                        <a:pt x="191" y="76"/>
                        <a:pt x="191" y="76"/>
                      </a:cubicBezTo>
                      <a:cubicBezTo>
                        <a:pt x="191" y="81"/>
                        <a:pt x="191" y="81"/>
                        <a:pt x="191" y="81"/>
                      </a:cubicBezTo>
                      <a:cubicBezTo>
                        <a:pt x="192" y="81"/>
                        <a:pt x="192" y="81"/>
                        <a:pt x="192" y="81"/>
                      </a:cubicBezTo>
                      <a:cubicBezTo>
                        <a:pt x="191" y="82"/>
                        <a:pt x="191" y="82"/>
                        <a:pt x="191" y="82"/>
                      </a:cubicBezTo>
                      <a:cubicBezTo>
                        <a:pt x="189" y="81"/>
                        <a:pt x="189" y="81"/>
                        <a:pt x="189" y="81"/>
                      </a:cubicBezTo>
                      <a:cubicBezTo>
                        <a:pt x="188" y="81"/>
                        <a:pt x="188" y="81"/>
                        <a:pt x="188" y="81"/>
                      </a:cubicBezTo>
                      <a:cubicBezTo>
                        <a:pt x="186" y="80"/>
                        <a:pt x="186" y="80"/>
                        <a:pt x="186" y="80"/>
                      </a:cubicBezTo>
                      <a:cubicBezTo>
                        <a:pt x="176" y="80"/>
                        <a:pt x="176" y="80"/>
                        <a:pt x="176" y="80"/>
                      </a:cubicBezTo>
                      <a:cubicBezTo>
                        <a:pt x="174" y="82"/>
                        <a:pt x="174" y="82"/>
                        <a:pt x="174" y="82"/>
                      </a:cubicBezTo>
                      <a:cubicBezTo>
                        <a:pt x="172" y="83"/>
                        <a:pt x="172" y="83"/>
                        <a:pt x="172" y="83"/>
                      </a:cubicBezTo>
                      <a:cubicBezTo>
                        <a:pt x="172" y="85"/>
                        <a:pt x="172" y="85"/>
                        <a:pt x="172" y="85"/>
                      </a:cubicBezTo>
                      <a:cubicBezTo>
                        <a:pt x="173" y="86"/>
                        <a:pt x="173" y="86"/>
                        <a:pt x="173" y="86"/>
                      </a:cubicBezTo>
                      <a:cubicBezTo>
                        <a:pt x="173" y="89"/>
                        <a:pt x="173" y="89"/>
                        <a:pt x="173" y="89"/>
                      </a:cubicBezTo>
                      <a:cubicBezTo>
                        <a:pt x="174" y="90"/>
                        <a:pt x="174" y="90"/>
                        <a:pt x="174" y="90"/>
                      </a:cubicBezTo>
                      <a:cubicBezTo>
                        <a:pt x="175" y="90"/>
                        <a:pt x="175" y="90"/>
                        <a:pt x="175" y="90"/>
                      </a:cubicBezTo>
                      <a:cubicBezTo>
                        <a:pt x="176" y="91"/>
                        <a:pt x="176" y="91"/>
                        <a:pt x="176" y="91"/>
                      </a:cubicBezTo>
                      <a:cubicBezTo>
                        <a:pt x="176" y="93"/>
                        <a:pt x="176" y="93"/>
                        <a:pt x="176" y="93"/>
                      </a:cubicBezTo>
                      <a:cubicBezTo>
                        <a:pt x="174" y="94"/>
                        <a:pt x="174" y="94"/>
                        <a:pt x="174" y="94"/>
                      </a:cubicBezTo>
                      <a:cubicBezTo>
                        <a:pt x="173" y="95"/>
                        <a:pt x="173" y="95"/>
                        <a:pt x="173" y="95"/>
                      </a:cubicBezTo>
                      <a:cubicBezTo>
                        <a:pt x="170" y="95"/>
                        <a:pt x="170" y="95"/>
                        <a:pt x="170" y="95"/>
                      </a:cubicBezTo>
                      <a:cubicBezTo>
                        <a:pt x="169" y="94"/>
                        <a:pt x="169" y="94"/>
                        <a:pt x="169" y="94"/>
                      </a:cubicBezTo>
                      <a:cubicBezTo>
                        <a:pt x="169" y="91"/>
                        <a:pt x="169" y="91"/>
                        <a:pt x="169" y="91"/>
                      </a:cubicBezTo>
                      <a:cubicBezTo>
                        <a:pt x="171" y="89"/>
                        <a:pt x="171" y="89"/>
                        <a:pt x="171" y="89"/>
                      </a:cubicBezTo>
                      <a:cubicBezTo>
                        <a:pt x="171" y="86"/>
                        <a:pt x="171" y="86"/>
                        <a:pt x="171" y="86"/>
                      </a:cubicBezTo>
                      <a:cubicBezTo>
                        <a:pt x="170" y="85"/>
                        <a:pt x="170" y="85"/>
                        <a:pt x="170" y="85"/>
                      </a:cubicBezTo>
                      <a:cubicBezTo>
                        <a:pt x="170" y="84"/>
                        <a:pt x="170" y="84"/>
                        <a:pt x="170" y="84"/>
                      </a:cubicBezTo>
                      <a:cubicBezTo>
                        <a:pt x="168" y="86"/>
                        <a:pt x="168" y="86"/>
                        <a:pt x="168" y="86"/>
                      </a:cubicBezTo>
                      <a:cubicBezTo>
                        <a:pt x="166" y="87"/>
                        <a:pt x="166" y="87"/>
                        <a:pt x="166" y="87"/>
                      </a:cubicBezTo>
                      <a:cubicBezTo>
                        <a:pt x="165" y="88"/>
                        <a:pt x="165" y="88"/>
                        <a:pt x="165" y="88"/>
                      </a:cubicBezTo>
                      <a:cubicBezTo>
                        <a:pt x="163" y="89"/>
                        <a:pt x="163" y="89"/>
                        <a:pt x="163" y="89"/>
                      </a:cubicBezTo>
                      <a:cubicBezTo>
                        <a:pt x="162" y="91"/>
                        <a:pt x="162" y="91"/>
                        <a:pt x="162" y="91"/>
                      </a:cubicBezTo>
                      <a:cubicBezTo>
                        <a:pt x="162" y="94"/>
                        <a:pt x="162" y="94"/>
                        <a:pt x="162" y="94"/>
                      </a:cubicBezTo>
                      <a:cubicBezTo>
                        <a:pt x="160" y="95"/>
                        <a:pt x="160" y="95"/>
                        <a:pt x="160" y="95"/>
                      </a:cubicBezTo>
                      <a:cubicBezTo>
                        <a:pt x="160" y="97"/>
                        <a:pt x="160" y="97"/>
                        <a:pt x="160" y="97"/>
                      </a:cubicBezTo>
                      <a:cubicBezTo>
                        <a:pt x="155" y="102"/>
                        <a:pt x="155" y="102"/>
                        <a:pt x="155" y="102"/>
                      </a:cubicBezTo>
                      <a:cubicBezTo>
                        <a:pt x="157" y="104"/>
                        <a:pt x="157" y="104"/>
                        <a:pt x="157" y="104"/>
                      </a:cubicBezTo>
                      <a:cubicBezTo>
                        <a:pt x="152" y="104"/>
                        <a:pt x="152" y="104"/>
                        <a:pt x="152" y="104"/>
                      </a:cubicBezTo>
                      <a:cubicBezTo>
                        <a:pt x="150" y="105"/>
                        <a:pt x="150" y="105"/>
                        <a:pt x="150" y="105"/>
                      </a:cubicBezTo>
                      <a:cubicBezTo>
                        <a:pt x="150" y="105"/>
                        <a:pt x="150" y="105"/>
                        <a:pt x="150" y="105"/>
                      </a:cubicBezTo>
                      <a:cubicBezTo>
                        <a:pt x="148" y="105"/>
                        <a:pt x="148" y="105"/>
                        <a:pt x="148" y="105"/>
                      </a:cubicBezTo>
                      <a:cubicBezTo>
                        <a:pt x="144" y="108"/>
                        <a:pt x="144" y="108"/>
                        <a:pt x="144" y="108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44" y="108"/>
                        <a:pt x="144" y="108"/>
                        <a:pt x="144" y="108"/>
                      </a:cubicBezTo>
                      <a:cubicBezTo>
                        <a:pt x="138" y="108"/>
                        <a:pt x="138" y="108"/>
                        <a:pt x="138" y="108"/>
                      </a:cubicBezTo>
                      <a:cubicBezTo>
                        <a:pt x="136" y="109"/>
                        <a:pt x="136" y="109"/>
                        <a:pt x="136" y="109"/>
                      </a:cubicBezTo>
                      <a:cubicBezTo>
                        <a:pt x="135" y="109"/>
                        <a:pt x="135" y="109"/>
                        <a:pt x="135" y="109"/>
                      </a:cubicBezTo>
                      <a:cubicBezTo>
                        <a:pt x="133" y="110"/>
                        <a:pt x="133" y="110"/>
                        <a:pt x="133" y="110"/>
                      </a:cubicBezTo>
                      <a:cubicBezTo>
                        <a:pt x="129" y="110"/>
                        <a:pt x="129" y="110"/>
                        <a:pt x="129" y="110"/>
                      </a:cubicBezTo>
                      <a:cubicBezTo>
                        <a:pt x="129" y="112"/>
                        <a:pt x="129" y="112"/>
                        <a:pt x="129" y="112"/>
                      </a:cubicBezTo>
                      <a:cubicBezTo>
                        <a:pt x="129" y="113"/>
                        <a:pt x="129" y="113"/>
                        <a:pt x="129" y="113"/>
                      </a:cubicBezTo>
                      <a:cubicBezTo>
                        <a:pt x="129" y="116"/>
                        <a:pt x="129" y="116"/>
                        <a:pt x="129" y="116"/>
                      </a:cubicBezTo>
                      <a:cubicBezTo>
                        <a:pt x="131" y="117"/>
                        <a:pt x="131" y="117"/>
                        <a:pt x="131" y="117"/>
                      </a:cubicBezTo>
                      <a:cubicBezTo>
                        <a:pt x="131" y="121"/>
                        <a:pt x="131" y="121"/>
                        <a:pt x="131" y="121"/>
                      </a:cubicBezTo>
                      <a:cubicBezTo>
                        <a:pt x="129" y="122"/>
                        <a:pt x="129" y="122"/>
                        <a:pt x="129" y="122"/>
                      </a:cubicBezTo>
                      <a:cubicBezTo>
                        <a:pt x="125" y="124"/>
                        <a:pt x="125" y="124"/>
                        <a:pt x="125" y="124"/>
                      </a:cubicBezTo>
                      <a:cubicBezTo>
                        <a:pt x="121" y="124"/>
                        <a:pt x="121" y="124"/>
                        <a:pt x="121" y="124"/>
                      </a:cubicBezTo>
                      <a:cubicBezTo>
                        <a:pt x="115" y="129"/>
                        <a:pt x="115" y="129"/>
                        <a:pt x="115" y="129"/>
                      </a:cubicBezTo>
                      <a:cubicBezTo>
                        <a:pt x="117" y="130"/>
                        <a:pt x="117" y="130"/>
                        <a:pt x="117" y="130"/>
                      </a:cubicBezTo>
                      <a:cubicBezTo>
                        <a:pt x="116" y="130"/>
                        <a:pt x="116" y="130"/>
                        <a:pt x="116" y="130"/>
                      </a:cubicBezTo>
                      <a:cubicBezTo>
                        <a:pt x="115" y="130"/>
                        <a:pt x="115" y="130"/>
                        <a:pt x="115" y="130"/>
                      </a:cubicBezTo>
                      <a:cubicBezTo>
                        <a:pt x="111" y="133"/>
                        <a:pt x="111" y="133"/>
                        <a:pt x="111" y="133"/>
                      </a:cubicBezTo>
                      <a:cubicBezTo>
                        <a:pt x="105" y="133"/>
                        <a:pt x="105" y="133"/>
                        <a:pt x="105" y="133"/>
                      </a:cubicBezTo>
                      <a:cubicBezTo>
                        <a:pt x="104" y="132"/>
                        <a:pt x="104" y="132"/>
                        <a:pt x="104" y="132"/>
                      </a:cubicBezTo>
                      <a:cubicBezTo>
                        <a:pt x="100" y="128"/>
                        <a:pt x="100" y="128"/>
                        <a:pt x="100" y="128"/>
                      </a:cubicBezTo>
                      <a:cubicBezTo>
                        <a:pt x="99" y="128"/>
                        <a:pt x="99" y="128"/>
                        <a:pt x="99" y="128"/>
                      </a:cubicBezTo>
                      <a:cubicBezTo>
                        <a:pt x="98" y="126"/>
                        <a:pt x="98" y="126"/>
                        <a:pt x="98" y="126"/>
                      </a:cubicBezTo>
                      <a:cubicBezTo>
                        <a:pt x="95" y="126"/>
                        <a:pt x="95" y="126"/>
                        <a:pt x="95" y="126"/>
                      </a:cubicBezTo>
                      <a:cubicBezTo>
                        <a:pt x="95" y="128"/>
                        <a:pt x="95" y="128"/>
                        <a:pt x="95" y="128"/>
                      </a:cubicBezTo>
                      <a:cubicBezTo>
                        <a:pt x="95" y="130"/>
                        <a:pt x="95" y="130"/>
                        <a:pt x="95" y="130"/>
                      </a:cubicBezTo>
                      <a:cubicBezTo>
                        <a:pt x="96" y="130"/>
                        <a:pt x="96" y="130"/>
                        <a:pt x="96" y="130"/>
                      </a:cubicBezTo>
                      <a:cubicBezTo>
                        <a:pt x="98" y="133"/>
                        <a:pt x="98" y="133"/>
                        <a:pt x="98" y="133"/>
                      </a:cubicBezTo>
                      <a:cubicBezTo>
                        <a:pt x="99" y="134"/>
                        <a:pt x="99" y="134"/>
                        <a:pt x="99" y="134"/>
                      </a:cubicBezTo>
                      <a:cubicBezTo>
                        <a:pt x="99" y="138"/>
                        <a:pt x="99" y="138"/>
                        <a:pt x="99" y="138"/>
                      </a:cubicBezTo>
                      <a:cubicBezTo>
                        <a:pt x="98" y="139"/>
                        <a:pt x="98" y="139"/>
                        <a:pt x="98" y="139"/>
                      </a:cubicBezTo>
                      <a:cubicBezTo>
                        <a:pt x="96" y="139"/>
                        <a:pt x="96" y="139"/>
                        <a:pt x="96" y="139"/>
                      </a:cubicBezTo>
                      <a:cubicBezTo>
                        <a:pt x="92" y="139"/>
                        <a:pt x="92" y="139"/>
                        <a:pt x="92" y="139"/>
                      </a:cubicBezTo>
                      <a:cubicBezTo>
                        <a:pt x="86" y="139"/>
                        <a:pt x="86" y="139"/>
                        <a:pt x="86" y="139"/>
                      </a:cubicBezTo>
                      <a:cubicBezTo>
                        <a:pt x="86" y="143"/>
                        <a:pt x="86" y="143"/>
                        <a:pt x="86" y="143"/>
                      </a:cubicBezTo>
                      <a:cubicBezTo>
                        <a:pt x="84" y="142"/>
                        <a:pt x="84" y="142"/>
                        <a:pt x="84" y="142"/>
                      </a:cubicBezTo>
                      <a:cubicBezTo>
                        <a:pt x="83" y="139"/>
                        <a:pt x="83" y="139"/>
                        <a:pt x="83" y="139"/>
                      </a:cubicBezTo>
                      <a:cubicBezTo>
                        <a:pt x="82" y="139"/>
                        <a:pt x="82" y="139"/>
                        <a:pt x="82" y="139"/>
                      </a:cubicBezTo>
                      <a:cubicBezTo>
                        <a:pt x="80" y="138"/>
                        <a:pt x="80" y="138"/>
                        <a:pt x="80" y="138"/>
                      </a:cubicBezTo>
                      <a:cubicBezTo>
                        <a:pt x="78" y="138"/>
                        <a:pt x="78" y="138"/>
                        <a:pt x="78" y="138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75" y="139"/>
                        <a:pt x="75" y="139"/>
                        <a:pt x="75" y="139"/>
                      </a:cubicBezTo>
                      <a:cubicBezTo>
                        <a:pt x="74" y="139"/>
                        <a:pt x="74" y="139"/>
                        <a:pt x="74" y="139"/>
                      </a:cubicBezTo>
                      <a:cubicBezTo>
                        <a:pt x="71" y="139"/>
                        <a:pt x="71" y="139"/>
                        <a:pt x="71" y="139"/>
                      </a:cubicBezTo>
                      <a:cubicBezTo>
                        <a:pt x="68" y="141"/>
                        <a:pt x="68" y="141"/>
                        <a:pt x="68" y="141"/>
                      </a:cubicBezTo>
                      <a:cubicBezTo>
                        <a:pt x="66" y="141"/>
                        <a:pt x="66" y="141"/>
                        <a:pt x="66" y="141"/>
                      </a:cubicBezTo>
                      <a:cubicBezTo>
                        <a:pt x="64" y="142"/>
                        <a:pt x="64" y="142"/>
                        <a:pt x="64" y="142"/>
                      </a:cubicBezTo>
                      <a:cubicBezTo>
                        <a:pt x="63" y="143"/>
                        <a:pt x="63" y="143"/>
                        <a:pt x="63" y="143"/>
                      </a:cubicBezTo>
                      <a:cubicBezTo>
                        <a:pt x="64" y="145"/>
                        <a:pt x="64" y="145"/>
                        <a:pt x="64" y="145"/>
                      </a:cubicBezTo>
                      <a:cubicBezTo>
                        <a:pt x="66" y="145"/>
                        <a:pt x="66" y="145"/>
                        <a:pt x="66" y="145"/>
                      </a:cubicBezTo>
                      <a:cubicBezTo>
                        <a:pt x="67" y="146"/>
                        <a:pt x="67" y="146"/>
                        <a:pt x="67" y="146"/>
                      </a:cubicBezTo>
                      <a:cubicBezTo>
                        <a:pt x="67" y="147"/>
                        <a:pt x="67" y="147"/>
                        <a:pt x="67" y="147"/>
                      </a:cubicBezTo>
                      <a:cubicBezTo>
                        <a:pt x="64" y="147"/>
                        <a:pt x="64" y="147"/>
                        <a:pt x="64" y="147"/>
                      </a:cubicBezTo>
                      <a:cubicBezTo>
                        <a:pt x="62" y="147"/>
                        <a:pt x="62" y="147"/>
                        <a:pt x="62" y="147"/>
                      </a:cubicBezTo>
                      <a:cubicBezTo>
                        <a:pt x="60" y="147"/>
                        <a:pt x="60" y="147"/>
                        <a:pt x="60" y="147"/>
                      </a:cubicBezTo>
                      <a:cubicBezTo>
                        <a:pt x="60" y="149"/>
                        <a:pt x="60" y="149"/>
                        <a:pt x="60" y="149"/>
                      </a:cubicBezTo>
                      <a:cubicBezTo>
                        <a:pt x="64" y="151"/>
                        <a:pt x="64" y="151"/>
                        <a:pt x="64" y="151"/>
                      </a:cubicBezTo>
                      <a:cubicBezTo>
                        <a:pt x="68" y="151"/>
                        <a:pt x="68" y="151"/>
                        <a:pt x="68" y="151"/>
                      </a:cubicBezTo>
                      <a:cubicBezTo>
                        <a:pt x="68" y="150"/>
                        <a:pt x="68" y="150"/>
                        <a:pt x="68" y="150"/>
                      </a:cubicBezTo>
                      <a:cubicBezTo>
                        <a:pt x="78" y="155"/>
                        <a:pt x="78" y="155"/>
                        <a:pt x="78" y="155"/>
                      </a:cubicBezTo>
                      <a:cubicBezTo>
                        <a:pt x="82" y="155"/>
                        <a:pt x="82" y="155"/>
                        <a:pt x="82" y="155"/>
                      </a:cubicBezTo>
                      <a:cubicBezTo>
                        <a:pt x="86" y="158"/>
                        <a:pt x="86" y="158"/>
                        <a:pt x="86" y="158"/>
                      </a:cubicBezTo>
                      <a:cubicBezTo>
                        <a:pt x="92" y="158"/>
                        <a:pt x="92" y="158"/>
                        <a:pt x="92" y="158"/>
                      </a:cubicBezTo>
                      <a:cubicBezTo>
                        <a:pt x="87" y="161"/>
                        <a:pt x="87" y="161"/>
                        <a:pt x="87" y="161"/>
                      </a:cubicBezTo>
                      <a:cubicBezTo>
                        <a:pt x="88" y="163"/>
                        <a:pt x="88" y="163"/>
                        <a:pt x="88" y="163"/>
                      </a:cubicBezTo>
                      <a:cubicBezTo>
                        <a:pt x="90" y="165"/>
                        <a:pt x="90" y="165"/>
                        <a:pt x="90" y="165"/>
                      </a:cubicBezTo>
                      <a:cubicBezTo>
                        <a:pt x="91" y="169"/>
                        <a:pt x="91" y="169"/>
                        <a:pt x="91" y="169"/>
                      </a:cubicBezTo>
                      <a:cubicBezTo>
                        <a:pt x="95" y="171"/>
                        <a:pt x="95" y="171"/>
                        <a:pt x="95" y="171"/>
                      </a:cubicBezTo>
                      <a:cubicBezTo>
                        <a:pt x="99" y="171"/>
                        <a:pt x="99" y="171"/>
                        <a:pt x="99" y="171"/>
                      </a:cubicBezTo>
                      <a:cubicBezTo>
                        <a:pt x="99" y="178"/>
                        <a:pt x="99" y="178"/>
                        <a:pt x="99" y="178"/>
                      </a:cubicBezTo>
                      <a:cubicBezTo>
                        <a:pt x="101" y="183"/>
                        <a:pt x="101" y="183"/>
                        <a:pt x="101" y="183"/>
                      </a:cubicBezTo>
                      <a:cubicBezTo>
                        <a:pt x="104" y="190"/>
                        <a:pt x="104" y="190"/>
                        <a:pt x="104" y="190"/>
                      </a:cubicBezTo>
                      <a:cubicBezTo>
                        <a:pt x="99" y="183"/>
                        <a:pt x="99" y="183"/>
                        <a:pt x="99" y="183"/>
                      </a:cubicBezTo>
                      <a:cubicBezTo>
                        <a:pt x="99" y="186"/>
                        <a:pt x="99" y="186"/>
                        <a:pt x="99" y="186"/>
                      </a:cubicBezTo>
                      <a:cubicBezTo>
                        <a:pt x="98" y="187"/>
                        <a:pt x="98" y="187"/>
                        <a:pt x="98" y="187"/>
                      </a:cubicBezTo>
                      <a:cubicBezTo>
                        <a:pt x="98" y="195"/>
                        <a:pt x="98" y="195"/>
                        <a:pt x="98" y="195"/>
                      </a:cubicBezTo>
                      <a:cubicBezTo>
                        <a:pt x="96" y="197"/>
                        <a:pt x="96" y="197"/>
                        <a:pt x="96" y="197"/>
                      </a:cubicBezTo>
                      <a:cubicBezTo>
                        <a:pt x="95" y="203"/>
                        <a:pt x="95" y="203"/>
                        <a:pt x="95" y="203"/>
                      </a:cubicBezTo>
                      <a:cubicBezTo>
                        <a:pt x="95" y="205"/>
                        <a:pt x="95" y="205"/>
                        <a:pt x="95" y="205"/>
                      </a:cubicBezTo>
                      <a:cubicBezTo>
                        <a:pt x="94" y="207"/>
                        <a:pt x="94" y="207"/>
                        <a:pt x="94" y="207"/>
                      </a:cubicBezTo>
                      <a:cubicBezTo>
                        <a:pt x="94" y="209"/>
                        <a:pt x="94" y="209"/>
                        <a:pt x="94" y="209"/>
                      </a:cubicBezTo>
                      <a:cubicBezTo>
                        <a:pt x="92" y="209"/>
                        <a:pt x="92" y="209"/>
                        <a:pt x="92" y="209"/>
                      </a:cubicBezTo>
                      <a:cubicBezTo>
                        <a:pt x="92" y="210"/>
                        <a:pt x="92" y="210"/>
                        <a:pt x="92" y="210"/>
                      </a:cubicBezTo>
                      <a:cubicBezTo>
                        <a:pt x="91" y="211"/>
                        <a:pt x="91" y="211"/>
                        <a:pt x="91" y="211"/>
                      </a:cubicBezTo>
                      <a:cubicBezTo>
                        <a:pt x="90" y="213"/>
                        <a:pt x="90" y="213"/>
                        <a:pt x="90" y="213"/>
                      </a:cubicBezTo>
                      <a:cubicBezTo>
                        <a:pt x="91" y="214"/>
                        <a:pt x="91" y="214"/>
                        <a:pt x="91" y="214"/>
                      </a:cubicBezTo>
                      <a:cubicBezTo>
                        <a:pt x="90" y="215"/>
                        <a:pt x="90" y="215"/>
                        <a:pt x="90" y="215"/>
                      </a:cubicBezTo>
                      <a:cubicBezTo>
                        <a:pt x="89" y="214"/>
                        <a:pt x="89" y="214"/>
                        <a:pt x="89" y="214"/>
                      </a:cubicBezTo>
                      <a:cubicBezTo>
                        <a:pt x="83" y="214"/>
                        <a:pt x="83" y="214"/>
                        <a:pt x="83" y="214"/>
                      </a:cubicBezTo>
                      <a:cubicBezTo>
                        <a:pt x="72" y="212"/>
                        <a:pt x="72" y="212"/>
                        <a:pt x="72" y="212"/>
                      </a:cubicBezTo>
                      <a:cubicBezTo>
                        <a:pt x="70" y="212"/>
                        <a:pt x="70" y="212"/>
                        <a:pt x="70" y="212"/>
                      </a:cubicBezTo>
                      <a:cubicBezTo>
                        <a:pt x="65" y="214"/>
                        <a:pt x="65" y="214"/>
                        <a:pt x="65" y="214"/>
                      </a:cubicBezTo>
                      <a:cubicBezTo>
                        <a:pt x="56" y="213"/>
                        <a:pt x="56" y="213"/>
                        <a:pt x="56" y="213"/>
                      </a:cubicBezTo>
                      <a:cubicBezTo>
                        <a:pt x="49" y="210"/>
                        <a:pt x="49" y="210"/>
                        <a:pt x="49" y="210"/>
                      </a:cubicBezTo>
                      <a:cubicBezTo>
                        <a:pt x="45" y="210"/>
                        <a:pt x="45" y="210"/>
                        <a:pt x="45" y="210"/>
                      </a:cubicBez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3" y="211"/>
                        <a:pt x="33" y="211"/>
                        <a:pt x="33" y="211"/>
                      </a:cubicBezTo>
                      <a:cubicBezTo>
                        <a:pt x="31" y="210"/>
                        <a:pt x="31" y="210"/>
                        <a:pt x="31" y="210"/>
                      </a:cubicBezTo>
                      <a:cubicBezTo>
                        <a:pt x="28" y="210"/>
                        <a:pt x="28" y="210"/>
                        <a:pt x="28" y="210"/>
                      </a:cubicBezTo>
                      <a:cubicBezTo>
                        <a:pt x="26" y="209"/>
                        <a:pt x="26" y="209"/>
                        <a:pt x="26" y="209"/>
                      </a:cubicBezTo>
                      <a:cubicBezTo>
                        <a:pt x="25" y="207"/>
                        <a:pt x="25" y="207"/>
                        <a:pt x="25" y="207"/>
                      </a:cubicBezTo>
                      <a:cubicBezTo>
                        <a:pt x="23" y="207"/>
                        <a:pt x="23" y="207"/>
                        <a:pt x="23" y="207"/>
                      </a:cubicBezTo>
                      <a:cubicBezTo>
                        <a:pt x="21" y="209"/>
                        <a:pt x="21" y="209"/>
                        <a:pt x="21" y="209"/>
                      </a:cubicBezTo>
                      <a:cubicBezTo>
                        <a:pt x="17" y="213"/>
                        <a:pt x="17" y="213"/>
                        <a:pt x="17" y="213"/>
                      </a:cubicBezTo>
                      <a:cubicBezTo>
                        <a:pt x="15" y="213"/>
                        <a:pt x="15" y="213"/>
                        <a:pt x="15" y="213"/>
                      </a:cubicBezTo>
                      <a:cubicBezTo>
                        <a:pt x="13" y="214"/>
                        <a:pt x="13" y="214"/>
                        <a:pt x="13" y="214"/>
                      </a:cubicBezTo>
                      <a:cubicBezTo>
                        <a:pt x="10" y="214"/>
                        <a:pt x="10" y="214"/>
                        <a:pt x="10" y="214"/>
                      </a:cubicBezTo>
                      <a:cubicBezTo>
                        <a:pt x="6" y="216"/>
                        <a:pt x="6" y="216"/>
                        <a:pt x="6" y="216"/>
                      </a:cubicBezTo>
                      <a:cubicBezTo>
                        <a:pt x="4" y="218"/>
                        <a:pt x="4" y="218"/>
                        <a:pt x="4" y="218"/>
                      </a:cubicBezTo>
                      <a:cubicBezTo>
                        <a:pt x="4" y="220"/>
                        <a:pt x="4" y="220"/>
                        <a:pt x="4" y="220"/>
                      </a:cubicBezTo>
                      <a:cubicBezTo>
                        <a:pt x="6" y="221"/>
                        <a:pt x="6" y="221"/>
                        <a:pt x="6" y="221"/>
                      </a:cubicBezTo>
                      <a:cubicBezTo>
                        <a:pt x="7" y="223"/>
                        <a:pt x="7" y="223"/>
                        <a:pt x="7" y="223"/>
                      </a:cubicBezTo>
                      <a:cubicBezTo>
                        <a:pt x="9" y="224"/>
                        <a:pt x="9" y="224"/>
                        <a:pt x="9" y="224"/>
                      </a:cubicBezTo>
                      <a:cubicBezTo>
                        <a:pt x="10" y="225"/>
                        <a:pt x="10" y="225"/>
                        <a:pt x="10" y="225"/>
                      </a:cubicBezTo>
                      <a:cubicBezTo>
                        <a:pt x="8" y="231"/>
                        <a:pt x="8" y="231"/>
                        <a:pt x="8" y="231"/>
                      </a:cubicBezTo>
                      <a:cubicBezTo>
                        <a:pt x="9" y="232"/>
                        <a:pt x="9" y="232"/>
                        <a:pt x="9" y="232"/>
                      </a:cubicBez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13" y="230"/>
                        <a:pt x="13" y="230"/>
                        <a:pt x="13" y="230"/>
                      </a:cubicBezTo>
                      <a:cubicBezTo>
                        <a:pt x="14" y="232"/>
                        <a:pt x="14" y="232"/>
                        <a:pt x="14" y="232"/>
                      </a:cubicBezTo>
                      <a:cubicBezTo>
                        <a:pt x="11" y="233"/>
                        <a:pt x="11" y="233"/>
                        <a:pt x="11" y="233"/>
                      </a:cubicBezTo>
                      <a:cubicBezTo>
                        <a:pt x="10" y="234"/>
                        <a:pt x="10" y="234"/>
                        <a:pt x="10" y="234"/>
                      </a:cubicBezTo>
                      <a:cubicBezTo>
                        <a:pt x="10" y="237"/>
                        <a:pt x="10" y="237"/>
                        <a:pt x="10" y="237"/>
                      </a:cubicBezTo>
                      <a:cubicBezTo>
                        <a:pt x="11" y="241"/>
                        <a:pt x="11" y="241"/>
                        <a:pt x="11" y="241"/>
                      </a:cubicBezTo>
                      <a:cubicBezTo>
                        <a:pt x="11" y="244"/>
                        <a:pt x="11" y="244"/>
                        <a:pt x="11" y="244"/>
                      </a:cubicBezTo>
                      <a:cubicBezTo>
                        <a:pt x="10" y="249"/>
                        <a:pt x="10" y="249"/>
                        <a:pt x="10" y="249"/>
                      </a:cubicBezTo>
                      <a:cubicBezTo>
                        <a:pt x="8" y="254"/>
                        <a:pt x="8" y="254"/>
                        <a:pt x="8" y="254"/>
                      </a:cubicBezTo>
                      <a:cubicBezTo>
                        <a:pt x="5" y="260"/>
                        <a:pt x="5" y="260"/>
                        <a:pt x="5" y="260"/>
                      </a:cubicBezTo>
                      <a:cubicBezTo>
                        <a:pt x="2" y="268"/>
                        <a:pt x="2" y="268"/>
                        <a:pt x="2" y="268"/>
                      </a:cubicBezTo>
                      <a:cubicBezTo>
                        <a:pt x="1" y="270"/>
                        <a:pt x="1" y="270"/>
                        <a:pt x="1" y="270"/>
                      </a:cubicBezTo>
                      <a:cubicBezTo>
                        <a:pt x="1" y="271"/>
                        <a:pt x="1" y="271"/>
                        <a:pt x="1" y="271"/>
                      </a:cubicBezTo>
                      <a:cubicBezTo>
                        <a:pt x="0" y="273"/>
                        <a:pt x="0" y="273"/>
                        <a:pt x="0" y="273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3" y="278"/>
                        <a:pt x="3" y="278"/>
                        <a:pt x="3" y="278"/>
                      </a:cubicBezTo>
                      <a:cubicBezTo>
                        <a:pt x="5" y="279"/>
                        <a:pt x="5" y="279"/>
                        <a:pt x="5" y="279"/>
                      </a:cubicBezTo>
                      <a:cubicBezTo>
                        <a:pt x="7" y="288"/>
                        <a:pt x="7" y="288"/>
                        <a:pt x="7" y="288"/>
                      </a:cubicBezTo>
                      <a:cubicBezTo>
                        <a:pt x="7" y="289"/>
                        <a:pt x="7" y="289"/>
                        <a:pt x="7" y="289"/>
                      </a:cubicBezTo>
                      <a:cubicBezTo>
                        <a:pt x="6" y="290"/>
                        <a:pt x="6" y="290"/>
                        <a:pt x="6" y="290"/>
                      </a:cubicBezTo>
                      <a:cubicBezTo>
                        <a:pt x="6" y="292"/>
                        <a:pt x="6" y="292"/>
                        <a:pt x="6" y="292"/>
                      </a:cubicBezTo>
                      <a:cubicBezTo>
                        <a:pt x="5" y="295"/>
                        <a:pt x="5" y="295"/>
                        <a:pt x="5" y="295"/>
                      </a:cubicBezTo>
                      <a:cubicBezTo>
                        <a:pt x="4" y="297"/>
                        <a:pt x="4" y="297"/>
                        <a:pt x="4" y="297"/>
                      </a:cubicBezTo>
                      <a:cubicBezTo>
                        <a:pt x="4" y="299"/>
                        <a:pt x="4" y="299"/>
                        <a:pt x="4" y="299"/>
                      </a:cubicBezTo>
                      <a:cubicBezTo>
                        <a:pt x="8" y="299"/>
                        <a:pt x="8" y="299"/>
                        <a:pt x="8" y="299"/>
                      </a:cubicBezTo>
                      <a:cubicBezTo>
                        <a:pt x="10" y="298"/>
                        <a:pt x="10" y="298"/>
                        <a:pt x="10" y="298"/>
                      </a:cubicBezTo>
                      <a:cubicBezTo>
                        <a:pt x="12" y="298"/>
                        <a:pt x="12" y="298"/>
                        <a:pt x="12" y="298"/>
                      </a:cubicBezTo>
                      <a:cubicBezTo>
                        <a:pt x="14" y="299"/>
                        <a:pt x="14" y="299"/>
                        <a:pt x="14" y="299"/>
                      </a:cubicBezTo>
                      <a:cubicBezTo>
                        <a:pt x="16" y="299"/>
                        <a:pt x="16" y="299"/>
                        <a:pt x="16" y="299"/>
                      </a:cubicBezTo>
                      <a:cubicBezTo>
                        <a:pt x="18" y="299"/>
                        <a:pt x="18" y="299"/>
                        <a:pt x="18" y="299"/>
                      </a:cubicBezTo>
                      <a:cubicBezTo>
                        <a:pt x="18" y="298"/>
                        <a:pt x="18" y="298"/>
                        <a:pt x="18" y="298"/>
                      </a:cubicBezTo>
                      <a:cubicBezTo>
                        <a:pt x="19" y="298"/>
                        <a:pt x="19" y="298"/>
                        <a:pt x="19" y="298"/>
                      </a:cubicBezTo>
                      <a:cubicBezTo>
                        <a:pt x="20" y="297"/>
                        <a:pt x="20" y="297"/>
                        <a:pt x="20" y="297"/>
                      </a:cubicBezTo>
                      <a:cubicBezTo>
                        <a:pt x="20" y="296"/>
                        <a:pt x="20" y="296"/>
                        <a:pt x="20" y="296"/>
                      </a:cubicBezTo>
                      <a:cubicBezTo>
                        <a:pt x="25" y="296"/>
                        <a:pt x="25" y="296"/>
                        <a:pt x="25" y="296"/>
                      </a:cubicBezTo>
                      <a:cubicBezTo>
                        <a:pt x="29" y="299"/>
                        <a:pt x="29" y="299"/>
                        <a:pt x="29" y="299"/>
                      </a:cubicBezTo>
                      <a:cubicBezTo>
                        <a:pt x="33" y="299"/>
                        <a:pt x="33" y="299"/>
                        <a:pt x="33" y="299"/>
                      </a:cubicBezTo>
                      <a:cubicBezTo>
                        <a:pt x="32" y="304"/>
                        <a:pt x="32" y="304"/>
                        <a:pt x="32" y="304"/>
                      </a:cubicBezTo>
                      <a:cubicBezTo>
                        <a:pt x="33" y="304"/>
                        <a:pt x="33" y="304"/>
                        <a:pt x="33" y="304"/>
                      </a:cubicBezTo>
                      <a:cubicBezTo>
                        <a:pt x="33" y="307"/>
                        <a:pt x="33" y="307"/>
                        <a:pt x="33" y="307"/>
                      </a:cubicBezTo>
                      <a:cubicBezTo>
                        <a:pt x="34" y="309"/>
                        <a:pt x="34" y="309"/>
                        <a:pt x="34" y="309"/>
                      </a:cubicBezTo>
                      <a:cubicBezTo>
                        <a:pt x="35" y="310"/>
                        <a:pt x="35" y="310"/>
                        <a:pt x="35" y="310"/>
                      </a:cubicBezTo>
                      <a:cubicBezTo>
                        <a:pt x="38" y="310"/>
                        <a:pt x="38" y="310"/>
                        <a:pt x="38" y="310"/>
                      </a:cubicBezTo>
                      <a:cubicBezTo>
                        <a:pt x="39" y="311"/>
                        <a:pt x="39" y="311"/>
                        <a:pt x="39" y="311"/>
                      </a:cubicBezTo>
                      <a:cubicBezTo>
                        <a:pt x="40" y="311"/>
                        <a:pt x="40" y="311"/>
                        <a:pt x="40" y="311"/>
                      </a:cubicBezTo>
                      <a:cubicBezTo>
                        <a:pt x="41" y="310"/>
                        <a:pt x="41" y="310"/>
                        <a:pt x="41" y="310"/>
                      </a:cubicBezTo>
                      <a:cubicBezTo>
                        <a:pt x="43" y="309"/>
                        <a:pt x="43" y="309"/>
                        <a:pt x="43" y="309"/>
                      </a:cubicBezTo>
                      <a:cubicBezTo>
                        <a:pt x="46" y="306"/>
                        <a:pt x="46" y="306"/>
                        <a:pt x="46" y="306"/>
                      </a:cubicBezTo>
                      <a:cubicBezTo>
                        <a:pt x="48" y="305"/>
                        <a:pt x="48" y="305"/>
                        <a:pt x="48" y="305"/>
                      </a:cubicBezTo>
                      <a:cubicBezTo>
                        <a:pt x="50" y="305"/>
                        <a:pt x="50" y="305"/>
                        <a:pt x="50" y="305"/>
                      </a:cubicBezTo>
                      <a:cubicBezTo>
                        <a:pt x="56" y="302"/>
                        <a:pt x="56" y="302"/>
                        <a:pt x="56" y="302"/>
                      </a:cubicBezTo>
                      <a:cubicBezTo>
                        <a:pt x="67" y="302"/>
                        <a:pt x="67" y="302"/>
                        <a:pt x="67" y="302"/>
                      </a:cubicBezTo>
                      <a:cubicBezTo>
                        <a:pt x="68" y="301"/>
                        <a:pt x="68" y="301"/>
                        <a:pt x="68" y="301"/>
                      </a:cubicBezTo>
                      <a:cubicBezTo>
                        <a:pt x="70" y="301"/>
                        <a:pt x="70" y="301"/>
                        <a:pt x="70" y="301"/>
                      </a:cubicBezTo>
                      <a:cubicBezTo>
                        <a:pt x="72" y="303"/>
                        <a:pt x="72" y="303"/>
                        <a:pt x="72" y="303"/>
                      </a:cubicBezTo>
                      <a:cubicBezTo>
                        <a:pt x="73" y="303"/>
                        <a:pt x="73" y="303"/>
                        <a:pt x="73" y="303"/>
                      </a:cubicBezTo>
                      <a:cubicBezTo>
                        <a:pt x="75" y="302"/>
                        <a:pt x="75" y="302"/>
                        <a:pt x="75" y="302"/>
                      </a:cubicBezTo>
                      <a:cubicBezTo>
                        <a:pt x="77" y="302"/>
                        <a:pt x="77" y="302"/>
                        <a:pt x="77" y="302"/>
                      </a:cubicBezTo>
                      <a:cubicBezTo>
                        <a:pt x="78" y="301"/>
                        <a:pt x="78" y="301"/>
                        <a:pt x="78" y="301"/>
                      </a:cubicBezTo>
                      <a:cubicBezTo>
                        <a:pt x="79" y="301"/>
                        <a:pt x="79" y="301"/>
                        <a:pt x="79" y="301"/>
                      </a:cubicBezTo>
                      <a:cubicBezTo>
                        <a:pt x="79" y="303"/>
                        <a:pt x="79" y="303"/>
                        <a:pt x="79" y="303"/>
                      </a:cubicBezTo>
                      <a:cubicBezTo>
                        <a:pt x="80" y="303"/>
                        <a:pt x="80" y="303"/>
                        <a:pt x="80" y="303"/>
                      </a:cubicBezTo>
                      <a:cubicBezTo>
                        <a:pt x="83" y="301"/>
                        <a:pt x="83" y="301"/>
                        <a:pt x="83" y="301"/>
                      </a:cubicBezTo>
                      <a:cubicBezTo>
                        <a:pt x="85" y="297"/>
                        <a:pt x="85" y="297"/>
                        <a:pt x="85" y="297"/>
                      </a:cubicBezTo>
                      <a:cubicBezTo>
                        <a:pt x="85" y="295"/>
                        <a:pt x="85" y="295"/>
                        <a:pt x="85" y="295"/>
                      </a:cubicBezTo>
                      <a:cubicBezTo>
                        <a:pt x="91" y="290"/>
                        <a:pt x="91" y="290"/>
                        <a:pt x="91" y="290"/>
                      </a:cubicBezTo>
                      <a:cubicBezTo>
                        <a:pt x="96" y="290"/>
                        <a:pt x="96" y="290"/>
                        <a:pt x="96" y="290"/>
                      </a:cubicBezTo>
                      <a:cubicBezTo>
                        <a:pt x="97" y="287"/>
                        <a:pt x="97" y="287"/>
                        <a:pt x="97" y="287"/>
                      </a:cubicBezTo>
                      <a:cubicBezTo>
                        <a:pt x="97" y="286"/>
                        <a:pt x="97" y="286"/>
                        <a:pt x="97" y="286"/>
                      </a:cubicBezTo>
                      <a:cubicBezTo>
                        <a:pt x="98" y="285"/>
                        <a:pt x="98" y="285"/>
                        <a:pt x="98" y="285"/>
                      </a:cubicBezTo>
                      <a:cubicBezTo>
                        <a:pt x="98" y="283"/>
                        <a:pt x="98" y="283"/>
                        <a:pt x="98" y="283"/>
                      </a:cubicBezTo>
                      <a:cubicBezTo>
                        <a:pt x="99" y="282"/>
                        <a:pt x="99" y="282"/>
                        <a:pt x="99" y="282"/>
                      </a:cubicBezTo>
                      <a:cubicBezTo>
                        <a:pt x="100" y="280"/>
                        <a:pt x="100" y="280"/>
                        <a:pt x="100" y="280"/>
                      </a:cubicBezTo>
                      <a:cubicBezTo>
                        <a:pt x="100" y="279"/>
                        <a:pt x="100" y="279"/>
                        <a:pt x="100" y="279"/>
                      </a:cubicBezTo>
                      <a:cubicBezTo>
                        <a:pt x="103" y="279"/>
                        <a:pt x="103" y="279"/>
                        <a:pt x="103" y="279"/>
                      </a:cubicBezTo>
                      <a:cubicBezTo>
                        <a:pt x="108" y="277"/>
                        <a:pt x="108" y="277"/>
                        <a:pt x="108" y="277"/>
                      </a:cubicBezTo>
                      <a:cubicBezTo>
                        <a:pt x="109" y="276"/>
                        <a:pt x="109" y="276"/>
                        <a:pt x="109" y="276"/>
                      </a:cubicBezTo>
                      <a:cubicBezTo>
                        <a:pt x="108" y="274"/>
                        <a:pt x="108" y="274"/>
                        <a:pt x="108" y="274"/>
                      </a:cubicBezTo>
                      <a:cubicBezTo>
                        <a:pt x="107" y="273"/>
                        <a:pt x="107" y="273"/>
                        <a:pt x="107" y="273"/>
                      </a:cubicBezTo>
                      <a:cubicBezTo>
                        <a:pt x="105" y="271"/>
                        <a:pt x="105" y="271"/>
                        <a:pt x="105" y="271"/>
                      </a:cubicBezTo>
                      <a:cubicBezTo>
                        <a:pt x="104" y="270"/>
                        <a:pt x="104" y="270"/>
                        <a:pt x="104" y="270"/>
                      </a:cubicBezTo>
                      <a:cubicBezTo>
                        <a:pt x="103" y="270"/>
                        <a:pt x="103" y="270"/>
                        <a:pt x="103" y="270"/>
                      </a:cubicBezTo>
                      <a:cubicBezTo>
                        <a:pt x="103" y="264"/>
                        <a:pt x="103" y="264"/>
                        <a:pt x="103" y="264"/>
                      </a:cubicBezTo>
                      <a:cubicBezTo>
                        <a:pt x="105" y="260"/>
                        <a:pt x="105" y="260"/>
                        <a:pt x="105" y="260"/>
                      </a:cubicBezTo>
                      <a:cubicBezTo>
                        <a:pt x="108" y="259"/>
                        <a:pt x="108" y="259"/>
                        <a:pt x="108" y="259"/>
                      </a:cubicBezTo>
                      <a:cubicBezTo>
                        <a:pt x="109" y="257"/>
                        <a:pt x="109" y="257"/>
                        <a:pt x="109" y="257"/>
                      </a:cubicBezTo>
                      <a:cubicBezTo>
                        <a:pt x="111" y="255"/>
                        <a:pt x="111" y="255"/>
                        <a:pt x="111" y="255"/>
                      </a:cubicBezTo>
                      <a:cubicBezTo>
                        <a:pt x="112" y="253"/>
                        <a:pt x="112" y="253"/>
                        <a:pt x="112" y="253"/>
                      </a:cubicBezTo>
                      <a:cubicBezTo>
                        <a:pt x="114" y="251"/>
                        <a:pt x="114" y="251"/>
                        <a:pt x="114" y="251"/>
                      </a:cubicBezTo>
                      <a:cubicBezTo>
                        <a:pt x="116" y="251"/>
                        <a:pt x="116" y="251"/>
                        <a:pt x="116" y="251"/>
                      </a:cubicBezTo>
                      <a:cubicBezTo>
                        <a:pt x="118" y="249"/>
                        <a:pt x="118" y="249"/>
                        <a:pt x="118" y="249"/>
                      </a:cubicBezTo>
                      <a:cubicBezTo>
                        <a:pt x="118" y="248"/>
                        <a:pt x="118" y="248"/>
                        <a:pt x="118" y="248"/>
                      </a:cubicBezTo>
                      <a:cubicBezTo>
                        <a:pt x="117" y="248"/>
                        <a:pt x="117" y="248"/>
                        <a:pt x="117" y="248"/>
                      </a:cubicBezTo>
                      <a:cubicBezTo>
                        <a:pt x="117" y="246"/>
                        <a:pt x="117" y="246"/>
                        <a:pt x="117" y="246"/>
                      </a:cubicBezTo>
                      <a:cubicBezTo>
                        <a:pt x="118" y="245"/>
                        <a:pt x="118" y="245"/>
                        <a:pt x="118" y="245"/>
                      </a:cubicBezTo>
                      <a:cubicBezTo>
                        <a:pt x="130" y="241"/>
                        <a:pt x="130" y="241"/>
                        <a:pt x="130" y="241"/>
                      </a:cubicBezTo>
                      <a:cubicBezTo>
                        <a:pt x="135" y="239"/>
                        <a:pt x="135" y="239"/>
                        <a:pt x="135" y="239"/>
                      </a:cubicBezTo>
                      <a:cubicBezTo>
                        <a:pt x="136" y="237"/>
                        <a:pt x="136" y="237"/>
                        <a:pt x="136" y="237"/>
                      </a:cubicBezTo>
                      <a:cubicBezTo>
                        <a:pt x="138" y="236"/>
                        <a:pt x="138" y="236"/>
                        <a:pt x="138" y="236"/>
                      </a:cubicBezTo>
                      <a:cubicBezTo>
                        <a:pt x="139" y="236"/>
                        <a:pt x="139" y="236"/>
                        <a:pt x="139" y="236"/>
                      </a:cubicBezTo>
                      <a:cubicBezTo>
                        <a:pt x="141" y="234"/>
                        <a:pt x="141" y="234"/>
                        <a:pt x="141" y="234"/>
                      </a:cubicBezTo>
                      <a:cubicBezTo>
                        <a:pt x="143" y="234"/>
                        <a:pt x="143" y="234"/>
                        <a:pt x="143" y="234"/>
                      </a:cubicBezTo>
                      <a:cubicBezTo>
                        <a:pt x="144" y="233"/>
                        <a:pt x="144" y="233"/>
                        <a:pt x="144" y="233"/>
                      </a:cubicBezTo>
                      <a:cubicBezTo>
                        <a:pt x="143" y="231"/>
                        <a:pt x="143" y="231"/>
                        <a:pt x="143" y="231"/>
                      </a:cubicBezTo>
                      <a:cubicBezTo>
                        <a:pt x="143" y="230"/>
                        <a:pt x="143" y="230"/>
                        <a:pt x="143" y="230"/>
                      </a:cubicBezTo>
                      <a:cubicBezTo>
                        <a:pt x="145" y="228"/>
                        <a:pt x="145" y="228"/>
                        <a:pt x="145" y="228"/>
                      </a:cubicBezTo>
                      <a:cubicBezTo>
                        <a:pt x="143" y="227"/>
                        <a:pt x="143" y="227"/>
                        <a:pt x="143" y="227"/>
                      </a:cubicBezTo>
                      <a:cubicBezTo>
                        <a:pt x="142" y="226"/>
                        <a:pt x="142" y="226"/>
                        <a:pt x="142" y="226"/>
                      </a:cubicBezTo>
                      <a:cubicBezTo>
                        <a:pt x="142" y="225"/>
                        <a:pt x="142" y="225"/>
                        <a:pt x="142" y="225"/>
                      </a:cubicBezTo>
                      <a:cubicBezTo>
                        <a:pt x="140" y="225"/>
                        <a:pt x="140" y="225"/>
                        <a:pt x="140" y="225"/>
                      </a:cubicBezTo>
                      <a:cubicBezTo>
                        <a:pt x="140" y="226"/>
                        <a:pt x="140" y="226"/>
                        <a:pt x="140" y="226"/>
                      </a:cubicBezTo>
                      <a:cubicBezTo>
                        <a:pt x="139" y="227"/>
                        <a:pt x="139" y="227"/>
                        <a:pt x="139" y="227"/>
                      </a:cubicBezTo>
                      <a:cubicBezTo>
                        <a:pt x="139" y="223"/>
                        <a:pt x="139" y="223"/>
                        <a:pt x="139" y="223"/>
                      </a:cubicBezTo>
                      <a:cubicBezTo>
                        <a:pt x="141" y="223"/>
                        <a:pt x="141" y="223"/>
                        <a:pt x="141" y="223"/>
                      </a:cubicBezTo>
                      <a:cubicBezTo>
                        <a:pt x="141" y="221"/>
                        <a:pt x="141" y="221"/>
                        <a:pt x="141" y="221"/>
                      </a:cubicBezTo>
                      <a:cubicBezTo>
                        <a:pt x="144" y="217"/>
                        <a:pt x="144" y="217"/>
                        <a:pt x="144" y="217"/>
                      </a:cubicBezTo>
                      <a:cubicBezTo>
                        <a:pt x="146" y="214"/>
                        <a:pt x="146" y="214"/>
                        <a:pt x="146" y="214"/>
                      </a:cubicBezTo>
                      <a:cubicBezTo>
                        <a:pt x="148" y="213"/>
                        <a:pt x="148" y="213"/>
                        <a:pt x="148" y="213"/>
                      </a:cubicBezTo>
                      <a:cubicBezTo>
                        <a:pt x="149" y="211"/>
                        <a:pt x="149" y="211"/>
                        <a:pt x="149" y="211"/>
                      </a:cubicBezTo>
                      <a:cubicBezTo>
                        <a:pt x="152" y="210"/>
                        <a:pt x="152" y="210"/>
                        <a:pt x="152" y="210"/>
                      </a:cubicBezTo>
                      <a:cubicBezTo>
                        <a:pt x="153" y="209"/>
                        <a:pt x="153" y="209"/>
                        <a:pt x="153" y="209"/>
                      </a:cubicBezTo>
                      <a:cubicBezTo>
                        <a:pt x="156" y="209"/>
                        <a:pt x="156" y="209"/>
                        <a:pt x="156" y="209"/>
                      </a:cubicBezTo>
                      <a:cubicBezTo>
                        <a:pt x="157" y="210"/>
                        <a:pt x="157" y="210"/>
                        <a:pt x="157" y="210"/>
                      </a:cubicBezTo>
                      <a:cubicBezTo>
                        <a:pt x="160" y="210"/>
                        <a:pt x="160" y="210"/>
                        <a:pt x="160" y="210"/>
                      </a:cubicBezTo>
                      <a:cubicBezTo>
                        <a:pt x="161" y="211"/>
                        <a:pt x="161" y="211"/>
                        <a:pt x="161" y="211"/>
                      </a:cubicBezTo>
                      <a:cubicBezTo>
                        <a:pt x="168" y="211"/>
                        <a:pt x="168" y="211"/>
                        <a:pt x="168" y="211"/>
                      </a:cubicBezTo>
                      <a:cubicBezTo>
                        <a:pt x="170" y="214"/>
                        <a:pt x="170" y="214"/>
                        <a:pt x="170" y="214"/>
                      </a:cubicBezTo>
                      <a:cubicBezTo>
                        <a:pt x="170" y="215"/>
                        <a:pt x="170" y="215"/>
                        <a:pt x="170" y="215"/>
                      </a:cubicBezTo>
                      <a:cubicBezTo>
                        <a:pt x="173" y="215"/>
                        <a:pt x="173" y="215"/>
                        <a:pt x="173" y="215"/>
                      </a:cubicBezTo>
                      <a:cubicBezTo>
                        <a:pt x="174" y="217"/>
                        <a:pt x="174" y="217"/>
                        <a:pt x="174" y="217"/>
                      </a:cubicBezTo>
                      <a:cubicBezTo>
                        <a:pt x="178" y="217"/>
                        <a:pt x="178" y="217"/>
                        <a:pt x="178" y="217"/>
                      </a:cubicBezTo>
                      <a:cubicBezTo>
                        <a:pt x="181" y="215"/>
                        <a:pt x="181" y="215"/>
                        <a:pt x="181" y="215"/>
                      </a:cubicBezTo>
                      <a:cubicBezTo>
                        <a:pt x="182" y="214"/>
                        <a:pt x="182" y="214"/>
                        <a:pt x="182" y="214"/>
                      </a:cubicBezTo>
                      <a:cubicBezTo>
                        <a:pt x="183" y="210"/>
                        <a:pt x="183" y="210"/>
                        <a:pt x="183" y="210"/>
                      </a:cubicBezTo>
                      <a:cubicBezTo>
                        <a:pt x="187" y="207"/>
                        <a:pt x="187" y="207"/>
                        <a:pt x="187" y="207"/>
                      </a:cubicBezTo>
                      <a:cubicBezTo>
                        <a:pt x="190" y="207"/>
                        <a:pt x="190" y="207"/>
                        <a:pt x="190" y="207"/>
                      </a:cubicBezTo>
                      <a:cubicBezTo>
                        <a:pt x="190" y="206"/>
                        <a:pt x="190" y="206"/>
                        <a:pt x="190" y="206"/>
                      </a:cubicBezTo>
                      <a:cubicBezTo>
                        <a:pt x="192" y="204"/>
                        <a:pt x="192" y="204"/>
                        <a:pt x="192" y="204"/>
                      </a:cubicBezTo>
                      <a:cubicBezTo>
                        <a:pt x="192" y="204"/>
                        <a:pt x="192" y="204"/>
                        <a:pt x="192" y="204"/>
                      </a:cubicBezTo>
                      <a:cubicBezTo>
                        <a:pt x="192" y="205"/>
                        <a:pt x="192" y="205"/>
                        <a:pt x="192" y="205"/>
                      </a:cubicBezTo>
                      <a:cubicBezTo>
                        <a:pt x="189" y="208"/>
                        <a:pt x="189" y="208"/>
                        <a:pt x="189" y="208"/>
                      </a:cubicBezTo>
                      <a:cubicBezTo>
                        <a:pt x="189" y="209"/>
                        <a:pt x="189" y="209"/>
                        <a:pt x="189" y="209"/>
                      </a:cubicBezTo>
                      <a:cubicBezTo>
                        <a:pt x="191" y="209"/>
                        <a:pt x="191" y="209"/>
                        <a:pt x="191" y="209"/>
                      </a:cubicBezTo>
                      <a:cubicBezTo>
                        <a:pt x="195" y="207"/>
                        <a:pt x="195" y="207"/>
                        <a:pt x="195" y="207"/>
                      </a:cubicBezTo>
                      <a:cubicBezTo>
                        <a:pt x="201" y="202"/>
                        <a:pt x="201" y="202"/>
                        <a:pt x="201" y="202"/>
                      </a:cubicBezTo>
                      <a:cubicBezTo>
                        <a:pt x="205" y="200"/>
                        <a:pt x="205" y="200"/>
                        <a:pt x="205" y="200"/>
                      </a:cubicBezTo>
                      <a:cubicBezTo>
                        <a:pt x="207" y="200"/>
                        <a:pt x="207" y="200"/>
                        <a:pt x="207" y="200"/>
                      </a:cubicBezTo>
                      <a:cubicBezTo>
                        <a:pt x="209" y="201"/>
                        <a:pt x="209" y="201"/>
                        <a:pt x="209" y="201"/>
                      </a:cubicBezTo>
                      <a:cubicBezTo>
                        <a:pt x="215" y="203"/>
                        <a:pt x="215" y="203"/>
                        <a:pt x="215" y="203"/>
                      </a:cubicBezTo>
                      <a:cubicBezTo>
                        <a:pt x="217" y="204"/>
                        <a:pt x="217" y="204"/>
                        <a:pt x="217" y="204"/>
                      </a:cubicBezTo>
                      <a:cubicBezTo>
                        <a:pt x="219" y="206"/>
                        <a:pt x="219" y="206"/>
                        <a:pt x="219" y="206"/>
                      </a:cubicBezTo>
                      <a:cubicBezTo>
                        <a:pt x="220" y="208"/>
                        <a:pt x="220" y="208"/>
                        <a:pt x="220" y="208"/>
                      </a:cubicBezTo>
                      <a:cubicBezTo>
                        <a:pt x="220" y="210"/>
                        <a:pt x="220" y="210"/>
                        <a:pt x="220" y="210"/>
                      </a:cubicBezTo>
                      <a:cubicBezTo>
                        <a:pt x="221" y="211"/>
                        <a:pt x="221" y="211"/>
                        <a:pt x="221" y="211"/>
                      </a:cubicBezTo>
                      <a:cubicBezTo>
                        <a:pt x="221" y="212"/>
                        <a:pt x="221" y="212"/>
                        <a:pt x="221" y="212"/>
                      </a:cubicBezTo>
                      <a:cubicBezTo>
                        <a:pt x="223" y="214"/>
                        <a:pt x="223" y="214"/>
                        <a:pt x="223" y="214"/>
                      </a:cubicBezTo>
                      <a:cubicBezTo>
                        <a:pt x="223" y="215"/>
                        <a:pt x="223" y="215"/>
                        <a:pt x="223" y="215"/>
                      </a:cubicBezTo>
                      <a:cubicBezTo>
                        <a:pt x="222" y="217"/>
                        <a:pt x="222" y="217"/>
                        <a:pt x="222" y="217"/>
                      </a:cubicBezTo>
                      <a:cubicBezTo>
                        <a:pt x="222" y="218"/>
                        <a:pt x="222" y="218"/>
                        <a:pt x="222" y="218"/>
                      </a:cubicBezTo>
                      <a:cubicBezTo>
                        <a:pt x="224" y="220"/>
                        <a:pt x="224" y="220"/>
                        <a:pt x="224" y="220"/>
                      </a:cubicBezTo>
                      <a:cubicBezTo>
                        <a:pt x="228" y="222"/>
                        <a:pt x="228" y="222"/>
                        <a:pt x="228" y="222"/>
                      </a:cubicBezTo>
                      <a:cubicBezTo>
                        <a:pt x="229" y="223"/>
                        <a:pt x="229" y="223"/>
                        <a:pt x="229" y="223"/>
                      </a:cubicBezTo>
                      <a:cubicBezTo>
                        <a:pt x="230" y="223"/>
                        <a:pt x="230" y="223"/>
                        <a:pt x="230" y="223"/>
                      </a:cubicBezTo>
                      <a:cubicBezTo>
                        <a:pt x="231" y="226"/>
                        <a:pt x="231" y="226"/>
                        <a:pt x="231" y="226"/>
                      </a:cubicBezTo>
                      <a:cubicBezTo>
                        <a:pt x="236" y="226"/>
                        <a:pt x="236" y="226"/>
                        <a:pt x="236" y="226"/>
                      </a:cubicBezTo>
                      <a:cubicBezTo>
                        <a:pt x="239" y="229"/>
                        <a:pt x="239" y="229"/>
                        <a:pt x="239" y="229"/>
                      </a:cubicBezTo>
                      <a:cubicBezTo>
                        <a:pt x="240" y="231"/>
                        <a:pt x="240" y="231"/>
                        <a:pt x="240" y="231"/>
                      </a:cubicBezTo>
                      <a:cubicBezTo>
                        <a:pt x="242" y="233"/>
                        <a:pt x="242" y="233"/>
                        <a:pt x="242" y="233"/>
                      </a:cubicBezTo>
                      <a:cubicBezTo>
                        <a:pt x="244" y="235"/>
                        <a:pt x="244" y="235"/>
                        <a:pt x="244" y="235"/>
                      </a:cubicBezTo>
                      <a:cubicBezTo>
                        <a:pt x="245" y="237"/>
                        <a:pt x="245" y="237"/>
                        <a:pt x="245" y="237"/>
                      </a:cubicBezTo>
                      <a:cubicBezTo>
                        <a:pt x="251" y="243"/>
                        <a:pt x="251" y="243"/>
                        <a:pt x="251" y="243"/>
                      </a:cubicBezTo>
                      <a:cubicBezTo>
                        <a:pt x="257" y="243"/>
                        <a:pt x="257" y="243"/>
                        <a:pt x="257" y="243"/>
                      </a:cubicBezTo>
                      <a:cubicBezTo>
                        <a:pt x="258" y="244"/>
                        <a:pt x="258" y="244"/>
                        <a:pt x="258" y="244"/>
                      </a:cubicBezTo>
                      <a:cubicBezTo>
                        <a:pt x="259" y="246"/>
                        <a:pt x="259" y="246"/>
                        <a:pt x="259" y="246"/>
                      </a:cubicBezTo>
                      <a:cubicBezTo>
                        <a:pt x="264" y="248"/>
                        <a:pt x="264" y="248"/>
                        <a:pt x="264" y="248"/>
                      </a:cubicBezTo>
                      <a:cubicBezTo>
                        <a:pt x="267" y="249"/>
                        <a:pt x="267" y="249"/>
                        <a:pt x="267" y="249"/>
                      </a:cubicBezTo>
                      <a:cubicBezTo>
                        <a:pt x="270" y="249"/>
                        <a:pt x="270" y="249"/>
                        <a:pt x="270" y="249"/>
                      </a:cubicBezTo>
                      <a:cubicBezTo>
                        <a:pt x="272" y="250"/>
                        <a:pt x="272" y="250"/>
                        <a:pt x="272" y="250"/>
                      </a:cubicBezTo>
                      <a:cubicBezTo>
                        <a:pt x="273" y="250"/>
                        <a:pt x="273" y="250"/>
                        <a:pt x="273" y="250"/>
                      </a:cubicBezTo>
                      <a:cubicBezTo>
                        <a:pt x="274" y="252"/>
                        <a:pt x="274" y="252"/>
                        <a:pt x="274" y="252"/>
                      </a:cubicBezTo>
                      <a:cubicBezTo>
                        <a:pt x="274" y="254"/>
                        <a:pt x="274" y="254"/>
                        <a:pt x="274" y="254"/>
                      </a:cubicBezTo>
                      <a:cubicBezTo>
                        <a:pt x="276" y="258"/>
                        <a:pt x="276" y="258"/>
                        <a:pt x="276" y="258"/>
                      </a:cubicBezTo>
                      <a:cubicBezTo>
                        <a:pt x="277" y="259"/>
                        <a:pt x="277" y="259"/>
                        <a:pt x="277" y="259"/>
                      </a:cubicBezTo>
                      <a:cubicBezTo>
                        <a:pt x="279" y="259"/>
                        <a:pt x="279" y="259"/>
                        <a:pt x="279" y="259"/>
                      </a:cubicBezTo>
                      <a:cubicBezTo>
                        <a:pt x="281" y="258"/>
                        <a:pt x="281" y="258"/>
                        <a:pt x="281" y="258"/>
                      </a:cubicBezTo>
                      <a:cubicBezTo>
                        <a:pt x="282" y="258"/>
                        <a:pt x="282" y="258"/>
                        <a:pt x="282" y="258"/>
                      </a:cubicBezTo>
                      <a:cubicBezTo>
                        <a:pt x="282" y="260"/>
                        <a:pt x="282" y="260"/>
                        <a:pt x="282" y="260"/>
                      </a:cubicBezTo>
                      <a:cubicBezTo>
                        <a:pt x="283" y="262"/>
                        <a:pt x="283" y="262"/>
                        <a:pt x="283" y="262"/>
                      </a:cubicBezTo>
                      <a:cubicBezTo>
                        <a:pt x="283" y="266"/>
                        <a:pt x="283" y="266"/>
                        <a:pt x="283" y="266"/>
                      </a:cubicBezTo>
                      <a:cubicBezTo>
                        <a:pt x="284" y="268"/>
                        <a:pt x="284" y="268"/>
                        <a:pt x="284" y="268"/>
                      </a:cubicBezTo>
                      <a:cubicBezTo>
                        <a:pt x="287" y="271"/>
                        <a:pt x="287" y="271"/>
                        <a:pt x="287" y="271"/>
                      </a:cubicBezTo>
                      <a:cubicBezTo>
                        <a:pt x="287" y="276"/>
                        <a:pt x="287" y="276"/>
                        <a:pt x="287" y="276"/>
                      </a:cubicBezTo>
                      <a:cubicBezTo>
                        <a:pt x="284" y="276"/>
                        <a:pt x="284" y="276"/>
                        <a:pt x="284" y="276"/>
                      </a:cubicBezTo>
                      <a:cubicBezTo>
                        <a:pt x="284" y="280"/>
                        <a:pt x="284" y="280"/>
                        <a:pt x="284" y="280"/>
                      </a:cubicBezTo>
                      <a:cubicBezTo>
                        <a:pt x="283" y="281"/>
                        <a:pt x="283" y="281"/>
                        <a:pt x="283" y="281"/>
                      </a:cubicBezTo>
                      <a:cubicBezTo>
                        <a:pt x="282" y="283"/>
                        <a:pt x="282" y="283"/>
                        <a:pt x="282" y="283"/>
                      </a:cubicBezTo>
                      <a:cubicBezTo>
                        <a:pt x="281" y="284"/>
                        <a:pt x="281" y="284"/>
                        <a:pt x="281" y="284"/>
                      </a:cubicBezTo>
                      <a:cubicBezTo>
                        <a:pt x="281" y="287"/>
                        <a:pt x="281" y="287"/>
                        <a:pt x="281" y="287"/>
                      </a:cubicBezTo>
                      <a:cubicBezTo>
                        <a:pt x="283" y="287"/>
                        <a:pt x="283" y="287"/>
                        <a:pt x="283" y="287"/>
                      </a:cubicBezTo>
                      <a:cubicBezTo>
                        <a:pt x="285" y="286"/>
                        <a:pt x="285" y="286"/>
                        <a:pt x="285" y="286"/>
                      </a:cubicBezTo>
                      <a:cubicBezTo>
                        <a:pt x="286" y="286"/>
                        <a:pt x="286" y="286"/>
                        <a:pt x="286" y="286"/>
                      </a:cubicBezTo>
                      <a:cubicBezTo>
                        <a:pt x="288" y="282"/>
                        <a:pt x="288" y="282"/>
                        <a:pt x="288" y="282"/>
                      </a:cubicBezTo>
                      <a:cubicBezTo>
                        <a:pt x="291" y="281"/>
                        <a:pt x="291" y="281"/>
                        <a:pt x="291" y="281"/>
                      </a:cubicBezTo>
                      <a:cubicBezTo>
                        <a:pt x="291" y="276"/>
                        <a:pt x="291" y="276"/>
                        <a:pt x="291" y="276"/>
                      </a:cubicBezTo>
                      <a:cubicBezTo>
                        <a:pt x="293" y="274"/>
                        <a:pt x="293" y="274"/>
                        <a:pt x="293" y="274"/>
                      </a:cubicBezTo>
                      <a:cubicBezTo>
                        <a:pt x="295" y="274"/>
                        <a:pt x="295" y="274"/>
                        <a:pt x="295" y="274"/>
                      </a:cubicBezTo>
                      <a:cubicBezTo>
                        <a:pt x="296" y="273"/>
                        <a:pt x="296" y="273"/>
                        <a:pt x="296" y="273"/>
                      </a:cubicBezTo>
                      <a:cubicBezTo>
                        <a:pt x="298" y="273"/>
                        <a:pt x="298" y="273"/>
                        <a:pt x="298" y="273"/>
                      </a:cubicBezTo>
                      <a:cubicBezTo>
                        <a:pt x="298" y="271"/>
                        <a:pt x="298" y="271"/>
                        <a:pt x="298" y="271"/>
                      </a:cubicBezTo>
                      <a:cubicBezTo>
                        <a:pt x="297" y="270"/>
                        <a:pt x="297" y="270"/>
                        <a:pt x="297" y="270"/>
                      </a:cubicBezTo>
                      <a:cubicBezTo>
                        <a:pt x="297" y="268"/>
                        <a:pt x="297" y="268"/>
                        <a:pt x="297" y="268"/>
                      </a:cubicBezTo>
                      <a:cubicBezTo>
                        <a:pt x="295" y="266"/>
                        <a:pt x="295" y="266"/>
                        <a:pt x="295" y="266"/>
                      </a:cubicBezTo>
                      <a:cubicBezTo>
                        <a:pt x="293" y="266"/>
                        <a:pt x="293" y="266"/>
                        <a:pt x="293" y="266"/>
                      </a:cubicBezTo>
                      <a:cubicBezTo>
                        <a:pt x="290" y="263"/>
                        <a:pt x="290" y="263"/>
                        <a:pt x="290" y="263"/>
                      </a:cubicBezTo>
                      <a:cubicBezTo>
                        <a:pt x="291" y="262"/>
                        <a:pt x="291" y="262"/>
                        <a:pt x="291" y="262"/>
                      </a:cubicBezTo>
                      <a:cubicBezTo>
                        <a:pt x="292" y="260"/>
                        <a:pt x="292" y="260"/>
                        <a:pt x="292" y="260"/>
                      </a:cubicBezTo>
                      <a:cubicBezTo>
                        <a:pt x="293" y="257"/>
                        <a:pt x="293" y="257"/>
                        <a:pt x="293" y="257"/>
                      </a:cubicBezTo>
                      <a:cubicBezTo>
                        <a:pt x="294" y="255"/>
                        <a:pt x="294" y="255"/>
                        <a:pt x="294" y="255"/>
                      </a:cubicBezTo>
                      <a:cubicBezTo>
                        <a:pt x="296" y="253"/>
                        <a:pt x="296" y="253"/>
                        <a:pt x="296" y="253"/>
                      </a:cubicBezTo>
                      <a:cubicBezTo>
                        <a:pt x="297" y="254"/>
                        <a:pt x="297" y="254"/>
                        <a:pt x="297" y="254"/>
                      </a:cubicBezTo>
                      <a:cubicBezTo>
                        <a:pt x="299" y="254"/>
                        <a:pt x="299" y="254"/>
                        <a:pt x="299" y="254"/>
                      </a:cubicBezTo>
                      <a:cubicBezTo>
                        <a:pt x="300" y="255"/>
                        <a:pt x="300" y="255"/>
                        <a:pt x="300" y="255"/>
                      </a:cubicBezTo>
                      <a:cubicBezTo>
                        <a:pt x="305" y="255"/>
                        <a:pt x="305" y="255"/>
                        <a:pt x="305" y="255"/>
                      </a:cubicBezTo>
                      <a:cubicBezTo>
                        <a:pt x="305" y="257"/>
                        <a:pt x="305" y="257"/>
                        <a:pt x="305" y="257"/>
                      </a:cubicBezTo>
                      <a:cubicBezTo>
                        <a:pt x="306" y="258"/>
                        <a:pt x="306" y="258"/>
                        <a:pt x="306" y="258"/>
                      </a:cubicBezTo>
                      <a:cubicBezTo>
                        <a:pt x="306" y="259"/>
                        <a:pt x="306" y="259"/>
                        <a:pt x="306" y="259"/>
                      </a:cubicBezTo>
                      <a:cubicBezTo>
                        <a:pt x="307" y="261"/>
                        <a:pt x="307" y="261"/>
                        <a:pt x="307" y="261"/>
                      </a:cubicBezTo>
                      <a:cubicBezTo>
                        <a:pt x="309" y="261"/>
                        <a:pt x="309" y="261"/>
                        <a:pt x="309" y="261"/>
                      </a:cubicBezTo>
                      <a:cubicBezTo>
                        <a:pt x="311" y="260"/>
                        <a:pt x="311" y="260"/>
                        <a:pt x="311" y="260"/>
                      </a:cubicBezTo>
                      <a:cubicBezTo>
                        <a:pt x="312" y="259"/>
                        <a:pt x="312" y="259"/>
                        <a:pt x="312" y="259"/>
                      </a:cubicBezTo>
                      <a:cubicBezTo>
                        <a:pt x="312" y="258"/>
                        <a:pt x="312" y="258"/>
                        <a:pt x="312" y="258"/>
                      </a:cubicBezTo>
                      <a:cubicBezTo>
                        <a:pt x="311" y="256"/>
                        <a:pt x="311" y="256"/>
                        <a:pt x="311" y="256"/>
                      </a:cubicBezTo>
                      <a:cubicBezTo>
                        <a:pt x="310" y="254"/>
                        <a:pt x="310" y="254"/>
                        <a:pt x="310" y="254"/>
                      </a:cubicBezTo>
                      <a:cubicBezTo>
                        <a:pt x="308" y="253"/>
                        <a:pt x="308" y="253"/>
                        <a:pt x="308" y="253"/>
                      </a:cubicBezTo>
                      <a:cubicBezTo>
                        <a:pt x="305" y="250"/>
                        <a:pt x="305" y="250"/>
                        <a:pt x="305" y="250"/>
                      </a:cubicBezTo>
                      <a:cubicBezTo>
                        <a:pt x="295" y="245"/>
                        <a:pt x="295" y="245"/>
                        <a:pt x="295" y="245"/>
                      </a:cubicBezTo>
                      <a:cubicBezTo>
                        <a:pt x="294" y="245"/>
                        <a:pt x="294" y="245"/>
                        <a:pt x="294" y="245"/>
                      </a:cubicBezTo>
                      <a:cubicBezTo>
                        <a:pt x="292" y="244"/>
                        <a:pt x="292" y="244"/>
                        <a:pt x="292" y="244"/>
                      </a:cubicBezTo>
                      <a:cubicBezTo>
                        <a:pt x="290" y="244"/>
                        <a:pt x="290" y="244"/>
                        <a:pt x="290" y="244"/>
                      </a:cubicBezTo>
                      <a:cubicBezTo>
                        <a:pt x="287" y="243"/>
                        <a:pt x="287" y="243"/>
                        <a:pt x="287" y="243"/>
                      </a:cubicBezTo>
                      <a:cubicBezTo>
                        <a:pt x="283" y="241"/>
                        <a:pt x="283" y="241"/>
                        <a:pt x="283" y="241"/>
                      </a:cubicBezTo>
                      <a:cubicBezTo>
                        <a:pt x="283" y="240"/>
                        <a:pt x="283" y="240"/>
                        <a:pt x="283" y="240"/>
                      </a:cubicBezTo>
                      <a:cubicBezTo>
                        <a:pt x="284" y="238"/>
                        <a:pt x="284" y="238"/>
                        <a:pt x="284" y="238"/>
                      </a:cubicBezTo>
                      <a:cubicBezTo>
                        <a:pt x="286" y="236"/>
                        <a:pt x="286" y="236"/>
                        <a:pt x="286" y="236"/>
                      </a:cubicBezTo>
                      <a:cubicBezTo>
                        <a:pt x="286" y="235"/>
                        <a:pt x="286" y="235"/>
                        <a:pt x="286" y="235"/>
                      </a:cubicBezTo>
                      <a:cubicBezTo>
                        <a:pt x="285" y="233"/>
                        <a:pt x="285" y="233"/>
                        <a:pt x="285" y="233"/>
                      </a:cubicBezTo>
                      <a:cubicBezTo>
                        <a:pt x="284" y="233"/>
                        <a:pt x="284" y="233"/>
                        <a:pt x="284" y="233"/>
                      </a:cubicBezTo>
                      <a:cubicBezTo>
                        <a:pt x="281" y="232"/>
                        <a:pt x="281" y="232"/>
                        <a:pt x="281" y="232"/>
                      </a:cubicBezTo>
                      <a:cubicBezTo>
                        <a:pt x="274" y="232"/>
                        <a:pt x="274" y="232"/>
                        <a:pt x="274" y="232"/>
                      </a:cubicBezTo>
                      <a:cubicBezTo>
                        <a:pt x="272" y="231"/>
                        <a:pt x="272" y="231"/>
                        <a:pt x="272" y="231"/>
                      </a:cubicBezTo>
                      <a:cubicBezTo>
                        <a:pt x="271" y="230"/>
                        <a:pt x="271" y="230"/>
                        <a:pt x="271" y="230"/>
                      </a:cubicBezTo>
                      <a:cubicBezTo>
                        <a:pt x="268" y="228"/>
                        <a:pt x="268" y="228"/>
                        <a:pt x="268" y="228"/>
                      </a:cubicBezTo>
                      <a:cubicBezTo>
                        <a:pt x="264" y="224"/>
                        <a:pt x="264" y="224"/>
                        <a:pt x="264" y="224"/>
                      </a:cubicBezTo>
                      <a:cubicBezTo>
                        <a:pt x="261" y="221"/>
                        <a:pt x="261" y="221"/>
                        <a:pt x="261" y="221"/>
                      </a:cubicBezTo>
                      <a:cubicBezTo>
                        <a:pt x="260" y="220"/>
                        <a:pt x="260" y="220"/>
                        <a:pt x="260" y="220"/>
                      </a:cubicBezTo>
                      <a:cubicBezTo>
                        <a:pt x="259" y="218"/>
                        <a:pt x="259" y="218"/>
                        <a:pt x="259" y="218"/>
                      </a:cubicBezTo>
                      <a:cubicBezTo>
                        <a:pt x="259" y="216"/>
                        <a:pt x="259" y="216"/>
                        <a:pt x="259" y="216"/>
                      </a:cubicBezTo>
                      <a:cubicBezTo>
                        <a:pt x="256" y="210"/>
                        <a:pt x="256" y="210"/>
                        <a:pt x="256" y="210"/>
                      </a:cubicBezTo>
                      <a:cubicBezTo>
                        <a:pt x="254" y="209"/>
                        <a:pt x="254" y="209"/>
                        <a:pt x="254" y="209"/>
                      </a:cubicBezTo>
                      <a:cubicBezTo>
                        <a:pt x="253" y="208"/>
                        <a:pt x="253" y="208"/>
                        <a:pt x="253" y="208"/>
                      </a:cubicBezTo>
                      <a:cubicBezTo>
                        <a:pt x="251" y="207"/>
                        <a:pt x="251" y="207"/>
                        <a:pt x="251" y="207"/>
                      </a:cubicBezTo>
                      <a:cubicBezTo>
                        <a:pt x="250" y="206"/>
                        <a:pt x="250" y="206"/>
                        <a:pt x="250" y="206"/>
                      </a:cubicBezTo>
                      <a:cubicBezTo>
                        <a:pt x="244" y="201"/>
                        <a:pt x="244" y="201"/>
                        <a:pt x="244" y="201"/>
                      </a:cubicBezTo>
                      <a:cubicBezTo>
                        <a:pt x="243" y="199"/>
                        <a:pt x="243" y="199"/>
                        <a:pt x="243" y="199"/>
                      </a:cubicBezTo>
                      <a:cubicBezTo>
                        <a:pt x="241" y="197"/>
                        <a:pt x="241" y="197"/>
                        <a:pt x="241" y="197"/>
                      </a:cubicBezTo>
                      <a:cubicBezTo>
                        <a:pt x="241" y="195"/>
                        <a:pt x="241" y="195"/>
                        <a:pt x="241" y="195"/>
                      </a:cubicBezTo>
                      <a:cubicBezTo>
                        <a:pt x="242" y="194"/>
                        <a:pt x="242" y="194"/>
                        <a:pt x="242" y="194"/>
                      </a:cubicBezTo>
                      <a:cubicBezTo>
                        <a:pt x="245" y="194"/>
                        <a:pt x="245" y="194"/>
                        <a:pt x="245" y="194"/>
                      </a:cubicBezTo>
                      <a:cubicBezTo>
                        <a:pt x="245" y="193"/>
                        <a:pt x="245" y="193"/>
                        <a:pt x="245" y="193"/>
                      </a:cubicBezTo>
                      <a:cubicBezTo>
                        <a:pt x="243" y="191"/>
                        <a:pt x="243" y="191"/>
                        <a:pt x="243" y="191"/>
                      </a:cubicBezTo>
                      <a:cubicBezTo>
                        <a:pt x="242" y="189"/>
                        <a:pt x="242" y="189"/>
                        <a:pt x="242" y="189"/>
                      </a:cubicBezTo>
                      <a:cubicBezTo>
                        <a:pt x="242" y="187"/>
                        <a:pt x="242" y="187"/>
                        <a:pt x="242" y="187"/>
                      </a:cubicBezTo>
                      <a:cubicBezTo>
                        <a:pt x="248" y="184"/>
                        <a:pt x="248" y="184"/>
                        <a:pt x="248" y="184"/>
                      </a:cubicBezTo>
                      <a:cubicBezTo>
                        <a:pt x="249" y="183"/>
                        <a:pt x="249" y="183"/>
                        <a:pt x="249" y="183"/>
                      </a:cubicBezTo>
                      <a:cubicBezTo>
                        <a:pt x="250" y="183"/>
                        <a:pt x="250" y="183"/>
                        <a:pt x="250" y="183"/>
                      </a:cubicBezTo>
                      <a:cubicBezTo>
                        <a:pt x="254" y="182"/>
                        <a:pt x="254" y="182"/>
                        <a:pt x="254" y="182"/>
                      </a:cubicBezTo>
                      <a:cubicBezTo>
                        <a:pt x="255" y="179"/>
                        <a:pt x="255" y="179"/>
                        <a:pt x="255" y="179"/>
                      </a:cubicBezTo>
                      <a:cubicBezTo>
                        <a:pt x="256" y="180"/>
                        <a:pt x="256" y="180"/>
                        <a:pt x="256" y="180"/>
                      </a:cubicBezTo>
                      <a:cubicBezTo>
                        <a:pt x="257" y="180"/>
                        <a:pt x="257" y="180"/>
                        <a:pt x="257" y="180"/>
                      </a:cubicBezTo>
                      <a:cubicBezTo>
                        <a:pt x="258" y="180"/>
                        <a:pt x="258" y="180"/>
                        <a:pt x="258" y="180"/>
                      </a:cubicBezTo>
                      <a:cubicBezTo>
                        <a:pt x="258" y="181"/>
                        <a:pt x="258" y="181"/>
                        <a:pt x="258" y="181"/>
                      </a:cubicBezTo>
                      <a:cubicBezTo>
                        <a:pt x="257" y="181"/>
                        <a:pt x="257" y="181"/>
                        <a:pt x="257" y="181"/>
                      </a:cubicBezTo>
                      <a:cubicBezTo>
                        <a:pt x="257" y="182"/>
                        <a:pt x="257" y="182"/>
                        <a:pt x="257" y="182"/>
                      </a:cubicBezTo>
                      <a:cubicBezTo>
                        <a:pt x="256" y="183"/>
                        <a:pt x="256" y="183"/>
                        <a:pt x="256" y="183"/>
                      </a:cubicBezTo>
                      <a:cubicBezTo>
                        <a:pt x="259" y="183"/>
                        <a:pt x="259" y="183"/>
                        <a:pt x="259" y="183"/>
                      </a:cubicBezTo>
                      <a:cubicBezTo>
                        <a:pt x="259" y="185"/>
                        <a:pt x="259" y="185"/>
                        <a:pt x="259" y="185"/>
                      </a:cubicBezTo>
                      <a:cubicBezTo>
                        <a:pt x="256" y="185"/>
                        <a:pt x="256" y="185"/>
                        <a:pt x="256" y="185"/>
                      </a:cubicBezTo>
                      <a:cubicBezTo>
                        <a:pt x="256" y="193"/>
                        <a:pt x="256" y="193"/>
                        <a:pt x="256" y="193"/>
                      </a:cubicBezTo>
                      <a:cubicBezTo>
                        <a:pt x="257" y="193"/>
                        <a:pt x="257" y="193"/>
                        <a:pt x="257" y="193"/>
                      </a:cubicBezTo>
                      <a:cubicBezTo>
                        <a:pt x="258" y="191"/>
                        <a:pt x="258" y="191"/>
                        <a:pt x="258" y="191"/>
                      </a:cubicBezTo>
                      <a:cubicBezTo>
                        <a:pt x="260" y="190"/>
                        <a:pt x="260" y="190"/>
                        <a:pt x="260" y="190"/>
                      </a:cubicBezTo>
                      <a:cubicBezTo>
                        <a:pt x="261" y="188"/>
                        <a:pt x="261" y="188"/>
                        <a:pt x="261" y="188"/>
                      </a:cubicBezTo>
                      <a:cubicBezTo>
                        <a:pt x="264" y="188"/>
                        <a:pt x="264" y="188"/>
                        <a:pt x="264" y="188"/>
                      </a:cubicBezTo>
                      <a:cubicBezTo>
                        <a:pt x="265" y="190"/>
                        <a:pt x="265" y="190"/>
                        <a:pt x="265" y="190"/>
                      </a:cubicBezTo>
                      <a:cubicBezTo>
                        <a:pt x="265" y="193"/>
                        <a:pt x="265" y="193"/>
                        <a:pt x="265" y="193"/>
                      </a:cubicBezTo>
                      <a:cubicBezTo>
                        <a:pt x="270" y="192"/>
                        <a:pt x="270" y="192"/>
                        <a:pt x="270" y="192"/>
                      </a:cubicBezTo>
                      <a:cubicBezTo>
                        <a:pt x="270" y="193"/>
                        <a:pt x="270" y="193"/>
                        <a:pt x="270" y="193"/>
                      </a:cubicBezTo>
                      <a:cubicBezTo>
                        <a:pt x="269" y="194"/>
                        <a:pt x="269" y="194"/>
                        <a:pt x="269" y="194"/>
                      </a:cubicBezTo>
                      <a:cubicBezTo>
                        <a:pt x="269" y="195"/>
                        <a:pt x="269" y="195"/>
                        <a:pt x="269" y="195"/>
                      </a:cubicBezTo>
                      <a:cubicBezTo>
                        <a:pt x="271" y="197"/>
                        <a:pt x="271" y="197"/>
                        <a:pt x="271" y="197"/>
                      </a:cubicBezTo>
                      <a:cubicBezTo>
                        <a:pt x="273" y="198"/>
                        <a:pt x="273" y="198"/>
                        <a:pt x="273" y="198"/>
                      </a:cubicBezTo>
                      <a:cubicBezTo>
                        <a:pt x="273" y="200"/>
                        <a:pt x="273" y="200"/>
                        <a:pt x="273" y="200"/>
                      </a:cubicBezTo>
                      <a:cubicBezTo>
                        <a:pt x="281" y="206"/>
                        <a:pt x="281" y="206"/>
                        <a:pt x="281" y="206"/>
                      </a:cubicBezTo>
                      <a:cubicBezTo>
                        <a:pt x="281" y="210"/>
                        <a:pt x="281" y="210"/>
                        <a:pt x="281" y="210"/>
                      </a:cubicBezTo>
                      <a:cubicBezTo>
                        <a:pt x="291" y="210"/>
                        <a:pt x="291" y="210"/>
                        <a:pt x="291" y="210"/>
                      </a:cubicBezTo>
                      <a:cubicBezTo>
                        <a:pt x="293" y="211"/>
                        <a:pt x="293" y="211"/>
                        <a:pt x="293" y="211"/>
                      </a:cubicBezTo>
                      <a:cubicBezTo>
                        <a:pt x="294" y="212"/>
                        <a:pt x="294" y="212"/>
                        <a:pt x="294" y="212"/>
                      </a:cubicBezTo>
                      <a:cubicBezTo>
                        <a:pt x="294" y="215"/>
                        <a:pt x="294" y="215"/>
                        <a:pt x="294" y="215"/>
                      </a:cubicBezTo>
                      <a:cubicBezTo>
                        <a:pt x="299" y="215"/>
                        <a:pt x="299" y="215"/>
                        <a:pt x="299" y="215"/>
                      </a:cubicBezTo>
                      <a:cubicBezTo>
                        <a:pt x="300" y="215"/>
                        <a:pt x="300" y="215"/>
                        <a:pt x="300" y="215"/>
                      </a:cubicBezTo>
                      <a:cubicBezTo>
                        <a:pt x="300" y="214"/>
                        <a:pt x="300" y="214"/>
                        <a:pt x="300" y="214"/>
                      </a:cubicBezTo>
                      <a:cubicBezTo>
                        <a:pt x="301" y="214"/>
                        <a:pt x="301" y="214"/>
                        <a:pt x="301" y="214"/>
                      </a:cubicBezTo>
                      <a:cubicBezTo>
                        <a:pt x="302" y="216"/>
                        <a:pt x="302" y="216"/>
                        <a:pt x="302" y="216"/>
                      </a:cubicBezTo>
                      <a:cubicBezTo>
                        <a:pt x="302" y="217"/>
                        <a:pt x="302" y="217"/>
                        <a:pt x="302" y="217"/>
                      </a:cubicBezTo>
                      <a:cubicBezTo>
                        <a:pt x="301" y="218"/>
                        <a:pt x="301" y="218"/>
                        <a:pt x="301" y="218"/>
                      </a:cubicBezTo>
                      <a:cubicBezTo>
                        <a:pt x="303" y="218"/>
                        <a:pt x="303" y="218"/>
                        <a:pt x="303" y="218"/>
                      </a:cubicBezTo>
                      <a:cubicBezTo>
                        <a:pt x="306" y="221"/>
                        <a:pt x="306" y="221"/>
                        <a:pt x="306" y="221"/>
                      </a:cubicBezTo>
                      <a:cubicBezTo>
                        <a:pt x="307" y="223"/>
                        <a:pt x="307" y="223"/>
                        <a:pt x="307" y="223"/>
                      </a:cubicBezTo>
                      <a:cubicBezTo>
                        <a:pt x="309" y="224"/>
                        <a:pt x="309" y="224"/>
                        <a:pt x="309" y="224"/>
                      </a:cubicBezTo>
                      <a:cubicBezTo>
                        <a:pt x="312" y="227"/>
                        <a:pt x="312" y="227"/>
                        <a:pt x="312" y="227"/>
                      </a:cubicBezTo>
                      <a:cubicBezTo>
                        <a:pt x="314" y="225"/>
                        <a:pt x="314" y="225"/>
                        <a:pt x="314" y="225"/>
                      </a:cubicBezTo>
                      <a:cubicBezTo>
                        <a:pt x="315" y="225"/>
                        <a:pt x="315" y="225"/>
                        <a:pt x="315" y="225"/>
                      </a:cubicBezTo>
                      <a:cubicBezTo>
                        <a:pt x="316" y="224"/>
                        <a:pt x="316" y="224"/>
                        <a:pt x="316" y="224"/>
                      </a:cubicBezTo>
                      <a:cubicBezTo>
                        <a:pt x="317" y="224"/>
                        <a:pt x="317" y="224"/>
                        <a:pt x="317" y="224"/>
                      </a:cubicBezTo>
                      <a:cubicBezTo>
                        <a:pt x="317" y="227"/>
                        <a:pt x="317" y="227"/>
                        <a:pt x="317" y="227"/>
                      </a:cubicBezTo>
                      <a:cubicBezTo>
                        <a:pt x="316" y="227"/>
                        <a:pt x="316" y="227"/>
                        <a:pt x="316" y="227"/>
                      </a:cubicBezTo>
                      <a:cubicBezTo>
                        <a:pt x="319" y="229"/>
                        <a:pt x="319" y="229"/>
                        <a:pt x="319" y="229"/>
                      </a:cubicBezTo>
                      <a:cubicBezTo>
                        <a:pt x="321" y="231"/>
                        <a:pt x="321" y="231"/>
                        <a:pt x="321" y="231"/>
                      </a:cubicBezTo>
                      <a:cubicBezTo>
                        <a:pt x="321" y="231"/>
                        <a:pt x="321" y="231"/>
                        <a:pt x="321" y="231"/>
                      </a:cubicBezTo>
                      <a:cubicBezTo>
                        <a:pt x="321" y="231"/>
                        <a:pt x="321" y="231"/>
                        <a:pt x="321" y="231"/>
                      </a:cubicBezTo>
                      <a:cubicBezTo>
                        <a:pt x="319" y="233"/>
                        <a:pt x="319" y="233"/>
                        <a:pt x="319" y="233"/>
                      </a:cubicBezTo>
                      <a:cubicBezTo>
                        <a:pt x="320" y="234"/>
                        <a:pt x="320" y="234"/>
                        <a:pt x="320" y="234"/>
                      </a:cubicBezTo>
                      <a:cubicBezTo>
                        <a:pt x="324" y="234"/>
                        <a:pt x="324" y="234"/>
                        <a:pt x="324" y="234"/>
                      </a:cubicBezTo>
                      <a:cubicBezTo>
                        <a:pt x="324" y="237"/>
                        <a:pt x="324" y="237"/>
                        <a:pt x="324" y="237"/>
                      </a:cubicBezTo>
                      <a:cubicBezTo>
                        <a:pt x="323" y="239"/>
                        <a:pt x="323" y="239"/>
                        <a:pt x="323" y="239"/>
                      </a:cubicBezTo>
                      <a:cubicBezTo>
                        <a:pt x="323" y="242"/>
                        <a:pt x="323" y="242"/>
                        <a:pt x="323" y="242"/>
                      </a:cubicBezTo>
                      <a:cubicBezTo>
                        <a:pt x="322" y="245"/>
                        <a:pt x="322" y="245"/>
                        <a:pt x="322" y="245"/>
                      </a:cubicBezTo>
                      <a:cubicBezTo>
                        <a:pt x="322" y="249"/>
                        <a:pt x="322" y="249"/>
                        <a:pt x="322" y="249"/>
                      </a:cubicBezTo>
                      <a:cubicBezTo>
                        <a:pt x="320" y="253"/>
                        <a:pt x="320" y="253"/>
                        <a:pt x="320" y="253"/>
                      </a:cubicBezTo>
                      <a:cubicBezTo>
                        <a:pt x="320" y="254"/>
                        <a:pt x="320" y="254"/>
                        <a:pt x="320" y="254"/>
                      </a:cubicBezTo>
                      <a:cubicBezTo>
                        <a:pt x="323" y="257"/>
                        <a:pt x="323" y="257"/>
                        <a:pt x="323" y="257"/>
                      </a:cubicBezTo>
                      <a:cubicBezTo>
                        <a:pt x="325" y="258"/>
                        <a:pt x="325" y="258"/>
                        <a:pt x="325" y="258"/>
                      </a:cubicBezTo>
                      <a:cubicBezTo>
                        <a:pt x="326" y="259"/>
                        <a:pt x="326" y="259"/>
                        <a:pt x="326" y="259"/>
                      </a:cubicBezTo>
                      <a:cubicBezTo>
                        <a:pt x="326" y="262"/>
                        <a:pt x="326" y="262"/>
                        <a:pt x="326" y="262"/>
                      </a:cubicBezTo>
                      <a:cubicBezTo>
                        <a:pt x="327" y="263"/>
                        <a:pt x="327" y="263"/>
                        <a:pt x="327" y="263"/>
                      </a:cubicBezTo>
                      <a:cubicBezTo>
                        <a:pt x="330" y="263"/>
                        <a:pt x="330" y="263"/>
                        <a:pt x="330" y="263"/>
                      </a:cubicBezTo>
                      <a:cubicBezTo>
                        <a:pt x="331" y="263"/>
                        <a:pt x="331" y="263"/>
                        <a:pt x="331" y="263"/>
                      </a:cubicBezTo>
                      <a:cubicBezTo>
                        <a:pt x="332" y="263"/>
                        <a:pt x="332" y="263"/>
                        <a:pt x="332" y="263"/>
                      </a:cubicBezTo>
                      <a:cubicBezTo>
                        <a:pt x="332" y="268"/>
                        <a:pt x="332" y="268"/>
                        <a:pt x="332" y="268"/>
                      </a:cubicBezTo>
                      <a:cubicBezTo>
                        <a:pt x="333" y="269"/>
                        <a:pt x="333" y="269"/>
                        <a:pt x="333" y="269"/>
                      </a:cubicBezTo>
                      <a:cubicBezTo>
                        <a:pt x="335" y="270"/>
                        <a:pt x="335" y="270"/>
                        <a:pt x="335" y="270"/>
                      </a:cubicBezTo>
                      <a:cubicBezTo>
                        <a:pt x="336" y="271"/>
                        <a:pt x="336" y="271"/>
                        <a:pt x="336" y="271"/>
                      </a:cubicBezTo>
                      <a:cubicBezTo>
                        <a:pt x="337" y="273"/>
                        <a:pt x="337" y="273"/>
                        <a:pt x="337" y="273"/>
                      </a:cubicBezTo>
                      <a:cubicBezTo>
                        <a:pt x="338" y="274"/>
                        <a:pt x="338" y="274"/>
                        <a:pt x="338" y="274"/>
                      </a:cubicBezTo>
                      <a:cubicBezTo>
                        <a:pt x="339" y="276"/>
                        <a:pt x="339" y="276"/>
                        <a:pt x="339" y="276"/>
                      </a:cubicBezTo>
                      <a:cubicBezTo>
                        <a:pt x="342" y="278"/>
                        <a:pt x="342" y="278"/>
                        <a:pt x="342" y="278"/>
                      </a:cubicBezTo>
                      <a:cubicBezTo>
                        <a:pt x="343" y="280"/>
                        <a:pt x="343" y="280"/>
                        <a:pt x="343" y="280"/>
                      </a:cubicBezTo>
                      <a:cubicBezTo>
                        <a:pt x="347" y="280"/>
                        <a:pt x="347" y="280"/>
                        <a:pt x="347" y="280"/>
                      </a:cubicBezTo>
                      <a:cubicBezTo>
                        <a:pt x="349" y="279"/>
                        <a:pt x="349" y="279"/>
                        <a:pt x="349" y="279"/>
                      </a:cubicBezTo>
                      <a:cubicBezTo>
                        <a:pt x="351" y="279"/>
                        <a:pt x="351" y="279"/>
                        <a:pt x="351" y="279"/>
                      </a:cubicBezTo>
                      <a:cubicBezTo>
                        <a:pt x="356" y="279"/>
                        <a:pt x="356" y="279"/>
                        <a:pt x="356" y="279"/>
                      </a:cubicBezTo>
                      <a:cubicBezTo>
                        <a:pt x="357" y="280"/>
                        <a:pt x="357" y="280"/>
                        <a:pt x="357" y="280"/>
                      </a:cubicBezTo>
                      <a:cubicBezTo>
                        <a:pt x="359" y="280"/>
                        <a:pt x="359" y="280"/>
                        <a:pt x="359" y="280"/>
                      </a:cubicBezTo>
                      <a:cubicBezTo>
                        <a:pt x="363" y="282"/>
                        <a:pt x="363" y="282"/>
                        <a:pt x="363" y="282"/>
                      </a:cubicBezTo>
                      <a:cubicBezTo>
                        <a:pt x="365" y="282"/>
                        <a:pt x="365" y="282"/>
                        <a:pt x="365" y="282"/>
                      </a:cubicBezTo>
                      <a:cubicBezTo>
                        <a:pt x="366" y="283"/>
                        <a:pt x="366" y="283"/>
                        <a:pt x="366" y="283"/>
                      </a:cubicBezTo>
                      <a:cubicBezTo>
                        <a:pt x="367" y="283"/>
                        <a:pt x="367" y="283"/>
                        <a:pt x="367" y="283"/>
                      </a:cubicBezTo>
                      <a:cubicBezTo>
                        <a:pt x="369" y="285"/>
                        <a:pt x="369" y="285"/>
                        <a:pt x="369" y="285"/>
                      </a:cubicBezTo>
                      <a:cubicBezTo>
                        <a:pt x="372" y="286"/>
                        <a:pt x="372" y="286"/>
                        <a:pt x="372" y="286"/>
                      </a:cubicBezTo>
                      <a:cubicBezTo>
                        <a:pt x="373" y="287"/>
                        <a:pt x="373" y="287"/>
                        <a:pt x="373" y="287"/>
                      </a:cubicBezTo>
                      <a:cubicBezTo>
                        <a:pt x="375" y="287"/>
                        <a:pt x="375" y="287"/>
                        <a:pt x="375" y="287"/>
                      </a:cubicBezTo>
                      <a:cubicBezTo>
                        <a:pt x="376" y="286"/>
                        <a:pt x="376" y="286"/>
                        <a:pt x="376" y="286"/>
                      </a:cubicBezTo>
                      <a:cubicBezTo>
                        <a:pt x="376" y="283"/>
                        <a:pt x="376" y="283"/>
                        <a:pt x="376" y="283"/>
                      </a:cubicBezTo>
                      <a:cubicBezTo>
                        <a:pt x="372" y="279"/>
                        <a:pt x="372" y="279"/>
                        <a:pt x="372" y="279"/>
                      </a:cubicBezTo>
                      <a:cubicBezTo>
                        <a:pt x="369" y="278"/>
                        <a:pt x="369" y="278"/>
                        <a:pt x="369" y="278"/>
                      </a:cubicBezTo>
                      <a:cubicBezTo>
                        <a:pt x="368" y="277"/>
                        <a:pt x="368" y="277"/>
                        <a:pt x="368" y="277"/>
                      </a:cubicBezTo>
                      <a:cubicBezTo>
                        <a:pt x="367" y="277"/>
                        <a:pt x="367" y="277"/>
                        <a:pt x="367" y="277"/>
                      </a:cubicBezTo>
                      <a:cubicBezTo>
                        <a:pt x="366" y="276"/>
                        <a:pt x="366" y="276"/>
                        <a:pt x="366" y="276"/>
                      </a:cubicBezTo>
                      <a:cubicBezTo>
                        <a:pt x="364" y="276"/>
                        <a:pt x="364" y="276"/>
                        <a:pt x="364" y="276"/>
                      </a:cubicBezTo>
                      <a:cubicBezTo>
                        <a:pt x="362" y="274"/>
                        <a:pt x="362" y="274"/>
                        <a:pt x="362" y="274"/>
                      </a:cubicBezTo>
                      <a:cubicBezTo>
                        <a:pt x="361" y="274"/>
                        <a:pt x="361" y="274"/>
                        <a:pt x="361" y="274"/>
                      </a:cubicBezTo>
                      <a:cubicBezTo>
                        <a:pt x="362" y="273"/>
                        <a:pt x="362" y="273"/>
                        <a:pt x="362" y="273"/>
                      </a:cubicBezTo>
                      <a:cubicBezTo>
                        <a:pt x="365" y="273"/>
                        <a:pt x="365" y="273"/>
                        <a:pt x="365" y="273"/>
                      </a:cubicBezTo>
                      <a:cubicBezTo>
                        <a:pt x="366" y="275"/>
                        <a:pt x="366" y="275"/>
                        <a:pt x="366" y="275"/>
                      </a:cubicBezTo>
                      <a:cubicBezTo>
                        <a:pt x="370" y="277"/>
                        <a:pt x="370" y="277"/>
                        <a:pt x="370" y="277"/>
                      </a:cubicBezTo>
                      <a:cubicBezTo>
                        <a:pt x="373" y="279"/>
                        <a:pt x="373" y="279"/>
                        <a:pt x="373" y="279"/>
                      </a:cubicBezTo>
                      <a:cubicBezTo>
                        <a:pt x="377" y="279"/>
                        <a:pt x="377" y="279"/>
                        <a:pt x="377" y="279"/>
                      </a:cubicBezTo>
                      <a:cubicBezTo>
                        <a:pt x="379" y="277"/>
                        <a:pt x="379" y="277"/>
                        <a:pt x="379" y="277"/>
                      </a:cubicBezTo>
                      <a:cubicBezTo>
                        <a:pt x="377" y="275"/>
                        <a:pt x="377" y="275"/>
                        <a:pt x="377" y="275"/>
                      </a:cubicBezTo>
                      <a:cubicBezTo>
                        <a:pt x="375" y="275"/>
                        <a:pt x="375" y="275"/>
                        <a:pt x="375" y="275"/>
                      </a:cubicBezTo>
                      <a:cubicBezTo>
                        <a:pt x="373" y="274"/>
                        <a:pt x="373" y="274"/>
                        <a:pt x="373" y="274"/>
                      </a:cubicBezTo>
                      <a:cubicBezTo>
                        <a:pt x="370" y="274"/>
                        <a:pt x="370" y="274"/>
                        <a:pt x="370" y="274"/>
                      </a:cubicBezTo>
                      <a:cubicBezTo>
                        <a:pt x="368" y="273"/>
                        <a:pt x="368" y="273"/>
                        <a:pt x="368" y="273"/>
                      </a:cubicBezTo>
                      <a:cubicBezTo>
                        <a:pt x="367" y="271"/>
                        <a:pt x="367" y="271"/>
                        <a:pt x="367" y="271"/>
                      </a:cubicBezTo>
                      <a:cubicBezTo>
                        <a:pt x="366" y="270"/>
                        <a:pt x="366" y="270"/>
                        <a:pt x="366" y="270"/>
                      </a:cubicBezTo>
                      <a:cubicBezTo>
                        <a:pt x="366" y="269"/>
                        <a:pt x="366" y="269"/>
                        <a:pt x="366" y="269"/>
                      </a:cubicBezTo>
                      <a:cubicBezTo>
                        <a:pt x="365" y="267"/>
                        <a:pt x="365" y="267"/>
                        <a:pt x="365" y="267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62"/>
                        <a:pt x="362" y="262"/>
                        <a:pt x="362" y="262"/>
                      </a:cubicBezTo>
                      <a:cubicBezTo>
                        <a:pt x="361" y="261"/>
                        <a:pt x="361" y="261"/>
                        <a:pt x="361" y="261"/>
                      </a:cubicBezTo>
                      <a:cubicBezTo>
                        <a:pt x="360" y="259"/>
                        <a:pt x="360" y="259"/>
                        <a:pt x="360" y="259"/>
                      </a:cubicBezTo>
                      <a:cubicBezTo>
                        <a:pt x="358" y="257"/>
                        <a:pt x="358" y="257"/>
                        <a:pt x="358" y="257"/>
                      </a:cubicBezTo>
                      <a:cubicBezTo>
                        <a:pt x="358" y="255"/>
                        <a:pt x="358" y="255"/>
                        <a:pt x="358" y="255"/>
                      </a:cubicBezTo>
                      <a:cubicBezTo>
                        <a:pt x="358" y="255"/>
                        <a:pt x="358" y="255"/>
                        <a:pt x="358" y="255"/>
                      </a:cubicBezTo>
                      <a:cubicBezTo>
                        <a:pt x="360" y="254"/>
                        <a:pt x="360" y="254"/>
                        <a:pt x="360" y="254"/>
                      </a:cubicBezTo>
                      <a:cubicBezTo>
                        <a:pt x="361" y="254"/>
                        <a:pt x="361" y="254"/>
                        <a:pt x="361" y="254"/>
                      </a:cubicBezTo>
                      <a:cubicBezTo>
                        <a:pt x="363" y="254"/>
                        <a:pt x="363" y="254"/>
                        <a:pt x="363" y="254"/>
                      </a:cubicBezTo>
                      <a:cubicBezTo>
                        <a:pt x="363" y="255"/>
                        <a:pt x="363" y="255"/>
                        <a:pt x="363" y="255"/>
                      </a:cubicBezTo>
                      <a:cubicBezTo>
                        <a:pt x="364" y="255"/>
                        <a:pt x="364" y="255"/>
                        <a:pt x="364" y="255"/>
                      </a:cubicBezTo>
                      <a:cubicBezTo>
                        <a:pt x="366" y="257"/>
                        <a:pt x="366" y="257"/>
                        <a:pt x="366" y="257"/>
                      </a:cubicBezTo>
                      <a:cubicBezTo>
                        <a:pt x="366" y="259"/>
                        <a:pt x="366" y="259"/>
                        <a:pt x="366" y="259"/>
                      </a:cubicBezTo>
                      <a:cubicBezTo>
                        <a:pt x="367" y="259"/>
                        <a:pt x="367" y="259"/>
                        <a:pt x="367" y="259"/>
                      </a:cubicBezTo>
                      <a:cubicBezTo>
                        <a:pt x="368" y="258"/>
                        <a:pt x="368" y="258"/>
                        <a:pt x="368" y="258"/>
                      </a:cubicBezTo>
                      <a:cubicBezTo>
                        <a:pt x="369" y="258"/>
                        <a:pt x="369" y="258"/>
                        <a:pt x="369" y="258"/>
                      </a:cubicBezTo>
                      <a:cubicBezTo>
                        <a:pt x="367" y="255"/>
                        <a:pt x="367" y="255"/>
                        <a:pt x="367" y="255"/>
                      </a:cubicBezTo>
                      <a:cubicBezTo>
                        <a:pt x="368" y="255"/>
                        <a:pt x="368" y="255"/>
                        <a:pt x="368" y="255"/>
                      </a:cubicBezTo>
                      <a:cubicBezTo>
                        <a:pt x="373" y="257"/>
                        <a:pt x="373" y="257"/>
                        <a:pt x="373" y="257"/>
                      </a:cubicBezTo>
                      <a:cubicBezTo>
                        <a:pt x="370" y="254"/>
                        <a:pt x="370" y="254"/>
                        <a:pt x="370" y="254"/>
                      </a:cubicBezTo>
                      <a:cubicBezTo>
                        <a:pt x="372" y="253"/>
                        <a:pt x="372" y="253"/>
                        <a:pt x="372" y="253"/>
                      </a:cubicBezTo>
                      <a:cubicBezTo>
                        <a:pt x="372" y="249"/>
                        <a:pt x="372" y="249"/>
                        <a:pt x="372" y="249"/>
                      </a:cubicBezTo>
                      <a:cubicBezTo>
                        <a:pt x="374" y="247"/>
                        <a:pt x="374" y="247"/>
                        <a:pt x="374" y="247"/>
                      </a:cubicBezTo>
                      <a:cubicBezTo>
                        <a:pt x="379" y="247"/>
                        <a:pt x="379" y="247"/>
                        <a:pt x="379" y="247"/>
                      </a:cubicBezTo>
                      <a:cubicBezTo>
                        <a:pt x="380" y="248"/>
                        <a:pt x="380" y="248"/>
                        <a:pt x="380" y="248"/>
                      </a:cubicBezTo>
                      <a:cubicBezTo>
                        <a:pt x="380" y="250"/>
                        <a:pt x="380" y="250"/>
                        <a:pt x="380" y="250"/>
                      </a:cubicBezTo>
                      <a:cubicBezTo>
                        <a:pt x="382" y="250"/>
                        <a:pt x="382" y="250"/>
                        <a:pt x="382" y="250"/>
                      </a:cubicBezTo>
                      <a:cubicBezTo>
                        <a:pt x="383" y="249"/>
                        <a:pt x="383" y="249"/>
                        <a:pt x="383" y="249"/>
                      </a:cubicBezTo>
                      <a:cubicBezTo>
                        <a:pt x="384" y="247"/>
                        <a:pt x="384" y="247"/>
                        <a:pt x="384" y="247"/>
                      </a:cubicBezTo>
                      <a:cubicBezTo>
                        <a:pt x="385" y="246"/>
                        <a:pt x="385" y="246"/>
                        <a:pt x="385" y="246"/>
                      </a:cubicBezTo>
                      <a:cubicBezTo>
                        <a:pt x="397" y="248"/>
                        <a:pt x="397" y="248"/>
                        <a:pt x="397" y="248"/>
                      </a:cubicBezTo>
                      <a:cubicBezTo>
                        <a:pt x="397" y="248"/>
                        <a:pt x="397" y="248"/>
                        <a:pt x="397" y="248"/>
                      </a:cubicBezTo>
                      <a:cubicBezTo>
                        <a:pt x="398" y="248"/>
                        <a:pt x="398" y="248"/>
                        <a:pt x="398" y="248"/>
                      </a:cubicBezTo>
                      <a:cubicBezTo>
                        <a:pt x="399" y="249"/>
                        <a:pt x="399" y="249"/>
                        <a:pt x="399" y="249"/>
                      </a:cubicBezTo>
                      <a:cubicBezTo>
                        <a:pt x="399" y="250"/>
                        <a:pt x="399" y="250"/>
                        <a:pt x="399" y="250"/>
                      </a:cubicBezTo>
                      <a:cubicBezTo>
                        <a:pt x="400" y="250"/>
                        <a:pt x="400" y="250"/>
                        <a:pt x="400" y="250"/>
                      </a:cubicBezTo>
                      <a:cubicBezTo>
                        <a:pt x="403" y="249"/>
                        <a:pt x="403" y="249"/>
                        <a:pt x="403" y="249"/>
                      </a:cubicBezTo>
                      <a:cubicBezTo>
                        <a:pt x="405" y="249"/>
                        <a:pt x="405" y="249"/>
                        <a:pt x="405" y="249"/>
                      </a:cubicBezTo>
                      <a:cubicBezTo>
                        <a:pt x="406" y="248"/>
                        <a:pt x="406" y="248"/>
                        <a:pt x="406" y="248"/>
                      </a:cubicBezTo>
                      <a:cubicBezTo>
                        <a:pt x="407" y="248"/>
                        <a:pt x="407" y="248"/>
                        <a:pt x="407" y="248"/>
                      </a:cubicBezTo>
                      <a:cubicBezTo>
                        <a:pt x="407" y="250"/>
                        <a:pt x="407" y="250"/>
                        <a:pt x="407" y="250"/>
                      </a:cubicBezTo>
                      <a:cubicBezTo>
                        <a:pt x="408" y="250"/>
                        <a:pt x="408" y="250"/>
                        <a:pt x="408" y="250"/>
                      </a:cubicBezTo>
                      <a:cubicBezTo>
                        <a:pt x="409" y="249"/>
                        <a:pt x="409" y="249"/>
                        <a:pt x="409" y="249"/>
                      </a:cubicBezTo>
                      <a:cubicBezTo>
                        <a:pt x="411" y="248"/>
                        <a:pt x="411" y="248"/>
                        <a:pt x="411" y="248"/>
                      </a:cubicBezTo>
                      <a:cubicBezTo>
                        <a:pt x="415" y="244"/>
                        <a:pt x="415" y="244"/>
                        <a:pt x="415" y="244"/>
                      </a:cubicBezTo>
                      <a:cubicBezTo>
                        <a:pt x="416" y="244"/>
                        <a:pt x="416" y="244"/>
                        <a:pt x="416" y="244"/>
                      </a:cubicBezTo>
                      <a:cubicBezTo>
                        <a:pt x="418" y="243"/>
                        <a:pt x="418" y="243"/>
                        <a:pt x="418" y="243"/>
                      </a:cubicBezTo>
                      <a:cubicBezTo>
                        <a:pt x="420" y="243"/>
                        <a:pt x="420" y="243"/>
                        <a:pt x="420" y="243"/>
                      </a:cubicBezTo>
                      <a:cubicBezTo>
                        <a:pt x="423" y="242"/>
                        <a:pt x="423" y="242"/>
                        <a:pt x="423" y="242"/>
                      </a:cubicBezTo>
                      <a:cubicBezTo>
                        <a:pt x="425" y="242"/>
                        <a:pt x="425" y="242"/>
                        <a:pt x="425" y="242"/>
                      </a:cubicBezTo>
                      <a:cubicBezTo>
                        <a:pt x="431" y="245"/>
                        <a:pt x="431" y="245"/>
                        <a:pt x="431" y="245"/>
                      </a:cubicBezTo>
                      <a:cubicBezTo>
                        <a:pt x="434" y="246"/>
                        <a:pt x="434" y="246"/>
                        <a:pt x="434" y="246"/>
                      </a:cubicBezTo>
                      <a:cubicBezTo>
                        <a:pt x="436" y="246"/>
                        <a:pt x="436" y="246"/>
                        <a:pt x="436" y="246"/>
                      </a:cubicBezTo>
                      <a:cubicBezTo>
                        <a:pt x="437" y="247"/>
                        <a:pt x="437" y="247"/>
                        <a:pt x="437" y="247"/>
                      </a:cubicBezTo>
                      <a:cubicBezTo>
                        <a:pt x="434" y="247"/>
                        <a:pt x="434" y="247"/>
                        <a:pt x="434" y="247"/>
                      </a:cubicBezTo>
                      <a:cubicBezTo>
                        <a:pt x="432" y="248"/>
                        <a:pt x="432" y="248"/>
                        <a:pt x="432" y="248"/>
                      </a:cubicBezTo>
                      <a:cubicBezTo>
                        <a:pt x="430" y="248"/>
                        <a:pt x="430" y="248"/>
                        <a:pt x="430" y="248"/>
                      </a:cubicBezTo>
                      <a:cubicBezTo>
                        <a:pt x="430" y="250"/>
                        <a:pt x="430" y="250"/>
                        <a:pt x="430" y="250"/>
                      </a:cubicBezTo>
                      <a:cubicBezTo>
                        <a:pt x="429" y="251"/>
                        <a:pt x="429" y="251"/>
                        <a:pt x="429" y="251"/>
                      </a:cubicBezTo>
                      <a:cubicBezTo>
                        <a:pt x="420" y="252"/>
                        <a:pt x="420" y="252"/>
                        <a:pt x="420" y="252"/>
                      </a:cubicBezTo>
                      <a:cubicBezTo>
                        <a:pt x="411" y="251"/>
                        <a:pt x="411" y="251"/>
                        <a:pt x="411" y="251"/>
                      </a:cubicBezTo>
                      <a:cubicBezTo>
                        <a:pt x="408" y="251"/>
                        <a:pt x="408" y="251"/>
                        <a:pt x="408" y="251"/>
                      </a:cubicBezTo>
                      <a:cubicBezTo>
                        <a:pt x="404" y="253"/>
                        <a:pt x="404" y="253"/>
                        <a:pt x="404" y="253"/>
                      </a:cubicBezTo>
                      <a:cubicBezTo>
                        <a:pt x="402" y="255"/>
                        <a:pt x="402" y="255"/>
                        <a:pt x="402" y="255"/>
                      </a:cubicBezTo>
                      <a:cubicBezTo>
                        <a:pt x="402" y="258"/>
                        <a:pt x="402" y="258"/>
                        <a:pt x="402" y="258"/>
                      </a:cubicBezTo>
                      <a:cubicBezTo>
                        <a:pt x="401" y="261"/>
                        <a:pt x="401" y="261"/>
                        <a:pt x="401" y="261"/>
                      </a:cubicBezTo>
                      <a:cubicBezTo>
                        <a:pt x="401" y="263"/>
                        <a:pt x="401" y="263"/>
                        <a:pt x="401" y="263"/>
                      </a:cubicBezTo>
                      <a:cubicBezTo>
                        <a:pt x="400" y="264"/>
                        <a:pt x="400" y="264"/>
                        <a:pt x="400" y="264"/>
                      </a:cubicBezTo>
                      <a:cubicBezTo>
                        <a:pt x="400" y="265"/>
                        <a:pt x="400" y="265"/>
                        <a:pt x="400" y="265"/>
                      </a:cubicBezTo>
                      <a:cubicBezTo>
                        <a:pt x="407" y="265"/>
                        <a:pt x="407" y="265"/>
                        <a:pt x="407" y="265"/>
                      </a:cubicBezTo>
                      <a:cubicBezTo>
                        <a:pt x="407" y="269"/>
                        <a:pt x="407" y="269"/>
                        <a:pt x="407" y="269"/>
                      </a:cubicBezTo>
                      <a:cubicBezTo>
                        <a:pt x="408" y="270"/>
                        <a:pt x="408" y="270"/>
                        <a:pt x="408" y="270"/>
                      </a:cubicBezTo>
                      <a:cubicBezTo>
                        <a:pt x="409" y="272"/>
                        <a:pt x="409" y="272"/>
                        <a:pt x="409" y="272"/>
                      </a:cubicBezTo>
                      <a:cubicBezTo>
                        <a:pt x="410" y="273"/>
                        <a:pt x="410" y="273"/>
                        <a:pt x="410" y="273"/>
                      </a:cubicBezTo>
                      <a:cubicBezTo>
                        <a:pt x="409" y="276"/>
                        <a:pt x="409" y="276"/>
                        <a:pt x="409" y="276"/>
                      </a:cubicBezTo>
                      <a:cubicBezTo>
                        <a:pt x="411" y="279"/>
                        <a:pt x="411" y="279"/>
                        <a:pt x="411" y="279"/>
                      </a:cubicBezTo>
                      <a:cubicBezTo>
                        <a:pt x="409" y="282"/>
                        <a:pt x="409" y="282"/>
                        <a:pt x="409" y="282"/>
                      </a:cubicBezTo>
                      <a:cubicBezTo>
                        <a:pt x="415" y="289"/>
                        <a:pt x="415" y="289"/>
                        <a:pt x="415" y="289"/>
                      </a:cubicBezTo>
                      <a:cubicBezTo>
                        <a:pt x="414" y="295"/>
                        <a:pt x="414" y="295"/>
                        <a:pt x="414" y="295"/>
                      </a:cubicBezTo>
                      <a:cubicBezTo>
                        <a:pt x="424" y="299"/>
                        <a:pt x="424" y="299"/>
                        <a:pt x="424" y="299"/>
                      </a:cubicBezTo>
                      <a:cubicBezTo>
                        <a:pt x="425" y="304"/>
                        <a:pt x="425" y="304"/>
                        <a:pt x="425" y="304"/>
                      </a:cubicBezTo>
                      <a:cubicBezTo>
                        <a:pt x="425" y="303"/>
                        <a:pt x="425" y="303"/>
                        <a:pt x="425" y="303"/>
                      </a:cubicBezTo>
                      <a:cubicBezTo>
                        <a:pt x="426" y="303"/>
                        <a:pt x="426" y="303"/>
                        <a:pt x="426" y="303"/>
                      </a:cubicBezTo>
                      <a:cubicBezTo>
                        <a:pt x="426" y="302"/>
                        <a:pt x="426" y="302"/>
                        <a:pt x="426" y="302"/>
                      </a:cubicBezTo>
                      <a:cubicBezTo>
                        <a:pt x="427" y="302"/>
                        <a:pt x="427" y="302"/>
                        <a:pt x="427" y="302"/>
                      </a:cubicBezTo>
                      <a:cubicBezTo>
                        <a:pt x="431" y="304"/>
                        <a:pt x="431" y="304"/>
                        <a:pt x="431" y="304"/>
                      </a:cubicBezTo>
                      <a:cubicBezTo>
                        <a:pt x="432" y="304"/>
                        <a:pt x="432" y="304"/>
                        <a:pt x="432" y="304"/>
                      </a:cubicBezTo>
                      <a:cubicBezTo>
                        <a:pt x="433" y="305"/>
                        <a:pt x="433" y="305"/>
                        <a:pt x="433" y="305"/>
                      </a:cubicBezTo>
                      <a:cubicBezTo>
                        <a:pt x="434" y="307"/>
                        <a:pt x="434" y="307"/>
                        <a:pt x="434" y="307"/>
                      </a:cubicBezTo>
                      <a:cubicBezTo>
                        <a:pt x="436" y="308"/>
                        <a:pt x="436" y="308"/>
                        <a:pt x="436" y="308"/>
                      </a:cubicBezTo>
                      <a:cubicBezTo>
                        <a:pt x="438" y="308"/>
                        <a:pt x="438" y="308"/>
                        <a:pt x="438" y="308"/>
                      </a:cubicBezTo>
                      <a:cubicBezTo>
                        <a:pt x="441" y="309"/>
                        <a:pt x="441" y="309"/>
                        <a:pt x="441" y="309"/>
                      </a:cubicBezTo>
                      <a:cubicBezTo>
                        <a:pt x="451" y="309"/>
                        <a:pt x="451" y="309"/>
                        <a:pt x="451" y="309"/>
                      </a:cubicBezTo>
                      <a:cubicBezTo>
                        <a:pt x="451" y="305"/>
                        <a:pt x="451" y="305"/>
                        <a:pt x="451" y="305"/>
                      </a:cubicBezTo>
                      <a:cubicBezTo>
                        <a:pt x="452" y="303"/>
                        <a:pt x="452" y="303"/>
                        <a:pt x="452" y="303"/>
                      </a:cubicBezTo>
                      <a:cubicBezTo>
                        <a:pt x="454" y="301"/>
                        <a:pt x="454" y="301"/>
                        <a:pt x="454" y="301"/>
                      </a:cubicBezTo>
                      <a:cubicBezTo>
                        <a:pt x="457" y="301"/>
                        <a:pt x="457" y="301"/>
                        <a:pt x="457" y="301"/>
                      </a:cubicBezTo>
                      <a:cubicBezTo>
                        <a:pt x="461" y="302"/>
                        <a:pt x="461" y="302"/>
                        <a:pt x="461" y="302"/>
                      </a:cubicBezTo>
                      <a:cubicBezTo>
                        <a:pt x="467" y="304"/>
                        <a:pt x="467" y="304"/>
                        <a:pt x="467" y="304"/>
                      </a:cubicBezTo>
                      <a:cubicBezTo>
                        <a:pt x="468" y="305"/>
                        <a:pt x="468" y="305"/>
                        <a:pt x="468" y="305"/>
                      </a:cubicBezTo>
                      <a:cubicBezTo>
                        <a:pt x="469" y="305"/>
                        <a:pt x="469" y="305"/>
                        <a:pt x="469" y="305"/>
                      </a:cubicBezTo>
                      <a:cubicBezTo>
                        <a:pt x="469" y="306"/>
                        <a:pt x="469" y="306"/>
                        <a:pt x="469" y="306"/>
                      </a:cubicBezTo>
                      <a:cubicBezTo>
                        <a:pt x="470" y="308"/>
                        <a:pt x="470" y="308"/>
                        <a:pt x="470" y="308"/>
                      </a:cubicBezTo>
                      <a:cubicBezTo>
                        <a:pt x="470" y="309"/>
                        <a:pt x="470" y="309"/>
                        <a:pt x="470" y="309"/>
                      </a:cubicBezTo>
                      <a:cubicBezTo>
                        <a:pt x="471" y="310"/>
                        <a:pt x="471" y="310"/>
                        <a:pt x="471" y="310"/>
                      </a:cubicBezTo>
                      <a:cubicBezTo>
                        <a:pt x="473" y="311"/>
                        <a:pt x="473" y="311"/>
                        <a:pt x="473" y="311"/>
                      </a:cubicBezTo>
                      <a:cubicBezTo>
                        <a:pt x="483" y="311"/>
                        <a:pt x="483" y="311"/>
                        <a:pt x="483" y="311"/>
                      </a:cubicBezTo>
                      <a:cubicBezTo>
                        <a:pt x="485" y="310"/>
                        <a:pt x="485" y="310"/>
                        <a:pt x="485" y="310"/>
                      </a:cubicBezTo>
                      <a:cubicBezTo>
                        <a:pt x="488" y="309"/>
                        <a:pt x="488" y="309"/>
                        <a:pt x="488" y="309"/>
                      </a:cubicBezTo>
                      <a:cubicBezTo>
                        <a:pt x="490" y="307"/>
                        <a:pt x="490" y="307"/>
                        <a:pt x="490" y="307"/>
                      </a:cubicBezTo>
                      <a:cubicBezTo>
                        <a:pt x="492" y="306"/>
                        <a:pt x="492" y="306"/>
                        <a:pt x="492" y="306"/>
                      </a:cubicBezTo>
                      <a:cubicBezTo>
                        <a:pt x="494" y="304"/>
                        <a:pt x="494" y="304"/>
                        <a:pt x="494" y="304"/>
                      </a:cubicBezTo>
                      <a:cubicBezTo>
                        <a:pt x="497" y="303"/>
                        <a:pt x="497" y="303"/>
                        <a:pt x="497" y="303"/>
                      </a:cubicBezTo>
                      <a:cubicBezTo>
                        <a:pt x="499" y="302"/>
                        <a:pt x="499" y="302"/>
                        <a:pt x="499" y="302"/>
                      </a:cubicBezTo>
                      <a:cubicBezTo>
                        <a:pt x="501" y="302"/>
                        <a:pt x="501" y="302"/>
                        <a:pt x="501" y="302"/>
                      </a:cubicBezTo>
                      <a:cubicBezTo>
                        <a:pt x="503" y="303"/>
                        <a:pt x="503" y="303"/>
                        <a:pt x="503" y="303"/>
                      </a:cubicBezTo>
                      <a:cubicBezTo>
                        <a:pt x="504" y="304"/>
                        <a:pt x="504" y="304"/>
                        <a:pt x="504" y="304"/>
                      </a:cubicBezTo>
                      <a:cubicBezTo>
                        <a:pt x="505" y="304"/>
                        <a:pt x="505" y="304"/>
                        <a:pt x="505" y="304"/>
                      </a:cubicBezTo>
                      <a:cubicBezTo>
                        <a:pt x="506" y="305"/>
                        <a:pt x="506" y="305"/>
                        <a:pt x="506" y="305"/>
                      </a:cubicBezTo>
                      <a:cubicBezTo>
                        <a:pt x="508" y="305"/>
                        <a:pt x="508" y="305"/>
                        <a:pt x="508" y="305"/>
                      </a:cubicBezTo>
                      <a:cubicBezTo>
                        <a:pt x="510" y="304"/>
                        <a:pt x="510" y="304"/>
                        <a:pt x="510" y="304"/>
                      </a:cubicBezTo>
                      <a:cubicBezTo>
                        <a:pt x="511" y="302"/>
                        <a:pt x="511" y="302"/>
                        <a:pt x="511" y="302"/>
                      </a:cubicBezTo>
                      <a:cubicBezTo>
                        <a:pt x="513" y="300"/>
                        <a:pt x="513" y="300"/>
                        <a:pt x="513" y="300"/>
                      </a:cubicBezTo>
                      <a:cubicBezTo>
                        <a:pt x="515" y="302"/>
                        <a:pt x="515" y="302"/>
                        <a:pt x="515" y="302"/>
                      </a:cubicBezTo>
                      <a:cubicBezTo>
                        <a:pt x="515" y="304"/>
                        <a:pt x="515" y="304"/>
                        <a:pt x="515" y="304"/>
                      </a:cubicBezTo>
                      <a:cubicBezTo>
                        <a:pt x="514" y="305"/>
                        <a:pt x="514" y="305"/>
                        <a:pt x="514" y="305"/>
                      </a:cubicBezTo>
                      <a:cubicBezTo>
                        <a:pt x="513" y="307"/>
                        <a:pt x="513" y="307"/>
                        <a:pt x="513" y="307"/>
                      </a:cubicBezTo>
                      <a:cubicBezTo>
                        <a:pt x="513" y="308"/>
                        <a:pt x="513" y="308"/>
                        <a:pt x="513" y="308"/>
                      </a:cubicBezTo>
                      <a:cubicBezTo>
                        <a:pt x="512" y="309"/>
                        <a:pt x="512" y="309"/>
                        <a:pt x="512" y="309"/>
                      </a:cubicBezTo>
                      <a:cubicBezTo>
                        <a:pt x="512" y="311"/>
                        <a:pt x="512" y="311"/>
                        <a:pt x="512" y="311"/>
                      </a:cubicBezTo>
                      <a:cubicBezTo>
                        <a:pt x="513" y="312"/>
                        <a:pt x="513" y="312"/>
                        <a:pt x="513" y="312"/>
                      </a:cubicBezTo>
                      <a:cubicBezTo>
                        <a:pt x="513" y="313"/>
                        <a:pt x="513" y="313"/>
                        <a:pt x="513" y="313"/>
                      </a:cubicBezTo>
                      <a:cubicBezTo>
                        <a:pt x="515" y="315"/>
                        <a:pt x="515" y="315"/>
                        <a:pt x="515" y="315"/>
                      </a:cubicBezTo>
                      <a:cubicBezTo>
                        <a:pt x="517" y="315"/>
                        <a:pt x="517" y="315"/>
                        <a:pt x="517" y="315"/>
                      </a:cubicBezTo>
                      <a:cubicBezTo>
                        <a:pt x="517" y="316"/>
                        <a:pt x="517" y="316"/>
                        <a:pt x="517" y="316"/>
                      </a:cubicBezTo>
                      <a:cubicBezTo>
                        <a:pt x="515" y="316"/>
                        <a:pt x="515" y="316"/>
                        <a:pt x="515" y="316"/>
                      </a:cubicBezTo>
                      <a:cubicBezTo>
                        <a:pt x="513" y="314"/>
                        <a:pt x="513" y="314"/>
                        <a:pt x="513" y="314"/>
                      </a:cubicBezTo>
                      <a:cubicBezTo>
                        <a:pt x="511" y="315"/>
                        <a:pt x="511" y="315"/>
                        <a:pt x="511" y="315"/>
                      </a:cubicBezTo>
                      <a:cubicBezTo>
                        <a:pt x="510" y="317"/>
                        <a:pt x="510" y="317"/>
                        <a:pt x="510" y="317"/>
                      </a:cubicBezTo>
                      <a:cubicBezTo>
                        <a:pt x="510" y="320"/>
                        <a:pt x="510" y="320"/>
                        <a:pt x="510" y="320"/>
                      </a:cubicBezTo>
                      <a:cubicBezTo>
                        <a:pt x="509" y="320"/>
                        <a:pt x="509" y="320"/>
                        <a:pt x="509" y="320"/>
                      </a:cubicBezTo>
                      <a:cubicBezTo>
                        <a:pt x="508" y="328"/>
                        <a:pt x="508" y="328"/>
                        <a:pt x="508" y="328"/>
                      </a:cubicBezTo>
                      <a:cubicBezTo>
                        <a:pt x="509" y="329"/>
                        <a:pt x="509" y="329"/>
                        <a:pt x="509" y="329"/>
                      </a:cubicBezTo>
                      <a:cubicBezTo>
                        <a:pt x="511" y="330"/>
                        <a:pt x="511" y="330"/>
                        <a:pt x="511" y="330"/>
                      </a:cubicBezTo>
                      <a:cubicBezTo>
                        <a:pt x="513" y="331"/>
                        <a:pt x="513" y="331"/>
                        <a:pt x="513" y="331"/>
                      </a:cubicBezTo>
                      <a:cubicBezTo>
                        <a:pt x="513" y="332"/>
                        <a:pt x="513" y="332"/>
                        <a:pt x="513" y="332"/>
                      </a:cubicBezTo>
                      <a:cubicBezTo>
                        <a:pt x="515" y="332"/>
                        <a:pt x="515" y="332"/>
                        <a:pt x="515" y="332"/>
                      </a:cubicBezTo>
                      <a:cubicBezTo>
                        <a:pt x="515" y="333"/>
                        <a:pt x="515" y="333"/>
                        <a:pt x="515" y="333"/>
                      </a:cubicBezTo>
                      <a:cubicBezTo>
                        <a:pt x="514" y="333"/>
                        <a:pt x="514" y="333"/>
                        <a:pt x="514" y="333"/>
                      </a:cubicBezTo>
                      <a:cubicBezTo>
                        <a:pt x="513" y="335"/>
                        <a:pt x="513" y="335"/>
                        <a:pt x="513" y="335"/>
                      </a:cubicBezTo>
                      <a:cubicBezTo>
                        <a:pt x="511" y="336"/>
                        <a:pt x="511" y="336"/>
                        <a:pt x="511" y="336"/>
                      </a:cubicBezTo>
                      <a:cubicBezTo>
                        <a:pt x="510" y="337"/>
                        <a:pt x="510" y="337"/>
                        <a:pt x="510" y="337"/>
                      </a:cubicBezTo>
                      <a:cubicBezTo>
                        <a:pt x="508" y="343"/>
                        <a:pt x="508" y="343"/>
                        <a:pt x="508" y="343"/>
                      </a:cubicBezTo>
                      <a:cubicBezTo>
                        <a:pt x="506" y="345"/>
                        <a:pt x="506" y="345"/>
                        <a:pt x="506" y="345"/>
                      </a:cubicBezTo>
                      <a:cubicBezTo>
                        <a:pt x="506" y="348"/>
                        <a:pt x="506" y="348"/>
                        <a:pt x="506" y="348"/>
                      </a:cubicBezTo>
                      <a:cubicBezTo>
                        <a:pt x="504" y="352"/>
                        <a:pt x="504" y="352"/>
                        <a:pt x="504" y="352"/>
                      </a:cubicBezTo>
                      <a:cubicBezTo>
                        <a:pt x="504" y="359"/>
                        <a:pt x="504" y="359"/>
                        <a:pt x="504" y="359"/>
                      </a:cubicBezTo>
                      <a:cubicBezTo>
                        <a:pt x="505" y="359"/>
                        <a:pt x="505" y="359"/>
                        <a:pt x="505" y="359"/>
                      </a:cubicBezTo>
                      <a:cubicBezTo>
                        <a:pt x="506" y="360"/>
                        <a:pt x="506" y="360"/>
                        <a:pt x="506" y="360"/>
                      </a:cubicBezTo>
                      <a:cubicBezTo>
                        <a:pt x="506" y="362"/>
                        <a:pt x="506" y="362"/>
                        <a:pt x="506" y="362"/>
                      </a:cubicBezTo>
                      <a:cubicBezTo>
                        <a:pt x="507" y="363"/>
                        <a:pt x="507" y="363"/>
                        <a:pt x="507" y="363"/>
                      </a:cubicBezTo>
                      <a:cubicBezTo>
                        <a:pt x="507" y="364"/>
                        <a:pt x="507" y="364"/>
                        <a:pt x="507" y="364"/>
                      </a:cubicBezTo>
                      <a:cubicBezTo>
                        <a:pt x="503" y="371"/>
                        <a:pt x="503" y="371"/>
                        <a:pt x="503" y="371"/>
                      </a:cubicBezTo>
                      <a:cubicBezTo>
                        <a:pt x="503" y="374"/>
                        <a:pt x="503" y="374"/>
                        <a:pt x="503" y="374"/>
                      </a:cubicBezTo>
                      <a:cubicBezTo>
                        <a:pt x="500" y="377"/>
                        <a:pt x="500" y="377"/>
                        <a:pt x="500" y="377"/>
                      </a:cubicBezTo>
                      <a:cubicBezTo>
                        <a:pt x="508" y="400"/>
                        <a:pt x="508" y="400"/>
                        <a:pt x="508" y="400"/>
                      </a:cubicBezTo>
                      <a:cubicBezTo>
                        <a:pt x="508" y="400"/>
                        <a:pt x="508" y="400"/>
                        <a:pt x="508" y="400"/>
                      </a:cubicBezTo>
                      <a:cubicBezTo>
                        <a:pt x="508" y="403"/>
                        <a:pt x="508" y="403"/>
                        <a:pt x="508" y="403"/>
                      </a:cubicBezTo>
                      <a:cubicBezTo>
                        <a:pt x="509" y="404"/>
                        <a:pt x="509" y="404"/>
                        <a:pt x="509" y="404"/>
                      </a:cubicBezTo>
                      <a:cubicBezTo>
                        <a:pt x="509" y="412"/>
                        <a:pt x="509" y="412"/>
                        <a:pt x="509" y="412"/>
                      </a:cubicBezTo>
                      <a:cubicBezTo>
                        <a:pt x="508" y="419"/>
                        <a:pt x="508" y="419"/>
                        <a:pt x="508" y="419"/>
                      </a:cubicBezTo>
                      <a:cubicBezTo>
                        <a:pt x="508" y="426"/>
                        <a:pt x="508" y="426"/>
                        <a:pt x="508" y="426"/>
                      </a:cubicBezTo>
                      <a:cubicBezTo>
                        <a:pt x="509" y="430"/>
                        <a:pt x="509" y="430"/>
                        <a:pt x="509" y="430"/>
                      </a:cubicBezTo>
                      <a:cubicBezTo>
                        <a:pt x="512" y="431"/>
                        <a:pt x="512" y="431"/>
                        <a:pt x="512" y="431"/>
                      </a:cubicBezTo>
                      <a:cubicBezTo>
                        <a:pt x="514" y="433"/>
                        <a:pt x="514" y="433"/>
                        <a:pt x="514" y="433"/>
                      </a:cubicBezTo>
                      <a:cubicBezTo>
                        <a:pt x="517" y="433"/>
                        <a:pt x="517" y="433"/>
                        <a:pt x="517" y="433"/>
                      </a:cubicBezTo>
                      <a:cubicBezTo>
                        <a:pt x="520" y="436"/>
                        <a:pt x="520" y="436"/>
                        <a:pt x="520" y="436"/>
                      </a:cubicBezTo>
                      <a:cubicBezTo>
                        <a:pt x="523" y="442"/>
                        <a:pt x="523" y="442"/>
                        <a:pt x="523" y="442"/>
                      </a:cubicBezTo>
                      <a:cubicBezTo>
                        <a:pt x="526" y="448"/>
                        <a:pt x="526" y="448"/>
                        <a:pt x="526" y="448"/>
                      </a:cubicBezTo>
                      <a:cubicBezTo>
                        <a:pt x="529" y="453"/>
                        <a:pt x="529" y="453"/>
                        <a:pt x="529" y="453"/>
                      </a:cubicBezTo>
                      <a:cubicBezTo>
                        <a:pt x="531" y="454"/>
                        <a:pt x="531" y="454"/>
                        <a:pt x="531" y="454"/>
                      </a:cubicBezTo>
                      <a:cubicBezTo>
                        <a:pt x="534" y="456"/>
                        <a:pt x="534" y="456"/>
                        <a:pt x="534" y="456"/>
                      </a:cubicBezTo>
                      <a:cubicBezTo>
                        <a:pt x="536" y="459"/>
                        <a:pt x="536" y="459"/>
                        <a:pt x="536" y="459"/>
                      </a:cubicBezTo>
                      <a:cubicBezTo>
                        <a:pt x="538" y="462"/>
                        <a:pt x="538" y="462"/>
                        <a:pt x="538" y="462"/>
                      </a:cubicBezTo>
                      <a:cubicBezTo>
                        <a:pt x="539" y="464"/>
                        <a:pt x="539" y="464"/>
                        <a:pt x="539" y="464"/>
                      </a:cubicBezTo>
                      <a:cubicBezTo>
                        <a:pt x="540" y="468"/>
                        <a:pt x="540" y="468"/>
                        <a:pt x="540" y="468"/>
                      </a:cubicBezTo>
                      <a:cubicBezTo>
                        <a:pt x="541" y="471"/>
                        <a:pt x="541" y="471"/>
                        <a:pt x="541" y="471"/>
                      </a:cubicBezTo>
                      <a:cubicBezTo>
                        <a:pt x="542" y="475"/>
                        <a:pt x="542" y="475"/>
                        <a:pt x="542" y="475"/>
                      </a:cubicBezTo>
                      <a:cubicBezTo>
                        <a:pt x="544" y="477"/>
                        <a:pt x="544" y="477"/>
                        <a:pt x="544" y="477"/>
                      </a:cubicBezTo>
                      <a:cubicBezTo>
                        <a:pt x="548" y="479"/>
                        <a:pt x="548" y="479"/>
                        <a:pt x="548" y="479"/>
                      </a:cubicBezTo>
                      <a:cubicBezTo>
                        <a:pt x="553" y="479"/>
                        <a:pt x="553" y="479"/>
                        <a:pt x="553" y="479"/>
                      </a:cubicBezTo>
                      <a:cubicBezTo>
                        <a:pt x="556" y="480"/>
                        <a:pt x="556" y="480"/>
                        <a:pt x="556" y="480"/>
                      </a:cubicBezTo>
                      <a:cubicBezTo>
                        <a:pt x="558" y="482"/>
                        <a:pt x="558" y="482"/>
                        <a:pt x="558" y="482"/>
                      </a:cubicBezTo>
                      <a:cubicBezTo>
                        <a:pt x="561" y="487"/>
                        <a:pt x="561" y="487"/>
                        <a:pt x="561" y="487"/>
                      </a:cubicBezTo>
                      <a:cubicBezTo>
                        <a:pt x="564" y="495"/>
                        <a:pt x="564" y="495"/>
                        <a:pt x="564" y="495"/>
                      </a:cubicBezTo>
                      <a:cubicBezTo>
                        <a:pt x="565" y="503"/>
                        <a:pt x="565" y="503"/>
                        <a:pt x="565" y="503"/>
                      </a:cubicBezTo>
                      <a:cubicBezTo>
                        <a:pt x="566" y="509"/>
                        <a:pt x="566" y="509"/>
                        <a:pt x="566" y="509"/>
                      </a:cubicBezTo>
                      <a:cubicBezTo>
                        <a:pt x="567" y="514"/>
                        <a:pt x="567" y="514"/>
                        <a:pt x="567" y="514"/>
                      </a:cubicBezTo>
                      <a:cubicBezTo>
                        <a:pt x="570" y="520"/>
                        <a:pt x="570" y="520"/>
                        <a:pt x="570" y="520"/>
                      </a:cubicBezTo>
                      <a:cubicBezTo>
                        <a:pt x="573" y="523"/>
                        <a:pt x="573" y="523"/>
                        <a:pt x="573" y="523"/>
                      </a:cubicBezTo>
                      <a:cubicBezTo>
                        <a:pt x="574" y="525"/>
                        <a:pt x="574" y="525"/>
                        <a:pt x="574" y="525"/>
                      </a:cubicBezTo>
                      <a:cubicBezTo>
                        <a:pt x="578" y="525"/>
                        <a:pt x="578" y="525"/>
                        <a:pt x="578" y="525"/>
                      </a:cubicBezTo>
                      <a:cubicBezTo>
                        <a:pt x="582" y="527"/>
                        <a:pt x="582" y="527"/>
                        <a:pt x="582" y="527"/>
                      </a:cubicBezTo>
                      <a:cubicBezTo>
                        <a:pt x="585" y="532"/>
                        <a:pt x="585" y="532"/>
                        <a:pt x="585" y="532"/>
                      </a:cubicBezTo>
                      <a:cubicBezTo>
                        <a:pt x="590" y="538"/>
                        <a:pt x="590" y="538"/>
                        <a:pt x="590" y="538"/>
                      </a:cubicBezTo>
                      <a:cubicBezTo>
                        <a:pt x="594" y="546"/>
                        <a:pt x="594" y="546"/>
                        <a:pt x="594" y="546"/>
                      </a:cubicBezTo>
                      <a:cubicBezTo>
                        <a:pt x="602" y="558"/>
                        <a:pt x="602" y="558"/>
                        <a:pt x="602" y="558"/>
                      </a:cubicBezTo>
                      <a:cubicBezTo>
                        <a:pt x="607" y="565"/>
                        <a:pt x="607" y="565"/>
                        <a:pt x="607" y="565"/>
                      </a:cubicBezTo>
                      <a:cubicBezTo>
                        <a:pt x="611" y="571"/>
                        <a:pt x="611" y="571"/>
                        <a:pt x="611" y="571"/>
                      </a:cubicBezTo>
                      <a:cubicBezTo>
                        <a:pt x="613" y="576"/>
                        <a:pt x="613" y="576"/>
                        <a:pt x="613" y="576"/>
                      </a:cubicBezTo>
                      <a:cubicBezTo>
                        <a:pt x="613" y="581"/>
                        <a:pt x="613" y="581"/>
                        <a:pt x="613" y="581"/>
                      </a:cubicBezTo>
                      <a:cubicBezTo>
                        <a:pt x="612" y="582"/>
                        <a:pt x="612" y="582"/>
                        <a:pt x="612" y="582"/>
                      </a:cubicBezTo>
                      <a:cubicBezTo>
                        <a:pt x="610" y="584"/>
                        <a:pt x="610" y="584"/>
                        <a:pt x="610" y="584"/>
                      </a:cubicBezTo>
                      <a:cubicBezTo>
                        <a:pt x="608" y="590"/>
                        <a:pt x="608" y="590"/>
                        <a:pt x="608" y="590"/>
                      </a:cubicBezTo>
                      <a:cubicBezTo>
                        <a:pt x="608" y="591"/>
                        <a:pt x="608" y="591"/>
                        <a:pt x="608" y="591"/>
                      </a:cubicBezTo>
                      <a:cubicBezTo>
                        <a:pt x="611" y="594"/>
                        <a:pt x="611" y="594"/>
                        <a:pt x="611" y="594"/>
                      </a:cubicBezTo>
                      <a:cubicBezTo>
                        <a:pt x="612" y="596"/>
                        <a:pt x="612" y="596"/>
                        <a:pt x="612" y="596"/>
                      </a:cubicBezTo>
                      <a:cubicBezTo>
                        <a:pt x="615" y="597"/>
                        <a:pt x="615" y="597"/>
                        <a:pt x="615" y="597"/>
                      </a:cubicBezTo>
                      <a:cubicBezTo>
                        <a:pt x="612" y="616"/>
                        <a:pt x="612" y="616"/>
                        <a:pt x="612" y="616"/>
                      </a:cubicBezTo>
                      <a:cubicBezTo>
                        <a:pt x="618" y="622"/>
                        <a:pt x="618" y="622"/>
                        <a:pt x="618" y="622"/>
                      </a:cubicBezTo>
                      <a:cubicBezTo>
                        <a:pt x="618" y="624"/>
                        <a:pt x="618" y="624"/>
                        <a:pt x="618" y="624"/>
                      </a:cubicBezTo>
                      <a:cubicBezTo>
                        <a:pt x="619" y="626"/>
                        <a:pt x="619" y="626"/>
                        <a:pt x="619" y="626"/>
                      </a:cubicBezTo>
                      <a:cubicBezTo>
                        <a:pt x="622" y="629"/>
                        <a:pt x="622" y="629"/>
                        <a:pt x="622" y="629"/>
                      </a:cubicBezTo>
                      <a:cubicBezTo>
                        <a:pt x="624" y="630"/>
                        <a:pt x="624" y="630"/>
                        <a:pt x="624" y="630"/>
                      </a:cubicBezTo>
                      <a:cubicBezTo>
                        <a:pt x="628" y="631"/>
                        <a:pt x="628" y="631"/>
                        <a:pt x="628" y="631"/>
                      </a:cubicBezTo>
                      <a:cubicBezTo>
                        <a:pt x="631" y="631"/>
                        <a:pt x="631" y="631"/>
                        <a:pt x="631" y="631"/>
                      </a:cubicBezTo>
                      <a:cubicBezTo>
                        <a:pt x="634" y="630"/>
                        <a:pt x="634" y="630"/>
                        <a:pt x="634" y="630"/>
                      </a:cubicBezTo>
                      <a:cubicBezTo>
                        <a:pt x="637" y="629"/>
                        <a:pt x="637" y="629"/>
                        <a:pt x="637" y="629"/>
                      </a:cubicBezTo>
                      <a:cubicBezTo>
                        <a:pt x="638" y="628"/>
                        <a:pt x="638" y="628"/>
                        <a:pt x="638" y="628"/>
                      </a:cubicBezTo>
                      <a:cubicBezTo>
                        <a:pt x="641" y="622"/>
                        <a:pt x="641" y="622"/>
                        <a:pt x="641" y="622"/>
                      </a:cubicBezTo>
                      <a:cubicBezTo>
                        <a:pt x="643" y="620"/>
                        <a:pt x="643" y="620"/>
                        <a:pt x="643" y="620"/>
                      </a:cubicBezTo>
                      <a:cubicBezTo>
                        <a:pt x="645" y="620"/>
                        <a:pt x="645" y="620"/>
                        <a:pt x="645" y="620"/>
                      </a:cubicBezTo>
                      <a:cubicBezTo>
                        <a:pt x="648" y="621"/>
                        <a:pt x="648" y="621"/>
                        <a:pt x="648" y="621"/>
                      </a:cubicBezTo>
                      <a:cubicBezTo>
                        <a:pt x="655" y="621"/>
                        <a:pt x="655" y="621"/>
                        <a:pt x="655" y="621"/>
                      </a:cubicBezTo>
                      <a:cubicBezTo>
                        <a:pt x="665" y="620"/>
                        <a:pt x="665" y="620"/>
                        <a:pt x="665" y="620"/>
                      </a:cubicBezTo>
                      <a:cubicBezTo>
                        <a:pt x="672" y="619"/>
                        <a:pt x="672" y="619"/>
                        <a:pt x="672" y="619"/>
                      </a:cubicBezTo>
                      <a:cubicBezTo>
                        <a:pt x="676" y="617"/>
                        <a:pt x="676" y="617"/>
                        <a:pt x="676" y="617"/>
                      </a:cubicBezTo>
                      <a:cubicBezTo>
                        <a:pt x="679" y="615"/>
                        <a:pt x="679" y="615"/>
                        <a:pt x="679" y="615"/>
                      </a:cubicBezTo>
                      <a:cubicBezTo>
                        <a:pt x="680" y="612"/>
                        <a:pt x="680" y="612"/>
                        <a:pt x="680" y="612"/>
                      </a:cubicBezTo>
                      <a:cubicBezTo>
                        <a:pt x="682" y="610"/>
                        <a:pt x="682" y="610"/>
                        <a:pt x="682" y="610"/>
                      </a:cubicBezTo>
                      <a:cubicBezTo>
                        <a:pt x="687" y="608"/>
                        <a:pt x="687" y="608"/>
                        <a:pt x="687" y="608"/>
                      </a:cubicBezTo>
                      <a:cubicBezTo>
                        <a:pt x="689" y="606"/>
                        <a:pt x="689" y="606"/>
                        <a:pt x="689" y="606"/>
                      </a:cubicBezTo>
                      <a:cubicBezTo>
                        <a:pt x="691" y="605"/>
                        <a:pt x="691" y="605"/>
                        <a:pt x="691" y="605"/>
                      </a:cubicBezTo>
                      <a:cubicBezTo>
                        <a:pt x="693" y="603"/>
                        <a:pt x="693" y="603"/>
                        <a:pt x="693" y="603"/>
                      </a:cubicBezTo>
                      <a:cubicBezTo>
                        <a:pt x="696" y="602"/>
                        <a:pt x="696" y="602"/>
                        <a:pt x="696" y="602"/>
                      </a:cubicBezTo>
                      <a:cubicBezTo>
                        <a:pt x="700" y="600"/>
                        <a:pt x="700" y="600"/>
                        <a:pt x="700" y="600"/>
                      </a:cubicBezTo>
                      <a:cubicBezTo>
                        <a:pt x="703" y="599"/>
                        <a:pt x="703" y="599"/>
                        <a:pt x="703" y="599"/>
                      </a:cubicBezTo>
                      <a:cubicBezTo>
                        <a:pt x="706" y="597"/>
                        <a:pt x="706" y="597"/>
                        <a:pt x="706" y="597"/>
                      </a:cubicBezTo>
                      <a:cubicBezTo>
                        <a:pt x="712" y="594"/>
                        <a:pt x="712" y="594"/>
                        <a:pt x="712" y="594"/>
                      </a:cubicBezTo>
                      <a:cubicBezTo>
                        <a:pt x="724" y="594"/>
                        <a:pt x="724" y="594"/>
                        <a:pt x="724" y="594"/>
                      </a:cubicBezTo>
                      <a:cubicBezTo>
                        <a:pt x="724" y="593"/>
                        <a:pt x="724" y="593"/>
                        <a:pt x="724" y="593"/>
                      </a:cubicBezTo>
                      <a:cubicBezTo>
                        <a:pt x="726" y="592"/>
                        <a:pt x="726" y="592"/>
                        <a:pt x="726" y="592"/>
                      </a:cubicBezTo>
                      <a:cubicBezTo>
                        <a:pt x="728" y="588"/>
                        <a:pt x="728" y="588"/>
                        <a:pt x="728" y="588"/>
                      </a:cubicBezTo>
                      <a:cubicBezTo>
                        <a:pt x="729" y="585"/>
                        <a:pt x="729" y="585"/>
                        <a:pt x="729" y="585"/>
                      </a:cubicBezTo>
                      <a:cubicBezTo>
                        <a:pt x="731" y="583"/>
                        <a:pt x="731" y="583"/>
                        <a:pt x="731" y="583"/>
                      </a:cubicBezTo>
                      <a:cubicBezTo>
                        <a:pt x="732" y="581"/>
                        <a:pt x="732" y="581"/>
                        <a:pt x="732" y="581"/>
                      </a:cubicBezTo>
                      <a:cubicBezTo>
                        <a:pt x="734" y="580"/>
                        <a:pt x="734" y="580"/>
                        <a:pt x="734" y="580"/>
                      </a:cubicBezTo>
                      <a:cubicBezTo>
                        <a:pt x="734" y="579"/>
                        <a:pt x="734" y="579"/>
                        <a:pt x="734" y="579"/>
                      </a:cubicBezTo>
                      <a:cubicBezTo>
                        <a:pt x="734" y="579"/>
                        <a:pt x="734" y="579"/>
                        <a:pt x="734" y="579"/>
                      </a:cubicBezTo>
                      <a:cubicBezTo>
                        <a:pt x="734" y="579"/>
                        <a:pt x="734" y="579"/>
                        <a:pt x="734" y="579"/>
                      </a:cubicBezTo>
                      <a:cubicBezTo>
                        <a:pt x="736" y="579"/>
                        <a:pt x="736" y="579"/>
                        <a:pt x="736" y="579"/>
                      </a:cubicBezTo>
                      <a:cubicBezTo>
                        <a:pt x="736" y="579"/>
                        <a:pt x="736" y="579"/>
                        <a:pt x="736" y="579"/>
                      </a:cubicBezTo>
                      <a:cubicBezTo>
                        <a:pt x="736" y="579"/>
                        <a:pt x="736" y="579"/>
                        <a:pt x="736" y="579"/>
                      </a:cubicBezTo>
                      <a:cubicBezTo>
                        <a:pt x="739" y="577"/>
                        <a:pt x="739" y="577"/>
                        <a:pt x="739" y="577"/>
                      </a:cubicBezTo>
                      <a:cubicBezTo>
                        <a:pt x="754" y="573"/>
                        <a:pt x="754" y="573"/>
                        <a:pt x="754" y="573"/>
                      </a:cubicBezTo>
                      <a:cubicBezTo>
                        <a:pt x="759" y="571"/>
                        <a:pt x="759" y="571"/>
                        <a:pt x="759" y="571"/>
                      </a:cubicBezTo>
                      <a:cubicBezTo>
                        <a:pt x="762" y="570"/>
                        <a:pt x="762" y="570"/>
                        <a:pt x="762" y="570"/>
                      </a:cubicBezTo>
                      <a:cubicBezTo>
                        <a:pt x="763" y="568"/>
                        <a:pt x="763" y="568"/>
                        <a:pt x="763" y="568"/>
                      </a:cubicBezTo>
                      <a:cubicBezTo>
                        <a:pt x="763" y="566"/>
                        <a:pt x="763" y="566"/>
                        <a:pt x="763" y="566"/>
                      </a:cubicBezTo>
                      <a:cubicBezTo>
                        <a:pt x="764" y="564"/>
                        <a:pt x="764" y="564"/>
                        <a:pt x="764" y="564"/>
                      </a:cubicBezTo>
                      <a:cubicBezTo>
                        <a:pt x="764" y="561"/>
                        <a:pt x="764" y="561"/>
                        <a:pt x="764" y="561"/>
                      </a:cubicBezTo>
                      <a:cubicBezTo>
                        <a:pt x="767" y="561"/>
                        <a:pt x="767" y="561"/>
                        <a:pt x="767" y="561"/>
                      </a:cubicBezTo>
                      <a:cubicBezTo>
                        <a:pt x="769" y="560"/>
                        <a:pt x="769" y="560"/>
                        <a:pt x="769" y="560"/>
                      </a:cubicBezTo>
                      <a:cubicBezTo>
                        <a:pt x="772" y="559"/>
                        <a:pt x="772" y="559"/>
                        <a:pt x="772" y="559"/>
                      </a:cubicBezTo>
                      <a:cubicBezTo>
                        <a:pt x="776" y="556"/>
                        <a:pt x="776" y="556"/>
                        <a:pt x="776" y="556"/>
                      </a:cubicBezTo>
                      <a:cubicBezTo>
                        <a:pt x="777" y="554"/>
                        <a:pt x="777" y="554"/>
                        <a:pt x="777" y="554"/>
                      </a:cubicBezTo>
                      <a:cubicBezTo>
                        <a:pt x="778" y="551"/>
                        <a:pt x="778" y="551"/>
                        <a:pt x="778" y="551"/>
                      </a:cubicBezTo>
                      <a:cubicBezTo>
                        <a:pt x="778" y="549"/>
                        <a:pt x="778" y="549"/>
                        <a:pt x="778" y="549"/>
                      </a:cubicBezTo>
                      <a:cubicBezTo>
                        <a:pt x="779" y="549"/>
                        <a:pt x="779" y="549"/>
                        <a:pt x="779" y="549"/>
                      </a:cubicBezTo>
                      <a:cubicBezTo>
                        <a:pt x="780" y="548"/>
                        <a:pt x="780" y="548"/>
                        <a:pt x="780" y="548"/>
                      </a:cubicBezTo>
                      <a:cubicBezTo>
                        <a:pt x="782" y="547"/>
                        <a:pt x="782" y="547"/>
                        <a:pt x="782" y="547"/>
                      </a:cubicBezTo>
                      <a:cubicBezTo>
                        <a:pt x="785" y="546"/>
                        <a:pt x="785" y="546"/>
                        <a:pt x="785" y="546"/>
                      </a:cubicBezTo>
                      <a:cubicBezTo>
                        <a:pt x="790" y="542"/>
                        <a:pt x="790" y="542"/>
                        <a:pt x="790" y="542"/>
                      </a:cubicBezTo>
                      <a:cubicBezTo>
                        <a:pt x="791" y="540"/>
                        <a:pt x="791" y="540"/>
                        <a:pt x="791" y="540"/>
                      </a:cubicBezTo>
                      <a:cubicBezTo>
                        <a:pt x="791" y="537"/>
                        <a:pt x="791" y="537"/>
                        <a:pt x="791" y="537"/>
                      </a:cubicBezTo>
                      <a:cubicBezTo>
                        <a:pt x="792" y="534"/>
                        <a:pt x="792" y="534"/>
                        <a:pt x="792" y="534"/>
                      </a:cubicBezTo>
                      <a:cubicBezTo>
                        <a:pt x="792" y="528"/>
                        <a:pt x="792" y="528"/>
                        <a:pt x="792" y="528"/>
                      </a:cubicBezTo>
                      <a:cubicBezTo>
                        <a:pt x="793" y="527"/>
                        <a:pt x="793" y="527"/>
                        <a:pt x="793" y="527"/>
                      </a:cubicBezTo>
                      <a:cubicBezTo>
                        <a:pt x="794" y="527"/>
                        <a:pt x="794" y="527"/>
                        <a:pt x="794" y="527"/>
                      </a:cubicBezTo>
                      <a:cubicBezTo>
                        <a:pt x="796" y="528"/>
                        <a:pt x="796" y="528"/>
                        <a:pt x="796" y="528"/>
                      </a:cubicBezTo>
                      <a:cubicBezTo>
                        <a:pt x="797" y="530"/>
                        <a:pt x="797" y="530"/>
                        <a:pt x="797" y="530"/>
                      </a:cubicBezTo>
                      <a:cubicBezTo>
                        <a:pt x="799" y="530"/>
                        <a:pt x="799" y="530"/>
                        <a:pt x="799" y="530"/>
                      </a:cubicBezTo>
                      <a:cubicBezTo>
                        <a:pt x="800" y="528"/>
                        <a:pt x="800" y="528"/>
                        <a:pt x="800" y="528"/>
                      </a:cubicBezTo>
                      <a:cubicBezTo>
                        <a:pt x="802" y="524"/>
                        <a:pt x="802" y="524"/>
                        <a:pt x="802" y="524"/>
                      </a:cubicBezTo>
                      <a:cubicBezTo>
                        <a:pt x="802" y="520"/>
                        <a:pt x="802" y="520"/>
                        <a:pt x="802" y="520"/>
                      </a:cubicBezTo>
                      <a:cubicBezTo>
                        <a:pt x="811" y="511"/>
                        <a:pt x="811" y="511"/>
                        <a:pt x="811" y="511"/>
                      </a:cubicBezTo>
                      <a:cubicBezTo>
                        <a:pt x="811" y="509"/>
                        <a:pt x="811" y="509"/>
                        <a:pt x="811" y="509"/>
                      </a:cubicBezTo>
                      <a:cubicBezTo>
                        <a:pt x="812" y="507"/>
                        <a:pt x="812" y="507"/>
                        <a:pt x="812" y="507"/>
                      </a:cubicBezTo>
                      <a:cubicBezTo>
                        <a:pt x="812" y="498"/>
                        <a:pt x="812" y="498"/>
                        <a:pt x="812" y="498"/>
                      </a:cubicBezTo>
                      <a:lnTo>
                        <a:pt x="810" y="496"/>
                      </a:lnTo>
                      <a:close/>
                      <a:moveTo>
                        <a:pt x="91" y="214"/>
                      </a:moveTo>
                      <a:cubicBezTo>
                        <a:pt x="91" y="213"/>
                        <a:pt x="91" y="213"/>
                        <a:pt x="91" y="213"/>
                      </a:cubicBezTo>
                      <a:cubicBezTo>
                        <a:pt x="92" y="213"/>
                        <a:pt x="92" y="213"/>
                        <a:pt x="92" y="213"/>
                      </a:cubicBezTo>
                      <a:cubicBezTo>
                        <a:pt x="95" y="214"/>
                        <a:pt x="95" y="214"/>
                        <a:pt x="95" y="214"/>
                      </a:cubicBezTo>
                      <a:cubicBezTo>
                        <a:pt x="95" y="215"/>
                        <a:pt x="95" y="215"/>
                        <a:pt x="95" y="215"/>
                      </a:cubicBezTo>
                      <a:cubicBezTo>
                        <a:pt x="94" y="216"/>
                        <a:pt x="94" y="216"/>
                        <a:pt x="94" y="216"/>
                      </a:cubicBezTo>
                      <a:cubicBezTo>
                        <a:pt x="94" y="216"/>
                        <a:pt x="94" y="216"/>
                        <a:pt x="94" y="216"/>
                      </a:cubicBezTo>
                      <a:cubicBezTo>
                        <a:pt x="92" y="214"/>
                        <a:pt x="92" y="214"/>
                        <a:pt x="92" y="214"/>
                      </a:cubicBezTo>
                      <a:lnTo>
                        <a:pt x="91" y="214"/>
                      </a:lnTo>
                      <a:close/>
                      <a:moveTo>
                        <a:pt x="99" y="218"/>
                      </a:moveTo>
                      <a:cubicBezTo>
                        <a:pt x="99" y="218"/>
                        <a:pt x="99" y="218"/>
                        <a:pt x="99" y="218"/>
                      </a:cubicBezTo>
                      <a:cubicBezTo>
                        <a:pt x="93" y="218"/>
                        <a:pt x="93" y="218"/>
                        <a:pt x="93" y="218"/>
                      </a:cubicBezTo>
                      <a:cubicBezTo>
                        <a:pt x="94" y="217"/>
                        <a:pt x="94" y="217"/>
                        <a:pt x="94" y="217"/>
                      </a:cubicBezTo>
                      <a:cubicBezTo>
                        <a:pt x="100" y="217"/>
                        <a:pt x="100" y="217"/>
                        <a:pt x="100" y="217"/>
                      </a:cubicBezTo>
                      <a:cubicBezTo>
                        <a:pt x="99" y="217"/>
                        <a:pt x="99" y="217"/>
                        <a:pt x="99" y="218"/>
                      </a:cubicBezTo>
                      <a:close/>
                      <a:moveTo>
                        <a:pt x="185" y="92"/>
                      </a:moveTo>
                      <a:cubicBezTo>
                        <a:pt x="185" y="92"/>
                        <a:pt x="185" y="92"/>
                        <a:pt x="185" y="92"/>
                      </a:cubicBezTo>
                      <a:cubicBezTo>
                        <a:pt x="185" y="92"/>
                        <a:pt x="185" y="92"/>
                        <a:pt x="185" y="92"/>
                      </a:cubicBezTo>
                      <a:close/>
                      <a:moveTo>
                        <a:pt x="263" y="79"/>
                      </a:moveTo>
                      <a:cubicBezTo>
                        <a:pt x="263" y="79"/>
                        <a:pt x="263" y="79"/>
                        <a:pt x="263" y="79"/>
                      </a:cubicBezTo>
                      <a:cubicBezTo>
                        <a:pt x="263" y="79"/>
                        <a:pt x="263" y="79"/>
                        <a:pt x="263" y="79"/>
                      </a:cubicBezTo>
                      <a:cubicBezTo>
                        <a:pt x="263" y="79"/>
                        <a:pt x="263" y="79"/>
                        <a:pt x="263" y="79"/>
                      </a:cubicBezTo>
                      <a:close/>
                      <a:moveTo>
                        <a:pt x="267" y="184"/>
                      </a:moveTo>
                      <a:cubicBezTo>
                        <a:pt x="266" y="183"/>
                        <a:pt x="266" y="183"/>
                        <a:pt x="266" y="183"/>
                      </a:cubicBezTo>
                      <a:cubicBezTo>
                        <a:pt x="266" y="182"/>
                        <a:pt x="266" y="182"/>
                        <a:pt x="266" y="182"/>
                      </a:cubicBezTo>
                      <a:cubicBezTo>
                        <a:pt x="265" y="184"/>
                        <a:pt x="265" y="184"/>
                        <a:pt x="265" y="184"/>
                      </a:cubicBezTo>
                      <a:cubicBezTo>
                        <a:pt x="261" y="184"/>
                        <a:pt x="261" y="184"/>
                        <a:pt x="261" y="184"/>
                      </a:cubicBezTo>
                      <a:cubicBezTo>
                        <a:pt x="259" y="183"/>
                        <a:pt x="259" y="183"/>
                        <a:pt x="259" y="183"/>
                      </a:cubicBezTo>
                      <a:cubicBezTo>
                        <a:pt x="259" y="181"/>
                        <a:pt x="259" y="181"/>
                        <a:pt x="259" y="181"/>
                      </a:cubicBezTo>
                      <a:cubicBezTo>
                        <a:pt x="261" y="182"/>
                        <a:pt x="261" y="182"/>
                        <a:pt x="261" y="182"/>
                      </a:cubicBezTo>
                      <a:cubicBezTo>
                        <a:pt x="265" y="182"/>
                        <a:pt x="265" y="182"/>
                        <a:pt x="265" y="182"/>
                      </a:cubicBezTo>
                      <a:cubicBezTo>
                        <a:pt x="265" y="181"/>
                        <a:pt x="265" y="181"/>
                        <a:pt x="265" y="181"/>
                      </a:cubicBezTo>
                      <a:cubicBezTo>
                        <a:pt x="266" y="181"/>
                        <a:pt x="266" y="181"/>
                        <a:pt x="266" y="181"/>
                      </a:cubicBezTo>
                      <a:cubicBezTo>
                        <a:pt x="267" y="184"/>
                        <a:pt x="267" y="184"/>
                        <a:pt x="267" y="184"/>
                      </a:cubicBezTo>
                      <a:close/>
                      <a:moveTo>
                        <a:pt x="292" y="208"/>
                      </a:moveTo>
                      <a:cubicBezTo>
                        <a:pt x="290" y="206"/>
                        <a:pt x="290" y="206"/>
                        <a:pt x="290" y="206"/>
                      </a:cubicBezTo>
                      <a:cubicBezTo>
                        <a:pt x="291" y="206"/>
                        <a:pt x="291" y="206"/>
                        <a:pt x="291" y="206"/>
                      </a:cubicBezTo>
                      <a:cubicBezTo>
                        <a:pt x="292" y="208"/>
                        <a:pt x="292" y="208"/>
                        <a:pt x="292" y="208"/>
                      </a:cubicBezTo>
                      <a:close/>
                      <a:moveTo>
                        <a:pt x="315" y="222"/>
                      </a:moveTo>
                      <a:cubicBezTo>
                        <a:pt x="313" y="221"/>
                        <a:pt x="313" y="221"/>
                        <a:pt x="313" y="221"/>
                      </a:cubicBezTo>
                      <a:cubicBezTo>
                        <a:pt x="312" y="221"/>
                        <a:pt x="312" y="221"/>
                        <a:pt x="312" y="221"/>
                      </a:cubicBezTo>
                      <a:cubicBezTo>
                        <a:pt x="311" y="220"/>
                        <a:pt x="311" y="220"/>
                        <a:pt x="311" y="220"/>
                      </a:cubicBezTo>
                      <a:cubicBezTo>
                        <a:pt x="311" y="219"/>
                        <a:pt x="311" y="219"/>
                        <a:pt x="311" y="219"/>
                      </a:cubicBezTo>
                      <a:cubicBezTo>
                        <a:pt x="312" y="218"/>
                        <a:pt x="312" y="218"/>
                        <a:pt x="312" y="218"/>
                      </a:cubicBezTo>
                      <a:cubicBezTo>
                        <a:pt x="313" y="218"/>
                        <a:pt x="313" y="218"/>
                        <a:pt x="313" y="218"/>
                      </a:cubicBezTo>
                      <a:cubicBezTo>
                        <a:pt x="313" y="219"/>
                        <a:pt x="313" y="219"/>
                        <a:pt x="313" y="219"/>
                      </a:cubicBezTo>
                      <a:cubicBezTo>
                        <a:pt x="314" y="219"/>
                        <a:pt x="314" y="219"/>
                        <a:pt x="314" y="219"/>
                      </a:cubicBezTo>
                      <a:cubicBezTo>
                        <a:pt x="316" y="220"/>
                        <a:pt x="316" y="220"/>
                        <a:pt x="316" y="220"/>
                      </a:cubicBezTo>
                      <a:lnTo>
                        <a:pt x="315" y="222"/>
                      </a:lnTo>
                      <a:close/>
                      <a:moveTo>
                        <a:pt x="322" y="226"/>
                      </a:moveTo>
                      <a:cubicBezTo>
                        <a:pt x="322" y="227"/>
                        <a:pt x="322" y="227"/>
                        <a:pt x="322" y="227"/>
                      </a:cubicBezTo>
                      <a:cubicBezTo>
                        <a:pt x="322" y="226"/>
                        <a:pt x="322" y="226"/>
                        <a:pt x="322" y="226"/>
                      </a:cubicBezTo>
                      <a:cubicBezTo>
                        <a:pt x="321" y="227"/>
                        <a:pt x="321" y="227"/>
                        <a:pt x="321" y="227"/>
                      </a:cubicBezTo>
                      <a:cubicBezTo>
                        <a:pt x="320" y="227"/>
                        <a:pt x="320" y="227"/>
                        <a:pt x="320" y="227"/>
                      </a:cubicBezTo>
                      <a:cubicBezTo>
                        <a:pt x="318" y="225"/>
                        <a:pt x="318" y="225"/>
                        <a:pt x="318" y="225"/>
                      </a:cubicBezTo>
                      <a:cubicBezTo>
                        <a:pt x="322" y="225"/>
                        <a:pt x="322" y="225"/>
                        <a:pt x="322" y="225"/>
                      </a:cubicBezTo>
                      <a:cubicBezTo>
                        <a:pt x="322" y="225"/>
                        <a:pt x="322" y="225"/>
                        <a:pt x="322" y="225"/>
                      </a:cubicBezTo>
                      <a:lnTo>
                        <a:pt x="322" y="226"/>
                      </a:lnTo>
                      <a:close/>
                      <a:moveTo>
                        <a:pt x="333" y="231"/>
                      </a:moveTo>
                      <a:cubicBezTo>
                        <a:pt x="333" y="230"/>
                        <a:pt x="333" y="230"/>
                        <a:pt x="333" y="230"/>
                      </a:cubicBezTo>
                      <a:cubicBezTo>
                        <a:pt x="332" y="227"/>
                        <a:pt x="332" y="227"/>
                        <a:pt x="332" y="227"/>
                      </a:cubicBezTo>
                      <a:cubicBezTo>
                        <a:pt x="330" y="227"/>
                        <a:pt x="330" y="227"/>
                        <a:pt x="330" y="227"/>
                      </a:cubicBezTo>
                      <a:cubicBezTo>
                        <a:pt x="332" y="225"/>
                        <a:pt x="332" y="225"/>
                        <a:pt x="332" y="225"/>
                      </a:cubicBezTo>
                      <a:cubicBezTo>
                        <a:pt x="333" y="225"/>
                        <a:pt x="333" y="225"/>
                        <a:pt x="333" y="225"/>
                      </a:cubicBezTo>
                      <a:cubicBezTo>
                        <a:pt x="333" y="225"/>
                        <a:pt x="333" y="225"/>
                        <a:pt x="333" y="225"/>
                      </a:cubicBezTo>
                      <a:cubicBezTo>
                        <a:pt x="334" y="226"/>
                        <a:pt x="334" y="227"/>
                        <a:pt x="334" y="227"/>
                      </a:cubicBezTo>
                      <a:lnTo>
                        <a:pt x="333" y="231"/>
                      </a:lnTo>
                      <a:close/>
                      <a:moveTo>
                        <a:pt x="763" y="464"/>
                      </a:moveTo>
                      <a:cubicBezTo>
                        <a:pt x="763" y="465"/>
                        <a:pt x="763" y="465"/>
                        <a:pt x="763" y="465"/>
                      </a:cubicBezTo>
                      <a:cubicBezTo>
                        <a:pt x="763" y="466"/>
                        <a:pt x="763" y="466"/>
                        <a:pt x="763" y="466"/>
                      </a:cubicBezTo>
                      <a:cubicBezTo>
                        <a:pt x="763" y="466"/>
                        <a:pt x="763" y="466"/>
                        <a:pt x="763" y="466"/>
                      </a:cubicBezTo>
                      <a:cubicBezTo>
                        <a:pt x="762" y="464"/>
                        <a:pt x="762" y="464"/>
                        <a:pt x="762" y="464"/>
                      </a:cubicBezTo>
                      <a:lnTo>
                        <a:pt x="763" y="464"/>
                      </a:lnTo>
                      <a:close/>
                      <a:moveTo>
                        <a:pt x="760" y="474"/>
                      </a:moveTo>
                      <a:cubicBezTo>
                        <a:pt x="762" y="476"/>
                        <a:pt x="762" y="476"/>
                        <a:pt x="762" y="476"/>
                      </a:cubicBezTo>
                      <a:cubicBezTo>
                        <a:pt x="762" y="476"/>
                        <a:pt x="762" y="476"/>
                        <a:pt x="762" y="476"/>
                      </a:cubicBezTo>
                      <a:cubicBezTo>
                        <a:pt x="760" y="474"/>
                        <a:pt x="760" y="474"/>
                        <a:pt x="760" y="474"/>
                      </a:cubicBezTo>
                      <a:close/>
                      <a:moveTo>
                        <a:pt x="606" y="241"/>
                      </a:moveTo>
                      <a:cubicBezTo>
                        <a:pt x="606" y="241"/>
                        <a:pt x="606" y="241"/>
                        <a:pt x="606" y="241"/>
                      </a:cubicBezTo>
                      <a:cubicBezTo>
                        <a:pt x="606" y="241"/>
                        <a:pt x="606" y="241"/>
                        <a:pt x="606" y="241"/>
                      </a:cubicBezTo>
                      <a:close/>
                      <a:moveTo>
                        <a:pt x="518" y="310"/>
                      </a:moveTo>
                      <a:cubicBezTo>
                        <a:pt x="518" y="310"/>
                        <a:pt x="518" y="310"/>
                        <a:pt x="518" y="310"/>
                      </a:cubicBezTo>
                      <a:cubicBezTo>
                        <a:pt x="518" y="310"/>
                        <a:pt x="518" y="310"/>
                        <a:pt x="518" y="310"/>
                      </a:cubicBezTo>
                      <a:close/>
                      <a:moveTo>
                        <a:pt x="517" y="314"/>
                      </a:moveTo>
                      <a:cubicBezTo>
                        <a:pt x="517" y="314"/>
                        <a:pt x="517" y="314"/>
                        <a:pt x="517" y="314"/>
                      </a:cubicBezTo>
                      <a:cubicBezTo>
                        <a:pt x="517" y="315"/>
                        <a:pt x="517" y="315"/>
                        <a:pt x="517" y="315"/>
                      </a:cubicBezTo>
                      <a:lnTo>
                        <a:pt x="517" y="314"/>
                      </a:lnTo>
                      <a:close/>
                      <a:moveTo>
                        <a:pt x="508" y="377"/>
                      </a:moveTo>
                      <a:cubicBezTo>
                        <a:pt x="508" y="377"/>
                        <a:pt x="508" y="377"/>
                        <a:pt x="508" y="377"/>
                      </a:cubicBezTo>
                      <a:cubicBezTo>
                        <a:pt x="508" y="364"/>
                        <a:pt x="508" y="364"/>
                        <a:pt x="508" y="364"/>
                      </a:cubicBezTo>
                      <a:cubicBezTo>
                        <a:pt x="511" y="361"/>
                        <a:pt x="511" y="361"/>
                        <a:pt x="511" y="361"/>
                      </a:cubicBezTo>
                      <a:cubicBezTo>
                        <a:pt x="512" y="361"/>
                        <a:pt x="512" y="361"/>
                        <a:pt x="512" y="361"/>
                      </a:cubicBezTo>
                      <a:cubicBezTo>
                        <a:pt x="508" y="366"/>
                        <a:pt x="508" y="366"/>
                        <a:pt x="508" y="366"/>
                      </a:cubicBezTo>
                      <a:lnTo>
                        <a:pt x="508" y="37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7" name="Freeform 173"/>
                <p:cNvSpPr>
                  <a:spLocks/>
                </p:cNvSpPr>
                <p:nvPr/>
              </p:nvSpPr>
              <p:spPr bwMode="gray">
                <a:xfrm>
                  <a:off x="4905376" y="3749675"/>
                  <a:ext cx="38100" cy="7938"/>
                </a:xfrm>
                <a:custGeom>
                  <a:avLst/>
                  <a:gdLst/>
                  <a:ahLst/>
                  <a:cxnLst>
                    <a:cxn ang="0">
                      <a:pos x="4" y="3"/>
                    </a:cxn>
                    <a:cxn ang="0">
                      <a:pos x="6" y="3"/>
                    </a:cxn>
                    <a:cxn ang="0">
                      <a:pos x="7" y="3"/>
                    </a:cxn>
                    <a:cxn ang="0">
                      <a:pos x="7" y="3"/>
                    </a:cxn>
                    <a:cxn ang="0">
                      <a:pos x="9" y="4"/>
                    </a:cxn>
                    <a:cxn ang="0">
                      <a:pos x="9" y="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11" y="3"/>
                    </a:cxn>
                    <a:cxn ang="0">
                      <a:pos x="12" y="3"/>
                    </a:cxn>
                    <a:cxn ang="0">
                      <a:pos x="13" y="4"/>
                    </a:cxn>
                    <a:cxn ang="0">
                      <a:pos x="15" y="4"/>
                    </a:cxn>
                    <a:cxn ang="0">
                      <a:pos x="16" y="5"/>
                    </a:cxn>
                    <a:cxn ang="0">
                      <a:pos x="16" y="5"/>
                    </a:cxn>
                    <a:cxn ang="0">
                      <a:pos x="16" y="5"/>
                    </a:cxn>
                    <a:cxn ang="0">
                      <a:pos x="18" y="4"/>
                    </a:cxn>
                    <a:cxn ang="0">
                      <a:pos x="21" y="4"/>
                    </a:cxn>
                    <a:cxn ang="0">
                      <a:pos x="21" y="3"/>
                    </a:cxn>
                    <a:cxn ang="0">
                      <a:pos x="23" y="3"/>
                    </a:cxn>
                    <a:cxn ang="0">
                      <a:pos x="23" y="2"/>
                    </a:cxn>
                    <a:cxn ang="0">
                      <a:pos x="24" y="1"/>
                    </a:cxn>
                    <a:cxn ang="0">
                      <a:pos x="24" y="1"/>
                    </a:cxn>
                    <a:cxn ang="0">
                      <a:pos x="24" y="1"/>
                    </a:cxn>
                    <a:cxn ang="0">
                      <a:pos x="22" y="1"/>
                    </a:cxn>
                    <a:cxn ang="0">
                      <a:pos x="21" y="1"/>
                    </a:cxn>
                    <a:cxn ang="0">
                      <a:pos x="21" y="1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17" y="0"/>
                    </a:cxn>
                    <a:cxn ang="0">
                      <a:pos x="16" y="0"/>
                    </a:cxn>
                    <a:cxn ang="0">
                      <a:pos x="15" y="1"/>
                    </a:cxn>
                    <a:cxn ang="0">
                      <a:pos x="14" y="1"/>
                    </a:cxn>
                    <a:cxn ang="0">
                      <a:pos x="14" y="1"/>
                    </a:cxn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13" y="0"/>
                    </a:cxn>
                    <a:cxn ang="0">
                      <a:pos x="11" y="0"/>
                    </a:cxn>
                    <a:cxn ang="0">
                      <a:pos x="10" y="1"/>
                    </a:cxn>
                    <a:cxn ang="0">
                      <a:pos x="7" y="0"/>
                    </a:cxn>
                    <a:cxn ang="0">
                      <a:pos x="6" y="0"/>
                    </a:cxn>
                    <a:cxn ang="0">
                      <a:pos x="5" y="0"/>
                    </a:cxn>
                    <a:cxn ang="0">
                      <a:pos x="4" y="0"/>
                    </a:cxn>
                    <a:cxn ang="0">
                      <a:pos x="3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3" y="0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4" y="3"/>
                    </a:cxn>
                  </a:cxnLst>
                  <a:rect l="0" t="0" r="r" b="b"/>
                  <a:pathLst>
                    <a:path w="24" h="5">
                      <a:moveTo>
                        <a:pt x="4" y="3"/>
                      </a:move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1" y="3"/>
                      </a:lnTo>
                      <a:lnTo>
                        <a:pt x="12" y="3"/>
                      </a:lnTo>
                      <a:lnTo>
                        <a:pt x="13" y="4"/>
                      </a:lnTo>
                      <a:lnTo>
                        <a:pt x="15" y="4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8" y="4"/>
                      </a:lnTo>
                      <a:lnTo>
                        <a:pt x="21" y="4"/>
                      </a:lnTo>
                      <a:lnTo>
                        <a:pt x="21" y="3"/>
                      </a:lnTo>
                      <a:lnTo>
                        <a:pt x="23" y="3"/>
                      </a:lnTo>
                      <a:lnTo>
                        <a:pt x="23" y="2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2" y="1"/>
                      </a:lnTo>
                      <a:lnTo>
                        <a:pt x="21" y="1"/>
                      </a:lnTo>
                      <a:lnTo>
                        <a:pt x="21" y="1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4" y="1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8" name="Freeform 174"/>
                <p:cNvSpPr>
                  <a:spLocks/>
                </p:cNvSpPr>
                <p:nvPr/>
              </p:nvSpPr>
              <p:spPr bwMode="gray">
                <a:xfrm>
                  <a:off x="4894263" y="3816350"/>
                  <a:ext cx="3175" cy="476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79" name="Freeform 175"/>
                <p:cNvSpPr>
                  <a:spLocks/>
                </p:cNvSpPr>
                <p:nvPr/>
              </p:nvSpPr>
              <p:spPr bwMode="gray">
                <a:xfrm>
                  <a:off x="4887913" y="3819525"/>
                  <a:ext cx="6350" cy="3175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2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4" y="1"/>
                    </a:cxn>
                    <a:cxn ang="0">
                      <a:pos x="4" y="1"/>
                    </a:cxn>
                    <a:cxn ang="0">
                      <a:pos x="4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2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0" name="Freeform 176"/>
                <p:cNvSpPr>
                  <a:spLocks/>
                </p:cNvSpPr>
                <p:nvPr/>
              </p:nvSpPr>
              <p:spPr bwMode="gray">
                <a:xfrm>
                  <a:off x="4905376" y="3811588"/>
                  <a:ext cx="4763" cy="4763"/>
                </a:xfrm>
                <a:custGeom>
                  <a:avLst/>
                  <a:gdLst/>
                  <a:ahLst/>
                  <a:cxnLst>
                    <a:cxn ang="0">
                      <a:pos x="1" y="3"/>
                    </a:cxn>
                    <a:cxn ang="0">
                      <a:pos x="3" y="2"/>
                    </a:cxn>
                    <a:cxn ang="0">
                      <a:pos x="3" y="2"/>
                    </a:cxn>
                    <a:cxn ang="0">
                      <a:pos x="3" y="2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0" y="2"/>
                    </a:cxn>
                    <a:cxn ang="0">
                      <a:pos x="1" y="3"/>
                    </a:cxn>
                  </a:cxnLst>
                  <a:rect l="0" t="0" r="r" b="b"/>
                  <a:pathLst>
                    <a:path w="3" h="3">
                      <a:moveTo>
                        <a:pt x="1" y="3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1" name="Freeform 177"/>
                <p:cNvSpPr>
                  <a:spLocks noEditPoints="1"/>
                </p:cNvSpPr>
                <p:nvPr/>
              </p:nvSpPr>
              <p:spPr bwMode="gray">
                <a:xfrm>
                  <a:off x="4846638" y="3802063"/>
                  <a:ext cx="136525" cy="104775"/>
                </a:xfrm>
                <a:custGeom>
                  <a:avLst/>
                  <a:gdLst/>
                  <a:ahLst/>
                  <a:cxnLst>
                    <a:cxn ang="0">
                      <a:pos x="1" y="43"/>
                    </a:cxn>
                    <a:cxn ang="0">
                      <a:pos x="4" y="46"/>
                    </a:cxn>
                    <a:cxn ang="0">
                      <a:pos x="3" y="51"/>
                    </a:cxn>
                    <a:cxn ang="0">
                      <a:pos x="8" y="55"/>
                    </a:cxn>
                    <a:cxn ang="0">
                      <a:pos x="18" y="50"/>
                    </a:cxn>
                    <a:cxn ang="0">
                      <a:pos x="23" y="53"/>
                    </a:cxn>
                    <a:cxn ang="0">
                      <a:pos x="24" y="58"/>
                    </a:cxn>
                    <a:cxn ang="0">
                      <a:pos x="27" y="66"/>
                    </a:cxn>
                    <a:cxn ang="0">
                      <a:pos x="39" y="59"/>
                    </a:cxn>
                    <a:cxn ang="0">
                      <a:pos x="38" y="53"/>
                    </a:cxn>
                    <a:cxn ang="0">
                      <a:pos x="43" y="51"/>
                    </a:cxn>
                    <a:cxn ang="0">
                      <a:pos x="45" y="45"/>
                    </a:cxn>
                    <a:cxn ang="0">
                      <a:pos x="40" y="39"/>
                    </a:cxn>
                    <a:cxn ang="0">
                      <a:pos x="41" y="33"/>
                    </a:cxn>
                    <a:cxn ang="0">
                      <a:pos x="51" y="30"/>
                    </a:cxn>
                    <a:cxn ang="0">
                      <a:pos x="60" y="22"/>
                    </a:cxn>
                    <a:cxn ang="0">
                      <a:pos x="65" y="25"/>
                    </a:cxn>
                    <a:cxn ang="0">
                      <a:pos x="57" y="30"/>
                    </a:cxn>
                    <a:cxn ang="0">
                      <a:pos x="54" y="39"/>
                    </a:cxn>
                    <a:cxn ang="0">
                      <a:pos x="59" y="45"/>
                    </a:cxn>
                    <a:cxn ang="0">
                      <a:pos x="71" y="44"/>
                    </a:cxn>
                    <a:cxn ang="0">
                      <a:pos x="85" y="33"/>
                    </a:cxn>
                    <a:cxn ang="0">
                      <a:pos x="80" y="27"/>
                    </a:cxn>
                    <a:cxn ang="0">
                      <a:pos x="79" y="22"/>
                    </a:cxn>
                    <a:cxn ang="0">
                      <a:pos x="76" y="18"/>
                    </a:cxn>
                    <a:cxn ang="0">
                      <a:pos x="75" y="12"/>
                    </a:cxn>
                    <a:cxn ang="0">
                      <a:pos x="73" y="9"/>
                    </a:cxn>
                    <a:cxn ang="0">
                      <a:pos x="75" y="7"/>
                    </a:cxn>
                    <a:cxn ang="0">
                      <a:pos x="77" y="6"/>
                    </a:cxn>
                    <a:cxn ang="0">
                      <a:pos x="79" y="4"/>
                    </a:cxn>
                    <a:cxn ang="0">
                      <a:pos x="73" y="1"/>
                    </a:cxn>
                    <a:cxn ang="0">
                      <a:pos x="67" y="4"/>
                    </a:cxn>
                    <a:cxn ang="0">
                      <a:pos x="62" y="3"/>
                    </a:cxn>
                    <a:cxn ang="0">
                      <a:pos x="54" y="4"/>
                    </a:cxn>
                    <a:cxn ang="0">
                      <a:pos x="44" y="6"/>
                    </a:cxn>
                    <a:cxn ang="0">
                      <a:pos x="39" y="9"/>
                    </a:cxn>
                    <a:cxn ang="0">
                      <a:pos x="35" y="12"/>
                    </a:cxn>
                    <a:cxn ang="0">
                      <a:pos x="30" y="16"/>
                    </a:cxn>
                    <a:cxn ang="0">
                      <a:pos x="27" y="19"/>
                    </a:cxn>
                    <a:cxn ang="0">
                      <a:pos x="25" y="23"/>
                    </a:cxn>
                    <a:cxn ang="0">
                      <a:pos x="21" y="28"/>
                    </a:cxn>
                    <a:cxn ang="0">
                      <a:pos x="16" y="31"/>
                    </a:cxn>
                    <a:cxn ang="0">
                      <a:pos x="11" y="32"/>
                    </a:cxn>
                    <a:cxn ang="0">
                      <a:pos x="11" y="34"/>
                    </a:cxn>
                    <a:cxn ang="0">
                      <a:pos x="6" y="35"/>
                    </a:cxn>
                    <a:cxn ang="0">
                      <a:pos x="4" y="37"/>
                    </a:cxn>
                    <a:cxn ang="0">
                      <a:pos x="2" y="40"/>
                    </a:cxn>
                    <a:cxn ang="0">
                      <a:pos x="8" y="42"/>
                    </a:cxn>
                    <a:cxn ang="0">
                      <a:pos x="59" y="17"/>
                    </a:cxn>
                    <a:cxn ang="0">
                      <a:pos x="58" y="14"/>
                    </a:cxn>
                    <a:cxn ang="0">
                      <a:pos x="53" y="9"/>
                    </a:cxn>
                    <a:cxn ang="0">
                      <a:pos x="55" y="10"/>
                    </a:cxn>
                    <a:cxn ang="0">
                      <a:pos x="52" y="10"/>
                    </a:cxn>
                    <a:cxn ang="0">
                      <a:pos x="50" y="9"/>
                    </a:cxn>
                    <a:cxn ang="0">
                      <a:pos x="47" y="11"/>
                    </a:cxn>
                    <a:cxn ang="0">
                      <a:pos x="36" y="15"/>
                    </a:cxn>
                    <a:cxn ang="0">
                      <a:pos x="34" y="19"/>
                    </a:cxn>
                    <a:cxn ang="0">
                      <a:pos x="28" y="27"/>
                    </a:cxn>
                    <a:cxn ang="0">
                      <a:pos x="25" y="43"/>
                    </a:cxn>
                    <a:cxn ang="0">
                      <a:pos x="26" y="40"/>
                    </a:cxn>
                    <a:cxn ang="0">
                      <a:pos x="24" y="32"/>
                    </a:cxn>
                    <a:cxn ang="0">
                      <a:pos x="23" y="34"/>
                    </a:cxn>
                    <a:cxn ang="0">
                      <a:pos x="22" y="48"/>
                    </a:cxn>
                  </a:cxnLst>
                  <a:rect l="0" t="0" r="r" b="b"/>
                  <a:pathLst>
                    <a:path w="86" h="66">
                      <a:moveTo>
                        <a:pt x="8" y="42"/>
                      </a:move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2" y="42"/>
                      </a:lnTo>
                      <a:lnTo>
                        <a:pt x="1" y="42"/>
                      </a:lnTo>
                      <a:lnTo>
                        <a:pt x="0" y="42"/>
                      </a:lnTo>
                      <a:lnTo>
                        <a:pt x="1" y="42"/>
                      </a:lnTo>
                      <a:lnTo>
                        <a:pt x="1" y="43"/>
                      </a:lnTo>
                      <a:lnTo>
                        <a:pt x="1" y="43"/>
                      </a:lnTo>
                      <a:lnTo>
                        <a:pt x="1" y="43"/>
                      </a:lnTo>
                      <a:lnTo>
                        <a:pt x="2" y="43"/>
                      </a:lnTo>
                      <a:lnTo>
                        <a:pt x="2" y="44"/>
                      </a:lnTo>
                      <a:lnTo>
                        <a:pt x="1" y="44"/>
                      </a:lnTo>
                      <a:lnTo>
                        <a:pt x="2" y="45"/>
                      </a:lnTo>
                      <a:lnTo>
                        <a:pt x="3" y="45"/>
                      </a:lnTo>
                      <a:lnTo>
                        <a:pt x="5" y="44"/>
                      </a:lnTo>
                      <a:lnTo>
                        <a:pt x="7" y="44"/>
                      </a:lnTo>
                      <a:lnTo>
                        <a:pt x="6" y="45"/>
                      </a:lnTo>
                      <a:lnTo>
                        <a:pt x="5" y="45"/>
                      </a:lnTo>
                      <a:lnTo>
                        <a:pt x="4" y="46"/>
                      </a:lnTo>
                      <a:lnTo>
                        <a:pt x="2" y="46"/>
                      </a:lnTo>
                      <a:lnTo>
                        <a:pt x="3" y="47"/>
                      </a:lnTo>
                      <a:lnTo>
                        <a:pt x="2" y="48"/>
                      </a:lnTo>
                      <a:lnTo>
                        <a:pt x="1" y="48"/>
                      </a:lnTo>
                      <a:lnTo>
                        <a:pt x="1" y="49"/>
                      </a:lnTo>
                      <a:lnTo>
                        <a:pt x="4" y="49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2"/>
                      </a:lnTo>
                      <a:lnTo>
                        <a:pt x="3" y="51"/>
                      </a:lnTo>
                      <a:lnTo>
                        <a:pt x="2" y="51"/>
                      </a:lnTo>
                      <a:lnTo>
                        <a:pt x="2" y="51"/>
                      </a:lnTo>
                      <a:lnTo>
                        <a:pt x="1" y="51"/>
                      </a:lnTo>
                      <a:lnTo>
                        <a:pt x="1" y="52"/>
                      </a:lnTo>
                      <a:lnTo>
                        <a:pt x="2" y="52"/>
                      </a:lnTo>
                      <a:lnTo>
                        <a:pt x="2" y="53"/>
                      </a:lnTo>
                      <a:lnTo>
                        <a:pt x="6" y="54"/>
                      </a:lnTo>
                      <a:lnTo>
                        <a:pt x="5" y="54"/>
                      </a:lnTo>
                      <a:lnTo>
                        <a:pt x="6" y="55"/>
                      </a:lnTo>
                      <a:lnTo>
                        <a:pt x="8" y="55"/>
                      </a:lnTo>
                      <a:lnTo>
                        <a:pt x="8" y="55"/>
                      </a:lnTo>
                      <a:lnTo>
                        <a:pt x="9" y="55"/>
                      </a:lnTo>
                      <a:lnTo>
                        <a:pt x="12" y="54"/>
                      </a:lnTo>
                      <a:lnTo>
                        <a:pt x="12" y="53"/>
                      </a:lnTo>
                      <a:lnTo>
                        <a:pt x="13" y="53"/>
                      </a:lnTo>
                      <a:lnTo>
                        <a:pt x="13" y="52"/>
                      </a:lnTo>
                      <a:lnTo>
                        <a:pt x="16" y="50"/>
                      </a:lnTo>
                      <a:lnTo>
                        <a:pt x="17" y="50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8" y="48"/>
                      </a:lnTo>
                      <a:lnTo>
                        <a:pt x="19" y="49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1" y="50"/>
                      </a:lnTo>
                      <a:lnTo>
                        <a:pt x="21" y="50"/>
                      </a:lnTo>
                      <a:lnTo>
                        <a:pt x="21" y="53"/>
                      </a:lnTo>
                      <a:lnTo>
                        <a:pt x="21" y="53"/>
                      </a:lnTo>
                      <a:lnTo>
                        <a:pt x="22" y="53"/>
                      </a:lnTo>
                      <a:lnTo>
                        <a:pt x="23" y="53"/>
                      </a:lnTo>
                      <a:lnTo>
                        <a:pt x="23" y="54"/>
                      </a:lnTo>
                      <a:lnTo>
                        <a:pt x="23" y="54"/>
                      </a:lnTo>
                      <a:lnTo>
                        <a:pt x="23" y="53"/>
                      </a:lnTo>
                      <a:lnTo>
                        <a:pt x="22" y="53"/>
                      </a:lnTo>
                      <a:lnTo>
                        <a:pt x="22" y="57"/>
                      </a:lnTo>
                      <a:lnTo>
                        <a:pt x="23" y="57"/>
                      </a:lnTo>
                      <a:lnTo>
                        <a:pt x="23" y="57"/>
                      </a:lnTo>
                      <a:lnTo>
                        <a:pt x="24" y="57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5" y="59"/>
                      </a:lnTo>
                      <a:lnTo>
                        <a:pt x="26" y="61"/>
                      </a:lnTo>
                      <a:lnTo>
                        <a:pt x="27" y="61"/>
                      </a:lnTo>
                      <a:lnTo>
                        <a:pt x="27" y="62"/>
                      </a:lnTo>
                      <a:lnTo>
                        <a:pt x="25" y="62"/>
                      </a:lnTo>
                      <a:lnTo>
                        <a:pt x="25" y="63"/>
                      </a:lnTo>
                      <a:lnTo>
                        <a:pt x="26" y="64"/>
                      </a:lnTo>
                      <a:lnTo>
                        <a:pt x="27" y="64"/>
                      </a:lnTo>
                      <a:lnTo>
                        <a:pt x="27" y="65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1" y="66"/>
                      </a:lnTo>
                      <a:lnTo>
                        <a:pt x="32" y="66"/>
                      </a:lnTo>
                      <a:lnTo>
                        <a:pt x="32" y="64"/>
                      </a:lnTo>
                      <a:lnTo>
                        <a:pt x="33" y="63"/>
                      </a:lnTo>
                      <a:lnTo>
                        <a:pt x="33" y="62"/>
                      </a:lnTo>
                      <a:lnTo>
                        <a:pt x="36" y="63"/>
                      </a:lnTo>
                      <a:lnTo>
                        <a:pt x="37" y="63"/>
                      </a:lnTo>
                      <a:lnTo>
                        <a:pt x="39" y="59"/>
                      </a:lnTo>
                      <a:lnTo>
                        <a:pt x="39" y="58"/>
                      </a:lnTo>
                      <a:lnTo>
                        <a:pt x="39" y="58"/>
                      </a:lnTo>
                      <a:lnTo>
                        <a:pt x="39" y="56"/>
                      </a:lnTo>
                      <a:lnTo>
                        <a:pt x="39" y="55"/>
                      </a:lnTo>
                      <a:lnTo>
                        <a:pt x="38" y="55"/>
                      </a:lnTo>
                      <a:lnTo>
                        <a:pt x="39" y="55"/>
                      </a:lnTo>
                      <a:lnTo>
                        <a:pt x="40" y="54"/>
                      </a:lnTo>
                      <a:lnTo>
                        <a:pt x="40" y="54"/>
                      </a:lnTo>
                      <a:lnTo>
                        <a:pt x="39" y="53"/>
                      </a:lnTo>
                      <a:lnTo>
                        <a:pt x="38" y="53"/>
                      </a:lnTo>
                      <a:lnTo>
                        <a:pt x="39" y="52"/>
                      </a:lnTo>
                      <a:lnTo>
                        <a:pt x="39" y="52"/>
                      </a:lnTo>
                      <a:lnTo>
                        <a:pt x="40" y="52"/>
                      </a:lnTo>
                      <a:lnTo>
                        <a:pt x="41" y="52"/>
                      </a:lnTo>
                      <a:lnTo>
                        <a:pt x="41" y="52"/>
                      </a:lnTo>
                      <a:lnTo>
                        <a:pt x="42" y="51"/>
                      </a:lnTo>
                      <a:lnTo>
                        <a:pt x="42" y="51"/>
                      </a:lnTo>
                      <a:lnTo>
                        <a:pt x="42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4" y="51"/>
                      </a:lnTo>
                      <a:lnTo>
                        <a:pt x="44" y="50"/>
                      </a:lnTo>
                      <a:lnTo>
                        <a:pt x="45" y="49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5" y="48"/>
                      </a:lnTo>
                      <a:lnTo>
                        <a:pt x="45" y="48"/>
                      </a:lnTo>
                      <a:lnTo>
                        <a:pt x="46" y="47"/>
                      </a:lnTo>
                      <a:lnTo>
                        <a:pt x="46" y="47"/>
                      </a:lnTo>
                      <a:lnTo>
                        <a:pt x="45" y="45"/>
                      </a:lnTo>
                      <a:lnTo>
                        <a:pt x="45" y="45"/>
                      </a:lnTo>
                      <a:lnTo>
                        <a:pt x="45" y="44"/>
                      </a:lnTo>
                      <a:lnTo>
                        <a:pt x="43" y="43"/>
                      </a:lnTo>
                      <a:lnTo>
                        <a:pt x="42" y="44"/>
                      </a:lnTo>
                      <a:lnTo>
                        <a:pt x="42" y="44"/>
                      </a:lnTo>
                      <a:lnTo>
                        <a:pt x="41" y="43"/>
                      </a:lnTo>
                      <a:lnTo>
                        <a:pt x="40" y="42"/>
                      </a:lnTo>
                      <a:lnTo>
                        <a:pt x="40" y="41"/>
                      </a:lnTo>
                      <a:lnTo>
                        <a:pt x="40" y="40"/>
                      </a:lnTo>
                      <a:lnTo>
                        <a:pt x="40" y="39"/>
                      </a:lnTo>
                      <a:lnTo>
                        <a:pt x="41" y="38"/>
                      </a:lnTo>
                      <a:lnTo>
                        <a:pt x="41" y="38"/>
                      </a:lnTo>
                      <a:lnTo>
                        <a:pt x="41" y="36"/>
                      </a:lnTo>
                      <a:lnTo>
                        <a:pt x="41" y="36"/>
                      </a:lnTo>
                      <a:lnTo>
                        <a:pt x="40" y="35"/>
                      </a:lnTo>
                      <a:lnTo>
                        <a:pt x="40" y="35"/>
                      </a:lnTo>
                      <a:lnTo>
                        <a:pt x="41" y="35"/>
                      </a:lnTo>
                      <a:lnTo>
                        <a:pt x="42" y="35"/>
                      </a:lnTo>
                      <a:lnTo>
                        <a:pt x="42" y="34"/>
                      </a:lnTo>
                      <a:lnTo>
                        <a:pt x="41" y="33"/>
                      </a:lnTo>
                      <a:lnTo>
                        <a:pt x="42" y="33"/>
                      </a:lnTo>
                      <a:lnTo>
                        <a:pt x="43" y="33"/>
                      </a:lnTo>
                      <a:lnTo>
                        <a:pt x="43" y="33"/>
                      </a:lnTo>
                      <a:lnTo>
                        <a:pt x="44" y="33"/>
                      </a:lnTo>
                      <a:lnTo>
                        <a:pt x="45" y="32"/>
                      </a:lnTo>
                      <a:lnTo>
                        <a:pt x="46" y="32"/>
                      </a:lnTo>
                      <a:lnTo>
                        <a:pt x="47" y="31"/>
                      </a:lnTo>
                      <a:lnTo>
                        <a:pt x="49" y="31"/>
                      </a:lnTo>
                      <a:lnTo>
                        <a:pt x="50" y="31"/>
                      </a:lnTo>
                      <a:lnTo>
                        <a:pt x="51" y="30"/>
                      </a:lnTo>
                      <a:lnTo>
                        <a:pt x="51" y="29"/>
                      </a:lnTo>
                      <a:lnTo>
                        <a:pt x="52" y="28"/>
                      </a:lnTo>
                      <a:lnTo>
                        <a:pt x="53" y="27"/>
                      </a:lnTo>
                      <a:lnTo>
                        <a:pt x="52" y="26"/>
                      </a:lnTo>
                      <a:lnTo>
                        <a:pt x="53" y="24"/>
                      </a:lnTo>
                      <a:lnTo>
                        <a:pt x="52" y="22"/>
                      </a:lnTo>
                      <a:lnTo>
                        <a:pt x="54" y="22"/>
                      </a:lnTo>
                      <a:lnTo>
                        <a:pt x="55" y="21"/>
                      </a:lnTo>
                      <a:lnTo>
                        <a:pt x="60" y="21"/>
                      </a:lnTo>
                      <a:lnTo>
                        <a:pt x="60" y="22"/>
                      </a:lnTo>
                      <a:lnTo>
                        <a:pt x="61" y="22"/>
                      </a:lnTo>
                      <a:lnTo>
                        <a:pt x="61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3" y="22"/>
                      </a:lnTo>
                      <a:lnTo>
                        <a:pt x="65" y="23"/>
                      </a:lnTo>
                      <a:lnTo>
                        <a:pt x="65" y="24"/>
                      </a:lnTo>
                      <a:lnTo>
                        <a:pt x="65" y="25"/>
                      </a:lnTo>
                      <a:lnTo>
                        <a:pt x="65" y="25"/>
                      </a:lnTo>
                      <a:lnTo>
                        <a:pt x="64" y="25"/>
                      </a:lnTo>
                      <a:lnTo>
                        <a:pt x="63" y="25"/>
                      </a:lnTo>
                      <a:lnTo>
                        <a:pt x="63" y="25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7"/>
                      </a:lnTo>
                      <a:lnTo>
                        <a:pt x="61" y="27"/>
                      </a:lnTo>
                      <a:lnTo>
                        <a:pt x="59" y="29"/>
                      </a:lnTo>
                      <a:lnTo>
                        <a:pt x="57" y="30"/>
                      </a:lnTo>
                      <a:lnTo>
                        <a:pt x="57" y="30"/>
                      </a:lnTo>
                      <a:lnTo>
                        <a:pt x="56" y="31"/>
                      </a:lnTo>
                      <a:lnTo>
                        <a:pt x="56" y="31"/>
                      </a:lnTo>
                      <a:lnTo>
                        <a:pt x="56" y="32"/>
                      </a:lnTo>
                      <a:lnTo>
                        <a:pt x="55" y="32"/>
                      </a:lnTo>
                      <a:lnTo>
                        <a:pt x="54" y="32"/>
                      </a:lnTo>
                      <a:lnTo>
                        <a:pt x="53" y="34"/>
                      </a:lnTo>
                      <a:lnTo>
                        <a:pt x="53" y="36"/>
                      </a:lnTo>
                      <a:lnTo>
                        <a:pt x="53" y="36"/>
                      </a:lnTo>
                      <a:lnTo>
                        <a:pt x="53" y="38"/>
                      </a:lnTo>
                      <a:lnTo>
                        <a:pt x="54" y="39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4" y="41"/>
                      </a:lnTo>
                      <a:lnTo>
                        <a:pt x="54" y="42"/>
                      </a:lnTo>
                      <a:lnTo>
                        <a:pt x="54" y="43"/>
                      </a:lnTo>
                      <a:lnTo>
                        <a:pt x="54" y="43"/>
                      </a:lnTo>
                      <a:lnTo>
                        <a:pt x="54" y="44"/>
                      </a:lnTo>
                      <a:lnTo>
                        <a:pt x="55" y="44"/>
                      </a:lnTo>
                      <a:lnTo>
                        <a:pt x="56" y="45"/>
                      </a:lnTo>
                      <a:lnTo>
                        <a:pt x="59" y="45"/>
                      </a:lnTo>
                      <a:lnTo>
                        <a:pt x="59" y="46"/>
                      </a:lnTo>
                      <a:lnTo>
                        <a:pt x="58" y="46"/>
                      </a:lnTo>
                      <a:lnTo>
                        <a:pt x="58" y="46"/>
                      </a:lnTo>
                      <a:lnTo>
                        <a:pt x="59" y="47"/>
                      </a:lnTo>
                      <a:lnTo>
                        <a:pt x="63" y="47"/>
                      </a:lnTo>
                      <a:lnTo>
                        <a:pt x="63" y="46"/>
                      </a:lnTo>
                      <a:lnTo>
                        <a:pt x="65" y="46"/>
                      </a:lnTo>
                      <a:lnTo>
                        <a:pt x="66" y="46"/>
                      </a:lnTo>
                      <a:lnTo>
                        <a:pt x="68" y="46"/>
                      </a:lnTo>
                      <a:lnTo>
                        <a:pt x="71" y="44"/>
                      </a:lnTo>
                      <a:lnTo>
                        <a:pt x="76" y="44"/>
                      </a:lnTo>
                      <a:lnTo>
                        <a:pt x="75" y="43"/>
                      </a:lnTo>
                      <a:lnTo>
                        <a:pt x="79" y="42"/>
                      </a:lnTo>
                      <a:lnTo>
                        <a:pt x="82" y="38"/>
                      </a:lnTo>
                      <a:lnTo>
                        <a:pt x="83" y="38"/>
                      </a:lnTo>
                      <a:lnTo>
                        <a:pt x="85" y="36"/>
                      </a:lnTo>
                      <a:lnTo>
                        <a:pt x="85" y="35"/>
                      </a:lnTo>
                      <a:lnTo>
                        <a:pt x="86" y="35"/>
                      </a:lnTo>
                      <a:lnTo>
                        <a:pt x="86" y="34"/>
                      </a:lnTo>
                      <a:lnTo>
                        <a:pt x="85" y="33"/>
                      </a:lnTo>
                      <a:lnTo>
                        <a:pt x="85" y="33"/>
                      </a:lnTo>
                      <a:lnTo>
                        <a:pt x="85" y="32"/>
                      </a:lnTo>
                      <a:lnTo>
                        <a:pt x="80" y="30"/>
                      </a:lnTo>
                      <a:lnTo>
                        <a:pt x="81" y="30"/>
                      </a:lnTo>
                      <a:lnTo>
                        <a:pt x="82" y="29"/>
                      </a:lnTo>
                      <a:lnTo>
                        <a:pt x="82" y="29"/>
                      </a:lnTo>
                      <a:lnTo>
                        <a:pt x="82" y="28"/>
                      </a:lnTo>
                      <a:lnTo>
                        <a:pt x="81" y="28"/>
                      </a:lnTo>
                      <a:lnTo>
                        <a:pt x="80" y="27"/>
                      </a:lnTo>
                      <a:lnTo>
                        <a:pt x="80" y="27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25"/>
                      </a:lnTo>
                      <a:lnTo>
                        <a:pt x="80" y="25"/>
                      </a:lnTo>
                      <a:lnTo>
                        <a:pt x="79" y="25"/>
                      </a:lnTo>
                      <a:lnTo>
                        <a:pt x="79" y="25"/>
                      </a:lnTo>
                      <a:lnTo>
                        <a:pt x="79" y="24"/>
                      </a:lnTo>
                      <a:lnTo>
                        <a:pt x="78" y="24"/>
                      </a:lnTo>
                      <a:lnTo>
                        <a:pt x="78" y="22"/>
                      </a:lnTo>
                      <a:lnTo>
                        <a:pt x="79" y="22"/>
                      </a:lnTo>
                      <a:lnTo>
                        <a:pt x="79" y="22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1"/>
                      </a:lnTo>
                      <a:lnTo>
                        <a:pt x="79" y="21"/>
                      </a:lnTo>
                      <a:lnTo>
                        <a:pt x="78" y="20"/>
                      </a:lnTo>
                      <a:lnTo>
                        <a:pt x="77" y="19"/>
                      </a:lnTo>
                      <a:lnTo>
                        <a:pt x="77" y="18"/>
                      </a:lnTo>
                      <a:lnTo>
                        <a:pt x="76" y="18"/>
                      </a:lnTo>
                      <a:lnTo>
                        <a:pt x="75" y="17"/>
                      </a:lnTo>
                      <a:lnTo>
                        <a:pt x="75" y="17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77" y="16"/>
                      </a:lnTo>
                      <a:lnTo>
                        <a:pt x="78" y="15"/>
                      </a:lnTo>
                      <a:lnTo>
                        <a:pt x="78" y="15"/>
                      </a:lnTo>
                      <a:lnTo>
                        <a:pt x="78" y="14"/>
                      </a:lnTo>
                      <a:lnTo>
                        <a:pt x="75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3" y="12"/>
                      </a:lnTo>
                      <a:lnTo>
                        <a:pt x="73" y="12"/>
                      </a:lnTo>
                      <a:lnTo>
                        <a:pt x="73" y="11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4" y="10"/>
                      </a:lnTo>
                      <a:lnTo>
                        <a:pt x="74" y="9"/>
                      </a:lnTo>
                      <a:lnTo>
                        <a:pt x="73" y="9"/>
                      </a:lnTo>
                      <a:lnTo>
                        <a:pt x="73" y="7"/>
                      </a:lnTo>
                      <a:lnTo>
                        <a:pt x="74" y="7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4" y="7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5" y="7"/>
                      </a:lnTo>
                      <a:lnTo>
                        <a:pt x="75" y="8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4" y="9"/>
                      </a:lnTo>
                      <a:lnTo>
                        <a:pt x="75" y="9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77" y="7"/>
                      </a:lnTo>
                      <a:lnTo>
                        <a:pt x="77" y="6"/>
                      </a:lnTo>
                      <a:lnTo>
                        <a:pt x="79" y="6"/>
                      </a:lnTo>
                      <a:lnTo>
                        <a:pt x="80" y="6"/>
                      </a:lnTo>
                      <a:lnTo>
                        <a:pt x="80" y="6"/>
                      </a:lnTo>
                      <a:lnTo>
                        <a:pt x="78" y="6"/>
                      </a:lnTo>
                      <a:lnTo>
                        <a:pt x="76" y="5"/>
                      </a:lnTo>
                      <a:lnTo>
                        <a:pt x="74" y="5"/>
                      </a:lnTo>
                      <a:lnTo>
                        <a:pt x="77" y="5"/>
                      </a:lnTo>
                      <a:lnTo>
                        <a:pt x="78" y="4"/>
                      </a:lnTo>
                      <a:lnTo>
                        <a:pt x="79" y="4"/>
                      </a:lnTo>
                      <a:lnTo>
                        <a:pt x="79" y="4"/>
                      </a:lnTo>
                      <a:lnTo>
                        <a:pt x="80" y="4"/>
                      </a:lnTo>
                      <a:lnTo>
                        <a:pt x="79" y="3"/>
                      </a:lnTo>
                      <a:lnTo>
                        <a:pt x="79" y="3"/>
                      </a:lnTo>
                      <a:lnTo>
                        <a:pt x="78" y="2"/>
                      </a:lnTo>
                      <a:lnTo>
                        <a:pt x="77" y="2"/>
                      </a:lnTo>
                      <a:lnTo>
                        <a:pt x="76" y="2"/>
                      </a:lnTo>
                      <a:lnTo>
                        <a:pt x="74" y="1"/>
                      </a:lnTo>
                      <a:lnTo>
                        <a:pt x="74" y="1"/>
                      </a:lnTo>
                      <a:lnTo>
                        <a:pt x="73" y="1"/>
                      </a:lnTo>
                      <a:lnTo>
                        <a:pt x="73" y="1"/>
                      </a:lnTo>
                      <a:lnTo>
                        <a:pt x="73" y="2"/>
                      </a:lnTo>
                      <a:lnTo>
                        <a:pt x="73" y="2"/>
                      </a:lnTo>
                      <a:lnTo>
                        <a:pt x="72" y="3"/>
                      </a:lnTo>
                      <a:lnTo>
                        <a:pt x="71" y="3"/>
                      </a:lnTo>
                      <a:lnTo>
                        <a:pt x="71" y="3"/>
                      </a:lnTo>
                      <a:lnTo>
                        <a:pt x="72" y="1"/>
                      </a:lnTo>
                      <a:lnTo>
                        <a:pt x="68" y="0"/>
                      </a:lnTo>
                      <a:lnTo>
                        <a:pt x="68" y="1"/>
                      </a:lnTo>
                      <a:lnTo>
                        <a:pt x="68" y="2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4"/>
                      </a:lnTo>
                      <a:lnTo>
                        <a:pt x="66" y="3"/>
                      </a:lnTo>
                      <a:lnTo>
                        <a:pt x="66" y="2"/>
                      </a:lnTo>
                      <a:lnTo>
                        <a:pt x="65" y="2"/>
                      </a:lnTo>
                      <a:lnTo>
                        <a:pt x="64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3"/>
                      </a:lnTo>
                      <a:lnTo>
                        <a:pt x="64" y="1"/>
                      </a:lnTo>
                      <a:lnTo>
                        <a:pt x="64" y="1"/>
                      </a:lnTo>
                      <a:lnTo>
                        <a:pt x="65" y="0"/>
                      </a:lnTo>
                      <a:lnTo>
                        <a:pt x="63" y="0"/>
                      </a:lnTo>
                      <a:lnTo>
                        <a:pt x="62" y="1"/>
                      </a:lnTo>
                      <a:lnTo>
                        <a:pt x="60" y="1"/>
                      </a:lnTo>
                      <a:lnTo>
                        <a:pt x="58" y="2"/>
                      </a:lnTo>
                      <a:lnTo>
                        <a:pt x="57" y="2"/>
                      </a:lnTo>
                      <a:lnTo>
                        <a:pt x="56" y="4"/>
                      </a:lnTo>
                      <a:lnTo>
                        <a:pt x="54" y="4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0" y="5"/>
                      </a:lnTo>
                      <a:lnTo>
                        <a:pt x="49" y="5"/>
                      </a:lnTo>
                      <a:lnTo>
                        <a:pt x="49" y="7"/>
                      </a:lnTo>
                      <a:lnTo>
                        <a:pt x="47" y="8"/>
                      </a:lnTo>
                      <a:lnTo>
                        <a:pt x="47" y="5"/>
                      </a:lnTo>
                      <a:lnTo>
                        <a:pt x="45" y="5"/>
                      </a:lnTo>
                      <a:lnTo>
                        <a:pt x="46" y="7"/>
                      </a:lnTo>
                      <a:lnTo>
                        <a:pt x="44" y="6"/>
                      </a:lnTo>
                      <a:lnTo>
                        <a:pt x="44" y="8"/>
                      </a:lnTo>
                      <a:lnTo>
                        <a:pt x="43" y="8"/>
                      </a:lnTo>
                      <a:lnTo>
                        <a:pt x="43" y="6"/>
                      </a:lnTo>
                      <a:lnTo>
                        <a:pt x="44" y="5"/>
                      </a:lnTo>
                      <a:lnTo>
                        <a:pt x="44" y="5"/>
                      </a:lnTo>
                      <a:lnTo>
                        <a:pt x="42" y="5"/>
                      </a:lnTo>
                      <a:lnTo>
                        <a:pt x="42" y="7"/>
                      </a:lnTo>
                      <a:lnTo>
                        <a:pt x="40" y="8"/>
                      </a:lnTo>
                      <a:lnTo>
                        <a:pt x="41" y="9"/>
                      </a:lnTo>
                      <a:lnTo>
                        <a:pt x="39" y="9"/>
                      </a:lnTo>
                      <a:lnTo>
                        <a:pt x="40" y="10"/>
                      </a:lnTo>
                      <a:lnTo>
                        <a:pt x="37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39" y="12"/>
                      </a:lnTo>
                      <a:lnTo>
                        <a:pt x="37" y="11"/>
                      </a:lnTo>
                      <a:lnTo>
                        <a:pt x="35" y="11"/>
                      </a:lnTo>
                      <a:lnTo>
                        <a:pt x="37" y="12"/>
                      </a:lnTo>
                      <a:lnTo>
                        <a:pt x="36" y="13"/>
                      </a:lnTo>
                      <a:lnTo>
                        <a:pt x="35" y="12"/>
                      </a:lnTo>
                      <a:lnTo>
                        <a:pt x="34" y="12"/>
                      </a:lnTo>
                      <a:lnTo>
                        <a:pt x="34" y="13"/>
                      </a:lnTo>
                      <a:lnTo>
                        <a:pt x="32" y="13"/>
                      </a:lnTo>
                      <a:lnTo>
                        <a:pt x="32" y="13"/>
                      </a:lnTo>
                      <a:lnTo>
                        <a:pt x="33" y="14"/>
                      </a:lnTo>
                      <a:lnTo>
                        <a:pt x="33" y="15"/>
                      </a:lnTo>
                      <a:lnTo>
                        <a:pt x="31" y="14"/>
                      </a:lnTo>
                      <a:lnTo>
                        <a:pt x="31" y="15"/>
                      </a:lnTo>
                      <a:lnTo>
                        <a:pt x="33" y="16"/>
                      </a:lnTo>
                      <a:lnTo>
                        <a:pt x="30" y="16"/>
                      </a:lnTo>
                      <a:lnTo>
                        <a:pt x="30" y="17"/>
                      </a:lnTo>
                      <a:lnTo>
                        <a:pt x="29" y="17"/>
                      </a:lnTo>
                      <a:lnTo>
                        <a:pt x="29" y="17"/>
                      </a:lnTo>
                      <a:lnTo>
                        <a:pt x="28" y="17"/>
                      </a:lnTo>
                      <a:lnTo>
                        <a:pt x="28" y="17"/>
                      </a:lnTo>
                      <a:lnTo>
                        <a:pt x="27" y="17"/>
                      </a:lnTo>
                      <a:lnTo>
                        <a:pt x="27" y="18"/>
                      </a:lnTo>
                      <a:lnTo>
                        <a:pt x="28" y="18"/>
                      </a:lnTo>
                      <a:lnTo>
                        <a:pt x="27" y="18"/>
                      </a:lnTo>
                      <a:lnTo>
                        <a:pt x="27" y="19"/>
                      </a:lnTo>
                      <a:lnTo>
                        <a:pt x="27" y="19"/>
                      </a:lnTo>
                      <a:lnTo>
                        <a:pt x="27" y="20"/>
                      </a:lnTo>
                      <a:lnTo>
                        <a:pt x="29" y="20"/>
                      </a:lnTo>
                      <a:lnTo>
                        <a:pt x="28" y="20"/>
                      </a:lnTo>
                      <a:lnTo>
                        <a:pt x="26" y="20"/>
                      </a:lnTo>
                      <a:lnTo>
                        <a:pt x="25" y="20"/>
                      </a:lnTo>
                      <a:lnTo>
                        <a:pt x="25" y="21"/>
                      </a:lnTo>
                      <a:lnTo>
                        <a:pt x="25" y="21"/>
                      </a:lnTo>
                      <a:lnTo>
                        <a:pt x="25" y="22"/>
                      </a:lnTo>
                      <a:lnTo>
                        <a:pt x="25" y="23"/>
                      </a:lnTo>
                      <a:lnTo>
                        <a:pt x="24" y="23"/>
                      </a:lnTo>
                      <a:lnTo>
                        <a:pt x="23" y="23"/>
                      </a:lnTo>
                      <a:lnTo>
                        <a:pt x="23" y="24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24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7"/>
                      </a:lnTo>
                      <a:lnTo>
                        <a:pt x="21" y="28"/>
                      </a:lnTo>
                      <a:lnTo>
                        <a:pt x="20" y="28"/>
                      </a:lnTo>
                      <a:lnTo>
                        <a:pt x="20" y="27"/>
                      </a:lnTo>
                      <a:lnTo>
                        <a:pt x="19" y="27"/>
                      </a:lnTo>
                      <a:lnTo>
                        <a:pt x="18" y="29"/>
                      </a:lnTo>
                      <a:lnTo>
                        <a:pt x="17" y="29"/>
                      </a:lnTo>
                      <a:lnTo>
                        <a:pt x="16" y="29"/>
                      </a:lnTo>
                      <a:lnTo>
                        <a:pt x="16" y="30"/>
                      </a:lnTo>
                      <a:lnTo>
                        <a:pt x="17" y="30"/>
                      </a:lnTo>
                      <a:lnTo>
                        <a:pt x="17" y="30"/>
                      </a:lnTo>
                      <a:lnTo>
                        <a:pt x="16" y="31"/>
                      </a:lnTo>
                      <a:lnTo>
                        <a:pt x="15" y="31"/>
                      </a:lnTo>
                      <a:lnTo>
                        <a:pt x="15" y="31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2" y="31"/>
                      </a:lnTo>
                      <a:lnTo>
                        <a:pt x="12" y="31"/>
                      </a:lnTo>
                      <a:lnTo>
                        <a:pt x="11" y="31"/>
                      </a:lnTo>
                      <a:lnTo>
                        <a:pt x="11" y="32"/>
                      </a:lnTo>
                      <a:lnTo>
                        <a:pt x="11" y="32"/>
                      </a:lnTo>
                      <a:lnTo>
                        <a:pt x="12" y="32"/>
                      </a:lnTo>
                      <a:lnTo>
                        <a:pt x="12" y="33"/>
                      </a:lnTo>
                      <a:lnTo>
                        <a:pt x="11" y="33"/>
                      </a:lnTo>
                      <a:lnTo>
                        <a:pt x="11" y="32"/>
                      </a:lnTo>
                      <a:lnTo>
                        <a:pt x="10" y="32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10" y="33"/>
                      </a:lnTo>
                      <a:lnTo>
                        <a:pt x="11" y="34"/>
                      </a:lnTo>
                      <a:lnTo>
                        <a:pt x="11" y="34"/>
                      </a:lnTo>
                      <a:lnTo>
                        <a:pt x="11" y="34"/>
                      </a:lnTo>
                      <a:lnTo>
                        <a:pt x="9" y="34"/>
                      </a:lnTo>
                      <a:lnTo>
                        <a:pt x="9" y="34"/>
                      </a:lnTo>
                      <a:lnTo>
                        <a:pt x="8" y="34"/>
                      </a:lnTo>
                      <a:lnTo>
                        <a:pt x="8" y="35"/>
                      </a:lnTo>
                      <a:lnTo>
                        <a:pt x="8" y="35"/>
                      </a:lnTo>
                      <a:lnTo>
                        <a:pt x="8" y="35"/>
                      </a:lnTo>
                      <a:lnTo>
                        <a:pt x="7" y="35"/>
                      </a:lnTo>
                      <a:lnTo>
                        <a:pt x="6" y="35"/>
                      </a:lnTo>
                      <a:lnTo>
                        <a:pt x="6" y="35"/>
                      </a:lnTo>
                      <a:lnTo>
                        <a:pt x="6" y="35"/>
                      </a:lnTo>
                      <a:lnTo>
                        <a:pt x="6" y="35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7" y="38"/>
                      </a:lnTo>
                      <a:lnTo>
                        <a:pt x="7" y="36"/>
                      </a:lnTo>
                      <a:lnTo>
                        <a:pt x="6" y="36"/>
                      </a:lnTo>
                      <a:lnTo>
                        <a:pt x="6" y="37"/>
                      </a:lnTo>
                      <a:lnTo>
                        <a:pt x="4" y="36"/>
                      </a:lnTo>
                      <a:lnTo>
                        <a:pt x="4" y="37"/>
                      </a:lnTo>
                      <a:lnTo>
                        <a:pt x="4" y="38"/>
                      </a:lnTo>
                      <a:lnTo>
                        <a:pt x="2" y="37"/>
                      </a:lnTo>
                      <a:lnTo>
                        <a:pt x="2" y="38"/>
                      </a:lnTo>
                      <a:lnTo>
                        <a:pt x="5" y="38"/>
                      </a:lnTo>
                      <a:lnTo>
                        <a:pt x="4" y="39"/>
                      </a:lnTo>
                      <a:lnTo>
                        <a:pt x="1" y="38"/>
                      </a:lnTo>
                      <a:lnTo>
                        <a:pt x="1" y="39"/>
                      </a:lnTo>
                      <a:lnTo>
                        <a:pt x="1" y="39"/>
                      </a:lnTo>
                      <a:lnTo>
                        <a:pt x="1" y="40"/>
                      </a:lnTo>
                      <a:lnTo>
                        <a:pt x="2" y="40"/>
                      </a:lnTo>
                      <a:lnTo>
                        <a:pt x="1" y="40"/>
                      </a:lnTo>
                      <a:lnTo>
                        <a:pt x="1" y="41"/>
                      </a:lnTo>
                      <a:lnTo>
                        <a:pt x="1" y="41"/>
                      </a:lnTo>
                      <a:lnTo>
                        <a:pt x="4" y="41"/>
                      </a:lnTo>
                      <a:lnTo>
                        <a:pt x="5" y="42"/>
                      </a:lnTo>
                      <a:lnTo>
                        <a:pt x="6" y="41"/>
                      </a:lnTo>
                      <a:lnTo>
                        <a:pt x="7" y="42"/>
                      </a:lnTo>
                      <a:lnTo>
                        <a:pt x="9" y="41"/>
                      </a:lnTo>
                      <a:lnTo>
                        <a:pt x="8" y="41"/>
                      </a:lnTo>
                      <a:lnTo>
                        <a:pt x="8" y="42"/>
                      </a:lnTo>
                      <a:close/>
                      <a:moveTo>
                        <a:pt x="70" y="5"/>
                      </a:moveTo>
                      <a:lnTo>
                        <a:pt x="71" y="5"/>
                      </a:lnTo>
                      <a:lnTo>
                        <a:pt x="71" y="5"/>
                      </a:lnTo>
                      <a:lnTo>
                        <a:pt x="70" y="5"/>
                      </a:lnTo>
                      <a:lnTo>
                        <a:pt x="70" y="5"/>
                      </a:lnTo>
                      <a:close/>
                      <a:moveTo>
                        <a:pt x="61" y="10"/>
                      </a:moveTo>
                      <a:lnTo>
                        <a:pt x="61" y="10"/>
                      </a:lnTo>
                      <a:lnTo>
                        <a:pt x="61" y="10"/>
                      </a:lnTo>
                      <a:lnTo>
                        <a:pt x="61" y="10"/>
                      </a:lnTo>
                      <a:close/>
                      <a:moveTo>
                        <a:pt x="59" y="17"/>
                      </a:moveTo>
                      <a:lnTo>
                        <a:pt x="59" y="17"/>
                      </a:lnTo>
                      <a:lnTo>
                        <a:pt x="59" y="17"/>
                      </a:lnTo>
                      <a:lnTo>
                        <a:pt x="59" y="18"/>
                      </a:lnTo>
                      <a:lnTo>
                        <a:pt x="58" y="18"/>
                      </a:lnTo>
                      <a:lnTo>
                        <a:pt x="59" y="18"/>
                      </a:lnTo>
                      <a:lnTo>
                        <a:pt x="59" y="17"/>
                      </a:lnTo>
                      <a:close/>
                      <a:moveTo>
                        <a:pt x="58" y="14"/>
                      </a:moveTo>
                      <a:lnTo>
                        <a:pt x="58" y="14"/>
                      </a:lnTo>
                      <a:lnTo>
                        <a:pt x="58" y="14"/>
                      </a:lnTo>
                      <a:lnTo>
                        <a:pt x="58" y="14"/>
                      </a:lnTo>
                      <a:lnTo>
                        <a:pt x="58" y="14"/>
                      </a:lnTo>
                      <a:close/>
                      <a:moveTo>
                        <a:pt x="58" y="12"/>
                      </a:moveTo>
                      <a:lnTo>
                        <a:pt x="58" y="12"/>
                      </a:lnTo>
                      <a:lnTo>
                        <a:pt x="58" y="12"/>
                      </a:lnTo>
                      <a:lnTo>
                        <a:pt x="58" y="12"/>
                      </a:lnTo>
                      <a:lnTo>
                        <a:pt x="58" y="12"/>
                      </a:lnTo>
                      <a:close/>
                      <a:moveTo>
                        <a:pt x="54" y="9"/>
                      </a:moveTo>
                      <a:lnTo>
                        <a:pt x="54" y="9"/>
                      </a:lnTo>
                      <a:lnTo>
                        <a:pt x="54" y="9"/>
                      </a:lnTo>
                      <a:lnTo>
                        <a:pt x="53" y="9"/>
                      </a:lnTo>
                      <a:lnTo>
                        <a:pt x="54" y="9"/>
                      </a:lnTo>
                      <a:close/>
                      <a:moveTo>
                        <a:pt x="55" y="10"/>
                      </a:moveTo>
                      <a:lnTo>
                        <a:pt x="57" y="12"/>
                      </a:lnTo>
                      <a:lnTo>
                        <a:pt x="57" y="12"/>
                      </a:lnTo>
                      <a:lnTo>
                        <a:pt x="57" y="12"/>
                      </a:lnTo>
                      <a:lnTo>
                        <a:pt x="57" y="12"/>
                      </a:lnTo>
                      <a:lnTo>
                        <a:pt x="55" y="11"/>
                      </a:lnTo>
                      <a:lnTo>
                        <a:pt x="53" y="11"/>
                      </a:lnTo>
                      <a:lnTo>
                        <a:pt x="53" y="10"/>
                      </a:lnTo>
                      <a:lnTo>
                        <a:pt x="55" y="10"/>
                      </a:lnTo>
                      <a:close/>
                      <a:moveTo>
                        <a:pt x="52" y="8"/>
                      </a:moveTo>
                      <a:lnTo>
                        <a:pt x="53" y="8"/>
                      </a:lnTo>
                      <a:lnTo>
                        <a:pt x="53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close/>
                      <a:moveTo>
                        <a:pt x="52" y="10"/>
                      </a:move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close/>
                      <a:moveTo>
                        <a:pt x="50" y="9"/>
                      </a:moveTo>
                      <a:lnTo>
                        <a:pt x="50" y="9"/>
                      </a:lnTo>
                      <a:lnTo>
                        <a:pt x="51" y="9"/>
                      </a:lnTo>
                      <a:lnTo>
                        <a:pt x="51" y="9"/>
                      </a:lnTo>
                      <a:lnTo>
                        <a:pt x="52" y="10"/>
                      </a:lnTo>
                      <a:lnTo>
                        <a:pt x="51" y="10"/>
                      </a:lnTo>
                      <a:lnTo>
                        <a:pt x="50" y="9"/>
                      </a:lnTo>
                      <a:lnTo>
                        <a:pt x="50" y="9"/>
                      </a:lnTo>
                      <a:lnTo>
                        <a:pt x="50" y="9"/>
                      </a:lnTo>
                      <a:lnTo>
                        <a:pt x="50" y="9"/>
                      </a:lnTo>
                      <a:lnTo>
                        <a:pt x="50" y="9"/>
                      </a:lnTo>
                      <a:close/>
                      <a:moveTo>
                        <a:pt x="48" y="11"/>
                      </a:moveTo>
                      <a:lnTo>
                        <a:pt x="48" y="11"/>
                      </a:lnTo>
                      <a:lnTo>
                        <a:pt x="47" y="11"/>
                      </a:lnTo>
                      <a:lnTo>
                        <a:pt x="48" y="11"/>
                      </a:lnTo>
                      <a:close/>
                      <a:moveTo>
                        <a:pt x="47" y="11"/>
                      </a:moveTo>
                      <a:lnTo>
                        <a:pt x="47" y="11"/>
                      </a:lnTo>
                      <a:lnTo>
                        <a:pt x="47" y="11"/>
                      </a:lnTo>
                      <a:lnTo>
                        <a:pt x="47" y="11"/>
                      </a:lnTo>
                      <a:lnTo>
                        <a:pt x="47" y="11"/>
                      </a:lnTo>
                      <a:close/>
                      <a:moveTo>
                        <a:pt x="42" y="10"/>
                      </a:moveTo>
                      <a:lnTo>
                        <a:pt x="43" y="10"/>
                      </a:lnTo>
                      <a:lnTo>
                        <a:pt x="43" y="11"/>
                      </a:lnTo>
                      <a:lnTo>
                        <a:pt x="42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2" y="10"/>
                      </a:lnTo>
                      <a:close/>
                      <a:moveTo>
                        <a:pt x="35" y="15"/>
                      </a:moveTo>
                      <a:lnTo>
                        <a:pt x="36" y="15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5" y="15"/>
                      </a:lnTo>
                      <a:lnTo>
                        <a:pt x="35" y="15"/>
                      </a:lnTo>
                      <a:close/>
                      <a:moveTo>
                        <a:pt x="34" y="19"/>
                      </a:moveTo>
                      <a:lnTo>
                        <a:pt x="34" y="19"/>
                      </a:lnTo>
                      <a:lnTo>
                        <a:pt x="34" y="19"/>
                      </a:lnTo>
                      <a:lnTo>
                        <a:pt x="34" y="19"/>
                      </a:lnTo>
                      <a:lnTo>
                        <a:pt x="34" y="19"/>
                      </a:lnTo>
                      <a:close/>
                      <a:moveTo>
                        <a:pt x="34" y="18"/>
                      </a:moveTo>
                      <a:lnTo>
                        <a:pt x="34" y="18"/>
                      </a:lnTo>
                      <a:lnTo>
                        <a:pt x="33" y="18"/>
                      </a:lnTo>
                      <a:lnTo>
                        <a:pt x="34" y="18"/>
                      </a:lnTo>
                      <a:close/>
                      <a:moveTo>
                        <a:pt x="29" y="26"/>
                      </a:moveTo>
                      <a:lnTo>
                        <a:pt x="29" y="27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29" y="27"/>
                      </a:lnTo>
                      <a:lnTo>
                        <a:pt x="28" y="27"/>
                      </a:lnTo>
                      <a:lnTo>
                        <a:pt x="29" y="26"/>
                      </a:lnTo>
                      <a:close/>
                      <a:moveTo>
                        <a:pt x="24" y="43"/>
                      </a:move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3"/>
                      </a:lnTo>
                      <a:lnTo>
                        <a:pt x="24" y="43"/>
                      </a:lnTo>
                      <a:close/>
                      <a:moveTo>
                        <a:pt x="25" y="43"/>
                      </a:moveTo>
                      <a:lnTo>
                        <a:pt x="25" y="43"/>
                      </a:lnTo>
                      <a:lnTo>
                        <a:pt x="25" y="43"/>
                      </a:lnTo>
                      <a:lnTo>
                        <a:pt x="25" y="43"/>
                      </a:lnTo>
                      <a:lnTo>
                        <a:pt x="25" y="43"/>
                      </a:lnTo>
                      <a:close/>
                      <a:moveTo>
                        <a:pt x="25" y="44"/>
                      </a:moveTo>
                      <a:lnTo>
                        <a:pt x="25" y="44"/>
                      </a:lnTo>
                      <a:lnTo>
                        <a:pt x="25" y="44"/>
                      </a:lnTo>
                      <a:lnTo>
                        <a:pt x="25" y="44"/>
                      </a:lnTo>
                      <a:lnTo>
                        <a:pt x="25" y="44"/>
                      </a:lnTo>
                      <a:close/>
                      <a:moveTo>
                        <a:pt x="24" y="39"/>
                      </a:moveTo>
                      <a:lnTo>
                        <a:pt x="25" y="39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5" y="39"/>
                      </a:lnTo>
                      <a:lnTo>
                        <a:pt x="25" y="39"/>
                      </a:lnTo>
                      <a:lnTo>
                        <a:pt x="24" y="39"/>
                      </a:lnTo>
                      <a:lnTo>
                        <a:pt x="24" y="38"/>
                      </a:lnTo>
                      <a:lnTo>
                        <a:pt x="24" y="39"/>
                      </a:lnTo>
                      <a:close/>
                      <a:moveTo>
                        <a:pt x="23" y="32"/>
                      </a:moveTo>
                      <a:lnTo>
                        <a:pt x="23" y="32"/>
                      </a:lnTo>
                      <a:lnTo>
                        <a:pt x="23" y="32"/>
                      </a:lnTo>
                      <a:lnTo>
                        <a:pt x="24" y="32"/>
                      </a:lnTo>
                      <a:lnTo>
                        <a:pt x="24" y="33"/>
                      </a:lnTo>
                      <a:lnTo>
                        <a:pt x="24" y="32"/>
                      </a:lnTo>
                      <a:lnTo>
                        <a:pt x="23" y="32"/>
                      </a:lnTo>
                      <a:lnTo>
                        <a:pt x="23" y="32"/>
                      </a:lnTo>
                      <a:lnTo>
                        <a:pt x="23" y="32"/>
                      </a:lnTo>
                      <a:close/>
                      <a:moveTo>
                        <a:pt x="23" y="34"/>
                      </a:moveTo>
                      <a:lnTo>
                        <a:pt x="24" y="35"/>
                      </a:lnTo>
                      <a:lnTo>
                        <a:pt x="24" y="36"/>
                      </a:lnTo>
                      <a:lnTo>
                        <a:pt x="23" y="34"/>
                      </a:lnTo>
                      <a:lnTo>
                        <a:pt x="23" y="34"/>
                      </a:lnTo>
                      <a:close/>
                      <a:moveTo>
                        <a:pt x="23" y="46"/>
                      </a:moveTo>
                      <a:lnTo>
                        <a:pt x="23" y="47"/>
                      </a:lnTo>
                      <a:lnTo>
                        <a:pt x="23" y="47"/>
                      </a:lnTo>
                      <a:lnTo>
                        <a:pt x="23" y="46"/>
                      </a:lnTo>
                      <a:lnTo>
                        <a:pt x="23" y="46"/>
                      </a:lnTo>
                      <a:close/>
                      <a:moveTo>
                        <a:pt x="22" y="48"/>
                      </a:moveTo>
                      <a:lnTo>
                        <a:pt x="22" y="48"/>
                      </a:lnTo>
                      <a:lnTo>
                        <a:pt x="23" y="48"/>
                      </a:lnTo>
                      <a:lnTo>
                        <a:pt x="23" y="49"/>
                      </a:lnTo>
                      <a:lnTo>
                        <a:pt x="22" y="48"/>
                      </a:lnTo>
                      <a:lnTo>
                        <a:pt x="22" y="48"/>
                      </a:lnTo>
                      <a:close/>
                      <a:moveTo>
                        <a:pt x="18" y="47"/>
                      </a:moveTo>
                      <a:lnTo>
                        <a:pt x="19" y="47"/>
                      </a:lnTo>
                      <a:lnTo>
                        <a:pt x="18" y="47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2" name="Freeform 178"/>
                <p:cNvSpPr>
                  <a:spLocks/>
                </p:cNvSpPr>
                <p:nvPr/>
              </p:nvSpPr>
              <p:spPr bwMode="gray">
                <a:xfrm>
                  <a:off x="4897438" y="3817938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3" name="Freeform 179"/>
                <p:cNvSpPr>
                  <a:spLocks/>
                </p:cNvSpPr>
                <p:nvPr/>
              </p:nvSpPr>
              <p:spPr bwMode="gray">
                <a:xfrm>
                  <a:off x="4897438" y="3814763"/>
                  <a:ext cx="4763" cy="1588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4" name="Freeform 180"/>
                <p:cNvSpPr>
                  <a:spLocks/>
                </p:cNvSpPr>
                <p:nvPr/>
              </p:nvSpPr>
              <p:spPr bwMode="gray">
                <a:xfrm>
                  <a:off x="4932363" y="3805238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5" name="Freeform 181"/>
                <p:cNvSpPr>
                  <a:spLocks/>
                </p:cNvSpPr>
                <p:nvPr/>
              </p:nvSpPr>
              <p:spPr bwMode="gray">
                <a:xfrm>
                  <a:off x="4918076" y="3808413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6" name="Freeform 182"/>
                <p:cNvSpPr>
                  <a:spLocks/>
                </p:cNvSpPr>
                <p:nvPr/>
              </p:nvSpPr>
              <p:spPr bwMode="gray">
                <a:xfrm>
                  <a:off x="4876801" y="3751263"/>
                  <a:ext cx="58738" cy="19050"/>
                </a:xfrm>
                <a:custGeom>
                  <a:avLst/>
                  <a:gdLst/>
                  <a:ahLst/>
                  <a:cxnLst>
                    <a:cxn ang="0">
                      <a:pos x="2" y="3"/>
                    </a:cxn>
                    <a:cxn ang="0">
                      <a:pos x="3" y="4"/>
                    </a:cxn>
                    <a:cxn ang="0">
                      <a:pos x="1" y="5"/>
                    </a:cxn>
                    <a:cxn ang="0">
                      <a:pos x="4" y="6"/>
                    </a:cxn>
                    <a:cxn ang="0">
                      <a:pos x="6" y="6"/>
                    </a:cxn>
                    <a:cxn ang="0">
                      <a:pos x="7" y="7"/>
                    </a:cxn>
                    <a:cxn ang="0">
                      <a:pos x="11" y="5"/>
                    </a:cxn>
                    <a:cxn ang="0">
                      <a:pos x="12" y="6"/>
                    </a:cxn>
                    <a:cxn ang="0">
                      <a:pos x="11" y="6"/>
                    </a:cxn>
                    <a:cxn ang="0">
                      <a:pos x="9" y="7"/>
                    </a:cxn>
                    <a:cxn ang="0">
                      <a:pos x="10" y="8"/>
                    </a:cxn>
                    <a:cxn ang="0">
                      <a:pos x="12" y="8"/>
                    </a:cxn>
                    <a:cxn ang="0">
                      <a:pos x="11" y="9"/>
                    </a:cxn>
                    <a:cxn ang="0">
                      <a:pos x="9" y="9"/>
                    </a:cxn>
                    <a:cxn ang="0">
                      <a:pos x="9" y="10"/>
                    </a:cxn>
                    <a:cxn ang="0">
                      <a:pos x="12" y="11"/>
                    </a:cxn>
                    <a:cxn ang="0">
                      <a:pos x="13" y="11"/>
                    </a:cxn>
                    <a:cxn ang="0">
                      <a:pos x="15" y="12"/>
                    </a:cxn>
                    <a:cxn ang="0">
                      <a:pos x="17" y="11"/>
                    </a:cxn>
                    <a:cxn ang="0">
                      <a:pos x="18" y="11"/>
                    </a:cxn>
                    <a:cxn ang="0">
                      <a:pos x="17" y="10"/>
                    </a:cxn>
                    <a:cxn ang="0">
                      <a:pos x="17" y="9"/>
                    </a:cxn>
                    <a:cxn ang="0">
                      <a:pos x="18" y="9"/>
                    </a:cxn>
                    <a:cxn ang="0">
                      <a:pos x="20" y="9"/>
                    </a:cxn>
                    <a:cxn ang="0">
                      <a:pos x="21" y="7"/>
                    </a:cxn>
                    <a:cxn ang="0">
                      <a:pos x="23" y="6"/>
                    </a:cxn>
                    <a:cxn ang="0">
                      <a:pos x="25" y="6"/>
                    </a:cxn>
                    <a:cxn ang="0">
                      <a:pos x="27" y="6"/>
                    </a:cxn>
                    <a:cxn ang="0">
                      <a:pos x="28" y="8"/>
                    </a:cxn>
                    <a:cxn ang="0">
                      <a:pos x="27" y="9"/>
                    </a:cxn>
                    <a:cxn ang="0">
                      <a:pos x="30" y="9"/>
                    </a:cxn>
                    <a:cxn ang="0">
                      <a:pos x="31" y="10"/>
                    </a:cxn>
                    <a:cxn ang="0">
                      <a:pos x="32" y="10"/>
                    </a:cxn>
                    <a:cxn ang="0">
                      <a:pos x="33" y="10"/>
                    </a:cxn>
                    <a:cxn ang="0">
                      <a:pos x="35" y="9"/>
                    </a:cxn>
                    <a:cxn ang="0">
                      <a:pos x="36" y="8"/>
                    </a:cxn>
                    <a:cxn ang="0">
                      <a:pos x="37" y="8"/>
                    </a:cxn>
                    <a:cxn ang="0">
                      <a:pos x="36" y="7"/>
                    </a:cxn>
                    <a:cxn ang="0">
                      <a:pos x="33" y="6"/>
                    </a:cxn>
                    <a:cxn ang="0">
                      <a:pos x="30" y="5"/>
                    </a:cxn>
                    <a:cxn ang="0">
                      <a:pos x="28" y="4"/>
                    </a:cxn>
                    <a:cxn ang="0">
                      <a:pos x="24" y="3"/>
                    </a:cxn>
                    <a:cxn ang="0">
                      <a:pos x="21" y="3"/>
                    </a:cxn>
                    <a:cxn ang="0">
                      <a:pos x="18" y="2"/>
                    </a:cxn>
                    <a:cxn ang="0">
                      <a:pos x="18" y="1"/>
                    </a:cxn>
                    <a:cxn ang="0">
                      <a:pos x="13" y="0"/>
                    </a:cxn>
                    <a:cxn ang="0">
                      <a:pos x="13" y="1"/>
                    </a:cxn>
                    <a:cxn ang="0">
                      <a:pos x="13" y="2"/>
                    </a:cxn>
                    <a:cxn ang="0">
                      <a:pos x="14" y="3"/>
                    </a:cxn>
                    <a:cxn ang="0">
                      <a:pos x="12" y="2"/>
                    </a:cxn>
                    <a:cxn ang="0">
                      <a:pos x="10" y="1"/>
                    </a:cxn>
                    <a:cxn ang="0">
                      <a:pos x="9" y="2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6" y="2"/>
                    </a:cxn>
                    <a:cxn ang="0">
                      <a:pos x="4" y="1"/>
                    </a:cxn>
                    <a:cxn ang="0">
                      <a:pos x="3" y="1"/>
                    </a:cxn>
                    <a:cxn ang="0">
                      <a:pos x="0" y="2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37" h="12">
                      <a:moveTo>
                        <a:pt x="1" y="3"/>
                      </a:move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7"/>
                      </a:lnTo>
                      <a:lnTo>
                        <a:pt x="7" y="7"/>
                      </a:lnTo>
                      <a:lnTo>
                        <a:pt x="9" y="5"/>
                      </a:lnTo>
                      <a:lnTo>
                        <a:pt x="11" y="5"/>
                      </a:lnTo>
                      <a:lnTo>
                        <a:pt x="13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1" y="6"/>
                      </a:ln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1" y="8"/>
                      </a:lnTo>
                      <a:lnTo>
                        <a:pt x="12" y="8"/>
                      </a:lnTo>
                      <a:lnTo>
                        <a:pt x="12" y="9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9" y="9"/>
                      </a:lnTo>
                      <a:lnTo>
                        <a:pt x="9" y="10"/>
                      </a:lnTo>
                      <a:lnTo>
                        <a:pt x="9" y="10"/>
                      </a:lnTo>
                      <a:lnTo>
                        <a:pt x="12" y="11"/>
                      </a:lnTo>
                      <a:lnTo>
                        <a:pt x="12" y="11"/>
                      </a:lnTo>
                      <a:lnTo>
                        <a:pt x="12" y="11"/>
                      </a:lnTo>
                      <a:lnTo>
                        <a:pt x="13" y="11"/>
                      </a:lnTo>
                      <a:lnTo>
                        <a:pt x="14" y="11"/>
                      </a:lnTo>
                      <a:lnTo>
                        <a:pt x="15" y="12"/>
                      </a:lnTo>
                      <a:lnTo>
                        <a:pt x="16" y="11"/>
                      </a:lnTo>
                      <a:lnTo>
                        <a:pt x="17" y="11"/>
                      </a:lnTo>
                      <a:lnTo>
                        <a:pt x="17" y="11"/>
                      </a:lnTo>
                      <a:lnTo>
                        <a:pt x="18" y="11"/>
                      </a:lnTo>
                      <a:lnTo>
                        <a:pt x="17" y="10"/>
                      </a:lnTo>
                      <a:lnTo>
                        <a:pt x="17" y="10"/>
                      </a:lnTo>
                      <a:lnTo>
                        <a:pt x="17" y="10"/>
                      </a:lnTo>
                      <a:lnTo>
                        <a:pt x="17" y="9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8" y="9"/>
                      </a:lnTo>
                      <a:lnTo>
                        <a:pt x="20" y="9"/>
                      </a:lnTo>
                      <a:lnTo>
                        <a:pt x="20" y="8"/>
                      </a:lnTo>
                      <a:lnTo>
                        <a:pt x="21" y="7"/>
                      </a:lnTo>
                      <a:lnTo>
                        <a:pt x="22" y="5"/>
                      </a:lnTo>
                      <a:lnTo>
                        <a:pt x="23" y="6"/>
                      </a:lnTo>
                      <a:lnTo>
                        <a:pt x="25" y="5"/>
                      </a:lnTo>
                      <a:lnTo>
                        <a:pt x="25" y="6"/>
                      </a:lnTo>
                      <a:lnTo>
                        <a:pt x="26" y="6"/>
                      </a:lnTo>
                      <a:lnTo>
                        <a:pt x="27" y="6"/>
                      </a:lnTo>
                      <a:lnTo>
                        <a:pt x="28" y="7"/>
                      </a:lnTo>
                      <a:lnTo>
                        <a:pt x="28" y="8"/>
                      </a:lnTo>
                      <a:lnTo>
                        <a:pt x="27" y="8"/>
                      </a:lnTo>
                      <a:lnTo>
                        <a:pt x="27" y="9"/>
                      </a:lnTo>
                      <a:lnTo>
                        <a:pt x="27" y="9"/>
                      </a:lnTo>
                      <a:lnTo>
                        <a:pt x="30" y="9"/>
                      </a:lnTo>
                      <a:lnTo>
                        <a:pt x="30" y="10"/>
                      </a:lnTo>
                      <a:lnTo>
                        <a:pt x="31" y="10"/>
                      </a:lnTo>
                      <a:lnTo>
                        <a:pt x="31" y="10"/>
                      </a:lnTo>
                      <a:lnTo>
                        <a:pt x="32" y="10"/>
                      </a:lnTo>
                      <a:lnTo>
                        <a:pt x="32" y="10"/>
                      </a:lnTo>
                      <a:lnTo>
                        <a:pt x="33" y="10"/>
                      </a:lnTo>
                      <a:lnTo>
                        <a:pt x="34" y="9"/>
                      </a:lnTo>
                      <a:lnTo>
                        <a:pt x="35" y="9"/>
                      </a:lnTo>
                      <a:lnTo>
                        <a:pt x="36" y="9"/>
                      </a:lnTo>
                      <a:lnTo>
                        <a:pt x="36" y="8"/>
                      </a:lnTo>
                      <a:lnTo>
                        <a:pt x="37" y="8"/>
                      </a:lnTo>
                      <a:lnTo>
                        <a:pt x="37" y="8"/>
                      </a:lnTo>
                      <a:lnTo>
                        <a:pt x="36" y="8"/>
                      </a:lnTo>
                      <a:lnTo>
                        <a:pt x="36" y="7"/>
                      </a:lnTo>
                      <a:lnTo>
                        <a:pt x="34" y="7"/>
                      </a:lnTo>
                      <a:lnTo>
                        <a:pt x="33" y="6"/>
                      </a:lnTo>
                      <a:lnTo>
                        <a:pt x="30" y="6"/>
                      </a:lnTo>
                      <a:lnTo>
                        <a:pt x="30" y="5"/>
                      </a:lnTo>
                      <a:lnTo>
                        <a:pt x="28" y="5"/>
                      </a:lnTo>
                      <a:lnTo>
                        <a:pt x="28" y="4"/>
                      </a:lnTo>
                      <a:lnTo>
                        <a:pt x="24" y="4"/>
                      </a:lnTo>
                      <a:lnTo>
                        <a:pt x="24" y="3"/>
                      </a:lnTo>
                      <a:lnTo>
                        <a:pt x="22" y="3"/>
                      </a:lnTo>
                      <a:lnTo>
                        <a:pt x="21" y="3"/>
                      </a:lnTo>
                      <a:lnTo>
                        <a:pt x="20" y="2"/>
                      </a:lnTo>
                      <a:lnTo>
                        <a:pt x="18" y="2"/>
                      </a:lnTo>
                      <a:lnTo>
                        <a:pt x="18" y="1"/>
                      </a:lnTo>
                      <a:lnTo>
                        <a:pt x="18" y="1"/>
                      </a:lnTo>
                      <a:lnTo>
                        <a:pt x="17" y="0"/>
                      </a:lnTo>
                      <a:lnTo>
                        <a:pt x="13" y="0"/>
                      </a:lnTo>
                      <a:lnTo>
                        <a:pt x="13" y="1"/>
                      </a:lnTo>
                      <a:lnTo>
                        <a:pt x="13" y="1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4" y="3"/>
                      </a:lnTo>
                      <a:lnTo>
                        <a:pt x="14" y="3"/>
                      </a:lnTo>
                      <a:lnTo>
                        <a:pt x="13" y="3"/>
                      </a:lnTo>
                      <a:lnTo>
                        <a:pt x="12" y="2"/>
                      </a:lnTo>
                      <a:lnTo>
                        <a:pt x="10" y="1"/>
                      </a:lnTo>
                      <a:lnTo>
                        <a:pt x="10" y="1"/>
                      </a:lnTo>
                      <a:lnTo>
                        <a:pt x="9" y="1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4" y="1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7" name="Freeform 183"/>
                <p:cNvSpPr>
                  <a:spLocks/>
                </p:cNvSpPr>
                <p:nvPr/>
              </p:nvSpPr>
              <p:spPr bwMode="gray">
                <a:xfrm>
                  <a:off x="4900613" y="3816350"/>
                  <a:ext cx="4763" cy="31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2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" h="2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8" name="Freeform 184"/>
                <p:cNvSpPr>
                  <a:spLocks/>
                </p:cNvSpPr>
                <p:nvPr/>
              </p:nvSpPr>
              <p:spPr bwMode="gray">
                <a:xfrm>
                  <a:off x="4875213" y="3757613"/>
                  <a:ext cx="7938" cy="4763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1" y="2"/>
                    </a:cxn>
                    <a:cxn ang="0">
                      <a:pos x="2" y="2"/>
                    </a:cxn>
                    <a:cxn ang="0">
                      <a:pos x="3" y="3"/>
                    </a:cxn>
                    <a:cxn ang="0">
                      <a:pos x="5" y="3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5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89" name="Freeform 185"/>
                <p:cNvSpPr>
                  <a:spLocks/>
                </p:cNvSpPr>
                <p:nvPr/>
              </p:nvSpPr>
              <p:spPr bwMode="gray">
                <a:xfrm>
                  <a:off x="4897438" y="4048125"/>
                  <a:ext cx="4763" cy="158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2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0" name="Freeform 186"/>
                <p:cNvSpPr>
                  <a:spLocks/>
                </p:cNvSpPr>
                <p:nvPr/>
              </p:nvSpPr>
              <p:spPr bwMode="gray">
                <a:xfrm>
                  <a:off x="4860926" y="4011613"/>
                  <a:ext cx="11113" cy="15875"/>
                </a:xfrm>
                <a:custGeom>
                  <a:avLst/>
                  <a:gdLst/>
                  <a:ahLst/>
                  <a:cxnLst>
                    <a:cxn ang="0">
                      <a:pos x="6" y="1"/>
                    </a:cxn>
                    <a:cxn ang="0">
                      <a:pos x="6" y="0"/>
                    </a:cxn>
                    <a:cxn ang="0">
                      <a:pos x="5" y="0"/>
                    </a:cxn>
                    <a:cxn ang="0">
                      <a:pos x="5" y="0"/>
                    </a:cxn>
                    <a:cxn ang="0">
                      <a:pos x="3" y="0"/>
                    </a:cxn>
                    <a:cxn ang="0">
                      <a:pos x="3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3"/>
                    </a:cxn>
                    <a:cxn ang="0">
                      <a:pos x="1" y="4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6"/>
                    </a:cxn>
                    <a:cxn ang="0">
                      <a:pos x="1" y="6"/>
                    </a:cxn>
                    <a:cxn ang="0">
                      <a:pos x="1" y="9"/>
                    </a:cxn>
                    <a:cxn ang="0">
                      <a:pos x="1" y="9"/>
                    </a:cxn>
                    <a:cxn ang="0">
                      <a:pos x="2" y="10"/>
                    </a:cxn>
                    <a:cxn ang="0">
                      <a:pos x="2" y="10"/>
                    </a:cxn>
                    <a:cxn ang="0">
                      <a:pos x="3" y="10"/>
                    </a:cxn>
                    <a:cxn ang="0">
                      <a:pos x="3" y="9"/>
                    </a:cxn>
                    <a:cxn ang="0">
                      <a:pos x="3" y="8"/>
                    </a:cxn>
                    <a:cxn ang="0">
                      <a:pos x="4" y="9"/>
                    </a:cxn>
                    <a:cxn ang="0">
                      <a:pos x="5" y="9"/>
                    </a:cxn>
                    <a:cxn ang="0">
                      <a:pos x="5" y="9"/>
                    </a:cxn>
                    <a:cxn ang="0">
                      <a:pos x="5" y="9"/>
                    </a:cxn>
                    <a:cxn ang="0">
                      <a:pos x="6" y="8"/>
                    </a:cxn>
                    <a:cxn ang="0">
                      <a:pos x="6" y="7"/>
                    </a:cxn>
                    <a:cxn ang="0">
                      <a:pos x="6" y="6"/>
                    </a:cxn>
                    <a:cxn ang="0">
                      <a:pos x="6" y="5"/>
                    </a:cxn>
                    <a:cxn ang="0">
                      <a:pos x="6" y="4"/>
                    </a:cxn>
                    <a:cxn ang="0">
                      <a:pos x="5" y="4"/>
                    </a:cxn>
                    <a:cxn ang="0">
                      <a:pos x="5" y="4"/>
                    </a:cxn>
                    <a:cxn ang="0">
                      <a:pos x="6" y="4"/>
                    </a:cxn>
                    <a:cxn ang="0">
                      <a:pos x="6" y="4"/>
                    </a:cxn>
                    <a:cxn ang="0">
                      <a:pos x="7" y="3"/>
                    </a:cxn>
                    <a:cxn ang="0">
                      <a:pos x="7" y="3"/>
                    </a:cxn>
                    <a:cxn ang="0">
                      <a:pos x="6" y="2"/>
                    </a:cxn>
                    <a:cxn ang="0">
                      <a:pos x="6" y="1"/>
                    </a:cxn>
                  </a:cxnLst>
                  <a:rect l="0" t="0" r="r" b="b"/>
                  <a:pathLst>
                    <a:path w="7" h="10">
                      <a:moveTo>
                        <a:pt x="6" y="1"/>
                      </a:move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6" y="8"/>
                      </a:lnTo>
                      <a:lnTo>
                        <a:pt x="6" y="7"/>
                      </a:lnTo>
                      <a:lnTo>
                        <a:pt x="6" y="6"/>
                      </a:lnTo>
                      <a:lnTo>
                        <a:pt x="6" y="5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6" y="2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1" name="Freeform 187"/>
                <p:cNvSpPr>
                  <a:spLocks/>
                </p:cNvSpPr>
                <p:nvPr/>
              </p:nvSpPr>
              <p:spPr bwMode="gray">
                <a:xfrm>
                  <a:off x="4886326" y="4032250"/>
                  <a:ext cx="19050" cy="11113"/>
                </a:xfrm>
                <a:custGeom>
                  <a:avLst/>
                  <a:gdLst/>
                  <a:ahLst/>
                  <a:cxnLst>
                    <a:cxn ang="0">
                      <a:pos x="11" y="1"/>
                    </a:cxn>
                    <a:cxn ang="0">
                      <a:pos x="11" y="1"/>
                    </a:cxn>
                    <a:cxn ang="0">
                      <a:pos x="10" y="0"/>
                    </a:cxn>
                    <a:cxn ang="0">
                      <a:pos x="10" y="0"/>
                    </a:cxn>
                    <a:cxn ang="0">
                      <a:pos x="9" y="1"/>
                    </a:cxn>
                    <a:cxn ang="0">
                      <a:pos x="9" y="1"/>
                    </a:cxn>
                    <a:cxn ang="0">
                      <a:pos x="8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4" y="0"/>
                    </a:cxn>
                    <a:cxn ang="0">
                      <a:pos x="4" y="0"/>
                    </a:cxn>
                    <a:cxn ang="0">
                      <a:pos x="3" y="1"/>
                    </a:cxn>
                    <a:cxn ang="0">
                      <a:pos x="2" y="1"/>
                    </a:cxn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3" y="3"/>
                    </a:cxn>
                    <a:cxn ang="0">
                      <a:pos x="3" y="3"/>
                    </a:cxn>
                    <a:cxn ang="0">
                      <a:pos x="4" y="4"/>
                    </a:cxn>
                    <a:cxn ang="0">
                      <a:pos x="4" y="5"/>
                    </a:cxn>
                    <a:cxn ang="0">
                      <a:pos x="5" y="5"/>
                    </a:cxn>
                    <a:cxn ang="0">
                      <a:pos x="5" y="5"/>
                    </a:cxn>
                    <a:cxn ang="0">
                      <a:pos x="6" y="6"/>
                    </a:cxn>
                    <a:cxn ang="0">
                      <a:pos x="7" y="5"/>
                    </a:cxn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9" y="7"/>
                    </a:cxn>
                    <a:cxn ang="0">
                      <a:pos x="9" y="7"/>
                    </a:cxn>
                    <a:cxn ang="0">
                      <a:pos x="11" y="7"/>
                    </a:cxn>
                    <a:cxn ang="0">
                      <a:pos x="11" y="6"/>
                    </a:cxn>
                    <a:cxn ang="0">
                      <a:pos x="11" y="5"/>
                    </a:cxn>
                    <a:cxn ang="0">
                      <a:pos x="11" y="4"/>
                    </a:cxn>
                    <a:cxn ang="0">
                      <a:pos x="11" y="4"/>
                    </a:cxn>
                    <a:cxn ang="0">
                      <a:pos x="11" y="3"/>
                    </a:cxn>
                    <a:cxn ang="0">
                      <a:pos x="12" y="2"/>
                    </a:cxn>
                    <a:cxn ang="0">
                      <a:pos x="12" y="2"/>
                    </a:cxn>
                    <a:cxn ang="0">
                      <a:pos x="12" y="1"/>
                    </a:cxn>
                    <a:cxn ang="0">
                      <a:pos x="12" y="0"/>
                    </a:cxn>
                    <a:cxn ang="0">
                      <a:pos x="11" y="1"/>
                    </a:cxn>
                  </a:cxnLst>
                  <a:rect l="0" t="0" r="r" b="b"/>
                  <a:pathLst>
                    <a:path w="12" h="7">
                      <a:moveTo>
                        <a:pt x="11" y="1"/>
                      </a:moveTo>
                      <a:lnTo>
                        <a:pt x="11" y="1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6" y="6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9" y="7"/>
                      </a:lnTo>
                      <a:lnTo>
                        <a:pt x="9" y="7"/>
                      </a:lnTo>
                      <a:lnTo>
                        <a:pt x="11" y="7"/>
                      </a:lnTo>
                      <a:lnTo>
                        <a:pt x="11" y="6"/>
                      </a:lnTo>
                      <a:lnTo>
                        <a:pt x="11" y="5"/>
                      </a:lnTo>
                      <a:lnTo>
                        <a:pt x="11" y="4"/>
                      </a:lnTo>
                      <a:lnTo>
                        <a:pt x="11" y="4"/>
                      </a:lnTo>
                      <a:lnTo>
                        <a:pt x="11" y="3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1"/>
                      </a:lnTo>
                      <a:lnTo>
                        <a:pt x="12" y="0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2" name="Freeform 188"/>
                <p:cNvSpPr>
                  <a:spLocks noEditPoints="1"/>
                </p:cNvSpPr>
                <p:nvPr/>
              </p:nvSpPr>
              <p:spPr bwMode="gray">
                <a:xfrm>
                  <a:off x="4757738" y="3908425"/>
                  <a:ext cx="28575" cy="26988"/>
                </a:xfrm>
                <a:custGeom>
                  <a:avLst/>
                  <a:gdLst/>
                  <a:ahLst/>
                  <a:cxnLst>
                    <a:cxn ang="0">
                      <a:pos x="3" y="16"/>
                    </a:cxn>
                    <a:cxn ang="0">
                      <a:pos x="3" y="16"/>
                    </a:cxn>
                    <a:cxn ang="0">
                      <a:pos x="2" y="17"/>
                    </a:cxn>
                    <a:cxn ang="0">
                      <a:pos x="4" y="17"/>
                    </a:cxn>
                    <a:cxn ang="0">
                      <a:pos x="7" y="16"/>
                    </a:cxn>
                    <a:cxn ang="0">
                      <a:pos x="7" y="15"/>
                    </a:cxn>
                    <a:cxn ang="0">
                      <a:pos x="8" y="15"/>
                    </a:cxn>
                    <a:cxn ang="0">
                      <a:pos x="10" y="14"/>
                    </a:cxn>
                    <a:cxn ang="0">
                      <a:pos x="12" y="14"/>
                    </a:cxn>
                    <a:cxn ang="0">
                      <a:pos x="15" y="13"/>
                    </a:cxn>
                    <a:cxn ang="0">
                      <a:pos x="16" y="12"/>
                    </a:cxn>
                    <a:cxn ang="0">
                      <a:pos x="16" y="11"/>
                    </a:cxn>
                    <a:cxn ang="0">
                      <a:pos x="16" y="10"/>
                    </a:cxn>
                    <a:cxn ang="0">
                      <a:pos x="16" y="8"/>
                    </a:cxn>
                    <a:cxn ang="0">
                      <a:pos x="16" y="7"/>
                    </a:cxn>
                    <a:cxn ang="0">
                      <a:pos x="15" y="6"/>
                    </a:cxn>
                    <a:cxn ang="0">
                      <a:pos x="16" y="6"/>
                    </a:cxn>
                    <a:cxn ang="0">
                      <a:pos x="15" y="5"/>
                    </a:cxn>
                    <a:cxn ang="0">
                      <a:pos x="16" y="5"/>
                    </a:cxn>
                    <a:cxn ang="0">
                      <a:pos x="16" y="5"/>
                    </a:cxn>
                    <a:cxn ang="0">
                      <a:pos x="17" y="4"/>
                    </a:cxn>
                    <a:cxn ang="0">
                      <a:pos x="18" y="3"/>
                    </a:cxn>
                    <a:cxn ang="0">
                      <a:pos x="17" y="1"/>
                    </a:cxn>
                    <a:cxn ang="0">
                      <a:pos x="16" y="1"/>
                    </a:cxn>
                    <a:cxn ang="0">
                      <a:pos x="16" y="0"/>
                    </a:cxn>
                    <a:cxn ang="0">
                      <a:pos x="13" y="0"/>
                    </a:cxn>
                    <a:cxn ang="0">
                      <a:pos x="12" y="1"/>
                    </a:cxn>
                    <a:cxn ang="0">
                      <a:pos x="12" y="1"/>
                    </a:cxn>
                    <a:cxn ang="0">
                      <a:pos x="10" y="1"/>
                    </a:cxn>
                    <a:cxn ang="0">
                      <a:pos x="9" y="1"/>
                    </a:cxn>
                    <a:cxn ang="0">
                      <a:pos x="9" y="2"/>
                    </a:cxn>
                    <a:cxn ang="0">
                      <a:pos x="8" y="2"/>
                    </a:cxn>
                    <a:cxn ang="0">
                      <a:pos x="7" y="3"/>
                    </a:cxn>
                    <a:cxn ang="0">
                      <a:pos x="9" y="3"/>
                    </a:cxn>
                    <a:cxn ang="0">
                      <a:pos x="9" y="4"/>
                    </a:cxn>
                    <a:cxn ang="0">
                      <a:pos x="9" y="4"/>
                    </a:cxn>
                    <a:cxn ang="0">
                      <a:pos x="8" y="4"/>
                    </a:cxn>
                    <a:cxn ang="0">
                      <a:pos x="6" y="5"/>
                    </a:cxn>
                    <a:cxn ang="0">
                      <a:pos x="6" y="4"/>
                    </a:cxn>
                    <a:cxn ang="0">
                      <a:pos x="3" y="6"/>
                    </a:cxn>
                    <a:cxn ang="0">
                      <a:pos x="4" y="6"/>
                    </a:cxn>
                    <a:cxn ang="0">
                      <a:pos x="3" y="7"/>
                    </a:cxn>
                    <a:cxn ang="0">
                      <a:pos x="2" y="8"/>
                    </a:cxn>
                    <a:cxn ang="0">
                      <a:pos x="3" y="9"/>
                    </a:cxn>
                    <a:cxn ang="0">
                      <a:pos x="4" y="9"/>
                    </a:cxn>
                    <a:cxn ang="0">
                      <a:pos x="5" y="9"/>
                    </a:cxn>
                    <a:cxn ang="0">
                      <a:pos x="6" y="10"/>
                    </a:cxn>
                    <a:cxn ang="0">
                      <a:pos x="5" y="10"/>
                    </a:cxn>
                    <a:cxn ang="0">
                      <a:pos x="4" y="11"/>
                    </a:cxn>
                    <a:cxn ang="0">
                      <a:pos x="3" y="12"/>
                    </a:cxn>
                    <a:cxn ang="0">
                      <a:pos x="3" y="13"/>
                    </a:cxn>
                    <a:cxn ang="0">
                      <a:pos x="1" y="13"/>
                    </a:cxn>
                    <a:cxn ang="0">
                      <a:pos x="1" y="14"/>
                    </a:cxn>
                    <a:cxn ang="0">
                      <a:pos x="2" y="14"/>
                    </a:cxn>
                    <a:cxn ang="0">
                      <a:pos x="0" y="14"/>
                    </a:cxn>
                    <a:cxn ang="0">
                      <a:pos x="3" y="15"/>
                    </a:cxn>
                    <a:cxn ang="0">
                      <a:pos x="11" y="5"/>
                    </a:cxn>
                    <a:cxn ang="0">
                      <a:pos x="13" y="4"/>
                    </a:cxn>
                    <a:cxn ang="0">
                      <a:pos x="11" y="5"/>
                    </a:cxn>
                    <a:cxn ang="0">
                      <a:pos x="11" y="5"/>
                    </a:cxn>
                  </a:cxnLst>
                  <a:rect l="0" t="0" r="r" b="b"/>
                  <a:pathLst>
                    <a:path w="18" h="17">
                      <a:moveTo>
                        <a:pt x="2" y="16"/>
                      </a:move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3" y="17"/>
                      </a:lnTo>
                      <a:lnTo>
                        <a:pt x="2" y="17"/>
                      </a:lnTo>
                      <a:lnTo>
                        <a:pt x="3" y="17"/>
                      </a:lnTo>
                      <a:lnTo>
                        <a:pt x="4" y="17"/>
                      </a:lnTo>
                      <a:lnTo>
                        <a:pt x="6" y="16"/>
                      </a:lnTo>
                      <a:lnTo>
                        <a:pt x="7" y="16"/>
                      </a:lnTo>
                      <a:lnTo>
                        <a:pt x="7" y="15"/>
                      </a:lnTo>
                      <a:lnTo>
                        <a:pt x="7" y="15"/>
                      </a:lnTo>
                      <a:lnTo>
                        <a:pt x="8" y="15"/>
                      </a:lnTo>
                      <a:lnTo>
                        <a:pt x="8" y="15"/>
                      </a:lnTo>
                      <a:lnTo>
                        <a:pt x="9" y="15"/>
                      </a:lnTo>
                      <a:lnTo>
                        <a:pt x="10" y="14"/>
                      </a:lnTo>
                      <a:lnTo>
                        <a:pt x="11" y="14"/>
                      </a:lnTo>
                      <a:lnTo>
                        <a:pt x="12" y="14"/>
                      </a:lnTo>
                      <a:lnTo>
                        <a:pt x="12" y="13"/>
                      </a:lnTo>
                      <a:lnTo>
                        <a:pt x="15" y="13"/>
                      </a:lnTo>
                      <a:lnTo>
                        <a:pt x="15" y="12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6" y="11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9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7"/>
                      </a:lnTo>
                      <a:lnTo>
                        <a:pt x="16" y="7"/>
                      </a:lnTo>
                      <a:lnTo>
                        <a:pt x="15" y="6"/>
                      </a:lnTo>
                      <a:lnTo>
                        <a:pt x="15" y="6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15" y="5"/>
                      </a:lnTo>
                      <a:lnTo>
                        <a:pt x="14" y="5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7" y="4"/>
                      </a:lnTo>
                      <a:lnTo>
                        <a:pt x="18" y="3"/>
                      </a:lnTo>
                      <a:lnTo>
                        <a:pt x="18" y="3"/>
                      </a:lnTo>
                      <a:lnTo>
                        <a:pt x="18" y="2"/>
                      </a:lnTo>
                      <a:lnTo>
                        <a:pt x="17" y="1"/>
                      </a:lnTo>
                      <a:lnTo>
                        <a:pt x="17" y="1"/>
                      </a:lnTo>
                      <a:lnTo>
                        <a:pt x="16" y="1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10" y="1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8" y="2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6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3" y="9"/>
                      </a:lnTo>
                      <a:lnTo>
                        <a:pt x="4" y="9"/>
                      </a:lnTo>
                      <a:lnTo>
                        <a:pt x="4" y="9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6" y="9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5" y="11"/>
                      </a:lnTo>
                      <a:lnTo>
                        <a:pt x="4" y="11"/>
                      </a:lnTo>
                      <a:lnTo>
                        <a:pt x="3" y="11"/>
                      </a:lnTo>
                      <a:lnTo>
                        <a:pt x="3" y="12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1" y="14"/>
                      </a:lnTo>
                      <a:lnTo>
                        <a:pt x="1" y="14"/>
                      </a:lnTo>
                      <a:lnTo>
                        <a:pt x="2" y="14"/>
                      </a:lnTo>
                      <a:lnTo>
                        <a:pt x="1" y="14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3" y="15"/>
                      </a:lnTo>
                      <a:lnTo>
                        <a:pt x="2" y="16"/>
                      </a:lnTo>
                      <a:close/>
                      <a:moveTo>
                        <a:pt x="11" y="5"/>
                      </a:moveTo>
                      <a:lnTo>
                        <a:pt x="12" y="3"/>
                      </a:lnTo>
                      <a:lnTo>
                        <a:pt x="13" y="4"/>
                      </a:lnTo>
                      <a:lnTo>
                        <a:pt x="12" y="5"/>
                      </a:lnTo>
                      <a:lnTo>
                        <a:pt x="11" y="5"/>
                      </a:lnTo>
                      <a:lnTo>
                        <a:pt x="10" y="5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3" name="Freeform 189"/>
                <p:cNvSpPr>
                  <a:spLocks/>
                </p:cNvSpPr>
                <p:nvPr/>
              </p:nvSpPr>
              <p:spPr bwMode="gray">
                <a:xfrm>
                  <a:off x="4970463" y="4037013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4" name="Freeform 190"/>
                <p:cNvSpPr>
                  <a:spLocks/>
                </p:cNvSpPr>
                <p:nvPr/>
              </p:nvSpPr>
              <p:spPr bwMode="gray">
                <a:xfrm>
                  <a:off x="4970463" y="404177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5" name="Freeform 191"/>
                <p:cNvSpPr>
                  <a:spLocks/>
                </p:cNvSpPr>
                <p:nvPr/>
              </p:nvSpPr>
              <p:spPr bwMode="gray">
                <a:xfrm>
                  <a:off x="4962526" y="404018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6" name="Freeform 192"/>
                <p:cNvSpPr>
                  <a:spLocks/>
                </p:cNvSpPr>
                <p:nvPr/>
              </p:nvSpPr>
              <p:spPr bwMode="gray">
                <a:xfrm>
                  <a:off x="4968876" y="4029075"/>
                  <a:ext cx="3175" cy="476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7" name="Freeform 193"/>
                <p:cNvSpPr>
                  <a:spLocks/>
                </p:cNvSpPr>
                <p:nvPr/>
              </p:nvSpPr>
              <p:spPr bwMode="gray">
                <a:xfrm>
                  <a:off x="4968876" y="4024313"/>
                  <a:ext cx="4763" cy="3175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2"/>
                    </a:cxn>
                    <a:cxn ang="0">
                      <a:pos x="3" y="2"/>
                    </a:cxn>
                    <a:cxn ang="0">
                      <a:pos x="3" y="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3" h="2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8" name="Freeform 194"/>
                <p:cNvSpPr>
                  <a:spLocks/>
                </p:cNvSpPr>
                <p:nvPr/>
              </p:nvSpPr>
              <p:spPr bwMode="gray">
                <a:xfrm>
                  <a:off x="4964113" y="4043363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699" name="Freeform 195"/>
                <p:cNvSpPr>
                  <a:spLocks/>
                </p:cNvSpPr>
                <p:nvPr/>
              </p:nvSpPr>
              <p:spPr bwMode="gray">
                <a:xfrm>
                  <a:off x="4975226" y="40354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0" name="Freeform 196"/>
                <p:cNvSpPr>
                  <a:spLocks/>
                </p:cNvSpPr>
                <p:nvPr/>
              </p:nvSpPr>
              <p:spPr bwMode="gray">
                <a:xfrm>
                  <a:off x="4976813" y="4040188"/>
                  <a:ext cx="4763" cy="3175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3" h="2">
                      <a:moveTo>
                        <a:pt x="1" y="1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1" name="Freeform 197"/>
                <p:cNvSpPr>
                  <a:spLocks/>
                </p:cNvSpPr>
                <p:nvPr/>
              </p:nvSpPr>
              <p:spPr bwMode="gray">
                <a:xfrm>
                  <a:off x="4983163" y="4044950"/>
                  <a:ext cx="1588" cy="47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3"/>
                    </a:cxn>
                    <a:cxn ang="0">
                      <a:pos x="0" y="3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2" name="Freeform 198"/>
                <p:cNvSpPr>
                  <a:spLocks/>
                </p:cNvSpPr>
                <p:nvPr/>
              </p:nvSpPr>
              <p:spPr bwMode="gray">
                <a:xfrm>
                  <a:off x="4978401" y="4049713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3" name="Freeform 199"/>
                <p:cNvSpPr>
                  <a:spLocks/>
                </p:cNvSpPr>
                <p:nvPr/>
              </p:nvSpPr>
              <p:spPr bwMode="gray">
                <a:xfrm>
                  <a:off x="4973638" y="4043363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4" name="Freeform 200"/>
                <p:cNvSpPr>
                  <a:spLocks/>
                </p:cNvSpPr>
                <p:nvPr/>
              </p:nvSpPr>
              <p:spPr bwMode="gray">
                <a:xfrm>
                  <a:off x="4975226" y="4038600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5" name="Freeform 201"/>
                <p:cNvSpPr>
                  <a:spLocks/>
                </p:cNvSpPr>
                <p:nvPr/>
              </p:nvSpPr>
              <p:spPr bwMode="gray">
                <a:xfrm>
                  <a:off x="4962526" y="4033838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2" y="1"/>
                    </a:cxn>
                    <a:cxn ang="0">
                      <a:pos x="0" y="0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6" name="Freeform 202"/>
                <p:cNvSpPr>
                  <a:spLocks/>
                </p:cNvSpPr>
                <p:nvPr/>
              </p:nvSpPr>
              <p:spPr bwMode="gray">
                <a:xfrm>
                  <a:off x="4935538" y="4033838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2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1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7" name="Freeform 203"/>
                <p:cNvSpPr>
                  <a:spLocks/>
                </p:cNvSpPr>
                <p:nvPr/>
              </p:nvSpPr>
              <p:spPr bwMode="gray">
                <a:xfrm>
                  <a:off x="4940301" y="4032250"/>
                  <a:ext cx="14288" cy="12700"/>
                </a:xfrm>
                <a:custGeom>
                  <a:avLst/>
                  <a:gdLst/>
                  <a:ahLst/>
                  <a:cxnLst>
                    <a:cxn ang="0">
                      <a:pos x="8" y="2"/>
                    </a:cxn>
                    <a:cxn ang="0">
                      <a:pos x="8" y="2"/>
                    </a:cxn>
                    <a:cxn ang="0">
                      <a:pos x="7" y="2"/>
                    </a:cxn>
                    <a:cxn ang="0">
                      <a:pos x="7" y="1"/>
                    </a:cxn>
                    <a:cxn ang="0">
                      <a:pos x="6" y="1"/>
                    </a:cxn>
                    <a:cxn ang="0">
                      <a:pos x="5" y="0"/>
                    </a:cxn>
                    <a:cxn ang="0">
                      <a:pos x="4" y="0"/>
                    </a:cxn>
                    <a:cxn ang="0">
                      <a:pos x="4" y="0"/>
                    </a:cxn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2" y="3"/>
                    </a:cxn>
                    <a:cxn ang="0">
                      <a:pos x="2" y="4"/>
                    </a:cxn>
                    <a:cxn ang="0">
                      <a:pos x="2" y="5"/>
                    </a:cxn>
                    <a:cxn ang="0">
                      <a:pos x="2" y="6"/>
                    </a:cxn>
                    <a:cxn ang="0">
                      <a:pos x="2" y="6"/>
                    </a:cxn>
                    <a:cxn ang="0">
                      <a:pos x="3" y="6"/>
                    </a:cxn>
                    <a:cxn ang="0">
                      <a:pos x="3" y="6"/>
                    </a:cxn>
                    <a:cxn ang="0">
                      <a:pos x="3" y="6"/>
                    </a:cxn>
                    <a:cxn ang="0">
                      <a:pos x="4" y="5"/>
                    </a:cxn>
                    <a:cxn ang="0">
                      <a:pos x="4" y="5"/>
                    </a:cxn>
                    <a:cxn ang="0">
                      <a:pos x="6" y="8"/>
                    </a:cxn>
                    <a:cxn ang="0">
                      <a:pos x="6" y="6"/>
                    </a:cxn>
                    <a:cxn ang="0">
                      <a:pos x="7" y="8"/>
                    </a:cxn>
                    <a:cxn ang="0">
                      <a:pos x="8" y="8"/>
                    </a:cxn>
                    <a:cxn ang="0">
                      <a:pos x="7" y="7"/>
                    </a:cxn>
                    <a:cxn ang="0">
                      <a:pos x="8" y="6"/>
                    </a:cxn>
                    <a:cxn ang="0">
                      <a:pos x="8" y="5"/>
                    </a:cxn>
                    <a:cxn ang="0">
                      <a:pos x="7" y="5"/>
                    </a:cxn>
                    <a:cxn ang="0">
                      <a:pos x="7" y="4"/>
                    </a:cxn>
                    <a:cxn ang="0">
                      <a:pos x="7" y="4"/>
                    </a:cxn>
                    <a:cxn ang="0">
                      <a:pos x="6" y="3"/>
                    </a:cxn>
                    <a:cxn ang="0">
                      <a:pos x="6" y="3"/>
                    </a:cxn>
                    <a:cxn ang="0">
                      <a:pos x="7" y="3"/>
                    </a:cxn>
                    <a:cxn ang="0">
                      <a:pos x="8" y="3"/>
                    </a:cxn>
                    <a:cxn ang="0">
                      <a:pos x="9" y="4"/>
                    </a:cxn>
                    <a:cxn ang="0">
                      <a:pos x="9" y="3"/>
                    </a:cxn>
                    <a:cxn ang="0">
                      <a:pos x="9" y="3"/>
                    </a:cxn>
                    <a:cxn ang="0">
                      <a:pos x="8" y="2"/>
                    </a:cxn>
                  </a:cxnLst>
                  <a:rect l="0" t="0" r="r" b="b"/>
                  <a:pathLst>
                    <a:path w="9" h="8">
                      <a:moveTo>
                        <a:pt x="8" y="2"/>
                      </a:moveTo>
                      <a:lnTo>
                        <a:pt x="8" y="2"/>
                      </a:lnTo>
                      <a:lnTo>
                        <a:pt x="7" y="2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6" y="8"/>
                      </a:lnTo>
                      <a:lnTo>
                        <a:pt x="6" y="6"/>
                      </a:lnTo>
                      <a:lnTo>
                        <a:pt x="7" y="8"/>
                      </a:lnTo>
                      <a:lnTo>
                        <a:pt x="8" y="8"/>
                      </a:lnTo>
                      <a:lnTo>
                        <a:pt x="7" y="7"/>
                      </a:lnTo>
                      <a:lnTo>
                        <a:pt x="8" y="6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4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9" y="4"/>
                      </a:lnTo>
                      <a:lnTo>
                        <a:pt x="9" y="3"/>
                      </a:lnTo>
                      <a:lnTo>
                        <a:pt x="9" y="3"/>
                      </a:lnTo>
                      <a:lnTo>
                        <a:pt x="8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08" name="Freeform 204"/>
                <p:cNvSpPr>
                  <a:spLocks/>
                </p:cNvSpPr>
                <p:nvPr/>
              </p:nvSpPr>
              <p:spPr bwMode="gray">
                <a:xfrm>
                  <a:off x="4951413" y="404653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0" name="Freeform 206"/>
                <p:cNvSpPr>
                  <a:spLocks/>
                </p:cNvSpPr>
                <p:nvPr/>
              </p:nvSpPr>
              <p:spPr bwMode="gray">
                <a:xfrm>
                  <a:off x="4933951" y="4030663"/>
                  <a:ext cx="4763" cy="3175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3" y="2"/>
                    </a:cxn>
                    <a:cxn ang="0">
                      <a:pos x="2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3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1" name="Freeform 207"/>
                <p:cNvSpPr>
                  <a:spLocks/>
                </p:cNvSpPr>
                <p:nvPr/>
              </p:nvSpPr>
              <p:spPr bwMode="gray">
                <a:xfrm>
                  <a:off x="4967288" y="404018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2" name="Freeform 208"/>
                <p:cNvSpPr>
                  <a:spLocks/>
                </p:cNvSpPr>
                <p:nvPr/>
              </p:nvSpPr>
              <p:spPr bwMode="gray">
                <a:xfrm>
                  <a:off x="4956176" y="4051300"/>
                  <a:ext cx="17463" cy="4763"/>
                </a:xfrm>
                <a:custGeom>
                  <a:avLst/>
                  <a:gdLst/>
                  <a:ahLst/>
                  <a:cxnLst>
                    <a:cxn ang="0">
                      <a:pos x="10" y="1"/>
                    </a:cxn>
                    <a:cxn ang="0">
                      <a:pos x="10" y="2"/>
                    </a:cxn>
                    <a:cxn ang="0">
                      <a:pos x="9" y="2"/>
                    </a:cxn>
                    <a:cxn ang="0">
                      <a:pos x="9" y="2"/>
                    </a:cxn>
                    <a:cxn ang="0">
                      <a:pos x="9" y="2"/>
                    </a:cxn>
                    <a:cxn ang="0">
                      <a:pos x="9" y="1"/>
                    </a:cxn>
                    <a:cxn ang="0">
                      <a:pos x="8" y="1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3" y="1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2"/>
                    </a:cxn>
                    <a:cxn ang="0">
                      <a:pos x="2" y="1"/>
                    </a:cxn>
                    <a:cxn ang="0">
                      <a:pos x="2" y="2"/>
                    </a:cxn>
                    <a:cxn ang="0">
                      <a:pos x="4" y="2"/>
                    </a:cxn>
                    <a:cxn ang="0">
                      <a:pos x="5" y="3"/>
                    </a:cxn>
                    <a:cxn ang="0">
                      <a:pos x="7" y="3"/>
                    </a:cxn>
                    <a:cxn ang="0">
                      <a:pos x="7" y="3"/>
                    </a:cxn>
                    <a:cxn ang="0">
                      <a:pos x="10" y="3"/>
                    </a:cxn>
                    <a:cxn ang="0">
                      <a:pos x="11" y="2"/>
                    </a:cxn>
                    <a:cxn ang="0">
                      <a:pos x="11" y="2"/>
                    </a:cxn>
                    <a:cxn ang="0">
                      <a:pos x="11" y="1"/>
                    </a:cxn>
                    <a:cxn ang="0">
                      <a:pos x="10" y="1"/>
                    </a:cxn>
                  </a:cxnLst>
                  <a:rect l="0" t="0" r="r" b="b"/>
                  <a:pathLst>
                    <a:path w="11" h="3">
                      <a:moveTo>
                        <a:pt x="10" y="1"/>
                      </a:move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10" y="3"/>
                      </a:lnTo>
                      <a:lnTo>
                        <a:pt x="11" y="2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3" name="Freeform 209"/>
                <p:cNvSpPr>
                  <a:spLocks/>
                </p:cNvSpPr>
                <p:nvPr/>
              </p:nvSpPr>
              <p:spPr bwMode="gray">
                <a:xfrm>
                  <a:off x="4957763" y="4016375"/>
                  <a:ext cx="3175" cy="1588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1" y="1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4" name="Freeform 210"/>
                <p:cNvSpPr>
                  <a:spLocks/>
                </p:cNvSpPr>
                <p:nvPr/>
              </p:nvSpPr>
              <p:spPr bwMode="gray">
                <a:xfrm>
                  <a:off x="4959351" y="4037013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5" name="Freeform 211"/>
                <p:cNvSpPr>
                  <a:spLocks/>
                </p:cNvSpPr>
                <p:nvPr/>
              </p:nvSpPr>
              <p:spPr bwMode="gray">
                <a:xfrm>
                  <a:off x="4960938" y="4027488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6" name="Freeform 212"/>
                <p:cNvSpPr>
                  <a:spLocks/>
                </p:cNvSpPr>
                <p:nvPr/>
              </p:nvSpPr>
              <p:spPr bwMode="gray">
                <a:xfrm>
                  <a:off x="4864101" y="3997325"/>
                  <a:ext cx="4763" cy="11113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2" y="1"/>
                    </a:cxn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0" y="3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0" y="5"/>
                    </a:cxn>
                    <a:cxn ang="0">
                      <a:pos x="0" y="6"/>
                    </a:cxn>
                    <a:cxn ang="0">
                      <a:pos x="0" y="7"/>
                    </a:cxn>
                    <a:cxn ang="0">
                      <a:pos x="1" y="7"/>
                    </a:cxn>
                    <a:cxn ang="0">
                      <a:pos x="2" y="7"/>
                    </a:cxn>
                    <a:cxn ang="0">
                      <a:pos x="3" y="6"/>
                    </a:cxn>
                    <a:cxn ang="0">
                      <a:pos x="3" y="4"/>
                    </a:cxn>
                    <a:cxn ang="0">
                      <a:pos x="3" y="4"/>
                    </a:cxn>
                    <a:cxn ang="0">
                      <a:pos x="3" y="4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3" h="7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2" y="7"/>
                      </a:lnTo>
                      <a:lnTo>
                        <a:pt x="3" y="6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7" name="Freeform 213"/>
                <p:cNvSpPr>
                  <a:spLocks/>
                </p:cNvSpPr>
                <p:nvPr/>
              </p:nvSpPr>
              <p:spPr bwMode="gray">
                <a:xfrm>
                  <a:off x="4938713" y="3881438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8" name="Freeform 214"/>
                <p:cNvSpPr>
                  <a:spLocks/>
                </p:cNvSpPr>
                <p:nvPr/>
              </p:nvSpPr>
              <p:spPr bwMode="gray">
                <a:xfrm>
                  <a:off x="4937126" y="3884613"/>
                  <a:ext cx="6350" cy="4763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" y="2"/>
                    </a:cxn>
                    <a:cxn ang="0">
                      <a:pos x="2" y="2"/>
                    </a:cxn>
                    <a:cxn ang="0">
                      <a:pos x="3" y="2"/>
                    </a:cxn>
                    <a:cxn ang="0">
                      <a:pos x="3" y="1"/>
                    </a:cxn>
                    <a:cxn ang="0">
                      <a:pos x="4" y="1"/>
                    </a:cxn>
                    <a:cxn ang="0">
                      <a:pos x="4" y="1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19" name="Freeform 215"/>
                <p:cNvSpPr>
                  <a:spLocks/>
                </p:cNvSpPr>
                <p:nvPr/>
              </p:nvSpPr>
              <p:spPr bwMode="gray">
                <a:xfrm>
                  <a:off x="4878388" y="3902075"/>
                  <a:ext cx="7938" cy="9525"/>
                </a:xfrm>
                <a:custGeom>
                  <a:avLst/>
                  <a:gdLst/>
                  <a:ahLst/>
                  <a:cxnLst>
                    <a:cxn ang="0">
                      <a:pos x="3" y="4"/>
                    </a:cxn>
                    <a:cxn ang="0">
                      <a:pos x="4" y="4"/>
                    </a:cxn>
                    <a:cxn ang="0">
                      <a:pos x="5" y="4"/>
                    </a:cxn>
                    <a:cxn ang="0">
                      <a:pos x="5" y="3"/>
                    </a:cxn>
                    <a:cxn ang="0">
                      <a:pos x="4" y="3"/>
                    </a:cxn>
                    <a:cxn ang="0">
                      <a:pos x="3" y="3"/>
                    </a:cxn>
                    <a:cxn ang="0">
                      <a:pos x="3" y="2"/>
                    </a:cxn>
                    <a:cxn ang="0">
                      <a:pos x="4" y="2"/>
                    </a:cxn>
                    <a:cxn ang="0">
                      <a:pos x="4" y="2"/>
                    </a:cxn>
                    <a:cxn ang="0">
                      <a:pos x="4" y="1"/>
                    </a:cxn>
                    <a:cxn ang="0">
                      <a:pos x="4" y="0"/>
                    </a:cxn>
                    <a:cxn ang="0">
                      <a:pos x="4" y="0"/>
                    </a:cxn>
                    <a:cxn ang="0">
                      <a:pos x="3" y="0"/>
                    </a:cxn>
                    <a:cxn ang="0">
                      <a:pos x="3" y="0"/>
                    </a:cxn>
                    <a:cxn ang="0">
                      <a:pos x="3" y="1"/>
                    </a:cxn>
                    <a:cxn ang="0">
                      <a:pos x="2" y="2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1" y="1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" y="4"/>
                    </a:cxn>
                    <a:cxn ang="0">
                      <a:pos x="1" y="4"/>
                    </a:cxn>
                    <a:cxn ang="0">
                      <a:pos x="1" y="5"/>
                    </a:cxn>
                    <a:cxn ang="0">
                      <a:pos x="2" y="5"/>
                    </a:cxn>
                    <a:cxn ang="0">
                      <a:pos x="2" y="4"/>
                    </a:cxn>
                    <a:cxn ang="0">
                      <a:pos x="2" y="4"/>
                    </a:cxn>
                    <a:cxn ang="0">
                      <a:pos x="2" y="5"/>
                    </a:cxn>
                    <a:cxn ang="0">
                      <a:pos x="3" y="5"/>
                    </a:cxn>
                    <a:cxn ang="0">
                      <a:pos x="3" y="6"/>
                    </a:cxn>
                    <a:cxn ang="0">
                      <a:pos x="3" y="6"/>
                    </a:cxn>
                    <a:cxn ang="0">
                      <a:pos x="3" y="5"/>
                    </a:cxn>
                    <a:cxn ang="0">
                      <a:pos x="3" y="4"/>
                    </a:cxn>
                  </a:cxnLst>
                  <a:rect l="0" t="0" r="r" b="b"/>
                  <a:pathLst>
                    <a:path w="5" h="6">
                      <a:moveTo>
                        <a:pt x="3" y="4"/>
                      </a:move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20" name="Freeform 216"/>
                <p:cNvSpPr>
                  <a:spLocks/>
                </p:cNvSpPr>
                <p:nvPr/>
              </p:nvSpPr>
              <p:spPr bwMode="gray">
                <a:xfrm>
                  <a:off x="4878388" y="3910013"/>
                  <a:ext cx="7938" cy="3175"/>
                </a:xfrm>
                <a:custGeom>
                  <a:avLst/>
                  <a:gdLst/>
                  <a:ahLst/>
                  <a:cxnLst>
                    <a:cxn ang="0">
                      <a:pos x="2" y="1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2" y="2"/>
                    </a:cxn>
                    <a:cxn ang="0">
                      <a:pos x="2" y="2"/>
                    </a:cxn>
                    <a:cxn ang="0">
                      <a:pos x="3" y="2"/>
                    </a:cxn>
                    <a:cxn ang="0">
                      <a:pos x="3" y="2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</a:cxnLst>
                  <a:rect l="0" t="0" r="r" b="b"/>
                  <a:pathLst>
                    <a:path w="5" h="2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21" name="Freeform 217"/>
                <p:cNvSpPr>
                  <a:spLocks/>
                </p:cNvSpPr>
                <p:nvPr/>
              </p:nvSpPr>
              <p:spPr bwMode="gray">
                <a:xfrm>
                  <a:off x="4872038" y="3905250"/>
                  <a:ext cx="3175" cy="47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2"/>
                    </a:cxn>
                    <a:cxn ang="0">
                      <a:pos x="2" y="3"/>
                    </a:cxn>
                    <a:cxn ang="0">
                      <a:pos x="2" y="2"/>
                    </a:cxn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22" name="Freeform 218"/>
                <p:cNvSpPr>
                  <a:spLocks/>
                </p:cNvSpPr>
                <p:nvPr/>
              </p:nvSpPr>
              <p:spPr bwMode="gray">
                <a:xfrm>
                  <a:off x="5010151" y="4052888"/>
                  <a:ext cx="14288" cy="6350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2"/>
                    </a:cxn>
                    <a:cxn ang="0">
                      <a:pos x="1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2" y="3"/>
                    </a:cxn>
                    <a:cxn ang="0">
                      <a:pos x="2" y="4"/>
                    </a:cxn>
                    <a:cxn ang="0">
                      <a:pos x="3" y="4"/>
                    </a:cxn>
                    <a:cxn ang="0">
                      <a:pos x="4" y="4"/>
                    </a:cxn>
                    <a:cxn ang="0">
                      <a:pos x="5" y="3"/>
                    </a:cxn>
                    <a:cxn ang="0">
                      <a:pos x="5" y="3"/>
                    </a:cxn>
                    <a:cxn ang="0">
                      <a:pos x="6" y="3"/>
                    </a:cxn>
                    <a:cxn ang="0">
                      <a:pos x="6" y="2"/>
                    </a:cxn>
                    <a:cxn ang="0">
                      <a:pos x="6" y="3"/>
                    </a:cxn>
                    <a:cxn ang="0">
                      <a:pos x="7" y="3"/>
                    </a:cxn>
                    <a:cxn ang="0">
                      <a:pos x="7" y="2"/>
                    </a:cxn>
                    <a:cxn ang="0">
                      <a:pos x="9" y="0"/>
                    </a:cxn>
                    <a:cxn ang="0">
                      <a:pos x="7" y="1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9" h="4">
                      <a:moveTo>
                        <a:pt x="3" y="1"/>
                      </a:move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7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1723" name="Freeform 219"/>
                <p:cNvSpPr>
                  <a:spLocks/>
                </p:cNvSpPr>
                <p:nvPr/>
              </p:nvSpPr>
              <p:spPr bwMode="gray">
                <a:xfrm>
                  <a:off x="5132388" y="4122738"/>
                  <a:ext cx="3175" cy="3175"/>
                </a:xfrm>
                <a:custGeom>
                  <a:avLst/>
                  <a:gdLst/>
                  <a:ahLst/>
                  <a:cxnLst>
                    <a:cxn ang="0">
                      <a:pos x="2" y="8"/>
                    </a:cxn>
                    <a:cxn ang="0">
                      <a:pos x="4" y="4"/>
                    </a:cxn>
                    <a:cxn ang="0">
                      <a:pos x="2" y="0"/>
                    </a:cxn>
                    <a:cxn ang="0">
                      <a:pos x="1" y="3"/>
                    </a:cxn>
                    <a:cxn ang="0">
                      <a:pos x="1" y="6"/>
                    </a:cxn>
                    <a:cxn ang="0">
                      <a:pos x="2" y="8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4" y="8"/>
                        <a:pt x="3" y="6"/>
                        <a:pt x="4" y="4"/>
                      </a:cubicBezTo>
                      <a:cubicBezTo>
                        <a:pt x="4" y="3"/>
                        <a:pt x="4" y="0"/>
                        <a:pt x="2" y="0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0" y="4"/>
                        <a:pt x="1" y="4"/>
                        <a:pt x="1" y="6"/>
                      </a:cubicBezTo>
                      <a:cubicBezTo>
                        <a:pt x="1" y="6"/>
                        <a:pt x="1" y="8"/>
                        <a:pt x="2" y="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622" name="Rechteck 621"/>
            <p:cNvSpPr/>
            <p:nvPr/>
          </p:nvSpPr>
          <p:spPr bwMode="gray">
            <a:xfrm>
              <a:off x="3204860" y="3473792"/>
              <a:ext cx="1293777" cy="14989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3" name="Freeform 104"/>
            <p:cNvSpPr>
              <a:spLocks noEditPoints="1"/>
            </p:cNvSpPr>
            <p:nvPr/>
          </p:nvSpPr>
          <p:spPr bwMode="gray">
            <a:xfrm>
              <a:off x="3370564" y="3773943"/>
              <a:ext cx="962369" cy="898599"/>
            </a:xfrm>
            <a:custGeom>
              <a:avLst/>
              <a:gdLst/>
              <a:ahLst/>
              <a:cxnLst>
                <a:cxn ang="0">
                  <a:pos x="86" y="117"/>
                </a:cxn>
                <a:cxn ang="0">
                  <a:pos x="87" y="117"/>
                </a:cxn>
                <a:cxn ang="0">
                  <a:pos x="160" y="58"/>
                </a:cxn>
                <a:cxn ang="0">
                  <a:pos x="158" y="53"/>
                </a:cxn>
                <a:cxn ang="0">
                  <a:pos x="156" y="47"/>
                </a:cxn>
                <a:cxn ang="0">
                  <a:pos x="147" y="37"/>
                </a:cxn>
                <a:cxn ang="0">
                  <a:pos x="145" y="17"/>
                </a:cxn>
                <a:cxn ang="0">
                  <a:pos x="140" y="6"/>
                </a:cxn>
                <a:cxn ang="0">
                  <a:pos x="134" y="4"/>
                </a:cxn>
                <a:cxn ang="0">
                  <a:pos x="131" y="15"/>
                </a:cxn>
                <a:cxn ang="0">
                  <a:pos x="126" y="32"/>
                </a:cxn>
                <a:cxn ang="0">
                  <a:pos x="111" y="25"/>
                </a:cxn>
                <a:cxn ang="0">
                  <a:pos x="111" y="13"/>
                </a:cxn>
                <a:cxn ang="0">
                  <a:pos x="106" y="7"/>
                </a:cxn>
                <a:cxn ang="0">
                  <a:pos x="95" y="2"/>
                </a:cxn>
                <a:cxn ang="0">
                  <a:pos x="92" y="5"/>
                </a:cxn>
                <a:cxn ang="0">
                  <a:pos x="86" y="9"/>
                </a:cxn>
                <a:cxn ang="0">
                  <a:pos x="80" y="18"/>
                </a:cxn>
                <a:cxn ang="0">
                  <a:pos x="76" y="24"/>
                </a:cxn>
                <a:cxn ang="0">
                  <a:pos x="71" y="14"/>
                </a:cxn>
                <a:cxn ang="0">
                  <a:pos x="66" y="20"/>
                </a:cxn>
                <a:cxn ang="0">
                  <a:pos x="59" y="24"/>
                </a:cxn>
                <a:cxn ang="0">
                  <a:pos x="55" y="30"/>
                </a:cxn>
                <a:cxn ang="0">
                  <a:pos x="46" y="35"/>
                </a:cxn>
                <a:cxn ang="0">
                  <a:pos x="37" y="44"/>
                </a:cxn>
                <a:cxn ang="0">
                  <a:pos x="19" y="49"/>
                </a:cxn>
                <a:cxn ang="0">
                  <a:pos x="11" y="54"/>
                </a:cxn>
                <a:cxn ang="0">
                  <a:pos x="4" y="65"/>
                </a:cxn>
                <a:cxn ang="0">
                  <a:pos x="4" y="71"/>
                </a:cxn>
                <a:cxn ang="0">
                  <a:pos x="5" y="84"/>
                </a:cxn>
                <a:cxn ang="0">
                  <a:pos x="5" y="94"/>
                </a:cxn>
                <a:cxn ang="0">
                  <a:pos x="5" y="107"/>
                </a:cxn>
                <a:cxn ang="0">
                  <a:pos x="7" y="115"/>
                </a:cxn>
                <a:cxn ang="0">
                  <a:pos x="25" y="111"/>
                </a:cxn>
                <a:cxn ang="0">
                  <a:pos x="37" y="110"/>
                </a:cxn>
                <a:cxn ang="0">
                  <a:pos x="45" y="103"/>
                </a:cxn>
                <a:cxn ang="0">
                  <a:pos x="65" y="98"/>
                </a:cxn>
                <a:cxn ang="0">
                  <a:pos x="79" y="101"/>
                </a:cxn>
                <a:cxn ang="0">
                  <a:pos x="84" y="109"/>
                </a:cxn>
                <a:cxn ang="0">
                  <a:pos x="86" y="113"/>
                </a:cxn>
                <a:cxn ang="0">
                  <a:pos x="96" y="104"/>
                </a:cxn>
                <a:cxn ang="0">
                  <a:pos x="95" y="106"/>
                </a:cxn>
                <a:cxn ang="0">
                  <a:pos x="89" y="116"/>
                </a:cxn>
                <a:cxn ang="0">
                  <a:pos x="95" y="115"/>
                </a:cxn>
                <a:cxn ang="0">
                  <a:pos x="95" y="126"/>
                </a:cxn>
                <a:cxn ang="0">
                  <a:pos x="113" y="132"/>
                </a:cxn>
                <a:cxn ang="0">
                  <a:pos x="119" y="135"/>
                </a:cxn>
                <a:cxn ang="0">
                  <a:pos x="129" y="129"/>
                </a:cxn>
                <a:cxn ang="0">
                  <a:pos x="141" y="118"/>
                </a:cxn>
                <a:cxn ang="0">
                  <a:pos x="150" y="105"/>
                </a:cxn>
                <a:cxn ang="0">
                  <a:pos x="159" y="93"/>
                </a:cxn>
                <a:cxn ang="0">
                  <a:pos x="166" y="68"/>
                </a:cxn>
                <a:cxn ang="0">
                  <a:pos x="115" y="144"/>
                </a:cxn>
                <a:cxn ang="0">
                  <a:pos x="104" y="141"/>
                </a:cxn>
                <a:cxn ang="0">
                  <a:pos x="102" y="148"/>
                </a:cxn>
                <a:cxn ang="0">
                  <a:pos x="105" y="155"/>
                </a:cxn>
                <a:cxn ang="0">
                  <a:pos x="113" y="152"/>
                </a:cxn>
                <a:cxn ang="0">
                  <a:pos x="117" y="143"/>
                </a:cxn>
                <a:cxn ang="0">
                  <a:pos x="112" y="14"/>
                </a:cxn>
                <a:cxn ang="0">
                  <a:pos x="119" y="140"/>
                </a:cxn>
              </a:cxnLst>
              <a:rect l="0" t="0" r="r" b="b"/>
              <a:pathLst>
                <a:path w="166" h="155">
                  <a:moveTo>
                    <a:pt x="90" y="4"/>
                  </a:moveTo>
                  <a:lnTo>
                    <a:pt x="90" y="3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88" y="4"/>
                  </a:lnTo>
                  <a:lnTo>
                    <a:pt x="88" y="5"/>
                  </a:lnTo>
                  <a:lnTo>
                    <a:pt x="88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0" y="4"/>
                  </a:lnTo>
                  <a:lnTo>
                    <a:pt x="90" y="4"/>
                  </a:lnTo>
                  <a:close/>
                  <a:moveTo>
                    <a:pt x="87" y="117"/>
                  </a:moveTo>
                  <a:lnTo>
                    <a:pt x="86" y="117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5" y="119"/>
                  </a:lnTo>
                  <a:lnTo>
                    <a:pt x="85" y="120"/>
                  </a:lnTo>
                  <a:lnTo>
                    <a:pt x="86" y="120"/>
                  </a:lnTo>
                  <a:lnTo>
                    <a:pt x="87" y="119"/>
                  </a:lnTo>
                  <a:lnTo>
                    <a:pt x="88" y="119"/>
                  </a:lnTo>
                  <a:lnTo>
                    <a:pt x="89" y="119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89" y="118"/>
                  </a:lnTo>
                  <a:lnTo>
                    <a:pt x="88" y="117"/>
                  </a:lnTo>
                  <a:lnTo>
                    <a:pt x="87" y="117"/>
                  </a:lnTo>
                  <a:lnTo>
                    <a:pt x="87" y="117"/>
                  </a:lnTo>
                  <a:close/>
                  <a:moveTo>
                    <a:pt x="164" y="68"/>
                  </a:moveTo>
                  <a:lnTo>
                    <a:pt x="164" y="66"/>
                  </a:lnTo>
                  <a:lnTo>
                    <a:pt x="164" y="65"/>
                  </a:lnTo>
                  <a:lnTo>
                    <a:pt x="164" y="64"/>
                  </a:lnTo>
                  <a:lnTo>
                    <a:pt x="163" y="63"/>
                  </a:lnTo>
                  <a:lnTo>
                    <a:pt x="163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2"/>
                  </a:lnTo>
                  <a:lnTo>
                    <a:pt x="161" y="61"/>
                  </a:lnTo>
                  <a:lnTo>
                    <a:pt x="161" y="59"/>
                  </a:lnTo>
                  <a:lnTo>
                    <a:pt x="160" y="59"/>
                  </a:lnTo>
                  <a:lnTo>
                    <a:pt x="160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60" y="58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0" y="55"/>
                  </a:lnTo>
                  <a:lnTo>
                    <a:pt x="160" y="55"/>
                  </a:lnTo>
                  <a:lnTo>
                    <a:pt x="160" y="54"/>
                  </a:lnTo>
                  <a:lnTo>
                    <a:pt x="159" y="53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5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3"/>
                  </a:lnTo>
                  <a:lnTo>
                    <a:pt x="157" y="53"/>
                  </a:lnTo>
                  <a:lnTo>
                    <a:pt x="157" y="52"/>
                  </a:lnTo>
                  <a:lnTo>
                    <a:pt x="158" y="51"/>
                  </a:lnTo>
                  <a:lnTo>
                    <a:pt x="158" y="50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6" y="48"/>
                  </a:lnTo>
                  <a:lnTo>
                    <a:pt x="156" y="47"/>
                  </a:lnTo>
                  <a:lnTo>
                    <a:pt x="156" y="47"/>
                  </a:lnTo>
                  <a:lnTo>
                    <a:pt x="156" y="46"/>
                  </a:lnTo>
                  <a:lnTo>
                    <a:pt x="156" y="45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4" y="43"/>
                  </a:lnTo>
                  <a:lnTo>
                    <a:pt x="152" y="42"/>
                  </a:lnTo>
                  <a:lnTo>
                    <a:pt x="151" y="41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49" y="41"/>
                  </a:lnTo>
                  <a:lnTo>
                    <a:pt x="149" y="40"/>
                  </a:lnTo>
                  <a:lnTo>
                    <a:pt x="148" y="39"/>
                  </a:lnTo>
                  <a:lnTo>
                    <a:pt x="148" y="38"/>
                  </a:lnTo>
                  <a:lnTo>
                    <a:pt x="147" y="37"/>
                  </a:lnTo>
                  <a:lnTo>
                    <a:pt x="147" y="35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48" y="32"/>
                  </a:lnTo>
                  <a:lnTo>
                    <a:pt x="148" y="30"/>
                  </a:lnTo>
                  <a:lnTo>
                    <a:pt x="147" y="27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7" y="22"/>
                  </a:lnTo>
                  <a:lnTo>
                    <a:pt x="147" y="19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5" y="17"/>
                  </a:lnTo>
                  <a:lnTo>
                    <a:pt x="144" y="17"/>
                  </a:lnTo>
                  <a:lnTo>
                    <a:pt x="144" y="16"/>
                  </a:lnTo>
                  <a:lnTo>
                    <a:pt x="143" y="16"/>
                  </a:lnTo>
                  <a:lnTo>
                    <a:pt x="142" y="16"/>
                  </a:lnTo>
                  <a:lnTo>
                    <a:pt x="142" y="17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1" y="16"/>
                  </a:lnTo>
                  <a:lnTo>
                    <a:pt x="141" y="15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2"/>
                  </a:lnTo>
                  <a:lnTo>
                    <a:pt x="140" y="11"/>
                  </a:lnTo>
                  <a:lnTo>
                    <a:pt x="140" y="6"/>
                  </a:lnTo>
                  <a:lnTo>
                    <a:pt x="140" y="5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3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8" y="1"/>
                  </a:lnTo>
                  <a:lnTo>
                    <a:pt x="138" y="0"/>
                  </a:lnTo>
                  <a:lnTo>
                    <a:pt x="136" y="1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4" y="2"/>
                  </a:lnTo>
                  <a:lnTo>
                    <a:pt x="134" y="3"/>
                  </a:lnTo>
                  <a:lnTo>
                    <a:pt x="134" y="4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6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11"/>
                  </a:lnTo>
                  <a:lnTo>
                    <a:pt x="132" y="11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1" y="13"/>
                  </a:lnTo>
                  <a:lnTo>
                    <a:pt x="131" y="14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7"/>
                  </a:lnTo>
                  <a:lnTo>
                    <a:pt x="131" y="18"/>
                  </a:lnTo>
                  <a:lnTo>
                    <a:pt x="130" y="24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8" y="27"/>
                  </a:lnTo>
                  <a:lnTo>
                    <a:pt x="128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30"/>
                  </a:lnTo>
                  <a:lnTo>
                    <a:pt x="127" y="31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3" y="33"/>
                  </a:lnTo>
                  <a:lnTo>
                    <a:pt x="122" y="33"/>
                  </a:lnTo>
                  <a:lnTo>
                    <a:pt x="121" y="34"/>
                  </a:lnTo>
                  <a:lnTo>
                    <a:pt x="120" y="34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19" y="30"/>
                  </a:lnTo>
                  <a:lnTo>
                    <a:pt x="118" y="30"/>
                  </a:lnTo>
                  <a:lnTo>
                    <a:pt x="117" y="29"/>
                  </a:lnTo>
                  <a:lnTo>
                    <a:pt x="115" y="28"/>
                  </a:lnTo>
                  <a:lnTo>
                    <a:pt x="113" y="27"/>
                  </a:lnTo>
                  <a:lnTo>
                    <a:pt x="112" y="26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07" y="23"/>
                  </a:lnTo>
                  <a:lnTo>
                    <a:pt x="106" y="20"/>
                  </a:lnTo>
                  <a:lnTo>
                    <a:pt x="107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8" y="17"/>
                  </a:lnTo>
                  <a:lnTo>
                    <a:pt x="109" y="16"/>
                  </a:lnTo>
                  <a:lnTo>
                    <a:pt x="108" y="13"/>
                  </a:lnTo>
                  <a:lnTo>
                    <a:pt x="110" y="12"/>
                  </a:lnTo>
                  <a:lnTo>
                    <a:pt x="110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2" y="13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2" y="6"/>
                  </a:lnTo>
                  <a:lnTo>
                    <a:pt x="111" y="6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8"/>
                  </a:lnTo>
                  <a:lnTo>
                    <a:pt x="108" y="7"/>
                  </a:lnTo>
                  <a:lnTo>
                    <a:pt x="106" y="7"/>
                  </a:lnTo>
                  <a:lnTo>
                    <a:pt x="105" y="8"/>
                  </a:lnTo>
                  <a:lnTo>
                    <a:pt x="105" y="7"/>
                  </a:lnTo>
                  <a:lnTo>
                    <a:pt x="103" y="7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1" y="6"/>
                  </a:lnTo>
                  <a:lnTo>
                    <a:pt x="101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6" y="4"/>
                  </a:lnTo>
                  <a:lnTo>
                    <a:pt x="96" y="3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3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4" y="7"/>
                  </a:lnTo>
                  <a:lnTo>
                    <a:pt x="92" y="7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7" y="8"/>
                  </a:lnTo>
                  <a:lnTo>
                    <a:pt x="86" y="9"/>
                  </a:lnTo>
                  <a:lnTo>
                    <a:pt x="85" y="9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1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2" y="14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0"/>
                  </a:lnTo>
                  <a:lnTo>
                    <a:pt x="81" y="20"/>
                  </a:lnTo>
                  <a:lnTo>
                    <a:pt x="82" y="20"/>
                  </a:lnTo>
                  <a:lnTo>
                    <a:pt x="83" y="21"/>
                  </a:lnTo>
                  <a:lnTo>
                    <a:pt x="83" y="23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9" y="23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5" y="23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6" y="21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2" y="17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69" y="17"/>
                  </a:lnTo>
                  <a:lnTo>
                    <a:pt x="67" y="16"/>
                  </a:lnTo>
                  <a:lnTo>
                    <a:pt x="68" y="18"/>
                  </a:lnTo>
                  <a:lnTo>
                    <a:pt x="67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9"/>
                  </a:lnTo>
                  <a:lnTo>
                    <a:pt x="66" y="20"/>
                  </a:lnTo>
                  <a:lnTo>
                    <a:pt x="65" y="20"/>
                  </a:lnTo>
                  <a:lnTo>
                    <a:pt x="65" y="21"/>
                  </a:lnTo>
                  <a:lnTo>
                    <a:pt x="64" y="21"/>
                  </a:lnTo>
                  <a:lnTo>
                    <a:pt x="65" y="19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2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6"/>
                  </a:lnTo>
                  <a:lnTo>
                    <a:pt x="61" y="26"/>
                  </a:lnTo>
                  <a:lnTo>
                    <a:pt x="60" y="27"/>
                  </a:lnTo>
                  <a:lnTo>
                    <a:pt x="56" y="28"/>
                  </a:lnTo>
                  <a:lnTo>
                    <a:pt x="56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9"/>
                  </a:lnTo>
                  <a:lnTo>
                    <a:pt x="54" y="30"/>
                  </a:lnTo>
                  <a:lnTo>
                    <a:pt x="55" y="30"/>
                  </a:lnTo>
                  <a:lnTo>
                    <a:pt x="55" y="32"/>
                  </a:lnTo>
                  <a:lnTo>
                    <a:pt x="54" y="33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3" y="31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1" y="28"/>
                  </a:lnTo>
                  <a:lnTo>
                    <a:pt x="50" y="30"/>
                  </a:lnTo>
                  <a:lnTo>
                    <a:pt x="48" y="31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7" y="35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8" y="37"/>
                  </a:lnTo>
                  <a:lnTo>
                    <a:pt x="48" y="38"/>
                  </a:lnTo>
                  <a:lnTo>
                    <a:pt x="47" y="38"/>
                  </a:lnTo>
                  <a:lnTo>
                    <a:pt x="46" y="39"/>
                  </a:lnTo>
                  <a:lnTo>
                    <a:pt x="44" y="40"/>
                  </a:lnTo>
                  <a:lnTo>
                    <a:pt x="44" y="41"/>
                  </a:lnTo>
                  <a:lnTo>
                    <a:pt x="43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39" y="44"/>
                  </a:lnTo>
                  <a:lnTo>
                    <a:pt x="37" y="44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2" y="44"/>
                  </a:lnTo>
                  <a:lnTo>
                    <a:pt x="29" y="45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1" y="54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7" y="57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4"/>
                  </a:lnTo>
                  <a:lnTo>
                    <a:pt x="4" y="65"/>
                  </a:lnTo>
                  <a:lnTo>
                    <a:pt x="4" y="66"/>
                  </a:lnTo>
                  <a:lnTo>
                    <a:pt x="4" y="67"/>
                  </a:lnTo>
                  <a:lnTo>
                    <a:pt x="4" y="68"/>
                  </a:lnTo>
                  <a:lnTo>
                    <a:pt x="5" y="69"/>
                  </a:lnTo>
                  <a:lnTo>
                    <a:pt x="5" y="70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6" y="74"/>
                  </a:lnTo>
                  <a:lnTo>
                    <a:pt x="6" y="73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4" y="83"/>
                  </a:lnTo>
                  <a:lnTo>
                    <a:pt x="5" y="84"/>
                  </a:lnTo>
                  <a:lnTo>
                    <a:pt x="5" y="85"/>
                  </a:lnTo>
                  <a:lnTo>
                    <a:pt x="6" y="85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5" y="89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4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6" y="96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7" y="98"/>
                  </a:lnTo>
                  <a:lnTo>
                    <a:pt x="8" y="100"/>
                  </a:lnTo>
                  <a:lnTo>
                    <a:pt x="8" y="101"/>
                  </a:lnTo>
                  <a:lnTo>
                    <a:pt x="7" y="103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5" y="107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2" y="109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0" y="112"/>
                  </a:lnTo>
                  <a:lnTo>
                    <a:pt x="1" y="112"/>
                  </a:lnTo>
                  <a:lnTo>
                    <a:pt x="2" y="112"/>
                  </a:lnTo>
                  <a:lnTo>
                    <a:pt x="3" y="112"/>
                  </a:lnTo>
                  <a:lnTo>
                    <a:pt x="3" y="113"/>
                  </a:lnTo>
                  <a:lnTo>
                    <a:pt x="4" y="114"/>
                  </a:lnTo>
                  <a:lnTo>
                    <a:pt x="5" y="114"/>
                  </a:lnTo>
                  <a:lnTo>
                    <a:pt x="7" y="114"/>
                  </a:lnTo>
                  <a:lnTo>
                    <a:pt x="7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3" y="115"/>
                  </a:lnTo>
                  <a:lnTo>
                    <a:pt x="14" y="115"/>
                  </a:lnTo>
                  <a:lnTo>
                    <a:pt x="14" y="114"/>
                  </a:lnTo>
                  <a:lnTo>
                    <a:pt x="14" y="113"/>
                  </a:lnTo>
                  <a:lnTo>
                    <a:pt x="16" y="114"/>
                  </a:lnTo>
                  <a:lnTo>
                    <a:pt x="17" y="113"/>
                  </a:lnTo>
                  <a:lnTo>
                    <a:pt x="19" y="112"/>
                  </a:lnTo>
                  <a:lnTo>
                    <a:pt x="21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0" y="109"/>
                  </a:lnTo>
                  <a:lnTo>
                    <a:pt x="30" y="110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2" y="110"/>
                  </a:lnTo>
                  <a:lnTo>
                    <a:pt x="33" y="110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5" y="109"/>
                  </a:lnTo>
                  <a:lnTo>
                    <a:pt x="36" y="109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38" y="108"/>
                  </a:lnTo>
                  <a:lnTo>
                    <a:pt x="39" y="108"/>
                  </a:lnTo>
                  <a:lnTo>
                    <a:pt x="39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1" y="106"/>
                  </a:lnTo>
                  <a:lnTo>
                    <a:pt x="41" y="104"/>
                  </a:lnTo>
                  <a:lnTo>
                    <a:pt x="42" y="103"/>
                  </a:lnTo>
                  <a:lnTo>
                    <a:pt x="43" y="103"/>
                  </a:lnTo>
                  <a:lnTo>
                    <a:pt x="44" y="103"/>
                  </a:lnTo>
                  <a:lnTo>
                    <a:pt x="45" y="103"/>
                  </a:lnTo>
                  <a:lnTo>
                    <a:pt x="46" y="103"/>
                  </a:lnTo>
                  <a:lnTo>
                    <a:pt x="47" y="103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50" y="101"/>
                  </a:lnTo>
                  <a:lnTo>
                    <a:pt x="52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2"/>
                  </a:lnTo>
                  <a:lnTo>
                    <a:pt x="57" y="101"/>
                  </a:lnTo>
                  <a:lnTo>
                    <a:pt x="61" y="99"/>
                  </a:lnTo>
                  <a:lnTo>
                    <a:pt x="63" y="99"/>
                  </a:lnTo>
                  <a:lnTo>
                    <a:pt x="65" y="98"/>
                  </a:lnTo>
                  <a:lnTo>
                    <a:pt x="67" y="98"/>
                  </a:lnTo>
                  <a:lnTo>
                    <a:pt x="69" y="98"/>
                  </a:lnTo>
                  <a:lnTo>
                    <a:pt x="72" y="98"/>
                  </a:lnTo>
                  <a:lnTo>
                    <a:pt x="73" y="97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9"/>
                  </a:lnTo>
                  <a:lnTo>
                    <a:pt x="77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79" y="101"/>
                  </a:lnTo>
                  <a:lnTo>
                    <a:pt x="80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2" y="103"/>
                  </a:lnTo>
                  <a:lnTo>
                    <a:pt x="81" y="104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2" y="107"/>
                  </a:lnTo>
                  <a:lnTo>
                    <a:pt x="83" y="106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2" y="112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5"/>
                  </a:lnTo>
                  <a:lnTo>
                    <a:pt x="86" y="115"/>
                  </a:lnTo>
                  <a:lnTo>
                    <a:pt x="86" y="114"/>
                  </a:lnTo>
                  <a:lnTo>
                    <a:pt x="86" y="113"/>
                  </a:lnTo>
                  <a:lnTo>
                    <a:pt x="86" y="112"/>
                  </a:lnTo>
                  <a:lnTo>
                    <a:pt x="86" y="111"/>
                  </a:lnTo>
                  <a:lnTo>
                    <a:pt x="87" y="111"/>
                  </a:lnTo>
                  <a:lnTo>
                    <a:pt x="88" y="110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0" y="110"/>
                  </a:lnTo>
                  <a:lnTo>
                    <a:pt x="91" y="109"/>
                  </a:lnTo>
                  <a:lnTo>
                    <a:pt x="91" y="108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3" y="107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7" y="104"/>
                  </a:lnTo>
                  <a:lnTo>
                    <a:pt x="98" y="103"/>
                  </a:lnTo>
                  <a:lnTo>
                    <a:pt x="98" y="102"/>
                  </a:lnTo>
                  <a:lnTo>
                    <a:pt x="98" y="101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3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98" y="104"/>
                  </a:lnTo>
                  <a:lnTo>
                    <a:pt x="98" y="105"/>
                  </a:lnTo>
                  <a:lnTo>
                    <a:pt x="97" y="105"/>
                  </a:lnTo>
                  <a:lnTo>
                    <a:pt x="96" y="106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6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4" y="109"/>
                  </a:lnTo>
                  <a:lnTo>
                    <a:pt x="92" y="111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91" y="114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4" y="113"/>
                  </a:lnTo>
                  <a:lnTo>
                    <a:pt x="94" y="112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2"/>
                  </a:lnTo>
                  <a:lnTo>
                    <a:pt x="96" y="113"/>
                  </a:lnTo>
                  <a:lnTo>
                    <a:pt x="96" y="114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4" y="116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5" y="117"/>
                  </a:lnTo>
                  <a:lnTo>
                    <a:pt x="96" y="117"/>
                  </a:lnTo>
                  <a:lnTo>
                    <a:pt x="98" y="117"/>
                  </a:lnTo>
                  <a:lnTo>
                    <a:pt x="98" y="118"/>
                  </a:lnTo>
                  <a:lnTo>
                    <a:pt x="96" y="120"/>
                  </a:lnTo>
                  <a:lnTo>
                    <a:pt x="96" y="120"/>
                  </a:lnTo>
                  <a:lnTo>
                    <a:pt x="97" y="120"/>
                  </a:lnTo>
                  <a:lnTo>
                    <a:pt x="98" y="122"/>
                  </a:lnTo>
                  <a:lnTo>
                    <a:pt x="98" y="123"/>
                  </a:lnTo>
                  <a:lnTo>
                    <a:pt x="98" y="123"/>
                  </a:lnTo>
                  <a:lnTo>
                    <a:pt x="95" y="126"/>
                  </a:lnTo>
                  <a:lnTo>
                    <a:pt x="95" y="127"/>
                  </a:lnTo>
                  <a:lnTo>
                    <a:pt x="96" y="127"/>
                  </a:lnTo>
                  <a:lnTo>
                    <a:pt x="96" y="128"/>
                  </a:lnTo>
                  <a:lnTo>
                    <a:pt x="98" y="129"/>
                  </a:lnTo>
                  <a:lnTo>
                    <a:pt x="99" y="129"/>
                  </a:lnTo>
                  <a:lnTo>
                    <a:pt x="99" y="130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5" y="132"/>
                  </a:lnTo>
                  <a:lnTo>
                    <a:pt x="107" y="133"/>
                  </a:lnTo>
                  <a:lnTo>
                    <a:pt x="108" y="134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3" y="132"/>
                  </a:lnTo>
                  <a:lnTo>
                    <a:pt x="114" y="131"/>
                  </a:lnTo>
                  <a:lnTo>
                    <a:pt x="114" y="129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6" y="129"/>
                  </a:lnTo>
                  <a:lnTo>
                    <a:pt x="116" y="132"/>
                  </a:lnTo>
                  <a:lnTo>
                    <a:pt x="117" y="132"/>
                  </a:lnTo>
                  <a:lnTo>
                    <a:pt x="116" y="133"/>
                  </a:lnTo>
                  <a:lnTo>
                    <a:pt x="117" y="133"/>
                  </a:lnTo>
                  <a:lnTo>
                    <a:pt x="117" y="134"/>
                  </a:lnTo>
                  <a:lnTo>
                    <a:pt x="117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0" y="134"/>
                  </a:lnTo>
                  <a:lnTo>
                    <a:pt x="122" y="134"/>
                  </a:lnTo>
                  <a:lnTo>
                    <a:pt x="122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6" y="130"/>
                  </a:lnTo>
                  <a:lnTo>
                    <a:pt x="127" y="129"/>
                  </a:lnTo>
                  <a:lnTo>
                    <a:pt x="126" y="129"/>
                  </a:lnTo>
                  <a:lnTo>
                    <a:pt x="128" y="128"/>
                  </a:lnTo>
                  <a:lnTo>
                    <a:pt x="129" y="129"/>
                  </a:lnTo>
                  <a:lnTo>
                    <a:pt x="130" y="129"/>
                  </a:lnTo>
                  <a:lnTo>
                    <a:pt x="132" y="128"/>
                  </a:lnTo>
                  <a:lnTo>
                    <a:pt x="135" y="128"/>
                  </a:lnTo>
                  <a:lnTo>
                    <a:pt x="136" y="127"/>
                  </a:lnTo>
                  <a:lnTo>
                    <a:pt x="137" y="125"/>
                  </a:lnTo>
                  <a:lnTo>
                    <a:pt x="137" y="123"/>
                  </a:lnTo>
                  <a:lnTo>
                    <a:pt x="137" y="122"/>
                  </a:lnTo>
                  <a:lnTo>
                    <a:pt x="138" y="122"/>
                  </a:lnTo>
                  <a:lnTo>
                    <a:pt x="139" y="120"/>
                  </a:lnTo>
                  <a:lnTo>
                    <a:pt x="140" y="120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1" y="118"/>
                  </a:lnTo>
                  <a:lnTo>
                    <a:pt x="142" y="117"/>
                  </a:lnTo>
                  <a:lnTo>
                    <a:pt x="142" y="116"/>
                  </a:lnTo>
                  <a:lnTo>
                    <a:pt x="143" y="115"/>
                  </a:lnTo>
                  <a:lnTo>
                    <a:pt x="143" y="114"/>
                  </a:lnTo>
                  <a:lnTo>
                    <a:pt x="143" y="113"/>
                  </a:lnTo>
                  <a:lnTo>
                    <a:pt x="144" y="112"/>
                  </a:lnTo>
                  <a:lnTo>
                    <a:pt x="144" y="111"/>
                  </a:lnTo>
                  <a:lnTo>
                    <a:pt x="146" y="110"/>
                  </a:lnTo>
                  <a:lnTo>
                    <a:pt x="147" y="109"/>
                  </a:lnTo>
                  <a:lnTo>
                    <a:pt x="148" y="107"/>
                  </a:lnTo>
                  <a:lnTo>
                    <a:pt x="149" y="107"/>
                  </a:lnTo>
                  <a:lnTo>
                    <a:pt x="149" y="106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2" y="104"/>
                  </a:lnTo>
                  <a:lnTo>
                    <a:pt x="153" y="103"/>
                  </a:lnTo>
                  <a:lnTo>
                    <a:pt x="154" y="102"/>
                  </a:lnTo>
                  <a:lnTo>
                    <a:pt x="155" y="101"/>
                  </a:lnTo>
                  <a:lnTo>
                    <a:pt x="157" y="99"/>
                  </a:lnTo>
                  <a:lnTo>
                    <a:pt x="158" y="98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9" y="95"/>
                  </a:lnTo>
                  <a:lnTo>
                    <a:pt x="159" y="94"/>
                  </a:lnTo>
                  <a:lnTo>
                    <a:pt x="159" y="93"/>
                  </a:lnTo>
                  <a:lnTo>
                    <a:pt x="159" y="93"/>
                  </a:lnTo>
                  <a:lnTo>
                    <a:pt x="160" y="91"/>
                  </a:lnTo>
                  <a:lnTo>
                    <a:pt x="161" y="90"/>
                  </a:lnTo>
                  <a:lnTo>
                    <a:pt x="162" y="87"/>
                  </a:lnTo>
                  <a:lnTo>
                    <a:pt x="164" y="85"/>
                  </a:lnTo>
                  <a:lnTo>
                    <a:pt x="164" y="83"/>
                  </a:lnTo>
                  <a:lnTo>
                    <a:pt x="165" y="82"/>
                  </a:lnTo>
                  <a:lnTo>
                    <a:pt x="165" y="81"/>
                  </a:lnTo>
                  <a:lnTo>
                    <a:pt x="164" y="79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6" y="74"/>
                  </a:lnTo>
                  <a:lnTo>
                    <a:pt x="166" y="71"/>
                  </a:lnTo>
                  <a:lnTo>
                    <a:pt x="166" y="69"/>
                  </a:lnTo>
                  <a:lnTo>
                    <a:pt x="166" y="68"/>
                  </a:lnTo>
                  <a:lnTo>
                    <a:pt x="164" y="68"/>
                  </a:lnTo>
                  <a:lnTo>
                    <a:pt x="164" y="68"/>
                  </a:lnTo>
                  <a:close/>
                  <a:moveTo>
                    <a:pt x="118" y="142"/>
                  </a:moveTo>
                  <a:lnTo>
                    <a:pt x="118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19" y="141"/>
                  </a:lnTo>
                  <a:lnTo>
                    <a:pt x="118" y="142"/>
                  </a:lnTo>
                  <a:lnTo>
                    <a:pt x="118" y="142"/>
                  </a:lnTo>
                  <a:close/>
                  <a:moveTo>
                    <a:pt x="117" y="143"/>
                  </a:moveTo>
                  <a:lnTo>
                    <a:pt x="116" y="143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3"/>
                  </a:lnTo>
                  <a:lnTo>
                    <a:pt x="114" y="143"/>
                  </a:lnTo>
                  <a:lnTo>
                    <a:pt x="113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1" y="143"/>
                  </a:lnTo>
                  <a:lnTo>
                    <a:pt x="109" y="143"/>
                  </a:lnTo>
                  <a:lnTo>
                    <a:pt x="107" y="142"/>
                  </a:lnTo>
                  <a:lnTo>
                    <a:pt x="107" y="142"/>
                  </a:lnTo>
                  <a:lnTo>
                    <a:pt x="107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0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4" y="146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02" y="149"/>
                  </a:lnTo>
                  <a:lnTo>
                    <a:pt x="101" y="150"/>
                  </a:lnTo>
                  <a:lnTo>
                    <a:pt x="101" y="151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4" y="153"/>
                  </a:lnTo>
                  <a:lnTo>
                    <a:pt x="103" y="154"/>
                  </a:lnTo>
                  <a:lnTo>
                    <a:pt x="103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8" y="155"/>
                  </a:lnTo>
                  <a:lnTo>
                    <a:pt x="110" y="155"/>
                  </a:lnTo>
                  <a:lnTo>
                    <a:pt x="111" y="154"/>
                  </a:lnTo>
                  <a:lnTo>
                    <a:pt x="111" y="154"/>
                  </a:lnTo>
                  <a:lnTo>
                    <a:pt x="112" y="153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3" y="149"/>
                  </a:lnTo>
                  <a:lnTo>
                    <a:pt x="114" y="149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6" y="145"/>
                  </a:lnTo>
                  <a:lnTo>
                    <a:pt x="116" y="145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43"/>
                  </a:lnTo>
                  <a:close/>
                  <a:moveTo>
                    <a:pt x="112" y="14"/>
                  </a:moveTo>
                  <a:lnTo>
                    <a:pt x="111" y="15"/>
                  </a:lnTo>
                  <a:lnTo>
                    <a:pt x="111" y="16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1" y="18"/>
                  </a:lnTo>
                  <a:lnTo>
                    <a:pt x="113" y="18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close/>
                  <a:moveTo>
                    <a:pt x="104" y="136"/>
                  </a:moveTo>
                  <a:lnTo>
                    <a:pt x="103" y="138"/>
                  </a:lnTo>
                  <a:lnTo>
                    <a:pt x="106" y="136"/>
                  </a:lnTo>
                  <a:lnTo>
                    <a:pt x="104" y="136"/>
                  </a:lnTo>
                  <a:lnTo>
                    <a:pt x="104" y="136"/>
                  </a:lnTo>
                  <a:close/>
                  <a:moveTo>
                    <a:pt x="119" y="140"/>
                  </a:moveTo>
                  <a:lnTo>
                    <a:pt x="118" y="137"/>
                  </a:lnTo>
                  <a:lnTo>
                    <a:pt x="117" y="138"/>
                  </a:lnTo>
                  <a:lnTo>
                    <a:pt x="117" y="139"/>
                  </a:lnTo>
                  <a:lnTo>
                    <a:pt x="118" y="140"/>
                  </a:lnTo>
                  <a:lnTo>
                    <a:pt x="119" y="140"/>
                  </a:lnTo>
                  <a:lnTo>
                    <a:pt x="119" y="140"/>
                  </a:lnTo>
                  <a:lnTo>
                    <a:pt x="119" y="14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16" name="Rechteck 815"/>
            <p:cNvSpPr/>
            <p:nvPr/>
          </p:nvSpPr>
          <p:spPr bwMode="gray">
            <a:xfrm>
              <a:off x="1764357" y="3473792"/>
              <a:ext cx="1293777" cy="14989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728" name="Freeform 224"/>
            <p:cNvSpPr>
              <a:spLocks/>
            </p:cNvSpPr>
            <p:nvPr/>
          </p:nvSpPr>
          <p:spPr bwMode="gray">
            <a:xfrm>
              <a:off x="2516188" y="4581525"/>
              <a:ext cx="90488" cy="84137"/>
            </a:xfrm>
            <a:custGeom>
              <a:avLst/>
              <a:gdLst/>
              <a:ahLst/>
              <a:cxnLst>
                <a:cxn ang="0">
                  <a:pos x="49" y="11"/>
                </a:cxn>
                <a:cxn ang="0">
                  <a:pos x="44" y="10"/>
                </a:cxn>
                <a:cxn ang="0">
                  <a:pos x="39" y="11"/>
                </a:cxn>
                <a:cxn ang="0">
                  <a:pos x="35" y="10"/>
                </a:cxn>
                <a:cxn ang="0">
                  <a:pos x="22" y="3"/>
                </a:cxn>
                <a:cxn ang="0">
                  <a:pos x="20" y="5"/>
                </a:cxn>
                <a:cxn ang="0">
                  <a:pos x="16" y="6"/>
                </a:cxn>
                <a:cxn ang="0">
                  <a:pos x="10" y="2"/>
                </a:cxn>
                <a:cxn ang="0">
                  <a:pos x="11" y="12"/>
                </a:cxn>
                <a:cxn ang="0">
                  <a:pos x="10" y="15"/>
                </a:cxn>
                <a:cxn ang="0">
                  <a:pos x="9" y="18"/>
                </a:cxn>
                <a:cxn ang="0">
                  <a:pos x="10" y="24"/>
                </a:cxn>
                <a:cxn ang="0">
                  <a:pos x="6" y="27"/>
                </a:cxn>
                <a:cxn ang="0">
                  <a:pos x="2" y="24"/>
                </a:cxn>
                <a:cxn ang="0">
                  <a:pos x="1" y="27"/>
                </a:cxn>
                <a:cxn ang="0">
                  <a:pos x="0" y="33"/>
                </a:cxn>
                <a:cxn ang="0">
                  <a:pos x="2" y="42"/>
                </a:cxn>
                <a:cxn ang="0">
                  <a:pos x="4" y="45"/>
                </a:cxn>
                <a:cxn ang="0">
                  <a:pos x="5" y="48"/>
                </a:cxn>
                <a:cxn ang="0">
                  <a:pos x="9" y="52"/>
                </a:cxn>
                <a:cxn ang="0">
                  <a:pos x="11" y="50"/>
                </a:cxn>
                <a:cxn ang="0">
                  <a:pos x="15" y="52"/>
                </a:cxn>
                <a:cxn ang="0">
                  <a:pos x="22" y="50"/>
                </a:cxn>
                <a:cxn ang="0">
                  <a:pos x="25" y="47"/>
                </a:cxn>
                <a:cxn ang="0">
                  <a:pos x="28" y="48"/>
                </a:cxn>
                <a:cxn ang="0">
                  <a:pos x="26" y="52"/>
                </a:cxn>
                <a:cxn ang="0">
                  <a:pos x="33" y="49"/>
                </a:cxn>
                <a:cxn ang="0">
                  <a:pos x="37" y="45"/>
                </a:cxn>
                <a:cxn ang="0">
                  <a:pos x="41" y="40"/>
                </a:cxn>
                <a:cxn ang="0">
                  <a:pos x="37" y="38"/>
                </a:cxn>
                <a:cxn ang="0">
                  <a:pos x="47" y="31"/>
                </a:cxn>
                <a:cxn ang="0">
                  <a:pos x="49" y="21"/>
                </a:cxn>
                <a:cxn ang="0">
                  <a:pos x="53" y="17"/>
                </a:cxn>
                <a:cxn ang="0">
                  <a:pos x="56" y="13"/>
                </a:cxn>
                <a:cxn ang="0">
                  <a:pos x="57" y="10"/>
                </a:cxn>
                <a:cxn ang="0">
                  <a:pos x="52" y="8"/>
                </a:cxn>
              </a:cxnLst>
              <a:rect l="0" t="0" r="r" b="b"/>
              <a:pathLst>
                <a:path w="57" h="53">
                  <a:moveTo>
                    <a:pt x="52" y="8"/>
                  </a:moveTo>
                  <a:lnTo>
                    <a:pt x="49" y="11"/>
                  </a:lnTo>
                  <a:lnTo>
                    <a:pt x="49" y="10"/>
                  </a:lnTo>
                  <a:lnTo>
                    <a:pt x="44" y="10"/>
                  </a:lnTo>
                  <a:lnTo>
                    <a:pt x="42" y="11"/>
                  </a:lnTo>
                  <a:lnTo>
                    <a:pt x="39" y="11"/>
                  </a:lnTo>
                  <a:lnTo>
                    <a:pt x="38" y="13"/>
                  </a:lnTo>
                  <a:lnTo>
                    <a:pt x="35" y="10"/>
                  </a:lnTo>
                  <a:lnTo>
                    <a:pt x="27" y="10"/>
                  </a:lnTo>
                  <a:lnTo>
                    <a:pt x="22" y="3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1" y="7"/>
                  </a:lnTo>
                  <a:lnTo>
                    <a:pt x="11" y="12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10" y="21"/>
                  </a:lnTo>
                  <a:lnTo>
                    <a:pt x="10" y="24"/>
                  </a:lnTo>
                  <a:lnTo>
                    <a:pt x="7" y="26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1" y="27"/>
                  </a:lnTo>
                  <a:lnTo>
                    <a:pt x="1" y="29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4" y="45"/>
                  </a:lnTo>
                  <a:lnTo>
                    <a:pt x="9" y="45"/>
                  </a:lnTo>
                  <a:lnTo>
                    <a:pt x="5" y="48"/>
                  </a:lnTo>
                  <a:lnTo>
                    <a:pt x="6" y="53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5" y="52"/>
                  </a:lnTo>
                  <a:lnTo>
                    <a:pt x="20" y="52"/>
                  </a:lnTo>
                  <a:lnTo>
                    <a:pt x="22" y="50"/>
                  </a:lnTo>
                  <a:lnTo>
                    <a:pt x="23" y="49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8" y="48"/>
                  </a:lnTo>
                  <a:lnTo>
                    <a:pt x="28" y="49"/>
                  </a:lnTo>
                  <a:lnTo>
                    <a:pt x="26" y="52"/>
                  </a:lnTo>
                  <a:lnTo>
                    <a:pt x="30" y="53"/>
                  </a:lnTo>
                  <a:lnTo>
                    <a:pt x="33" y="49"/>
                  </a:lnTo>
                  <a:lnTo>
                    <a:pt x="35" y="47"/>
                  </a:lnTo>
                  <a:lnTo>
                    <a:pt x="37" y="45"/>
                  </a:lnTo>
                  <a:lnTo>
                    <a:pt x="38" y="43"/>
                  </a:lnTo>
                  <a:lnTo>
                    <a:pt x="41" y="40"/>
                  </a:lnTo>
                  <a:lnTo>
                    <a:pt x="39" y="40"/>
                  </a:lnTo>
                  <a:lnTo>
                    <a:pt x="37" y="38"/>
                  </a:lnTo>
                  <a:lnTo>
                    <a:pt x="41" y="31"/>
                  </a:lnTo>
                  <a:lnTo>
                    <a:pt x="47" y="31"/>
                  </a:lnTo>
                  <a:lnTo>
                    <a:pt x="49" y="26"/>
                  </a:lnTo>
                  <a:lnTo>
                    <a:pt x="49" y="21"/>
                  </a:lnTo>
                  <a:lnTo>
                    <a:pt x="51" y="18"/>
                  </a:lnTo>
                  <a:lnTo>
                    <a:pt x="53" y="17"/>
                  </a:lnTo>
                  <a:lnTo>
                    <a:pt x="54" y="15"/>
                  </a:lnTo>
                  <a:lnTo>
                    <a:pt x="56" y="13"/>
                  </a:lnTo>
                  <a:lnTo>
                    <a:pt x="57" y="11"/>
                  </a:lnTo>
                  <a:lnTo>
                    <a:pt x="57" y="10"/>
                  </a:lnTo>
                  <a:lnTo>
                    <a:pt x="56" y="8"/>
                  </a:lnTo>
                  <a:lnTo>
                    <a:pt x="52" y="8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29" name="Freeform 225"/>
            <p:cNvSpPr>
              <a:spLocks/>
            </p:cNvSpPr>
            <p:nvPr/>
          </p:nvSpPr>
          <p:spPr bwMode="gray">
            <a:xfrm>
              <a:off x="2439988" y="3798888"/>
              <a:ext cx="11113" cy="14287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6" y="4"/>
                </a:cxn>
                <a:cxn ang="0">
                  <a:pos x="7" y="2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1" y="3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4" y="6"/>
                </a:cxn>
              </a:cxnLst>
              <a:rect l="0" t="0" r="r" b="b"/>
              <a:pathLst>
                <a:path w="7" h="9">
                  <a:moveTo>
                    <a:pt x="4" y="6"/>
                  </a:moveTo>
                  <a:lnTo>
                    <a:pt x="6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0" name="Freeform 226"/>
            <p:cNvSpPr>
              <a:spLocks/>
            </p:cNvSpPr>
            <p:nvPr/>
          </p:nvSpPr>
          <p:spPr bwMode="gray">
            <a:xfrm>
              <a:off x="2420938" y="4449763"/>
              <a:ext cx="31750" cy="11112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7"/>
                </a:cxn>
                <a:cxn ang="0">
                  <a:pos x="6" y="7"/>
                </a:cxn>
                <a:cxn ang="0">
                  <a:pos x="8" y="6"/>
                </a:cxn>
                <a:cxn ang="0">
                  <a:pos x="11" y="5"/>
                </a:cxn>
                <a:cxn ang="0">
                  <a:pos x="14" y="5"/>
                </a:cxn>
                <a:cxn ang="0">
                  <a:pos x="16" y="4"/>
                </a:cxn>
                <a:cxn ang="0">
                  <a:pos x="19" y="4"/>
                </a:cxn>
                <a:cxn ang="0">
                  <a:pos x="20" y="3"/>
                </a:cxn>
                <a:cxn ang="0">
                  <a:pos x="16" y="3"/>
                </a:cxn>
                <a:cxn ang="0">
                  <a:pos x="13" y="0"/>
                </a:cxn>
              </a:cxnLst>
              <a:rect l="0" t="0" r="r" b="b"/>
              <a:pathLst>
                <a:path w="20" h="7">
                  <a:moveTo>
                    <a:pt x="13" y="0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7"/>
                  </a:lnTo>
                  <a:lnTo>
                    <a:pt x="6" y="7"/>
                  </a:lnTo>
                  <a:lnTo>
                    <a:pt x="8" y="6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6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16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1" name="Freeform 227"/>
            <p:cNvSpPr>
              <a:spLocks/>
            </p:cNvSpPr>
            <p:nvPr/>
          </p:nvSpPr>
          <p:spPr bwMode="gray">
            <a:xfrm>
              <a:off x="2525713" y="4552950"/>
              <a:ext cx="19050" cy="1587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10"/>
                </a:cxn>
                <a:cxn ang="0">
                  <a:pos x="12" y="0"/>
                </a:cxn>
                <a:cxn ang="0">
                  <a:pos x="3" y="2"/>
                </a:cxn>
              </a:cxnLst>
              <a:rect l="0" t="0" r="r" b="b"/>
              <a:pathLst>
                <a:path w="12" h="10">
                  <a:moveTo>
                    <a:pt x="3" y="2"/>
                  </a:moveTo>
                  <a:lnTo>
                    <a:pt x="0" y="10"/>
                  </a:lnTo>
                  <a:lnTo>
                    <a:pt x="12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3B75B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2" name="Freeform 228"/>
            <p:cNvSpPr>
              <a:spLocks/>
            </p:cNvSpPr>
            <p:nvPr/>
          </p:nvSpPr>
          <p:spPr bwMode="gray">
            <a:xfrm>
              <a:off x="2611438" y="4583113"/>
              <a:ext cx="11113" cy="793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5"/>
                </a:cxn>
                <a:cxn ang="0">
                  <a:pos x="3" y="5"/>
                </a:cxn>
                <a:cxn ang="0">
                  <a:pos x="5" y="4"/>
                </a:cxn>
                <a:cxn ang="0">
                  <a:pos x="7" y="2"/>
                </a:cxn>
                <a:cxn ang="0">
                  <a:pos x="4" y="0"/>
                </a:cxn>
                <a:cxn ang="0">
                  <a:pos x="0" y="4"/>
                </a:cxn>
              </a:cxnLst>
              <a:rect l="0" t="0" r="r" b="b"/>
              <a:pathLst>
                <a:path w="7" h="5">
                  <a:moveTo>
                    <a:pt x="0" y="4"/>
                  </a:moveTo>
                  <a:lnTo>
                    <a:pt x="2" y="5"/>
                  </a:lnTo>
                  <a:lnTo>
                    <a:pt x="3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3B75B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3" name="Freeform 229"/>
            <p:cNvSpPr>
              <a:spLocks/>
            </p:cNvSpPr>
            <p:nvPr/>
          </p:nvSpPr>
          <p:spPr bwMode="gray">
            <a:xfrm>
              <a:off x="2568576" y="3862388"/>
              <a:ext cx="15875" cy="17462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3" y="11"/>
                </a:cxn>
                <a:cxn ang="0">
                  <a:pos x="8" y="11"/>
                </a:cxn>
                <a:cxn ang="0">
                  <a:pos x="9" y="10"/>
                </a:cxn>
                <a:cxn ang="0">
                  <a:pos x="10" y="10"/>
                </a:cxn>
                <a:cxn ang="0">
                  <a:pos x="9" y="7"/>
                </a:cxn>
                <a:cxn ang="0">
                  <a:pos x="10" y="1"/>
                </a:cxn>
                <a:cxn ang="0">
                  <a:pos x="8" y="1"/>
                </a:cxn>
              </a:cxnLst>
              <a:rect l="0" t="0" r="r" b="b"/>
              <a:pathLst>
                <a:path w="10" h="11">
                  <a:moveTo>
                    <a:pt x="8" y="1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1"/>
                  </a:lnTo>
                  <a:lnTo>
                    <a:pt x="8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9" y="7"/>
                  </a:lnTo>
                  <a:lnTo>
                    <a:pt x="1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4" name="Freeform 230"/>
            <p:cNvSpPr>
              <a:spLocks/>
            </p:cNvSpPr>
            <p:nvPr/>
          </p:nvSpPr>
          <p:spPr bwMode="gray">
            <a:xfrm>
              <a:off x="2228851" y="3779838"/>
              <a:ext cx="657225" cy="769937"/>
            </a:xfrm>
            <a:custGeom>
              <a:avLst/>
              <a:gdLst/>
              <a:ahLst/>
              <a:cxnLst>
                <a:cxn ang="0">
                  <a:pos x="401" y="226"/>
                </a:cxn>
                <a:cxn ang="0">
                  <a:pos x="390" y="207"/>
                </a:cxn>
                <a:cxn ang="0">
                  <a:pos x="386" y="189"/>
                </a:cxn>
                <a:cxn ang="0">
                  <a:pos x="383" y="179"/>
                </a:cxn>
                <a:cxn ang="0">
                  <a:pos x="378" y="159"/>
                </a:cxn>
                <a:cxn ang="0">
                  <a:pos x="350" y="141"/>
                </a:cxn>
                <a:cxn ang="0">
                  <a:pos x="341" y="89"/>
                </a:cxn>
                <a:cxn ang="0">
                  <a:pos x="334" y="58"/>
                </a:cxn>
                <a:cxn ang="0">
                  <a:pos x="324" y="46"/>
                </a:cxn>
                <a:cxn ang="0">
                  <a:pos x="315" y="4"/>
                </a:cxn>
                <a:cxn ang="0">
                  <a:pos x="298" y="16"/>
                </a:cxn>
                <a:cxn ang="0">
                  <a:pos x="292" y="42"/>
                </a:cxn>
                <a:cxn ang="0">
                  <a:pos x="282" y="90"/>
                </a:cxn>
                <a:cxn ang="0">
                  <a:pos x="269" y="116"/>
                </a:cxn>
                <a:cxn ang="0">
                  <a:pos x="238" y="102"/>
                </a:cxn>
                <a:cxn ang="0">
                  <a:pos x="197" y="73"/>
                </a:cxn>
                <a:cxn ang="0">
                  <a:pos x="212" y="46"/>
                </a:cxn>
                <a:cxn ang="0">
                  <a:pos x="220" y="22"/>
                </a:cxn>
                <a:cxn ang="0">
                  <a:pos x="186" y="23"/>
                </a:cxn>
                <a:cxn ang="0">
                  <a:pos x="164" y="15"/>
                </a:cxn>
                <a:cxn ang="0">
                  <a:pos x="148" y="10"/>
                </a:cxn>
                <a:cxn ang="0">
                  <a:pos x="154" y="20"/>
                </a:cxn>
                <a:cxn ang="0">
                  <a:pos x="137" y="27"/>
                </a:cxn>
                <a:cxn ang="0">
                  <a:pos x="117" y="43"/>
                </a:cxn>
                <a:cxn ang="0">
                  <a:pos x="104" y="69"/>
                </a:cxn>
                <a:cxn ang="0">
                  <a:pos x="93" y="74"/>
                </a:cxn>
                <a:cxn ang="0">
                  <a:pos x="85" y="67"/>
                </a:cxn>
                <a:cxn ang="0">
                  <a:pos x="71" y="49"/>
                </a:cxn>
                <a:cxn ang="0">
                  <a:pos x="56" y="63"/>
                </a:cxn>
                <a:cxn ang="0">
                  <a:pos x="45" y="73"/>
                </a:cxn>
                <a:cxn ang="0">
                  <a:pos x="30" y="88"/>
                </a:cxn>
                <a:cxn ang="0">
                  <a:pos x="11" y="97"/>
                </a:cxn>
                <a:cxn ang="0">
                  <a:pos x="9" y="126"/>
                </a:cxn>
                <a:cxn ang="0">
                  <a:pos x="49" y="353"/>
                </a:cxn>
                <a:cxn ang="0">
                  <a:pos x="96" y="359"/>
                </a:cxn>
                <a:cxn ang="0">
                  <a:pos x="108" y="367"/>
                </a:cxn>
                <a:cxn ang="0">
                  <a:pos x="118" y="390"/>
                </a:cxn>
                <a:cxn ang="0">
                  <a:pos x="114" y="410"/>
                </a:cxn>
                <a:cxn ang="0">
                  <a:pos x="128" y="399"/>
                </a:cxn>
                <a:cxn ang="0">
                  <a:pos x="153" y="385"/>
                </a:cxn>
                <a:cxn ang="0">
                  <a:pos x="171" y="371"/>
                </a:cxn>
                <a:cxn ang="0">
                  <a:pos x="159" y="390"/>
                </a:cxn>
                <a:cxn ang="0">
                  <a:pos x="137" y="413"/>
                </a:cxn>
                <a:cxn ang="0">
                  <a:pos x="158" y="400"/>
                </a:cxn>
                <a:cxn ang="0">
                  <a:pos x="155" y="420"/>
                </a:cxn>
                <a:cxn ang="0">
                  <a:pos x="169" y="439"/>
                </a:cxn>
                <a:cxn ang="0">
                  <a:pos x="174" y="466"/>
                </a:cxn>
                <a:cxn ang="0">
                  <a:pos x="227" y="470"/>
                </a:cxn>
                <a:cxn ang="0">
                  <a:pos x="238" y="480"/>
                </a:cxn>
                <a:cxn ang="0">
                  <a:pos x="256" y="479"/>
                </a:cxn>
                <a:cxn ang="0">
                  <a:pos x="281" y="463"/>
                </a:cxn>
                <a:cxn ang="0">
                  <a:pos x="318" y="431"/>
                </a:cxn>
                <a:cxn ang="0">
                  <a:pos x="332" y="410"/>
                </a:cxn>
                <a:cxn ang="0">
                  <a:pos x="355" y="379"/>
                </a:cxn>
                <a:cxn ang="0">
                  <a:pos x="383" y="350"/>
                </a:cxn>
                <a:cxn ang="0">
                  <a:pos x="401" y="312"/>
                </a:cxn>
                <a:cxn ang="0">
                  <a:pos x="414" y="255"/>
                </a:cxn>
              </a:cxnLst>
              <a:rect l="0" t="0" r="r" b="b"/>
              <a:pathLst>
                <a:path w="414" h="485">
                  <a:moveTo>
                    <a:pt x="413" y="249"/>
                  </a:moveTo>
                  <a:lnTo>
                    <a:pt x="413" y="246"/>
                  </a:lnTo>
                  <a:lnTo>
                    <a:pt x="407" y="243"/>
                  </a:lnTo>
                  <a:lnTo>
                    <a:pt x="407" y="237"/>
                  </a:lnTo>
                  <a:lnTo>
                    <a:pt x="406" y="233"/>
                  </a:lnTo>
                  <a:lnTo>
                    <a:pt x="406" y="228"/>
                  </a:lnTo>
                  <a:lnTo>
                    <a:pt x="404" y="227"/>
                  </a:lnTo>
                  <a:lnTo>
                    <a:pt x="402" y="227"/>
                  </a:lnTo>
                  <a:lnTo>
                    <a:pt x="401" y="226"/>
                  </a:lnTo>
                  <a:lnTo>
                    <a:pt x="398" y="226"/>
                  </a:lnTo>
                  <a:lnTo>
                    <a:pt x="398" y="222"/>
                  </a:lnTo>
                  <a:lnTo>
                    <a:pt x="394" y="220"/>
                  </a:lnTo>
                  <a:lnTo>
                    <a:pt x="394" y="212"/>
                  </a:lnTo>
                  <a:lnTo>
                    <a:pt x="393" y="211"/>
                  </a:lnTo>
                  <a:lnTo>
                    <a:pt x="391" y="210"/>
                  </a:lnTo>
                  <a:lnTo>
                    <a:pt x="390" y="209"/>
                  </a:lnTo>
                  <a:lnTo>
                    <a:pt x="388" y="209"/>
                  </a:lnTo>
                  <a:lnTo>
                    <a:pt x="390" y="207"/>
                  </a:lnTo>
                  <a:lnTo>
                    <a:pt x="392" y="207"/>
                  </a:lnTo>
                  <a:lnTo>
                    <a:pt x="394" y="206"/>
                  </a:lnTo>
                  <a:lnTo>
                    <a:pt x="398" y="202"/>
                  </a:lnTo>
                  <a:lnTo>
                    <a:pt x="397" y="200"/>
                  </a:lnTo>
                  <a:lnTo>
                    <a:pt x="393" y="196"/>
                  </a:lnTo>
                  <a:lnTo>
                    <a:pt x="392" y="196"/>
                  </a:lnTo>
                  <a:lnTo>
                    <a:pt x="392" y="195"/>
                  </a:lnTo>
                  <a:lnTo>
                    <a:pt x="388" y="190"/>
                  </a:lnTo>
                  <a:lnTo>
                    <a:pt x="386" y="189"/>
                  </a:lnTo>
                  <a:lnTo>
                    <a:pt x="385" y="190"/>
                  </a:lnTo>
                  <a:lnTo>
                    <a:pt x="385" y="196"/>
                  </a:lnTo>
                  <a:lnTo>
                    <a:pt x="380" y="195"/>
                  </a:lnTo>
                  <a:lnTo>
                    <a:pt x="380" y="194"/>
                  </a:lnTo>
                  <a:lnTo>
                    <a:pt x="381" y="191"/>
                  </a:lnTo>
                  <a:lnTo>
                    <a:pt x="381" y="189"/>
                  </a:lnTo>
                  <a:lnTo>
                    <a:pt x="382" y="186"/>
                  </a:lnTo>
                  <a:lnTo>
                    <a:pt x="383" y="183"/>
                  </a:lnTo>
                  <a:lnTo>
                    <a:pt x="383" y="179"/>
                  </a:lnTo>
                  <a:lnTo>
                    <a:pt x="382" y="178"/>
                  </a:lnTo>
                  <a:lnTo>
                    <a:pt x="381" y="175"/>
                  </a:lnTo>
                  <a:lnTo>
                    <a:pt x="380" y="175"/>
                  </a:lnTo>
                  <a:lnTo>
                    <a:pt x="376" y="172"/>
                  </a:lnTo>
                  <a:lnTo>
                    <a:pt x="376" y="170"/>
                  </a:lnTo>
                  <a:lnTo>
                    <a:pt x="377" y="168"/>
                  </a:lnTo>
                  <a:lnTo>
                    <a:pt x="377" y="165"/>
                  </a:lnTo>
                  <a:lnTo>
                    <a:pt x="378" y="162"/>
                  </a:lnTo>
                  <a:lnTo>
                    <a:pt x="378" y="159"/>
                  </a:lnTo>
                  <a:lnTo>
                    <a:pt x="376" y="157"/>
                  </a:lnTo>
                  <a:lnTo>
                    <a:pt x="371" y="153"/>
                  </a:lnTo>
                  <a:lnTo>
                    <a:pt x="365" y="151"/>
                  </a:lnTo>
                  <a:lnTo>
                    <a:pt x="360" y="148"/>
                  </a:lnTo>
                  <a:lnTo>
                    <a:pt x="357" y="147"/>
                  </a:lnTo>
                  <a:lnTo>
                    <a:pt x="355" y="148"/>
                  </a:lnTo>
                  <a:lnTo>
                    <a:pt x="354" y="146"/>
                  </a:lnTo>
                  <a:lnTo>
                    <a:pt x="351" y="143"/>
                  </a:lnTo>
                  <a:lnTo>
                    <a:pt x="350" y="141"/>
                  </a:lnTo>
                  <a:lnTo>
                    <a:pt x="348" y="138"/>
                  </a:lnTo>
                  <a:lnTo>
                    <a:pt x="346" y="134"/>
                  </a:lnTo>
                  <a:lnTo>
                    <a:pt x="346" y="125"/>
                  </a:lnTo>
                  <a:lnTo>
                    <a:pt x="348" y="121"/>
                  </a:lnTo>
                  <a:lnTo>
                    <a:pt x="349" y="118"/>
                  </a:lnTo>
                  <a:lnTo>
                    <a:pt x="349" y="115"/>
                  </a:lnTo>
                  <a:lnTo>
                    <a:pt x="348" y="106"/>
                  </a:lnTo>
                  <a:lnTo>
                    <a:pt x="344" y="96"/>
                  </a:lnTo>
                  <a:lnTo>
                    <a:pt x="341" y="89"/>
                  </a:lnTo>
                  <a:lnTo>
                    <a:pt x="341" y="84"/>
                  </a:lnTo>
                  <a:lnTo>
                    <a:pt x="343" y="81"/>
                  </a:lnTo>
                  <a:lnTo>
                    <a:pt x="344" y="80"/>
                  </a:lnTo>
                  <a:lnTo>
                    <a:pt x="344" y="68"/>
                  </a:lnTo>
                  <a:lnTo>
                    <a:pt x="343" y="65"/>
                  </a:lnTo>
                  <a:lnTo>
                    <a:pt x="343" y="63"/>
                  </a:lnTo>
                  <a:lnTo>
                    <a:pt x="338" y="62"/>
                  </a:lnTo>
                  <a:lnTo>
                    <a:pt x="335" y="60"/>
                  </a:lnTo>
                  <a:lnTo>
                    <a:pt x="334" y="58"/>
                  </a:lnTo>
                  <a:lnTo>
                    <a:pt x="332" y="57"/>
                  </a:lnTo>
                  <a:lnTo>
                    <a:pt x="328" y="57"/>
                  </a:lnTo>
                  <a:lnTo>
                    <a:pt x="327" y="59"/>
                  </a:lnTo>
                  <a:lnTo>
                    <a:pt x="325" y="60"/>
                  </a:lnTo>
                  <a:lnTo>
                    <a:pt x="325" y="59"/>
                  </a:lnTo>
                  <a:lnTo>
                    <a:pt x="324" y="58"/>
                  </a:lnTo>
                  <a:lnTo>
                    <a:pt x="323" y="55"/>
                  </a:lnTo>
                  <a:lnTo>
                    <a:pt x="323" y="48"/>
                  </a:lnTo>
                  <a:lnTo>
                    <a:pt x="324" y="46"/>
                  </a:lnTo>
                  <a:lnTo>
                    <a:pt x="324" y="43"/>
                  </a:lnTo>
                  <a:lnTo>
                    <a:pt x="320" y="38"/>
                  </a:lnTo>
                  <a:lnTo>
                    <a:pt x="322" y="20"/>
                  </a:lnTo>
                  <a:lnTo>
                    <a:pt x="319" y="18"/>
                  </a:lnTo>
                  <a:lnTo>
                    <a:pt x="315" y="15"/>
                  </a:lnTo>
                  <a:lnTo>
                    <a:pt x="315" y="14"/>
                  </a:lnTo>
                  <a:lnTo>
                    <a:pt x="317" y="10"/>
                  </a:lnTo>
                  <a:lnTo>
                    <a:pt x="317" y="5"/>
                  </a:lnTo>
                  <a:lnTo>
                    <a:pt x="315" y="4"/>
                  </a:lnTo>
                  <a:lnTo>
                    <a:pt x="312" y="4"/>
                  </a:lnTo>
                  <a:lnTo>
                    <a:pt x="312" y="0"/>
                  </a:lnTo>
                  <a:lnTo>
                    <a:pt x="304" y="2"/>
                  </a:lnTo>
                  <a:lnTo>
                    <a:pt x="303" y="6"/>
                  </a:lnTo>
                  <a:lnTo>
                    <a:pt x="301" y="7"/>
                  </a:lnTo>
                  <a:lnTo>
                    <a:pt x="299" y="9"/>
                  </a:lnTo>
                  <a:lnTo>
                    <a:pt x="297" y="10"/>
                  </a:lnTo>
                  <a:lnTo>
                    <a:pt x="297" y="14"/>
                  </a:lnTo>
                  <a:lnTo>
                    <a:pt x="298" y="16"/>
                  </a:lnTo>
                  <a:lnTo>
                    <a:pt x="298" y="18"/>
                  </a:lnTo>
                  <a:lnTo>
                    <a:pt x="299" y="21"/>
                  </a:lnTo>
                  <a:lnTo>
                    <a:pt x="299" y="23"/>
                  </a:lnTo>
                  <a:lnTo>
                    <a:pt x="298" y="26"/>
                  </a:lnTo>
                  <a:lnTo>
                    <a:pt x="296" y="28"/>
                  </a:lnTo>
                  <a:lnTo>
                    <a:pt x="295" y="31"/>
                  </a:lnTo>
                  <a:lnTo>
                    <a:pt x="288" y="38"/>
                  </a:lnTo>
                  <a:lnTo>
                    <a:pt x="292" y="41"/>
                  </a:lnTo>
                  <a:lnTo>
                    <a:pt x="292" y="42"/>
                  </a:lnTo>
                  <a:lnTo>
                    <a:pt x="291" y="43"/>
                  </a:lnTo>
                  <a:lnTo>
                    <a:pt x="288" y="48"/>
                  </a:lnTo>
                  <a:lnTo>
                    <a:pt x="287" y="49"/>
                  </a:lnTo>
                  <a:lnTo>
                    <a:pt x="287" y="55"/>
                  </a:lnTo>
                  <a:lnTo>
                    <a:pt x="288" y="58"/>
                  </a:lnTo>
                  <a:lnTo>
                    <a:pt x="288" y="60"/>
                  </a:lnTo>
                  <a:lnTo>
                    <a:pt x="287" y="63"/>
                  </a:lnTo>
                  <a:lnTo>
                    <a:pt x="283" y="85"/>
                  </a:lnTo>
                  <a:lnTo>
                    <a:pt x="282" y="90"/>
                  </a:lnTo>
                  <a:lnTo>
                    <a:pt x="281" y="91"/>
                  </a:lnTo>
                  <a:lnTo>
                    <a:pt x="278" y="96"/>
                  </a:lnTo>
                  <a:lnTo>
                    <a:pt x="276" y="99"/>
                  </a:lnTo>
                  <a:lnTo>
                    <a:pt x="275" y="101"/>
                  </a:lnTo>
                  <a:lnTo>
                    <a:pt x="274" y="102"/>
                  </a:lnTo>
                  <a:lnTo>
                    <a:pt x="274" y="109"/>
                  </a:lnTo>
                  <a:lnTo>
                    <a:pt x="272" y="112"/>
                  </a:lnTo>
                  <a:lnTo>
                    <a:pt x="271" y="115"/>
                  </a:lnTo>
                  <a:lnTo>
                    <a:pt x="269" y="116"/>
                  </a:lnTo>
                  <a:lnTo>
                    <a:pt x="257" y="120"/>
                  </a:lnTo>
                  <a:lnTo>
                    <a:pt x="255" y="120"/>
                  </a:lnTo>
                  <a:lnTo>
                    <a:pt x="251" y="121"/>
                  </a:lnTo>
                  <a:lnTo>
                    <a:pt x="250" y="121"/>
                  </a:lnTo>
                  <a:lnTo>
                    <a:pt x="250" y="120"/>
                  </a:lnTo>
                  <a:lnTo>
                    <a:pt x="249" y="118"/>
                  </a:lnTo>
                  <a:lnTo>
                    <a:pt x="244" y="109"/>
                  </a:lnTo>
                  <a:lnTo>
                    <a:pt x="243" y="107"/>
                  </a:lnTo>
                  <a:lnTo>
                    <a:pt x="238" y="102"/>
                  </a:lnTo>
                  <a:lnTo>
                    <a:pt x="229" y="99"/>
                  </a:lnTo>
                  <a:lnTo>
                    <a:pt x="222" y="96"/>
                  </a:lnTo>
                  <a:lnTo>
                    <a:pt x="219" y="95"/>
                  </a:lnTo>
                  <a:lnTo>
                    <a:pt x="217" y="91"/>
                  </a:lnTo>
                  <a:lnTo>
                    <a:pt x="214" y="89"/>
                  </a:lnTo>
                  <a:lnTo>
                    <a:pt x="212" y="84"/>
                  </a:lnTo>
                  <a:lnTo>
                    <a:pt x="211" y="83"/>
                  </a:lnTo>
                  <a:lnTo>
                    <a:pt x="203" y="83"/>
                  </a:lnTo>
                  <a:lnTo>
                    <a:pt x="197" y="73"/>
                  </a:lnTo>
                  <a:lnTo>
                    <a:pt x="202" y="69"/>
                  </a:lnTo>
                  <a:lnTo>
                    <a:pt x="202" y="64"/>
                  </a:lnTo>
                  <a:lnTo>
                    <a:pt x="203" y="62"/>
                  </a:lnTo>
                  <a:lnTo>
                    <a:pt x="204" y="60"/>
                  </a:lnTo>
                  <a:lnTo>
                    <a:pt x="207" y="59"/>
                  </a:lnTo>
                  <a:lnTo>
                    <a:pt x="208" y="58"/>
                  </a:lnTo>
                  <a:lnTo>
                    <a:pt x="207" y="48"/>
                  </a:lnTo>
                  <a:lnTo>
                    <a:pt x="211" y="44"/>
                  </a:lnTo>
                  <a:lnTo>
                    <a:pt x="212" y="46"/>
                  </a:lnTo>
                  <a:lnTo>
                    <a:pt x="214" y="46"/>
                  </a:lnTo>
                  <a:lnTo>
                    <a:pt x="216" y="47"/>
                  </a:lnTo>
                  <a:lnTo>
                    <a:pt x="217" y="47"/>
                  </a:lnTo>
                  <a:lnTo>
                    <a:pt x="218" y="46"/>
                  </a:lnTo>
                  <a:lnTo>
                    <a:pt x="219" y="43"/>
                  </a:lnTo>
                  <a:lnTo>
                    <a:pt x="219" y="38"/>
                  </a:lnTo>
                  <a:lnTo>
                    <a:pt x="227" y="30"/>
                  </a:lnTo>
                  <a:lnTo>
                    <a:pt x="225" y="27"/>
                  </a:lnTo>
                  <a:lnTo>
                    <a:pt x="220" y="22"/>
                  </a:lnTo>
                  <a:lnTo>
                    <a:pt x="216" y="22"/>
                  </a:lnTo>
                  <a:lnTo>
                    <a:pt x="212" y="23"/>
                  </a:lnTo>
                  <a:lnTo>
                    <a:pt x="207" y="26"/>
                  </a:lnTo>
                  <a:lnTo>
                    <a:pt x="206" y="28"/>
                  </a:lnTo>
                  <a:lnTo>
                    <a:pt x="206" y="25"/>
                  </a:lnTo>
                  <a:lnTo>
                    <a:pt x="199" y="26"/>
                  </a:lnTo>
                  <a:lnTo>
                    <a:pt x="195" y="28"/>
                  </a:lnTo>
                  <a:lnTo>
                    <a:pt x="193" y="25"/>
                  </a:lnTo>
                  <a:lnTo>
                    <a:pt x="186" y="23"/>
                  </a:lnTo>
                  <a:lnTo>
                    <a:pt x="185" y="22"/>
                  </a:lnTo>
                  <a:lnTo>
                    <a:pt x="182" y="21"/>
                  </a:lnTo>
                  <a:lnTo>
                    <a:pt x="181" y="20"/>
                  </a:lnTo>
                  <a:lnTo>
                    <a:pt x="179" y="18"/>
                  </a:lnTo>
                  <a:lnTo>
                    <a:pt x="170" y="18"/>
                  </a:lnTo>
                  <a:lnTo>
                    <a:pt x="167" y="17"/>
                  </a:lnTo>
                  <a:lnTo>
                    <a:pt x="165" y="17"/>
                  </a:lnTo>
                  <a:lnTo>
                    <a:pt x="165" y="16"/>
                  </a:lnTo>
                  <a:lnTo>
                    <a:pt x="164" y="15"/>
                  </a:lnTo>
                  <a:lnTo>
                    <a:pt x="161" y="10"/>
                  </a:lnTo>
                  <a:lnTo>
                    <a:pt x="160" y="9"/>
                  </a:lnTo>
                  <a:lnTo>
                    <a:pt x="159" y="9"/>
                  </a:lnTo>
                  <a:lnTo>
                    <a:pt x="159" y="11"/>
                  </a:lnTo>
                  <a:lnTo>
                    <a:pt x="158" y="12"/>
                  </a:lnTo>
                  <a:lnTo>
                    <a:pt x="155" y="11"/>
                  </a:lnTo>
                  <a:lnTo>
                    <a:pt x="154" y="11"/>
                  </a:lnTo>
                  <a:lnTo>
                    <a:pt x="151" y="10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49" y="14"/>
                  </a:lnTo>
                  <a:lnTo>
                    <a:pt x="145" y="14"/>
                  </a:lnTo>
                  <a:lnTo>
                    <a:pt x="144" y="15"/>
                  </a:lnTo>
                  <a:lnTo>
                    <a:pt x="144" y="16"/>
                  </a:lnTo>
                  <a:lnTo>
                    <a:pt x="145" y="17"/>
                  </a:lnTo>
                  <a:lnTo>
                    <a:pt x="148" y="17"/>
                  </a:lnTo>
                  <a:lnTo>
                    <a:pt x="153" y="20"/>
                  </a:lnTo>
                  <a:lnTo>
                    <a:pt x="154" y="20"/>
                  </a:lnTo>
                  <a:lnTo>
                    <a:pt x="156" y="18"/>
                  </a:lnTo>
                  <a:lnTo>
                    <a:pt x="158" y="17"/>
                  </a:lnTo>
                  <a:lnTo>
                    <a:pt x="164" y="21"/>
                  </a:lnTo>
                  <a:lnTo>
                    <a:pt x="162" y="21"/>
                  </a:lnTo>
                  <a:lnTo>
                    <a:pt x="161" y="22"/>
                  </a:lnTo>
                  <a:lnTo>
                    <a:pt x="154" y="26"/>
                  </a:lnTo>
                  <a:lnTo>
                    <a:pt x="149" y="26"/>
                  </a:lnTo>
                  <a:lnTo>
                    <a:pt x="145" y="27"/>
                  </a:lnTo>
                  <a:lnTo>
                    <a:pt x="137" y="27"/>
                  </a:lnTo>
                  <a:lnTo>
                    <a:pt x="134" y="28"/>
                  </a:lnTo>
                  <a:lnTo>
                    <a:pt x="129" y="30"/>
                  </a:lnTo>
                  <a:lnTo>
                    <a:pt x="127" y="32"/>
                  </a:lnTo>
                  <a:lnTo>
                    <a:pt x="123" y="33"/>
                  </a:lnTo>
                  <a:lnTo>
                    <a:pt x="121" y="35"/>
                  </a:lnTo>
                  <a:lnTo>
                    <a:pt x="119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7" y="43"/>
                  </a:lnTo>
                  <a:lnTo>
                    <a:pt x="117" y="48"/>
                  </a:lnTo>
                  <a:lnTo>
                    <a:pt x="118" y="49"/>
                  </a:lnTo>
                  <a:lnTo>
                    <a:pt x="121" y="51"/>
                  </a:lnTo>
                  <a:lnTo>
                    <a:pt x="122" y="52"/>
                  </a:lnTo>
                  <a:lnTo>
                    <a:pt x="112" y="52"/>
                  </a:lnTo>
                  <a:lnTo>
                    <a:pt x="106" y="59"/>
                  </a:lnTo>
                  <a:lnTo>
                    <a:pt x="106" y="65"/>
                  </a:lnTo>
                  <a:lnTo>
                    <a:pt x="104" y="68"/>
                  </a:lnTo>
                  <a:lnTo>
                    <a:pt x="104" y="69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13" y="73"/>
                  </a:lnTo>
                  <a:lnTo>
                    <a:pt x="114" y="74"/>
                  </a:lnTo>
                  <a:lnTo>
                    <a:pt x="114" y="81"/>
                  </a:lnTo>
                  <a:lnTo>
                    <a:pt x="109" y="76"/>
                  </a:lnTo>
                  <a:lnTo>
                    <a:pt x="103" y="76"/>
                  </a:lnTo>
                  <a:lnTo>
                    <a:pt x="101" y="81"/>
                  </a:lnTo>
                  <a:lnTo>
                    <a:pt x="93" y="74"/>
                  </a:lnTo>
                  <a:lnTo>
                    <a:pt x="92" y="80"/>
                  </a:lnTo>
                  <a:lnTo>
                    <a:pt x="87" y="83"/>
                  </a:lnTo>
                  <a:lnTo>
                    <a:pt x="88" y="88"/>
                  </a:lnTo>
                  <a:lnTo>
                    <a:pt x="82" y="86"/>
                  </a:lnTo>
                  <a:lnTo>
                    <a:pt x="88" y="74"/>
                  </a:lnTo>
                  <a:lnTo>
                    <a:pt x="87" y="73"/>
                  </a:lnTo>
                  <a:lnTo>
                    <a:pt x="86" y="70"/>
                  </a:lnTo>
                  <a:lnTo>
                    <a:pt x="86" y="68"/>
                  </a:lnTo>
                  <a:lnTo>
                    <a:pt x="85" y="67"/>
                  </a:lnTo>
                  <a:lnTo>
                    <a:pt x="82" y="65"/>
                  </a:lnTo>
                  <a:lnTo>
                    <a:pt x="79" y="65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7" y="57"/>
                  </a:lnTo>
                  <a:lnTo>
                    <a:pt x="77" y="54"/>
                  </a:lnTo>
                  <a:lnTo>
                    <a:pt x="75" y="52"/>
                  </a:lnTo>
                  <a:lnTo>
                    <a:pt x="74" y="51"/>
                  </a:lnTo>
                  <a:lnTo>
                    <a:pt x="71" y="49"/>
                  </a:lnTo>
                  <a:lnTo>
                    <a:pt x="69" y="51"/>
                  </a:lnTo>
                  <a:lnTo>
                    <a:pt x="67" y="52"/>
                  </a:lnTo>
                  <a:lnTo>
                    <a:pt x="65" y="53"/>
                  </a:lnTo>
                  <a:lnTo>
                    <a:pt x="65" y="55"/>
                  </a:lnTo>
                  <a:lnTo>
                    <a:pt x="66" y="57"/>
                  </a:lnTo>
                  <a:lnTo>
                    <a:pt x="66" y="59"/>
                  </a:lnTo>
                  <a:lnTo>
                    <a:pt x="59" y="58"/>
                  </a:lnTo>
                  <a:lnTo>
                    <a:pt x="60" y="64"/>
                  </a:lnTo>
                  <a:lnTo>
                    <a:pt x="56" y="63"/>
                  </a:lnTo>
                  <a:lnTo>
                    <a:pt x="53" y="64"/>
                  </a:lnTo>
                  <a:lnTo>
                    <a:pt x="54" y="65"/>
                  </a:lnTo>
                  <a:lnTo>
                    <a:pt x="54" y="69"/>
                  </a:lnTo>
                  <a:lnTo>
                    <a:pt x="53" y="72"/>
                  </a:lnTo>
                  <a:lnTo>
                    <a:pt x="51" y="73"/>
                  </a:lnTo>
                  <a:lnTo>
                    <a:pt x="49" y="74"/>
                  </a:lnTo>
                  <a:lnTo>
                    <a:pt x="48" y="75"/>
                  </a:lnTo>
                  <a:lnTo>
                    <a:pt x="50" y="68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40" y="75"/>
                  </a:lnTo>
                  <a:lnTo>
                    <a:pt x="39" y="76"/>
                  </a:lnTo>
                  <a:lnTo>
                    <a:pt x="39" y="79"/>
                  </a:lnTo>
                  <a:lnTo>
                    <a:pt x="40" y="81"/>
                  </a:lnTo>
                  <a:lnTo>
                    <a:pt x="40" y="83"/>
                  </a:lnTo>
                  <a:lnTo>
                    <a:pt x="42" y="85"/>
                  </a:lnTo>
                  <a:lnTo>
                    <a:pt x="32" y="80"/>
                  </a:lnTo>
                  <a:lnTo>
                    <a:pt x="30" y="88"/>
                  </a:lnTo>
                  <a:lnTo>
                    <a:pt x="28" y="89"/>
                  </a:lnTo>
                  <a:lnTo>
                    <a:pt x="30" y="94"/>
                  </a:lnTo>
                  <a:lnTo>
                    <a:pt x="35" y="94"/>
                  </a:lnTo>
                  <a:lnTo>
                    <a:pt x="34" y="97"/>
                  </a:lnTo>
                  <a:lnTo>
                    <a:pt x="18" y="99"/>
                  </a:lnTo>
                  <a:lnTo>
                    <a:pt x="17" y="97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1" y="97"/>
                  </a:lnTo>
                  <a:lnTo>
                    <a:pt x="9" y="99"/>
                  </a:lnTo>
                  <a:lnTo>
                    <a:pt x="11" y="101"/>
                  </a:lnTo>
                  <a:lnTo>
                    <a:pt x="11" y="102"/>
                  </a:lnTo>
                  <a:lnTo>
                    <a:pt x="12" y="106"/>
                  </a:lnTo>
                  <a:lnTo>
                    <a:pt x="13" y="107"/>
                  </a:lnTo>
                  <a:lnTo>
                    <a:pt x="13" y="113"/>
                  </a:lnTo>
                  <a:lnTo>
                    <a:pt x="12" y="118"/>
                  </a:lnTo>
                  <a:lnTo>
                    <a:pt x="13" y="126"/>
                  </a:lnTo>
                  <a:lnTo>
                    <a:pt x="9" y="126"/>
                  </a:lnTo>
                  <a:lnTo>
                    <a:pt x="8" y="110"/>
                  </a:lnTo>
                  <a:lnTo>
                    <a:pt x="5" y="107"/>
                  </a:lnTo>
                  <a:lnTo>
                    <a:pt x="5" y="100"/>
                  </a:lnTo>
                  <a:lnTo>
                    <a:pt x="1" y="100"/>
                  </a:lnTo>
                  <a:lnTo>
                    <a:pt x="0" y="102"/>
                  </a:lnTo>
                  <a:lnTo>
                    <a:pt x="24" y="363"/>
                  </a:lnTo>
                  <a:lnTo>
                    <a:pt x="38" y="357"/>
                  </a:lnTo>
                  <a:lnTo>
                    <a:pt x="44" y="354"/>
                  </a:lnTo>
                  <a:lnTo>
                    <a:pt x="49" y="353"/>
                  </a:lnTo>
                  <a:lnTo>
                    <a:pt x="58" y="352"/>
                  </a:lnTo>
                  <a:lnTo>
                    <a:pt x="65" y="350"/>
                  </a:lnTo>
                  <a:lnTo>
                    <a:pt x="75" y="350"/>
                  </a:lnTo>
                  <a:lnTo>
                    <a:pt x="79" y="348"/>
                  </a:lnTo>
                  <a:lnTo>
                    <a:pt x="82" y="352"/>
                  </a:lnTo>
                  <a:lnTo>
                    <a:pt x="85" y="353"/>
                  </a:lnTo>
                  <a:lnTo>
                    <a:pt x="87" y="355"/>
                  </a:lnTo>
                  <a:lnTo>
                    <a:pt x="92" y="358"/>
                  </a:lnTo>
                  <a:lnTo>
                    <a:pt x="96" y="359"/>
                  </a:lnTo>
                  <a:lnTo>
                    <a:pt x="98" y="359"/>
                  </a:lnTo>
                  <a:lnTo>
                    <a:pt x="100" y="358"/>
                  </a:lnTo>
                  <a:lnTo>
                    <a:pt x="100" y="359"/>
                  </a:lnTo>
                  <a:lnTo>
                    <a:pt x="101" y="360"/>
                  </a:lnTo>
                  <a:lnTo>
                    <a:pt x="102" y="363"/>
                  </a:lnTo>
                  <a:lnTo>
                    <a:pt x="103" y="364"/>
                  </a:lnTo>
                  <a:lnTo>
                    <a:pt x="107" y="364"/>
                  </a:lnTo>
                  <a:lnTo>
                    <a:pt x="108" y="363"/>
                  </a:lnTo>
                  <a:lnTo>
                    <a:pt x="108" y="367"/>
                  </a:lnTo>
                  <a:lnTo>
                    <a:pt x="111" y="367"/>
                  </a:lnTo>
                  <a:lnTo>
                    <a:pt x="112" y="368"/>
                  </a:lnTo>
                  <a:lnTo>
                    <a:pt x="112" y="370"/>
                  </a:lnTo>
                  <a:lnTo>
                    <a:pt x="109" y="375"/>
                  </a:lnTo>
                  <a:lnTo>
                    <a:pt x="108" y="376"/>
                  </a:lnTo>
                  <a:lnTo>
                    <a:pt x="107" y="379"/>
                  </a:lnTo>
                  <a:lnTo>
                    <a:pt x="111" y="385"/>
                  </a:lnTo>
                  <a:lnTo>
                    <a:pt x="114" y="383"/>
                  </a:lnTo>
                  <a:lnTo>
                    <a:pt x="118" y="390"/>
                  </a:lnTo>
                  <a:lnTo>
                    <a:pt x="118" y="391"/>
                  </a:lnTo>
                  <a:lnTo>
                    <a:pt x="119" y="392"/>
                  </a:lnTo>
                  <a:lnTo>
                    <a:pt x="119" y="397"/>
                  </a:lnTo>
                  <a:lnTo>
                    <a:pt x="121" y="400"/>
                  </a:lnTo>
                  <a:lnTo>
                    <a:pt x="121" y="404"/>
                  </a:lnTo>
                  <a:lnTo>
                    <a:pt x="117" y="404"/>
                  </a:lnTo>
                  <a:lnTo>
                    <a:pt x="114" y="402"/>
                  </a:lnTo>
                  <a:lnTo>
                    <a:pt x="113" y="402"/>
                  </a:lnTo>
                  <a:lnTo>
                    <a:pt x="114" y="410"/>
                  </a:lnTo>
                  <a:lnTo>
                    <a:pt x="122" y="410"/>
                  </a:lnTo>
                  <a:lnTo>
                    <a:pt x="123" y="411"/>
                  </a:lnTo>
                  <a:lnTo>
                    <a:pt x="123" y="412"/>
                  </a:lnTo>
                  <a:lnTo>
                    <a:pt x="127" y="412"/>
                  </a:lnTo>
                  <a:lnTo>
                    <a:pt x="127" y="410"/>
                  </a:lnTo>
                  <a:lnTo>
                    <a:pt x="125" y="406"/>
                  </a:lnTo>
                  <a:lnTo>
                    <a:pt x="125" y="404"/>
                  </a:lnTo>
                  <a:lnTo>
                    <a:pt x="127" y="400"/>
                  </a:lnTo>
                  <a:lnTo>
                    <a:pt x="128" y="399"/>
                  </a:lnTo>
                  <a:lnTo>
                    <a:pt x="134" y="396"/>
                  </a:lnTo>
                  <a:lnTo>
                    <a:pt x="137" y="396"/>
                  </a:lnTo>
                  <a:lnTo>
                    <a:pt x="138" y="395"/>
                  </a:lnTo>
                  <a:lnTo>
                    <a:pt x="140" y="394"/>
                  </a:lnTo>
                  <a:lnTo>
                    <a:pt x="143" y="391"/>
                  </a:lnTo>
                  <a:lnTo>
                    <a:pt x="144" y="389"/>
                  </a:lnTo>
                  <a:lnTo>
                    <a:pt x="148" y="385"/>
                  </a:lnTo>
                  <a:lnTo>
                    <a:pt x="148" y="384"/>
                  </a:lnTo>
                  <a:lnTo>
                    <a:pt x="153" y="385"/>
                  </a:lnTo>
                  <a:lnTo>
                    <a:pt x="156" y="374"/>
                  </a:lnTo>
                  <a:lnTo>
                    <a:pt x="162" y="374"/>
                  </a:lnTo>
                  <a:lnTo>
                    <a:pt x="165" y="373"/>
                  </a:lnTo>
                  <a:lnTo>
                    <a:pt x="167" y="370"/>
                  </a:lnTo>
                  <a:lnTo>
                    <a:pt x="169" y="367"/>
                  </a:lnTo>
                  <a:lnTo>
                    <a:pt x="169" y="365"/>
                  </a:lnTo>
                  <a:lnTo>
                    <a:pt x="170" y="367"/>
                  </a:lnTo>
                  <a:lnTo>
                    <a:pt x="170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69" y="375"/>
                  </a:lnTo>
                  <a:lnTo>
                    <a:pt x="167" y="378"/>
                  </a:lnTo>
                  <a:lnTo>
                    <a:pt x="165" y="379"/>
                  </a:lnTo>
                  <a:lnTo>
                    <a:pt x="164" y="380"/>
                  </a:lnTo>
                  <a:lnTo>
                    <a:pt x="159" y="380"/>
                  </a:lnTo>
                  <a:lnTo>
                    <a:pt x="158" y="383"/>
                  </a:lnTo>
                  <a:lnTo>
                    <a:pt x="161" y="390"/>
                  </a:lnTo>
                  <a:lnTo>
                    <a:pt x="159" y="390"/>
                  </a:lnTo>
                  <a:lnTo>
                    <a:pt x="158" y="391"/>
                  </a:lnTo>
                  <a:lnTo>
                    <a:pt x="155" y="392"/>
                  </a:lnTo>
                  <a:lnTo>
                    <a:pt x="148" y="400"/>
                  </a:lnTo>
                  <a:lnTo>
                    <a:pt x="148" y="404"/>
                  </a:lnTo>
                  <a:lnTo>
                    <a:pt x="146" y="405"/>
                  </a:lnTo>
                  <a:lnTo>
                    <a:pt x="145" y="407"/>
                  </a:lnTo>
                  <a:lnTo>
                    <a:pt x="143" y="410"/>
                  </a:lnTo>
                  <a:lnTo>
                    <a:pt x="138" y="412"/>
                  </a:lnTo>
                  <a:lnTo>
                    <a:pt x="137" y="413"/>
                  </a:lnTo>
                  <a:lnTo>
                    <a:pt x="137" y="415"/>
                  </a:lnTo>
                  <a:lnTo>
                    <a:pt x="138" y="416"/>
                  </a:lnTo>
                  <a:lnTo>
                    <a:pt x="144" y="416"/>
                  </a:lnTo>
                  <a:lnTo>
                    <a:pt x="146" y="415"/>
                  </a:lnTo>
                  <a:lnTo>
                    <a:pt x="149" y="415"/>
                  </a:lnTo>
                  <a:lnTo>
                    <a:pt x="151" y="412"/>
                  </a:lnTo>
                  <a:lnTo>
                    <a:pt x="155" y="405"/>
                  </a:lnTo>
                  <a:lnTo>
                    <a:pt x="156" y="404"/>
                  </a:lnTo>
                  <a:lnTo>
                    <a:pt x="158" y="400"/>
                  </a:lnTo>
                  <a:lnTo>
                    <a:pt x="160" y="399"/>
                  </a:lnTo>
                  <a:lnTo>
                    <a:pt x="161" y="397"/>
                  </a:lnTo>
                  <a:lnTo>
                    <a:pt x="161" y="402"/>
                  </a:lnTo>
                  <a:lnTo>
                    <a:pt x="162" y="405"/>
                  </a:lnTo>
                  <a:lnTo>
                    <a:pt x="162" y="410"/>
                  </a:lnTo>
                  <a:lnTo>
                    <a:pt x="160" y="412"/>
                  </a:lnTo>
                  <a:lnTo>
                    <a:pt x="158" y="413"/>
                  </a:lnTo>
                  <a:lnTo>
                    <a:pt x="155" y="416"/>
                  </a:lnTo>
                  <a:lnTo>
                    <a:pt x="155" y="420"/>
                  </a:lnTo>
                  <a:lnTo>
                    <a:pt x="156" y="421"/>
                  </a:lnTo>
                  <a:lnTo>
                    <a:pt x="158" y="421"/>
                  </a:lnTo>
                  <a:lnTo>
                    <a:pt x="161" y="422"/>
                  </a:lnTo>
                  <a:lnTo>
                    <a:pt x="167" y="422"/>
                  </a:lnTo>
                  <a:lnTo>
                    <a:pt x="169" y="425"/>
                  </a:lnTo>
                  <a:lnTo>
                    <a:pt x="164" y="429"/>
                  </a:lnTo>
                  <a:lnTo>
                    <a:pt x="164" y="431"/>
                  </a:lnTo>
                  <a:lnTo>
                    <a:pt x="165" y="432"/>
                  </a:lnTo>
                  <a:lnTo>
                    <a:pt x="169" y="439"/>
                  </a:lnTo>
                  <a:lnTo>
                    <a:pt x="170" y="441"/>
                  </a:lnTo>
                  <a:lnTo>
                    <a:pt x="170" y="443"/>
                  </a:lnTo>
                  <a:lnTo>
                    <a:pt x="160" y="453"/>
                  </a:lnTo>
                  <a:lnTo>
                    <a:pt x="160" y="455"/>
                  </a:lnTo>
                  <a:lnTo>
                    <a:pt x="162" y="458"/>
                  </a:lnTo>
                  <a:lnTo>
                    <a:pt x="164" y="460"/>
                  </a:lnTo>
                  <a:lnTo>
                    <a:pt x="169" y="463"/>
                  </a:lnTo>
                  <a:lnTo>
                    <a:pt x="171" y="465"/>
                  </a:lnTo>
                  <a:lnTo>
                    <a:pt x="174" y="466"/>
                  </a:lnTo>
                  <a:lnTo>
                    <a:pt x="179" y="473"/>
                  </a:lnTo>
                  <a:lnTo>
                    <a:pt x="181" y="474"/>
                  </a:lnTo>
                  <a:lnTo>
                    <a:pt x="196" y="474"/>
                  </a:lnTo>
                  <a:lnTo>
                    <a:pt x="202" y="479"/>
                  </a:lnTo>
                  <a:lnTo>
                    <a:pt x="206" y="480"/>
                  </a:lnTo>
                  <a:lnTo>
                    <a:pt x="212" y="479"/>
                  </a:lnTo>
                  <a:lnTo>
                    <a:pt x="218" y="476"/>
                  </a:lnTo>
                  <a:lnTo>
                    <a:pt x="224" y="473"/>
                  </a:lnTo>
                  <a:lnTo>
                    <a:pt x="227" y="470"/>
                  </a:lnTo>
                  <a:lnTo>
                    <a:pt x="227" y="465"/>
                  </a:lnTo>
                  <a:lnTo>
                    <a:pt x="229" y="463"/>
                  </a:lnTo>
                  <a:lnTo>
                    <a:pt x="230" y="463"/>
                  </a:lnTo>
                  <a:lnTo>
                    <a:pt x="233" y="465"/>
                  </a:lnTo>
                  <a:lnTo>
                    <a:pt x="233" y="473"/>
                  </a:lnTo>
                  <a:lnTo>
                    <a:pt x="237" y="473"/>
                  </a:lnTo>
                  <a:lnTo>
                    <a:pt x="234" y="478"/>
                  </a:lnTo>
                  <a:lnTo>
                    <a:pt x="238" y="478"/>
                  </a:lnTo>
                  <a:lnTo>
                    <a:pt x="238" y="480"/>
                  </a:lnTo>
                  <a:lnTo>
                    <a:pt x="239" y="481"/>
                  </a:lnTo>
                  <a:lnTo>
                    <a:pt x="240" y="484"/>
                  </a:lnTo>
                  <a:lnTo>
                    <a:pt x="241" y="485"/>
                  </a:lnTo>
                  <a:lnTo>
                    <a:pt x="244" y="485"/>
                  </a:lnTo>
                  <a:lnTo>
                    <a:pt x="246" y="483"/>
                  </a:lnTo>
                  <a:lnTo>
                    <a:pt x="248" y="483"/>
                  </a:lnTo>
                  <a:lnTo>
                    <a:pt x="249" y="481"/>
                  </a:lnTo>
                  <a:lnTo>
                    <a:pt x="254" y="480"/>
                  </a:lnTo>
                  <a:lnTo>
                    <a:pt x="256" y="479"/>
                  </a:lnTo>
                  <a:lnTo>
                    <a:pt x="257" y="478"/>
                  </a:lnTo>
                  <a:lnTo>
                    <a:pt x="260" y="476"/>
                  </a:lnTo>
                  <a:lnTo>
                    <a:pt x="265" y="470"/>
                  </a:lnTo>
                  <a:lnTo>
                    <a:pt x="267" y="469"/>
                  </a:lnTo>
                  <a:lnTo>
                    <a:pt x="270" y="466"/>
                  </a:lnTo>
                  <a:lnTo>
                    <a:pt x="272" y="465"/>
                  </a:lnTo>
                  <a:lnTo>
                    <a:pt x="271" y="463"/>
                  </a:lnTo>
                  <a:lnTo>
                    <a:pt x="278" y="460"/>
                  </a:lnTo>
                  <a:lnTo>
                    <a:pt x="281" y="463"/>
                  </a:lnTo>
                  <a:lnTo>
                    <a:pt x="285" y="463"/>
                  </a:lnTo>
                  <a:lnTo>
                    <a:pt x="292" y="462"/>
                  </a:lnTo>
                  <a:lnTo>
                    <a:pt x="301" y="459"/>
                  </a:lnTo>
                  <a:lnTo>
                    <a:pt x="304" y="455"/>
                  </a:lnTo>
                  <a:lnTo>
                    <a:pt x="308" y="449"/>
                  </a:lnTo>
                  <a:lnTo>
                    <a:pt x="309" y="443"/>
                  </a:lnTo>
                  <a:lnTo>
                    <a:pt x="311" y="439"/>
                  </a:lnTo>
                  <a:lnTo>
                    <a:pt x="312" y="437"/>
                  </a:lnTo>
                  <a:lnTo>
                    <a:pt x="318" y="431"/>
                  </a:lnTo>
                  <a:lnTo>
                    <a:pt x="319" y="431"/>
                  </a:lnTo>
                  <a:lnTo>
                    <a:pt x="319" y="426"/>
                  </a:lnTo>
                  <a:lnTo>
                    <a:pt x="320" y="426"/>
                  </a:lnTo>
                  <a:lnTo>
                    <a:pt x="322" y="425"/>
                  </a:lnTo>
                  <a:lnTo>
                    <a:pt x="324" y="423"/>
                  </a:lnTo>
                  <a:lnTo>
                    <a:pt x="327" y="421"/>
                  </a:lnTo>
                  <a:lnTo>
                    <a:pt x="328" y="418"/>
                  </a:lnTo>
                  <a:lnTo>
                    <a:pt x="332" y="415"/>
                  </a:lnTo>
                  <a:lnTo>
                    <a:pt x="332" y="410"/>
                  </a:lnTo>
                  <a:lnTo>
                    <a:pt x="333" y="407"/>
                  </a:lnTo>
                  <a:lnTo>
                    <a:pt x="334" y="404"/>
                  </a:lnTo>
                  <a:lnTo>
                    <a:pt x="335" y="400"/>
                  </a:lnTo>
                  <a:lnTo>
                    <a:pt x="341" y="394"/>
                  </a:lnTo>
                  <a:lnTo>
                    <a:pt x="344" y="390"/>
                  </a:lnTo>
                  <a:lnTo>
                    <a:pt x="349" y="385"/>
                  </a:lnTo>
                  <a:lnTo>
                    <a:pt x="351" y="384"/>
                  </a:lnTo>
                  <a:lnTo>
                    <a:pt x="354" y="381"/>
                  </a:lnTo>
                  <a:lnTo>
                    <a:pt x="355" y="379"/>
                  </a:lnTo>
                  <a:lnTo>
                    <a:pt x="355" y="376"/>
                  </a:lnTo>
                  <a:lnTo>
                    <a:pt x="356" y="374"/>
                  </a:lnTo>
                  <a:lnTo>
                    <a:pt x="356" y="373"/>
                  </a:lnTo>
                  <a:lnTo>
                    <a:pt x="362" y="373"/>
                  </a:lnTo>
                  <a:lnTo>
                    <a:pt x="367" y="370"/>
                  </a:lnTo>
                  <a:lnTo>
                    <a:pt x="370" y="367"/>
                  </a:lnTo>
                  <a:lnTo>
                    <a:pt x="375" y="362"/>
                  </a:lnTo>
                  <a:lnTo>
                    <a:pt x="380" y="355"/>
                  </a:lnTo>
                  <a:lnTo>
                    <a:pt x="383" y="350"/>
                  </a:lnTo>
                  <a:lnTo>
                    <a:pt x="386" y="348"/>
                  </a:lnTo>
                  <a:lnTo>
                    <a:pt x="386" y="347"/>
                  </a:lnTo>
                  <a:lnTo>
                    <a:pt x="387" y="343"/>
                  </a:lnTo>
                  <a:lnTo>
                    <a:pt x="387" y="338"/>
                  </a:lnTo>
                  <a:lnTo>
                    <a:pt x="388" y="334"/>
                  </a:lnTo>
                  <a:lnTo>
                    <a:pt x="390" y="333"/>
                  </a:lnTo>
                  <a:lnTo>
                    <a:pt x="392" y="328"/>
                  </a:lnTo>
                  <a:lnTo>
                    <a:pt x="397" y="322"/>
                  </a:lnTo>
                  <a:lnTo>
                    <a:pt x="401" y="312"/>
                  </a:lnTo>
                  <a:lnTo>
                    <a:pt x="406" y="305"/>
                  </a:lnTo>
                  <a:lnTo>
                    <a:pt x="408" y="299"/>
                  </a:lnTo>
                  <a:lnTo>
                    <a:pt x="409" y="296"/>
                  </a:lnTo>
                  <a:lnTo>
                    <a:pt x="409" y="290"/>
                  </a:lnTo>
                  <a:lnTo>
                    <a:pt x="407" y="285"/>
                  </a:lnTo>
                  <a:lnTo>
                    <a:pt x="411" y="274"/>
                  </a:lnTo>
                  <a:lnTo>
                    <a:pt x="413" y="270"/>
                  </a:lnTo>
                  <a:lnTo>
                    <a:pt x="414" y="265"/>
                  </a:lnTo>
                  <a:lnTo>
                    <a:pt x="414" y="255"/>
                  </a:lnTo>
                  <a:lnTo>
                    <a:pt x="413" y="249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5" name="Freeform 231"/>
            <p:cNvSpPr>
              <a:spLocks/>
            </p:cNvSpPr>
            <p:nvPr/>
          </p:nvSpPr>
          <p:spPr bwMode="gray">
            <a:xfrm>
              <a:off x="2606676" y="4564063"/>
              <a:ext cx="11113" cy="15875"/>
            </a:xfrm>
            <a:custGeom>
              <a:avLst/>
              <a:gdLst/>
              <a:ahLst/>
              <a:cxnLst>
                <a:cxn ang="0">
                  <a:pos x="7" y="8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7"/>
                </a:cxn>
                <a:cxn ang="0">
                  <a:pos x="2" y="10"/>
                </a:cxn>
                <a:cxn ang="0">
                  <a:pos x="6" y="10"/>
                </a:cxn>
                <a:cxn ang="0">
                  <a:pos x="7" y="8"/>
                </a:cxn>
              </a:cxnLst>
              <a:rect l="0" t="0" r="r" b="b"/>
              <a:pathLst>
                <a:path w="7" h="10">
                  <a:moveTo>
                    <a:pt x="7" y="8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3B75B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1736" name="Freeform 232"/>
            <p:cNvSpPr>
              <a:spLocks/>
            </p:cNvSpPr>
            <p:nvPr/>
          </p:nvSpPr>
          <p:spPr bwMode="gray">
            <a:xfrm>
              <a:off x="1939926" y="3941763"/>
              <a:ext cx="327025" cy="496887"/>
            </a:xfrm>
            <a:custGeom>
              <a:avLst/>
              <a:gdLst/>
              <a:ahLst/>
              <a:cxnLst>
                <a:cxn ang="0">
                  <a:pos x="169" y="13"/>
                </a:cxn>
                <a:cxn ang="0">
                  <a:pos x="166" y="24"/>
                </a:cxn>
                <a:cxn ang="0">
                  <a:pos x="168" y="28"/>
                </a:cxn>
                <a:cxn ang="0">
                  <a:pos x="167" y="35"/>
                </a:cxn>
                <a:cxn ang="0">
                  <a:pos x="158" y="44"/>
                </a:cxn>
                <a:cxn ang="0">
                  <a:pos x="145" y="53"/>
                </a:cxn>
                <a:cxn ang="0">
                  <a:pos x="126" y="58"/>
                </a:cxn>
                <a:cxn ang="0">
                  <a:pos x="104" y="61"/>
                </a:cxn>
                <a:cxn ang="0">
                  <a:pos x="87" y="65"/>
                </a:cxn>
                <a:cxn ang="0">
                  <a:pos x="80" y="68"/>
                </a:cxn>
                <a:cxn ang="0">
                  <a:pos x="68" y="72"/>
                </a:cxn>
                <a:cxn ang="0">
                  <a:pos x="62" y="77"/>
                </a:cxn>
                <a:cxn ang="0">
                  <a:pos x="59" y="82"/>
                </a:cxn>
                <a:cxn ang="0">
                  <a:pos x="53" y="83"/>
                </a:cxn>
                <a:cxn ang="0">
                  <a:pos x="46" y="86"/>
                </a:cxn>
                <a:cxn ang="0">
                  <a:pos x="40" y="93"/>
                </a:cxn>
                <a:cxn ang="0">
                  <a:pos x="31" y="102"/>
                </a:cxn>
                <a:cxn ang="0">
                  <a:pos x="30" y="89"/>
                </a:cxn>
                <a:cxn ang="0">
                  <a:pos x="19" y="119"/>
                </a:cxn>
                <a:cxn ang="0">
                  <a:pos x="24" y="121"/>
                </a:cxn>
                <a:cxn ang="0">
                  <a:pos x="19" y="128"/>
                </a:cxn>
                <a:cxn ang="0">
                  <a:pos x="15" y="139"/>
                </a:cxn>
                <a:cxn ang="0">
                  <a:pos x="17" y="148"/>
                </a:cxn>
                <a:cxn ang="0">
                  <a:pos x="24" y="163"/>
                </a:cxn>
                <a:cxn ang="0">
                  <a:pos x="20" y="163"/>
                </a:cxn>
                <a:cxn ang="0">
                  <a:pos x="14" y="153"/>
                </a:cxn>
                <a:cxn ang="0">
                  <a:pos x="6" y="156"/>
                </a:cxn>
                <a:cxn ang="0">
                  <a:pos x="14" y="182"/>
                </a:cxn>
                <a:cxn ang="0">
                  <a:pos x="11" y="188"/>
                </a:cxn>
                <a:cxn ang="0">
                  <a:pos x="11" y="194"/>
                </a:cxn>
                <a:cxn ang="0">
                  <a:pos x="17" y="203"/>
                </a:cxn>
                <a:cxn ang="0">
                  <a:pos x="20" y="213"/>
                </a:cxn>
                <a:cxn ang="0">
                  <a:pos x="19" y="220"/>
                </a:cxn>
                <a:cxn ang="0">
                  <a:pos x="20" y="231"/>
                </a:cxn>
                <a:cxn ang="0">
                  <a:pos x="20" y="234"/>
                </a:cxn>
                <a:cxn ang="0">
                  <a:pos x="17" y="241"/>
                </a:cxn>
                <a:cxn ang="0">
                  <a:pos x="20" y="247"/>
                </a:cxn>
                <a:cxn ang="0">
                  <a:pos x="22" y="250"/>
                </a:cxn>
                <a:cxn ang="0">
                  <a:pos x="22" y="267"/>
                </a:cxn>
                <a:cxn ang="0">
                  <a:pos x="17" y="283"/>
                </a:cxn>
                <a:cxn ang="0">
                  <a:pos x="6" y="289"/>
                </a:cxn>
                <a:cxn ang="0">
                  <a:pos x="0" y="300"/>
                </a:cxn>
                <a:cxn ang="0">
                  <a:pos x="9" y="302"/>
                </a:cxn>
                <a:cxn ang="0">
                  <a:pos x="16" y="309"/>
                </a:cxn>
                <a:cxn ang="0">
                  <a:pos x="29" y="313"/>
                </a:cxn>
                <a:cxn ang="0">
                  <a:pos x="50" y="310"/>
                </a:cxn>
                <a:cxn ang="0">
                  <a:pos x="56" y="306"/>
                </a:cxn>
                <a:cxn ang="0">
                  <a:pos x="74" y="293"/>
                </a:cxn>
                <a:cxn ang="0">
                  <a:pos x="88" y="297"/>
                </a:cxn>
                <a:cxn ang="0">
                  <a:pos x="101" y="289"/>
                </a:cxn>
                <a:cxn ang="0">
                  <a:pos x="106" y="292"/>
                </a:cxn>
                <a:cxn ang="0">
                  <a:pos x="112" y="293"/>
                </a:cxn>
                <a:cxn ang="0">
                  <a:pos x="122" y="289"/>
                </a:cxn>
                <a:cxn ang="0">
                  <a:pos x="131" y="292"/>
                </a:cxn>
                <a:cxn ang="0">
                  <a:pos x="137" y="289"/>
                </a:cxn>
                <a:cxn ang="0">
                  <a:pos x="141" y="283"/>
                </a:cxn>
                <a:cxn ang="0">
                  <a:pos x="145" y="279"/>
                </a:cxn>
                <a:cxn ang="0">
                  <a:pos x="153" y="268"/>
                </a:cxn>
                <a:cxn ang="0">
                  <a:pos x="163" y="268"/>
                </a:cxn>
                <a:cxn ang="0">
                  <a:pos x="177" y="265"/>
                </a:cxn>
                <a:cxn ang="0">
                  <a:pos x="191" y="261"/>
                </a:cxn>
                <a:cxn ang="0">
                  <a:pos x="198" y="263"/>
                </a:cxn>
                <a:cxn ang="0">
                  <a:pos x="182" y="0"/>
                </a:cxn>
              </a:cxnLst>
              <a:rect l="0" t="0" r="r" b="b"/>
              <a:pathLst>
                <a:path w="206" h="313">
                  <a:moveTo>
                    <a:pt x="179" y="4"/>
                  </a:moveTo>
                  <a:lnTo>
                    <a:pt x="173" y="10"/>
                  </a:lnTo>
                  <a:lnTo>
                    <a:pt x="169" y="13"/>
                  </a:lnTo>
                  <a:lnTo>
                    <a:pt x="167" y="15"/>
                  </a:lnTo>
                  <a:lnTo>
                    <a:pt x="166" y="18"/>
                  </a:lnTo>
                  <a:lnTo>
                    <a:pt x="166" y="24"/>
                  </a:lnTo>
                  <a:lnTo>
                    <a:pt x="167" y="25"/>
                  </a:lnTo>
                  <a:lnTo>
                    <a:pt x="167" y="28"/>
                  </a:lnTo>
                  <a:lnTo>
                    <a:pt x="168" y="28"/>
                  </a:lnTo>
                  <a:lnTo>
                    <a:pt x="172" y="31"/>
                  </a:lnTo>
                  <a:lnTo>
                    <a:pt x="170" y="34"/>
                  </a:lnTo>
                  <a:lnTo>
                    <a:pt x="167" y="35"/>
                  </a:lnTo>
                  <a:lnTo>
                    <a:pt x="163" y="37"/>
                  </a:lnTo>
                  <a:lnTo>
                    <a:pt x="158" y="40"/>
                  </a:lnTo>
                  <a:lnTo>
                    <a:pt x="158" y="44"/>
                  </a:lnTo>
                  <a:lnTo>
                    <a:pt x="152" y="50"/>
                  </a:lnTo>
                  <a:lnTo>
                    <a:pt x="147" y="51"/>
                  </a:lnTo>
                  <a:lnTo>
                    <a:pt x="145" y="53"/>
                  </a:lnTo>
                  <a:lnTo>
                    <a:pt x="140" y="56"/>
                  </a:lnTo>
                  <a:lnTo>
                    <a:pt x="132" y="57"/>
                  </a:lnTo>
                  <a:lnTo>
                    <a:pt x="126" y="58"/>
                  </a:lnTo>
                  <a:lnTo>
                    <a:pt x="124" y="58"/>
                  </a:lnTo>
                  <a:lnTo>
                    <a:pt x="112" y="57"/>
                  </a:lnTo>
                  <a:lnTo>
                    <a:pt x="104" y="61"/>
                  </a:lnTo>
                  <a:lnTo>
                    <a:pt x="92" y="62"/>
                  </a:lnTo>
                  <a:lnTo>
                    <a:pt x="90" y="65"/>
                  </a:lnTo>
                  <a:lnTo>
                    <a:pt x="87" y="65"/>
                  </a:lnTo>
                  <a:lnTo>
                    <a:pt x="84" y="66"/>
                  </a:lnTo>
                  <a:lnTo>
                    <a:pt x="83" y="67"/>
                  </a:lnTo>
                  <a:lnTo>
                    <a:pt x="80" y="68"/>
                  </a:lnTo>
                  <a:lnTo>
                    <a:pt x="78" y="71"/>
                  </a:lnTo>
                  <a:lnTo>
                    <a:pt x="72" y="71"/>
                  </a:lnTo>
                  <a:lnTo>
                    <a:pt x="68" y="72"/>
                  </a:lnTo>
                  <a:lnTo>
                    <a:pt x="66" y="73"/>
                  </a:lnTo>
                  <a:lnTo>
                    <a:pt x="64" y="76"/>
                  </a:lnTo>
                  <a:lnTo>
                    <a:pt x="62" y="77"/>
                  </a:lnTo>
                  <a:lnTo>
                    <a:pt x="61" y="79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7" y="83"/>
                  </a:lnTo>
                  <a:lnTo>
                    <a:pt x="53" y="83"/>
                  </a:lnTo>
                  <a:lnTo>
                    <a:pt x="51" y="84"/>
                  </a:lnTo>
                  <a:lnTo>
                    <a:pt x="48" y="84"/>
                  </a:lnTo>
                  <a:lnTo>
                    <a:pt x="46" y="86"/>
                  </a:lnTo>
                  <a:lnTo>
                    <a:pt x="45" y="87"/>
                  </a:lnTo>
                  <a:lnTo>
                    <a:pt x="42" y="88"/>
                  </a:lnTo>
                  <a:lnTo>
                    <a:pt x="40" y="93"/>
                  </a:lnTo>
                  <a:lnTo>
                    <a:pt x="32" y="102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2" y="102"/>
                  </a:lnTo>
                  <a:lnTo>
                    <a:pt x="34" y="88"/>
                  </a:lnTo>
                  <a:lnTo>
                    <a:pt x="30" y="89"/>
                  </a:lnTo>
                  <a:lnTo>
                    <a:pt x="25" y="103"/>
                  </a:lnTo>
                  <a:lnTo>
                    <a:pt x="19" y="115"/>
                  </a:lnTo>
                  <a:lnTo>
                    <a:pt x="19" y="119"/>
                  </a:lnTo>
                  <a:lnTo>
                    <a:pt x="20" y="120"/>
                  </a:lnTo>
                  <a:lnTo>
                    <a:pt x="22" y="121"/>
                  </a:lnTo>
                  <a:lnTo>
                    <a:pt x="24" y="121"/>
                  </a:lnTo>
                  <a:lnTo>
                    <a:pt x="22" y="124"/>
                  </a:lnTo>
                  <a:lnTo>
                    <a:pt x="20" y="125"/>
                  </a:lnTo>
                  <a:lnTo>
                    <a:pt x="19" y="128"/>
                  </a:lnTo>
                  <a:lnTo>
                    <a:pt x="14" y="132"/>
                  </a:lnTo>
                  <a:lnTo>
                    <a:pt x="14" y="135"/>
                  </a:lnTo>
                  <a:lnTo>
                    <a:pt x="15" y="139"/>
                  </a:lnTo>
                  <a:lnTo>
                    <a:pt x="15" y="141"/>
                  </a:lnTo>
                  <a:lnTo>
                    <a:pt x="17" y="146"/>
                  </a:lnTo>
                  <a:lnTo>
                    <a:pt x="17" y="148"/>
                  </a:lnTo>
                  <a:lnTo>
                    <a:pt x="21" y="156"/>
                  </a:lnTo>
                  <a:lnTo>
                    <a:pt x="22" y="161"/>
                  </a:lnTo>
                  <a:lnTo>
                    <a:pt x="24" y="163"/>
                  </a:lnTo>
                  <a:lnTo>
                    <a:pt x="24" y="166"/>
                  </a:lnTo>
                  <a:lnTo>
                    <a:pt x="22" y="166"/>
                  </a:lnTo>
                  <a:lnTo>
                    <a:pt x="20" y="163"/>
                  </a:lnTo>
                  <a:lnTo>
                    <a:pt x="19" y="161"/>
                  </a:lnTo>
                  <a:lnTo>
                    <a:pt x="15" y="156"/>
                  </a:lnTo>
                  <a:lnTo>
                    <a:pt x="14" y="153"/>
                  </a:lnTo>
                  <a:lnTo>
                    <a:pt x="10" y="152"/>
                  </a:lnTo>
                  <a:lnTo>
                    <a:pt x="14" y="163"/>
                  </a:lnTo>
                  <a:lnTo>
                    <a:pt x="6" y="156"/>
                  </a:lnTo>
                  <a:lnTo>
                    <a:pt x="6" y="168"/>
                  </a:lnTo>
                  <a:lnTo>
                    <a:pt x="13" y="181"/>
                  </a:lnTo>
                  <a:lnTo>
                    <a:pt x="14" y="182"/>
                  </a:lnTo>
                  <a:lnTo>
                    <a:pt x="14" y="184"/>
                  </a:lnTo>
                  <a:lnTo>
                    <a:pt x="13" y="186"/>
                  </a:lnTo>
                  <a:lnTo>
                    <a:pt x="11" y="188"/>
                  </a:lnTo>
                  <a:lnTo>
                    <a:pt x="11" y="190"/>
                  </a:lnTo>
                  <a:lnTo>
                    <a:pt x="10" y="193"/>
                  </a:lnTo>
                  <a:lnTo>
                    <a:pt x="11" y="194"/>
                  </a:lnTo>
                  <a:lnTo>
                    <a:pt x="13" y="197"/>
                  </a:lnTo>
                  <a:lnTo>
                    <a:pt x="16" y="200"/>
                  </a:lnTo>
                  <a:lnTo>
                    <a:pt x="17" y="203"/>
                  </a:lnTo>
                  <a:lnTo>
                    <a:pt x="19" y="204"/>
                  </a:lnTo>
                  <a:lnTo>
                    <a:pt x="20" y="207"/>
                  </a:lnTo>
                  <a:lnTo>
                    <a:pt x="20" y="213"/>
                  </a:lnTo>
                  <a:lnTo>
                    <a:pt x="19" y="215"/>
                  </a:lnTo>
                  <a:lnTo>
                    <a:pt x="17" y="216"/>
                  </a:lnTo>
                  <a:lnTo>
                    <a:pt x="19" y="220"/>
                  </a:lnTo>
                  <a:lnTo>
                    <a:pt x="19" y="223"/>
                  </a:lnTo>
                  <a:lnTo>
                    <a:pt x="20" y="226"/>
                  </a:lnTo>
                  <a:lnTo>
                    <a:pt x="20" y="231"/>
                  </a:lnTo>
                  <a:lnTo>
                    <a:pt x="21" y="232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16" y="237"/>
                  </a:lnTo>
                  <a:lnTo>
                    <a:pt x="17" y="239"/>
                  </a:lnTo>
                  <a:lnTo>
                    <a:pt x="17" y="241"/>
                  </a:lnTo>
                  <a:lnTo>
                    <a:pt x="19" y="244"/>
                  </a:lnTo>
                  <a:lnTo>
                    <a:pt x="19" y="246"/>
                  </a:lnTo>
                  <a:lnTo>
                    <a:pt x="20" y="247"/>
                  </a:lnTo>
                  <a:lnTo>
                    <a:pt x="20" y="248"/>
                  </a:lnTo>
                  <a:lnTo>
                    <a:pt x="21" y="248"/>
                  </a:lnTo>
                  <a:lnTo>
                    <a:pt x="22" y="250"/>
                  </a:lnTo>
                  <a:lnTo>
                    <a:pt x="26" y="257"/>
                  </a:lnTo>
                  <a:lnTo>
                    <a:pt x="26" y="260"/>
                  </a:lnTo>
                  <a:lnTo>
                    <a:pt x="22" y="267"/>
                  </a:lnTo>
                  <a:lnTo>
                    <a:pt x="19" y="271"/>
                  </a:lnTo>
                  <a:lnTo>
                    <a:pt x="19" y="279"/>
                  </a:lnTo>
                  <a:lnTo>
                    <a:pt x="17" y="283"/>
                  </a:lnTo>
                  <a:lnTo>
                    <a:pt x="13" y="288"/>
                  </a:lnTo>
                  <a:lnTo>
                    <a:pt x="9" y="288"/>
                  </a:lnTo>
                  <a:lnTo>
                    <a:pt x="6" y="289"/>
                  </a:lnTo>
                  <a:lnTo>
                    <a:pt x="4" y="288"/>
                  </a:lnTo>
                  <a:lnTo>
                    <a:pt x="1" y="288"/>
                  </a:lnTo>
                  <a:lnTo>
                    <a:pt x="0" y="300"/>
                  </a:lnTo>
                  <a:lnTo>
                    <a:pt x="3" y="300"/>
                  </a:lnTo>
                  <a:lnTo>
                    <a:pt x="5" y="302"/>
                  </a:lnTo>
                  <a:lnTo>
                    <a:pt x="9" y="302"/>
                  </a:lnTo>
                  <a:lnTo>
                    <a:pt x="11" y="303"/>
                  </a:lnTo>
                  <a:lnTo>
                    <a:pt x="15" y="306"/>
                  </a:lnTo>
                  <a:lnTo>
                    <a:pt x="16" y="309"/>
                  </a:lnTo>
                  <a:lnTo>
                    <a:pt x="22" y="308"/>
                  </a:lnTo>
                  <a:lnTo>
                    <a:pt x="24" y="310"/>
                  </a:lnTo>
                  <a:lnTo>
                    <a:pt x="29" y="313"/>
                  </a:lnTo>
                  <a:lnTo>
                    <a:pt x="36" y="313"/>
                  </a:lnTo>
                  <a:lnTo>
                    <a:pt x="45" y="310"/>
                  </a:lnTo>
                  <a:lnTo>
                    <a:pt x="50" y="310"/>
                  </a:lnTo>
                  <a:lnTo>
                    <a:pt x="50" y="306"/>
                  </a:lnTo>
                  <a:lnTo>
                    <a:pt x="48" y="305"/>
                  </a:lnTo>
                  <a:lnTo>
                    <a:pt x="56" y="306"/>
                  </a:lnTo>
                  <a:lnTo>
                    <a:pt x="58" y="303"/>
                  </a:lnTo>
                  <a:lnTo>
                    <a:pt x="67" y="302"/>
                  </a:lnTo>
                  <a:lnTo>
                    <a:pt x="74" y="293"/>
                  </a:lnTo>
                  <a:lnTo>
                    <a:pt x="77" y="292"/>
                  </a:lnTo>
                  <a:lnTo>
                    <a:pt x="78" y="292"/>
                  </a:lnTo>
                  <a:lnTo>
                    <a:pt x="88" y="297"/>
                  </a:lnTo>
                  <a:lnTo>
                    <a:pt x="89" y="295"/>
                  </a:lnTo>
                  <a:lnTo>
                    <a:pt x="100" y="290"/>
                  </a:lnTo>
                  <a:lnTo>
                    <a:pt x="101" y="289"/>
                  </a:lnTo>
                  <a:lnTo>
                    <a:pt x="103" y="289"/>
                  </a:lnTo>
                  <a:lnTo>
                    <a:pt x="105" y="290"/>
                  </a:lnTo>
                  <a:lnTo>
                    <a:pt x="106" y="292"/>
                  </a:lnTo>
                  <a:lnTo>
                    <a:pt x="109" y="292"/>
                  </a:lnTo>
                  <a:lnTo>
                    <a:pt x="111" y="293"/>
                  </a:lnTo>
                  <a:lnTo>
                    <a:pt x="112" y="293"/>
                  </a:lnTo>
                  <a:lnTo>
                    <a:pt x="116" y="292"/>
                  </a:lnTo>
                  <a:lnTo>
                    <a:pt x="121" y="289"/>
                  </a:lnTo>
                  <a:lnTo>
                    <a:pt x="122" y="289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31" y="292"/>
                  </a:lnTo>
                  <a:lnTo>
                    <a:pt x="133" y="292"/>
                  </a:lnTo>
                  <a:lnTo>
                    <a:pt x="136" y="290"/>
                  </a:lnTo>
                  <a:lnTo>
                    <a:pt x="137" y="289"/>
                  </a:lnTo>
                  <a:lnTo>
                    <a:pt x="137" y="284"/>
                  </a:lnTo>
                  <a:lnTo>
                    <a:pt x="140" y="284"/>
                  </a:lnTo>
                  <a:lnTo>
                    <a:pt x="141" y="283"/>
                  </a:lnTo>
                  <a:lnTo>
                    <a:pt x="142" y="283"/>
                  </a:lnTo>
                  <a:lnTo>
                    <a:pt x="143" y="282"/>
                  </a:lnTo>
                  <a:lnTo>
                    <a:pt x="145" y="279"/>
                  </a:lnTo>
                  <a:lnTo>
                    <a:pt x="147" y="272"/>
                  </a:lnTo>
                  <a:lnTo>
                    <a:pt x="151" y="269"/>
                  </a:lnTo>
                  <a:lnTo>
                    <a:pt x="153" y="268"/>
                  </a:lnTo>
                  <a:lnTo>
                    <a:pt x="157" y="267"/>
                  </a:lnTo>
                  <a:lnTo>
                    <a:pt x="159" y="267"/>
                  </a:lnTo>
                  <a:lnTo>
                    <a:pt x="163" y="268"/>
                  </a:lnTo>
                  <a:lnTo>
                    <a:pt x="168" y="268"/>
                  </a:lnTo>
                  <a:lnTo>
                    <a:pt x="173" y="266"/>
                  </a:lnTo>
                  <a:lnTo>
                    <a:pt x="177" y="265"/>
                  </a:lnTo>
                  <a:lnTo>
                    <a:pt x="180" y="262"/>
                  </a:lnTo>
                  <a:lnTo>
                    <a:pt x="184" y="261"/>
                  </a:lnTo>
                  <a:lnTo>
                    <a:pt x="191" y="261"/>
                  </a:lnTo>
                  <a:lnTo>
                    <a:pt x="193" y="262"/>
                  </a:lnTo>
                  <a:lnTo>
                    <a:pt x="195" y="262"/>
                  </a:lnTo>
                  <a:lnTo>
                    <a:pt x="198" y="263"/>
                  </a:lnTo>
                  <a:lnTo>
                    <a:pt x="205" y="262"/>
                  </a:lnTo>
                  <a:lnTo>
                    <a:pt x="206" y="261"/>
                  </a:lnTo>
                  <a:lnTo>
                    <a:pt x="182" y="0"/>
                  </a:lnTo>
                  <a:lnTo>
                    <a:pt x="179" y="4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35" name="Rechteck 834"/>
            <p:cNvSpPr/>
            <p:nvPr/>
          </p:nvSpPr>
          <p:spPr bwMode="gray">
            <a:xfrm>
              <a:off x="324643" y="3473792"/>
              <a:ext cx="1293777" cy="14989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36" name="Freeform 104"/>
            <p:cNvSpPr>
              <a:spLocks noEditPoints="1"/>
            </p:cNvSpPr>
            <p:nvPr/>
          </p:nvSpPr>
          <p:spPr bwMode="gray">
            <a:xfrm>
              <a:off x="490347" y="3773943"/>
              <a:ext cx="962369" cy="898599"/>
            </a:xfrm>
            <a:custGeom>
              <a:avLst/>
              <a:gdLst/>
              <a:ahLst/>
              <a:cxnLst>
                <a:cxn ang="0">
                  <a:pos x="86" y="117"/>
                </a:cxn>
                <a:cxn ang="0">
                  <a:pos x="87" y="117"/>
                </a:cxn>
                <a:cxn ang="0">
                  <a:pos x="160" y="58"/>
                </a:cxn>
                <a:cxn ang="0">
                  <a:pos x="158" y="53"/>
                </a:cxn>
                <a:cxn ang="0">
                  <a:pos x="156" y="47"/>
                </a:cxn>
                <a:cxn ang="0">
                  <a:pos x="147" y="37"/>
                </a:cxn>
                <a:cxn ang="0">
                  <a:pos x="145" y="17"/>
                </a:cxn>
                <a:cxn ang="0">
                  <a:pos x="140" y="6"/>
                </a:cxn>
                <a:cxn ang="0">
                  <a:pos x="134" y="4"/>
                </a:cxn>
                <a:cxn ang="0">
                  <a:pos x="131" y="15"/>
                </a:cxn>
                <a:cxn ang="0">
                  <a:pos x="126" y="32"/>
                </a:cxn>
                <a:cxn ang="0">
                  <a:pos x="111" y="25"/>
                </a:cxn>
                <a:cxn ang="0">
                  <a:pos x="111" y="13"/>
                </a:cxn>
                <a:cxn ang="0">
                  <a:pos x="106" y="7"/>
                </a:cxn>
                <a:cxn ang="0">
                  <a:pos x="95" y="2"/>
                </a:cxn>
                <a:cxn ang="0">
                  <a:pos x="92" y="5"/>
                </a:cxn>
                <a:cxn ang="0">
                  <a:pos x="86" y="9"/>
                </a:cxn>
                <a:cxn ang="0">
                  <a:pos x="80" y="18"/>
                </a:cxn>
                <a:cxn ang="0">
                  <a:pos x="76" y="24"/>
                </a:cxn>
                <a:cxn ang="0">
                  <a:pos x="71" y="14"/>
                </a:cxn>
                <a:cxn ang="0">
                  <a:pos x="66" y="20"/>
                </a:cxn>
                <a:cxn ang="0">
                  <a:pos x="59" y="24"/>
                </a:cxn>
                <a:cxn ang="0">
                  <a:pos x="55" y="30"/>
                </a:cxn>
                <a:cxn ang="0">
                  <a:pos x="46" y="35"/>
                </a:cxn>
                <a:cxn ang="0">
                  <a:pos x="37" y="44"/>
                </a:cxn>
                <a:cxn ang="0">
                  <a:pos x="19" y="49"/>
                </a:cxn>
                <a:cxn ang="0">
                  <a:pos x="11" y="54"/>
                </a:cxn>
                <a:cxn ang="0">
                  <a:pos x="4" y="65"/>
                </a:cxn>
                <a:cxn ang="0">
                  <a:pos x="4" y="71"/>
                </a:cxn>
                <a:cxn ang="0">
                  <a:pos x="5" y="84"/>
                </a:cxn>
                <a:cxn ang="0">
                  <a:pos x="5" y="94"/>
                </a:cxn>
                <a:cxn ang="0">
                  <a:pos x="5" y="107"/>
                </a:cxn>
                <a:cxn ang="0">
                  <a:pos x="7" y="115"/>
                </a:cxn>
                <a:cxn ang="0">
                  <a:pos x="25" y="111"/>
                </a:cxn>
                <a:cxn ang="0">
                  <a:pos x="37" y="110"/>
                </a:cxn>
                <a:cxn ang="0">
                  <a:pos x="45" y="103"/>
                </a:cxn>
                <a:cxn ang="0">
                  <a:pos x="65" y="98"/>
                </a:cxn>
                <a:cxn ang="0">
                  <a:pos x="79" y="101"/>
                </a:cxn>
                <a:cxn ang="0">
                  <a:pos x="84" y="109"/>
                </a:cxn>
                <a:cxn ang="0">
                  <a:pos x="86" y="113"/>
                </a:cxn>
                <a:cxn ang="0">
                  <a:pos x="96" y="104"/>
                </a:cxn>
                <a:cxn ang="0">
                  <a:pos x="95" y="106"/>
                </a:cxn>
                <a:cxn ang="0">
                  <a:pos x="89" y="116"/>
                </a:cxn>
                <a:cxn ang="0">
                  <a:pos x="95" y="115"/>
                </a:cxn>
                <a:cxn ang="0">
                  <a:pos x="95" y="126"/>
                </a:cxn>
                <a:cxn ang="0">
                  <a:pos x="113" y="132"/>
                </a:cxn>
                <a:cxn ang="0">
                  <a:pos x="119" y="135"/>
                </a:cxn>
                <a:cxn ang="0">
                  <a:pos x="129" y="129"/>
                </a:cxn>
                <a:cxn ang="0">
                  <a:pos x="141" y="118"/>
                </a:cxn>
                <a:cxn ang="0">
                  <a:pos x="150" y="105"/>
                </a:cxn>
                <a:cxn ang="0">
                  <a:pos x="159" y="93"/>
                </a:cxn>
                <a:cxn ang="0">
                  <a:pos x="166" y="68"/>
                </a:cxn>
                <a:cxn ang="0">
                  <a:pos x="115" y="144"/>
                </a:cxn>
                <a:cxn ang="0">
                  <a:pos x="104" y="141"/>
                </a:cxn>
                <a:cxn ang="0">
                  <a:pos x="102" y="148"/>
                </a:cxn>
                <a:cxn ang="0">
                  <a:pos x="105" y="155"/>
                </a:cxn>
                <a:cxn ang="0">
                  <a:pos x="113" y="152"/>
                </a:cxn>
                <a:cxn ang="0">
                  <a:pos x="117" y="143"/>
                </a:cxn>
                <a:cxn ang="0">
                  <a:pos x="112" y="14"/>
                </a:cxn>
                <a:cxn ang="0">
                  <a:pos x="119" y="140"/>
                </a:cxn>
              </a:cxnLst>
              <a:rect l="0" t="0" r="r" b="b"/>
              <a:pathLst>
                <a:path w="166" h="155">
                  <a:moveTo>
                    <a:pt x="90" y="4"/>
                  </a:moveTo>
                  <a:lnTo>
                    <a:pt x="90" y="3"/>
                  </a:lnTo>
                  <a:lnTo>
                    <a:pt x="89" y="3"/>
                  </a:lnTo>
                  <a:lnTo>
                    <a:pt x="89" y="4"/>
                  </a:lnTo>
                  <a:lnTo>
                    <a:pt x="88" y="4"/>
                  </a:lnTo>
                  <a:lnTo>
                    <a:pt x="88" y="5"/>
                  </a:lnTo>
                  <a:lnTo>
                    <a:pt x="88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0" y="4"/>
                  </a:lnTo>
                  <a:lnTo>
                    <a:pt x="90" y="4"/>
                  </a:lnTo>
                  <a:close/>
                  <a:moveTo>
                    <a:pt x="87" y="117"/>
                  </a:moveTo>
                  <a:lnTo>
                    <a:pt x="86" y="117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5" y="119"/>
                  </a:lnTo>
                  <a:lnTo>
                    <a:pt x="85" y="120"/>
                  </a:lnTo>
                  <a:lnTo>
                    <a:pt x="86" y="120"/>
                  </a:lnTo>
                  <a:lnTo>
                    <a:pt x="87" y="119"/>
                  </a:lnTo>
                  <a:lnTo>
                    <a:pt x="88" y="119"/>
                  </a:lnTo>
                  <a:lnTo>
                    <a:pt x="89" y="119"/>
                  </a:lnTo>
                  <a:lnTo>
                    <a:pt x="89" y="118"/>
                  </a:lnTo>
                  <a:lnTo>
                    <a:pt x="90" y="118"/>
                  </a:lnTo>
                  <a:lnTo>
                    <a:pt x="90" y="118"/>
                  </a:lnTo>
                  <a:lnTo>
                    <a:pt x="89" y="118"/>
                  </a:lnTo>
                  <a:lnTo>
                    <a:pt x="88" y="117"/>
                  </a:lnTo>
                  <a:lnTo>
                    <a:pt x="87" y="117"/>
                  </a:lnTo>
                  <a:lnTo>
                    <a:pt x="87" y="117"/>
                  </a:lnTo>
                  <a:close/>
                  <a:moveTo>
                    <a:pt x="164" y="68"/>
                  </a:moveTo>
                  <a:lnTo>
                    <a:pt x="164" y="66"/>
                  </a:lnTo>
                  <a:lnTo>
                    <a:pt x="164" y="65"/>
                  </a:lnTo>
                  <a:lnTo>
                    <a:pt x="164" y="64"/>
                  </a:lnTo>
                  <a:lnTo>
                    <a:pt x="163" y="63"/>
                  </a:lnTo>
                  <a:lnTo>
                    <a:pt x="163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2"/>
                  </a:lnTo>
                  <a:lnTo>
                    <a:pt x="161" y="61"/>
                  </a:lnTo>
                  <a:lnTo>
                    <a:pt x="161" y="59"/>
                  </a:lnTo>
                  <a:lnTo>
                    <a:pt x="160" y="59"/>
                  </a:lnTo>
                  <a:lnTo>
                    <a:pt x="160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60" y="58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0" y="55"/>
                  </a:lnTo>
                  <a:lnTo>
                    <a:pt x="160" y="55"/>
                  </a:lnTo>
                  <a:lnTo>
                    <a:pt x="160" y="54"/>
                  </a:lnTo>
                  <a:lnTo>
                    <a:pt x="159" y="53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5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3"/>
                  </a:lnTo>
                  <a:lnTo>
                    <a:pt x="157" y="53"/>
                  </a:lnTo>
                  <a:lnTo>
                    <a:pt x="157" y="52"/>
                  </a:lnTo>
                  <a:lnTo>
                    <a:pt x="158" y="51"/>
                  </a:lnTo>
                  <a:lnTo>
                    <a:pt x="158" y="50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6" y="48"/>
                  </a:lnTo>
                  <a:lnTo>
                    <a:pt x="156" y="47"/>
                  </a:lnTo>
                  <a:lnTo>
                    <a:pt x="156" y="47"/>
                  </a:lnTo>
                  <a:lnTo>
                    <a:pt x="156" y="46"/>
                  </a:lnTo>
                  <a:lnTo>
                    <a:pt x="156" y="45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4" y="43"/>
                  </a:lnTo>
                  <a:lnTo>
                    <a:pt x="152" y="42"/>
                  </a:lnTo>
                  <a:lnTo>
                    <a:pt x="151" y="41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49" y="41"/>
                  </a:lnTo>
                  <a:lnTo>
                    <a:pt x="149" y="40"/>
                  </a:lnTo>
                  <a:lnTo>
                    <a:pt x="148" y="39"/>
                  </a:lnTo>
                  <a:lnTo>
                    <a:pt x="148" y="38"/>
                  </a:lnTo>
                  <a:lnTo>
                    <a:pt x="147" y="37"/>
                  </a:lnTo>
                  <a:lnTo>
                    <a:pt x="147" y="35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48" y="32"/>
                  </a:lnTo>
                  <a:lnTo>
                    <a:pt x="148" y="30"/>
                  </a:lnTo>
                  <a:lnTo>
                    <a:pt x="147" y="27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7" y="22"/>
                  </a:lnTo>
                  <a:lnTo>
                    <a:pt x="147" y="19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5" y="17"/>
                  </a:lnTo>
                  <a:lnTo>
                    <a:pt x="144" y="17"/>
                  </a:lnTo>
                  <a:lnTo>
                    <a:pt x="144" y="16"/>
                  </a:lnTo>
                  <a:lnTo>
                    <a:pt x="143" y="16"/>
                  </a:lnTo>
                  <a:lnTo>
                    <a:pt x="142" y="16"/>
                  </a:lnTo>
                  <a:lnTo>
                    <a:pt x="142" y="17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1" y="16"/>
                  </a:lnTo>
                  <a:lnTo>
                    <a:pt x="141" y="15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2"/>
                  </a:lnTo>
                  <a:lnTo>
                    <a:pt x="140" y="11"/>
                  </a:lnTo>
                  <a:lnTo>
                    <a:pt x="140" y="6"/>
                  </a:lnTo>
                  <a:lnTo>
                    <a:pt x="140" y="5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3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8" y="1"/>
                  </a:lnTo>
                  <a:lnTo>
                    <a:pt x="138" y="0"/>
                  </a:lnTo>
                  <a:lnTo>
                    <a:pt x="136" y="1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4" y="2"/>
                  </a:lnTo>
                  <a:lnTo>
                    <a:pt x="134" y="3"/>
                  </a:lnTo>
                  <a:lnTo>
                    <a:pt x="134" y="4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6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11"/>
                  </a:lnTo>
                  <a:lnTo>
                    <a:pt x="132" y="11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1" y="13"/>
                  </a:lnTo>
                  <a:lnTo>
                    <a:pt x="131" y="14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7"/>
                  </a:lnTo>
                  <a:lnTo>
                    <a:pt x="131" y="18"/>
                  </a:lnTo>
                  <a:lnTo>
                    <a:pt x="130" y="24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8" y="27"/>
                  </a:lnTo>
                  <a:lnTo>
                    <a:pt x="128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30"/>
                  </a:lnTo>
                  <a:lnTo>
                    <a:pt x="127" y="31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3" y="33"/>
                  </a:lnTo>
                  <a:lnTo>
                    <a:pt x="122" y="33"/>
                  </a:lnTo>
                  <a:lnTo>
                    <a:pt x="121" y="34"/>
                  </a:lnTo>
                  <a:lnTo>
                    <a:pt x="120" y="34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19" y="30"/>
                  </a:lnTo>
                  <a:lnTo>
                    <a:pt x="118" y="30"/>
                  </a:lnTo>
                  <a:lnTo>
                    <a:pt x="117" y="29"/>
                  </a:lnTo>
                  <a:lnTo>
                    <a:pt x="115" y="28"/>
                  </a:lnTo>
                  <a:lnTo>
                    <a:pt x="113" y="27"/>
                  </a:lnTo>
                  <a:lnTo>
                    <a:pt x="112" y="26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07" y="23"/>
                  </a:lnTo>
                  <a:lnTo>
                    <a:pt x="106" y="20"/>
                  </a:lnTo>
                  <a:lnTo>
                    <a:pt x="107" y="19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8" y="17"/>
                  </a:lnTo>
                  <a:lnTo>
                    <a:pt x="109" y="16"/>
                  </a:lnTo>
                  <a:lnTo>
                    <a:pt x="108" y="13"/>
                  </a:lnTo>
                  <a:lnTo>
                    <a:pt x="110" y="12"/>
                  </a:lnTo>
                  <a:lnTo>
                    <a:pt x="110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2" y="13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2" y="6"/>
                  </a:lnTo>
                  <a:lnTo>
                    <a:pt x="111" y="6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8"/>
                  </a:lnTo>
                  <a:lnTo>
                    <a:pt x="108" y="7"/>
                  </a:lnTo>
                  <a:lnTo>
                    <a:pt x="106" y="7"/>
                  </a:lnTo>
                  <a:lnTo>
                    <a:pt x="105" y="8"/>
                  </a:lnTo>
                  <a:lnTo>
                    <a:pt x="105" y="7"/>
                  </a:lnTo>
                  <a:lnTo>
                    <a:pt x="103" y="7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1" y="6"/>
                  </a:lnTo>
                  <a:lnTo>
                    <a:pt x="101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6" y="4"/>
                  </a:lnTo>
                  <a:lnTo>
                    <a:pt x="96" y="3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3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4" y="7"/>
                  </a:lnTo>
                  <a:lnTo>
                    <a:pt x="92" y="7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7" y="8"/>
                  </a:lnTo>
                  <a:lnTo>
                    <a:pt x="86" y="9"/>
                  </a:lnTo>
                  <a:lnTo>
                    <a:pt x="85" y="9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1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2" y="14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0"/>
                  </a:lnTo>
                  <a:lnTo>
                    <a:pt x="81" y="20"/>
                  </a:lnTo>
                  <a:lnTo>
                    <a:pt x="82" y="20"/>
                  </a:lnTo>
                  <a:lnTo>
                    <a:pt x="83" y="21"/>
                  </a:lnTo>
                  <a:lnTo>
                    <a:pt x="83" y="23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9" y="23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5" y="23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6" y="21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2" y="17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69" y="17"/>
                  </a:lnTo>
                  <a:lnTo>
                    <a:pt x="67" y="16"/>
                  </a:lnTo>
                  <a:lnTo>
                    <a:pt x="68" y="18"/>
                  </a:lnTo>
                  <a:lnTo>
                    <a:pt x="67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9"/>
                  </a:lnTo>
                  <a:lnTo>
                    <a:pt x="66" y="20"/>
                  </a:lnTo>
                  <a:lnTo>
                    <a:pt x="65" y="20"/>
                  </a:lnTo>
                  <a:lnTo>
                    <a:pt x="65" y="21"/>
                  </a:lnTo>
                  <a:lnTo>
                    <a:pt x="64" y="21"/>
                  </a:lnTo>
                  <a:lnTo>
                    <a:pt x="65" y="19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2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6"/>
                  </a:lnTo>
                  <a:lnTo>
                    <a:pt x="61" y="26"/>
                  </a:lnTo>
                  <a:lnTo>
                    <a:pt x="60" y="27"/>
                  </a:lnTo>
                  <a:lnTo>
                    <a:pt x="56" y="28"/>
                  </a:lnTo>
                  <a:lnTo>
                    <a:pt x="56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9"/>
                  </a:lnTo>
                  <a:lnTo>
                    <a:pt x="54" y="30"/>
                  </a:lnTo>
                  <a:lnTo>
                    <a:pt x="55" y="30"/>
                  </a:lnTo>
                  <a:lnTo>
                    <a:pt x="55" y="32"/>
                  </a:lnTo>
                  <a:lnTo>
                    <a:pt x="54" y="33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3" y="31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1" y="28"/>
                  </a:lnTo>
                  <a:lnTo>
                    <a:pt x="50" y="30"/>
                  </a:lnTo>
                  <a:lnTo>
                    <a:pt x="48" y="31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7" y="35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8" y="37"/>
                  </a:lnTo>
                  <a:lnTo>
                    <a:pt x="48" y="38"/>
                  </a:lnTo>
                  <a:lnTo>
                    <a:pt x="47" y="38"/>
                  </a:lnTo>
                  <a:lnTo>
                    <a:pt x="46" y="39"/>
                  </a:lnTo>
                  <a:lnTo>
                    <a:pt x="44" y="40"/>
                  </a:lnTo>
                  <a:lnTo>
                    <a:pt x="44" y="41"/>
                  </a:lnTo>
                  <a:lnTo>
                    <a:pt x="43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39" y="44"/>
                  </a:lnTo>
                  <a:lnTo>
                    <a:pt x="37" y="44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2" y="44"/>
                  </a:lnTo>
                  <a:lnTo>
                    <a:pt x="29" y="45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1" y="54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7" y="57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4"/>
                  </a:lnTo>
                  <a:lnTo>
                    <a:pt x="4" y="65"/>
                  </a:lnTo>
                  <a:lnTo>
                    <a:pt x="4" y="66"/>
                  </a:lnTo>
                  <a:lnTo>
                    <a:pt x="4" y="67"/>
                  </a:lnTo>
                  <a:lnTo>
                    <a:pt x="4" y="68"/>
                  </a:lnTo>
                  <a:lnTo>
                    <a:pt x="5" y="69"/>
                  </a:lnTo>
                  <a:lnTo>
                    <a:pt x="5" y="70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6" y="74"/>
                  </a:lnTo>
                  <a:lnTo>
                    <a:pt x="6" y="73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4" y="83"/>
                  </a:lnTo>
                  <a:lnTo>
                    <a:pt x="5" y="84"/>
                  </a:lnTo>
                  <a:lnTo>
                    <a:pt x="5" y="85"/>
                  </a:lnTo>
                  <a:lnTo>
                    <a:pt x="6" y="85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5" y="89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4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6" y="96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7" y="98"/>
                  </a:lnTo>
                  <a:lnTo>
                    <a:pt x="8" y="100"/>
                  </a:lnTo>
                  <a:lnTo>
                    <a:pt x="8" y="101"/>
                  </a:lnTo>
                  <a:lnTo>
                    <a:pt x="7" y="103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5" y="107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2" y="109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0" y="112"/>
                  </a:lnTo>
                  <a:lnTo>
                    <a:pt x="1" y="112"/>
                  </a:lnTo>
                  <a:lnTo>
                    <a:pt x="2" y="112"/>
                  </a:lnTo>
                  <a:lnTo>
                    <a:pt x="3" y="112"/>
                  </a:lnTo>
                  <a:lnTo>
                    <a:pt x="3" y="113"/>
                  </a:lnTo>
                  <a:lnTo>
                    <a:pt x="4" y="114"/>
                  </a:lnTo>
                  <a:lnTo>
                    <a:pt x="5" y="114"/>
                  </a:lnTo>
                  <a:lnTo>
                    <a:pt x="7" y="114"/>
                  </a:lnTo>
                  <a:lnTo>
                    <a:pt x="7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3" y="115"/>
                  </a:lnTo>
                  <a:lnTo>
                    <a:pt x="14" y="115"/>
                  </a:lnTo>
                  <a:lnTo>
                    <a:pt x="14" y="114"/>
                  </a:lnTo>
                  <a:lnTo>
                    <a:pt x="14" y="113"/>
                  </a:lnTo>
                  <a:lnTo>
                    <a:pt x="16" y="114"/>
                  </a:lnTo>
                  <a:lnTo>
                    <a:pt x="17" y="113"/>
                  </a:lnTo>
                  <a:lnTo>
                    <a:pt x="19" y="112"/>
                  </a:lnTo>
                  <a:lnTo>
                    <a:pt x="21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0" y="109"/>
                  </a:lnTo>
                  <a:lnTo>
                    <a:pt x="30" y="110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2" y="110"/>
                  </a:lnTo>
                  <a:lnTo>
                    <a:pt x="33" y="110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5" y="109"/>
                  </a:lnTo>
                  <a:lnTo>
                    <a:pt x="36" y="109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38" y="108"/>
                  </a:lnTo>
                  <a:lnTo>
                    <a:pt x="39" y="108"/>
                  </a:lnTo>
                  <a:lnTo>
                    <a:pt x="39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1" y="106"/>
                  </a:lnTo>
                  <a:lnTo>
                    <a:pt x="41" y="104"/>
                  </a:lnTo>
                  <a:lnTo>
                    <a:pt x="42" y="103"/>
                  </a:lnTo>
                  <a:lnTo>
                    <a:pt x="43" y="103"/>
                  </a:lnTo>
                  <a:lnTo>
                    <a:pt x="44" y="103"/>
                  </a:lnTo>
                  <a:lnTo>
                    <a:pt x="45" y="103"/>
                  </a:lnTo>
                  <a:lnTo>
                    <a:pt x="46" y="103"/>
                  </a:lnTo>
                  <a:lnTo>
                    <a:pt x="47" y="103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50" y="101"/>
                  </a:lnTo>
                  <a:lnTo>
                    <a:pt x="52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2"/>
                  </a:lnTo>
                  <a:lnTo>
                    <a:pt x="57" y="101"/>
                  </a:lnTo>
                  <a:lnTo>
                    <a:pt x="61" y="99"/>
                  </a:lnTo>
                  <a:lnTo>
                    <a:pt x="63" y="99"/>
                  </a:lnTo>
                  <a:lnTo>
                    <a:pt x="65" y="98"/>
                  </a:lnTo>
                  <a:lnTo>
                    <a:pt x="67" y="98"/>
                  </a:lnTo>
                  <a:lnTo>
                    <a:pt x="69" y="98"/>
                  </a:lnTo>
                  <a:lnTo>
                    <a:pt x="72" y="98"/>
                  </a:lnTo>
                  <a:lnTo>
                    <a:pt x="73" y="97"/>
                  </a:lnTo>
                  <a:lnTo>
                    <a:pt x="74" y="98"/>
                  </a:lnTo>
                  <a:lnTo>
                    <a:pt x="75" y="98"/>
                  </a:lnTo>
                  <a:lnTo>
                    <a:pt x="75" y="99"/>
                  </a:lnTo>
                  <a:lnTo>
                    <a:pt x="77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79" y="101"/>
                  </a:lnTo>
                  <a:lnTo>
                    <a:pt x="80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2" y="103"/>
                  </a:lnTo>
                  <a:lnTo>
                    <a:pt x="81" y="104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2" y="107"/>
                  </a:lnTo>
                  <a:lnTo>
                    <a:pt x="83" y="106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2" y="112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5"/>
                  </a:lnTo>
                  <a:lnTo>
                    <a:pt x="86" y="115"/>
                  </a:lnTo>
                  <a:lnTo>
                    <a:pt x="86" y="114"/>
                  </a:lnTo>
                  <a:lnTo>
                    <a:pt x="86" y="113"/>
                  </a:lnTo>
                  <a:lnTo>
                    <a:pt x="86" y="112"/>
                  </a:lnTo>
                  <a:lnTo>
                    <a:pt x="86" y="111"/>
                  </a:lnTo>
                  <a:lnTo>
                    <a:pt x="87" y="111"/>
                  </a:lnTo>
                  <a:lnTo>
                    <a:pt x="88" y="110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0" y="110"/>
                  </a:lnTo>
                  <a:lnTo>
                    <a:pt x="91" y="109"/>
                  </a:lnTo>
                  <a:lnTo>
                    <a:pt x="91" y="108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3" y="107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7" y="104"/>
                  </a:lnTo>
                  <a:lnTo>
                    <a:pt x="98" y="103"/>
                  </a:lnTo>
                  <a:lnTo>
                    <a:pt x="98" y="102"/>
                  </a:lnTo>
                  <a:lnTo>
                    <a:pt x="98" y="101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3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98" y="104"/>
                  </a:lnTo>
                  <a:lnTo>
                    <a:pt x="98" y="105"/>
                  </a:lnTo>
                  <a:lnTo>
                    <a:pt x="97" y="105"/>
                  </a:lnTo>
                  <a:lnTo>
                    <a:pt x="96" y="106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6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4" y="109"/>
                  </a:lnTo>
                  <a:lnTo>
                    <a:pt x="92" y="111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91" y="114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4" y="113"/>
                  </a:lnTo>
                  <a:lnTo>
                    <a:pt x="94" y="112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2"/>
                  </a:lnTo>
                  <a:lnTo>
                    <a:pt x="96" y="113"/>
                  </a:lnTo>
                  <a:lnTo>
                    <a:pt x="96" y="114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4" y="116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5" y="117"/>
                  </a:lnTo>
                  <a:lnTo>
                    <a:pt x="96" y="117"/>
                  </a:lnTo>
                  <a:lnTo>
                    <a:pt x="98" y="117"/>
                  </a:lnTo>
                  <a:lnTo>
                    <a:pt x="98" y="118"/>
                  </a:lnTo>
                  <a:lnTo>
                    <a:pt x="96" y="120"/>
                  </a:lnTo>
                  <a:lnTo>
                    <a:pt x="96" y="120"/>
                  </a:lnTo>
                  <a:lnTo>
                    <a:pt x="97" y="120"/>
                  </a:lnTo>
                  <a:lnTo>
                    <a:pt x="98" y="122"/>
                  </a:lnTo>
                  <a:lnTo>
                    <a:pt x="98" y="123"/>
                  </a:lnTo>
                  <a:lnTo>
                    <a:pt x="98" y="123"/>
                  </a:lnTo>
                  <a:lnTo>
                    <a:pt x="95" y="126"/>
                  </a:lnTo>
                  <a:lnTo>
                    <a:pt x="95" y="127"/>
                  </a:lnTo>
                  <a:lnTo>
                    <a:pt x="96" y="127"/>
                  </a:lnTo>
                  <a:lnTo>
                    <a:pt x="96" y="128"/>
                  </a:lnTo>
                  <a:lnTo>
                    <a:pt x="98" y="129"/>
                  </a:lnTo>
                  <a:lnTo>
                    <a:pt x="99" y="129"/>
                  </a:lnTo>
                  <a:lnTo>
                    <a:pt x="99" y="130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5" y="132"/>
                  </a:lnTo>
                  <a:lnTo>
                    <a:pt x="107" y="133"/>
                  </a:lnTo>
                  <a:lnTo>
                    <a:pt x="108" y="134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3" y="132"/>
                  </a:lnTo>
                  <a:lnTo>
                    <a:pt x="114" y="131"/>
                  </a:lnTo>
                  <a:lnTo>
                    <a:pt x="114" y="129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6" y="129"/>
                  </a:lnTo>
                  <a:lnTo>
                    <a:pt x="116" y="132"/>
                  </a:lnTo>
                  <a:lnTo>
                    <a:pt x="117" y="132"/>
                  </a:lnTo>
                  <a:lnTo>
                    <a:pt x="116" y="133"/>
                  </a:lnTo>
                  <a:lnTo>
                    <a:pt x="117" y="133"/>
                  </a:lnTo>
                  <a:lnTo>
                    <a:pt x="117" y="134"/>
                  </a:lnTo>
                  <a:lnTo>
                    <a:pt x="117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0" y="134"/>
                  </a:lnTo>
                  <a:lnTo>
                    <a:pt x="122" y="134"/>
                  </a:lnTo>
                  <a:lnTo>
                    <a:pt x="122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6" y="130"/>
                  </a:lnTo>
                  <a:lnTo>
                    <a:pt x="127" y="129"/>
                  </a:lnTo>
                  <a:lnTo>
                    <a:pt x="126" y="129"/>
                  </a:lnTo>
                  <a:lnTo>
                    <a:pt x="128" y="128"/>
                  </a:lnTo>
                  <a:lnTo>
                    <a:pt x="129" y="129"/>
                  </a:lnTo>
                  <a:lnTo>
                    <a:pt x="130" y="129"/>
                  </a:lnTo>
                  <a:lnTo>
                    <a:pt x="132" y="128"/>
                  </a:lnTo>
                  <a:lnTo>
                    <a:pt x="135" y="128"/>
                  </a:lnTo>
                  <a:lnTo>
                    <a:pt x="136" y="127"/>
                  </a:lnTo>
                  <a:lnTo>
                    <a:pt x="137" y="125"/>
                  </a:lnTo>
                  <a:lnTo>
                    <a:pt x="137" y="123"/>
                  </a:lnTo>
                  <a:lnTo>
                    <a:pt x="137" y="122"/>
                  </a:lnTo>
                  <a:lnTo>
                    <a:pt x="138" y="122"/>
                  </a:lnTo>
                  <a:lnTo>
                    <a:pt x="139" y="120"/>
                  </a:lnTo>
                  <a:lnTo>
                    <a:pt x="140" y="120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1" y="118"/>
                  </a:lnTo>
                  <a:lnTo>
                    <a:pt x="142" y="117"/>
                  </a:lnTo>
                  <a:lnTo>
                    <a:pt x="142" y="116"/>
                  </a:lnTo>
                  <a:lnTo>
                    <a:pt x="143" y="115"/>
                  </a:lnTo>
                  <a:lnTo>
                    <a:pt x="143" y="114"/>
                  </a:lnTo>
                  <a:lnTo>
                    <a:pt x="143" y="113"/>
                  </a:lnTo>
                  <a:lnTo>
                    <a:pt x="144" y="112"/>
                  </a:lnTo>
                  <a:lnTo>
                    <a:pt x="144" y="111"/>
                  </a:lnTo>
                  <a:lnTo>
                    <a:pt x="146" y="110"/>
                  </a:lnTo>
                  <a:lnTo>
                    <a:pt x="147" y="109"/>
                  </a:lnTo>
                  <a:lnTo>
                    <a:pt x="148" y="107"/>
                  </a:lnTo>
                  <a:lnTo>
                    <a:pt x="149" y="107"/>
                  </a:lnTo>
                  <a:lnTo>
                    <a:pt x="149" y="106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2" y="104"/>
                  </a:lnTo>
                  <a:lnTo>
                    <a:pt x="153" y="103"/>
                  </a:lnTo>
                  <a:lnTo>
                    <a:pt x="154" y="102"/>
                  </a:lnTo>
                  <a:lnTo>
                    <a:pt x="155" y="101"/>
                  </a:lnTo>
                  <a:lnTo>
                    <a:pt x="157" y="99"/>
                  </a:lnTo>
                  <a:lnTo>
                    <a:pt x="158" y="98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9" y="95"/>
                  </a:lnTo>
                  <a:lnTo>
                    <a:pt x="159" y="94"/>
                  </a:lnTo>
                  <a:lnTo>
                    <a:pt x="159" y="93"/>
                  </a:lnTo>
                  <a:lnTo>
                    <a:pt x="159" y="93"/>
                  </a:lnTo>
                  <a:lnTo>
                    <a:pt x="160" y="91"/>
                  </a:lnTo>
                  <a:lnTo>
                    <a:pt x="161" y="90"/>
                  </a:lnTo>
                  <a:lnTo>
                    <a:pt x="162" y="87"/>
                  </a:lnTo>
                  <a:lnTo>
                    <a:pt x="164" y="85"/>
                  </a:lnTo>
                  <a:lnTo>
                    <a:pt x="164" y="83"/>
                  </a:lnTo>
                  <a:lnTo>
                    <a:pt x="165" y="82"/>
                  </a:lnTo>
                  <a:lnTo>
                    <a:pt x="165" y="81"/>
                  </a:lnTo>
                  <a:lnTo>
                    <a:pt x="164" y="79"/>
                  </a:lnTo>
                  <a:lnTo>
                    <a:pt x="165" y="76"/>
                  </a:lnTo>
                  <a:lnTo>
                    <a:pt x="166" y="75"/>
                  </a:lnTo>
                  <a:lnTo>
                    <a:pt x="166" y="74"/>
                  </a:lnTo>
                  <a:lnTo>
                    <a:pt x="166" y="71"/>
                  </a:lnTo>
                  <a:lnTo>
                    <a:pt x="166" y="69"/>
                  </a:lnTo>
                  <a:lnTo>
                    <a:pt x="166" y="68"/>
                  </a:lnTo>
                  <a:lnTo>
                    <a:pt x="164" y="68"/>
                  </a:lnTo>
                  <a:lnTo>
                    <a:pt x="164" y="68"/>
                  </a:lnTo>
                  <a:close/>
                  <a:moveTo>
                    <a:pt x="118" y="142"/>
                  </a:moveTo>
                  <a:lnTo>
                    <a:pt x="118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19" y="141"/>
                  </a:lnTo>
                  <a:lnTo>
                    <a:pt x="118" y="142"/>
                  </a:lnTo>
                  <a:lnTo>
                    <a:pt x="118" y="142"/>
                  </a:lnTo>
                  <a:close/>
                  <a:moveTo>
                    <a:pt x="117" y="143"/>
                  </a:moveTo>
                  <a:lnTo>
                    <a:pt x="116" y="143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3"/>
                  </a:lnTo>
                  <a:lnTo>
                    <a:pt x="114" y="143"/>
                  </a:lnTo>
                  <a:lnTo>
                    <a:pt x="113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1" y="143"/>
                  </a:lnTo>
                  <a:lnTo>
                    <a:pt x="109" y="143"/>
                  </a:lnTo>
                  <a:lnTo>
                    <a:pt x="107" y="142"/>
                  </a:lnTo>
                  <a:lnTo>
                    <a:pt x="107" y="142"/>
                  </a:lnTo>
                  <a:lnTo>
                    <a:pt x="107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0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4" y="146"/>
                  </a:lnTo>
                  <a:lnTo>
                    <a:pt x="104" y="146"/>
                  </a:lnTo>
                  <a:lnTo>
                    <a:pt x="104" y="147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02" y="149"/>
                  </a:lnTo>
                  <a:lnTo>
                    <a:pt x="101" y="150"/>
                  </a:lnTo>
                  <a:lnTo>
                    <a:pt x="101" y="151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4" y="153"/>
                  </a:lnTo>
                  <a:lnTo>
                    <a:pt x="103" y="154"/>
                  </a:lnTo>
                  <a:lnTo>
                    <a:pt x="103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8" y="155"/>
                  </a:lnTo>
                  <a:lnTo>
                    <a:pt x="110" y="155"/>
                  </a:lnTo>
                  <a:lnTo>
                    <a:pt x="111" y="154"/>
                  </a:lnTo>
                  <a:lnTo>
                    <a:pt x="111" y="154"/>
                  </a:lnTo>
                  <a:lnTo>
                    <a:pt x="112" y="153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3" y="149"/>
                  </a:lnTo>
                  <a:lnTo>
                    <a:pt x="114" y="149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6" y="145"/>
                  </a:lnTo>
                  <a:lnTo>
                    <a:pt x="116" y="145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43"/>
                  </a:lnTo>
                  <a:close/>
                  <a:moveTo>
                    <a:pt x="112" y="14"/>
                  </a:moveTo>
                  <a:lnTo>
                    <a:pt x="111" y="15"/>
                  </a:lnTo>
                  <a:lnTo>
                    <a:pt x="111" y="16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1" y="18"/>
                  </a:lnTo>
                  <a:lnTo>
                    <a:pt x="113" y="18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close/>
                  <a:moveTo>
                    <a:pt x="104" y="136"/>
                  </a:moveTo>
                  <a:lnTo>
                    <a:pt x="103" y="138"/>
                  </a:lnTo>
                  <a:lnTo>
                    <a:pt x="106" y="136"/>
                  </a:lnTo>
                  <a:lnTo>
                    <a:pt x="104" y="136"/>
                  </a:lnTo>
                  <a:lnTo>
                    <a:pt x="104" y="136"/>
                  </a:lnTo>
                  <a:close/>
                  <a:moveTo>
                    <a:pt x="119" y="140"/>
                  </a:moveTo>
                  <a:lnTo>
                    <a:pt x="118" y="137"/>
                  </a:lnTo>
                  <a:lnTo>
                    <a:pt x="117" y="138"/>
                  </a:lnTo>
                  <a:lnTo>
                    <a:pt x="117" y="139"/>
                  </a:lnTo>
                  <a:lnTo>
                    <a:pt x="118" y="140"/>
                  </a:lnTo>
                  <a:lnTo>
                    <a:pt x="119" y="140"/>
                  </a:lnTo>
                  <a:lnTo>
                    <a:pt x="119" y="140"/>
                  </a:lnTo>
                  <a:lnTo>
                    <a:pt x="119" y="140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noProof="1"/>
            </a:p>
          </p:txBody>
        </p:sp>
        <p:sp>
          <p:nvSpPr>
            <p:cNvPr id="837" name="Ellipse 836"/>
            <p:cNvSpPr/>
            <p:nvPr/>
          </p:nvSpPr>
          <p:spPr bwMode="gray">
            <a:xfrm>
              <a:off x="750887" y="4302125"/>
              <a:ext cx="79375" cy="79375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052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uppieren 53"/>
          <p:cNvGrpSpPr/>
          <p:nvPr/>
        </p:nvGrpSpPr>
        <p:grpSpPr bwMode="gray">
          <a:xfrm>
            <a:off x="0" y="4853959"/>
            <a:ext cx="9144000" cy="1341120"/>
            <a:chOff x="0" y="4236720"/>
            <a:chExt cx="9144000" cy="1341120"/>
          </a:xfrm>
        </p:grpSpPr>
        <p:sp>
          <p:nvSpPr>
            <p:cNvPr id="56" name="Rechteck 55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2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57" name="Rechteck 56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2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Simulation Strategies </a:t>
            </a:r>
            <a:r>
              <a:rPr lang="en-US" b="0" noProof="1" smtClean="0"/>
              <a:t>- Stuck in the Middl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for own Subheadline</a:t>
            </a:r>
          </a:p>
          <a:p>
            <a:endParaRPr lang="en-US" noProof="1"/>
          </a:p>
        </p:txBody>
      </p:sp>
      <p:grpSp>
        <p:nvGrpSpPr>
          <p:cNvPr id="46" name="Gruppieren 45"/>
          <p:cNvGrpSpPr/>
          <p:nvPr/>
        </p:nvGrpSpPr>
        <p:grpSpPr>
          <a:xfrm>
            <a:off x="75092" y="1554954"/>
            <a:ext cx="8600606" cy="4247359"/>
            <a:chOff x="75092" y="1554954"/>
            <a:chExt cx="8600606" cy="4247359"/>
          </a:xfrm>
        </p:grpSpPr>
        <p:sp>
          <p:nvSpPr>
            <p:cNvPr id="34" name="Rechtwinkliges Dreieck 33"/>
            <p:cNvSpPr/>
            <p:nvPr/>
          </p:nvSpPr>
          <p:spPr bwMode="gray">
            <a:xfrm>
              <a:off x="4579620" y="3192780"/>
              <a:ext cx="666433" cy="666433"/>
            </a:xfrm>
            <a:prstGeom prst="rt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Rechtwinkliges Dreieck 34"/>
            <p:cNvSpPr/>
            <p:nvPr/>
          </p:nvSpPr>
          <p:spPr bwMode="gray">
            <a:xfrm rot="10800000">
              <a:off x="3913187" y="3859213"/>
              <a:ext cx="666433" cy="666433"/>
            </a:xfrm>
            <a:prstGeom prst="rt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16" name="Gerade Verbindung mit Pfeil 15"/>
            <p:cNvCxnSpPr/>
            <p:nvPr/>
          </p:nvCxnSpPr>
          <p:spPr bwMode="gray">
            <a:xfrm>
              <a:off x="4579620" y="1916114"/>
              <a:ext cx="0" cy="3886199"/>
            </a:xfrm>
            <a:prstGeom prst="straightConnector1">
              <a:avLst/>
            </a:prstGeom>
            <a:ln w="12700"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/>
          </p:nvCxnSpPr>
          <p:spPr bwMode="gray">
            <a:xfrm>
              <a:off x="1005840" y="3859213"/>
              <a:ext cx="6873240" cy="0"/>
            </a:xfrm>
            <a:prstGeom prst="straightConnector1">
              <a:avLst/>
            </a:prstGeom>
            <a:ln w="12700"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/>
          </p:nvCxnSpPr>
          <p:spPr bwMode="gray">
            <a:xfrm flipV="1">
              <a:off x="1310640" y="1916114"/>
              <a:ext cx="6568440" cy="3885404"/>
            </a:xfrm>
            <a:prstGeom prst="straightConnector1">
              <a:avLst/>
            </a:prstGeom>
            <a:ln w="12700"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mit Pfeil 21"/>
            <p:cNvCxnSpPr/>
            <p:nvPr/>
          </p:nvCxnSpPr>
          <p:spPr bwMode="gray">
            <a:xfrm flipH="1">
              <a:off x="2529840" y="2491740"/>
              <a:ext cx="4091940" cy="0"/>
            </a:xfrm>
            <a:prstGeom prst="straightConnector1">
              <a:avLst/>
            </a:prstGeom>
            <a:ln w="19050">
              <a:solidFill>
                <a:srgbClr val="969696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mit Pfeil 23"/>
            <p:cNvCxnSpPr/>
            <p:nvPr/>
          </p:nvCxnSpPr>
          <p:spPr bwMode="gray">
            <a:xfrm flipV="1">
              <a:off x="1706880" y="2491740"/>
              <a:ext cx="0" cy="2476500"/>
            </a:xfrm>
            <a:prstGeom prst="straightConnector1">
              <a:avLst/>
            </a:prstGeom>
            <a:ln w="19050">
              <a:solidFill>
                <a:srgbClr val="969696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hteck 25"/>
            <p:cNvSpPr/>
            <p:nvPr/>
          </p:nvSpPr>
          <p:spPr bwMode="gray">
            <a:xfrm>
              <a:off x="4579620" y="3859213"/>
              <a:ext cx="967740" cy="667067"/>
            </a:xfrm>
            <a:prstGeom prst="rect">
              <a:avLst/>
            </a:prstGeom>
            <a:noFill/>
            <a:ln w="12700">
              <a:solidFill>
                <a:srgbClr val="969696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8" name="Gerade Verbindung 27"/>
            <p:cNvCxnSpPr/>
            <p:nvPr/>
          </p:nvCxnSpPr>
          <p:spPr bwMode="gray">
            <a:xfrm flipH="1">
              <a:off x="3474720" y="4526280"/>
              <a:ext cx="1104900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flipV="1">
              <a:off x="5547360" y="3291840"/>
              <a:ext cx="0" cy="567373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feld 35"/>
            <p:cNvSpPr txBox="1"/>
            <p:nvPr/>
          </p:nvSpPr>
          <p:spPr bwMode="gray">
            <a:xfrm>
              <a:off x="4227664" y="1554954"/>
              <a:ext cx="100380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/>
                <a:t>Performance</a:t>
              </a:r>
              <a:endParaRPr lang="en-US" sz="1200" b="1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4006706" y="5524519"/>
              <a:ext cx="4117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low</a:t>
              </a:r>
              <a:endParaRPr lang="en-US" sz="1200" noProof="1"/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4087177" y="1916114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high</a:t>
              </a:r>
              <a:endParaRPr lang="en-US" sz="1200" noProof="1"/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1159651" y="1984692"/>
              <a:ext cx="110472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noProof="1" smtClean="0"/>
                <a:t>IV: Advantage </a:t>
              </a:r>
              <a:br>
                <a:rPr lang="en-US" sz="1200" b="1" noProof="1" smtClean="0"/>
              </a:br>
              <a:r>
                <a:rPr lang="en-US" sz="1200" b="1" noProof="1" smtClean="0"/>
                <a:t>strategy</a:t>
              </a:r>
              <a:endParaRPr lang="en-US" sz="1200" b="1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75092" y="5157777"/>
              <a:ext cx="125047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noProof="1" smtClean="0"/>
                <a:t>III: Price / </a:t>
              </a:r>
              <a:br>
                <a:rPr lang="en-US" sz="1200" b="1" noProof="1" smtClean="0"/>
              </a:br>
              <a:r>
                <a:rPr lang="en-US" sz="1200" b="1" noProof="1" smtClean="0"/>
                <a:t>Amount strategy</a:t>
              </a:r>
              <a:endParaRPr lang="en-US" sz="1200" b="1" noProof="1"/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7097702" y="1554954"/>
              <a:ext cx="157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noProof="1" smtClean="0"/>
                <a:t>II: Preference strategy</a:t>
              </a:r>
              <a:endParaRPr lang="en-US" sz="1200" b="1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5665652" y="4436517"/>
              <a:ext cx="19122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noProof="1" smtClean="0"/>
                <a:t>I: Over reaching strategy</a:t>
              </a:r>
              <a:endParaRPr lang="en-US" sz="1200" b="1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1077206" y="3582213"/>
              <a:ext cx="4117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low</a:t>
              </a:r>
              <a:endParaRPr lang="en-US" sz="1200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7886702" y="3720713"/>
              <a:ext cx="495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Price</a:t>
              </a:r>
              <a:endParaRPr lang="en-US" sz="1200" noProof="1"/>
            </a:p>
          </p:txBody>
        </p:sp>
        <p:sp>
          <p:nvSpPr>
            <p:cNvPr id="45" name="Textfeld 44"/>
            <p:cNvSpPr txBox="1"/>
            <p:nvPr/>
          </p:nvSpPr>
          <p:spPr bwMode="gray">
            <a:xfrm>
              <a:off x="7386637" y="3582214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high</a:t>
              </a:r>
              <a:endParaRPr lang="en-US" sz="1200" noProof="1"/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2699508" y="3305215"/>
              <a:ext cx="15504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„Stuck-in-the-Middle“</a:t>
              </a:r>
              <a:endParaRPr lang="en-US" sz="1200" noProof="1"/>
            </a:p>
          </p:txBody>
        </p:sp>
        <p:cxnSp>
          <p:nvCxnSpPr>
            <p:cNvPr id="49" name="Gerade Verbindung mit Pfeil 48"/>
            <p:cNvCxnSpPr/>
            <p:nvPr/>
          </p:nvCxnSpPr>
          <p:spPr bwMode="gray">
            <a:xfrm>
              <a:off x="4249932" y="3444240"/>
              <a:ext cx="329688" cy="0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/>
          </p:nvCxnSpPr>
          <p:spPr bwMode="gray">
            <a:xfrm>
              <a:off x="4078030" y="3586349"/>
              <a:ext cx="0" cy="272863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/>
            <p:nvPr/>
          </p:nvSpPr>
          <p:spPr bwMode="gray">
            <a:xfrm>
              <a:off x="4705077" y="3974852"/>
              <a:ext cx="7216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Security </a:t>
              </a:r>
              <a:br>
                <a:rPr lang="en-US" sz="1200" noProof="1" smtClean="0"/>
              </a:br>
              <a:r>
                <a:rPr lang="en-US" sz="1200" noProof="1" smtClean="0"/>
                <a:t>distance</a:t>
              </a:r>
              <a:endParaRPr lang="en-US" sz="1200" noProof="1"/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2859528" y="2214741"/>
              <a:ext cx="13613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/>
                <a:t>Outpacing </a:t>
              </a:r>
              <a:r>
                <a:rPr lang="en-US" sz="1200" noProof="1" smtClean="0"/>
                <a:t>strategy</a:t>
              </a:r>
              <a:endParaRPr lang="en-US" sz="12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838191" y="2830175"/>
              <a:ext cx="86113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Outpacing </a:t>
              </a:r>
              <a:br>
                <a:rPr lang="en-US" sz="1200" noProof="1" smtClean="0"/>
              </a:br>
              <a:r>
                <a:rPr lang="en-US" sz="1200" noProof="1" smtClean="0"/>
                <a:t>strategy</a:t>
              </a:r>
              <a:endParaRPr lang="en-US" sz="12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98476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y </a:t>
            </a:r>
            <a:r>
              <a:rPr lang="en-US" b="0" noProof="1" smtClean="0"/>
              <a:t>- Strategic Triangl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tegrated marketing strategies include the strategic triangle of company, customer and competitor</a:t>
            </a:r>
            <a:endParaRPr lang="en-US" noProof="1"/>
          </a:p>
        </p:txBody>
      </p:sp>
      <p:grpSp>
        <p:nvGrpSpPr>
          <p:cNvPr id="15" name="Gruppieren 14"/>
          <p:cNvGrpSpPr/>
          <p:nvPr/>
        </p:nvGrpSpPr>
        <p:grpSpPr>
          <a:xfrm>
            <a:off x="1431925" y="1916112"/>
            <a:ext cx="6280150" cy="3556066"/>
            <a:chOff x="1431925" y="1916112"/>
            <a:chExt cx="6280150" cy="3556066"/>
          </a:xfrm>
        </p:grpSpPr>
        <p:sp>
          <p:nvSpPr>
            <p:cNvPr id="17" name="Rechteck 16"/>
            <p:cNvSpPr/>
            <p:nvPr/>
          </p:nvSpPr>
          <p:spPr bwMode="gray">
            <a:xfrm>
              <a:off x="1431925" y="4564128"/>
              <a:ext cx="1219200" cy="90805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Own </a:t>
              </a:r>
              <a:b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Company</a:t>
              </a: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6492875" y="4564128"/>
              <a:ext cx="1219200" cy="90805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Competition</a:t>
              </a: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3962400" y="1916112"/>
              <a:ext cx="1219200" cy="90805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30" name="Textfeld 29"/>
            <p:cNvSpPr txBox="1"/>
            <p:nvPr/>
          </p:nvSpPr>
          <p:spPr bwMode="gray">
            <a:xfrm rot="18660000">
              <a:off x="2157446" y="3206175"/>
              <a:ext cx="127227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Customer benefit</a:t>
              </a:r>
              <a:endParaRPr lang="en-US" sz="1400" noProof="1"/>
            </a:p>
          </p:txBody>
        </p:sp>
        <p:sp>
          <p:nvSpPr>
            <p:cNvPr id="31" name="Textfeld 30"/>
            <p:cNvSpPr txBox="1"/>
            <p:nvPr/>
          </p:nvSpPr>
          <p:spPr bwMode="gray">
            <a:xfrm rot="2880000">
              <a:off x="5800625" y="3191137"/>
              <a:ext cx="127227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Customer benefit</a:t>
              </a:r>
              <a:endParaRPr lang="en-US" sz="14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3718770" y="4590175"/>
              <a:ext cx="168854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Competitve advantage </a:t>
              </a:r>
              <a:endParaRPr lang="en-US" sz="1400" noProof="1"/>
            </a:p>
          </p:txBody>
        </p:sp>
        <p:sp>
          <p:nvSpPr>
            <p:cNvPr id="39" name="Pfeil nach oben und unten 38"/>
            <p:cNvSpPr/>
            <p:nvPr/>
          </p:nvSpPr>
          <p:spPr bwMode="gray">
            <a:xfrm rot="2520000">
              <a:off x="2883363" y="2044864"/>
              <a:ext cx="160742" cy="2835499"/>
            </a:xfrm>
            <a:prstGeom prst="upDown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0" name="Pfeil nach oben und unten 39"/>
            <p:cNvSpPr/>
            <p:nvPr/>
          </p:nvSpPr>
          <p:spPr bwMode="gray">
            <a:xfrm rot="19080000">
              <a:off x="6108026" y="2044864"/>
              <a:ext cx="160742" cy="2835499"/>
            </a:xfrm>
            <a:prstGeom prst="upDown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Pfeil nach oben und unten 40"/>
            <p:cNvSpPr/>
            <p:nvPr/>
          </p:nvSpPr>
          <p:spPr bwMode="gray">
            <a:xfrm rot="16200000">
              <a:off x="4491630" y="3117850"/>
              <a:ext cx="160742" cy="3740149"/>
            </a:xfrm>
            <a:prstGeom prst="upDown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6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316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y </a:t>
            </a:r>
            <a:r>
              <a:rPr lang="en-US" b="0" noProof="1" smtClean="0"/>
              <a:t>- Strategic Pentagon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ccording to Ohmae 1992</a:t>
            </a:r>
            <a:endParaRPr lang="en-US" noProof="1"/>
          </a:p>
        </p:txBody>
      </p:sp>
      <p:grpSp>
        <p:nvGrpSpPr>
          <p:cNvPr id="13" name="Gruppieren 12"/>
          <p:cNvGrpSpPr/>
          <p:nvPr/>
        </p:nvGrpSpPr>
        <p:grpSpPr>
          <a:xfrm>
            <a:off x="1406323" y="1669713"/>
            <a:ext cx="5981048" cy="3936306"/>
            <a:chOff x="1406323" y="1669713"/>
            <a:chExt cx="5981048" cy="3936306"/>
          </a:xfrm>
        </p:grpSpPr>
        <p:sp>
          <p:nvSpPr>
            <p:cNvPr id="7" name="Regelmäßiges Fünfeck 6"/>
            <p:cNvSpPr/>
            <p:nvPr/>
          </p:nvSpPr>
          <p:spPr bwMode="gray">
            <a:xfrm>
              <a:off x="2793113" y="2039045"/>
              <a:ext cx="3559359" cy="3389865"/>
            </a:xfrm>
            <a:prstGeom prst="pentagon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47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convex"/>
            </a:sp3d>
          </p:spPr>
          <p:txBody>
            <a:bodyPr bIns="468000" rtlCol="0" anchor="ctr"/>
            <a:lstStyle/>
            <a:p>
              <a:pPr algn="ctr"/>
              <a:r>
                <a:rPr lang="en-US" sz="3000" b="1" noProof="1" smtClean="0">
                  <a:ln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+mj-ea"/>
                  <a:cs typeface="+mj-cs"/>
                </a:rPr>
                <a:t>Strategic Pentagon</a:t>
              </a:r>
              <a:endParaRPr lang="en-US" b="1" noProof="1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8" name="Textfeld 7"/>
            <p:cNvSpPr txBox="1"/>
            <p:nvPr/>
          </p:nvSpPr>
          <p:spPr bwMode="gray">
            <a:xfrm>
              <a:off x="4019143" y="1669713"/>
              <a:ext cx="11047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Customer</a:t>
              </a:r>
            </a:p>
          </p:txBody>
        </p:sp>
        <p:sp>
          <p:nvSpPr>
            <p:cNvPr id="9" name="Textfeld 8"/>
            <p:cNvSpPr txBox="1"/>
            <p:nvPr/>
          </p:nvSpPr>
          <p:spPr bwMode="gray">
            <a:xfrm>
              <a:off x="6352472" y="3151279"/>
              <a:ext cx="10348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Currency</a:t>
              </a:r>
              <a:endParaRPr lang="en-US" b="1" noProof="1"/>
            </a:p>
          </p:txBody>
        </p:sp>
        <p:sp>
          <p:nvSpPr>
            <p:cNvPr id="10" name="Textfeld 9"/>
            <p:cNvSpPr txBox="1"/>
            <p:nvPr/>
          </p:nvSpPr>
          <p:spPr bwMode="gray">
            <a:xfrm>
              <a:off x="5734065" y="5236687"/>
              <a:ext cx="12740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Competitor</a:t>
              </a:r>
              <a:endParaRPr lang="en-US" b="1" noProof="1"/>
            </a:p>
          </p:txBody>
        </p:sp>
        <p:sp>
          <p:nvSpPr>
            <p:cNvPr id="11" name="Textfeld 10"/>
            <p:cNvSpPr txBox="1"/>
            <p:nvPr/>
          </p:nvSpPr>
          <p:spPr bwMode="gray">
            <a:xfrm>
              <a:off x="2328530" y="5236687"/>
              <a:ext cx="10829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b="1" noProof="1" smtClean="0"/>
                <a:t>Company</a:t>
              </a:r>
              <a:endParaRPr lang="en-US" b="1" noProof="1"/>
            </a:p>
          </p:txBody>
        </p:sp>
        <p:sp>
          <p:nvSpPr>
            <p:cNvPr id="12" name="Textfeld 11"/>
            <p:cNvSpPr txBox="1"/>
            <p:nvPr/>
          </p:nvSpPr>
          <p:spPr bwMode="gray">
            <a:xfrm>
              <a:off x="1406323" y="3151279"/>
              <a:ext cx="13867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b="1" noProof="1" smtClean="0"/>
                <a:t>Government</a:t>
              </a:r>
              <a:endParaRPr lang="en-US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234141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Innovation </a:t>
            </a:r>
            <a:r>
              <a:rPr lang="en-US" b="0" noProof="1" smtClean="0"/>
              <a:t>- Demand Pull and Technology Push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terplay between both strategies </a:t>
            </a:r>
          </a:p>
          <a:p>
            <a:endParaRPr lang="en-US" noProof="1"/>
          </a:p>
        </p:txBody>
      </p:sp>
      <p:grpSp>
        <p:nvGrpSpPr>
          <p:cNvPr id="24" name="Gruppieren 23"/>
          <p:cNvGrpSpPr/>
          <p:nvPr/>
        </p:nvGrpSpPr>
        <p:grpSpPr>
          <a:xfrm>
            <a:off x="681876" y="-142875"/>
            <a:ext cx="7570584" cy="7307960"/>
            <a:chOff x="681876" y="-142875"/>
            <a:chExt cx="7570584" cy="7307960"/>
          </a:xfrm>
        </p:grpSpPr>
        <p:grpSp>
          <p:nvGrpSpPr>
            <p:cNvPr id="19" name="Gruppieren 18"/>
            <p:cNvGrpSpPr/>
            <p:nvPr/>
          </p:nvGrpSpPr>
          <p:grpSpPr bwMode="gray">
            <a:xfrm>
              <a:off x="918019" y="-142875"/>
              <a:ext cx="7307962" cy="7307960"/>
              <a:chOff x="794195" y="-266699"/>
              <a:chExt cx="7555610" cy="7555608"/>
            </a:xfrm>
            <a:scene3d>
              <a:camera prst="perspectiveRelaxed">
                <a:rot lat="17973603" lon="0" rev="0"/>
              </a:camera>
              <a:lightRig rig="balanced" dir="t"/>
            </a:scene3d>
          </p:grpSpPr>
          <p:grpSp>
            <p:nvGrpSpPr>
              <p:cNvPr id="15" name="Gruppieren 14"/>
              <p:cNvGrpSpPr/>
              <p:nvPr/>
            </p:nvGrpSpPr>
            <p:grpSpPr bwMode="gray">
              <a:xfrm>
                <a:off x="794195" y="-266699"/>
                <a:ext cx="7555610" cy="7555608"/>
                <a:chOff x="794195" y="-266699"/>
                <a:chExt cx="7555610" cy="7555608"/>
              </a:xfrm>
            </p:grpSpPr>
            <p:sp>
              <p:nvSpPr>
                <p:cNvPr id="5" name="Akkord 4"/>
                <p:cNvSpPr/>
                <p:nvPr/>
              </p:nvSpPr>
              <p:spPr bwMode="gray">
                <a:xfrm>
                  <a:off x="794195" y="-266699"/>
                  <a:ext cx="7555610" cy="7555608"/>
                </a:xfrm>
                <a:prstGeom prst="chord">
                  <a:avLst>
                    <a:gd name="adj1" fmla="val 5483909"/>
                    <a:gd name="adj2" fmla="val 16121084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sp3d extrusionH="107950"/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9" name="Akkord 8"/>
                <p:cNvSpPr/>
                <p:nvPr/>
              </p:nvSpPr>
              <p:spPr bwMode="gray">
                <a:xfrm flipH="1">
                  <a:off x="794195" y="-266699"/>
                  <a:ext cx="7555610" cy="7555608"/>
                </a:xfrm>
                <a:prstGeom prst="chord">
                  <a:avLst>
                    <a:gd name="adj1" fmla="val 5483909"/>
                    <a:gd name="adj2" fmla="val 16121084"/>
                  </a:avLst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sp3d extrusionH="107950"/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</p:grpSp>
          <p:sp>
            <p:nvSpPr>
              <p:cNvPr id="14" name="Pfeil nach rechts 13"/>
              <p:cNvSpPr/>
              <p:nvPr/>
            </p:nvSpPr>
            <p:spPr bwMode="gray">
              <a:xfrm flipH="1">
                <a:off x="5832099" y="2397895"/>
                <a:ext cx="2207001" cy="2226420"/>
              </a:xfrm>
              <a:prstGeom prst="rightArrow">
                <a:avLst>
                  <a:gd name="adj1" fmla="val 61069"/>
                  <a:gd name="adj2" fmla="val 50087"/>
                </a:avLst>
              </a:prstGeom>
              <a:solidFill>
                <a:srgbClr val="000000">
                  <a:alpha val="67000"/>
                </a:srgbClr>
              </a:solidFill>
              <a:ln w="12700">
                <a:noFill/>
                <a:round/>
                <a:headEnd/>
                <a:tailEnd/>
              </a:ln>
              <a:effectLst>
                <a:softEdge rad="31750"/>
              </a:effectLst>
              <a:sp3d/>
            </p:spPr>
            <p:txBody>
              <a:bodyPr wrap="none" lIns="216000" rtlCol="0" anchor="ctr"/>
              <a:lstStyle/>
              <a:p>
                <a:endParaRPr lang="en-US" sz="2000" b="1" noProof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Pfeil nach rechts 7"/>
              <p:cNvSpPr/>
              <p:nvPr/>
            </p:nvSpPr>
            <p:spPr bwMode="gray">
              <a:xfrm flipH="1">
                <a:off x="5927349" y="2555410"/>
                <a:ext cx="2067776" cy="1911389"/>
              </a:xfrm>
              <a:prstGeom prst="rightArrow">
                <a:avLst>
                  <a:gd name="adj1" fmla="val 63636"/>
                  <a:gd name="adj2" fmla="val 50000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sp3d z="107950" extrusionH="107950"/>
            </p:spPr>
            <p:txBody>
              <a:bodyPr rIns="216000" rtlCol="0" anchor="ctr"/>
              <a:lstStyle/>
              <a:p>
                <a:pPr algn="r"/>
                <a: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Demand </a:t>
                </a:r>
                <a:b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</a:br>
                <a: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Pull</a:t>
                </a:r>
              </a:p>
            </p:txBody>
          </p:sp>
          <p:sp>
            <p:nvSpPr>
              <p:cNvPr id="12" name="Pfeil nach rechts 11"/>
              <p:cNvSpPr/>
              <p:nvPr/>
            </p:nvSpPr>
            <p:spPr bwMode="gray">
              <a:xfrm>
                <a:off x="1127314" y="2397895"/>
                <a:ext cx="2207001" cy="2226420"/>
              </a:xfrm>
              <a:prstGeom prst="rightArrow">
                <a:avLst>
                  <a:gd name="adj1" fmla="val 61069"/>
                  <a:gd name="adj2" fmla="val 50087"/>
                </a:avLst>
              </a:prstGeom>
              <a:solidFill>
                <a:srgbClr val="000000">
                  <a:alpha val="67000"/>
                </a:srgbClr>
              </a:solidFill>
              <a:ln w="12700">
                <a:noFill/>
                <a:round/>
                <a:headEnd/>
                <a:tailEnd/>
              </a:ln>
              <a:effectLst>
                <a:softEdge rad="31750"/>
              </a:effectLst>
              <a:sp3d/>
            </p:spPr>
            <p:txBody>
              <a:bodyPr wrap="none" lIns="216000" rtlCol="0" anchor="ctr"/>
              <a:lstStyle/>
              <a:p>
                <a:endParaRPr lang="en-US" sz="2000" b="1" noProof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Pfeil nach rechts 6"/>
              <p:cNvSpPr/>
              <p:nvPr/>
            </p:nvSpPr>
            <p:spPr bwMode="gray">
              <a:xfrm>
                <a:off x="1174940" y="2555410"/>
                <a:ext cx="2067776" cy="1911389"/>
              </a:xfrm>
              <a:prstGeom prst="rightArrow">
                <a:avLst>
                  <a:gd name="adj1" fmla="val 63636"/>
                  <a:gd name="adj2" fmla="val 50000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sp3d z="107950" extrusionH="107950"/>
            </p:spPr>
            <p:txBody>
              <a:bodyPr wrap="none" lIns="216000" rtlCol="0" anchor="ctr"/>
              <a:lstStyle/>
              <a:p>
                <a: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Technology </a:t>
                </a:r>
                <a:b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</a:br>
                <a:r>
                  <a:rPr lang="en-US" sz="24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Push</a:t>
                </a:r>
              </a:p>
            </p:txBody>
          </p:sp>
          <p:grpSp>
            <p:nvGrpSpPr>
              <p:cNvPr id="16" name="Gruppieren 15"/>
              <p:cNvGrpSpPr/>
              <p:nvPr/>
            </p:nvGrpSpPr>
            <p:grpSpPr bwMode="gray">
              <a:xfrm>
                <a:off x="3337368" y="2276475"/>
                <a:ext cx="2469262" cy="2469260"/>
                <a:chOff x="794195" y="-266699"/>
                <a:chExt cx="7555610" cy="7555608"/>
              </a:xfrm>
            </p:grpSpPr>
            <p:sp>
              <p:nvSpPr>
                <p:cNvPr id="17" name="Akkord 16"/>
                <p:cNvSpPr/>
                <p:nvPr/>
              </p:nvSpPr>
              <p:spPr bwMode="gray">
                <a:xfrm>
                  <a:off x="794195" y="-266699"/>
                  <a:ext cx="7555610" cy="7555608"/>
                </a:xfrm>
                <a:prstGeom prst="chord">
                  <a:avLst>
                    <a:gd name="adj1" fmla="val 5680291"/>
                    <a:gd name="adj2" fmla="val 15915173"/>
                  </a:avLst>
                </a:prstGeom>
                <a:solidFill>
                  <a:srgbClr val="000000">
                    <a:alpha val="53000"/>
                  </a:srgbClr>
                </a:solidFill>
                <a:ln w="12700">
                  <a:noFill/>
                  <a:round/>
                  <a:headEnd/>
                  <a:tailEnd/>
                </a:ln>
                <a:effectLst>
                  <a:softEdge rad="63500"/>
                </a:effectLst>
                <a:sp3d/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18" name="Akkord 17"/>
                <p:cNvSpPr/>
                <p:nvPr/>
              </p:nvSpPr>
              <p:spPr bwMode="gray">
                <a:xfrm flipH="1">
                  <a:off x="794195" y="-266699"/>
                  <a:ext cx="7555610" cy="7555608"/>
                </a:xfrm>
                <a:prstGeom prst="chord">
                  <a:avLst>
                    <a:gd name="adj1" fmla="val 5656247"/>
                    <a:gd name="adj2" fmla="val 15917578"/>
                  </a:avLst>
                </a:prstGeom>
                <a:solidFill>
                  <a:srgbClr val="000000">
                    <a:alpha val="53000"/>
                  </a:srgbClr>
                </a:solidFill>
                <a:ln w="12700">
                  <a:noFill/>
                  <a:round/>
                  <a:headEnd/>
                  <a:tailEnd/>
                </a:ln>
                <a:effectLst>
                  <a:softEdge rad="63500"/>
                </a:effectLst>
                <a:sp3d/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</p:grpSp>
          <p:sp>
            <p:nvSpPr>
              <p:cNvPr id="6" name="Ellipse 5"/>
              <p:cNvSpPr/>
              <p:nvPr/>
            </p:nvSpPr>
            <p:spPr bwMode="gray">
              <a:xfrm>
                <a:off x="3448821" y="2387927"/>
                <a:ext cx="2246357" cy="2246357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sp3d z="107950" extrusionH="107950"/>
            </p:spPr>
            <p:txBody>
              <a:bodyPr wrap="none" rtlCol="0" anchor="ctr"/>
              <a:lstStyle/>
              <a:p>
                <a:pPr lvl="0" algn="ctr"/>
                <a:r>
                  <a:rPr lang="en-US" sz="32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Innovation</a:t>
                </a:r>
              </a:p>
            </p:txBody>
          </p:sp>
        </p:grpSp>
        <p:grpSp>
          <p:nvGrpSpPr>
            <p:cNvPr id="23" name="Gruppieren 22"/>
            <p:cNvGrpSpPr/>
            <p:nvPr/>
          </p:nvGrpSpPr>
          <p:grpSpPr>
            <a:xfrm>
              <a:off x="681876" y="1880259"/>
              <a:ext cx="7570584" cy="3308960"/>
              <a:chOff x="681876" y="1880259"/>
              <a:chExt cx="7570584" cy="3308960"/>
            </a:xfrm>
          </p:grpSpPr>
          <p:sp>
            <p:nvSpPr>
              <p:cNvPr id="20" name="Textfeld 19"/>
              <p:cNvSpPr txBox="1"/>
              <p:nvPr/>
            </p:nvSpPr>
            <p:spPr bwMode="gray">
              <a:xfrm>
                <a:off x="765358" y="1880259"/>
                <a:ext cx="118673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b="1" noProof="1" smtClean="0"/>
                  <a:t>Company</a:t>
                </a:r>
                <a:endParaRPr lang="en-US" sz="2000" b="1" noProof="1"/>
              </a:p>
            </p:txBody>
          </p:sp>
          <p:sp>
            <p:nvSpPr>
              <p:cNvPr id="21" name="Textfeld 20"/>
              <p:cNvSpPr txBox="1"/>
              <p:nvPr/>
            </p:nvSpPr>
            <p:spPr bwMode="gray">
              <a:xfrm>
                <a:off x="6478263" y="1880259"/>
                <a:ext cx="95981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b="1" noProof="1" smtClean="0"/>
                  <a:t>Market</a:t>
                </a:r>
              </a:p>
            </p:txBody>
          </p:sp>
          <p:sp>
            <p:nvSpPr>
              <p:cNvPr id="22" name="Textfeld 21"/>
              <p:cNvSpPr txBox="1"/>
              <p:nvPr/>
            </p:nvSpPr>
            <p:spPr bwMode="gray">
              <a:xfrm>
                <a:off x="681876" y="3756660"/>
                <a:ext cx="3371964" cy="1390980"/>
              </a:xfrm>
              <a:prstGeom prst="ellipse">
                <a:avLst/>
              </a:prstGeom>
              <a:noFill/>
              <a:scene3d>
                <a:camera prst="orthographicFront">
                  <a:rot lat="21048601" lon="1671002" rev="19414734"/>
                </a:camera>
                <a:lightRig rig="threePt" dir="t"/>
              </a:scene3d>
            </p:spPr>
            <p:txBody>
              <a:bodyPr wrap="none" rtlCol="0">
                <a:prstTxWarp prst="textArchDown">
                  <a:avLst>
                    <a:gd name="adj" fmla="val 664513"/>
                  </a:avLst>
                </a:prstTxWarp>
                <a:spAutoFit/>
              </a:bodyPr>
              <a:lstStyle/>
              <a:p>
                <a:pPr algn="ctr"/>
                <a:r>
                  <a:rPr lang="en-US" sz="2000" b="1" noProof="1" smtClean="0">
                    <a:solidFill>
                      <a:srgbClr val="000000"/>
                    </a:solidFill>
                  </a:rPr>
                  <a:t>Technologies</a:t>
                </a:r>
              </a:p>
              <a:p>
                <a:pPr algn="ctr"/>
                <a:endParaRPr lang="en-US" sz="20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Textfeld 29"/>
              <p:cNvSpPr txBox="1"/>
              <p:nvPr/>
            </p:nvSpPr>
            <p:spPr bwMode="gray">
              <a:xfrm>
                <a:off x="4815840" y="4086224"/>
                <a:ext cx="3436620" cy="1102995"/>
              </a:xfrm>
              <a:prstGeom prst="ellipse">
                <a:avLst/>
              </a:prstGeom>
              <a:noFill/>
              <a:scene3d>
                <a:camera prst="orthographicFront">
                  <a:rot lat="21453826" lon="534926" rev="1531050"/>
                </a:camera>
                <a:lightRig rig="threePt" dir="t"/>
              </a:scene3d>
            </p:spPr>
            <p:txBody>
              <a:bodyPr wrap="none" rtlCol="0">
                <a:prstTxWarp prst="textArchDown">
                  <a:avLst>
                    <a:gd name="adj" fmla="val 21594078"/>
                  </a:avLst>
                </a:prstTxWarp>
                <a:spAutoFit/>
              </a:bodyPr>
              <a:lstStyle/>
              <a:p>
                <a:pPr algn="ctr"/>
                <a:r>
                  <a:rPr lang="en-US" sz="2000" b="1" noProof="1" smtClean="0">
                    <a:solidFill>
                      <a:srgbClr val="000000"/>
                    </a:solidFill>
                  </a:rPr>
                  <a:t>Customer demands</a:t>
                </a:r>
              </a:p>
              <a:p>
                <a:pPr algn="ctr"/>
                <a:endParaRPr lang="en-US" sz="2000" b="1" noProof="1">
                  <a:solidFill>
                    <a:srgbClr val="000000"/>
                  </a:solidFill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Media Strategy </a:t>
            </a:r>
            <a:r>
              <a:rPr lang="en-US" b="0" noProof="1" smtClean="0"/>
              <a:t>- Dimension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Analysis  and visualization of the six most important parameter of media strategy</a:t>
            </a:r>
            <a:endParaRPr lang="en-US" noProof="1"/>
          </a:p>
        </p:txBody>
      </p:sp>
      <p:grpSp>
        <p:nvGrpSpPr>
          <p:cNvPr id="19" name="Gruppieren 18"/>
          <p:cNvGrpSpPr/>
          <p:nvPr/>
        </p:nvGrpSpPr>
        <p:grpSpPr>
          <a:xfrm>
            <a:off x="323850" y="1555751"/>
            <a:ext cx="8662270" cy="4246562"/>
            <a:chOff x="323850" y="1555751"/>
            <a:chExt cx="8662270" cy="4246562"/>
          </a:xfrm>
        </p:grpSpPr>
        <p:grpSp>
          <p:nvGrpSpPr>
            <p:cNvPr id="6" name="Gruppieren 18"/>
            <p:cNvGrpSpPr/>
            <p:nvPr/>
          </p:nvGrpSpPr>
          <p:grpSpPr>
            <a:xfrm>
              <a:off x="323850" y="1555751"/>
              <a:ext cx="8416738" cy="4246562"/>
              <a:chOff x="323850" y="1555751"/>
              <a:chExt cx="8416738" cy="4246562"/>
            </a:xfrm>
          </p:grpSpPr>
          <p:sp>
            <p:nvSpPr>
              <p:cNvPr id="4" name="Ellipse 3"/>
              <p:cNvSpPr/>
              <p:nvPr/>
            </p:nvSpPr>
            <p:spPr bwMode="auto">
              <a:xfrm>
                <a:off x="3222812" y="2329843"/>
                <a:ext cx="2698376" cy="2698376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" name="Textfeld 4"/>
              <p:cNvSpPr txBox="1"/>
              <p:nvPr/>
            </p:nvSpPr>
            <p:spPr>
              <a:xfrm>
                <a:off x="3343835" y="1555751"/>
                <a:ext cx="245633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/>
                  <a:t>Percentage of the </a:t>
                </a:r>
                <a:r>
                  <a:rPr lang="en-US" sz="1100" noProof="1" smtClean="0"/>
                  <a:t/>
                </a:r>
                <a:br>
                  <a:rPr lang="en-US" sz="1100" noProof="1" smtClean="0"/>
                </a:br>
                <a:r>
                  <a:rPr lang="en-US" sz="1100" noProof="1" smtClean="0"/>
                  <a:t>reached </a:t>
                </a:r>
                <a:r>
                  <a:rPr lang="en-US" sz="1100" noProof="1"/>
                  <a:t>target group</a:t>
                </a:r>
              </a:p>
            </p:txBody>
          </p:sp>
          <p:sp>
            <p:nvSpPr>
              <p:cNvPr id="8" name="Textfeld 7"/>
              <p:cNvSpPr txBox="1"/>
              <p:nvPr/>
            </p:nvSpPr>
            <p:spPr>
              <a:xfrm>
                <a:off x="6682190" y="4391708"/>
                <a:ext cx="205839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/>
                  <a:t>The number of applied media (Media </a:t>
                </a:r>
                <a:r>
                  <a:rPr lang="en-US" sz="1100" noProof="1" smtClean="0"/>
                  <a:t>mix</a:t>
                </a:r>
                <a:r>
                  <a:rPr lang="en-US" sz="1100" noProof="1"/>
                  <a:t>)</a:t>
                </a:r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3542801" y="5371426"/>
                <a:ext cx="205839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/>
                  <a:t>Frequency and timely intervals of the contacts</a:t>
                </a:r>
              </a:p>
            </p:txBody>
          </p:sp>
          <p:sp>
            <p:nvSpPr>
              <p:cNvPr id="10" name="Textfeld 9"/>
              <p:cNvSpPr txBox="1"/>
              <p:nvPr/>
            </p:nvSpPr>
            <p:spPr>
              <a:xfrm>
                <a:off x="323850" y="4391708"/>
                <a:ext cx="205839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/>
                  <a:t>Size, formats, advertising and spot lengths</a:t>
                </a:r>
              </a:p>
            </p:txBody>
          </p:sp>
          <p:sp>
            <p:nvSpPr>
              <p:cNvPr id="11" name="Textfeld 10"/>
              <p:cNvSpPr txBox="1"/>
              <p:nvPr/>
            </p:nvSpPr>
            <p:spPr>
              <a:xfrm>
                <a:off x="323850" y="2533613"/>
                <a:ext cx="2058398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/>
                  <a:t>Design of advertising</a:t>
                </a:r>
              </a:p>
              <a:p>
                <a:pPr algn="ctr"/>
                <a:r>
                  <a:rPr lang="en-US" sz="1100" noProof="1"/>
                  <a:t>(for instance: color) and their placement</a:t>
                </a:r>
              </a:p>
            </p:txBody>
          </p:sp>
        </p:grpSp>
        <p:sp>
          <p:nvSpPr>
            <p:cNvPr id="7" name="Textfeld 6"/>
            <p:cNvSpPr txBox="1"/>
            <p:nvPr/>
          </p:nvSpPr>
          <p:spPr>
            <a:xfrm>
              <a:off x="6529790" y="2533613"/>
              <a:ext cx="245633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noProof="1" smtClean="0"/>
                <a:t>Frequency of addressing the </a:t>
              </a:r>
              <a:br>
                <a:rPr lang="en-US" sz="1100" noProof="1" smtClean="0"/>
              </a:br>
              <a:r>
                <a:rPr lang="en-US" sz="1100" noProof="1" smtClean="0"/>
                <a:t>target persons</a:t>
              </a:r>
              <a:endParaRPr lang="en-US" sz="1100" noProof="1"/>
            </a:p>
          </p:txBody>
        </p:sp>
        <p:graphicFrame>
          <p:nvGraphicFramePr>
            <p:cNvPr id="22" name="Diagramm 21"/>
            <p:cNvGraphicFramePr/>
            <p:nvPr>
              <p:extLst>
                <p:ext uri="{D42A27DB-BD31-4B8C-83A1-F6EECF244321}">
                  <p14:modId xmlns:p14="http://schemas.microsoft.com/office/powerpoint/2010/main" val="481224706"/>
                </p:ext>
              </p:extLst>
            </p:nvPr>
          </p:nvGraphicFramePr>
          <p:xfrm>
            <a:off x="1904860" y="1900938"/>
            <a:ext cx="5334281" cy="35561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grpSp>
        <p:nvGrpSpPr>
          <p:cNvPr id="12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Rechteck 24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en-US" sz="1200" noProof="1" smtClean="0">
                  <a:solidFill>
                    <a:srgbClr val="FFFFFF"/>
                  </a:solidFill>
                </a:rPr>
                <a:t>DATADRIVEN</a:t>
              </a:r>
              <a:endParaRPr lang="en-US" sz="1200" noProof="1">
                <a:solidFill>
                  <a:srgbClr val="FFFFFF"/>
                </a:solidFill>
              </a:endParaRPr>
            </a:p>
          </p:txBody>
        </p:sp>
        <p:grpSp>
          <p:nvGrpSpPr>
            <p:cNvPr id="13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27" name="Gerade Verbindung 26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586742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3" name="Rectangle 3"/>
          <p:cNvSpPr>
            <a:spLocks noGrp="1" noChangeArrowheads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rategies according to individualization degree and customer relation</a:t>
            </a:r>
            <a:endParaRPr lang="en-US" noProof="1"/>
          </a:p>
        </p:txBody>
      </p:sp>
      <p:sp>
        <p:nvSpPr>
          <p:cNvPr id="34" name="Titel 3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ies</a:t>
            </a:r>
            <a:endParaRPr lang="en-US" noProof="1"/>
          </a:p>
        </p:txBody>
      </p:sp>
      <p:grpSp>
        <p:nvGrpSpPr>
          <p:cNvPr id="18" name="Gruppieren 17"/>
          <p:cNvGrpSpPr/>
          <p:nvPr/>
        </p:nvGrpSpPr>
        <p:grpSpPr>
          <a:xfrm>
            <a:off x="604863" y="1500554"/>
            <a:ext cx="8409479" cy="4426917"/>
            <a:chOff x="604863" y="1500554"/>
            <a:chExt cx="8409479" cy="4426917"/>
          </a:xfrm>
        </p:grpSpPr>
        <p:cxnSp>
          <p:nvCxnSpPr>
            <p:cNvPr id="28" name="Gerade Verbindung mit Pfeil 27"/>
            <p:cNvCxnSpPr/>
            <p:nvPr/>
          </p:nvCxnSpPr>
          <p:spPr bwMode="gray">
            <a:xfrm flipV="1">
              <a:off x="1057229" y="1906693"/>
              <a:ext cx="0" cy="3453895"/>
            </a:xfrm>
            <a:prstGeom prst="straightConnector1">
              <a:avLst/>
            </a:prstGeom>
            <a:ln w="12700">
              <a:solidFill>
                <a:srgbClr val="80808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/>
          </p:nvCxnSpPr>
          <p:spPr bwMode="gray">
            <a:xfrm>
              <a:off x="1057229" y="5360586"/>
              <a:ext cx="6859951" cy="0"/>
            </a:xfrm>
            <a:prstGeom prst="straightConnector1">
              <a:avLst/>
            </a:prstGeom>
            <a:ln w="12700">
              <a:solidFill>
                <a:srgbClr val="80808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hteck 30"/>
            <p:cNvSpPr/>
            <p:nvPr/>
          </p:nvSpPr>
          <p:spPr bwMode="gray">
            <a:xfrm>
              <a:off x="1196847" y="3759646"/>
              <a:ext cx="3187695" cy="13984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Mass-Marketing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>
                  <a:solidFill>
                    <a:srgbClr val="000000"/>
                  </a:solidFill>
                </a:rPr>
                <a:t>standardized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market development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4729485" y="3759646"/>
              <a:ext cx="3187695" cy="13984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Relationship Marketing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/>
                <a:t>Individualization of </a:t>
              </a:r>
              <a:br>
                <a:rPr lang="en-US" sz="1400" noProof="1" smtClean="0"/>
              </a:br>
              <a:r>
                <a:rPr lang="en-US" sz="1400" noProof="1" smtClean="0"/>
                <a:t>customer relationship</a:t>
              </a:r>
              <a:endParaRPr lang="en-US" sz="1400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1196847" y="1906693"/>
              <a:ext cx="3187695" cy="13984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Customized Marketing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>
                  <a:solidFill>
                    <a:srgbClr val="000000"/>
                  </a:solidFill>
                </a:rPr>
                <a:t>individualization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of product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4729485" y="1906693"/>
              <a:ext cx="3187695" cy="13984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Individual Marketing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/>
                <a:t>customer individual </a:t>
              </a:r>
              <a:br>
                <a:rPr lang="en-US" sz="1400" noProof="1" smtClean="0"/>
              </a:br>
              <a:r>
                <a:rPr lang="en-US" sz="1400" noProof="1" smtClean="0"/>
                <a:t>market development</a:t>
              </a:r>
              <a:endParaRPr lang="en-US" sz="1400" noProof="1" smtClean="0">
                <a:solidFill>
                  <a:srgbClr val="000000"/>
                </a:solidFill>
              </a:endParaRPr>
            </a:p>
          </p:txBody>
        </p:sp>
        <p:cxnSp>
          <p:nvCxnSpPr>
            <p:cNvPr id="55" name="Gerade Verbindung 54"/>
            <p:cNvCxnSpPr/>
            <p:nvPr/>
          </p:nvCxnSpPr>
          <p:spPr bwMode="gray">
            <a:xfrm>
              <a:off x="4574245" y="1906693"/>
              <a:ext cx="0" cy="3251408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1196847" y="3532397"/>
              <a:ext cx="6720333" cy="0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feld 57"/>
            <p:cNvSpPr txBox="1"/>
            <p:nvPr/>
          </p:nvSpPr>
          <p:spPr bwMode="gray">
            <a:xfrm>
              <a:off x="942929" y="1500554"/>
              <a:ext cx="251953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Level of individualization of a product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61" name="Textfeld 60"/>
            <p:cNvSpPr txBox="1"/>
            <p:nvPr/>
          </p:nvSpPr>
          <p:spPr bwMode="gray">
            <a:xfrm>
              <a:off x="7300668" y="5465806"/>
              <a:ext cx="171367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Individualization degree </a:t>
              </a:r>
              <a:br>
                <a:rPr lang="en-US" sz="1200" noProof="1" smtClean="0"/>
              </a:br>
              <a:r>
                <a:rPr lang="en-US" sz="1200" noProof="1" smtClean="0"/>
                <a:t>of customer relationship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63" name="Textfeld 62"/>
            <p:cNvSpPr txBox="1"/>
            <p:nvPr/>
          </p:nvSpPr>
          <p:spPr bwMode="gray">
            <a:xfrm>
              <a:off x="2473941" y="5455295"/>
              <a:ext cx="4117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>
                  <a:solidFill>
                    <a:srgbClr val="000000"/>
                  </a:solidFill>
                </a:rPr>
                <a:t>low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64" name="Textfeld 63"/>
            <p:cNvSpPr txBox="1"/>
            <p:nvPr/>
          </p:nvSpPr>
          <p:spPr bwMode="gray">
            <a:xfrm>
              <a:off x="6077111" y="5455295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>
                  <a:solidFill>
                    <a:srgbClr val="000000"/>
                  </a:solidFill>
                </a:rPr>
                <a:t>high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645514" y="4300012"/>
              <a:ext cx="41171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>
                  <a:solidFill>
                    <a:srgbClr val="000000"/>
                  </a:solidFill>
                </a:rPr>
                <a:t>low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604863" y="2447059"/>
              <a:ext cx="45236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>
                  <a:solidFill>
                    <a:srgbClr val="000000"/>
                  </a:solidFill>
                </a:rPr>
                <a:t>high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9985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trategic Marketing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Questions and Marketing</a:t>
            </a:r>
            <a:endParaRPr lang="en-US" noProof="1"/>
          </a:p>
        </p:txBody>
      </p:sp>
      <p:grpSp>
        <p:nvGrpSpPr>
          <p:cNvPr id="16" name="Gruppieren 15"/>
          <p:cNvGrpSpPr/>
          <p:nvPr/>
        </p:nvGrpSpPr>
        <p:grpSpPr>
          <a:xfrm>
            <a:off x="323850" y="1555749"/>
            <a:ext cx="8494713" cy="4101386"/>
            <a:chOff x="323850" y="1555749"/>
            <a:chExt cx="8494713" cy="4101386"/>
          </a:xfrm>
        </p:grpSpPr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323850" y="155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Where?</a:t>
              </a:r>
            </a:p>
          </p:txBody>
        </p:sp>
        <p:sp>
          <p:nvSpPr>
            <p:cNvPr id="12" name="Rectangle 19"/>
            <p:cNvSpPr>
              <a:spLocks noChangeArrowheads="1"/>
            </p:cNvSpPr>
            <p:nvPr/>
          </p:nvSpPr>
          <p:spPr bwMode="gray">
            <a:xfrm>
              <a:off x="6083300" y="155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When?</a:t>
              </a:r>
            </a:p>
          </p:txBody>
        </p:sp>
        <p:sp>
          <p:nvSpPr>
            <p:cNvPr id="13" name="Rectangle 19"/>
            <p:cNvSpPr>
              <a:spLocks noChangeArrowheads="1"/>
            </p:cNvSpPr>
            <p:nvPr/>
          </p:nvSpPr>
          <p:spPr bwMode="gray">
            <a:xfrm>
              <a:off x="3203575" y="155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How?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323850" y="2095749"/>
              <a:ext cx="2735263" cy="11764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In which market is the 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company active?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2095749"/>
              <a:ext cx="2735263" cy="11764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When will the company 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become active on 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the market?</a:t>
              </a: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2095749"/>
              <a:ext cx="2735263" cy="11764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What is the central 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 of the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ing strategy?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323850" y="4337732"/>
              <a:ext cx="2735263" cy="131940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lvl="0"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oncentration of company'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ctivities on particularly attractive and promising markets</a:t>
              </a: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3203575" y="4337732"/>
              <a:ext cx="2735263" cy="131940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onscious selection of market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nd definition of future strategies with long-term orientation</a:t>
              </a:r>
            </a:p>
          </p:txBody>
        </p:sp>
        <p:sp>
          <p:nvSpPr>
            <p:cNvPr id="19" name="Rectangle 5"/>
            <p:cNvSpPr>
              <a:spLocks noChangeArrowheads="1"/>
            </p:cNvSpPr>
            <p:nvPr/>
          </p:nvSpPr>
          <p:spPr bwMode="gray">
            <a:xfrm>
              <a:off x="6083300" y="4337732"/>
              <a:ext cx="2735263" cy="131940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Determination of market entry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time in compliance of the previous development and production effort</a:t>
              </a:r>
            </a:p>
          </p:txBody>
        </p:sp>
        <p:sp>
          <p:nvSpPr>
            <p:cNvPr id="20" name="Pfeil nach unten 19"/>
            <p:cNvSpPr/>
            <p:nvPr/>
          </p:nvSpPr>
          <p:spPr bwMode="gray">
            <a:xfrm>
              <a:off x="1023611" y="3518091"/>
              <a:ext cx="1335741" cy="573741"/>
            </a:xfrm>
            <a:prstGeom prst="downArrow">
              <a:avLst/>
            </a:prstGeom>
            <a:gradFill flip="none" rotWithShape="1">
              <a:gsLst>
                <a:gs pos="0">
                  <a:srgbClr val="C0C0C0">
                    <a:shade val="30000"/>
                    <a:satMod val="115000"/>
                  </a:srgbClr>
                </a:gs>
                <a:gs pos="50000">
                  <a:srgbClr val="C0C0C0">
                    <a:shade val="67500"/>
                    <a:satMod val="115000"/>
                  </a:srgbClr>
                </a:gs>
                <a:gs pos="100000">
                  <a:srgbClr val="C0C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b="1" noProof="1" smtClean="0">
                <a:solidFill>
                  <a:srgbClr val="FFFFFF"/>
                </a:solidFill>
              </a:endParaRPr>
            </a:p>
          </p:txBody>
        </p:sp>
        <p:sp>
          <p:nvSpPr>
            <p:cNvPr id="21" name="Pfeil nach unten 20"/>
            <p:cNvSpPr/>
            <p:nvPr/>
          </p:nvSpPr>
          <p:spPr bwMode="gray">
            <a:xfrm>
              <a:off x="3903336" y="3518091"/>
              <a:ext cx="1335741" cy="573741"/>
            </a:xfrm>
            <a:prstGeom prst="downArrow">
              <a:avLst/>
            </a:prstGeom>
            <a:gradFill flip="none" rotWithShape="1">
              <a:gsLst>
                <a:gs pos="0">
                  <a:srgbClr val="C0C0C0">
                    <a:shade val="30000"/>
                    <a:satMod val="115000"/>
                  </a:srgbClr>
                </a:gs>
                <a:gs pos="50000">
                  <a:srgbClr val="C0C0C0">
                    <a:shade val="67500"/>
                    <a:satMod val="115000"/>
                  </a:srgbClr>
                </a:gs>
                <a:gs pos="100000">
                  <a:srgbClr val="C0C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b="1" noProof="1" smtClean="0">
                <a:solidFill>
                  <a:srgbClr val="FFFFFF"/>
                </a:solidFill>
              </a:endParaRPr>
            </a:p>
          </p:txBody>
        </p:sp>
        <p:sp>
          <p:nvSpPr>
            <p:cNvPr id="22" name="Pfeil nach unten 21"/>
            <p:cNvSpPr/>
            <p:nvPr/>
          </p:nvSpPr>
          <p:spPr bwMode="gray">
            <a:xfrm>
              <a:off x="6783061" y="3518091"/>
              <a:ext cx="1335741" cy="573741"/>
            </a:xfrm>
            <a:prstGeom prst="downArrow">
              <a:avLst/>
            </a:prstGeom>
            <a:gradFill flip="none" rotWithShape="1">
              <a:gsLst>
                <a:gs pos="0">
                  <a:srgbClr val="C0C0C0">
                    <a:shade val="30000"/>
                    <a:satMod val="115000"/>
                  </a:srgbClr>
                </a:gs>
                <a:gs pos="50000">
                  <a:srgbClr val="C0C0C0">
                    <a:shade val="67500"/>
                    <a:satMod val="115000"/>
                  </a:srgbClr>
                </a:gs>
                <a:gs pos="100000">
                  <a:srgbClr val="C0C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b="1" noProof="1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8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Value Chain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93012" y="2572274"/>
            <a:ext cx="6584120" cy="1860631"/>
            <a:chOff x="1014412" y="2572274"/>
            <a:chExt cx="6584120" cy="1860631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14428" y="2785745"/>
              <a:ext cx="6484104" cy="140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dirty="0" smtClean="0"/>
                <a:t>Every company is an accumulation of tasks, </a:t>
              </a:r>
              <a:br>
                <a:rPr lang="en-US" sz="2400" i="1" dirty="0" smtClean="0"/>
              </a:br>
              <a:r>
                <a:rPr lang="en-US" sz="2400" i="1" dirty="0" smtClean="0"/>
                <a:t>with which its product is designed, manufactured, distributed, supplied and supported. All these </a:t>
              </a:r>
              <a:br>
                <a:rPr lang="en-US" sz="2400" i="1" dirty="0" smtClean="0"/>
              </a:br>
              <a:r>
                <a:rPr lang="en-US" sz="2400" i="1" dirty="0" smtClean="0"/>
                <a:t>tasks can be displayed in a value </a:t>
              </a:r>
              <a:r>
                <a:rPr lang="en-US" sz="2400" i="1" smtClean="0"/>
                <a:t>chain.</a:t>
              </a:r>
              <a:endParaRPr lang="en-US" sz="2400" i="1" noProof="1" smtClean="0">
                <a:latin typeface="+mj-lt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014412" y="2572274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6837083" y="3945507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3067752" y="4458097"/>
            <a:ext cx="28346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noProof="1" smtClean="0">
                <a:solidFill>
                  <a:schemeClr val="bg1">
                    <a:lumMod val="50000"/>
                  </a:schemeClr>
                </a:solidFill>
              </a:rPr>
              <a:t>Michael E. Porter (1985)</a:t>
            </a:r>
          </a:p>
        </p:txBody>
      </p: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ientation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Orientation of the company on the turnover market</a:t>
            </a:r>
            <a:endParaRPr lang="en-US" noProof="1"/>
          </a:p>
        </p:txBody>
      </p:sp>
      <p:grpSp>
        <p:nvGrpSpPr>
          <p:cNvPr id="4" name="Gruppieren 47"/>
          <p:cNvGrpSpPr/>
          <p:nvPr/>
        </p:nvGrpSpPr>
        <p:grpSpPr>
          <a:xfrm>
            <a:off x="323850" y="1597431"/>
            <a:ext cx="8497092" cy="4253639"/>
            <a:chOff x="323850" y="1597431"/>
            <a:chExt cx="8497092" cy="4253639"/>
          </a:xfrm>
        </p:grpSpPr>
        <p:sp>
          <p:nvSpPr>
            <p:cNvPr id="15" name="Textfeld 14"/>
            <p:cNvSpPr txBox="1"/>
            <p:nvPr/>
          </p:nvSpPr>
          <p:spPr bwMode="gray">
            <a:xfrm>
              <a:off x="6648992" y="2037806"/>
              <a:ext cx="21719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“</a:t>
              </a:r>
              <a:r>
                <a:rPr lang="en-US" noProof="1" smtClean="0">
                  <a:latin typeface="Arial Black" pitchFamily="34" charset="0"/>
                </a:rPr>
                <a:t> </a:t>
              </a:r>
              <a:r>
                <a:rPr lang="en-US" i="1" noProof="1" smtClean="0"/>
                <a:t>Produce as much as you can. </a:t>
              </a:r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”</a:t>
              </a:r>
              <a:endParaRPr lang="en-US" b="1" i="1" noProof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6648993" y="3429000"/>
              <a:ext cx="217115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“</a:t>
              </a:r>
              <a:r>
                <a:rPr lang="en-US" noProof="1" smtClean="0">
                  <a:latin typeface="Arial Black" pitchFamily="34" charset="0"/>
                </a:rPr>
                <a:t> </a:t>
              </a:r>
              <a:r>
                <a:rPr lang="en-US" i="1" noProof="1" smtClean="0"/>
                <a:t>Write off what you‘ve produced. </a:t>
              </a:r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”</a:t>
              </a:r>
              <a:endParaRPr lang="en-US" b="1" i="1" noProof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6648993" y="4797152"/>
              <a:ext cx="21719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“</a:t>
              </a:r>
              <a:r>
                <a:rPr lang="en-US" noProof="1" smtClean="0">
                  <a:latin typeface="Arial Black" pitchFamily="34" charset="0"/>
                </a:rPr>
                <a:t> </a:t>
              </a:r>
              <a:r>
                <a:rPr lang="en-US" i="1" noProof="1" smtClean="0"/>
                <a:t>Produce what you can write off. </a:t>
              </a:r>
              <a:r>
                <a:rPr lang="en-US" noProof="1" smtClean="0">
                  <a:solidFill>
                    <a:schemeClr val="bg1">
                      <a:lumMod val="50000"/>
                    </a:schemeClr>
                  </a:solidFill>
                  <a:latin typeface="Arial Black" pitchFamily="34" charset="0"/>
                </a:rPr>
                <a:t>”</a:t>
              </a:r>
              <a:endParaRPr lang="en-US" b="1" i="1" noProof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5" name="Gruppieren 41"/>
            <p:cNvGrpSpPr/>
            <p:nvPr/>
          </p:nvGrpSpPr>
          <p:grpSpPr bwMode="gray">
            <a:xfrm>
              <a:off x="323850" y="1916112"/>
              <a:ext cx="6037761" cy="1298100"/>
              <a:chOff x="323850" y="2033143"/>
              <a:chExt cx="6037761" cy="1298100"/>
            </a:xfrm>
          </p:grpSpPr>
          <p:sp>
            <p:nvSpPr>
              <p:cNvPr id="19" name="Rechteck 18"/>
              <p:cNvSpPr/>
              <p:nvPr/>
            </p:nvSpPr>
            <p:spPr bwMode="gray">
              <a:xfrm>
                <a:off x="457200" y="2971243"/>
                <a:ext cx="5904411" cy="360000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600" b="1" noProof="1" smtClean="0"/>
                  <a:t>Production orientation </a:t>
                </a:r>
                <a:r>
                  <a:rPr lang="en-US" sz="1600" noProof="1" smtClean="0"/>
                  <a:t>(seller‘s </a:t>
                </a:r>
                <a:r>
                  <a:rPr lang="en-US" sz="1600" noProof="1"/>
                  <a:t>m</a:t>
                </a:r>
                <a:r>
                  <a:rPr lang="en-US" sz="1600" noProof="1" smtClean="0"/>
                  <a:t>arket)</a:t>
                </a:r>
              </a:p>
            </p:txBody>
          </p:sp>
          <p:grpSp>
            <p:nvGrpSpPr>
              <p:cNvPr id="6" name="Gruppieren 40"/>
              <p:cNvGrpSpPr/>
              <p:nvPr/>
            </p:nvGrpSpPr>
            <p:grpSpPr bwMode="gray">
              <a:xfrm>
                <a:off x="323850" y="2033143"/>
                <a:ext cx="6037761" cy="900000"/>
                <a:chOff x="323850" y="1852459"/>
                <a:chExt cx="6037761" cy="900000"/>
              </a:xfrm>
            </p:grpSpPr>
            <p:sp>
              <p:nvSpPr>
                <p:cNvPr id="27" name="Rechteck 26"/>
                <p:cNvSpPr/>
                <p:nvPr/>
              </p:nvSpPr>
              <p:spPr bwMode="gray">
                <a:xfrm>
                  <a:off x="323850" y="1852459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Products/ Performance</a:t>
                  </a:r>
                </a:p>
              </p:txBody>
            </p:sp>
            <p:sp>
              <p:nvSpPr>
                <p:cNvPr id="28" name="Rechteck 27"/>
                <p:cNvSpPr/>
                <p:nvPr/>
              </p:nvSpPr>
              <p:spPr bwMode="gray">
                <a:xfrm>
                  <a:off x="2557096" y="1852459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Expansion / rationalization of production and procurement</a:t>
                  </a:r>
                </a:p>
              </p:txBody>
            </p:sp>
            <p:sp>
              <p:nvSpPr>
                <p:cNvPr id="29" name="Rechteck 28"/>
                <p:cNvSpPr/>
                <p:nvPr/>
              </p:nvSpPr>
              <p:spPr bwMode="gray">
                <a:xfrm>
                  <a:off x="4742361" y="1852459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Profit on increased volume</a:t>
                  </a:r>
                </a:p>
              </p:txBody>
            </p:sp>
          </p:grpSp>
        </p:grpSp>
        <p:grpSp>
          <p:nvGrpSpPr>
            <p:cNvPr id="7" name="Gruppieren 42"/>
            <p:cNvGrpSpPr/>
            <p:nvPr/>
          </p:nvGrpSpPr>
          <p:grpSpPr bwMode="gray">
            <a:xfrm>
              <a:off x="323850" y="3234627"/>
              <a:ext cx="6037761" cy="1298100"/>
              <a:chOff x="323850" y="3293143"/>
              <a:chExt cx="6037761" cy="1298100"/>
            </a:xfrm>
          </p:grpSpPr>
          <p:sp>
            <p:nvSpPr>
              <p:cNvPr id="20" name="Rechteck 19"/>
              <p:cNvSpPr/>
              <p:nvPr/>
            </p:nvSpPr>
            <p:spPr bwMode="gray">
              <a:xfrm>
                <a:off x="457200" y="4231243"/>
                <a:ext cx="5904411" cy="360000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600" b="1" noProof="1" smtClean="0"/>
                  <a:t>Sales </a:t>
                </a:r>
                <a:r>
                  <a:rPr lang="en-US" sz="1600" b="1" noProof="1"/>
                  <a:t>orientation </a:t>
                </a:r>
                <a:r>
                  <a:rPr lang="en-US" sz="1600" noProof="1" smtClean="0"/>
                  <a:t>(saturation tendency)</a:t>
                </a:r>
              </a:p>
            </p:txBody>
          </p:sp>
          <p:grpSp>
            <p:nvGrpSpPr>
              <p:cNvPr id="8" name="Gruppieren 39"/>
              <p:cNvGrpSpPr/>
              <p:nvPr/>
            </p:nvGrpSpPr>
            <p:grpSpPr bwMode="gray">
              <a:xfrm>
                <a:off x="323850" y="3293143"/>
                <a:ext cx="6037761" cy="900000"/>
                <a:chOff x="323850" y="3257435"/>
                <a:chExt cx="6037761" cy="900000"/>
              </a:xfrm>
            </p:grpSpPr>
            <p:sp>
              <p:nvSpPr>
                <p:cNvPr id="30" name="Rechteck 29"/>
                <p:cNvSpPr/>
                <p:nvPr/>
              </p:nvSpPr>
              <p:spPr bwMode="gray">
                <a:xfrm>
                  <a:off x="323850" y="325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Products/ Performance</a:t>
                  </a:r>
                  <a:endParaRPr lang="en-US" sz="11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1" name="Rechteck 30"/>
                <p:cNvSpPr/>
                <p:nvPr/>
              </p:nvSpPr>
              <p:spPr bwMode="gray">
                <a:xfrm>
                  <a:off x="2557096" y="325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Sales-political instruments</a:t>
                  </a:r>
                </a:p>
              </p:txBody>
            </p:sp>
            <p:sp>
              <p:nvSpPr>
                <p:cNvPr id="32" name="Rechteck 31"/>
                <p:cNvSpPr/>
                <p:nvPr/>
              </p:nvSpPr>
              <p:spPr bwMode="gray">
                <a:xfrm>
                  <a:off x="4742361" y="325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Profit on accordant</a:t>
                  </a:r>
                  <a:b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</a:b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volume</a:t>
                  </a:r>
                  <a:endParaRPr lang="en-US" sz="11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9" name="Gruppieren 43"/>
            <p:cNvGrpSpPr/>
            <p:nvPr/>
          </p:nvGrpSpPr>
          <p:grpSpPr bwMode="gray">
            <a:xfrm>
              <a:off x="323850" y="4553143"/>
              <a:ext cx="6037761" cy="1297927"/>
              <a:chOff x="323850" y="4553143"/>
              <a:chExt cx="6037761" cy="1297927"/>
            </a:xfrm>
          </p:grpSpPr>
          <p:sp>
            <p:nvSpPr>
              <p:cNvPr id="21" name="Rechteck 20"/>
              <p:cNvSpPr/>
              <p:nvPr/>
            </p:nvSpPr>
            <p:spPr bwMode="gray">
              <a:xfrm>
                <a:off x="457200" y="5491070"/>
                <a:ext cx="5904411" cy="360000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600" b="1" noProof="1" smtClean="0"/>
                  <a:t>Market </a:t>
                </a:r>
                <a:r>
                  <a:rPr lang="en-US" sz="1600" b="1" noProof="1"/>
                  <a:t>orientation </a:t>
                </a:r>
                <a:r>
                  <a:rPr lang="en-US" sz="1600" noProof="1" smtClean="0"/>
                  <a:t>(buyer‘s market)</a:t>
                </a:r>
              </a:p>
            </p:txBody>
          </p:sp>
          <p:grpSp>
            <p:nvGrpSpPr>
              <p:cNvPr id="10" name="Gruppieren 38"/>
              <p:cNvGrpSpPr/>
              <p:nvPr/>
            </p:nvGrpSpPr>
            <p:grpSpPr bwMode="gray">
              <a:xfrm>
                <a:off x="323850" y="4553143"/>
                <a:ext cx="6037761" cy="900000"/>
                <a:chOff x="323850" y="4607435"/>
                <a:chExt cx="6037761" cy="900000"/>
              </a:xfrm>
            </p:grpSpPr>
            <p:sp>
              <p:nvSpPr>
                <p:cNvPr id="33" name="Rechteck 32"/>
                <p:cNvSpPr/>
                <p:nvPr/>
              </p:nvSpPr>
              <p:spPr bwMode="gray">
                <a:xfrm>
                  <a:off x="323850" y="460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Customer wishes</a:t>
                  </a:r>
                </a:p>
              </p:txBody>
            </p:sp>
            <p:sp>
              <p:nvSpPr>
                <p:cNvPr id="34" name="Rechteck 33"/>
                <p:cNvSpPr/>
                <p:nvPr/>
              </p:nvSpPr>
              <p:spPr bwMode="gray">
                <a:xfrm>
                  <a:off x="2557096" y="460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100" b="1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5" name="Rechteck 34"/>
                <p:cNvSpPr/>
                <p:nvPr/>
              </p:nvSpPr>
              <p:spPr bwMode="gray">
                <a:xfrm>
                  <a:off x="4742361" y="4607435"/>
                  <a:ext cx="1619250" cy="90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Profit on long-term satisfaction of </a:t>
                  </a:r>
                  <a:b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</a:b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customers</a:t>
                  </a:r>
                </a:p>
              </p:txBody>
            </p:sp>
            <p:sp>
              <p:nvSpPr>
                <p:cNvPr id="37" name="Rechteck 36"/>
                <p:cNvSpPr/>
                <p:nvPr/>
              </p:nvSpPr>
              <p:spPr bwMode="gray">
                <a:xfrm>
                  <a:off x="2639921" y="4633811"/>
                  <a:ext cx="500138" cy="338554"/>
                </a:xfrm>
                <a:prstGeom prst="rect">
                  <a:avLst/>
                </a:prstGeom>
              </p:spPr>
              <p:txBody>
                <a:bodyPr wrap="none" lIns="0" tIns="0" rIns="0" bIns="0">
                  <a:spAutoFit/>
                </a:bodyPr>
                <a:lstStyle/>
                <a:p>
                  <a:pPr lvl="0"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Market-</a:t>
                  </a:r>
                </a:p>
                <a:p>
                  <a:pPr lvl="0"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research</a:t>
                  </a:r>
                </a:p>
              </p:txBody>
            </p:sp>
            <p:sp>
              <p:nvSpPr>
                <p:cNvPr id="38" name="Rechteck 37"/>
                <p:cNvSpPr/>
                <p:nvPr/>
              </p:nvSpPr>
              <p:spPr bwMode="gray">
                <a:xfrm>
                  <a:off x="3354005" y="4803519"/>
                  <a:ext cx="822341" cy="507831"/>
                </a:xfrm>
                <a:prstGeom prst="rect">
                  <a:avLst/>
                </a:prstGeom>
              </p:spPr>
              <p:txBody>
                <a:bodyPr wrap="square" lIns="0" tIns="0" rIns="0" bIns="0" anchor="ctr" anchorCtr="0">
                  <a:spAutoFit/>
                </a:bodyPr>
                <a:lstStyle/>
                <a:p>
                  <a:pPr lvl="0" algn="ctr">
                    <a:buClr>
                      <a:srgbClr val="969696"/>
                    </a:buClr>
                    <a:defRPr/>
                  </a:pP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Bundle of</a:t>
                  </a:r>
                </a:p>
                <a:p>
                  <a:pPr lvl="0" algn="ctr">
                    <a:buClr>
                      <a:srgbClr val="969696"/>
                    </a:buClr>
                    <a:defRPr/>
                  </a:pPr>
                  <a:r>
                    <a:rPr lang="en-US" sz="1100" b="1" noProof="1">
                      <a:solidFill>
                        <a:srgbClr val="000000"/>
                      </a:solidFill>
                      <a:cs typeface="Arial" charset="0"/>
                    </a:rPr>
                    <a:t>m</a:t>
                  </a: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arketing</a:t>
                  </a:r>
                </a:p>
                <a:p>
                  <a:pPr lvl="0" algn="ctr">
                    <a:buClr>
                      <a:srgbClr val="969696"/>
                    </a:buClr>
                    <a:defRPr/>
                  </a:pPr>
                  <a:r>
                    <a:rPr lang="en-US" sz="1100" b="1" noProof="1">
                      <a:solidFill>
                        <a:srgbClr val="000000"/>
                      </a:solidFill>
                      <a:cs typeface="Arial" charset="0"/>
                    </a:rPr>
                    <a:t>m</a:t>
                  </a:r>
                  <a:r>
                    <a:rPr lang="en-US" sz="1100" b="1" noProof="1" smtClean="0">
                      <a:solidFill>
                        <a:srgbClr val="000000"/>
                      </a:solidFill>
                      <a:cs typeface="Arial" charset="0"/>
                    </a:rPr>
                    <a:t>easures</a:t>
                  </a:r>
                </a:p>
              </p:txBody>
            </p:sp>
          </p:grpSp>
        </p:grpSp>
        <p:sp>
          <p:nvSpPr>
            <p:cNvPr id="45" name="Rechteck 44"/>
            <p:cNvSpPr/>
            <p:nvPr/>
          </p:nvSpPr>
          <p:spPr bwMode="gray">
            <a:xfrm>
              <a:off x="323851" y="1597431"/>
              <a:ext cx="1619250" cy="2769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cs typeface="Arial" charset="0"/>
                </a:rPr>
                <a:t>Starting Point</a:t>
              </a:r>
            </a:p>
          </p:txBody>
        </p:sp>
        <p:sp>
          <p:nvSpPr>
            <p:cNvPr id="46" name="Rechteck 45"/>
            <p:cNvSpPr/>
            <p:nvPr/>
          </p:nvSpPr>
          <p:spPr bwMode="gray">
            <a:xfrm>
              <a:off x="2544380" y="1597431"/>
              <a:ext cx="1619250" cy="2769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cs typeface="Arial" charset="0"/>
                </a:rPr>
                <a:t>Medium</a:t>
              </a: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4742361" y="1597431"/>
              <a:ext cx="1619250" cy="276999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cs typeface="Arial" charset="0"/>
                </a:rPr>
                <a:t>Objectives</a:t>
              </a:r>
            </a:p>
          </p:txBody>
        </p:sp>
        <p:cxnSp>
          <p:nvCxnSpPr>
            <p:cNvPr id="49" name="Gerade Verbindung mit Pfeil 48"/>
            <p:cNvCxnSpPr>
              <a:stCxn id="27" idx="3"/>
              <a:endCxn id="28" idx="1"/>
            </p:cNvCxnSpPr>
            <p:nvPr/>
          </p:nvCxnSpPr>
          <p:spPr bwMode="gray">
            <a:xfrm>
              <a:off x="1943100" y="2366112"/>
              <a:ext cx="613996" cy="1588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>
              <a:stCxn id="28" idx="3"/>
              <a:endCxn id="29" idx="1"/>
            </p:cNvCxnSpPr>
            <p:nvPr/>
          </p:nvCxnSpPr>
          <p:spPr bwMode="gray">
            <a:xfrm>
              <a:off x="4176346" y="2366112"/>
              <a:ext cx="566015" cy="1588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>
              <a:stCxn id="30" idx="3"/>
              <a:endCxn id="31" idx="1"/>
            </p:cNvCxnSpPr>
            <p:nvPr/>
          </p:nvCxnSpPr>
          <p:spPr bwMode="gray">
            <a:xfrm>
              <a:off x="1943100" y="3684627"/>
              <a:ext cx="613996" cy="1588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>
              <a:stCxn id="31" idx="3"/>
              <a:endCxn id="32" idx="1"/>
            </p:cNvCxnSpPr>
            <p:nvPr/>
          </p:nvCxnSpPr>
          <p:spPr bwMode="gray">
            <a:xfrm>
              <a:off x="4176346" y="3684627"/>
              <a:ext cx="566015" cy="1588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/>
            <p:nvPr/>
          </p:nvCxnSpPr>
          <p:spPr bwMode="gray">
            <a:xfrm>
              <a:off x="1943100" y="4755469"/>
              <a:ext cx="613996" cy="0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mit Pfeil 59"/>
            <p:cNvCxnSpPr/>
            <p:nvPr/>
          </p:nvCxnSpPr>
          <p:spPr bwMode="gray">
            <a:xfrm rot="10800000">
              <a:off x="1943102" y="5215849"/>
              <a:ext cx="613994" cy="0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mit Pfeil 60"/>
            <p:cNvCxnSpPr>
              <a:stCxn id="37" idx="3"/>
            </p:cNvCxnSpPr>
            <p:nvPr/>
          </p:nvCxnSpPr>
          <p:spPr bwMode="gray">
            <a:xfrm>
              <a:off x="3140059" y="4748796"/>
              <a:ext cx="213946" cy="6673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/>
            <p:cNvCxnSpPr>
              <a:stCxn id="34" idx="3"/>
              <a:endCxn id="35" idx="1"/>
            </p:cNvCxnSpPr>
            <p:nvPr/>
          </p:nvCxnSpPr>
          <p:spPr bwMode="gray">
            <a:xfrm>
              <a:off x="4176346" y="5003143"/>
              <a:ext cx="566015" cy="1588"/>
            </a:xfrm>
            <a:prstGeom prst="straightConnector1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mit Pfeil 68"/>
            <p:cNvCxnSpPr/>
            <p:nvPr/>
          </p:nvCxnSpPr>
          <p:spPr bwMode="gray">
            <a:xfrm rot="10800000">
              <a:off x="2557096" y="5215849"/>
              <a:ext cx="744904" cy="0"/>
            </a:xfrm>
            <a:prstGeom prst="straightConnector1">
              <a:avLst/>
            </a:prstGeom>
            <a:ln w="12700">
              <a:solidFill>
                <a:schemeClr val="bg1">
                  <a:lumMod val="5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st Leadership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strategy of a company to reach sustainable competitive advantage be low costs is differentiated in 8 methods</a:t>
            </a:r>
            <a:endParaRPr lang="en-US" noProof="1"/>
          </a:p>
        </p:txBody>
      </p:sp>
      <p:grpSp>
        <p:nvGrpSpPr>
          <p:cNvPr id="5" name="Gruppieren 16"/>
          <p:cNvGrpSpPr/>
          <p:nvPr/>
        </p:nvGrpSpPr>
        <p:grpSpPr>
          <a:xfrm>
            <a:off x="310787" y="1907178"/>
            <a:ext cx="8497092" cy="3696789"/>
            <a:chOff x="310787" y="1907178"/>
            <a:chExt cx="8497092" cy="3696789"/>
          </a:xfrm>
        </p:grpSpPr>
        <p:sp>
          <p:nvSpPr>
            <p:cNvPr id="15" name="Rechteck 14"/>
            <p:cNvSpPr/>
            <p:nvPr/>
          </p:nvSpPr>
          <p:spPr bwMode="gray">
            <a:xfrm>
              <a:off x="310787" y="1907178"/>
              <a:ext cx="8497092" cy="369678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409448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conomies of scale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3231016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 </a:t>
              </a: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conomies of scope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6027304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xperience effects</a:t>
              </a: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409448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conomies of learning</a:t>
              </a:r>
              <a:endParaRPr lang="en-US" sz="16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3231016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duct design</a:t>
              </a: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6027304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cess design</a:t>
              </a: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409448" y="4064009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apacity utilization</a:t>
              </a:r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3231016" y="4064009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Input-Costs 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6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6027304" y="4064009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Residual effects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the </a:t>
              </a:r>
              <a:r>
                <a:rPr lang="en-US" b="1" noProof="1">
                  <a:solidFill>
                    <a:srgbClr val="000000"/>
                  </a:solidFill>
                  <a:cs typeface="Arial" charset="0"/>
                </a:rPr>
                <a:t>operational effectiveness</a:t>
              </a: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3450849" y="5042262"/>
              <a:ext cx="21475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noProof="1" smtClean="0">
                  <a:solidFill>
                    <a:srgbClr val="000000"/>
                  </a:solidFill>
                </a:rPr>
                <a:t>Cost leadership</a:t>
              </a:r>
              <a:endParaRPr lang="en-US" sz="2400" b="1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15897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ifferentiation Strategy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</a:t>
            </a:r>
            <a:r>
              <a:rPr lang="en-US" noProof="1"/>
              <a:t>strategy of a company to differentiate themselves positively from the competition from the customer’s point of view is separated in 6 different methods </a:t>
            </a:r>
          </a:p>
        </p:txBody>
      </p:sp>
      <p:grpSp>
        <p:nvGrpSpPr>
          <p:cNvPr id="5" name="Gruppieren 12"/>
          <p:cNvGrpSpPr/>
          <p:nvPr/>
        </p:nvGrpSpPr>
        <p:grpSpPr>
          <a:xfrm>
            <a:off x="310787" y="1907178"/>
            <a:ext cx="8497092" cy="2673949"/>
            <a:chOff x="310787" y="1907178"/>
            <a:chExt cx="8497092" cy="2673949"/>
          </a:xfrm>
        </p:grpSpPr>
        <p:sp>
          <p:nvSpPr>
            <p:cNvPr id="15" name="Rechteck 14"/>
            <p:cNvSpPr/>
            <p:nvPr/>
          </p:nvSpPr>
          <p:spPr bwMode="gray">
            <a:xfrm>
              <a:off x="310787" y="1907178"/>
              <a:ext cx="8497092" cy="267394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409448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ice</a:t>
              </a: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3231016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Image</a:t>
              </a: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6027304" y="2024743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Support 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409448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Design</a:t>
              </a: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3231016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Quality</a:t>
              </a: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6027304" y="3036141"/>
              <a:ext cx="2649152" cy="8882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Not differentiated</a:t>
              </a: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3004384" y="4018895"/>
              <a:ext cx="31927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noProof="1" smtClean="0">
                  <a:solidFill>
                    <a:srgbClr val="000000"/>
                  </a:solidFill>
                </a:rPr>
                <a:t>Differentiation Strategy</a:t>
              </a:r>
              <a:endParaRPr lang="en-US" sz="2400" b="1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41059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Field Strategies according to Ansoff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nsoff-matrix with  the representation of product-market-strategies </a:t>
            </a:r>
            <a:endParaRPr lang="en-US" noProof="1"/>
          </a:p>
        </p:txBody>
      </p:sp>
      <p:grpSp>
        <p:nvGrpSpPr>
          <p:cNvPr id="23" name="Gruppieren 22"/>
          <p:cNvGrpSpPr/>
          <p:nvPr/>
        </p:nvGrpSpPr>
        <p:grpSpPr>
          <a:xfrm>
            <a:off x="323850" y="1555749"/>
            <a:ext cx="8497092" cy="4236516"/>
            <a:chOff x="323850" y="1555749"/>
            <a:chExt cx="8497092" cy="4236516"/>
          </a:xfrm>
        </p:grpSpPr>
        <p:grpSp>
          <p:nvGrpSpPr>
            <p:cNvPr id="5" name="Gruppieren 24"/>
            <p:cNvGrpSpPr/>
            <p:nvPr/>
          </p:nvGrpSpPr>
          <p:grpSpPr bwMode="gray">
            <a:xfrm>
              <a:off x="323850" y="1555749"/>
              <a:ext cx="1733550" cy="969737"/>
              <a:chOff x="323850" y="1555749"/>
              <a:chExt cx="1733550" cy="969737"/>
            </a:xfrm>
          </p:grpSpPr>
          <p:sp>
            <p:nvSpPr>
              <p:cNvPr id="16" name="Rectangle 5"/>
              <p:cNvSpPr>
                <a:spLocks noChangeArrowheads="1"/>
              </p:cNvSpPr>
              <p:nvPr/>
            </p:nvSpPr>
            <p:spPr bwMode="gray">
              <a:xfrm>
                <a:off x="323850" y="1555749"/>
                <a:ext cx="1733550" cy="969737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cxnSp>
            <p:nvCxnSpPr>
              <p:cNvPr id="24" name="Gerade Verbindung 23"/>
              <p:cNvCxnSpPr/>
              <p:nvPr/>
            </p:nvCxnSpPr>
            <p:spPr bwMode="gray">
              <a:xfrm>
                <a:off x="323850" y="1555751"/>
                <a:ext cx="1733550" cy="969735"/>
              </a:xfrm>
              <a:prstGeom prst="line">
                <a:avLst/>
              </a:prstGeom>
              <a:ln w="12700">
                <a:solidFill>
                  <a:srgbClr val="C0C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2177143" y="1555749"/>
              <a:ext cx="3321900" cy="9697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xisting 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5499043" y="1555749"/>
              <a:ext cx="3321106" cy="9697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New</a:t>
              </a:r>
            </a:p>
          </p:txBody>
        </p:sp>
        <p:grpSp>
          <p:nvGrpSpPr>
            <p:cNvPr id="9" name="Gruppieren 8"/>
            <p:cNvGrpSpPr/>
            <p:nvPr/>
          </p:nvGrpSpPr>
          <p:grpSpPr bwMode="gray">
            <a:xfrm>
              <a:off x="323850" y="2656114"/>
              <a:ext cx="1733550" cy="3136150"/>
              <a:chOff x="323850" y="2971271"/>
              <a:chExt cx="1733550" cy="2820993"/>
            </a:xfrm>
            <a:gradFill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0800000" scaled="0"/>
            </a:gradFill>
          </p:grpSpPr>
          <p:sp>
            <p:nvSpPr>
              <p:cNvPr id="17" name="Rectangle 5"/>
              <p:cNvSpPr>
                <a:spLocks noChangeArrowheads="1"/>
              </p:cNvSpPr>
              <p:nvPr/>
            </p:nvSpPr>
            <p:spPr bwMode="gray">
              <a:xfrm>
                <a:off x="323850" y="2971271"/>
                <a:ext cx="1733550" cy="1405472"/>
              </a:xfrm>
              <a:prstGeom prst="rect">
                <a:avLst/>
              </a:prstGeom>
              <a:grpFill/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Existing</a:t>
                </a: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" name="Rectangle 5"/>
              <p:cNvSpPr>
                <a:spLocks noChangeArrowheads="1"/>
              </p:cNvSpPr>
              <p:nvPr/>
            </p:nvSpPr>
            <p:spPr bwMode="gray">
              <a:xfrm>
                <a:off x="323850" y="4376743"/>
                <a:ext cx="1733550" cy="1415521"/>
              </a:xfrm>
              <a:prstGeom prst="rect">
                <a:avLst/>
              </a:prstGeom>
              <a:grpFill/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New</a:t>
                </a: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26" name="Rechteck 25"/>
            <p:cNvSpPr/>
            <p:nvPr/>
          </p:nvSpPr>
          <p:spPr bwMode="gray">
            <a:xfrm>
              <a:off x="1249844" y="1589766"/>
              <a:ext cx="7838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 noProof="1" smtClean="0">
                  <a:solidFill>
                    <a:srgbClr val="7D7D7D"/>
                  </a:solidFill>
                  <a:cs typeface="Arial" charset="0"/>
                </a:rPr>
                <a:t>Markets</a:t>
              </a: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344712" y="1981260"/>
              <a:ext cx="1140890" cy="523220"/>
            </a:xfrm>
            <a:prstGeom prst="rect">
              <a:avLst/>
            </a:prstGeom>
          </p:spPr>
          <p:txBody>
            <a:bodyPr wrap="none" anchor="b" anchorCtr="0">
              <a:spAutoFit/>
            </a:bodyPr>
            <a:lstStyle/>
            <a:p>
              <a:r>
                <a:rPr lang="en-US" sz="1400" noProof="1" smtClean="0">
                  <a:solidFill>
                    <a:srgbClr val="7D7D7D"/>
                  </a:solidFill>
                  <a:cs typeface="Arial" charset="0"/>
                </a:rPr>
                <a:t>Products/ </a:t>
              </a:r>
              <a:br>
                <a:rPr lang="en-US" sz="1400" noProof="1" smtClean="0">
                  <a:solidFill>
                    <a:srgbClr val="7D7D7D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7D7D7D"/>
                  </a:solidFill>
                  <a:cs typeface="Arial" charset="0"/>
                </a:rPr>
                <a:t>Performance</a:t>
              </a:r>
            </a:p>
          </p:txBody>
        </p:sp>
        <p:grpSp>
          <p:nvGrpSpPr>
            <p:cNvPr id="8" name="Gruppieren 7"/>
            <p:cNvGrpSpPr/>
            <p:nvPr/>
          </p:nvGrpSpPr>
          <p:grpSpPr bwMode="gray">
            <a:xfrm>
              <a:off x="2177143" y="2656114"/>
              <a:ext cx="6643799" cy="3136151"/>
              <a:chOff x="2177143" y="2971271"/>
              <a:chExt cx="7621812" cy="2820994"/>
            </a:xfrm>
          </p:grpSpPr>
          <p:sp>
            <p:nvSpPr>
              <p:cNvPr id="18" name="Rectangle 5"/>
              <p:cNvSpPr>
                <a:spLocks noChangeArrowheads="1"/>
              </p:cNvSpPr>
              <p:nvPr/>
            </p:nvSpPr>
            <p:spPr bwMode="gray">
              <a:xfrm>
                <a:off x="2177143" y="2971271"/>
                <a:ext cx="3810907" cy="141552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144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Market penetration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Market presence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Market suppression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" name="Rectangle 5"/>
              <p:cNvSpPr>
                <a:spLocks noChangeArrowheads="1"/>
              </p:cNvSpPr>
              <p:nvPr/>
            </p:nvSpPr>
            <p:spPr bwMode="gray">
              <a:xfrm>
                <a:off x="5988049" y="2971271"/>
                <a:ext cx="3810906" cy="141552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144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Market developmen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Internationalisation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Market segmentation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Rectangle 5"/>
              <p:cNvSpPr>
                <a:spLocks noChangeArrowheads="1"/>
              </p:cNvSpPr>
              <p:nvPr/>
            </p:nvSpPr>
            <p:spPr bwMode="gray">
              <a:xfrm>
                <a:off x="2177143" y="4376743"/>
                <a:ext cx="3810906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144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Product developmen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Product innovation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Product differentiation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5988049" y="4376743"/>
                <a:ext cx="3810906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144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Diversification 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Vertical diversification 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Horizontal diversification 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ts val="4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Lateral diversification 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40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Area Strategies</a:t>
            </a:r>
            <a:r>
              <a:rPr lang="en-US" b="0" noProof="1" smtClean="0"/>
              <a:t> 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Basic principles for market areas / market development</a:t>
            </a:r>
            <a:endParaRPr lang="en-US" noProof="1"/>
          </a:p>
        </p:txBody>
      </p:sp>
      <p:grpSp>
        <p:nvGrpSpPr>
          <p:cNvPr id="22" name="Gruppieren 21"/>
          <p:cNvGrpSpPr/>
          <p:nvPr/>
        </p:nvGrpSpPr>
        <p:grpSpPr>
          <a:xfrm>
            <a:off x="133792" y="1550488"/>
            <a:ext cx="8686358" cy="4392642"/>
            <a:chOff x="133792" y="1550488"/>
            <a:chExt cx="8686358" cy="4392642"/>
          </a:xfrm>
        </p:grpSpPr>
        <p:sp>
          <p:nvSpPr>
            <p:cNvPr id="39" name="Freeform 25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33792" y="1839697"/>
              <a:ext cx="8419657" cy="4103433"/>
            </a:xfrm>
            <a:custGeom>
              <a:avLst/>
              <a:gdLst/>
              <a:ahLst/>
              <a:cxnLst>
                <a:cxn ang="0">
                  <a:pos x="12567" y="4507"/>
                </a:cxn>
                <a:cxn ang="0">
                  <a:pos x="12615" y="3599"/>
                </a:cxn>
                <a:cxn ang="0">
                  <a:pos x="12955" y="4387"/>
                </a:cxn>
                <a:cxn ang="0">
                  <a:pos x="14370" y="4743"/>
                </a:cxn>
                <a:cxn ang="0">
                  <a:pos x="11595" y="4123"/>
                </a:cxn>
                <a:cxn ang="0">
                  <a:pos x="13115" y="4845"/>
                </a:cxn>
                <a:cxn ang="0">
                  <a:pos x="12813" y="5921"/>
                </a:cxn>
                <a:cxn ang="0">
                  <a:pos x="13808" y="4702"/>
                </a:cxn>
                <a:cxn ang="0">
                  <a:pos x="14204" y="6531"/>
                </a:cxn>
                <a:cxn ang="0">
                  <a:pos x="6579" y="1308"/>
                </a:cxn>
                <a:cxn ang="0">
                  <a:pos x="7277" y="156"/>
                </a:cxn>
                <a:cxn ang="0">
                  <a:pos x="6766" y="1129"/>
                </a:cxn>
                <a:cxn ang="0">
                  <a:pos x="8669" y="354"/>
                </a:cxn>
                <a:cxn ang="0">
                  <a:pos x="6919" y="2081"/>
                </a:cxn>
                <a:cxn ang="0">
                  <a:pos x="3201" y="260"/>
                </a:cxn>
                <a:cxn ang="0">
                  <a:pos x="3918" y="266"/>
                </a:cxn>
                <a:cxn ang="0">
                  <a:pos x="3704" y="3212"/>
                </a:cxn>
                <a:cxn ang="0">
                  <a:pos x="4506" y="577"/>
                </a:cxn>
                <a:cxn ang="0">
                  <a:pos x="4479" y="849"/>
                </a:cxn>
                <a:cxn ang="0">
                  <a:pos x="4935" y="28"/>
                </a:cxn>
                <a:cxn ang="0">
                  <a:pos x="6231" y="323"/>
                </a:cxn>
                <a:cxn ang="0">
                  <a:pos x="4952" y="273"/>
                </a:cxn>
                <a:cxn ang="0">
                  <a:pos x="5238" y="964"/>
                </a:cxn>
                <a:cxn ang="0">
                  <a:pos x="1633" y="1135"/>
                </a:cxn>
                <a:cxn ang="0">
                  <a:pos x="3763" y="6942"/>
                </a:cxn>
                <a:cxn ang="0">
                  <a:pos x="4601" y="4273"/>
                </a:cxn>
                <a:cxn ang="0">
                  <a:pos x="2802" y="3614"/>
                </a:cxn>
                <a:cxn ang="0">
                  <a:pos x="2976" y="2751"/>
                </a:cxn>
                <a:cxn ang="0">
                  <a:pos x="4101" y="1735"/>
                </a:cxn>
                <a:cxn ang="0">
                  <a:pos x="3952" y="934"/>
                </a:cxn>
                <a:cxn ang="0">
                  <a:pos x="3542" y="625"/>
                </a:cxn>
                <a:cxn ang="0">
                  <a:pos x="920" y="841"/>
                </a:cxn>
                <a:cxn ang="0">
                  <a:pos x="1594" y="1085"/>
                </a:cxn>
                <a:cxn ang="0">
                  <a:pos x="1517" y="2702"/>
                </a:cxn>
                <a:cxn ang="0">
                  <a:pos x="3084" y="3997"/>
                </a:cxn>
                <a:cxn ang="0">
                  <a:pos x="3629" y="6707"/>
                </a:cxn>
                <a:cxn ang="0">
                  <a:pos x="4235" y="6222"/>
                </a:cxn>
                <a:cxn ang="0">
                  <a:pos x="3029" y="1846"/>
                </a:cxn>
                <a:cxn ang="0">
                  <a:pos x="2864" y="1316"/>
                </a:cxn>
                <a:cxn ang="0">
                  <a:pos x="3603" y="6577"/>
                </a:cxn>
                <a:cxn ang="0">
                  <a:pos x="9474" y="423"/>
                </a:cxn>
                <a:cxn ang="0">
                  <a:pos x="7946" y="2117"/>
                </a:cxn>
                <a:cxn ang="0">
                  <a:pos x="12856" y="1722"/>
                </a:cxn>
                <a:cxn ang="0">
                  <a:pos x="11889" y="3476"/>
                </a:cxn>
                <a:cxn ang="0">
                  <a:pos x="12287" y="2121"/>
                </a:cxn>
                <a:cxn ang="0">
                  <a:pos x="12718" y="949"/>
                </a:cxn>
                <a:cxn ang="0">
                  <a:pos x="13020" y="569"/>
                </a:cxn>
                <a:cxn ang="0">
                  <a:pos x="10366" y="417"/>
                </a:cxn>
                <a:cxn ang="0">
                  <a:pos x="9233" y="610"/>
                </a:cxn>
                <a:cxn ang="0">
                  <a:pos x="7484" y="592"/>
                </a:cxn>
                <a:cxn ang="0">
                  <a:pos x="7477" y="1130"/>
                </a:cxn>
                <a:cxn ang="0">
                  <a:pos x="7148" y="1232"/>
                </a:cxn>
                <a:cxn ang="0">
                  <a:pos x="7072" y="1879"/>
                </a:cxn>
                <a:cxn ang="0">
                  <a:pos x="8129" y="2238"/>
                </a:cxn>
                <a:cxn ang="0">
                  <a:pos x="6068" y="2828"/>
                </a:cxn>
                <a:cxn ang="0">
                  <a:pos x="7212" y="4048"/>
                </a:cxn>
                <a:cxn ang="0">
                  <a:pos x="8660" y="5019"/>
                </a:cxn>
                <a:cxn ang="0">
                  <a:pos x="8760" y="3314"/>
                </a:cxn>
                <a:cxn ang="0">
                  <a:pos x="10182" y="3284"/>
                </a:cxn>
                <a:cxn ang="0">
                  <a:pos x="8386" y="4771"/>
                </a:cxn>
                <a:cxn ang="0">
                  <a:pos x="8380" y="1764"/>
                </a:cxn>
                <a:cxn ang="0">
                  <a:pos x="9070" y="1793"/>
                </a:cxn>
                <a:cxn ang="0">
                  <a:pos x="11176" y="1331"/>
                </a:cxn>
              </a:cxnLst>
              <a:rect l="0" t="0" r="r" b="b"/>
              <a:pathLst>
                <a:path w="14677" h="7159">
                  <a:moveTo>
                    <a:pt x="12864" y="4079"/>
                  </a:moveTo>
                  <a:cubicBezTo>
                    <a:pt x="12879" y="4067"/>
                    <a:pt x="12873" y="4060"/>
                    <a:pt x="12860" y="4056"/>
                  </a:cubicBezTo>
                  <a:cubicBezTo>
                    <a:pt x="12847" y="4052"/>
                    <a:pt x="12841" y="4057"/>
                    <a:pt x="12841" y="4057"/>
                  </a:cubicBezTo>
                  <a:cubicBezTo>
                    <a:pt x="12841" y="4057"/>
                    <a:pt x="12856" y="4087"/>
                    <a:pt x="12864" y="4079"/>
                  </a:cubicBezTo>
                  <a:close/>
                  <a:moveTo>
                    <a:pt x="12798" y="4178"/>
                  </a:moveTo>
                  <a:cubicBezTo>
                    <a:pt x="12801" y="4187"/>
                    <a:pt x="12790" y="4195"/>
                    <a:pt x="12798" y="4203"/>
                  </a:cubicBezTo>
                  <a:cubicBezTo>
                    <a:pt x="12807" y="4210"/>
                    <a:pt x="12845" y="4244"/>
                    <a:pt x="12854" y="4241"/>
                  </a:cubicBezTo>
                  <a:cubicBezTo>
                    <a:pt x="12863" y="4238"/>
                    <a:pt x="12853" y="4225"/>
                    <a:pt x="12842" y="4219"/>
                  </a:cubicBezTo>
                  <a:cubicBezTo>
                    <a:pt x="12832" y="4213"/>
                    <a:pt x="12826" y="4201"/>
                    <a:pt x="12836" y="4191"/>
                  </a:cubicBezTo>
                  <a:cubicBezTo>
                    <a:pt x="12847" y="4181"/>
                    <a:pt x="12866" y="4191"/>
                    <a:pt x="12866" y="4191"/>
                  </a:cubicBezTo>
                  <a:cubicBezTo>
                    <a:pt x="12875" y="4184"/>
                    <a:pt x="12875" y="4184"/>
                    <a:pt x="12875" y="4184"/>
                  </a:cubicBezTo>
                  <a:cubicBezTo>
                    <a:pt x="12858" y="4173"/>
                    <a:pt x="12858" y="4173"/>
                    <a:pt x="12858" y="4173"/>
                  </a:cubicBezTo>
                  <a:cubicBezTo>
                    <a:pt x="12858" y="4173"/>
                    <a:pt x="12872" y="4166"/>
                    <a:pt x="12875" y="4154"/>
                  </a:cubicBezTo>
                  <a:cubicBezTo>
                    <a:pt x="12878" y="4143"/>
                    <a:pt x="12863" y="4135"/>
                    <a:pt x="12853" y="4134"/>
                  </a:cubicBezTo>
                  <a:cubicBezTo>
                    <a:pt x="12842" y="4132"/>
                    <a:pt x="12832" y="4159"/>
                    <a:pt x="12820" y="4160"/>
                  </a:cubicBezTo>
                  <a:cubicBezTo>
                    <a:pt x="12809" y="4162"/>
                    <a:pt x="12812" y="4135"/>
                    <a:pt x="12812" y="4135"/>
                  </a:cubicBezTo>
                  <a:cubicBezTo>
                    <a:pt x="12812" y="4135"/>
                    <a:pt x="12822" y="4122"/>
                    <a:pt x="12825" y="4112"/>
                  </a:cubicBezTo>
                  <a:cubicBezTo>
                    <a:pt x="12828" y="4101"/>
                    <a:pt x="12822" y="4096"/>
                    <a:pt x="12822" y="4096"/>
                  </a:cubicBezTo>
                  <a:cubicBezTo>
                    <a:pt x="12831" y="4069"/>
                    <a:pt x="12831" y="4069"/>
                    <a:pt x="12831" y="4069"/>
                  </a:cubicBezTo>
                  <a:cubicBezTo>
                    <a:pt x="12803" y="4096"/>
                    <a:pt x="12803" y="4096"/>
                    <a:pt x="12803" y="4096"/>
                  </a:cubicBezTo>
                  <a:cubicBezTo>
                    <a:pt x="12803" y="4115"/>
                    <a:pt x="12803" y="4115"/>
                    <a:pt x="12803" y="4115"/>
                  </a:cubicBezTo>
                  <a:cubicBezTo>
                    <a:pt x="12803" y="4115"/>
                    <a:pt x="12780" y="4125"/>
                    <a:pt x="12782" y="4150"/>
                  </a:cubicBezTo>
                  <a:cubicBezTo>
                    <a:pt x="12784" y="4166"/>
                    <a:pt x="12795" y="4169"/>
                    <a:pt x="12798" y="4178"/>
                  </a:cubicBezTo>
                  <a:close/>
                  <a:moveTo>
                    <a:pt x="12824" y="4278"/>
                  </a:moveTo>
                  <a:cubicBezTo>
                    <a:pt x="12816" y="4268"/>
                    <a:pt x="12797" y="4255"/>
                    <a:pt x="12797" y="4255"/>
                  </a:cubicBezTo>
                  <a:cubicBezTo>
                    <a:pt x="12795" y="4285"/>
                    <a:pt x="12795" y="4285"/>
                    <a:pt x="12795" y="4285"/>
                  </a:cubicBezTo>
                  <a:cubicBezTo>
                    <a:pt x="12807" y="4293"/>
                    <a:pt x="12833" y="4289"/>
                    <a:pt x="12824" y="4278"/>
                  </a:cubicBezTo>
                  <a:close/>
                  <a:moveTo>
                    <a:pt x="12907" y="4323"/>
                  </a:moveTo>
                  <a:cubicBezTo>
                    <a:pt x="12929" y="4314"/>
                    <a:pt x="12927" y="4298"/>
                    <a:pt x="12927" y="4298"/>
                  </a:cubicBezTo>
                  <a:cubicBezTo>
                    <a:pt x="12882" y="4297"/>
                    <a:pt x="12882" y="4297"/>
                    <a:pt x="12882" y="4297"/>
                  </a:cubicBezTo>
                  <a:cubicBezTo>
                    <a:pt x="12882" y="4297"/>
                    <a:pt x="12885" y="4332"/>
                    <a:pt x="12907" y="4323"/>
                  </a:cubicBezTo>
                  <a:close/>
                  <a:moveTo>
                    <a:pt x="12597" y="4755"/>
                  </a:moveTo>
                  <a:cubicBezTo>
                    <a:pt x="12608" y="4764"/>
                    <a:pt x="12648" y="4727"/>
                    <a:pt x="12663" y="4713"/>
                  </a:cubicBezTo>
                  <a:cubicBezTo>
                    <a:pt x="12666" y="4710"/>
                    <a:pt x="12668" y="4708"/>
                    <a:pt x="12668" y="4708"/>
                  </a:cubicBezTo>
                  <a:cubicBezTo>
                    <a:pt x="12678" y="4705"/>
                    <a:pt x="12678" y="4705"/>
                    <a:pt x="12678" y="4705"/>
                  </a:cubicBezTo>
                  <a:cubicBezTo>
                    <a:pt x="12700" y="4689"/>
                    <a:pt x="12700" y="4689"/>
                    <a:pt x="12700" y="4689"/>
                  </a:cubicBezTo>
                  <a:cubicBezTo>
                    <a:pt x="12700" y="4689"/>
                    <a:pt x="12709" y="4698"/>
                    <a:pt x="12722" y="4695"/>
                  </a:cubicBezTo>
                  <a:cubicBezTo>
                    <a:pt x="12735" y="4692"/>
                    <a:pt x="12779" y="4645"/>
                    <a:pt x="12779" y="4645"/>
                  </a:cubicBezTo>
                  <a:cubicBezTo>
                    <a:pt x="12763" y="4636"/>
                    <a:pt x="12763" y="4636"/>
                    <a:pt x="12763" y="4636"/>
                  </a:cubicBezTo>
                  <a:cubicBezTo>
                    <a:pt x="12750" y="4650"/>
                    <a:pt x="12750" y="4650"/>
                    <a:pt x="12750" y="4650"/>
                  </a:cubicBezTo>
                  <a:cubicBezTo>
                    <a:pt x="12750" y="4650"/>
                    <a:pt x="12707" y="4651"/>
                    <a:pt x="12695" y="4651"/>
                  </a:cubicBezTo>
                  <a:cubicBezTo>
                    <a:pt x="12684" y="4651"/>
                    <a:pt x="12678" y="4669"/>
                    <a:pt x="12678" y="4669"/>
                  </a:cubicBezTo>
                  <a:cubicBezTo>
                    <a:pt x="12678" y="4669"/>
                    <a:pt x="12672" y="4668"/>
                    <a:pt x="12664" y="4669"/>
                  </a:cubicBezTo>
                  <a:cubicBezTo>
                    <a:pt x="12664" y="4669"/>
                    <a:pt x="12664" y="4669"/>
                    <a:pt x="12664" y="4669"/>
                  </a:cubicBezTo>
                  <a:cubicBezTo>
                    <a:pt x="12659" y="4670"/>
                    <a:pt x="12652" y="4671"/>
                    <a:pt x="12647" y="4675"/>
                  </a:cubicBezTo>
                  <a:cubicBezTo>
                    <a:pt x="12643" y="4677"/>
                    <a:pt x="12640" y="4681"/>
                    <a:pt x="12639" y="4684"/>
                  </a:cubicBezTo>
                  <a:cubicBezTo>
                    <a:pt x="12639" y="4684"/>
                    <a:pt x="12639" y="4684"/>
                    <a:pt x="12639" y="4684"/>
                  </a:cubicBezTo>
                  <a:cubicBezTo>
                    <a:pt x="12622" y="4683"/>
                    <a:pt x="12622" y="4683"/>
                    <a:pt x="12622" y="4683"/>
                  </a:cubicBezTo>
                  <a:cubicBezTo>
                    <a:pt x="12611" y="4694"/>
                    <a:pt x="12611" y="4694"/>
                    <a:pt x="12611" y="4694"/>
                  </a:cubicBezTo>
                  <a:cubicBezTo>
                    <a:pt x="12615" y="4703"/>
                    <a:pt x="12615" y="4703"/>
                    <a:pt x="12615" y="4703"/>
                  </a:cubicBezTo>
                  <a:cubicBezTo>
                    <a:pt x="12614" y="4703"/>
                    <a:pt x="12613" y="4704"/>
                    <a:pt x="12612" y="4705"/>
                  </a:cubicBezTo>
                  <a:cubicBezTo>
                    <a:pt x="12600" y="4717"/>
                    <a:pt x="12577" y="4740"/>
                    <a:pt x="12597" y="4755"/>
                  </a:cubicBezTo>
                  <a:close/>
                  <a:moveTo>
                    <a:pt x="12470" y="4507"/>
                  </a:moveTo>
                  <a:cubicBezTo>
                    <a:pt x="12451" y="4541"/>
                    <a:pt x="12451" y="4541"/>
                    <a:pt x="12451" y="4541"/>
                  </a:cubicBezTo>
                  <a:cubicBezTo>
                    <a:pt x="12465" y="4540"/>
                    <a:pt x="12465" y="4540"/>
                    <a:pt x="12465" y="4540"/>
                  </a:cubicBezTo>
                  <a:cubicBezTo>
                    <a:pt x="12473" y="4522"/>
                    <a:pt x="12473" y="4522"/>
                    <a:pt x="12473" y="4522"/>
                  </a:cubicBezTo>
                  <a:lnTo>
                    <a:pt x="12470" y="4507"/>
                  </a:lnTo>
                  <a:close/>
                  <a:moveTo>
                    <a:pt x="12469" y="4666"/>
                  </a:moveTo>
                  <a:cubicBezTo>
                    <a:pt x="12531" y="4665"/>
                    <a:pt x="12531" y="4665"/>
                    <a:pt x="12531" y="4665"/>
                  </a:cubicBezTo>
                  <a:cubicBezTo>
                    <a:pt x="12563" y="4660"/>
                    <a:pt x="12563" y="4660"/>
                    <a:pt x="12563" y="4660"/>
                  </a:cubicBezTo>
                  <a:cubicBezTo>
                    <a:pt x="12589" y="4637"/>
                    <a:pt x="12589" y="4637"/>
                    <a:pt x="12589" y="4637"/>
                  </a:cubicBezTo>
                  <a:cubicBezTo>
                    <a:pt x="12588" y="4627"/>
                    <a:pt x="12588" y="4627"/>
                    <a:pt x="12588" y="4627"/>
                  </a:cubicBezTo>
                  <a:cubicBezTo>
                    <a:pt x="12567" y="4636"/>
                    <a:pt x="12567" y="4636"/>
                    <a:pt x="12567" y="4636"/>
                  </a:cubicBezTo>
                  <a:cubicBezTo>
                    <a:pt x="12548" y="4652"/>
                    <a:pt x="12548" y="4652"/>
                    <a:pt x="12548" y="4652"/>
                  </a:cubicBezTo>
                  <a:cubicBezTo>
                    <a:pt x="12548" y="4652"/>
                    <a:pt x="12537" y="4640"/>
                    <a:pt x="12526" y="4641"/>
                  </a:cubicBezTo>
                  <a:cubicBezTo>
                    <a:pt x="12516" y="4643"/>
                    <a:pt x="12504" y="4656"/>
                    <a:pt x="12504" y="4656"/>
                  </a:cubicBezTo>
                  <a:cubicBezTo>
                    <a:pt x="12504" y="4656"/>
                    <a:pt x="12494" y="4630"/>
                    <a:pt x="12476" y="4633"/>
                  </a:cubicBezTo>
                  <a:cubicBezTo>
                    <a:pt x="12459" y="4636"/>
                    <a:pt x="12437" y="4662"/>
                    <a:pt x="12437" y="4662"/>
                  </a:cubicBezTo>
                  <a:cubicBezTo>
                    <a:pt x="12413" y="4660"/>
                    <a:pt x="12413" y="4660"/>
                    <a:pt x="12413" y="4660"/>
                  </a:cubicBezTo>
                  <a:cubicBezTo>
                    <a:pt x="12406" y="4672"/>
                    <a:pt x="12406" y="4672"/>
                    <a:pt x="12406" y="4672"/>
                  </a:cubicBezTo>
                  <a:cubicBezTo>
                    <a:pt x="12422" y="4669"/>
                    <a:pt x="12422" y="4669"/>
                    <a:pt x="12422" y="4669"/>
                  </a:cubicBezTo>
                  <a:cubicBezTo>
                    <a:pt x="12422" y="4669"/>
                    <a:pt x="12434" y="4675"/>
                    <a:pt x="12446" y="4680"/>
                  </a:cubicBezTo>
                  <a:cubicBezTo>
                    <a:pt x="12457" y="4684"/>
                    <a:pt x="12469" y="4666"/>
                    <a:pt x="12469" y="4666"/>
                  </a:cubicBezTo>
                  <a:close/>
                  <a:moveTo>
                    <a:pt x="12599" y="4459"/>
                  </a:moveTo>
                  <a:cubicBezTo>
                    <a:pt x="12600" y="4443"/>
                    <a:pt x="12596" y="4431"/>
                    <a:pt x="12596" y="4431"/>
                  </a:cubicBezTo>
                  <a:cubicBezTo>
                    <a:pt x="12596" y="4431"/>
                    <a:pt x="12556" y="4399"/>
                    <a:pt x="12558" y="4387"/>
                  </a:cubicBezTo>
                  <a:cubicBezTo>
                    <a:pt x="12560" y="4375"/>
                    <a:pt x="12579" y="4362"/>
                    <a:pt x="12568" y="4352"/>
                  </a:cubicBezTo>
                  <a:cubicBezTo>
                    <a:pt x="12556" y="4342"/>
                    <a:pt x="12547" y="4339"/>
                    <a:pt x="12546" y="4331"/>
                  </a:cubicBezTo>
                  <a:cubicBezTo>
                    <a:pt x="12546" y="4322"/>
                    <a:pt x="12559" y="4303"/>
                    <a:pt x="12545" y="4297"/>
                  </a:cubicBezTo>
                  <a:cubicBezTo>
                    <a:pt x="12532" y="4292"/>
                    <a:pt x="12512" y="4275"/>
                    <a:pt x="12512" y="4275"/>
                  </a:cubicBezTo>
                  <a:cubicBezTo>
                    <a:pt x="12512" y="4275"/>
                    <a:pt x="12534" y="4280"/>
                    <a:pt x="12544" y="4270"/>
                  </a:cubicBezTo>
                  <a:cubicBezTo>
                    <a:pt x="12553" y="4261"/>
                    <a:pt x="12563" y="4239"/>
                    <a:pt x="12563" y="4239"/>
                  </a:cubicBezTo>
                  <a:cubicBezTo>
                    <a:pt x="12563" y="4239"/>
                    <a:pt x="12602" y="4241"/>
                    <a:pt x="12603" y="4233"/>
                  </a:cubicBezTo>
                  <a:cubicBezTo>
                    <a:pt x="12604" y="4224"/>
                    <a:pt x="12593" y="4209"/>
                    <a:pt x="12583" y="4208"/>
                  </a:cubicBezTo>
                  <a:cubicBezTo>
                    <a:pt x="12572" y="4208"/>
                    <a:pt x="12565" y="4226"/>
                    <a:pt x="12565" y="4226"/>
                  </a:cubicBezTo>
                  <a:cubicBezTo>
                    <a:pt x="12565" y="4226"/>
                    <a:pt x="12536" y="4218"/>
                    <a:pt x="12524" y="4222"/>
                  </a:cubicBezTo>
                  <a:cubicBezTo>
                    <a:pt x="12513" y="4225"/>
                    <a:pt x="12507" y="4254"/>
                    <a:pt x="12495" y="4255"/>
                  </a:cubicBezTo>
                  <a:cubicBezTo>
                    <a:pt x="12484" y="4255"/>
                    <a:pt x="12485" y="4235"/>
                    <a:pt x="12468" y="4225"/>
                  </a:cubicBezTo>
                  <a:cubicBezTo>
                    <a:pt x="12451" y="4215"/>
                    <a:pt x="12443" y="4218"/>
                    <a:pt x="12443" y="4218"/>
                  </a:cubicBezTo>
                  <a:cubicBezTo>
                    <a:pt x="12443" y="4218"/>
                    <a:pt x="12448" y="4159"/>
                    <a:pt x="12464" y="4158"/>
                  </a:cubicBezTo>
                  <a:cubicBezTo>
                    <a:pt x="12480" y="4157"/>
                    <a:pt x="12510" y="4168"/>
                    <a:pt x="12524" y="4164"/>
                  </a:cubicBezTo>
                  <a:cubicBezTo>
                    <a:pt x="12537" y="4161"/>
                    <a:pt x="12528" y="4149"/>
                    <a:pt x="12539" y="4151"/>
                  </a:cubicBezTo>
                  <a:cubicBezTo>
                    <a:pt x="12551" y="4152"/>
                    <a:pt x="12604" y="4178"/>
                    <a:pt x="12614" y="4179"/>
                  </a:cubicBezTo>
                  <a:cubicBezTo>
                    <a:pt x="12625" y="4179"/>
                    <a:pt x="12627" y="4170"/>
                    <a:pt x="12634" y="4166"/>
                  </a:cubicBezTo>
                  <a:cubicBezTo>
                    <a:pt x="12641" y="4162"/>
                    <a:pt x="12654" y="4168"/>
                    <a:pt x="12663" y="4163"/>
                  </a:cubicBezTo>
                  <a:cubicBezTo>
                    <a:pt x="12672" y="4157"/>
                    <a:pt x="12661" y="4152"/>
                    <a:pt x="12670" y="4143"/>
                  </a:cubicBezTo>
                  <a:cubicBezTo>
                    <a:pt x="12678" y="4134"/>
                    <a:pt x="12698" y="4125"/>
                    <a:pt x="12698" y="4125"/>
                  </a:cubicBezTo>
                  <a:cubicBezTo>
                    <a:pt x="12691" y="4105"/>
                    <a:pt x="12691" y="4105"/>
                    <a:pt x="12691" y="4105"/>
                  </a:cubicBezTo>
                  <a:cubicBezTo>
                    <a:pt x="12639" y="4127"/>
                    <a:pt x="12639" y="4127"/>
                    <a:pt x="12639" y="4127"/>
                  </a:cubicBezTo>
                  <a:cubicBezTo>
                    <a:pt x="12639" y="4127"/>
                    <a:pt x="12651" y="4140"/>
                    <a:pt x="12636" y="4141"/>
                  </a:cubicBezTo>
                  <a:cubicBezTo>
                    <a:pt x="12621" y="4142"/>
                    <a:pt x="12608" y="4133"/>
                    <a:pt x="12599" y="4133"/>
                  </a:cubicBezTo>
                  <a:cubicBezTo>
                    <a:pt x="12591" y="4133"/>
                    <a:pt x="12576" y="4146"/>
                    <a:pt x="12566" y="4144"/>
                  </a:cubicBezTo>
                  <a:cubicBezTo>
                    <a:pt x="12555" y="4141"/>
                    <a:pt x="12530" y="4129"/>
                    <a:pt x="12523" y="4129"/>
                  </a:cubicBezTo>
                  <a:cubicBezTo>
                    <a:pt x="12516" y="4129"/>
                    <a:pt x="12500" y="4129"/>
                    <a:pt x="12500" y="4129"/>
                  </a:cubicBezTo>
                  <a:cubicBezTo>
                    <a:pt x="12508" y="4117"/>
                    <a:pt x="12508" y="4117"/>
                    <a:pt x="12508" y="4117"/>
                  </a:cubicBezTo>
                  <a:cubicBezTo>
                    <a:pt x="12508" y="4117"/>
                    <a:pt x="12481" y="4110"/>
                    <a:pt x="12478" y="4113"/>
                  </a:cubicBezTo>
                  <a:cubicBezTo>
                    <a:pt x="12474" y="4117"/>
                    <a:pt x="12479" y="4134"/>
                    <a:pt x="12467" y="4141"/>
                  </a:cubicBezTo>
                  <a:cubicBezTo>
                    <a:pt x="12456" y="4148"/>
                    <a:pt x="12434" y="4146"/>
                    <a:pt x="12434" y="4152"/>
                  </a:cubicBezTo>
                  <a:cubicBezTo>
                    <a:pt x="12434" y="4158"/>
                    <a:pt x="12433" y="4172"/>
                    <a:pt x="12433" y="4172"/>
                  </a:cubicBezTo>
                  <a:cubicBezTo>
                    <a:pt x="12419" y="4174"/>
                    <a:pt x="12419" y="4174"/>
                    <a:pt x="12419" y="4174"/>
                  </a:cubicBezTo>
                  <a:cubicBezTo>
                    <a:pt x="12429" y="4221"/>
                    <a:pt x="12429" y="4221"/>
                    <a:pt x="12429" y="4221"/>
                  </a:cubicBezTo>
                  <a:cubicBezTo>
                    <a:pt x="12419" y="4220"/>
                    <a:pt x="12419" y="4220"/>
                    <a:pt x="12419" y="4220"/>
                  </a:cubicBezTo>
                  <a:cubicBezTo>
                    <a:pt x="12419" y="4220"/>
                    <a:pt x="12402" y="4245"/>
                    <a:pt x="12400" y="4255"/>
                  </a:cubicBezTo>
                  <a:cubicBezTo>
                    <a:pt x="12397" y="4265"/>
                    <a:pt x="12416" y="4285"/>
                    <a:pt x="12408" y="4294"/>
                  </a:cubicBezTo>
                  <a:cubicBezTo>
                    <a:pt x="12400" y="4303"/>
                    <a:pt x="12377" y="4309"/>
                    <a:pt x="12375" y="4322"/>
                  </a:cubicBezTo>
                  <a:cubicBezTo>
                    <a:pt x="12374" y="4336"/>
                    <a:pt x="12385" y="4349"/>
                    <a:pt x="12385" y="4349"/>
                  </a:cubicBezTo>
                  <a:cubicBezTo>
                    <a:pt x="12385" y="4349"/>
                    <a:pt x="12369" y="4363"/>
                    <a:pt x="12379" y="4370"/>
                  </a:cubicBezTo>
                  <a:cubicBezTo>
                    <a:pt x="12390" y="4377"/>
                    <a:pt x="12408" y="4362"/>
                    <a:pt x="12412" y="4374"/>
                  </a:cubicBezTo>
                  <a:cubicBezTo>
                    <a:pt x="12416" y="4386"/>
                    <a:pt x="12408" y="4395"/>
                    <a:pt x="12408" y="4395"/>
                  </a:cubicBezTo>
                  <a:cubicBezTo>
                    <a:pt x="12419" y="4409"/>
                    <a:pt x="12419" y="4409"/>
                    <a:pt x="12419" y="4409"/>
                  </a:cubicBezTo>
                  <a:cubicBezTo>
                    <a:pt x="12413" y="4453"/>
                    <a:pt x="12413" y="4453"/>
                    <a:pt x="12413" y="4453"/>
                  </a:cubicBezTo>
                  <a:cubicBezTo>
                    <a:pt x="12413" y="4453"/>
                    <a:pt x="12389" y="4467"/>
                    <a:pt x="12401" y="4491"/>
                  </a:cubicBezTo>
                  <a:cubicBezTo>
                    <a:pt x="12412" y="4515"/>
                    <a:pt x="12428" y="4515"/>
                    <a:pt x="12446" y="4497"/>
                  </a:cubicBezTo>
                  <a:cubicBezTo>
                    <a:pt x="12463" y="4480"/>
                    <a:pt x="12443" y="4451"/>
                    <a:pt x="12443" y="4451"/>
                  </a:cubicBezTo>
                  <a:cubicBezTo>
                    <a:pt x="12443" y="4451"/>
                    <a:pt x="12464" y="4436"/>
                    <a:pt x="12464" y="4415"/>
                  </a:cubicBezTo>
                  <a:cubicBezTo>
                    <a:pt x="12463" y="4393"/>
                    <a:pt x="12472" y="4374"/>
                    <a:pt x="12465" y="4361"/>
                  </a:cubicBezTo>
                  <a:cubicBezTo>
                    <a:pt x="12457" y="4349"/>
                    <a:pt x="12453" y="4324"/>
                    <a:pt x="12455" y="4319"/>
                  </a:cubicBezTo>
                  <a:cubicBezTo>
                    <a:pt x="12456" y="4314"/>
                    <a:pt x="12462" y="4286"/>
                    <a:pt x="12472" y="4304"/>
                  </a:cubicBezTo>
                  <a:cubicBezTo>
                    <a:pt x="12483" y="4322"/>
                    <a:pt x="12483" y="4353"/>
                    <a:pt x="12483" y="4353"/>
                  </a:cubicBezTo>
                  <a:cubicBezTo>
                    <a:pt x="12506" y="4379"/>
                    <a:pt x="12506" y="4379"/>
                    <a:pt x="12506" y="4379"/>
                  </a:cubicBezTo>
                  <a:cubicBezTo>
                    <a:pt x="12503" y="4414"/>
                    <a:pt x="12503" y="4414"/>
                    <a:pt x="12503" y="4414"/>
                  </a:cubicBezTo>
                  <a:cubicBezTo>
                    <a:pt x="12520" y="4436"/>
                    <a:pt x="12520" y="4436"/>
                    <a:pt x="12520" y="4436"/>
                  </a:cubicBezTo>
                  <a:cubicBezTo>
                    <a:pt x="12521" y="4460"/>
                    <a:pt x="12521" y="4460"/>
                    <a:pt x="12521" y="4460"/>
                  </a:cubicBezTo>
                  <a:cubicBezTo>
                    <a:pt x="12530" y="4509"/>
                    <a:pt x="12530" y="4509"/>
                    <a:pt x="12530" y="4509"/>
                  </a:cubicBezTo>
                  <a:cubicBezTo>
                    <a:pt x="12540" y="4499"/>
                    <a:pt x="12540" y="4499"/>
                    <a:pt x="12540" y="4499"/>
                  </a:cubicBezTo>
                  <a:cubicBezTo>
                    <a:pt x="12567" y="4507"/>
                    <a:pt x="12567" y="4507"/>
                    <a:pt x="12567" y="4507"/>
                  </a:cubicBezTo>
                  <a:cubicBezTo>
                    <a:pt x="12567" y="4507"/>
                    <a:pt x="12569" y="4490"/>
                    <a:pt x="12568" y="4477"/>
                  </a:cubicBezTo>
                  <a:cubicBezTo>
                    <a:pt x="12567" y="4464"/>
                    <a:pt x="12574" y="4457"/>
                    <a:pt x="12574" y="4457"/>
                  </a:cubicBezTo>
                  <a:cubicBezTo>
                    <a:pt x="12580" y="4473"/>
                    <a:pt x="12580" y="4473"/>
                    <a:pt x="12580" y="4473"/>
                  </a:cubicBezTo>
                  <a:cubicBezTo>
                    <a:pt x="12580" y="4473"/>
                    <a:pt x="12597" y="4475"/>
                    <a:pt x="12599" y="4459"/>
                  </a:cubicBezTo>
                  <a:close/>
                  <a:moveTo>
                    <a:pt x="12583" y="4272"/>
                  </a:moveTo>
                  <a:cubicBezTo>
                    <a:pt x="12583" y="4285"/>
                    <a:pt x="12583" y="4285"/>
                    <a:pt x="12583" y="4285"/>
                  </a:cubicBezTo>
                  <a:cubicBezTo>
                    <a:pt x="12583" y="4285"/>
                    <a:pt x="12598" y="4297"/>
                    <a:pt x="12605" y="4280"/>
                  </a:cubicBezTo>
                  <a:cubicBezTo>
                    <a:pt x="12613" y="4264"/>
                    <a:pt x="12583" y="4272"/>
                    <a:pt x="12583" y="4272"/>
                  </a:cubicBezTo>
                  <a:close/>
                  <a:moveTo>
                    <a:pt x="13088" y="6319"/>
                  </a:moveTo>
                  <a:cubicBezTo>
                    <a:pt x="13081" y="6346"/>
                    <a:pt x="13081" y="6346"/>
                    <a:pt x="13081" y="6346"/>
                  </a:cubicBezTo>
                  <a:cubicBezTo>
                    <a:pt x="13115" y="6314"/>
                    <a:pt x="13115" y="6314"/>
                    <a:pt x="13115" y="6314"/>
                  </a:cubicBezTo>
                  <a:lnTo>
                    <a:pt x="13088" y="6319"/>
                  </a:lnTo>
                  <a:close/>
                  <a:moveTo>
                    <a:pt x="11727" y="4185"/>
                  </a:moveTo>
                  <a:cubicBezTo>
                    <a:pt x="11710" y="4172"/>
                    <a:pt x="11710" y="4172"/>
                    <a:pt x="11710" y="4172"/>
                  </a:cubicBezTo>
                  <a:cubicBezTo>
                    <a:pt x="11708" y="4195"/>
                    <a:pt x="11708" y="4195"/>
                    <a:pt x="11708" y="4195"/>
                  </a:cubicBezTo>
                  <a:cubicBezTo>
                    <a:pt x="11727" y="4206"/>
                    <a:pt x="11727" y="4206"/>
                    <a:pt x="11727" y="4206"/>
                  </a:cubicBezTo>
                  <a:lnTo>
                    <a:pt x="11727" y="4185"/>
                  </a:lnTo>
                  <a:close/>
                  <a:moveTo>
                    <a:pt x="11714" y="4134"/>
                  </a:moveTo>
                  <a:cubicBezTo>
                    <a:pt x="11709" y="4122"/>
                    <a:pt x="11695" y="4129"/>
                    <a:pt x="11705" y="4145"/>
                  </a:cubicBezTo>
                  <a:cubicBezTo>
                    <a:pt x="11716" y="4164"/>
                    <a:pt x="11719" y="4146"/>
                    <a:pt x="11714" y="4134"/>
                  </a:cubicBezTo>
                  <a:close/>
                  <a:moveTo>
                    <a:pt x="11565" y="4097"/>
                  </a:moveTo>
                  <a:cubicBezTo>
                    <a:pt x="11569" y="4111"/>
                    <a:pt x="11594" y="4094"/>
                    <a:pt x="11582" y="4085"/>
                  </a:cubicBezTo>
                  <a:cubicBezTo>
                    <a:pt x="11570" y="4075"/>
                    <a:pt x="11559" y="4081"/>
                    <a:pt x="11565" y="4097"/>
                  </a:cubicBezTo>
                  <a:close/>
                  <a:moveTo>
                    <a:pt x="11290" y="4037"/>
                  </a:moveTo>
                  <a:cubicBezTo>
                    <a:pt x="11285" y="4042"/>
                    <a:pt x="11283" y="4058"/>
                    <a:pt x="11295" y="4059"/>
                  </a:cubicBezTo>
                  <a:cubicBezTo>
                    <a:pt x="11307" y="4061"/>
                    <a:pt x="11310" y="4074"/>
                    <a:pt x="11321" y="4066"/>
                  </a:cubicBezTo>
                  <a:cubicBezTo>
                    <a:pt x="11328" y="4060"/>
                    <a:pt x="11295" y="4031"/>
                    <a:pt x="11290" y="4037"/>
                  </a:cubicBezTo>
                  <a:close/>
                  <a:moveTo>
                    <a:pt x="12963" y="4199"/>
                  </a:moveTo>
                  <a:cubicBezTo>
                    <a:pt x="12946" y="4196"/>
                    <a:pt x="12935" y="4201"/>
                    <a:pt x="12935" y="4201"/>
                  </a:cubicBezTo>
                  <a:cubicBezTo>
                    <a:pt x="12939" y="4219"/>
                    <a:pt x="12939" y="4219"/>
                    <a:pt x="12939" y="4219"/>
                  </a:cubicBezTo>
                  <a:cubicBezTo>
                    <a:pt x="12948" y="4218"/>
                    <a:pt x="12976" y="4213"/>
                    <a:pt x="12976" y="4213"/>
                  </a:cubicBezTo>
                  <a:cubicBezTo>
                    <a:pt x="12976" y="4213"/>
                    <a:pt x="12980" y="4201"/>
                    <a:pt x="12963" y="4199"/>
                  </a:cubicBezTo>
                  <a:close/>
                  <a:moveTo>
                    <a:pt x="11713" y="4250"/>
                  </a:moveTo>
                  <a:cubicBezTo>
                    <a:pt x="11710" y="4216"/>
                    <a:pt x="11710" y="4216"/>
                    <a:pt x="11710" y="4216"/>
                  </a:cubicBezTo>
                  <a:cubicBezTo>
                    <a:pt x="11696" y="4229"/>
                    <a:pt x="11696" y="4229"/>
                    <a:pt x="11696" y="4229"/>
                  </a:cubicBezTo>
                  <a:lnTo>
                    <a:pt x="11713" y="4250"/>
                  </a:lnTo>
                  <a:close/>
                  <a:moveTo>
                    <a:pt x="12415" y="4728"/>
                  </a:moveTo>
                  <a:cubicBezTo>
                    <a:pt x="12428" y="4728"/>
                    <a:pt x="12418" y="4737"/>
                    <a:pt x="12428" y="4747"/>
                  </a:cubicBezTo>
                  <a:cubicBezTo>
                    <a:pt x="12439" y="4757"/>
                    <a:pt x="12459" y="4748"/>
                    <a:pt x="12459" y="4748"/>
                  </a:cubicBezTo>
                  <a:cubicBezTo>
                    <a:pt x="12459" y="4748"/>
                    <a:pt x="12455" y="4729"/>
                    <a:pt x="12442" y="4712"/>
                  </a:cubicBezTo>
                  <a:cubicBezTo>
                    <a:pt x="12428" y="4694"/>
                    <a:pt x="12403" y="4707"/>
                    <a:pt x="12403" y="4707"/>
                  </a:cubicBezTo>
                  <a:cubicBezTo>
                    <a:pt x="12380" y="4700"/>
                    <a:pt x="12380" y="4700"/>
                    <a:pt x="12380" y="4700"/>
                  </a:cubicBezTo>
                  <a:cubicBezTo>
                    <a:pt x="12373" y="4706"/>
                    <a:pt x="12374" y="4707"/>
                    <a:pt x="12384" y="4723"/>
                  </a:cubicBezTo>
                  <a:cubicBezTo>
                    <a:pt x="12395" y="4739"/>
                    <a:pt x="12402" y="4728"/>
                    <a:pt x="12415" y="4728"/>
                  </a:cubicBezTo>
                  <a:close/>
                  <a:moveTo>
                    <a:pt x="11858" y="4331"/>
                  </a:moveTo>
                  <a:cubicBezTo>
                    <a:pt x="11839" y="4332"/>
                    <a:pt x="11845" y="4351"/>
                    <a:pt x="11851" y="4369"/>
                  </a:cubicBezTo>
                  <a:cubicBezTo>
                    <a:pt x="11866" y="4363"/>
                    <a:pt x="11866" y="4363"/>
                    <a:pt x="11866" y="4363"/>
                  </a:cubicBezTo>
                  <a:cubicBezTo>
                    <a:pt x="11879" y="4376"/>
                    <a:pt x="11879" y="4376"/>
                    <a:pt x="11879" y="4376"/>
                  </a:cubicBezTo>
                  <a:cubicBezTo>
                    <a:pt x="11885" y="4359"/>
                    <a:pt x="11885" y="4359"/>
                    <a:pt x="11885" y="4359"/>
                  </a:cubicBezTo>
                  <a:cubicBezTo>
                    <a:pt x="11885" y="4359"/>
                    <a:pt x="11877" y="4329"/>
                    <a:pt x="11858" y="4331"/>
                  </a:cubicBezTo>
                  <a:close/>
                  <a:moveTo>
                    <a:pt x="11735" y="4304"/>
                  </a:moveTo>
                  <a:cubicBezTo>
                    <a:pt x="11762" y="4303"/>
                    <a:pt x="11762" y="4303"/>
                    <a:pt x="11762" y="4303"/>
                  </a:cubicBezTo>
                  <a:cubicBezTo>
                    <a:pt x="11762" y="4303"/>
                    <a:pt x="11767" y="4332"/>
                    <a:pt x="11778" y="4344"/>
                  </a:cubicBezTo>
                  <a:cubicBezTo>
                    <a:pt x="11788" y="4356"/>
                    <a:pt x="11814" y="4356"/>
                    <a:pt x="11814" y="4356"/>
                  </a:cubicBezTo>
                  <a:cubicBezTo>
                    <a:pt x="11813" y="4328"/>
                    <a:pt x="11813" y="4328"/>
                    <a:pt x="11813" y="4328"/>
                  </a:cubicBezTo>
                  <a:cubicBezTo>
                    <a:pt x="11801" y="4320"/>
                    <a:pt x="11801" y="4320"/>
                    <a:pt x="11801" y="4320"/>
                  </a:cubicBezTo>
                  <a:cubicBezTo>
                    <a:pt x="11800" y="4300"/>
                    <a:pt x="11800" y="4300"/>
                    <a:pt x="11800" y="4300"/>
                  </a:cubicBezTo>
                  <a:cubicBezTo>
                    <a:pt x="11800" y="4300"/>
                    <a:pt x="11785" y="4275"/>
                    <a:pt x="11763" y="4269"/>
                  </a:cubicBezTo>
                  <a:cubicBezTo>
                    <a:pt x="11741" y="4263"/>
                    <a:pt x="11742" y="4288"/>
                    <a:pt x="11742" y="4288"/>
                  </a:cubicBezTo>
                  <a:cubicBezTo>
                    <a:pt x="11742" y="4288"/>
                    <a:pt x="11728" y="4284"/>
                    <a:pt x="11735" y="4304"/>
                  </a:cubicBezTo>
                  <a:close/>
                  <a:moveTo>
                    <a:pt x="12723" y="3710"/>
                  </a:moveTo>
                  <a:cubicBezTo>
                    <a:pt x="12712" y="3705"/>
                    <a:pt x="12687" y="3669"/>
                    <a:pt x="12678" y="3677"/>
                  </a:cubicBezTo>
                  <a:cubicBezTo>
                    <a:pt x="12670" y="3685"/>
                    <a:pt x="12702" y="3708"/>
                    <a:pt x="12695" y="3712"/>
                  </a:cubicBezTo>
                  <a:cubicBezTo>
                    <a:pt x="12688" y="3715"/>
                    <a:pt x="12658" y="3718"/>
                    <a:pt x="12658" y="3718"/>
                  </a:cubicBezTo>
                  <a:cubicBezTo>
                    <a:pt x="12658" y="3739"/>
                    <a:pt x="12658" y="3739"/>
                    <a:pt x="12658" y="3739"/>
                  </a:cubicBezTo>
                  <a:cubicBezTo>
                    <a:pt x="12644" y="3738"/>
                    <a:pt x="12644" y="3738"/>
                    <a:pt x="12644" y="3738"/>
                  </a:cubicBezTo>
                  <a:cubicBezTo>
                    <a:pt x="12640" y="3753"/>
                    <a:pt x="12640" y="3753"/>
                    <a:pt x="12640" y="3753"/>
                  </a:cubicBezTo>
                  <a:cubicBezTo>
                    <a:pt x="12623" y="3762"/>
                    <a:pt x="12623" y="3762"/>
                    <a:pt x="12623" y="3762"/>
                  </a:cubicBezTo>
                  <a:cubicBezTo>
                    <a:pt x="12623" y="3762"/>
                    <a:pt x="12598" y="3746"/>
                    <a:pt x="12589" y="3754"/>
                  </a:cubicBezTo>
                  <a:cubicBezTo>
                    <a:pt x="12581" y="3762"/>
                    <a:pt x="12565" y="3790"/>
                    <a:pt x="12565" y="3790"/>
                  </a:cubicBezTo>
                  <a:cubicBezTo>
                    <a:pt x="12565" y="3790"/>
                    <a:pt x="12555" y="3771"/>
                    <a:pt x="12550" y="3780"/>
                  </a:cubicBezTo>
                  <a:cubicBezTo>
                    <a:pt x="12545" y="3790"/>
                    <a:pt x="12533" y="3813"/>
                    <a:pt x="12533" y="3813"/>
                  </a:cubicBezTo>
                  <a:cubicBezTo>
                    <a:pt x="12546" y="3826"/>
                    <a:pt x="12546" y="3826"/>
                    <a:pt x="12546" y="3826"/>
                  </a:cubicBezTo>
                  <a:cubicBezTo>
                    <a:pt x="12560" y="3813"/>
                    <a:pt x="12560" y="3813"/>
                    <a:pt x="12560" y="3813"/>
                  </a:cubicBezTo>
                  <a:cubicBezTo>
                    <a:pt x="12569" y="3829"/>
                    <a:pt x="12569" y="3829"/>
                    <a:pt x="12569" y="3829"/>
                  </a:cubicBezTo>
                  <a:cubicBezTo>
                    <a:pt x="12569" y="3829"/>
                    <a:pt x="12596" y="3807"/>
                    <a:pt x="12603" y="3807"/>
                  </a:cubicBezTo>
                  <a:cubicBezTo>
                    <a:pt x="12610" y="3807"/>
                    <a:pt x="12632" y="3828"/>
                    <a:pt x="12632" y="3828"/>
                  </a:cubicBezTo>
                  <a:cubicBezTo>
                    <a:pt x="12632" y="3828"/>
                    <a:pt x="12622" y="3834"/>
                    <a:pt x="12622" y="3843"/>
                  </a:cubicBezTo>
                  <a:cubicBezTo>
                    <a:pt x="12622" y="3851"/>
                    <a:pt x="12640" y="3887"/>
                    <a:pt x="12649" y="3890"/>
                  </a:cubicBezTo>
                  <a:cubicBezTo>
                    <a:pt x="12658" y="3893"/>
                    <a:pt x="12682" y="3900"/>
                    <a:pt x="12682" y="3900"/>
                  </a:cubicBezTo>
                  <a:cubicBezTo>
                    <a:pt x="12695" y="3887"/>
                    <a:pt x="12695" y="3887"/>
                    <a:pt x="12695" y="3887"/>
                  </a:cubicBezTo>
                  <a:cubicBezTo>
                    <a:pt x="12697" y="3903"/>
                    <a:pt x="12697" y="3903"/>
                    <a:pt x="12697" y="3903"/>
                  </a:cubicBezTo>
                  <a:cubicBezTo>
                    <a:pt x="12711" y="3905"/>
                    <a:pt x="12711" y="3905"/>
                    <a:pt x="12711" y="3905"/>
                  </a:cubicBezTo>
                  <a:cubicBezTo>
                    <a:pt x="12712" y="3879"/>
                    <a:pt x="12712" y="3879"/>
                    <a:pt x="12712" y="3879"/>
                  </a:cubicBezTo>
                  <a:cubicBezTo>
                    <a:pt x="12712" y="3879"/>
                    <a:pt x="12692" y="3857"/>
                    <a:pt x="12697" y="3844"/>
                  </a:cubicBezTo>
                  <a:cubicBezTo>
                    <a:pt x="12702" y="3831"/>
                    <a:pt x="12709" y="3828"/>
                    <a:pt x="12709" y="3828"/>
                  </a:cubicBezTo>
                  <a:cubicBezTo>
                    <a:pt x="12726" y="3862"/>
                    <a:pt x="12726" y="3862"/>
                    <a:pt x="12726" y="3862"/>
                  </a:cubicBezTo>
                  <a:cubicBezTo>
                    <a:pt x="12726" y="3862"/>
                    <a:pt x="12745" y="3836"/>
                    <a:pt x="12745" y="3820"/>
                  </a:cubicBezTo>
                  <a:cubicBezTo>
                    <a:pt x="12745" y="3803"/>
                    <a:pt x="12733" y="3785"/>
                    <a:pt x="12733" y="3785"/>
                  </a:cubicBezTo>
                  <a:cubicBezTo>
                    <a:pt x="12733" y="3746"/>
                    <a:pt x="12733" y="3746"/>
                    <a:pt x="12733" y="3746"/>
                  </a:cubicBezTo>
                  <a:cubicBezTo>
                    <a:pt x="12733" y="3746"/>
                    <a:pt x="12733" y="3715"/>
                    <a:pt x="12723" y="3710"/>
                  </a:cubicBezTo>
                  <a:close/>
                  <a:moveTo>
                    <a:pt x="12682" y="4300"/>
                  </a:moveTo>
                  <a:cubicBezTo>
                    <a:pt x="12735" y="4290"/>
                    <a:pt x="12735" y="4290"/>
                    <a:pt x="12735" y="4290"/>
                  </a:cubicBezTo>
                  <a:cubicBezTo>
                    <a:pt x="12682" y="4288"/>
                    <a:pt x="12682" y="4288"/>
                    <a:pt x="12682" y="4288"/>
                  </a:cubicBezTo>
                  <a:cubicBezTo>
                    <a:pt x="12682" y="4288"/>
                    <a:pt x="12660" y="4276"/>
                    <a:pt x="12653" y="4279"/>
                  </a:cubicBezTo>
                  <a:cubicBezTo>
                    <a:pt x="12647" y="4282"/>
                    <a:pt x="12644" y="4291"/>
                    <a:pt x="12644" y="4291"/>
                  </a:cubicBezTo>
                  <a:cubicBezTo>
                    <a:pt x="12651" y="4305"/>
                    <a:pt x="12682" y="4300"/>
                    <a:pt x="12682" y="4300"/>
                  </a:cubicBezTo>
                  <a:close/>
                  <a:moveTo>
                    <a:pt x="12655" y="4644"/>
                  </a:moveTo>
                  <a:cubicBezTo>
                    <a:pt x="12655" y="4625"/>
                    <a:pt x="12655" y="4625"/>
                    <a:pt x="12655" y="4625"/>
                  </a:cubicBezTo>
                  <a:cubicBezTo>
                    <a:pt x="12634" y="4639"/>
                    <a:pt x="12634" y="4639"/>
                    <a:pt x="12634" y="4639"/>
                  </a:cubicBezTo>
                  <a:lnTo>
                    <a:pt x="12655" y="4644"/>
                  </a:lnTo>
                  <a:close/>
                  <a:moveTo>
                    <a:pt x="12704" y="4603"/>
                  </a:moveTo>
                  <a:cubicBezTo>
                    <a:pt x="12692" y="4625"/>
                    <a:pt x="12692" y="4625"/>
                    <a:pt x="12692" y="4625"/>
                  </a:cubicBezTo>
                  <a:cubicBezTo>
                    <a:pt x="12742" y="4613"/>
                    <a:pt x="12742" y="4613"/>
                    <a:pt x="12742" y="4613"/>
                  </a:cubicBezTo>
                  <a:lnTo>
                    <a:pt x="12704" y="4603"/>
                  </a:lnTo>
                  <a:close/>
                  <a:moveTo>
                    <a:pt x="12769" y="3949"/>
                  </a:moveTo>
                  <a:cubicBezTo>
                    <a:pt x="12758" y="3949"/>
                    <a:pt x="12758" y="3949"/>
                    <a:pt x="12758" y="3949"/>
                  </a:cubicBezTo>
                  <a:cubicBezTo>
                    <a:pt x="12754" y="3968"/>
                    <a:pt x="12754" y="3968"/>
                    <a:pt x="12754" y="3968"/>
                  </a:cubicBezTo>
                  <a:cubicBezTo>
                    <a:pt x="12757" y="3987"/>
                    <a:pt x="12757" y="3987"/>
                    <a:pt x="12757" y="3987"/>
                  </a:cubicBezTo>
                  <a:cubicBezTo>
                    <a:pt x="12769" y="3977"/>
                    <a:pt x="12769" y="3977"/>
                    <a:pt x="12769" y="3977"/>
                  </a:cubicBezTo>
                  <a:lnTo>
                    <a:pt x="12769" y="3949"/>
                  </a:lnTo>
                  <a:close/>
                  <a:moveTo>
                    <a:pt x="12514" y="3620"/>
                  </a:moveTo>
                  <a:cubicBezTo>
                    <a:pt x="12519" y="3630"/>
                    <a:pt x="12527" y="3640"/>
                    <a:pt x="12527" y="3640"/>
                  </a:cubicBezTo>
                  <a:cubicBezTo>
                    <a:pt x="12527" y="3640"/>
                    <a:pt x="12543" y="3623"/>
                    <a:pt x="12548" y="3627"/>
                  </a:cubicBezTo>
                  <a:cubicBezTo>
                    <a:pt x="12553" y="3630"/>
                    <a:pt x="12553" y="3649"/>
                    <a:pt x="12553" y="3649"/>
                  </a:cubicBezTo>
                  <a:cubicBezTo>
                    <a:pt x="12562" y="3658"/>
                    <a:pt x="12562" y="3658"/>
                    <a:pt x="12562" y="3658"/>
                  </a:cubicBezTo>
                  <a:cubicBezTo>
                    <a:pt x="12562" y="3658"/>
                    <a:pt x="12539" y="3692"/>
                    <a:pt x="12539" y="3699"/>
                  </a:cubicBezTo>
                  <a:cubicBezTo>
                    <a:pt x="12539" y="3705"/>
                    <a:pt x="12539" y="3725"/>
                    <a:pt x="12555" y="3721"/>
                  </a:cubicBezTo>
                  <a:cubicBezTo>
                    <a:pt x="12570" y="3718"/>
                    <a:pt x="12593" y="3713"/>
                    <a:pt x="12584" y="3699"/>
                  </a:cubicBezTo>
                  <a:cubicBezTo>
                    <a:pt x="12575" y="3684"/>
                    <a:pt x="12574" y="3672"/>
                    <a:pt x="12582" y="3649"/>
                  </a:cubicBezTo>
                  <a:cubicBezTo>
                    <a:pt x="12591" y="3627"/>
                    <a:pt x="12584" y="3610"/>
                    <a:pt x="12577" y="3617"/>
                  </a:cubicBezTo>
                  <a:cubicBezTo>
                    <a:pt x="12570" y="3623"/>
                    <a:pt x="12557" y="3631"/>
                    <a:pt x="12557" y="3623"/>
                  </a:cubicBezTo>
                  <a:cubicBezTo>
                    <a:pt x="12557" y="3615"/>
                    <a:pt x="12577" y="3584"/>
                    <a:pt x="12565" y="3581"/>
                  </a:cubicBezTo>
                  <a:cubicBezTo>
                    <a:pt x="12553" y="3577"/>
                    <a:pt x="12531" y="3564"/>
                    <a:pt x="12531" y="3564"/>
                  </a:cubicBezTo>
                  <a:cubicBezTo>
                    <a:pt x="12531" y="3564"/>
                    <a:pt x="12510" y="3559"/>
                    <a:pt x="12509" y="3566"/>
                  </a:cubicBezTo>
                  <a:cubicBezTo>
                    <a:pt x="12507" y="3573"/>
                    <a:pt x="12521" y="3584"/>
                    <a:pt x="12521" y="3584"/>
                  </a:cubicBezTo>
                  <a:cubicBezTo>
                    <a:pt x="12521" y="3584"/>
                    <a:pt x="12509" y="3610"/>
                    <a:pt x="12514" y="3620"/>
                  </a:cubicBezTo>
                  <a:close/>
                  <a:moveTo>
                    <a:pt x="12541" y="3865"/>
                  </a:moveTo>
                  <a:cubicBezTo>
                    <a:pt x="12526" y="3854"/>
                    <a:pt x="12526" y="3854"/>
                    <a:pt x="12526" y="3854"/>
                  </a:cubicBezTo>
                  <a:cubicBezTo>
                    <a:pt x="12514" y="3870"/>
                    <a:pt x="12514" y="3870"/>
                    <a:pt x="12514" y="3870"/>
                  </a:cubicBezTo>
                  <a:cubicBezTo>
                    <a:pt x="12539" y="3892"/>
                    <a:pt x="12539" y="3892"/>
                    <a:pt x="12539" y="3892"/>
                  </a:cubicBezTo>
                  <a:lnTo>
                    <a:pt x="12541" y="3865"/>
                  </a:lnTo>
                  <a:close/>
                  <a:moveTo>
                    <a:pt x="12673" y="3627"/>
                  </a:moveTo>
                  <a:cubicBezTo>
                    <a:pt x="12654" y="3620"/>
                    <a:pt x="12654" y="3620"/>
                    <a:pt x="12654" y="3620"/>
                  </a:cubicBezTo>
                  <a:cubicBezTo>
                    <a:pt x="12654" y="3620"/>
                    <a:pt x="12646" y="3610"/>
                    <a:pt x="12642" y="3602"/>
                  </a:cubicBezTo>
                  <a:cubicBezTo>
                    <a:pt x="12639" y="3594"/>
                    <a:pt x="12615" y="3599"/>
                    <a:pt x="12615" y="3599"/>
                  </a:cubicBezTo>
                  <a:cubicBezTo>
                    <a:pt x="12618" y="3628"/>
                    <a:pt x="12618" y="3628"/>
                    <a:pt x="12618" y="3628"/>
                  </a:cubicBezTo>
                  <a:cubicBezTo>
                    <a:pt x="12634" y="3622"/>
                    <a:pt x="12634" y="3622"/>
                    <a:pt x="12634" y="3622"/>
                  </a:cubicBezTo>
                  <a:cubicBezTo>
                    <a:pt x="12640" y="3638"/>
                    <a:pt x="12640" y="3638"/>
                    <a:pt x="12640" y="3638"/>
                  </a:cubicBezTo>
                  <a:cubicBezTo>
                    <a:pt x="12673" y="3663"/>
                    <a:pt x="12673" y="3663"/>
                    <a:pt x="12673" y="3663"/>
                  </a:cubicBezTo>
                  <a:lnTo>
                    <a:pt x="12673" y="3627"/>
                  </a:lnTo>
                  <a:close/>
                  <a:moveTo>
                    <a:pt x="12737" y="4360"/>
                  </a:moveTo>
                  <a:cubicBezTo>
                    <a:pt x="12737" y="4360"/>
                    <a:pt x="12730" y="4379"/>
                    <a:pt x="12744" y="4388"/>
                  </a:cubicBezTo>
                  <a:cubicBezTo>
                    <a:pt x="12757" y="4398"/>
                    <a:pt x="12776" y="4394"/>
                    <a:pt x="12776" y="4394"/>
                  </a:cubicBezTo>
                  <a:cubicBezTo>
                    <a:pt x="12784" y="4383"/>
                    <a:pt x="12772" y="4356"/>
                    <a:pt x="12772" y="4356"/>
                  </a:cubicBezTo>
                  <a:cubicBezTo>
                    <a:pt x="12760" y="4359"/>
                    <a:pt x="12760" y="4359"/>
                    <a:pt x="12760" y="4359"/>
                  </a:cubicBezTo>
                  <a:cubicBezTo>
                    <a:pt x="12751" y="4349"/>
                    <a:pt x="12751" y="4349"/>
                    <a:pt x="12751" y="4349"/>
                  </a:cubicBezTo>
                  <a:lnTo>
                    <a:pt x="12737" y="4360"/>
                  </a:lnTo>
                  <a:close/>
                  <a:moveTo>
                    <a:pt x="12681" y="3971"/>
                  </a:moveTo>
                  <a:cubicBezTo>
                    <a:pt x="12692" y="3949"/>
                    <a:pt x="12692" y="3949"/>
                    <a:pt x="12692" y="3949"/>
                  </a:cubicBezTo>
                  <a:cubicBezTo>
                    <a:pt x="12677" y="3944"/>
                    <a:pt x="12677" y="3944"/>
                    <a:pt x="12677" y="3944"/>
                  </a:cubicBezTo>
                  <a:lnTo>
                    <a:pt x="12681" y="3971"/>
                  </a:lnTo>
                  <a:close/>
                  <a:moveTo>
                    <a:pt x="12619" y="3680"/>
                  </a:moveTo>
                  <a:cubicBezTo>
                    <a:pt x="12640" y="3678"/>
                    <a:pt x="12640" y="3678"/>
                    <a:pt x="12640" y="3678"/>
                  </a:cubicBezTo>
                  <a:cubicBezTo>
                    <a:pt x="12643" y="3661"/>
                    <a:pt x="12643" y="3661"/>
                    <a:pt x="12643" y="3661"/>
                  </a:cubicBezTo>
                  <a:cubicBezTo>
                    <a:pt x="12625" y="3655"/>
                    <a:pt x="12625" y="3655"/>
                    <a:pt x="12625" y="3655"/>
                  </a:cubicBezTo>
                  <a:lnTo>
                    <a:pt x="12619" y="3680"/>
                  </a:lnTo>
                  <a:close/>
                  <a:moveTo>
                    <a:pt x="12387" y="4660"/>
                  </a:moveTo>
                  <a:cubicBezTo>
                    <a:pt x="12392" y="4643"/>
                    <a:pt x="12391" y="4631"/>
                    <a:pt x="12382" y="4628"/>
                  </a:cubicBezTo>
                  <a:cubicBezTo>
                    <a:pt x="12373" y="4625"/>
                    <a:pt x="12366" y="4631"/>
                    <a:pt x="12366" y="4631"/>
                  </a:cubicBezTo>
                  <a:cubicBezTo>
                    <a:pt x="12335" y="4624"/>
                    <a:pt x="12335" y="4624"/>
                    <a:pt x="12335" y="4624"/>
                  </a:cubicBezTo>
                  <a:cubicBezTo>
                    <a:pt x="12354" y="4651"/>
                    <a:pt x="12354" y="4651"/>
                    <a:pt x="12354" y="4651"/>
                  </a:cubicBezTo>
                  <a:cubicBezTo>
                    <a:pt x="12354" y="4651"/>
                    <a:pt x="12381" y="4678"/>
                    <a:pt x="12387" y="4660"/>
                  </a:cubicBezTo>
                  <a:close/>
                  <a:moveTo>
                    <a:pt x="12297" y="4695"/>
                  </a:moveTo>
                  <a:cubicBezTo>
                    <a:pt x="12312" y="4693"/>
                    <a:pt x="12312" y="4693"/>
                    <a:pt x="12312" y="4693"/>
                  </a:cubicBezTo>
                  <a:cubicBezTo>
                    <a:pt x="12318" y="4679"/>
                    <a:pt x="12318" y="4679"/>
                    <a:pt x="12318" y="4679"/>
                  </a:cubicBezTo>
                  <a:cubicBezTo>
                    <a:pt x="12337" y="4690"/>
                    <a:pt x="12337" y="4690"/>
                    <a:pt x="12337" y="4690"/>
                  </a:cubicBezTo>
                  <a:cubicBezTo>
                    <a:pt x="12356" y="4668"/>
                    <a:pt x="12356" y="4668"/>
                    <a:pt x="12356" y="4668"/>
                  </a:cubicBezTo>
                  <a:cubicBezTo>
                    <a:pt x="12322" y="4656"/>
                    <a:pt x="12322" y="4656"/>
                    <a:pt x="12322" y="4656"/>
                  </a:cubicBezTo>
                  <a:cubicBezTo>
                    <a:pt x="12311" y="4659"/>
                    <a:pt x="12311" y="4659"/>
                    <a:pt x="12311" y="4659"/>
                  </a:cubicBezTo>
                  <a:cubicBezTo>
                    <a:pt x="12311" y="4659"/>
                    <a:pt x="12297" y="4644"/>
                    <a:pt x="12289" y="4646"/>
                  </a:cubicBezTo>
                  <a:cubicBezTo>
                    <a:pt x="12280" y="4647"/>
                    <a:pt x="12261" y="4676"/>
                    <a:pt x="12261" y="4676"/>
                  </a:cubicBezTo>
                  <a:cubicBezTo>
                    <a:pt x="12296" y="4681"/>
                    <a:pt x="12296" y="4681"/>
                    <a:pt x="12296" y="4681"/>
                  </a:cubicBezTo>
                  <a:lnTo>
                    <a:pt x="12297" y="4695"/>
                  </a:lnTo>
                  <a:close/>
                  <a:moveTo>
                    <a:pt x="12293" y="3762"/>
                  </a:moveTo>
                  <a:cubicBezTo>
                    <a:pt x="12313" y="3743"/>
                    <a:pt x="12313" y="3743"/>
                    <a:pt x="12313" y="3743"/>
                  </a:cubicBezTo>
                  <a:cubicBezTo>
                    <a:pt x="12313" y="3743"/>
                    <a:pt x="12310" y="3728"/>
                    <a:pt x="12318" y="3728"/>
                  </a:cubicBezTo>
                  <a:cubicBezTo>
                    <a:pt x="12327" y="3728"/>
                    <a:pt x="12337" y="3725"/>
                    <a:pt x="12344" y="3720"/>
                  </a:cubicBezTo>
                  <a:cubicBezTo>
                    <a:pt x="12351" y="3715"/>
                    <a:pt x="12344" y="3699"/>
                    <a:pt x="12353" y="3689"/>
                  </a:cubicBezTo>
                  <a:cubicBezTo>
                    <a:pt x="12361" y="3679"/>
                    <a:pt x="12409" y="3664"/>
                    <a:pt x="12409" y="3653"/>
                  </a:cubicBezTo>
                  <a:cubicBezTo>
                    <a:pt x="12409" y="3641"/>
                    <a:pt x="12399" y="3630"/>
                    <a:pt x="12397" y="3620"/>
                  </a:cubicBezTo>
                  <a:cubicBezTo>
                    <a:pt x="12396" y="3610"/>
                    <a:pt x="12399" y="3589"/>
                    <a:pt x="12399" y="3589"/>
                  </a:cubicBezTo>
                  <a:cubicBezTo>
                    <a:pt x="12389" y="3574"/>
                    <a:pt x="12389" y="3574"/>
                    <a:pt x="12389" y="3574"/>
                  </a:cubicBezTo>
                  <a:cubicBezTo>
                    <a:pt x="12385" y="3591"/>
                    <a:pt x="12385" y="3591"/>
                    <a:pt x="12385" y="3591"/>
                  </a:cubicBezTo>
                  <a:cubicBezTo>
                    <a:pt x="12385" y="3591"/>
                    <a:pt x="12366" y="3607"/>
                    <a:pt x="12373" y="3622"/>
                  </a:cubicBezTo>
                  <a:cubicBezTo>
                    <a:pt x="12380" y="3636"/>
                    <a:pt x="12397" y="3636"/>
                    <a:pt x="12387" y="3643"/>
                  </a:cubicBezTo>
                  <a:cubicBezTo>
                    <a:pt x="12377" y="3649"/>
                    <a:pt x="12361" y="3658"/>
                    <a:pt x="12361" y="3658"/>
                  </a:cubicBezTo>
                  <a:cubicBezTo>
                    <a:pt x="12354" y="3676"/>
                    <a:pt x="12354" y="3676"/>
                    <a:pt x="12354" y="3676"/>
                  </a:cubicBezTo>
                  <a:cubicBezTo>
                    <a:pt x="12339" y="3685"/>
                    <a:pt x="12339" y="3685"/>
                    <a:pt x="12339" y="3685"/>
                  </a:cubicBezTo>
                  <a:cubicBezTo>
                    <a:pt x="12339" y="3685"/>
                    <a:pt x="12344" y="3694"/>
                    <a:pt x="12337" y="3700"/>
                  </a:cubicBezTo>
                  <a:cubicBezTo>
                    <a:pt x="12330" y="3707"/>
                    <a:pt x="12305" y="3718"/>
                    <a:pt x="12305" y="3718"/>
                  </a:cubicBezTo>
                  <a:cubicBezTo>
                    <a:pt x="12305" y="3718"/>
                    <a:pt x="12282" y="3754"/>
                    <a:pt x="12293" y="3762"/>
                  </a:cubicBezTo>
                  <a:close/>
                  <a:moveTo>
                    <a:pt x="12382" y="3239"/>
                  </a:moveTo>
                  <a:cubicBezTo>
                    <a:pt x="12374" y="3251"/>
                    <a:pt x="12376" y="3243"/>
                    <a:pt x="12383" y="3255"/>
                  </a:cubicBezTo>
                  <a:cubicBezTo>
                    <a:pt x="12386" y="3260"/>
                    <a:pt x="12390" y="3269"/>
                    <a:pt x="12392" y="3275"/>
                  </a:cubicBezTo>
                  <a:cubicBezTo>
                    <a:pt x="12394" y="3281"/>
                    <a:pt x="12395" y="3288"/>
                    <a:pt x="12394" y="3295"/>
                  </a:cubicBezTo>
                  <a:cubicBezTo>
                    <a:pt x="12393" y="3302"/>
                    <a:pt x="12385" y="3308"/>
                    <a:pt x="12385" y="3313"/>
                  </a:cubicBezTo>
                  <a:cubicBezTo>
                    <a:pt x="12385" y="3321"/>
                    <a:pt x="12396" y="3323"/>
                    <a:pt x="12392" y="3331"/>
                  </a:cubicBezTo>
                  <a:cubicBezTo>
                    <a:pt x="12390" y="3336"/>
                    <a:pt x="12378" y="3339"/>
                    <a:pt x="12374" y="3338"/>
                  </a:cubicBezTo>
                  <a:cubicBezTo>
                    <a:pt x="12374" y="3332"/>
                    <a:pt x="12372" y="3326"/>
                    <a:pt x="12367" y="3324"/>
                  </a:cubicBezTo>
                  <a:cubicBezTo>
                    <a:pt x="12366" y="3347"/>
                    <a:pt x="12369" y="3361"/>
                    <a:pt x="12385" y="3380"/>
                  </a:cubicBezTo>
                  <a:cubicBezTo>
                    <a:pt x="12397" y="3393"/>
                    <a:pt x="12409" y="3403"/>
                    <a:pt x="12417" y="3419"/>
                  </a:cubicBezTo>
                  <a:cubicBezTo>
                    <a:pt x="12422" y="3431"/>
                    <a:pt x="12438" y="3461"/>
                    <a:pt x="12453" y="3460"/>
                  </a:cubicBezTo>
                  <a:cubicBezTo>
                    <a:pt x="12463" y="3459"/>
                    <a:pt x="12467" y="3446"/>
                    <a:pt x="12478" y="3445"/>
                  </a:cubicBezTo>
                  <a:cubicBezTo>
                    <a:pt x="12489" y="3444"/>
                    <a:pt x="12494" y="3454"/>
                    <a:pt x="12501" y="3460"/>
                  </a:cubicBezTo>
                  <a:cubicBezTo>
                    <a:pt x="12523" y="3479"/>
                    <a:pt x="12522" y="3461"/>
                    <a:pt x="12512" y="3444"/>
                  </a:cubicBezTo>
                  <a:cubicBezTo>
                    <a:pt x="12530" y="3442"/>
                    <a:pt x="12537" y="3451"/>
                    <a:pt x="12541" y="3465"/>
                  </a:cubicBezTo>
                  <a:cubicBezTo>
                    <a:pt x="12544" y="3477"/>
                    <a:pt x="12554" y="3489"/>
                    <a:pt x="12568" y="3495"/>
                  </a:cubicBezTo>
                  <a:cubicBezTo>
                    <a:pt x="12593" y="3508"/>
                    <a:pt x="12595" y="3447"/>
                    <a:pt x="12564" y="3450"/>
                  </a:cubicBezTo>
                  <a:cubicBezTo>
                    <a:pt x="12563" y="3444"/>
                    <a:pt x="12568" y="3442"/>
                    <a:pt x="12570" y="3437"/>
                  </a:cubicBezTo>
                  <a:cubicBezTo>
                    <a:pt x="12558" y="3436"/>
                    <a:pt x="12554" y="3422"/>
                    <a:pt x="12541" y="3426"/>
                  </a:cubicBezTo>
                  <a:cubicBezTo>
                    <a:pt x="12533" y="3443"/>
                    <a:pt x="12518" y="3422"/>
                    <a:pt x="12506" y="3422"/>
                  </a:cubicBezTo>
                  <a:cubicBezTo>
                    <a:pt x="12490" y="3421"/>
                    <a:pt x="12483" y="3445"/>
                    <a:pt x="12470" y="3425"/>
                  </a:cubicBezTo>
                  <a:cubicBezTo>
                    <a:pt x="12463" y="3414"/>
                    <a:pt x="12466" y="3399"/>
                    <a:pt x="12466" y="3387"/>
                  </a:cubicBezTo>
                  <a:cubicBezTo>
                    <a:pt x="12466" y="3375"/>
                    <a:pt x="12462" y="3356"/>
                    <a:pt x="12467" y="3345"/>
                  </a:cubicBezTo>
                  <a:cubicBezTo>
                    <a:pt x="12474" y="3329"/>
                    <a:pt x="12485" y="3334"/>
                    <a:pt x="12484" y="3314"/>
                  </a:cubicBezTo>
                  <a:cubicBezTo>
                    <a:pt x="12484" y="3300"/>
                    <a:pt x="12473" y="3291"/>
                    <a:pt x="12475" y="3279"/>
                  </a:cubicBezTo>
                  <a:cubicBezTo>
                    <a:pt x="12476" y="3266"/>
                    <a:pt x="12484" y="3250"/>
                    <a:pt x="12480" y="3236"/>
                  </a:cubicBezTo>
                  <a:cubicBezTo>
                    <a:pt x="12477" y="3230"/>
                    <a:pt x="12470" y="3227"/>
                    <a:pt x="12467" y="3221"/>
                  </a:cubicBezTo>
                  <a:cubicBezTo>
                    <a:pt x="12464" y="3215"/>
                    <a:pt x="12467" y="3208"/>
                    <a:pt x="12466" y="3202"/>
                  </a:cubicBezTo>
                  <a:cubicBezTo>
                    <a:pt x="12465" y="3197"/>
                    <a:pt x="12463" y="3186"/>
                    <a:pt x="12454" y="3186"/>
                  </a:cubicBezTo>
                  <a:cubicBezTo>
                    <a:pt x="12449" y="3187"/>
                    <a:pt x="12447" y="3195"/>
                    <a:pt x="12444" y="3198"/>
                  </a:cubicBezTo>
                  <a:cubicBezTo>
                    <a:pt x="12427" y="3212"/>
                    <a:pt x="12424" y="3195"/>
                    <a:pt x="12408" y="3196"/>
                  </a:cubicBezTo>
                  <a:cubicBezTo>
                    <a:pt x="12399" y="3199"/>
                    <a:pt x="12399" y="3199"/>
                    <a:pt x="12399" y="3199"/>
                  </a:cubicBezTo>
                  <a:cubicBezTo>
                    <a:pt x="12396" y="3206"/>
                    <a:pt x="12399" y="3213"/>
                    <a:pt x="12397" y="3220"/>
                  </a:cubicBezTo>
                  <a:cubicBezTo>
                    <a:pt x="12395" y="3227"/>
                    <a:pt x="12386" y="3233"/>
                    <a:pt x="12382" y="3239"/>
                  </a:cubicBezTo>
                  <a:close/>
                  <a:moveTo>
                    <a:pt x="12457" y="3879"/>
                  </a:moveTo>
                  <a:cubicBezTo>
                    <a:pt x="12469" y="3886"/>
                    <a:pt x="12469" y="3886"/>
                    <a:pt x="12469" y="3886"/>
                  </a:cubicBezTo>
                  <a:cubicBezTo>
                    <a:pt x="12481" y="3868"/>
                    <a:pt x="12481" y="3868"/>
                    <a:pt x="12481" y="3868"/>
                  </a:cubicBezTo>
                  <a:cubicBezTo>
                    <a:pt x="12464" y="3858"/>
                    <a:pt x="12464" y="3858"/>
                    <a:pt x="12464" y="3858"/>
                  </a:cubicBezTo>
                  <a:lnTo>
                    <a:pt x="12457" y="3879"/>
                  </a:lnTo>
                  <a:close/>
                  <a:moveTo>
                    <a:pt x="12603" y="3523"/>
                  </a:moveTo>
                  <a:cubicBezTo>
                    <a:pt x="12594" y="3543"/>
                    <a:pt x="12627" y="3558"/>
                    <a:pt x="12627" y="3558"/>
                  </a:cubicBezTo>
                  <a:cubicBezTo>
                    <a:pt x="12652" y="3571"/>
                    <a:pt x="12652" y="3571"/>
                    <a:pt x="12652" y="3571"/>
                  </a:cubicBezTo>
                  <a:cubicBezTo>
                    <a:pt x="12652" y="3587"/>
                    <a:pt x="12628" y="3579"/>
                    <a:pt x="12628" y="3579"/>
                  </a:cubicBezTo>
                  <a:cubicBezTo>
                    <a:pt x="12671" y="3613"/>
                    <a:pt x="12671" y="3613"/>
                    <a:pt x="12671" y="3613"/>
                  </a:cubicBezTo>
                  <a:cubicBezTo>
                    <a:pt x="12673" y="3599"/>
                    <a:pt x="12673" y="3599"/>
                    <a:pt x="12673" y="3599"/>
                  </a:cubicBezTo>
                  <a:cubicBezTo>
                    <a:pt x="12690" y="3604"/>
                    <a:pt x="12690" y="3604"/>
                    <a:pt x="12690" y="3604"/>
                  </a:cubicBezTo>
                  <a:cubicBezTo>
                    <a:pt x="12676" y="3581"/>
                    <a:pt x="12676" y="3581"/>
                    <a:pt x="12676" y="3581"/>
                  </a:cubicBezTo>
                  <a:cubicBezTo>
                    <a:pt x="12676" y="3581"/>
                    <a:pt x="12673" y="3556"/>
                    <a:pt x="12661" y="3543"/>
                  </a:cubicBezTo>
                  <a:cubicBezTo>
                    <a:pt x="12649" y="3530"/>
                    <a:pt x="12610" y="3507"/>
                    <a:pt x="12603" y="3523"/>
                  </a:cubicBezTo>
                  <a:close/>
                  <a:moveTo>
                    <a:pt x="12473" y="3501"/>
                  </a:moveTo>
                  <a:cubicBezTo>
                    <a:pt x="12473" y="3501"/>
                    <a:pt x="12471" y="3481"/>
                    <a:pt x="12464" y="3474"/>
                  </a:cubicBezTo>
                  <a:cubicBezTo>
                    <a:pt x="12457" y="3468"/>
                    <a:pt x="12428" y="3471"/>
                    <a:pt x="12428" y="3471"/>
                  </a:cubicBezTo>
                  <a:cubicBezTo>
                    <a:pt x="12449" y="3499"/>
                    <a:pt x="12449" y="3499"/>
                    <a:pt x="12449" y="3499"/>
                  </a:cubicBezTo>
                  <a:cubicBezTo>
                    <a:pt x="12462" y="3543"/>
                    <a:pt x="12462" y="3543"/>
                    <a:pt x="12462" y="3543"/>
                  </a:cubicBezTo>
                  <a:cubicBezTo>
                    <a:pt x="12462" y="3543"/>
                    <a:pt x="12474" y="3533"/>
                    <a:pt x="12479" y="3525"/>
                  </a:cubicBezTo>
                  <a:cubicBezTo>
                    <a:pt x="12485" y="3517"/>
                    <a:pt x="12473" y="3501"/>
                    <a:pt x="12473" y="3501"/>
                  </a:cubicBezTo>
                  <a:close/>
                  <a:moveTo>
                    <a:pt x="12600" y="3631"/>
                  </a:moveTo>
                  <a:cubicBezTo>
                    <a:pt x="12607" y="3685"/>
                    <a:pt x="12607" y="3685"/>
                    <a:pt x="12607" y="3685"/>
                  </a:cubicBezTo>
                  <a:cubicBezTo>
                    <a:pt x="12615" y="3635"/>
                    <a:pt x="12615" y="3635"/>
                    <a:pt x="12615" y="3635"/>
                  </a:cubicBezTo>
                  <a:cubicBezTo>
                    <a:pt x="12598" y="3600"/>
                    <a:pt x="12598" y="3600"/>
                    <a:pt x="12598" y="3600"/>
                  </a:cubicBezTo>
                  <a:cubicBezTo>
                    <a:pt x="12583" y="3600"/>
                    <a:pt x="12583" y="3600"/>
                    <a:pt x="12583" y="3600"/>
                  </a:cubicBezTo>
                  <a:lnTo>
                    <a:pt x="12600" y="3631"/>
                  </a:lnTo>
                  <a:close/>
                  <a:moveTo>
                    <a:pt x="11367" y="4106"/>
                  </a:moveTo>
                  <a:cubicBezTo>
                    <a:pt x="11359" y="4106"/>
                    <a:pt x="11349" y="4119"/>
                    <a:pt x="11361" y="4127"/>
                  </a:cubicBezTo>
                  <a:cubicBezTo>
                    <a:pt x="11373" y="4135"/>
                    <a:pt x="11377" y="4165"/>
                    <a:pt x="11389" y="4165"/>
                  </a:cubicBezTo>
                  <a:cubicBezTo>
                    <a:pt x="11396" y="4165"/>
                    <a:pt x="11397" y="4134"/>
                    <a:pt x="11393" y="4130"/>
                  </a:cubicBezTo>
                  <a:cubicBezTo>
                    <a:pt x="11389" y="4126"/>
                    <a:pt x="11375" y="4106"/>
                    <a:pt x="11367" y="4106"/>
                  </a:cubicBezTo>
                  <a:close/>
                  <a:moveTo>
                    <a:pt x="12889" y="4333"/>
                  </a:moveTo>
                  <a:cubicBezTo>
                    <a:pt x="12873" y="4329"/>
                    <a:pt x="12863" y="4339"/>
                    <a:pt x="12852" y="4344"/>
                  </a:cubicBezTo>
                  <a:cubicBezTo>
                    <a:pt x="12846" y="4346"/>
                    <a:pt x="12838" y="4342"/>
                    <a:pt x="12834" y="4345"/>
                  </a:cubicBezTo>
                  <a:cubicBezTo>
                    <a:pt x="12821" y="4353"/>
                    <a:pt x="12817" y="4369"/>
                    <a:pt x="12821" y="4372"/>
                  </a:cubicBezTo>
                  <a:cubicBezTo>
                    <a:pt x="12828" y="4378"/>
                    <a:pt x="12835" y="4364"/>
                    <a:pt x="12835" y="4364"/>
                  </a:cubicBezTo>
                  <a:cubicBezTo>
                    <a:pt x="12835" y="4364"/>
                    <a:pt x="12835" y="4380"/>
                    <a:pt x="12846" y="4382"/>
                  </a:cubicBezTo>
                  <a:cubicBezTo>
                    <a:pt x="12857" y="4383"/>
                    <a:pt x="12859" y="4363"/>
                    <a:pt x="12859" y="4363"/>
                  </a:cubicBezTo>
                  <a:cubicBezTo>
                    <a:pt x="12859" y="4363"/>
                    <a:pt x="12867" y="4374"/>
                    <a:pt x="12874" y="4374"/>
                  </a:cubicBezTo>
                  <a:cubicBezTo>
                    <a:pt x="12881" y="4374"/>
                    <a:pt x="12899" y="4359"/>
                    <a:pt x="12899" y="4359"/>
                  </a:cubicBezTo>
                  <a:cubicBezTo>
                    <a:pt x="12909" y="4394"/>
                    <a:pt x="12909" y="4394"/>
                    <a:pt x="12909" y="4394"/>
                  </a:cubicBezTo>
                  <a:cubicBezTo>
                    <a:pt x="12928" y="4380"/>
                    <a:pt x="12928" y="4380"/>
                    <a:pt x="12928" y="4380"/>
                  </a:cubicBezTo>
                  <a:cubicBezTo>
                    <a:pt x="12950" y="4404"/>
                    <a:pt x="12950" y="4404"/>
                    <a:pt x="12950" y="4404"/>
                  </a:cubicBezTo>
                  <a:cubicBezTo>
                    <a:pt x="12955" y="4387"/>
                    <a:pt x="12955" y="4387"/>
                    <a:pt x="12955" y="4387"/>
                  </a:cubicBezTo>
                  <a:cubicBezTo>
                    <a:pt x="12941" y="4375"/>
                    <a:pt x="12941" y="4375"/>
                    <a:pt x="12941" y="4375"/>
                  </a:cubicBezTo>
                  <a:cubicBezTo>
                    <a:pt x="12942" y="4364"/>
                    <a:pt x="12942" y="4364"/>
                    <a:pt x="12942" y="4364"/>
                  </a:cubicBezTo>
                  <a:cubicBezTo>
                    <a:pt x="12942" y="4364"/>
                    <a:pt x="12936" y="4343"/>
                    <a:pt x="12889" y="4333"/>
                  </a:cubicBezTo>
                  <a:close/>
                  <a:moveTo>
                    <a:pt x="14187" y="4617"/>
                  </a:moveTo>
                  <a:cubicBezTo>
                    <a:pt x="14165" y="4620"/>
                    <a:pt x="14165" y="4620"/>
                    <a:pt x="14165" y="4620"/>
                  </a:cubicBezTo>
                  <a:cubicBezTo>
                    <a:pt x="14165" y="4634"/>
                    <a:pt x="14165" y="4634"/>
                    <a:pt x="14165" y="4634"/>
                  </a:cubicBezTo>
                  <a:cubicBezTo>
                    <a:pt x="14178" y="4639"/>
                    <a:pt x="14178" y="4639"/>
                    <a:pt x="14178" y="4639"/>
                  </a:cubicBezTo>
                  <a:lnTo>
                    <a:pt x="14187" y="4617"/>
                  </a:lnTo>
                  <a:close/>
                  <a:moveTo>
                    <a:pt x="13173" y="4238"/>
                  </a:moveTo>
                  <a:cubicBezTo>
                    <a:pt x="13192" y="4247"/>
                    <a:pt x="13200" y="4238"/>
                    <a:pt x="13185" y="4231"/>
                  </a:cubicBezTo>
                  <a:cubicBezTo>
                    <a:pt x="13171" y="4225"/>
                    <a:pt x="13165" y="4234"/>
                    <a:pt x="13173" y="4238"/>
                  </a:cubicBezTo>
                  <a:close/>
                  <a:moveTo>
                    <a:pt x="14186" y="4564"/>
                  </a:moveTo>
                  <a:cubicBezTo>
                    <a:pt x="14174" y="4550"/>
                    <a:pt x="14174" y="4550"/>
                    <a:pt x="14174" y="4550"/>
                  </a:cubicBezTo>
                  <a:cubicBezTo>
                    <a:pt x="14167" y="4566"/>
                    <a:pt x="14167" y="4566"/>
                    <a:pt x="14167" y="4566"/>
                  </a:cubicBezTo>
                  <a:cubicBezTo>
                    <a:pt x="14180" y="4582"/>
                    <a:pt x="14180" y="4582"/>
                    <a:pt x="14180" y="4582"/>
                  </a:cubicBezTo>
                  <a:lnTo>
                    <a:pt x="14186" y="4564"/>
                  </a:lnTo>
                  <a:close/>
                  <a:moveTo>
                    <a:pt x="13241" y="4291"/>
                  </a:moveTo>
                  <a:cubicBezTo>
                    <a:pt x="13241" y="4291"/>
                    <a:pt x="13217" y="4281"/>
                    <a:pt x="13212" y="4280"/>
                  </a:cubicBezTo>
                  <a:cubicBezTo>
                    <a:pt x="13208" y="4279"/>
                    <a:pt x="13179" y="4285"/>
                    <a:pt x="13179" y="4285"/>
                  </a:cubicBezTo>
                  <a:cubicBezTo>
                    <a:pt x="13179" y="4285"/>
                    <a:pt x="13195" y="4298"/>
                    <a:pt x="13205" y="4298"/>
                  </a:cubicBezTo>
                  <a:cubicBezTo>
                    <a:pt x="13214" y="4298"/>
                    <a:pt x="13241" y="4291"/>
                    <a:pt x="13241" y="4291"/>
                  </a:cubicBezTo>
                  <a:close/>
                  <a:moveTo>
                    <a:pt x="14072" y="4509"/>
                  </a:moveTo>
                  <a:cubicBezTo>
                    <a:pt x="14089" y="4541"/>
                    <a:pt x="14089" y="4541"/>
                    <a:pt x="14089" y="4541"/>
                  </a:cubicBezTo>
                  <a:cubicBezTo>
                    <a:pt x="14132" y="4584"/>
                    <a:pt x="14132" y="4584"/>
                    <a:pt x="14132" y="4584"/>
                  </a:cubicBezTo>
                  <a:cubicBezTo>
                    <a:pt x="14130" y="4533"/>
                    <a:pt x="14130" y="4533"/>
                    <a:pt x="14130" y="4533"/>
                  </a:cubicBezTo>
                  <a:cubicBezTo>
                    <a:pt x="14089" y="4486"/>
                    <a:pt x="14089" y="4486"/>
                    <a:pt x="14089" y="4486"/>
                  </a:cubicBezTo>
                  <a:cubicBezTo>
                    <a:pt x="14089" y="4486"/>
                    <a:pt x="14085" y="4461"/>
                    <a:pt x="14066" y="4469"/>
                  </a:cubicBezTo>
                  <a:cubicBezTo>
                    <a:pt x="14055" y="4474"/>
                    <a:pt x="14061" y="4490"/>
                    <a:pt x="14061" y="4490"/>
                  </a:cubicBezTo>
                  <a:lnTo>
                    <a:pt x="14072" y="4509"/>
                  </a:lnTo>
                  <a:close/>
                  <a:moveTo>
                    <a:pt x="14665" y="6212"/>
                  </a:moveTo>
                  <a:cubicBezTo>
                    <a:pt x="14657" y="6204"/>
                    <a:pt x="14647" y="6222"/>
                    <a:pt x="14647" y="6222"/>
                  </a:cubicBezTo>
                  <a:cubicBezTo>
                    <a:pt x="14647" y="6222"/>
                    <a:pt x="14641" y="6222"/>
                    <a:pt x="14632" y="6220"/>
                  </a:cubicBezTo>
                  <a:cubicBezTo>
                    <a:pt x="14624" y="6217"/>
                    <a:pt x="14606" y="6231"/>
                    <a:pt x="14594" y="6228"/>
                  </a:cubicBezTo>
                  <a:cubicBezTo>
                    <a:pt x="14582" y="6225"/>
                    <a:pt x="14587" y="6181"/>
                    <a:pt x="14587" y="6181"/>
                  </a:cubicBezTo>
                  <a:cubicBezTo>
                    <a:pt x="14603" y="6156"/>
                    <a:pt x="14603" y="6156"/>
                    <a:pt x="14603" y="6156"/>
                  </a:cubicBezTo>
                  <a:cubicBezTo>
                    <a:pt x="14603" y="6156"/>
                    <a:pt x="14603" y="6138"/>
                    <a:pt x="14593" y="6139"/>
                  </a:cubicBezTo>
                  <a:cubicBezTo>
                    <a:pt x="14582" y="6139"/>
                    <a:pt x="14582" y="6155"/>
                    <a:pt x="14582" y="6165"/>
                  </a:cubicBezTo>
                  <a:cubicBezTo>
                    <a:pt x="14581" y="6174"/>
                    <a:pt x="14569" y="6182"/>
                    <a:pt x="14569" y="6182"/>
                  </a:cubicBezTo>
                  <a:cubicBezTo>
                    <a:pt x="14566" y="6162"/>
                    <a:pt x="14566" y="6162"/>
                    <a:pt x="14566" y="6162"/>
                  </a:cubicBezTo>
                  <a:cubicBezTo>
                    <a:pt x="14552" y="6149"/>
                    <a:pt x="14552" y="6149"/>
                    <a:pt x="14552" y="6149"/>
                  </a:cubicBezTo>
                  <a:cubicBezTo>
                    <a:pt x="14552" y="6149"/>
                    <a:pt x="14576" y="6118"/>
                    <a:pt x="14576" y="6098"/>
                  </a:cubicBezTo>
                  <a:cubicBezTo>
                    <a:pt x="14577" y="6078"/>
                    <a:pt x="14543" y="6077"/>
                    <a:pt x="14543" y="6077"/>
                  </a:cubicBezTo>
                  <a:cubicBezTo>
                    <a:pt x="14546" y="6063"/>
                    <a:pt x="14546" y="6063"/>
                    <a:pt x="14546" y="6063"/>
                  </a:cubicBezTo>
                  <a:cubicBezTo>
                    <a:pt x="14533" y="6061"/>
                    <a:pt x="14533" y="6061"/>
                    <a:pt x="14533" y="6061"/>
                  </a:cubicBezTo>
                  <a:cubicBezTo>
                    <a:pt x="14518" y="6047"/>
                    <a:pt x="14518" y="6047"/>
                    <a:pt x="14518" y="6047"/>
                  </a:cubicBezTo>
                  <a:cubicBezTo>
                    <a:pt x="14525" y="6036"/>
                    <a:pt x="14525" y="6036"/>
                    <a:pt x="14525" y="6036"/>
                  </a:cubicBezTo>
                  <a:cubicBezTo>
                    <a:pt x="14505" y="6048"/>
                    <a:pt x="14505" y="6048"/>
                    <a:pt x="14505" y="6048"/>
                  </a:cubicBezTo>
                  <a:cubicBezTo>
                    <a:pt x="14518" y="6071"/>
                    <a:pt x="14518" y="6071"/>
                    <a:pt x="14518" y="6071"/>
                  </a:cubicBezTo>
                  <a:cubicBezTo>
                    <a:pt x="14512" y="6096"/>
                    <a:pt x="14512" y="6096"/>
                    <a:pt x="14512" y="6096"/>
                  </a:cubicBezTo>
                  <a:cubicBezTo>
                    <a:pt x="14527" y="6102"/>
                    <a:pt x="14527" y="6102"/>
                    <a:pt x="14527" y="6102"/>
                  </a:cubicBezTo>
                  <a:cubicBezTo>
                    <a:pt x="14518" y="6106"/>
                    <a:pt x="14518" y="6106"/>
                    <a:pt x="14518" y="6106"/>
                  </a:cubicBezTo>
                  <a:cubicBezTo>
                    <a:pt x="14522" y="6120"/>
                    <a:pt x="14522" y="6120"/>
                    <a:pt x="14522" y="6120"/>
                  </a:cubicBezTo>
                  <a:cubicBezTo>
                    <a:pt x="14538" y="6125"/>
                    <a:pt x="14538" y="6125"/>
                    <a:pt x="14538" y="6125"/>
                  </a:cubicBezTo>
                  <a:cubicBezTo>
                    <a:pt x="14522" y="6133"/>
                    <a:pt x="14522" y="6133"/>
                    <a:pt x="14522" y="6133"/>
                  </a:cubicBezTo>
                  <a:cubicBezTo>
                    <a:pt x="14531" y="6138"/>
                    <a:pt x="14531" y="6138"/>
                    <a:pt x="14531" y="6138"/>
                  </a:cubicBezTo>
                  <a:cubicBezTo>
                    <a:pt x="14531" y="6138"/>
                    <a:pt x="14528" y="6152"/>
                    <a:pt x="14528" y="6158"/>
                  </a:cubicBezTo>
                  <a:cubicBezTo>
                    <a:pt x="14528" y="6165"/>
                    <a:pt x="14541" y="6172"/>
                    <a:pt x="14541" y="6172"/>
                  </a:cubicBezTo>
                  <a:cubicBezTo>
                    <a:pt x="14528" y="6174"/>
                    <a:pt x="14528" y="6174"/>
                    <a:pt x="14528" y="6174"/>
                  </a:cubicBezTo>
                  <a:cubicBezTo>
                    <a:pt x="14520" y="6184"/>
                    <a:pt x="14520" y="6184"/>
                    <a:pt x="14520" y="6184"/>
                  </a:cubicBezTo>
                  <a:cubicBezTo>
                    <a:pt x="14531" y="6190"/>
                    <a:pt x="14531" y="6190"/>
                    <a:pt x="14531" y="6190"/>
                  </a:cubicBezTo>
                  <a:cubicBezTo>
                    <a:pt x="14531" y="6190"/>
                    <a:pt x="14510" y="6210"/>
                    <a:pt x="14508" y="6221"/>
                  </a:cubicBezTo>
                  <a:cubicBezTo>
                    <a:pt x="14507" y="6232"/>
                    <a:pt x="14517" y="6235"/>
                    <a:pt x="14517" y="6235"/>
                  </a:cubicBezTo>
                  <a:cubicBezTo>
                    <a:pt x="14517" y="6235"/>
                    <a:pt x="14495" y="6239"/>
                    <a:pt x="14482" y="6245"/>
                  </a:cubicBezTo>
                  <a:cubicBezTo>
                    <a:pt x="14469" y="6250"/>
                    <a:pt x="14472" y="6253"/>
                    <a:pt x="14456" y="6265"/>
                  </a:cubicBezTo>
                  <a:cubicBezTo>
                    <a:pt x="14439" y="6278"/>
                    <a:pt x="14425" y="6279"/>
                    <a:pt x="14404" y="6291"/>
                  </a:cubicBezTo>
                  <a:cubicBezTo>
                    <a:pt x="14383" y="6304"/>
                    <a:pt x="14402" y="6338"/>
                    <a:pt x="14402" y="6338"/>
                  </a:cubicBezTo>
                  <a:cubicBezTo>
                    <a:pt x="14402" y="6338"/>
                    <a:pt x="14425" y="6336"/>
                    <a:pt x="14435" y="6338"/>
                  </a:cubicBezTo>
                  <a:cubicBezTo>
                    <a:pt x="14445" y="6340"/>
                    <a:pt x="14435" y="6359"/>
                    <a:pt x="14435" y="6374"/>
                  </a:cubicBezTo>
                  <a:cubicBezTo>
                    <a:pt x="14436" y="6390"/>
                    <a:pt x="14419" y="6389"/>
                    <a:pt x="14402" y="6395"/>
                  </a:cubicBezTo>
                  <a:cubicBezTo>
                    <a:pt x="14385" y="6401"/>
                    <a:pt x="14393" y="6406"/>
                    <a:pt x="14393" y="6406"/>
                  </a:cubicBezTo>
                  <a:cubicBezTo>
                    <a:pt x="14383" y="6417"/>
                    <a:pt x="14383" y="6417"/>
                    <a:pt x="14383" y="6417"/>
                  </a:cubicBezTo>
                  <a:cubicBezTo>
                    <a:pt x="14383" y="6417"/>
                    <a:pt x="14401" y="6430"/>
                    <a:pt x="14415" y="6426"/>
                  </a:cubicBezTo>
                  <a:cubicBezTo>
                    <a:pt x="14428" y="6421"/>
                    <a:pt x="14459" y="6387"/>
                    <a:pt x="14470" y="6376"/>
                  </a:cubicBezTo>
                  <a:cubicBezTo>
                    <a:pt x="14481" y="6365"/>
                    <a:pt x="14508" y="6357"/>
                    <a:pt x="14513" y="6357"/>
                  </a:cubicBezTo>
                  <a:cubicBezTo>
                    <a:pt x="14518" y="6356"/>
                    <a:pt x="14523" y="6344"/>
                    <a:pt x="14523" y="6344"/>
                  </a:cubicBezTo>
                  <a:cubicBezTo>
                    <a:pt x="14523" y="6344"/>
                    <a:pt x="14530" y="6341"/>
                    <a:pt x="14541" y="6337"/>
                  </a:cubicBezTo>
                  <a:cubicBezTo>
                    <a:pt x="14552" y="6332"/>
                    <a:pt x="14541" y="6313"/>
                    <a:pt x="14541" y="6313"/>
                  </a:cubicBezTo>
                  <a:cubicBezTo>
                    <a:pt x="14541" y="6313"/>
                    <a:pt x="14551" y="6305"/>
                    <a:pt x="14564" y="6299"/>
                  </a:cubicBezTo>
                  <a:cubicBezTo>
                    <a:pt x="14578" y="6293"/>
                    <a:pt x="14588" y="6305"/>
                    <a:pt x="14600" y="6302"/>
                  </a:cubicBezTo>
                  <a:cubicBezTo>
                    <a:pt x="14612" y="6300"/>
                    <a:pt x="14608" y="6276"/>
                    <a:pt x="14608" y="6276"/>
                  </a:cubicBezTo>
                  <a:cubicBezTo>
                    <a:pt x="14608" y="6276"/>
                    <a:pt x="14619" y="6273"/>
                    <a:pt x="14631" y="6272"/>
                  </a:cubicBezTo>
                  <a:cubicBezTo>
                    <a:pt x="14642" y="6271"/>
                    <a:pt x="14634" y="6257"/>
                    <a:pt x="14641" y="6251"/>
                  </a:cubicBezTo>
                  <a:cubicBezTo>
                    <a:pt x="14649" y="6246"/>
                    <a:pt x="14657" y="6249"/>
                    <a:pt x="14667" y="6241"/>
                  </a:cubicBezTo>
                  <a:cubicBezTo>
                    <a:pt x="14677" y="6233"/>
                    <a:pt x="14673" y="6219"/>
                    <a:pt x="14665" y="6212"/>
                  </a:cubicBezTo>
                  <a:close/>
                  <a:moveTo>
                    <a:pt x="13733" y="4291"/>
                  </a:moveTo>
                  <a:cubicBezTo>
                    <a:pt x="13720" y="4284"/>
                    <a:pt x="13698" y="4303"/>
                    <a:pt x="13698" y="4303"/>
                  </a:cubicBezTo>
                  <a:cubicBezTo>
                    <a:pt x="13717" y="4315"/>
                    <a:pt x="13717" y="4315"/>
                    <a:pt x="13717" y="4315"/>
                  </a:cubicBezTo>
                  <a:cubicBezTo>
                    <a:pt x="13735" y="4319"/>
                    <a:pt x="13746" y="4298"/>
                    <a:pt x="13733" y="4291"/>
                  </a:cubicBezTo>
                  <a:close/>
                  <a:moveTo>
                    <a:pt x="14204" y="4676"/>
                  </a:moveTo>
                  <a:cubicBezTo>
                    <a:pt x="14229" y="4673"/>
                    <a:pt x="14229" y="4673"/>
                    <a:pt x="14229" y="4673"/>
                  </a:cubicBezTo>
                  <a:cubicBezTo>
                    <a:pt x="14197" y="4653"/>
                    <a:pt x="14197" y="4653"/>
                    <a:pt x="14197" y="4653"/>
                  </a:cubicBezTo>
                  <a:lnTo>
                    <a:pt x="14204" y="4676"/>
                  </a:lnTo>
                  <a:close/>
                  <a:moveTo>
                    <a:pt x="13947" y="4386"/>
                  </a:moveTo>
                  <a:cubicBezTo>
                    <a:pt x="13953" y="4391"/>
                    <a:pt x="13973" y="4393"/>
                    <a:pt x="13978" y="4406"/>
                  </a:cubicBezTo>
                  <a:cubicBezTo>
                    <a:pt x="13982" y="4419"/>
                    <a:pt x="13964" y="4463"/>
                    <a:pt x="13991" y="4465"/>
                  </a:cubicBezTo>
                  <a:cubicBezTo>
                    <a:pt x="14006" y="4466"/>
                    <a:pt x="14014" y="4434"/>
                    <a:pt x="14001" y="4415"/>
                  </a:cubicBezTo>
                  <a:cubicBezTo>
                    <a:pt x="13988" y="4396"/>
                    <a:pt x="13966" y="4378"/>
                    <a:pt x="13966" y="4378"/>
                  </a:cubicBezTo>
                  <a:cubicBezTo>
                    <a:pt x="13957" y="4378"/>
                    <a:pt x="13957" y="4378"/>
                    <a:pt x="13957" y="4378"/>
                  </a:cubicBezTo>
                  <a:cubicBezTo>
                    <a:pt x="13957" y="4378"/>
                    <a:pt x="13926" y="4344"/>
                    <a:pt x="13922" y="4342"/>
                  </a:cubicBezTo>
                  <a:cubicBezTo>
                    <a:pt x="13918" y="4339"/>
                    <a:pt x="13910" y="4339"/>
                    <a:pt x="13910" y="4339"/>
                  </a:cubicBezTo>
                  <a:cubicBezTo>
                    <a:pt x="13896" y="4315"/>
                    <a:pt x="13896" y="4315"/>
                    <a:pt x="13896" y="4315"/>
                  </a:cubicBezTo>
                  <a:cubicBezTo>
                    <a:pt x="13888" y="4347"/>
                    <a:pt x="13888" y="4347"/>
                    <a:pt x="13888" y="4347"/>
                  </a:cubicBezTo>
                  <a:cubicBezTo>
                    <a:pt x="13918" y="4353"/>
                    <a:pt x="13918" y="4353"/>
                    <a:pt x="13918" y="4353"/>
                  </a:cubicBezTo>
                  <a:cubicBezTo>
                    <a:pt x="13918" y="4353"/>
                    <a:pt x="13941" y="4380"/>
                    <a:pt x="13947" y="4386"/>
                  </a:cubicBezTo>
                  <a:close/>
                  <a:moveTo>
                    <a:pt x="13865" y="4544"/>
                  </a:moveTo>
                  <a:cubicBezTo>
                    <a:pt x="13876" y="4535"/>
                    <a:pt x="13876" y="4535"/>
                    <a:pt x="13876" y="4535"/>
                  </a:cubicBezTo>
                  <a:cubicBezTo>
                    <a:pt x="13876" y="4535"/>
                    <a:pt x="13888" y="4535"/>
                    <a:pt x="13901" y="4534"/>
                  </a:cubicBezTo>
                  <a:cubicBezTo>
                    <a:pt x="13915" y="4532"/>
                    <a:pt x="13925" y="4512"/>
                    <a:pt x="13925" y="4512"/>
                  </a:cubicBezTo>
                  <a:cubicBezTo>
                    <a:pt x="13944" y="4507"/>
                    <a:pt x="13944" y="4507"/>
                    <a:pt x="13944" y="4507"/>
                  </a:cubicBezTo>
                  <a:cubicBezTo>
                    <a:pt x="13938" y="4490"/>
                    <a:pt x="13938" y="4490"/>
                    <a:pt x="13938" y="4490"/>
                  </a:cubicBezTo>
                  <a:cubicBezTo>
                    <a:pt x="13956" y="4493"/>
                    <a:pt x="13956" y="4493"/>
                    <a:pt x="13956" y="4493"/>
                  </a:cubicBezTo>
                  <a:cubicBezTo>
                    <a:pt x="13956" y="4493"/>
                    <a:pt x="13964" y="4441"/>
                    <a:pt x="13957" y="4424"/>
                  </a:cubicBezTo>
                  <a:cubicBezTo>
                    <a:pt x="13950" y="4406"/>
                    <a:pt x="13919" y="4425"/>
                    <a:pt x="13910" y="4434"/>
                  </a:cubicBezTo>
                  <a:cubicBezTo>
                    <a:pt x="13901" y="4443"/>
                    <a:pt x="13923" y="4455"/>
                    <a:pt x="13923" y="4455"/>
                  </a:cubicBezTo>
                  <a:cubicBezTo>
                    <a:pt x="13925" y="4468"/>
                    <a:pt x="13925" y="4468"/>
                    <a:pt x="13925" y="4468"/>
                  </a:cubicBezTo>
                  <a:cubicBezTo>
                    <a:pt x="13878" y="4493"/>
                    <a:pt x="13878" y="4493"/>
                    <a:pt x="13878" y="4493"/>
                  </a:cubicBezTo>
                  <a:cubicBezTo>
                    <a:pt x="13878" y="4493"/>
                    <a:pt x="13854" y="4491"/>
                    <a:pt x="13838" y="4494"/>
                  </a:cubicBezTo>
                  <a:cubicBezTo>
                    <a:pt x="13822" y="4497"/>
                    <a:pt x="13816" y="4506"/>
                    <a:pt x="13806" y="4512"/>
                  </a:cubicBezTo>
                  <a:cubicBezTo>
                    <a:pt x="13796" y="4518"/>
                    <a:pt x="13790" y="4506"/>
                    <a:pt x="13784" y="4518"/>
                  </a:cubicBezTo>
                  <a:cubicBezTo>
                    <a:pt x="13800" y="4541"/>
                    <a:pt x="13800" y="4541"/>
                    <a:pt x="13800" y="4541"/>
                  </a:cubicBezTo>
                  <a:lnTo>
                    <a:pt x="13865" y="4544"/>
                  </a:lnTo>
                  <a:close/>
                  <a:moveTo>
                    <a:pt x="12118" y="4562"/>
                  </a:moveTo>
                  <a:cubicBezTo>
                    <a:pt x="12113" y="4587"/>
                    <a:pt x="12134" y="4581"/>
                    <a:pt x="12134" y="4581"/>
                  </a:cubicBezTo>
                  <a:cubicBezTo>
                    <a:pt x="12172" y="4554"/>
                    <a:pt x="12172" y="4554"/>
                    <a:pt x="12172" y="4554"/>
                  </a:cubicBezTo>
                  <a:cubicBezTo>
                    <a:pt x="12169" y="4548"/>
                    <a:pt x="12169" y="4548"/>
                    <a:pt x="12169" y="4548"/>
                  </a:cubicBezTo>
                  <a:cubicBezTo>
                    <a:pt x="12169" y="4548"/>
                    <a:pt x="12119" y="4552"/>
                    <a:pt x="12118" y="4562"/>
                  </a:cubicBezTo>
                  <a:close/>
                  <a:moveTo>
                    <a:pt x="14218" y="4641"/>
                  </a:moveTo>
                  <a:cubicBezTo>
                    <a:pt x="14216" y="4631"/>
                    <a:pt x="14216" y="4631"/>
                    <a:pt x="14216" y="4631"/>
                  </a:cubicBezTo>
                  <a:cubicBezTo>
                    <a:pt x="14190" y="4631"/>
                    <a:pt x="14190" y="4631"/>
                    <a:pt x="14190" y="4631"/>
                  </a:cubicBezTo>
                  <a:cubicBezTo>
                    <a:pt x="14191" y="4647"/>
                    <a:pt x="14191" y="4647"/>
                    <a:pt x="14191" y="4647"/>
                  </a:cubicBezTo>
                  <a:lnTo>
                    <a:pt x="14218" y="4641"/>
                  </a:lnTo>
                  <a:close/>
                  <a:moveTo>
                    <a:pt x="14303" y="4652"/>
                  </a:moveTo>
                  <a:cubicBezTo>
                    <a:pt x="14319" y="4650"/>
                    <a:pt x="14251" y="4580"/>
                    <a:pt x="14246" y="4591"/>
                  </a:cubicBezTo>
                  <a:cubicBezTo>
                    <a:pt x="14240" y="4601"/>
                    <a:pt x="14295" y="4654"/>
                    <a:pt x="14303" y="4652"/>
                  </a:cubicBezTo>
                  <a:close/>
                  <a:moveTo>
                    <a:pt x="14412" y="4765"/>
                  </a:moveTo>
                  <a:cubicBezTo>
                    <a:pt x="14370" y="4743"/>
                    <a:pt x="14370" y="4743"/>
                    <a:pt x="14370" y="4743"/>
                  </a:cubicBezTo>
                  <a:cubicBezTo>
                    <a:pt x="14403" y="4785"/>
                    <a:pt x="14403" y="4785"/>
                    <a:pt x="14403" y="4785"/>
                  </a:cubicBezTo>
                  <a:lnTo>
                    <a:pt x="14412" y="4765"/>
                  </a:lnTo>
                  <a:close/>
                  <a:moveTo>
                    <a:pt x="14293" y="4692"/>
                  </a:moveTo>
                  <a:cubicBezTo>
                    <a:pt x="14293" y="4692"/>
                    <a:pt x="14289" y="4711"/>
                    <a:pt x="14307" y="4719"/>
                  </a:cubicBezTo>
                  <a:cubicBezTo>
                    <a:pt x="14333" y="4730"/>
                    <a:pt x="14348" y="4722"/>
                    <a:pt x="14348" y="4722"/>
                  </a:cubicBezTo>
                  <a:cubicBezTo>
                    <a:pt x="14348" y="4722"/>
                    <a:pt x="14347" y="4710"/>
                    <a:pt x="14328" y="4699"/>
                  </a:cubicBezTo>
                  <a:cubicBezTo>
                    <a:pt x="14310" y="4689"/>
                    <a:pt x="14293" y="4692"/>
                    <a:pt x="14293" y="4692"/>
                  </a:cubicBezTo>
                  <a:close/>
                  <a:moveTo>
                    <a:pt x="12286" y="4345"/>
                  </a:moveTo>
                  <a:cubicBezTo>
                    <a:pt x="12291" y="4338"/>
                    <a:pt x="12310" y="4288"/>
                    <a:pt x="12310" y="4288"/>
                  </a:cubicBezTo>
                  <a:cubicBezTo>
                    <a:pt x="12310" y="4288"/>
                    <a:pt x="12292" y="4286"/>
                    <a:pt x="12289" y="4273"/>
                  </a:cubicBezTo>
                  <a:cubicBezTo>
                    <a:pt x="12286" y="4261"/>
                    <a:pt x="12292" y="4246"/>
                    <a:pt x="12297" y="4233"/>
                  </a:cubicBezTo>
                  <a:cubicBezTo>
                    <a:pt x="12303" y="4219"/>
                    <a:pt x="12325" y="4221"/>
                    <a:pt x="12338" y="4219"/>
                  </a:cubicBezTo>
                  <a:cubicBezTo>
                    <a:pt x="12350" y="4218"/>
                    <a:pt x="12357" y="4194"/>
                    <a:pt x="12356" y="4186"/>
                  </a:cubicBezTo>
                  <a:cubicBezTo>
                    <a:pt x="12354" y="4178"/>
                    <a:pt x="12334" y="4186"/>
                    <a:pt x="12334" y="4186"/>
                  </a:cubicBezTo>
                  <a:cubicBezTo>
                    <a:pt x="12334" y="4186"/>
                    <a:pt x="12331" y="4173"/>
                    <a:pt x="12343" y="4160"/>
                  </a:cubicBezTo>
                  <a:cubicBezTo>
                    <a:pt x="12356" y="4149"/>
                    <a:pt x="12383" y="4154"/>
                    <a:pt x="12394" y="4156"/>
                  </a:cubicBezTo>
                  <a:cubicBezTo>
                    <a:pt x="12405" y="4159"/>
                    <a:pt x="12405" y="4142"/>
                    <a:pt x="12405" y="4142"/>
                  </a:cubicBezTo>
                  <a:cubicBezTo>
                    <a:pt x="12379" y="4120"/>
                    <a:pt x="12379" y="4120"/>
                    <a:pt x="12379" y="4120"/>
                  </a:cubicBezTo>
                  <a:cubicBezTo>
                    <a:pt x="12379" y="4093"/>
                    <a:pt x="12379" y="4093"/>
                    <a:pt x="12379" y="4093"/>
                  </a:cubicBezTo>
                  <a:cubicBezTo>
                    <a:pt x="12379" y="4093"/>
                    <a:pt x="12360" y="4092"/>
                    <a:pt x="12360" y="4084"/>
                  </a:cubicBezTo>
                  <a:cubicBezTo>
                    <a:pt x="12360" y="4076"/>
                    <a:pt x="12372" y="4064"/>
                    <a:pt x="12371" y="4053"/>
                  </a:cubicBezTo>
                  <a:cubicBezTo>
                    <a:pt x="12370" y="4041"/>
                    <a:pt x="12337" y="4038"/>
                    <a:pt x="12337" y="4038"/>
                  </a:cubicBezTo>
                  <a:cubicBezTo>
                    <a:pt x="12348" y="4020"/>
                    <a:pt x="12348" y="4020"/>
                    <a:pt x="12348" y="4020"/>
                  </a:cubicBezTo>
                  <a:cubicBezTo>
                    <a:pt x="12337" y="4015"/>
                    <a:pt x="12337" y="4015"/>
                    <a:pt x="12337" y="4015"/>
                  </a:cubicBezTo>
                  <a:cubicBezTo>
                    <a:pt x="12341" y="3995"/>
                    <a:pt x="12341" y="3995"/>
                    <a:pt x="12341" y="3995"/>
                  </a:cubicBezTo>
                  <a:cubicBezTo>
                    <a:pt x="12333" y="3984"/>
                    <a:pt x="12333" y="3984"/>
                    <a:pt x="12333" y="3984"/>
                  </a:cubicBezTo>
                  <a:cubicBezTo>
                    <a:pt x="12333" y="3984"/>
                    <a:pt x="12333" y="3984"/>
                    <a:pt x="12333" y="3984"/>
                  </a:cubicBezTo>
                  <a:cubicBezTo>
                    <a:pt x="12332" y="3983"/>
                    <a:pt x="12332" y="3983"/>
                    <a:pt x="12332" y="3983"/>
                  </a:cubicBezTo>
                  <a:cubicBezTo>
                    <a:pt x="12345" y="3980"/>
                    <a:pt x="12345" y="3980"/>
                    <a:pt x="12345" y="3980"/>
                  </a:cubicBezTo>
                  <a:cubicBezTo>
                    <a:pt x="12336" y="3938"/>
                    <a:pt x="12336" y="3938"/>
                    <a:pt x="12336" y="3938"/>
                  </a:cubicBezTo>
                  <a:cubicBezTo>
                    <a:pt x="12336" y="3938"/>
                    <a:pt x="12351" y="3954"/>
                    <a:pt x="12360" y="3956"/>
                  </a:cubicBezTo>
                  <a:cubicBezTo>
                    <a:pt x="12370" y="3957"/>
                    <a:pt x="12385" y="3954"/>
                    <a:pt x="12385" y="3954"/>
                  </a:cubicBezTo>
                  <a:cubicBezTo>
                    <a:pt x="12385" y="3954"/>
                    <a:pt x="12360" y="3930"/>
                    <a:pt x="12366" y="3920"/>
                  </a:cubicBezTo>
                  <a:cubicBezTo>
                    <a:pt x="12371" y="3909"/>
                    <a:pt x="12402" y="3925"/>
                    <a:pt x="12402" y="3925"/>
                  </a:cubicBezTo>
                  <a:cubicBezTo>
                    <a:pt x="12419" y="3905"/>
                    <a:pt x="12419" y="3905"/>
                    <a:pt x="12419" y="3905"/>
                  </a:cubicBezTo>
                  <a:cubicBezTo>
                    <a:pt x="12402" y="3899"/>
                    <a:pt x="12402" y="3899"/>
                    <a:pt x="12402" y="3899"/>
                  </a:cubicBezTo>
                  <a:cubicBezTo>
                    <a:pt x="12402" y="3899"/>
                    <a:pt x="12399" y="3887"/>
                    <a:pt x="12391" y="3882"/>
                  </a:cubicBezTo>
                  <a:cubicBezTo>
                    <a:pt x="12383" y="3876"/>
                    <a:pt x="12351" y="3871"/>
                    <a:pt x="12351" y="3871"/>
                  </a:cubicBezTo>
                  <a:cubicBezTo>
                    <a:pt x="12351" y="3871"/>
                    <a:pt x="12350" y="3852"/>
                    <a:pt x="12338" y="3840"/>
                  </a:cubicBezTo>
                  <a:cubicBezTo>
                    <a:pt x="12325" y="3827"/>
                    <a:pt x="12312" y="3836"/>
                    <a:pt x="12312" y="3836"/>
                  </a:cubicBezTo>
                  <a:cubicBezTo>
                    <a:pt x="12301" y="3795"/>
                    <a:pt x="12301" y="3795"/>
                    <a:pt x="12301" y="3795"/>
                  </a:cubicBezTo>
                  <a:cubicBezTo>
                    <a:pt x="12297" y="3808"/>
                    <a:pt x="12297" y="3808"/>
                    <a:pt x="12297" y="3808"/>
                  </a:cubicBezTo>
                  <a:cubicBezTo>
                    <a:pt x="12287" y="3794"/>
                    <a:pt x="12287" y="3794"/>
                    <a:pt x="12287" y="3794"/>
                  </a:cubicBezTo>
                  <a:cubicBezTo>
                    <a:pt x="12281" y="3835"/>
                    <a:pt x="12281" y="3835"/>
                    <a:pt x="12281" y="3835"/>
                  </a:cubicBezTo>
                  <a:cubicBezTo>
                    <a:pt x="12281" y="3835"/>
                    <a:pt x="12266" y="3839"/>
                    <a:pt x="12259" y="3844"/>
                  </a:cubicBezTo>
                  <a:cubicBezTo>
                    <a:pt x="12252" y="3849"/>
                    <a:pt x="12251" y="3871"/>
                    <a:pt x="12251" y="3871"/>
                  </a:cubicBezTo>
                  <a:cubicBezTo>
                    <a:pt x="12234" y="3877"/>
                    <a:pt x="12234" y="3877"/>
                    <a:pt x="12234" y="3877"/>
                  </a:cubicBezTo>
                  <a:cubicBezTo>
                    <a:pt x="12241" y="3901"/>
                    <a:pt x="12241" y="3901"/>
                    <a:pt x="12241" y="3901"/>
                  </a:cubicBezTo>
                  <a:cubicBezTo>
                    <a:pt x="12241" y="3901"/>
                    <a:pt x="12217" y="3898"/>
                    <a:pt x="12201" y="3895"/>
                  </a:cubicBezTo>
                  <a:cubicBezTo>
                    <a:pt x="12186" y="3891"/>
                    <a:pt x="12185" y="3930"/>
                    <a:pt x="12185" y="3930"/>
                  </a:cubicBezTo>
                  <a:cubicBezTo>
                    <a:pt x="12158" y="3960"/>
                    <a:pt x="12158" y="3960"/>
                    <a:pt x="12158" y="3960"/>
                  </a:cubicBezTo>
                  <a:cubicBezTo>
                    <a:pt x="12158" y="3960"/>
                    <a:pt x="12150" y="3995"/>
                    <a:pt x="12134" y="4007"/>
                  </a:cubicBezTo>
                  <a:cubicBezTo>
                    <a:pt x="12118" y="4018"/>
                    <a:pt x="12077" y="4026"/>
                    <a:pt x="12068" y="4029"/>
                  </a:cubicBezTo>
                  <a:cubicBezTo>
                    <a:pt x="12059" y="4031"/>
                    <a:pt x="12027" y="4056"/>
                    <a:pt x="12027" y="4056"/>
                  </a:cubicBezTo>
                  <a:cubicBezTo>
                    <a:pt x="12018" y="4079"/>
                    <a:pt x="12018" y="4079"/>
                    <a:pt x="12018" y="4079"/>
                  </a:cubicBezTo>
                  <a:cubicBezTo>
                    <a:pt x="12018" y="4079"/>
                    <a:pt x="12042" y="4097"/>
                    <a:pt x="12023" y="4111"/>
                  </a:cubicBezTo>
                  <a:cubicBezTo>
                    <a:pt x="12005" y="4125"/>
                    <a:pt x="11992" y="4102"/>
                    <a:pt x="11981" y="4099"/>
                  </a:cubicBezTo>
                  <a:cubicBezTo>
                    <a:pt x="11971" y="4097"/>
                    <a:pt x="11958" y="4116"/>
                    <a:pt x="11958" y="4116"/>
                  </a:cubicBezTo>
                  <a:cubicBezTo>
                    <a:pt x="11958" y="4116"/>
                    <a:pt x="11939" y="4098"/>
                    <a:pt x="11926" y="4112"/>
                  </a:cubicBezTo>
                  <a:cubicBezTo>
                    <a:pt x="11912" y="4127"/>
                    <a:pt x="11905" y="4163"/>
                    <a:pt x="11905" y="4163"/>
                  </a:cubicBezTo>
                  <a:cubicBezTo>
                    <a:pt x="11921" y="4185"/>
                    <a:pt x="11921" y="4185"/>
                    <a:pt x="11921" y="4185"/>
                  </a:cubicBezTo>
                  <a:cubicBezTo>
                    <a:pt x="11928" y="4220"/>
                    <a:pt x="11928" y="4220"/>
                    <a:pt x="11928" y="4220"/>
                  </a:cubicBezTo>
                  <a:cubicBezTo>
                    <a:pt x="11959" y="4238"/>
                    <a:pt x="11959" y="4238"/>
                    <a:pt x="11959" y="4238"/>
                  </a:cubicBezTo>
                  <a:cubicBezTo>
                    <a:pt x="11954" y="4262"/>
                    <a:pt x="11954" y="4262"/>
                    <a:pt x="11954" y="4262"/>
                  </a:cubicBezTo>
                  <a:cubicBezTo>
                    <a:pt x="11971" y="4273"/>
                    <a:pt x="11971" y="4273"/>
                    <a:pt x="11971" y="4273"/>
                  </a:cubicBezTo>
                  <a:cubicBezTo>
                    <a:pt x="11960" y="4292"/>
                    <a:pt x="11960" y="4292"/>
                    <a:pt x="11960" y="4292"/>
                  </a:cubicBezTo>
                  <a:cubicBezTo>
                    <a:pt x="11973" y="4310"/>
                    <a:pt x="11973" y="4310"/>
                    <a:pt x="11973" y="4310"/>
                  </a:cubicBezTo>
                  <a:cubicBezTo>
                    <a:pt x="11962" y="4317"/>
                    <a:pt x="11962" y="4317"/>
                    <a:pt x="11962" y="4317"/>
                  </a:cubicBezTo>
                  <a:cubicBezTo>
                    <a:pt x="11972" y="4355"/>
                    <a:pt x="11972" y="4355"/>
                    <a:pt x="11972" y="4355"/>
                  </a:cubicBezTo>
                  <a:cubicBezTo>
                    <a:pt x="12000" y="4351"/>
                    <a:pt x="12000" y="4351"/>
                    <a:pt x="12000" y="4351"/>
                  </a:cubicBezTo>
                  <a:cubicBezTo>
                    <a:pt x="12020" y="4358"/>
                    <a:pt x="12020" y="4358"/>
                    <a:pt x="12020" y="4358"/>
                  </a:cubicBezTo>
                  <a:cubicBezTo>
                    <a:pt x="12020" y="4358"/>
                    <a:pt x="12032" y="4336"/>
                    <a:pt x="12044" y="4336"/>
                  </a:cubicBezTo>
                  <a:cubicBezTo>
                    <a:pt x="12056" y="4336"/>
                    <a:pt x="12044" y="4368"/>
                    <a:pt x="12056" y="4378"/>
                  </a:cubicBezTo>
                  <a:cubicBezTo>
                    <a:pt x="12067" y="4387"/>
                    <a:pt x="12077" y="4357"/>
                    <a:pt x="12077" y="4357"/>
                  </a:cubicBezTo>
                  <a:cubicBezTo>
                    <a:pt x="12095" y="4369"/>
                    <a:pt x="12095" y="4369"/>
                    <a:pt x="12095" y="4369"/>
                  </a:cubicBezTo>
                  <a:cubicBezTo>
                    <a:pt x="12095" y="4369"/>
                    <a:pt x="12111" y="4355"/>
                    <a:pt x="12120" y="4355"/>
                  </a:cubicBezTo>
                  <a:cubicBezTo>
                    <a:pt x="12129" y="4354"/>
                    <a:pt x="12123" y="4380"/>
                    <a:pt x="12133" y="4383"/>
                  </a:cubicBezTo>
                  <a:cubicBezTo>
                    <a:pt x="12143" y="4387"/>
                    <a:pt x="12174" y="4371"/>
                    <a:pt x="12190" y="4374"/>
                  </a:cubicBezTo>
                  <a:cubicBezTo>
                    <a:pt x="12206" y="4378"/>
                    <a:pt x="12191" y="4427"/>
                    <a:pt x="12191" y="4427"/>
                  </a:cubicBezTo>
                  <a:cubicBezTo>
                    <a:pt x="12191" y="4427"/>
                    <a:pt x="12205" y="4423"/>
                    <a:pt x="12221" y="4416"/>
                  </a:cubicBezTo>
                  <a:cubicBezTo>
                    <a:pt x="12237" y="4408"/>
                    <a:pt x="12259" y="4369"/>
                    <a:pt x="12259" y="4369"/>
                  </a:cubicBezTo>
                  <a:cubicBezTo>
                    <a:pt x="12259" y="4369"/>
                    <a:pt x="12280" y="4352"/>
                    <a:pt x="12286" y="4345"/>
                  </a:cubicBezTo>
                  <a:close/>
                  <a:moveTo>
                    <a:pt x="12956" y="4630"/>
                  </a:moveTo>
                  <a:cubicBezTo>
                    <a:pt x="12975" y="4615"/>
                    <a:pt x="12975" y="4615"/>
                    <a:pt x="12975" y="4615"/>
                  </a:cubicBezTo>
                  <a:cubicBezTo>
                    <a:pt x="12975" y="4615"/>
                    <a:pt x="12997" y="4623"/>
                    <a:pt x="12997" y="4601"/>
                  </a:cubicBezTo>
                  <a:cubicBezTo>
                    <a:pt x="12997" y="4579"/>
                    <a:pt x="12946" y="4605"/>
                    <a:pt x="12946" y="4624"/>
                  </a:cubicBezTo>
                  <a:lnTo>
                    <a:pt x="12956" y="4630"/>
                  </a:lnTo>
                  <a:close/>
                  <a:moveTo>
                    <a:pt x="12188" y="4632"/>
                  </a:moveTo>
                  <a:cubicBezTo>
                    <a:pt x="12185" y="4651"/>
                    <a:pt x="12185" y="4651"/>
                    <a:pt x="12185" y="4651"/>
                  </a:cubicBezTo>
                  <a:cubicBezTo>
                    <a:pt x="12185" y="4651"/>
                    <a:pt x="12195" y="4679"/>
                    <a:pt x="12208" y="4668"/>
                  </a:cubicBezTo>
                  <a:cubicBezTo>
                    <a:pt x="12221" y="4658"/>
                    <a:pt x="12224" y="4632"/>
                    <a:pt x="12214" y="4632"/>
                  </a:cubicBezTo>
                  <a:cubicBezTo>
                    <a:pt x="12204" y="4632"/>
                    <a:pt x="12188" y="4632"/>
                    <a:pt x="12188" y="4632"/>
                  </a:cubicBezTo>
                  <a:close/>
                  <a:moveTo>
                    <a:pt x="12905" y="4830"/>
                  </a:moveTo>
                  <a:cubicBezTo>
                    <a:pt x="12914" y="4840"/>
                    <a:pt x="12930" y="4808"/>
                    <a:pt x="12930" y="4808"/>
                  </a:cubicBezTo>
                  <a:cubicBezTo>
                    <a:pt x="12920" y="4794"/>
                    <a:pt x="12896" y="4819"/>
                    <a:pt x="12905" y="4830"/>
                  </a:cubicBezTo>
                  <a:close/>
                  <a:moveTo>
                    <a:pt x="12245" y="4630"/>
                  </a:moveTo>
                  <a:cubicBezTo>
                    <a:pt x="12235" y="4629"/>
                    <a:pt x="12229" y="4640"/>
                    <a:pt x="12229" y="4640"/>
                  </a:cubicBezTo>
                  <a:cubicBezTo>
                    <a:pt x="12229" y="4640"/>
                    <a:pt x="12246" y="4655"/>
                    <a:pt x="12257" y="4648"/>
                  </a:cubicBezTo>
                  <a:cubicBezTo>
                    <a:pt x="12267" y="4640"/>
                    <a:pt x="12255" y="4632"/>
                    <a:pt x="12245" y="4630"/>
                  </a:cubicBezTo>
                  <a:close/>
                  <a:moveTo>
                    <a:pt x="13136" y="4491"/>
                  </a:moveTo>
                  <a:cubicBezTo>
                    <a:pt x="13117" y="4495"/>
                    <a:pt x="13117" y="4495"/>
                    <a:pt x="13117" y="4495"/>
                  </a:cubicBezTo>
                  <a:cubicBezTo>
                    <a:pt x="13112" y="4516"/>
                    <a:pt x="13112" y="4516"/>
                    <a:pt x="13112" y="4516"/>
                  </a:cubicBezTo>
                  <a:cubicBezTo>
                    <a:pt x="13102" y="4526"/>
                    <a:pt x="13102" y="4526"/>
                    <a:pt x="13102" y="4526"/>
                  </a:cubicBezTo>
                  <a:cubicBezTo>
                    <a:pt x="13104" y="4561"/>
                    <a:pt x="13104" y="4561"/>
                    <a:pt x="13104" y="4561"/>
                  </a:cubicBezTo>
                  <a:cubicBezTo>
                    <a:pt x="13115" y="4564"/>
                    <a:pt x="13115" y="4564"/>
                    <a:pt x="13115" y="4564"/>
                  </a:cubicBezTo>
                  <a:cubicBezTo>
                    <a:pt x="13114" y="4551"/>
                    <a:pt x="13114" y="4551"/>
                    <a:pt x="13114" y="4551"/>
                  </a:cubicBezTo>
                  <a:cubicBezTo>
                    <a:pt x="13121" y="4548"/>
                    <a:pt x="13121" y="4548"/>
                    <a:pt x="13121" y="4548"/>
                  </a:cubicBezTo>
                  <a:cubicBezTo>
                    <a:pt x="13120" y="4533"/>
                    <a:pt x="13120" y="4533"/>
                    <a:pt x="13120" y="4533"/>
                  </a:cubicBezTo>
                  <a:cubicBezTo>
                    <a:pt x="13111" y="4533"/>
                    <a:pt x="13111" y="4533"/>
                    <a:pt x="13111" y="4533"/>
                  </a:cubicBezTo>
                  <a:cubicBezTo>
                    <a:pt x="13123" y="4513"/>
                    <a:pt x="13123" y="4513"/>
                    <a:pt x="13123" y="4513"/>
                  </a:cubicBezTo>
                  <a:lnTo>
                    <a:pt x="13136" y="4491"/>
                  </a:lnTo>
                  <a:close/>
                  <a:moveTo>
                    <a:pt x="14354" y="4634"/>
                  </a:moveTo>
                  <a:cubicBezTo>
                    <a:pt x="14354" y="4634"/>
                    <a:pt x="14343" y="4669"/>
                    <a:pt x="14349" y="4680"/>
                  </a:cubicBezTo>
                  <a:cubicBezTo>
                    <a:pt x="14356" y="4690"/>
                    <a:pt x="14383" y="4710"/>
                    <a:pt x="14383" y="4710"/>
                  </a:cubicBezTo>
                  <a:lnTo>
                    <a:pt x="14354" y="4634"/>
                  </a:lnTo>
                  <a:close/>
                  <a:moveTo>
                    <a:pt x="11730" y="4507"/>
                  </a:moveTo>
                  <a:cubicBezTo>
                    <a:pt x="11735" y="4502"/>
                    <a:pt x="11735" y="4487"/>
                    <a:pt x="11735" y="4487"/>
                  </a:cubicBezTo>
                  <a:cubicBezTo>
                    <a:pt x="11754" y="4505"/>
                    <a:pt x="11754" y="4505"/>
                    <a:pt x="11754" y="4505"/>
                  </a:cubicBezTo>
                  <a:cubicBezTo>
                    <a:pt x="11754" y="4505"/>
                    <a:pt x="11762" y="4482"/>
                    <a:pt x="11762" y="4466"/>
                  </a:cubicBezTo>
                  <a:cubicBezTo>
                    <a:pt x="11762" y="4450"/>
                    <a:pt x="11771" y="4406"/>
                    <a:pt x="11771" y="4406"/>
                  </a:cubicBezTo>
                  <a:cubicBezTo>
                    <a:pt x="11771" y="4406"/>
                    <a:pt x="11762" y="4401"/>
                    <a:pt x="11762" y="4391"/>
                  </a:cubicBezTo>
                  <a:cubicBezTo>
                    <a:pt x="11762" y="4382"/>
                    <a:pt x="11781" y="4367"/>
                    <a:pt x="11775" y="4362"/>
                  </a:cubicBezTo>
                  <a:cubicBezTo>
                    <a:pt x="11770" y="4357"/>
                    <a:pt x="11765" y="4353"/>
                    <a:pt x="11765" y="4353"/>
                  </a:cubicBezTo>
                  <a:cubicBezTo>
                    <a:pt x="11757" y="4322"/>
                    <a:pt x="11757" y="4322"/>
                    <a:pt x="11757" y="4322"/>
                  </a:cubicBezTo>
                  <a:cubicBezTo>
                    <a:pt x="11729" y="4323"/>
                    <a:pt x="11729" y="4323"/>
                    <a:pt x="11729" y="4323"/>
                  </a:cubicBezTo>
                  <a:cubicBezTo>
                    <a:pt x="11729" y="4323"/>
                    <a:pt x="11733" y="4305"/>
                    <a:pt x="11726" y="4301"/>
                  </a:cubicBezTo>
                  <a:cubicBezTo>
                    <a:pt x="11719" y="4297"/>
                    <a:pt x="11705" y="4298"/>
                    <a:pt x="11705" y="4298"/>
                  </a:cubicBezTo>
                  <a:cubicBezTo>
                    <a:pt x="11699" y="4251"/>
                    <a:pt x="11699" y="4251"/>
                    <a:pt x="11699" y="4251"/>
                  </a:cubicBezTo>
                  <a:cubicBezTo>
                    <a:pt x="11699" y="4251"/>
                    <a:pt x="11657" y="4255"/>
                    <a:pt x="11654" y="4242"/>
                  </a:cubicBezTo>
                  <a:cubicBezTo>
                    <a:pt x="11651" y="4229"/>
                    <a:pt x="11665" y="4213"/>
                    <a:pt x="11665" y="4213"/>
                  </a:cubicBezTo>
                  <a:cubicBezTo>
                    <a:pt x="11649" y="4211"/>
                    <a:pt x="11649" y="4211"/>
                    <a:pt x="11649" y="4211"/>
                  </a:cubicBezTo>
                  <a:cubicBezTo>
                    <a:pt x="11649" y="4211"/>
                    <a:pt x="11674" y="4182"/>
                    <a:pt x="11665" y="4174"/>
                  </a:cubicBezTo>
                  <a:cubicBezTo>
                    <a:pt x="11655" y="4166"/>
                    <a:pt x="11613" y="4185"/>
                    <a:pt x="11613" y="4185"/>
                  </a:cubicBezTo>
                  <a:cubicBezTo>
                    <a:pt x="11613" y="4185"/>
                    <a:pt x="11638" y="4161"/>
                    <a:pt x="11630" y="4157"/>
                  </a:cubicBezTo>
                  <a:cubicBezTo>
                    <a:pt x="11622" y="4153"/>
                    <a:pt x="11598" y="4149"/>
                    <a:pt x="11598" y="4149"/>
                  </a:cubicBezTo>
                  <a:cubicBezTo>
                    <a:pt x="11598" y="4149"/>
                    <a:pt x="11609" y="4141"/>
                    <a:pt x="11595" y="4123"/>
                  </a:cubicBezTo>
                  <a:cubicBezTo>
                    <a:pt x="11582" y="4106"/>
                    <a:pt x="11559" y="4105"/>
                    <a:pt x="11559" y="4105"/>
                  </a:cubicBezTo>
                  <a:cubicBezTo>
                    <a:pt x="11559" y="4105"/>
                    <a:pt x="11553" y="4085"/>
                    <a:pt x="11546" y="4077"/>
                  </a:cubicBezTo>
                  <a:cubicBezTo>
                    <a:pt x="11539" y="4069"/>
                    <a:pt x="11530" y="4075"/>
                    <a:pt x="11530" y="4075"/>
                  </a:cubicBezTo>
                  <a:cubicBezTo>
                    <a:pt x="11534" y="4090"/>
                    <a:pt x="11534" y="4090"/>
                    <a:pt x="11534" y="4090"/>
                  </a:cubicBezTo>
                  <a:cubicBezTo>
                    <a:pt x="11534" y="4090"/>
                    <a:pt x="11509" y="4071"/>
                    <a:pt x="11503" y="4065"/>
                  </a:cubicBezTo>
                  <a:cubicBezTo>
                    <a:pt x="11498" y="4058"/>
                    <a:pt x="11487" y="4031"/>
                    <a:pt x="11487" y="4031"/>
                  </a:cubicBezTo>
                  <a:cubicBezTo>
                    <a:pt x="11487" y="4031"/>
                    <a:pt x="11457" y="4010"/>
                    <a:pt x="11443" y="3998"/>
                  </a:cubicBezTo>
                  <a:cubicBezTo>
                    <a:pt x="11430" y="3986"/>
                    <a:pt x="11407" y="3967"/>
                    <a:pt x="11407" y="3967"/>
                  </a:cubicBezTo>
                  <a:cubicBezTo>
                    <a:pt x="11407" y="3967"/>
                    <a:pt x="11411" y="3962"/>
                    <a:pt x="11406" y="3957"/>
                  </a:cubicBezTo>
                  <a:cubicBezTo>
                    <a:pt x="11401" y="3951"/>
                    <a:pt x="11394" y="3945"/>
                    <a:pt x="11394" y="3945"/>
                  </a:cubicBezTo>
                  <a:cubicBezTo>
                    <a:pt x="11394" y="3945"/>
                    <a:pt x="11383" y="3926"/>
                    <a:pt x="11375" y="3919"/>
                  </a:cubicBezTo>
                  <a:cubicBezTo>
                    <a:pt x="11367" y="3913"/>
                    <a:pt x="11359" y="3914"/>
                    <a:pt x="11359" y="3914"/>
                  </a:cubicBezTo>
                  <a:cubicBezTo>
                    <a:pt x="11302" y="3910"/>
                    <a:pt x="11302" y="3910"/>
                    <a:pt x="11302" y="3910"/>
                  </a:cubicBezTo>
                  <a:cubicBezTo>
                    <a:pt x="11302" y="3910"/>
                    <a:pt x="11282" y="3885"/>
                    <a:pt x="11271" y="3887"/>
                  </a:cubicBezTo>
                  <a:cubicBezTo>
                    <a:pt x="11261" y="3890"/>
                    <a:pt x="11255" y="3914"/>
                    <a:pt x="11262" y="3926"/>
                  </a:cubicBezTo>
                  <a:cubicBezTo>
                    <a:pt x="11269" y="3938"/>
                    <a:pt x="11343" y="4006"/>
                    <a:pt x="11343" y="4006"/>
                  </a:cubicBezTo>
                  <a:cubicBezTo>
                    <a:pt x="11366" y="4042"/>
                    <a:pt x="11366" y="4042"/>
                    <a:pt x="11366" y="4042"/>
                  </a:cubicBezTo>
                  <a:cubicBezTo>
                    <a:pt x="11374" y="4039"/>
                    <a:pt x="11374" y="4039"/>
                    <a:pt x="11374" y="4039"/>
                  </a:cubicBezTo>
                  <a:cubicBezTo>
                    <a:pt x="11374" y="4039"/>
                    <a:pt x="11377" y="4063"/>
                    <a:pt x="11383" y="4069"/>
                  </a:cubicBezTo>
                  <a:cubicBezTo>
                    <a:pt x="11390" y="4074"/>
                    <a:pt x="11425" y="4087"/>
                    <a:pt x="11433" y="4103"/>
                  </a:cubicBezTo>
                  <a:cubicBezTo>
                    <a:pt x="11441" y="4119"/>
                    <a:pt x="11449" y="4151"/>
                    <a:pt x="11449" y="4151"/>
                  </a:cubicBezTo>
                  <a:cubicBezTo>
                    <a:pt x="11449" y="4151"/>
                    <a:pt x="11446" y="4186"/>
                    <a:pt x="11454" y="4186"/>
                  </a:cubicBezTo>
                  <a:cubicBezTo>
                    <a:pt x="11462" y="4186"/>
                    <a:pt x="11474" y="4178"/>
                    <a:pt x="11477" y="4187"/>
                  </a:cubicBezTo>
                  <a:cubicBezTo>
                    <a:pt x="11479" y="4197"/>
                    <a:pt x="11485" y="4213"/>
                    <a:pt x="11485" y="4213"/>
                  </a:cubicBezTo>
                  <a:cubicBezTo>
                    <a:pt x="11510" y="4234"/>
                    <a:pt x="11510" y="4234"/>
                    <a:pt x="11510" y="4234"/>
                  </a:cubicBezTo>
                  <a:cubicBezTo>
                    <a:pt x="11509" y="4250"/>
                    <a:pt x="11509" y="4250"/>
                    <a:pt x="11509" y="4250"/>
                  </a:cubicBezTo>
                  <a:cubicBezTo>
                    <a:pt x="11530" y="4293"/>
                    <a:pt x="11530" y="4293"/>
                    <a:pt x="11530" y="4293"/>
                  </a:cubicBezTo>
                  <a:cubicBezTo>
                    <a:pt x="11530" y="4293"/>
                    <a:pt x="11523" y="4306"/>
                    <a:pt x="11533" y="4321"/>
                  </a:cubicBezTo>
                  <a:cubicBezTo>
                    <a:pt x="11542" y="4335"/>
                    <a:pt x="11551" y="4338"/>
                    <a:pt x="11551" y="4338"/>
                  </a:cubicBezTo>
                  <a:cubicBezTo>
                    <a:pt x="11551" y="4338"/>
                    <a:pt x="11561" y="4362"/>
                    <a:pt x="11569" y="4370"/>
                  </a:cubicBezTo>
                  <a:cubicBezTo>
                    <a:pt x="11577" y="4378"/>
                    <a:pt x="11598" y="4386"/>
                    <a:pt x="11598" y="4386"/>
                  </a:cubicBezTo>
                  <a:cubicBezTo>
                    <a:pt x="11598" y="4411"/>
                    <a:pt x="11598" y="4411"/>
                    <a:pt x="11598" y="4411"/>
                  </a:cubicBezTo>
                  <a:cubicBezTo>
                    <a:pt x="11598" y="4411"/>
                    <a:pt x="11647" y="4453"/>
                    <a:pt x="11650" y="4457"/>
                  </a:cubicBezTo>
                  <a:cubicBezTo>
                    <a:pt x="11653" y="4461"/>
                    <a:pt x="11666" y="4462"/>
                    <a:pt x="11666" y="4462"/>
                  </a:cubicBezTo>
                  <a:cubicBezTo>
                    <a:pt x="11666" y="4462"/>
                    <a:pt x="11677" y="4487"/>
                    <a:pt x="11685" y="4491"/>
                  </a:cubicBezTo>
                  <a:cubicBezTo>
                    <a:pt x="11693" y="4495"/>
                    <a:pt x="11695" y="4517"/>
                    <a:pt x="11699" y="4515"/>
                  </a:cubicBezTo>
                  <a:cubicBezTo>
                    <a:pt x="11703" y="4514"/>
                    <a:pt x="11697" y="4493"/>
                    <a:pt x="11702" y="4490"/>
                  </a:cubicBezTo>
                  <a:cubicBezTo>
                    <a:pt x="11707" y="4487"/>
                    <a:pt x="11725" y="4513"/>
                    <a:pt x="11730" y="4507"/>
                  </a:cubicBezTo>
                  <a:close/>
                  <a:moveTo>
                    <a:pt x="13238" y="6397"/>
                  </a:moveTo>
                  <a:cubicBezTo>
                    <a:pt x="13229" y="6391"/>
                    <a:pt x="13218" y="6411"/>
                    <a:pt x="13218" y="6411"/>
                  </a:cubicBezTo>
                  <a:cubicBezTo>
                    <a:pt x="13218" y="6411"/>
                    <a:pt x="13214" y="6405"/>
                    <a:pt x="13210" y="6405"/>
                  </a:cubicBezTo>
                  <a:cubicBezTo>
                    <a:pt x="13206" y="6404"/>
                    <a:pt x="13183" y="6408"/>
                    <a:pt x="13183" y="6408"/>
                  </a:cubicBezTo>
                  <a:cubicBezTo>
                    <a:pt x="13180" y="6416"/>
                    <a:pt x="13180" y="6416"/>
                    <a:pt x="13180" y="6416"/>
                  </a:cubicBezTo>
                  <a:cubicBezTo>
                    <a:pt x="13167" y="6405"/>
                    <a:pt x="13167" y="6405"/>
                    <a:pt x="13167" y="6405"/>
                  </a:cubicBezTo>
                  <a:cubicBezTo>
                    <a:pt x="13142" y="6403"/>
                    <a:pt x="13142" y="6403"/>
                    <a:pt x="13142" y="6403"/>
                  </a:cubicBezTo>
                  <a:cubicBezTo>
                    <a:pt x="13127" y="6385"/>
                    <a:pt x="13127" y="6385"/>
                    <a:pt x="13127" y="6385"/>
                  </a:cubicBezTo>
                  <a:cubicBezTo>
                    <a:pt x="13127" y="6385"/>
                    <a:pt x="13122" y="6388"/>
                    <a:pt x="13116" y="6389"/>
                  </a:cubicBezTo>
                  <a:cubicBezTo>
                    <a:pt x="13111" y="6390"/>
                    <a:pt x="13094" y="6370"/>
                    <a:pt x="13094" y="6370"/>
                  </a:cubicBezTo>
                  <a:cubicBezTo>
                    <a:pt x="13090" y="6381"/>
                    <a:pt x="13090" y="6381"/>
                    <a:pt x="13090" y="6381"/>
                  </a:cubicBezTo>
                  <a:cubicBezTo>
                    <a:pt x="13094" y="6394"/>
                    <a:pt x="13094" y="6394"/>
                    <a:pt x="13094" y="6394"/>
                  </a:cubicBezTo>
                  <a:cubicBezTo>
                    <a:pt x="13094" y="6394"/>
                    <a:pt x="13095" y="6410"/>
                    <a:pt x="13093" y="6415"/>
                  </a:cubicBezTo>
                  <a:cubicBezTo>
                    <a:pt x="13091" y="6420"/>
                    <a:pt x="13085" y="6428"/>
                    <a:pt x="13091" y="6439"/>
                  </a:cubicBezTo>
                  <a:cubicBezTo>
                    <a:pt x="13097" y="6450"/>
                    <a:pt x="13090" y="6456"/>
                    <a:pt x="13082" y="6459"/>
                  </a:cubicBezTo>
                  <a:cubicBezTo>
                    <a:pt x="13073" y="6461"/>
                    <a:pt x="13066" y="6451"/>
                    <a:pt x="13066" y="6451"/>
                  </a:cubicBezTo>
                  <a:cubicBezTo>
                    <a:pt x="13066" y="6451"/>
                    <a:pt x="13062" y="6465"/>
                    <a:pt x="13061" y="6478"/>
                  </a:cubicBezTo>
                  <a:cubicBezTo>
                    <a:pt x="13060" y="6492"/>
                    <a:pt x="13072" y="6513"/>
                    <a:pt x="13072" y="6513"/>
                  </a:cubicBezTo>
                  <a:cubicBezTo>
                    <a:pt x="13087" y="6515"/>
                    <a:pt x="13087" y="6515"/>
                    <a:pt x="13087" y="6515"/>
                  </a:cubicBezTo>
                  <a:cubicBezTo>
                    <a:pt x="13074" y="6522"/>
                    <a:pt x="13074" y="6522"/>
                    <a:pt x="13074" y="6522"/>
                  </a:cubicBezTo>
                  <a:cubicBezTo>
                    <a:pt x="13079" y="6539"/>
                    <a:pt x="13079" y="6539"/>
                    <a:pt x="13079" y="6539"/>
                  </a:cubicBezTo>
                  <a:cubicBezTo>
                    <a:pt x="13079" y="6539"/>
                    <a:pt x="13091" y="6534"/>
                    <a:pt x="13097" y="6531"/>
                  </a:cubicBezTo>
                  <a:cubicBezTo>
                    <a:pt x="13104" y="6528"/>
                    <a:pt x="13109" y="6538"/>
                    <a:pt x="13120" y="6534"/>
                  </a:cubicBezTo>
                  <a:cubicBezTo>
                    <a:pt x="13131" y="6529"/>
                    <a:pt x="13138" y="6513"/>
                    <a:pt x="13145" y="6517"/>
                  </a:cubicBezTo>
                  <a:cubicBezTo>
                    <a:pt x="13153" y="6522"/>
                    <a:pt x="13142" y="6533"/>
                    <a:pt x="13142" y="6533"/>
                  </a:cubicBezTo>
                  <a:cubicBezTo>
                    <a:pt x="13153" y="6537"/>
                    <a:pt x="13153" y="6537"/>
                    <a:pt x="13153" y="6537"/>
                  </a:cubicBezTo>
                  <a:cubicBezTo>
                    <a:pt x="13153" y="6537"/>
                    <a:pt x="13174" y="6509"/>
                    <a:pt x="13183" y="6503"/>
                  </a:cubicBezTo>
                  <a:cubicBezTo>
                    <a:pt x="13191" y="6498"/>
                    <a:pt x="13174" y="6491"/>
                    <a:pt x="13174" y="6491"/>
                  </a:cubicBezTo>
                  <a:cubicBezTo>
                    <a:pt x="13188" y="6471"/>
                    <a:pt x="13188" y="6471"/>
                    <a:pt x="13188" y="6471"/>
                  </a:cubicBezTo>
                  <a:cubicBezTo>
                    <a:pt x="13188" y="6471"/>
                    <a:pt x="13198" y="6475"/>
                    <a:pt x="13209" y="6469"/>
                  </a:cubicBezTo>
                  <a:cubicBezTo>
                    <a:pt x="13220" y="6464"/>
                    <a:pt x="13211" y="6443"/>
                    <a:pt x="13221" y="6432"/>
                  </a:cubicBezTo>
                  <a:cubicBezTo>
                    <a:pt x="13232" y="6421"/>
                    <a:pt x="13246" y="6403"/>
                    <a:pt x="13238" y="6397"/>
                  </a:cubicBezTo>
                  <a:close/>
                  <a:moveTo>
                    <a:pt x="11483" y="4331"/>
                  </a:moveTo>
                  <a:cubicBezTo>
                    <a:pt x="11475" y="4338"/>
                    <a:pt x="11493" y="4347"/>
                    <a:pt x="11493" y="4347"/>
                  </a:cubicBezTo>
                  <a:cubicBezTo>
                    <a:pt x="11493" y="4347"/>
                    <a:pt x="11505" y="4371"/>
                    <a:pt x="11513" y="4363"/>
                  </a:cubicBezTo>
                  <a:cubicBezTo>
                    <a:pt x="11521" y="4355"/>
                    <a:pt x="11489" y="4327"/>
                    <a:pt x="11483" y="4331"/>
                  </a:cubicBezTo>
                  <a:close/>
                  <a:moveTo>
                    <a:pt x="13775" y="5539"/>
                  </a:moveTo>
                  <a:cubicBezTo>
                    <a:pt x="13775" y="5539"/>
                    <a:pt x="13772" y="5498"/>
                    <a:pt x="13771" y="5492"/>
                  </a:cubicBezTo>
                  <a:cubicBezTo>
                    <a:pt x="13769" y="5486"/>
                    <a:pt x="13749" y="5485"/>
                    <a:pt x="13749" y="5485"/>
                  </a:cubicBezTo>
                  <a:cubicBezTo>
                    <a:pt x="13749" y="5471"/>
                    <a:pt x="13749" y="5471"/>
                    <a:pt x="13749" y="5471"/>
                  </a:cubicBezTo>
                  <a:cubicBezTo>
                    <a:pt x="13736" y="5463"/>
                    <a:pt x="13736" y="5463"/>
                    <a:pt x="13736" y="5463"/>
                  </a:cubicBezTo>
                  <a:cubicBezTo>
                    <a:pt x="13736" y="5463"/>
                    <a:pt x="13741" y="5446"/>
                    <a:pt x="13736" y="5439"/>
                  </a:cubicBezTo>
                  <a:cubicBezTo>
                    <a:pt x="13731" y="5432"/>
                    <a:pt x="13711" y="5425"/>
                    <a:pt x="13711" y="5425"/>
                  </a:cubicBezTo>
                  <a:cubicBezTo>
                    <a:pt x="13711" y="5425"/>
                    <a:pt x="13746" y="5419"/>
                    <a:pt x="13748" y="5406"/>
                  </a:cubicBezTo>
                  <a:cubicBezTo>
                    <a:pt x="13750" y="5392"/>
                    <a:pt x="13728" y="5388"/>
                    <a:pt x="13728" y="5388"/>
                  </a:cubicBezTo>
                  <a:cubicBezTo>
                    <a:pt x="13728" y="5388"/>
                    <a:pt x="13721" y="5367"/>
                    <a:pt x="13710" y="5368"/>
                  </a:cubicBezTo>
                  <a:cubicBezTo>
                    <a:pt x="13698" y="5369"/>
                    <a:pt x="13703" y="5387"/>
                    <a:pt x="13703" y="5387"/>
                  </a:cubicBezTo>
                  <a:cubicBezTo>
                    <a:pt x="13689" y="5384"/>
                    <a:pt x="13689" y="5384"/>
                    <a:pt x="13689" y="5384"/>
                  </a:cubicBezTo>
                  <a:cubicBezTo>
                    <a:pt x="13689" y="5384"/>
                    <a:pt x="13702" y="5343"/>
                    <a:pt x="13702" y="5333"/>
                  </a:cubicBezTo>
                  <a:cubicBezTo>
                    <a:pt x="13701" y="5324"/>
                    <a:pt x="13681" y="5322"/>
                    <a:pt x="13677" y="5312"/>
                  </a:cubicBezTo>
                  <a:cubicBezTo>
                    <a:pt x="13674" y="5303"/>
                    <a:pt x="13687" y="5286"/>
                    <a:pt x="13683" y="5272"/>
                  </a:cubicBezTo>
                  <a:cubicBezTo>
                    <a:pt x="13679" y="5259"/>
                    <a:pt x="13619" y="5230"/>
                    <a:pt x="13619" y="5230"/>
                  </a:cubicBezTo>
                  <a:cubicBezTo>
                    <a:pt x="13613" y="5236"/>
                    <a:pt x="13613" y="5236"/>
                    <a:pt x="13613" y="5236"/>
                  </a:cubicBezTo>
                  <a:cubicBezTo>
                    <a:pt x="13613" y="5236"/>
                    <a:pt x="13585" y="5204"/>
                    <a:pt x="13583" y="5182"/>
                  </a:cubicBezTo>
                  <a:cubicBezTo>
                    <a:pt x="13582" y="5159"/>
                    <a:pt x="13591" y="5146"/>
                    <a:pt x="13591" y="5126"/>
                  </a:cubicBezTo>
                  <a:cubicBezTo>
                    <a:pt x="13591" y="5106"/>
                    <a:pt x="13572" y="5063"/>
                    <a:pt x="13568" y="5047"/>
                  </a:cubicBezTo>
                  <a:cubicBezTo>
                    <a:pt x="13564" y="5031"/>
                    <a:pt x="13575" y="5021"/>
                    <a:pt x="13577" y="5012"/>
                  </a:cubicBezTo>
                  <a:cubicBezTo>
                    <a:pt x="13579" y="5003"/>
                    <a:pt x="13572" y="4965"/>
                    <a:pt x="13572" y="4965"/>
                  </a:cubicBezTo>
                  <a:cubicBezTo>
                    <a:pt x="13555" y="4957"/>
                    <a:pt x="13555" y="4957"/>
                    <a:pt x="13555" y="4957"/>
                  </a:cubicBezTo>
                  <a:cubicBezTo>
                    <a:pt x="13555" y="4957"/>
                    <a:pt x="13541" y="4942"/>
                    <a:pt x="13531" y="4942"/>
                  </a:cubicBezTo>
                  <a:cubicBezTo>
                    <a:pt x="13521" y="4941"/>
                    <a:pt x="13515" y="4956"/>
                    <a:pt x="13515" y="4956"/>
                  </a:cubicBezTo>
                  <a:cubicBezTo>
                    <a:pt x="13515" y="4956"/>
                    <a:pt x="13508" y="4941"/>
                    <a:pt x="13507" y="4932"/>
                  </a:cubicBezTo>
                  <a:cubicBezTo>
                    <a:pt x="13506" y="4924"/>
                    <a:pt x="13513" y="4900"/>
                    <a:pt x="13513" y="4900"/>
                  </a:cubicBezTo>
                  <a:cubicBezTo>
                    <a:pt x="13502" y="4885"/>
                    <a:pt x="13502" y="4885"/>
                    <a:pt x="13502" y="4885"/>
                  </a:cubicBezTo>
                  <a:cubicBezTo>
                    <a:pt x="13502" y="4829"/>
                    <a:pt x="13502" y="4829"/>
                    <a:pt x="13502" y="4829"/>
                  </a:cubicBezTo>
                  <a:cubicBezTo>
                    <a:pt x="13502" y="4829"/>
                    <a:pt x="13481" y="4815"/>
                    <a:pt x="13484" y="4806"/>
                  </a:cubicBezTo>
                  <a:cubicBezTo>
                    <a:pt x="13488" y="4797"/>
                    <a:pt x="13492" y="4785"/>
                    <a:pt x="13487" y="4780"/>
                  </a:cubicBezTo>
                  <a:cubicBezTo>
                    <a:pt x="13482" y="4776"/>
                    <a:pt x="13470" y="4774"/>
                    <a:pt x="13470" y="4774"/>
                  </a:cubicBezTo>
                  <a:cubicBezTo>
                    <a:pt x="13471" y="4765"/>
                    <a:pt x="13471" y="4765"/>
                    <a:pt x="13471" y="4765"/>
                  </a:cubicBezTo>
                  <a:cubicBezTo>
                    <a:pt x="13451" y="4770"/>
                    <a:pt x="13451" y="4770"/>
                    <a:pt x="13451" y="4770"/>
                  </a:cubicBezTo>
                  <a:cubicBezTo>
                    <a:pt x="13447" y="4783"/>
                    <a:pt x="13447" y="4783"/>
                    <a:pt x="13447" y="4783"/>
                  </a:cubicBezTo>
                  <a:cubicBezTo>
                    <a:pt x="13447" y="4783"/>
                    <a:pt x="13435" y="4791"/>
                    <a:pt x="13429" y="4795"/>
                  </a:cubicBezTo>
                  <a:cubicBezTo>
                    <a:pt x="13424" y="4799"/>
                    <a:pt x="13437" y="4825"/>
                    <a:pt x="13437" y="4835"/>
                  </a:cubicBezTo>
                  <a:cubicBezTo>
                    <a:pt x="13436" y="4846"/>
                    <a:pt x="13402" y="4883"/>
                    <a:pt x="13402" y="4883"/>
                  </a:cubicBezTo>
                  <a:cubicBezTo>
                    <a:pt x="13413" y="4892"/>
                    <a:pt x="13413" y="4892"/>
                    <a:pt x="13413" y="4892"/>
                  </a:cubicBezTo>
                  <a:cubicBezTo>
                    <a:pt x="13413" y="4892"/>
                    <a:pt x="13398" y="4912"/>
                    <a:pt x="13396" y="4920"/>
                  </a:cubicBezTo>
                  <a:cubicBezTo>
                    <a:pt x="13394" y="4928"/>
                    <a:pt x="13400" y="4954"/>
                    <a:pt x="13400" y="4954"/>
                  </a:cubicBezTo>
                  <a:cubicBezTo>
                    <a:pt x="13400" y="4954"/>
                    <a:pt x="13379" y="5038"/>
                    <a:pt x="13378" y="5050"/>
                  </a:cubicBezTo>
                  <a:cubicBezTo>
                    <a:pt x="13377" y="5061"/>
                    <a:pt x="13350" y="5090"/>
                    <a:pt x="13350" y="5090"/>
                  </a:cubicBezTo>
                  <a:cubicBezTo>
                    <a:pt x="13350" y="5090"/>
                    <a:pt x="13351" y="5123"/>
                    <a:pt x="13334" y="5131"/>
                  </a:cubicBezTo>
                  <a:cubicBezTo>
                    <a:pt x="13317" y="5138"/>
                    <a:pt x="13281" y="5146"/>
                    <a:pt x="13281" y="5146"/>
                  </a:cubicBezTo>
                  <a:cubicBezTo>
                    <a:pt x="13281" y="5146"/>
                    <a:pt x="13260" y="5112"/>
                    <a:pt x="13255" y="5102"/>
                  </a:cubicBezTo>
                  <a:cubicBezTo>
                    <a:pt x="13250" y="5093"/>
                    <a:pt x="13209" y="5079"/>
                    <a:pt x="13189" y="5071"/>
                  </a:cubicBezTo>
                  <a:cubicBezTo>
                    <a:pt x="13168" y="5064"/>
                    <a:pt x="13155" y="5031"/>
                    <a:pt x="13152" y="5027"/>
                  </a:cubicBezTo>
                  <a:cubicBezTo>
                    <a:pt x="13149" y="5024"/>
                    <a:pt x="13129" y="5025"/>
                    <a:pt x="13129" y="5025"/>
                  </a:cubicBezTo>
                  <a:cubicBezTo>
                    <a:pt x="13113" y="4996"/>
                    <a:pt x="13113" y="4996"/>
                    <a:pt x="13113" y="4996"/>
                  </a:cubicBezTo>
                  <a:cubicBezTo>
                    <a:pt x="13126" y="4982"/>
                    <a:pt x="13126" y="4982"/>
                    <a:pt x="13126" y="4982"/>
                  </a:cubicBezTo>
                  <a:cubicBezTo>
                    <a:pt x="13126" y="4982"/>
                    <a:pt x="13119" y="4971"/>
                    <a:pt x="13127" y="4960"/>
                  </a:cubicBezTo>
                  <a:cubicBezTo>
                    <a:pt x="13135" y="4949"/>
                    <a:pt x="13145" y="4946"/>
                    <a:pt x="13145" y="4946"/>
                  </a:cubicBezTo>
                  <a:cubicBezTo>
                    <a:pt x="13141" y="4916"/>
                    <a:pt x="13141" y="4916"/>
                    <a:pt x="13141" y="4916"/>
                  </a:cubicBezTo>
                  <a:cubicBezTo>
                    <a:pt x="13154" y="4904"/>
                    <a:pt x="13154" y="4904"/>
                    <a:pt x="13154" y="4904"/>
                  </a:cubicBezTo>
                  <a:cubicBezTo>
                    <a:pt x="13154" y="4904"/>
                    <a:pt x="13168" y="4911"/>
                    <a:pt x="13173" y="4909"/>
                  </a:cubicBezTo>
                  <a:cubicBezTo>
                    <a:pt x="13179" y="4907"/>
                    <a:pt x="13180" y="4884"/>
                    <a:pt x="13180" y="4884"/>
                  </a:cubicBezTo>
                  <a:cubicBezTo>
                    <a:pt x="13205" y="4860"/>
                    <a:pt x="13205" y="4860"/>
                    <a:pt x="13205" y="4860"/>
                  </a:cubicBezTo>
                  <a:cubicBezTo>
                    <a:pt x="13205" y="4860"/>
                    <a:pt x="13191" y="4837"/>
                    <a:pt x="13175" y="4834"/>
                  </a:cubicBezTo>
                  <a:cubicBezTo>
                    <a:pt x="13158" y="4832"/>
                    <a:pt x="13137" y="4857"/>
                    <a:pt x="13137" y="4857"/>
                  </a:cubicBezTo>
                  <a:cubicBezTo>
                    <a:pt x="13135" y="4843"/>
                    <a:pt x="13135" y="4843"/>
                    <a:pt x="13135" y="4843"/>
                  </a:cubicBezTo>
                  <a:cubicBezTo>
                    <a:pt x="13115" y="4845"/>
                    <a:pt x="13115" y="4845"/>
                    <a:pt x="13115" y="4845"/>
                  </a:cubicBezTo>
                  <a:cubicBezTo>
                    <a:pt x="13106" y="4854"/>
                    <a:pt x="13106" y="4854"/>
                    <a:pt x="13106" y="4854"/>
                  </a:cubicBezTo>
                  <a:cubicBezTo>
                    <a:pt x="13100" y="4843"/>
                    <a:pt x="13100" y="4843"/>
                    <a:pt x="13100" y="4843"/>
                  </a:cubicBezTo>
                  <a:cubicBezTo>
                    <a:pt x="13076" y="4840"/>
                    <a:pt x="13076" y="4840"/>
                    <a:pt x="13076" y="4840"/>
                  </a:cubicBezTo>
                  <a:cubicBezTo>
                    <a:pt x="13076" y="4840"/>
                    <a:pt x="13050" y="4821"/>
                    <a:pt x="13045" y="4821"/>
                  </a:cubicBezTo>
                  <a:cubicBezTo>
                    <a:pt x="13041" y="4822"/>
                    <a:pt x="13007" y="4818"/>
                    <a:pt x="13007" y="4818"/>
                  </a:cubicBezTo>
                  <a:cubicBezTo>
                    <a:pt x="13007" y="4818"/>
                    <a:pt x="12999" y="4796"/>
                    <a:pt x="12992" y="4793"/>
                  </a:cubicBezTo>
                  <a:cubicBezTo>
                    <a:pt x="12986" y="4789"/>
                    <a:pt x="12984" y="4803"/>
                    <a:pt x="12984" y="4803"/>
                  </a:cubicBezTo>
                  <a:cubicBezTo>
                    <a:pt x="12984" y="4803"/>
                    <a:pt x="12959" y="4790"/>
                    <a:pt x="12953" y="4795"/>
                  </a:cubicBezTo>
                  <a:cubicBezTo>
                    <a:pt x="12947" y="4799"/>
                    <a:pt x="12956" y="4807"/>
                    <a:pt x="12956" y="4807"/>
                  </a:cubicBezTo>
                  <a:cubicBezTo>
                    <a:pt x="12956" y="4807"/>
                    <a:pt x="12943" y="4806"/>
                    <a:pt x="12941" y="4811"/>
                  </a:cubicBezTo>
                  <a:cubicBezTo>
                    <a:pt x="12938" y="4817"/>
                    <a:pt x="12955" y="4823"/>
                    <a:pt x="12966" y="4826"/>
                  </a:cubicBezTo>
                  <a:cubicBezTo>
                    <a:pt x="12977" y="4829"/>
                    <a:pt x="12983" y="4821"/>
                    <a:pt x="12983" y="4821"/>
                  </a:cubicBezTo>
                  <a:cubicBezTo>
                    <a:pt x="13005" y="4830"/>
                    <a:pt x="13005" y="4830"/>
                    <a:pt x="13005" y="4830"/>
                  </a:cubicBezTo>
                  <a:cubicBezTo>
                    <a:pt x="13005" y="4830"/>
                    <a:pt x="12983" y="4843"/>
                    <a:pt x="12971" y="4848"/>
                  </a:cubicBezTo>
                  <a:cubicBezTo>
                    <a:pt x="12960" y="4853"/>
                    <a:pt x="12926" y="4849"/>
                    <a:pt x="12918" y="4851"/>
                  </a:cubicBezTo>
                  <a:cubicBezTo>
                    <a:pt x="12911" y="4853"/>
                    <a:pt x="12861" y="4879"/>
                    <a:pt x="12861" y="4879"/>
                  </a:cubicBezTo>
                  <a:cubicBezTo>
                    <a:pt x="12861" y="4879"/>
                    <a:pt x="12855" y="4896"/>
                    <a:pt x="12854" y="4907"/>
                  </a:cubicBezTo>
                  <a:cubicBezTo>
                    <a:pt x="12853" y="4917"/>
                    <a:pt x="12874" y="4926"/>
                    <a:pt x="12874" y="4926"/>
                  </a:cubicBezTo>
                  <a:cubicBezTo>
                    <a:pt x="12841" y="4928"/>
                    <a:pt x="12841" y="4928"/>
                    <a:pt x="12841" y="4928"/>
                  </a:cubicBezTo>
                  <a:cubicBezTo>
                    <a:pt x="12818" y="4950"/>
                    <a:pt x="12818" y="4950"/>
                    <a:pt x="12818" y="4950"/>
                  </a:cubicBezTo>
                  <a:cubicBezTo>
                    <a:pt x="12818" y="4950"/>
                    <a:pt x="12822" y="4970"/>
                    <a:pt x="12816" y="4977"/>
                  </a:cubicBezTo>
                  <a:cubicBezTo>
                    <a:pt x="12810" y="4984"/>
                    <a:pt x="12833" y="4991"/>
                    <a:pt x="12842" y="4996"/>
                  </a:cubicBezTo>
                  <a:cubicBezTo>
                    <a:pt x="12852" y="5000"/>
                    <a:pt x="12848" y="5021"/>
                    <a:pt x="12848" y="5021"/>
                  </a:cubicBezTo>
                  <a:cubicBezTo>
                    <a:pt x="12833" y="5007"/>
                    <a:pt x="12833" y="5007"/>
                    <a:pt x="12833" y="5007"/>
                  </a:cubicBezTo>
                  <a:cubicBezTo>
                    <a:pt x="12813" y="5009"/>
                    <a:pt x="12813" y="5009"/>
                    <a:pt x="12813" y="5009"/>
                  </a:cubicBezTo>
                  <a:cubicBezTo>
                    <a:pt x="12805" y="5021"/>
                    <a:pt x="12805" y="5021"/>
                    <a:pt x="12805" y="5021"/>
                  </a:cubicBezTo>
                  <a:cubicBezTo>
                    <a:pt x="12778" y="5000"/>
                    <a:pt x="12778" y="5000"/>
                    <a:pt x="12778" y="5000"/>
                  </a:cubicBezTo>
                  <a:cubicBezTo>
                    <a:pt x="12775" y="5021"/>
                    <a:pt x="12775" y="5021"/>
                    <a:pt x="12775" y="5021"/>
                  </a:cubicBezTo>
                  <a:cubicBezTo>
                    <a:pt x="12759" y="5026"/>
                    <a:pt x="12759" y="5026"/>
                    <a:pt x="12759" y="5026"/>
                  </a:cubicBezTo>
                  <a:cubicBezTo>
                    <a:pt x="12762" y="5044"/>
                    <a:pt x="12762" y="5044"/>
                    <a:pt x="12762" y="5044"/>
                  </a:cubicBezTo>
                  <a:cubicBezTo>
                    <a:pt x="12743" y="5041"/>
                    <a:pt x="12743" y="5041"/>
                    <a:pt x="12743" y="5041"/>
                  </a:cubicBezTo>
                  <a:cubicBezTo>
                    <a:pt x="12762" y="4997"/>
                    <a:pt x="12762" y="4997"/>
                    <a:pt x="12762" y="4997"/>
                  </a:cubicBezTo>
                  <a:cubicBezTo>
                    <a:pt x="12762" y="4997"/>
                    <a:pt x="12757" y="4991"/>
                    <a:pt x="12754" y="4980"/>
                  </a:cubicBezTo>
                  <a:cubicBezTo>
                    <a:pt x="12752" y="4968"/>
                    <a:pt x="12733" y="4970"/>
                    <a:pt x="12733" y="4970"/>
                  </a:cubicBezTo>
                  <a:cubicBezTo>
                    <a:pt x="12722" y="4952"/>
                    <a:pt x="12722" y="4952"/>
                    <a:pt x="12722" y="4952"/>
                  </a:cubicBezTo>
                  <a:cubicBezTo>
                    <a:pt x="12722" y="4952"/>
                    <a:pt x="12731" y="4932"/>
                    <a:pt x="12720" y="4924"/>
                  </a:cubicBezTo>
                  <a:cubicBezTo>
                    <a:pt x="12708" y="4916"/>
                    <a:pt x="12693" y="4927"/>
                    <a:pt x="12693" y="4934"/>
                  </a:cubicBezTo>
                  <a:cubicBezTo>
                    <a:pt x="12692" y="4941"/>
                    <a:pt x="12698" y="4941"/>
                    <a:pt x="12698" y="4941"/>
                  </a:cubicBezTo>
                  <a:cubicBezTo>
                    <a:pt x="12694" y="4950"/>
                    <a:pt x="12694" y="4950"/>
                    <a:pt x="12694" y="4950"/>
                  </a:cubicBezTo>
                  <a:cubicBezTo>
                    <a:pt x="12674" y="4949"/>
                    <a:pt x="12674" y="4949"/>
                    <a:pt x="12674" y="4949"/>
                  </a:cubicBezTo>
                  <a:cubicBezTo>
                    <a:pt x="12677" y="4967"/>
                    <a:pt x="12677" y="4967"/>
                    <a:pt x="12677" y="4967"/>
                  </a:cubicBezTo>
                  <a:cubicBezTo>
                    <a:pt x="12664" y="4961"/>
                    <a:pt x="12664" y="4961"/>
                    <a:pt x="12664" y="4961"/>
                  </a:cubicBezTo>
                  <a:cubicBezTo>
                    <a:pt x="12652" y="4966"/>
                    <a:pt x="12652" y="4966"/>
                    <a:pt x="12652" y="4966"/>
                  </a:cubicBezTo>
                  <a:cubicBezTo>
                    <a:pt x="12652" y="4966"/>
                    <a:pt x="12657" y="4974"/>
                    <a:pt x="12655" y="4984"/>
                  </a:cubicBezTo>
                  <a:cubicBezTo>
                    <a:pt x="12653" y="4995"/>
                    <a:pt x="12637" y="5003"/>
                    <a:pt x="12637" y="5003"/>
                  </a:cubicBezTo>
                  <a:cubicBezTo>
                    <a:pt x="12642" y="4979"/>
                    <a:pt x="12642" y="4979"/>
                    <a:pt x="12642" y="4979"/>
                  </a:cubicBezTo>
                  <a:cubicBezTo>
                    <a:pt x="12630" y="4994"/>
                    <a:pt x="12630" y="4994"/>
                    <a:pt x="12630" y="4994"/>
                  </a:cubicBezTo>
                  <a:cubicBezTo>
                    <a:pt x="12630" y="4994"/>
                    <a:pt x="12619" y="4992"/>
                    <a:pt x="12612" y="5002"/>
                  </a:cubicBezTo>
                  <a:cubicBezTo>
                    <a:pt x="12605" y="5012"/>
                    <a:pt x="12616" y="5033"/>
                    <a:pt x="12616" y="5033"/>
                  </a:cubicBezTo>
                  <a:cubicBezTo>
                    <a:pt x="12585" y="5020"/>
                    <a:pt x="12585" y="5020"/>
                    <a:pt x="12585" y="5020"/>
                  </a:cubicBezTo>
                  <a:cubicBezTo>
                    <a:pt x="12582" y="5044"/>
                    <a:pt x="12582" y="5044"/>
                    <a:pt x="12582" y="5044"/>
                  </a:cubicBezTo>
                  <a:cubicBezTo>
                    <a:pt x="12571" y="5046"/>
                    <a:pt x="12571" y="5046"/>
                    <a:pt x="12571" y="5046"/>
                  </a:cubicBezTo>
                  <a:cubicBezTo>
                    <a:pt x="12582" y="5063"/>
                    <a:pt x="12582" y="5063"/>
                    <a:pt x="12582" y="5063"/>
                  </a:cubicBezTo>
                  <a:cubicBezTo>
                    <a:pt x="12594" y="5062"/>
                    <a:pt x="12594" y="5062"/>
                    <a:pt x="12594" y="5062"/>
                  </a:cubicBezTo>
                  <a:cubicBezTo>
                    <a:pt x="12591" y="5073"/>
                    <a:pt x="12591" y="5073"/>
                    <a:pt x="12591" y="5073"/>
                  </a:cubicBezTo>
                  <a:cubicBezTo>
                    <a:pt x="12544" y="5077"/>
                    <a:pt x="12544" y="5077"/>
                    <a:pt x="12544" y="5077"/>
                  </a:cubicBezTo>
                  <a:cubicBezTo>
                    <a:pt x="12544" y="5077"/>
                    <a:pt x="12530" y="5067"/>
                    <a:pt x="12520" y="5075"/>
                  </a:cubicBezTo>
                  <a:cubicBezTo>
                    <a:pt x="12510" y="5084"/>
                    <a:pt x="12526" y="5102"/>
                    <a:pt x="12526" y="5102"/>
                  </a:cubicBezTo>
                  <a:cubicBezTo>
                    <a:pt x="12528" y="5124"/>
                    <a:pt x="12528" y="5124"/>
                    <a:pt x="12528" y="5124"/>
                  </a:cubicBezTo>
                  <a:cubicBezTo>
                    <a:pt x="12522" y="5138"/>
                    <a:pt x="12522" y="5138"/>
                    <a:pt x="12522" y="5138"/>
                  </a:cubicBezTo>
                  <a:cubicBezTo>
                    <a:pt x="12526" y="5164"/>
                    <a:pt x="12526" y="5164"/>
                    <a:pt x="12526" y="5164"/>
                  </a:cubicBezTo>
                  <a:cubicBezTo>
                    <a:pt x="12515" y="5165"/>
                    <a:pt x="12515" y="5165"/>
                    <a:pt x="12515" y="5165"/>
                  </a:cubicBezTo>
                  <a:cubicBezTo>
                    <a:pt x="12512" y="5113"/>
                    <a:pt x="12512" y="5113"/>
                    <a:pt x="12512" y="5113"/>
                  </a:cubicBezTo>
                  <a:cubicBezTo>
                    <a:pt x="12501" y="5102"/>
                    <a:pt x="12501" y="5102"/>
                    <a:pt x="12501" y="5102"/>
                  </a:cubicBezTo>
                  <a:cubicBezTo>
                    <a:pt x="12499" y="5081"/>
                    <a:pt x="12499" y="5081"/>
                    <a:pt x="12499" y="5081"/>
                  </a:cubicBezTo>
                  <a:cubicBezTo>
                    <a:pt x="12486" y="5082"/>
                    <a:pt x="12486" y="5082"/>
                    <a:pt x="12486" y="5082"/>
                  </a:cubicBezTo>
                  <a:cubicBezTo>
                    <a:pt x="12475" y="5097"/>
                    <a:pt x="12475" y="5097"/>
                    <a:pt x="12475" y="5097"/>
                  </a:cubicBezTo>
                  <a:cubicBezTo>
                    <a:pt x="12475" y="5097"/>
                    <a:pt x="12462" y="5109"/>
                    <a:pt x="12443" y="5125"/>
                  </a:cubicBezTo>
                  <a:cubicBezTo>
                    <a:pt x="12425" y="5141"/>
                    <a:pt x="12437" y="5174"/>
                    <a:pt x="12437" y="5174"/>
                  </a:cubicBezTo>
                  <a:cubicBezTo>
                    <a:pt x="12437" y="5174"/>
                    <a:pt x="12454" y="5179"/>
                    <a:pt x="12452" y="5188"/>
                  </a:cubicBezTo>
                  <a:cubicBezTo>
                    <a:pt x="12449" y="5198"/>
                    <a:pt x="12416" y="5210"/>
                    <a:pt x="12410" y="5213"/>
                  </a:cubicBezTo>
                  <a:cubicBezTo>
                    <a:pt x="12404" y="5216"/>
                    <a:pt x="12407" y="5226"/>
                    <a:pt x="12407" y="5226"/>
                  </a:cubicBezTo>
                  <a:cubicBezTo>
                    <a:pt x="12407" y="5226"/>
                    <a:pt x="12386" y="5245"/>
                    <a:pt x="12369" y="5259"/>
                  </a:cubicBezTo>
                  <a:cubicBezTo>
                    <a:pt x="12351" y="5272"/>
                    <a:pt x="12299" y="5277"/>
                    <a:pt x="12299" y="5277"/>
                  </a:cubicBezTo>
                  <a:cubicBezTo>
                    <a:pt x="12265" y="5270"/>
                    <a:pt x="12265" y="5270"/>
                    <a:pt x="12265" y="5270"/>
                  </a:cubicBezTo>
                  <a:cubicBezTo>
                    <a:pt x="12238" y="5284"/>
                    <a:pt x="12238" y="5284"/>
                    <a:pt x="12238" y="5284"/>
                  </a:cubicBezTo>
                  <a:cubicBezTo>
                    <a:pt x="12201" y="5289"/>
                    <a:pt x="12201" y="5289"/>
                    <a:pt x="12201" y="5289"/>
                  </a:cubicBezTo>
                  <a:cubicBezTo>
                    <a:pt x="12196" y="5294"/>
                    <a:pt x="12196" y="5294"/>
                    <a:pt x="12196" y="5294"/>
                  </a:cubicBezTo>
                  <a:cubicBezTo>
                    <a:pt x="12196" y="5294"/>
                    <a:pt x="12186" y="5294"/>
                    <a:pt x="12177" y="5299"/>
                  </a:cubicBezTo>
                  <a:cubicBezTo>
                    <a:pt x="12168" y="5303"/>
                    <a:pt x="12157" y="5314"/>
                    <a:pt x="12157" y="5314"/>
                  </a:cubicBezTo>
                  <a:cubicBezTo>
                    <a:pt x="12157" y="5314"/>
                    <a:pt x="12138" y="5315"/>
                    <a:pt x="12124" y="5319"/>
                  </a:cubicBezTo>
                  <a:cubicBezTo>
                    <a:pt x="12110" y="5323"/>
                    <a:pt x="12094" y="5352"/>
                    <a:pt x="12094" y="5352"/>
                  </a:cubicBezTo>
                  <a:cubicBezTo>
                    <a:pt x="12094" y="5352"/>
                    <a:pt x="12059" y="5360"/>
                    <a:pt x="12052" y="5364"/>
                  </a:cubicBezTo>
                  <a:cubicBezTo>
                    <a:pt x="12044" y="5369"/>
                    <a:pt x="12009" y="5414"/>
                    <a:pt x="12009" y="5414"/>
                  </a:cubicBezTo>
                  <a:cubicBezTo>
                    <a:pt x="12015" y="5370"/>
                    <a:pt x="12015" y="5370"/>
                    <a:pt x="12015" y="5370"/>
                  </a:cubicBezTo>
                  <a:cubicBezTo>
                    <a:pt x="12003" y="5377"/>
                    <a:pt x="12003" y="5377"/>
                    <a:pt x="12003" y="5377"/>
                  </a:cubicBezTo>
                  <a:cubicBezTo>
                    <a:pt x="11989" y="5414"/>
                    <a:pt x="11989" y="5414"/>
                    <a:pt x="11989" y="5414"/>
                  </a:cubicBezTo>
                  <a:cubicBezTo>
                    <a:pt x="11989" y="5414"/>
                    <a:pt x="11975" y="5440"/>
                    <a:pt x="11968" y="5455"/>
                  </a:cubicBezTo>
                  <a:cubicBezTo>
                    <a:pt x="11962" y="5470"/>
                    <a:pt x="11985" y="5476"/>
                    <a:pt x="11985" y="5476"/>
                  </a:cubicBezTo>
                  <a:cubicBezTo>
                    <a:pt x="11985" y="5476"/>
                    <a:pt x="11965" y="5497"/>
                    <a:pt x="11955" y="5506"/>
                  </a:cubicBezTo>
                  <a:cubicBezTo>
                    <a:pt x="11944" y="5515"/>
                    <a:pt x="11964" y="5554"/>
                    <a:pt x="11965" y="5560"/>
                  </a:cubicBezTo>
                  <a:cubicBezTo>
                    <a:pt x="11965" y="5567"/>
                    <a:pt x="11990" y="5610"/>
                    <a:pt x="11984" y="5614"/>
                  </a:cubicBezTo>
                  <a:cubicBezTo>
                    <a:pt x="11978" y="5619"/>
                    <a:pt x="11954" y="5578"/>
                    <a:pt x="11954" y="5578"/>
                  </a:cubicBezTo>
                  <a:cubicBezTo>
                    <a:pt x="11942" y="5576"/>
                    <a:pt x="11942" y="5576"/>
                    <a:pt x="11942" y="5576"/>
                  </a:cubicBezTo>
                  <a:cubicBezTo>
                    <a:pt x="11952" y="5606"/>
                    <a:pt x="11952" y="5606"/>
                    <a:pt x="11952" y="5606"/>
                  </a:cubicBezTo>
                  <a:cubicBezTo>
                    <a:pt x="11929" y="5586"/>
                    <a:pt x="11929" y="5586"/>
                    <a:pt x="11929" y="5586"/>
                  </a:cubicBezTo>
                  <a:cubicBezTo>
                    <a:pt x="11929" y="5586"/>
                    <a:pt x="11925" y="5609"/>
                    <a:pt x="11928" y="5623"/>
                  </a:cubicBezTo>
                  <a:cubicBezTo>
                    <a:pt x="11931" y="5637"/>
                    <a:pt x="11954" y="5672"/>
                    <a:pt x="11954" y="5672"/>
                  </a:cubicBezTo>
                  <a:cubicBezTo>
                    <a:pt x="11954" y="5672"/>
                    <a:pt x="11943" y="5694"/>
                    <a:pt x="11941" y="5702"/>
                  </a:cubicBezTo>
                  <a:cubicBezTo>
                    <a:pt x="11939" y="5710"/>
                    <a:pt x="11969" y="5733"/>
                    <a:pt x="11970" y="5739"/>
                  </a:cubicBezTo>
                  <a:cubicBezTo>
                    <a:pt x="11971" y="5746"/>
                    <a:pt x="11972" y="5768"/>
                    <a:pt x="11966" y="5776"/>
                  </a:cubicBezTo>
                  <a:cubicBezTo>
                    <a:pt x="11961" y="5784"/>
                    <a:pt x="11974" y="5830"/>
                    <a:pt x="11974" y="5830"/>
                  </a:cubicBezTo>
                  <a:cubicBezTo>
                    <a:pt x="11974" y="5830"/>
                    <a:pt x="11970" y="5832"/>
                    <a:pt x="11962" y="5838"/>
                  </a:cubicBezTo>
                  <a:cubicBezTo>
                    <a:pt x="11955" y="5844"/>
                    <a:pt x="11971" y="5880"/>
                    <a:pt x="11971" y="5880"/>
                  </a:cubicBezTo>
                  <a:cubicBezTo>
                    <a:pt x="11971" y="5880"/>
                    <a:pt x="11991" y="5889"/>
                    <a:pt x="11993" y="5906"/>
                  </a:cubicBezTo>
                  <a:cubicBezTo>
                    <a:pt x="11995" y="5922"/>
                    <a:pt x="11966" y="5951"/>
                    <a:pt x="11966" y="5951"/>
                  </a:cubicBezTo>
                  <a:cubicBezTo>
                    <a:pt x="11966" y="5951"/>
                    <a:pt x="11975" y="5984"/>
                    <a:pt x="11958" y="6001"/>
                  </a:cubicBezTo>
                  <a:cubicBezTo>
                    <a:pt x="11941" y="6017"/>
                    <a:pt x="11910" y="6009"/>
                    <a:pt x="11910" y="6009"/>
                  </a:cubicBezTo>
                  <a:cubicBezTo>
                    <a:pt x="11906" y="6041"/>
                    <a:pt x="11906" y="6041"/>
                    <a:pt x="11906" y="6041"/>
                  </a:cubicBezTo>
                  <a:cubicBezTo>
                    <a:pt x="11906" y="6041"/>
                    <a:pt x="11938" y="6049"/>
                    <a:pt x="11947" y="6054"/>
                  </a:cubicBezTo>
                  <a:cubicBezTo>
                    <a:pt x="11956" y="6060"/>
                    <a:pt x="11962" y="6070"/>
                    <a:pt x="11962" y="6070"/>
                  </a:cubicBezTo>
                  <a:cubicBezTo>
                    <a:pt x="11979" y="6068"/>
                    <a:pt x="11979" y="6068"/>
                    <a:pt x="11979" y="6068"/>
                  </a:cubicBezTo>
                  <a:cubicBezTo>
                    <a:pt x="11979" y="6068"/>
                    <a:pt x="11988" y="6077"/>
                    <a:pt x="12002" y="6082"/>
                  </a:cubicBezTo>
                  <a:cubicBezTo>
                    <a:pt x="12015" y="6087"/>
                    <a:pt x="12046" y="6077"/>
                    <a:pt x="12059" y="6076"/>
                  </a:cubicBezTo>
                  <a:cubicBezTo>
                    <a:pt x="12071" y="6076"/>
                    <a:pt x="12061" y="6060"/>
                    <a:pt x="12061" y="6060"/>
                  </a:cubicBezTo>
                  <a:cubicBezTo>
                    <a:pt x="12086" y="6062"/>
                    <a:pt x="12086" y="6062"/>
                    <a:pt x="12086" y="6062"/>
                  </a:cubicBezTo>
                  <a:cubicBezTo>
                    <a:pt x="12092" y="6050"/>
                    <a:pt x="12092" y="6050"/>
                    <a:pt x="12092" y="6050"/>
                  </a:cubicBezTo>
                  <a:cubicBezTo>
                    <a:pt x="12119" y="6046"/>
                    <a:pt x="12119" y="6046"/>
                    <a:pt x="12119" y="6046"/>
                  </a:cubicBezTo>
                  <a:cubicBezTo>
                    <a:pt x="12119" y="6046"/>
                    <a:pt x="12143" y="6021"/>
                    <a:pt x="12156" y="6020"/>
                  </a:cubicBezTo>
                  <a:cubicBezTo>
                    <a:pt x="12168" y="6020"/>
                    <a:pt x="12180" y="6035"/>
                    <a:pt x="12187" y="6033"/>
                  </a:cubicBezTo>
                  <a:cubicBezTo>
                    <a:pt x="12195" y="6031"/>
                    <a:pt x="12232" y="6013"/>
                    <a:pt x="12232" y="6013"/>
                  </a:cubicBezTo>
                  <a:cubicBezTo>
                    <a:pt x="12232" y="6013"/>
                    <a:pt x="12254" y="6023"/>
                    <a:pt x="12265" y="6021"/>
                  </a:cubicBezTo>
                  <a:cubicBezTo>
                    <a:pt x="12276" y="6020"/>
                    <a:pt x="12283" y="6010"/>
                    <a:pt x="12290" y="6009"/>
                  </a:cubicBezTo>
                  <a:cubicBezTo>
                    <a:pt x="12298" y="6009"/>
                    <a:pt x="12317" y="6021"/>
                    <a:pt x="12332" y="6018"/>
                  </a:cubicBezTo>
                  <a:cubicBezTo>
                    <a:pt x="12347" y="6015"/>
                    <a:pt x="12344" y="5996"/>
                    <a:pt x="12344" y="5996"/>
                  </a:cubicBezTo>
                  <a:cubicBezTo>
                    <a:pt x="12344" y="5996"/>
                    <a:pt x="12356" y="5993"/>
                    <a:pt x="12360" y="5990"/>
                  </a:cubicBezTo>
                  <a:cubicBezTo>
                    <a:pt x="12365" y="5987"/>
                    <a:pt x="12371" y="5960"/>
                    <a:pt x="12384" y="5948"/>
                  </a:cubicBezTo>
                  <a:cubicBezTo>
                    <a:pt x="12397" y="5936"/>
                    <a:pt x="12430" y="5944"/>
                    <a:pt x="12441" y="5941"/>
                  </a:cubicBezTo>
                  <a:cubicBezTo>
                    <a:pt x="12451" y="5939"/>
                    <a:pt x="12485" y="5920"/>
                    <a:pt x="12500" y="5918"/>
                  </a:cubicBezTo>
                  <a:cubicBezTo>
                    <a:pt x="12516" y="5916"/>
                    <a:pt x="12518" y="5923"/>
                    <a:pt x="12537" y="5926"/>
                  </a:cubicBezTo>
                  <a:cubicBezTo>
                    <a:pt x="12556" y="5929"/>
                    <a:pt x="12603" y="5896"/>
                    <a:pt x="12622" y="5890"/>
                  </a:cubicBezTo>
                  <a:cubicBezTo>
                    <a:pt x="12642" y="5884"/>
                    <a:pt x="12725" y="5878"/>
                    <a:pt x="12725" y="5878"/>
                  </a:cubicBezTo>
                  <a:cubicBezTo>
                    <a:pt x="12732" y="5871"/>
                    <a:pt x="12732" y="5871"/>
                    <a:pt x="12732" y="5871"/>
                  </a:cubicBezTo>
                  <a:cubicBezTo>
                    <a:pt x="12732" y="5871"/>
                    <a:pt x="12760" y="5896"/>
                    <a:pt x="12778" y="5903"/>
                  </a:cubicBezTo>
                  <a:cubicBezTo>
                    <a:pt x="12795" y="5910"/>
                    <a:pt x="12802" y="5901"/>
                    <a:pt x="12802" y="5901"/>
                  </a:cubicBezTo>
                  <a:cubicBezTo>
                    <a:pt x="12802" y="5901"/>
                    <a:pt x="12805" y="5918"/>
                    <a:pt x="12813" y="5921"/>
                  </a:cubicBezTo>
                  <a:cubicBezTo>
                    <a:pt x="12821" y="5924"/>
                    <a:pt x="12826" y="5917"/>
                    <a:pt x="12826" y="5917"/>
                  </a:cubicBezTo>
                  <a:cubicBezTo>
                    <a:pt x="12829" y="5932"/>
                    <a:pt x="12829" y="5932"/>
                    <a:pt x="12829" y="5932"/>
                  </a:cubicBezTo>
                  <a:cubicBezTo>
                    <a:pt x="12829" y="5932"/>
                    <a:pt x="12841" y="5930"/>
                    <a:pt x="12842" y="5939"/>
                  </a:cubicBezTo>
                  <a:cubicBezTo>
                    <a:pt x="12843" y="5947"/>
                    <a:pt x="12824" y="5971"/>
                    <a:pt x="12824" y="5971"/>
                  </a:cubicBezTo>
                  <a:cubicBezTo>
                    <a:pt x="12838" y="5990"/>
                    <a:pt x="12838" y="5990"/>
                    <a:pt x="12838" y="5990"/>
                  </a:cubicBezTo>
                  <a:cubicBezTo>
                    <a:pt x="12847" y="5981"/>
                    <a:pt x="12847" y="5981"/>
                    <a:pt x="12847" y="5981"/>
                  </a:cubicBezTo>
                  <a:cubicBezTo>
                    <a:pt x="12860" y="6008"/>
                    <a:pt x="12860" y="6008"/>
                    <a:pt x="12860" y="6008"/>
                  </a:cubicBezTo>
                  <a:cubicBezTo>
                    <a:pt x="12860" y="6008"/>
                    <a:pt x="12869" y="6035"/>
                    <a:pt x="12870" y="6044"/>
                  </a:cubicBezTo>
                  <a:cubicBezTo>
                    <a:pt x="12871" y="6052"/>
                    <a:pt x="12843" y="6045"/>
                    <a:pt x="12843" y="6045"/>
                  </a:cubicBezTo>
                  <a:cubicBezTo>
                    <a:pt x="12850" y="6068"/>
                    <a:pt x="12850" y="6068"/>
                    <a:pt x="12850" y="6068"/>
                  </a:cubicBezTo>
                  <a:cubicBezTo>
                    <a:pt x="12850" y="6068"/>
                    <a:pt x="12859" y="6068"/>
                    <a:pt x="12868" y="6069"/>
                  </a:cubicBezTo>
                  <a:cubicBezTo>
                    <a:pt x="12877" y="6069"/>
                    <a:pt x="12876" y="6076"/>
                    <a:pt x="12876" y="6076"/>
                  </a:cubicBezTo>
                  <a:cubicBezTo>
                    <a:pt x="12889" y="6073"/>
                    <a:pt x="12889" y="6073"/>
                    <a:pt x="12889" y="6073"/>
                  </a:cubicBezTo>
                  <a:cubicBezTo>
                    <a:pt x="12889" y="6073"/>
                    <a:pt x="12885" y="6059"/>
                    <a:pt x="12885" y="6048"/>
                  </a:cubicBezTo>
                  <a:cubicBezTo>
                    <a:pt x="12886" y="6037"/>
                    <a:pt x="12904" y="6028"/>
                    <a:pt x="12916" y="6026"/>
                  </a:cubicBezTo>
                  <a:cubicBezTo>
                    <a:pt x="12928" y="6023"/>
                    <a:pt x="12951" y="5987"/>
                    <a:pt x="12951" y="5987"/>
                  </a:cubicBezTo>
                  <a:cubicBezTo>
                    <a:pt x="12966" y="5989"/>
                    <a:pt x="12966" y="5989"/>
                    <a:pt x="12966" y="5989"/>
                  </a:cubicBezTo>
                  <a:cubicBezTo>
                    <a:pt x="12980" y="5956"/>
                    <a:pt x="12980" y="5956"/>
                    <a:pt x="12980" y="5956"/>
                  </a:cubicBezTo>
                  <a:cubicBezTo>
                    <a:pt x="12980" y="5956"/>
                    <a:pt x="12999" y="5953"/>
                    <a:pt x="13008" y="5952"/>
                  </a:cubicBezTo>
                  <a:cubicBezTo>
                    <a:pt x="13016" y="5951"/>
                    <a:pt x="13021" y="5921"/>
                    <a:pt x="13021" y="5921"/>
                  </a:cubicBezTo>
                  <a:cubicBezTo>
                    <a:pt x="13021" y="5921"/>
                    <a:pt x="13026" y="5945"/>
                    <a:pt x="13027" y="5952"/>
                  </a:cubicBezTo>
                  <a:cubicBezTo>
                    <a:pt x="13028" y="5960"/>
                    <a:pt x="12999" y="5974"/>
                    <a:pt x="12999" y="5974"/>
                  </a:cubicBezTo>
                  <a:cubicBezTo>
                    <a:pt x="12989" y="5975"/>
                    <a:pt x="12989" y="5975"/>
                    <a:pt x="12989" y="5975"/>
                  </a:cubicBezTo>
                  <a:cubicBezTo>
                    <a:pt x="12984" y="5982"/>
                    <a:pt x="12984" y="5982"/>
                    <a:pt x="12984" y="5982"/>
                  </a:cubicBezTo>
                  <a:cubicBezTo>
                    <a:pt x="12995" y="6005"/>
                    <a:pt x="12995" y="6005"/>
                    <a:pt x="12995" y="6005"/>
                  </a:cubicBezTo>
                  <a:cubicBezTo>
                    <a:pt x="12995" y="6005"/>
                    <a:pt x="12985" y="6009"/>
                    <a:pt x="12978" y="6013"/>
                  </a:cubicBezTo>
                  <a:cubicBezTo>
                    <a:pt x="12971" y="6018"/>
                    <a:pt x="12953" y="6041"/>
                    <a:pt x="12953" y="6041"/>
                  </a:cubicBezTo>
                  <a:cubicBezTo>
                    <a:pt x="12953" y="6041"/>
                    <a:pt x="12948" y="6060"/>
                    <a:pt x="12941" y="6064"/>
                  </a:cubicBezTo>
                  <a:cubicBezTo>
                    <a:pt x="12934" y="6069"/>
                    <a:pt x="12910" y="6078"/>
                    <a:pt x="12917" y="6084"/>
                  </a:cubicBezTo>
                  <a:cubicBezTo>
                    <a:pt x="12924" y="6091"/>
                    <a:pt x="12951" y="6081"/>
                    <a:pt x="12960" y="6078"/>
                  </a:cubicBezTo>
                  <a:cubicBezTo>
                    <a:pt x="12968" y="6074"/>
                    <a:pt x="12969" y="6061"/>
                    <a:pt x="12975" y="6052"/>
                  </a:cubicBezTo>
                  <a:cubicBezTo>
                    <a:pt x="12982" y="6042"/>
                    <a:pt x="12996" y="6032"/>
                    <a:pt x="12996" y="6032"/>
                  </a:cubicBezTo>
                  <a:cubicBezTo>
                    <a:pt x="12996" y="6032"/>
                    <a:pt x="12999" y="6057"/>
                    <a:pt x="13001" y="6063"/>
                  </a:cubicBezTo>
                  <a:cubicBezTo>
                    <a:pt x="13003" y="6069"/>
                    <a:pt x="12990" y="6080"/>
                    <a:pt x="12981" y="6085"/>
                  </a:cubicBezTo>
                  <a:cubicBezTo>
                    <a:pt x="12973" y="6090"/>
                    <a:pt x="12972" y="6098"/>
                    <a:pt x="12978" y="6104"/>
                  </a:cubicBezTo>
                  <a:cubicBezTo>
                    <a:pt x="12985" y="6109"/>
                    <a:pt x="13016" y="6109"/>
                    <a:pt x="13016" y="6109"/>
                  </a:cubicBezTo>
                  <a:cubicBezTo>
                    <a:pt x="13021" y="6116"/>
                    <a:pt x="13021" y="6116"/>
                    <a:pt x="13021" y="6116"/>
                  </a:cubicBezTo>
                  <a:cubicBezTo>
                    <a:pt x="13006" y="6129"/>
                    <a:pt x="13006" y="6129"/>
                    <a:pt x="13006" y="6129"/>
                  </a:cubicBezTo>
                  <a:cubicBezTo>
                    <a:pt x="13006" y="6129"/>
                    <a:pt x="13022" y="6158"/>
                    <a:pt x="13024" y="6168"/>
                  </a:cubicBezTo>
                  <a:cubicBezTo>
                    <a:pt x="13027" y="6179"/>
                    <a:pt x="13003" y="6195"/>
                    <a:pt x="12994" y="6206"/>
                  </a:cubicBezTo>
                  <a:cubicBezTo>
                    <a:pt x="12984" y="6217"/>
                    <a:pt x="13016" y="6239"/>
                    <a:pt x="13024" y="6242"/>
                  </a:cubicBezTo>
                  <a:cubicBezTo>
                    <a:pt x="13031" y="6245"/>
                    <a:pt x="13045" y="6265"/>
                    <a:pt x="13060" y="6270"/>
                  </a:cubicBezTo>
                  <a:cubicBezTo>
                    <a:pt x="13075" y="6275"/>
                    <a:pt x="13086" y="6266"/>
                    <a:pt x="13100" y="6269"/>
                  </a:cubicBezTo>
                  <a:cubicBezTo>
                    <a:pt x="13113" y="6272"/>
                    <a:pt x="13116" y="6289"/>
                    <a:pt x="13135" y="6292"/>
                  </a:cubicBezTo>
                  <a:cubicBezTo>
                    <a:pt x="13155" y="6296"/>
                    <a:pt x="13203" y="6263"/>
                    <a:pt x="13203" y="6263"/>
                  </a:cubicBezTo>
                  <a:cubicBezTo>
                    <a:pt x="13203" y="6263"/>
                    <a:pt x="13196" y="6249"/>
                    <a:pt x="13211" y="6240"/>
                  </a:cubicBezTo>
                  <a:cubicBezTo>
                    <a:pt x="13226" y="6231"/>
                    <a:pt x="13225" y="6267"/>
                    <a:pt x="13225" y="6267"/>
                  </a:cubicBezTo>
                  <a:cubicBezTo>
                    <a:pt x="13236" y="6266"/>
                    <a:pt x="13236" y="6266"/>
                    <a:pt x="13236" y="6266"/>
                  </a:cubicBezTo>
                  <a:cubicBezTo>
                    <a:pt x="13226" y="6282"/>
                    <a:pt x="13226" y="6282"/>
                    <a:pt x="13226" y="6282"/>
                  </a:cubicBezTo>
                  <a:cubicBezTo>
                    <a:pt x="13239" y="6283"/>
                    <a:pt x="13239" y="6283"/>
                    <a:pt x="13239" y="6283"/>
                  </a:cubicBezTo>
                  <a:cubicBezTo>
                    <a:pt x="13239" y="6283"/>
                    <a:pt x="13240" y="6295"/>
                    <a:pt x="13247" y="6304"/>
                  </a:cubicBezTo>
                  <a:cubicBezTo>
                    <a:pt x="13253" y="6312"/>
                    <a:pt x="13260" y="6308"/>
                    <a:pt x="13260" y="6308"/>
                  </a:cubicBezTo>
                  <a:cubicBezTo>
                    <a:pt x="13266" y="6297"/>
                    <a:pt x="13266" y="6297"/>
                    <a:pt x="13266" y="6297"/>
                  </a:cubicBezTo>
                  <a:cubicBezTo>
                    <a:pt x="13266" y="6297"/>
                    <a:pt x="13284" y="6295"/>
                    <a:pt x="13294" y="6286"/>
                  </a:cubicBezTo>
                  <a:cubicBezTo>
                    <a:pt x="13305" y="6278"/>
                    <a:pt x="13349" y="6247"/>
                    <a:pt x="13349" y="6247"/>
                  </a:cubicBezTo>
                  <a:cubicBezTo>
                    <a:pt x="13344" y="6237"/>
                    <a:pt x="13344" y="6237"/>
                    <a:pt x="13344" y="6237"/>
                  </a:cubicBezTo>
                  <a:cubicBezTo>
                    <a:pt x="13368" y="6233"/>
                    <a:pt x="13368" y="6233"/>
                    <a:pt x="13368" y="6233"/>
                  </a:cubicBezTo>
                  <a:cubicBezTo>
                    <a:pt x="13377" y="6241"/>
                    <a:pt x="13377" y="6241"/>
                    <a:pt x="13377" y="6241"/>
                  </a:cubicBezTo>
                  <a:cubicBezTo>
                    <a:pt x="13377" y="6241"/>
                    <a:pt x="13416" y="6234"/>
                    <a:pt x="13439" y="6226"/>
                  </a:cubicBezTo>
                  <a:cubicBezTo>
                    <a:pt x="13461" y="6217"/>
                    <a:pt x="13463" y="6173"/>
                    <a:pt x="13466" y="6161"/>
                  </a:cubicBezTo>
                  <a:cubicBezTo>
                    <a:pt x="13470" y="6150"/>
                    <a:pt x="13496" y="6135"/>
                    <a:pt x="13496" y="6135"/>
                  </a:cubicBezTo>
                  <a:cubicBezTo>
                    <a:pt x="13496" y="6120"/>
                    <a:pt x="13496" y="6120"/>
                    <a:pt x="13496" y="6120"/>
                  </a:cubicBezTo>
                  <a:cubicBezTo>
                    <a:pt x="13496" y="6120"/>
                    <a:pt x="13511" y="6114"/>
                    <a:pt x="13519" y="6103"/>
                  </a:cubicBezTo>
                  <a:cubicBezTo>
                    <a:pt x="13526" y="6093"/>
                    <a:pt x="13537" y="6079"/>
                    <a:pt x="13537" y="6079"/>
                  </a:cubicBezTo>
                  <a:cubicBezTo>
                    <a:pt x="13537" y="6079"/>
                    <a:pt x="13539" y="6050"/>
                    <a:pt x="13547" y="6040"/>
                  </a:cubicBezTo>
                  <a:cubicBezTo>
                    <a:pt x="13554" y="6031"/>
                    <a:pt x="13588" y="5993"/>
                    <a:pt x="13601" y="5987"/>
                  </a:cubicBezTo>
                  <a:cubicBezTo>
                    <a:pt x="13613" y="5981"/>
                    <a:pt x="13615" y="5950"/>
                    <a:pt x="13615" y="5950"/>
                  </a:cubicBezTo>
                  <a:cubicBezTo>
                    <a:pt x="13615" y="5950"/>
                    <a:pt x="13638" y="5954"/>
                    <a:pt x="13647" y="5944"/>
                  </a:cubicBezTo>
                  <a:cubicBezTo>
                    <a:pt x="13656" y="5935"/>
                    <a:pt x="13703" y="5876"/>
                    <a:pt x="13706" y="5869"/>
                  </a:cubicBezTo>
                  <a:cubicBezTo>
                    <a:pt x="13710" y="5863"/>
                    <a:pt x="13709" y="5832"/>
                    <a:pt x="13719" y="5825"/>
                  </a:cubicBezTo>
                  <a:cubicBezTo>
                    <a:pt x="13728" y="5818"/>
                    <a:pt x="13770" y="5736"/>
                    <a:pt x="13780" y="5717"/>
                  </a:cubicBezTo>
                  <a:cubicBezTo>
                    <a:pt x="13790" y="5698"/>
                    <a:pt x="13778" y="5685"/>
                    <a:pt x="13777" y="5672"/>
                  </a:cubicBezTo>
                  <a:cubicBezTo>
                    <a:pt x="13776" y="5659"/>
                    <a:pt x="13786" y="5638"/>
                    <a:pt x="13795" y="5624"/>
                  </a:cubicBezTo>
                  <a:cubicBezTo>
                    <a:pt x="13804" y="5610"/>
                    <a:pt x="13794" y="5548"/>
                    <a:pt x="13794" y="5548"/>
                  </a:cubicBezTo>
                  <a:lnTo>
                    <a:pt x="13775" y="5539"/>
                  </a:lnTo>
                  <a:close/>
                  <a:moveTo>
                    <a:pt x="11992" y="4641"/>
                  </a:moveTo>
                  <a:cubicBezTo>
                    <a:pt x="12002" y="4650"/>
                    <a:pt x="12035" y="4656"/>
                    <a:pt x="12049" y="4657"/>
                  </a:cubicBezTo>
                  <a:cubicBezTo>
                    <a:pt x="12064" y="4659"/>
                    <a:pt x="12070" y="4656"/>
                    <a:pt x="12092" y="4657"/>
                  </a:cubicBezTo>
                  <a:cubicBezTo>
                    <a:pt x="12114" y="4659"/>
                    <a:pt x="12132" y="4686"/>
                    <a:pt x="12140" y="4691"/>
                  </a:cubicBezTo>
                  <a:cubicBezTo>
                    <a:pt x="12149" y="4695"/>
                    <a:pt x="12159" y="4686"/>
                    <a:pt x="12159" y="4686"/>
                  </a:cubicBezTo>
                  <a:cubicBezTo>
                    <a:pt x="12159" y="4686"/>
                    <a:pt x="12176" y="4695"/>
                    <a:pt x="12176" y="4689"/>
                  </a:cubicBezTo>
                  <a:cubicBezTo>
                    <a:pt x="12176" y="4678"/>
                    <a:pt x="12165" y="4663"/>
                    <a:pt x="12165" y="4663"/>
                  </a:cubicBezTo>
                  <a:cubicBezTo>
                    <a:pt x="12165" y="4663"/>
                    <a:pt x="12176" y="4657"/>
                    <a:pt x="12176" y="4638"/>
                  </a:cubicBezTo>
                  <a:cubicBezTo>
                    <a:pt x="12176" y="4619"/>
                    <a:pt x="12149" y="4619"/>
                    <a:pt x="12134" y="4616"/>
                  </a:cubicBezTo>
                  <a:cubicBezTo>
                    <a:pt x="12120" y="4613"/>
                    <a:pt x="12121" y="4644"/>
                    <a:pt x="12121" y="4644"/>
                  </a:cubicBezTo>
                  <a:cubicBezTo>
                    <a:pt x="12096" y="4625"/>
                    <a:pt x="12096" y="4625"/>
                    <a:pt x="12096" y="4625"/>
                  </a:cubicBezTo>
                  <a:cubicBezTo>
                    <a:pt x="12096" y="4625"/>
                    <a:pt x="12102" y="4609"/>
                    <a:pt x="12102" y="4585"/>
                  </a:cubicBezTo>
                  <a:cubicBezTo>
                    <a:pt x="12102" y="4562"/>
                    <a:pt x="12054" y="4571"/>
                    <a:pt x="12054" y="4571"/>
                  </a:cubicBezTo>
                  <a:cubicBezTo>
                    <a:pt x="12033" y="4559"/>
                    <a:pt x="12033" y="4559"/>
                    <a:pt x="12033" y="4559"/>
                  </a:cubicBezTo>
                  <a:cubicBezTo>
                    <a:pt x="12030" y="4544"/>
                    <a:pt x="12030" y="4544"/>
                    <a:pt x="12030" y="4544"/>
                  </a:cubicBezTo>
                  <a:cubicBezTo>
                    <a:pt x="12004" y="4544"/>
                    <a:pt x="12004" y="4544"/>
                    <a:pt x="12004" y="4544"/>
                  </a:cubicBezTo>
                  <a:cubicBezTo>
                    <a:pt x="12004" y="4544"/>
                    <a:pt x="11999" y="4565"/>
                    <a:pt x="11999" y="4569"/>
                  </a:cubicBezTo>
                  <a:cubicBezTo>
                    <a:pt x="11999" y="4573"/>
                    <a:pt x="11964" y="4562"/>
                    <a:pt x="11948" y="4559"/>
                  </a:cubicBezTo>
                  <a:cubicBezTo>
                    <a:pt x="11932" y="4556"/>
                    <a:pt x="11903" y="4557"/>
                    <a:pt x="11903" y="4557"/>
                  </a:cubicBezTo>
                  <a:cubicBezTo>
                    <a:pt x="11903" y="4557"/>
                    <a:pt x="11885" y="4535"/>
                    <a:pt x="11876" y="4525"/>
                  </a:cubicBezTo>
                  <a:cubicBezTo>
                    <a:pt x="11867" y="4515"/>
                    <a:pt x="11853" y="4526"/>
                    <a:pt x="11853" y="4526"/>
                  </a:cubicBezTo>
                  <a:cubicBezTo>
                    <a:pt x="11853" y="4526"/>
                    <a:pt x="11828" y="4513"/>
                    <a:pt x="11822" y="4512"/>
                  </a:cubicBezTo>
                  <a:cubicBezTo>
                    <a:pt x="11816" y="4510"/>
                    <a:pt x="11790" y="4509"/>
                    <a:pt x="11790" y="4509"/>
                  </a:cubicBezTo>
                  <a:cubicBezTo>
                    <a:pt x="11790" y="4509"/>
                    <a:pt x="11779" y="4500"/>
                    <a:pt x="11766" y="4504"/>
                  </a:cubicBezTo>
                  <a:cubicBezTo>
                    <a:pt x="11753" y="4509"/>
                    <a:pt x="11753" y="4537"/>
                    <a:pt x="11746" y="4541"/>
                  </a:cubicBezTo>
                  <a:cubicBezTo>
                    <a:pt x="11738" y="4546"/>
                    <a:pt x="11724" y="4551"/>
                    <a:pt x="11727" y="4562"/>
                  </a:cubicBezTo>
                  <a:cubicBezTo>
                    <a:pt x="11751" y="4557"/>
                    <a:pt x="11751" y="4557"/>
                    <a:pt x="11751" y="4557"/>
                  </a:cubicBezTo>
                  <a:cubicBezTo>
                    <a:pt x="11782" y="4560"/>
                    <a:pt x="11782" y="4560"/>
                    <a:pt x="11782" y="4560"/>
                  </a:cubicBezTo>
                  <a:cubicBezTo>
                    <a:pt x="11782" y="4560"/>
                    <a:pt x="11759" y="4573"/>
                    <a:pt x="11769" y="4584"/>
                  </a:cubicBezTo>
                  <a:cubicBezTo>
                    <a:pt x="11779" y="4594"/>
                    <a:pt x="11813" y="4576"/>
                    <a:pt x="11813" y="4576"/>
                  </a:cubicBezTo>
                  <a:cubicBezTo>
                    <a:pt x="11813" y="4576"/>
                    <a:pt x="11863" y="4603"/>
                    <a:pt x="11878" y="4607"/>
                  </a:cubicBezTo>
                  <a:cubicBezTo>
                    <a:pt x="11892" y="4612"/>
                    <a:pt x="11942" y="4613"/>
                    <a:pt x="11960" y="4613"/>
                  </a:cubicBezTo>
                  <a:cubicBezTo>
                    <a:pt x="11977" y="4613"/>
                    <a:pt x="11982" y="4632"/>
                    <a:pt x="11992" y="4641"/>
                  </a:cubicBezTo>
                  <a:close/>
                  <a:moveTo>
                    <a:pt x="12892" y="6106"/>
                  </a:moveTo>
                  <a:cubicBezTo>
                    <a:pt x="12878" y="6108"/>
                    <a:pt x="12860" y="6113"/>
                    <a:pt x="12867" y="6119"/>
                  </a:cubicBezTo>
                  <a:cubicBezTo>
                    <a:pt x="12874" y="6125"/>
                    <a:pt x="12877" y="6132"/>
                    <a:pt x="12877" y="6132"/>
                  </a:cubicBezTo>
                  <a:cubicBezTo>
                    <a:pt x="12891" y="6132"/>
                    <a:pt x="12905" y="6124"/>
                    <a:pt x="12905" y="6124"/>
                  </a:cubicBezTo>
                  <a:cubicBezTo>
                    <a:pt x="12913" y="6124"/>
                    <a:pt x="12913" y="6124"/>
                    <a:pt x="12913" y="6124"/>
                  </a:cubicBezTo>
                  <a:cubicBezTo>
                    <a:pt x="12917" y="6121"/>
                    <a:pt x="12917" y="6121"/>
                    <a:pt x="12917" y="6121"/>
                  </a:cubicBezTo>
                  <a:cubicBezTo>
                    <a:pt x="12928" y="6121"/>
                    <a:pt x="12928" y="6121"/>
                    <a:pt x="12928" y="6121"/>
                  </a:cubicBezTo>
                  <a:cubicBezTo>
                    <a:pt x="12932" y="6116"/>
                    <a:pt x="12932" y="6116"/>
                    <a:pt x="12932" y="6116"/>
                  </a:cubicBezTo>
                  <a:cubicBezTo>
                    <a:pt x="12914" y="6114"/>
                    <a:pt x="12914" y="6114"/>
                    <a:pt x="12914" y="6114"/>
                  </a:cubicBezTo>
                  <a:cubicBezTo>
                    <a:pt x="12914" y="6114"/>
                    <a:pt x="12906" y="6105"/>
                    <a:pt x="12892" y="6106"/>
                  </a:cubicBezTo>
                  <a:close/>
                  <a:moveTo>
                    <a:pt x="11485" y="4319"/>
                  </a:moveTo>
                  <a:cubicBezTo>
                    <a:pt x="11494" y="4318"/>
                    <a:pt x="11481" y="4298"/>
                    <a:pt x="11473" y="4303"/>
                  </a:cubicBezTo>
                  <a:cubicBezTo>
                    <a:pt x="11466" y="4307"/>
                    <a:pt x="11475" y="4321"/>
                    <a:pt x="11485" y="4319"/>
                  </a:cubicBezTo>
                  <a:close/>
                  <a:moveTo>
                    <a:pt x="13253" y="6389"/>
                  </a:moveTo>
                  <a:cubicBezTo>
                    <a:pt x="13255" y="6396"/>
                    <a:pt x="13279" y="6384"/>
                    <a:pt x="13270" y="6377"/>
                  </a:cubicBezTo>
                  <a:cubicBezTo>
                    <a:pt x="13261" y="6370"/>
                    <a:pt x="13253" y="6389"/>
                    <a:pt x="13253" y="6389"/>
                  </a:cubicBezTo>
                  <a:close/>
                  <a:moveTo>
                    <a:pt x="11424" y="4181"/>
                  </a:moveTo>
                  <a:cubicBezTo>
                    <a:pt x="11409" y="4195"/>
                    <a:pt x="11409" y="4195"/>
                    <a:pt x="11409" y="4195"/>
                  </a:cubicBezTo>
                  <a:cubicBezTo>
                    <a:pt x="11417" y="4215"/>
                    <a:pt x="11417" y="4215"/>
                    <a:pt x="11417" y="4215"/>
                  </a:cubicBezTo>
                  <a:cubicBezTo>
                    <a:pt x="11417" y="4215"/>
                    <a:pt x="11407" y="4233"/>
                    <a:pt x="11419" y="4229"/>
                  </a:cubicBezTo>
                  <a:cubicBezTo>
                    <a:pt x="11426" y="4226"/>
                    <a:pt x="11423" y="4201"/>
                    <a:pt x="11423" y="4201"/>
                  </a:cubicBezTo>
                  <a:cubicBezTo>
                    <a:pt x="11430" y="4192"/>
                    <a:pt x="11430" y="4192"/>
                    <a:pt x="11430" y="4192"/>
                  </a:cubicBezTo>
                  <a:lnTo>
                    <a:pt x="11424" y="4181"/>
                  </a:lnTo>
                  <a:close/>
                  <a:moveTo>
                    <a:pt x="13852" y="4748"/>
                  </a:moveTo>
                  <a:cubicBezTo>
                    <a:pt x="13854" y="4737"/>
                    <a:pt x="13854" y="4737"/>
                    <a:pt x="13854" y="4737"/>
                  </a:cubicBezTo>
                  <a:cubicBezTo>
                    <a:pt x="13827" y="4720"/>
                    <a:pt x="13827" y="4720"/>
                    <a:pt x="13827" y="4720"/>
                  </a:cubicBezTo>
                  <a:cubicBezTo>
                    <a:pt x="13839" y="4710"/>
                    <a:pt x="13839" y="4710"/>
                    <a:pt x="13839" y="4710"/>
                  </a:cubicBezTo>
                  <a:cubicBezTo>
                    <a:pt x="13839" y="4710"/>
                    <a:pt x="13815" y="4709"/>
                    <a:pt x="13808" y="4702"/>
                  </a:cubicBezTo>
                  <a:cubicBezTo>
                    <a:pt x="13802" y="4695"/>
                    <a:pt x="13810" y="4681"/>
                    <a:pt x="13810" y="4672"/>
                  </a:cubicBezTo>
                  <a:cubicBezTo>
                    <a:pt x="13810" y="4663"/>
                    <a:pt x="13777" y="4680"/>
                    <a:pt x="13777" y="4680"/>
                  </a:cubicBezTo>
                  <a:cubicBezTo>
                    <a:pt x="13776" y="4659"/>
                    <a:pt x="13776" y="4659"/>
                    <a:pt x="13776" y="4659"/>
                  </a:cubicBezTo>
                  <a:cubicBezTo>
                    <a:pt x="13759" y="4651"/>
                    <a:pt x="13759" y="4651"/>
                    <a:pt x="13759" y="4651"/>
                  </a:cubicBezTo>
                  <a:cubicBezTo>
                    <a:pt x="13759" y="4621"/>
                    <a:pt x="13759" y="4621"/>
                    <a:pt x="13759" y="4621"/>
                  </a:cubicBezTo>
                  <a:cubicBezTo>
                    <a:pt x="13723" y="4595"/>
                    <a:pt x="13723" y="4595"/>
                    <a:pt x="13723" y="4595"/>
                  </a:cubicBezTo>
                  <a:cubicBezTo>
                    <a:pt x="13706" y="4558"/>
                    <a:pt x="13706" y="4558"/>
                    <a:pt x="13706" y="4558"/>
                  </a:cubicBezTo>
                  <a:cubicBezTo>
                    <a:pt x="13706" y="4558"/>
                    <a:pt x="13744" y="4545"/>
                    <a:pt x="13744" y="4529"/>
                  </a:cubicBezTo>
                  <a:cubicBezTo>
                    <a:pt x="13744" y="4513"/>
                    <a:pt x="13710" y="4504"/>
                    <a:pt x="13710" y="4504"/>
                  </a:cubicBezTo>
                  <a:cubicBezTo>
                    <a:pt x="13708" y="4500"/>
                    <a:pt x="13658" y="4486"/>
                    <a:pt x="13658" y="4486"/>
                  </a:cubicBezTo>
                  <a:cubicBezTo>
                    <a:pt x="13658" y="4486"/>
                    <a:pt x="13654" y="4473"/>
                    <a:pt x="13658" y="4453"/>
                  </a:cubicBezTo>
                  <a:cubicBezTo>
                    <a:pt x="13662" y="4434"/>
                    <a:pt x="13634" y="4431"/>
                    <a:pt x="13634" y="4431"/>
                  </a:cubicBezTo>
                  <a:cubicBezTo>
                    <a:pt x="13602" y="4397"/>
                    <a:pt x="13602" y="4397"/>
                    <a:pt x="13602" y="4397"/>
                  </a:cubicBezTo>
                  <a:cubicBezTo>
                    <a:pt x="13577" y="4398"/>
                    <a:pt x="13577" y="4398"/>
                    <a:pt x="13577" y="4398"/>
                  </a:cubicBezTo>
                  <a:cubicBezTo>
                    <a:pt x="13553" y="4375"/>
                    <a:pt x="13553" y="4375"/>
                    <a:pt x="13553" y="4375"/>
                  </a:cubicBezTo>
                  <a:cubicBezTo>
                    <a:pt x="13533" y="4371"/>
                    <a:pt x="13533" y="4371"/>
                    <a:pt x="13533" y="4371"/>
                  </a:cubicBezTo>
                  <a:cubicBezTo>
                    <a:pt x="13451" y="4333"/>
                    <a:pt x="13451" y="4333"/>
                    <a:pt x="13451" y="4333"/>
                  </a:cubicBezTo>
                  <a:cubicBezTo>
                    <a:pt x="13435" y="4339"/>
                    <a:pt x="13435" y="4339"/>
                    <a:pt x="13435" y="4339"/>
                  </a:cubicBezTo>
                  <a:cubicBezTo>
                    <a:pt x="13408" y="4320"/>
                    <a:pt x="13408" y="4320"/>
                    <a:pt x="13408" y="4320"/>
                  </a:cubicBezTo>
                  <a:cubicBezTo>
                    <a:pt x="13408" y="4320"/>
                    <a:pt x="13389" y="4322"/>
                    <a:pt x="13379" y="4322"/>
                  </a:cubicBezTo>
                  <a:cubicBezTo>
                    <a:pt x="13368" y="4322"/>
                    <a:pt x="13300" y="4279"/>
                    <a:pt x="13287" y="4275"/>
                  </a:cubicBezTo>
                  <a:cubicBezTo>
                    <a:pt x="13274" y="4271"/>
                    <a:pt x="13253" y="4290"/>
                    <a:pt x="13253" y="4290"/>
                  </a:cubicBezTo>
                  <a:cubicBezTo>
                    <a:pt x="13262" y="4308"/>
                    <a:pt x="13262" y="4308"/>
                    <a:pt x="13262" y="4308"/>
                  </a:cubicBezTo>
                  <a:cubicBezTo>
                    <a:pt x="13211" y="4313"/>
                    <a:pt x="13211" y="4313"/>
                    <a:pt x="13211" y="4313"/>
                  </a:cubicBezTo>
                  <a:cubicBezTo>
                    <a:pt x="13215" y="4331"/>
                    <a:pt x="13215" y="4331"/>
                    <a:pt x="13215" y="4331"/>
                  </a:cubicBezTo>
                  <a:cubicBezTo>
                    <a:pt x="13215" y="4331"/>
                    <a:pt x="13205" y="4362"/>
                    <a:pt x="13168" y="4369"/>
                  </a:cubicBezTo>
                  <a:cubicBezTo>
                    <a:pt x="13131" y="4377"/>
                    <a:pt x="13141" y="4328"/>
                    <a:pt x="13135" y="4328"/>
                  </a:cubicBezTo>
                  <a:cubicBezTo>
                    <a:pt x="13130" y="4328"/>
                    <a:pt x="13124" y="4350"/>
                    <a:pt x="13124" y="4350"/>
                  </a:cubicBezTo>
                  <a:cubicBezTo>
                    <a:pt x="13124" y="4350"/>
                    <a:pt x="13116" y="4333"/>
                    <a:pt x="13116" y="4324"/>
                  </a:cubicBezTo>
                  <a:cubicBezTo>
                    <a:pt x="13116" y="4314"/>
                    <a:pt x="13117" y="4287"/>
                    <a:pt x="13114" y="4270"/>
                  </a:cubicBezTo>
                  <a:cubicBezTo>
                    <a:pt x="13112" y="4253"/>
                    <a:pt x="13101" y="4235"/>
                    <a:pt x="13101" y="4235"/>
                  </a:cubicBezTo>
                  <a:cubicBezTo>
                    <a:pt x="13075" y="4235"/>
                    <a:pt x="13075" y="4235"/>
                    <a:pt x="13075" y="4235"/>
                  </a:cubicBezTo>
                  <a:cubicBezTo>
                    <a:pt x="13075" y="4235"/>
                    <a:pt x="13054" y="4211"/>
                    <a:pt x="13036" y="4211"/>
                  </a:cubicBezTo>
                  <a:cubicBezTo>
                    <a:pt x="13018" y="4211"/>
                    <a:pt x="12999" y="4236"/>
                    <a:pt x="12999" y="4236"/>
                  </a:cubicBezTo>
                  <a:cubicBezTo>
                    <a:pt x="12983" y="4240"/>
                    <a:pt x="12983" y="4240"/>
                    <a:pt x="12983" y="4240"/>
                  </a:cubicBezTo>
                  <a:cubicBezTo>
                    <a:pt x="12978" y="4252"/>
                    <a:pt x="12978" y="4252"/>
                    <a:pt x="12978" y="4252"/>
                  </a:cubicBezTo>
                  <a:cubicBezTo>
                    <a:pt x="12966" y="4258"/>
                    <a:pt x="12966" y="4258"/>
                    <a:pt x="12966" y="4258"/>
                  </a:cubicBezTo>
                  <a:cubicBezTo>
                    <a:pt x="12966" y="4249"/>
                    <a:pt x="12966" y="4249"/>
                    <a:pt x="12966" y="4249"/>
                  </a:cubicBezTo>
                  <a:cubicBezTo>
                    <a:pt x="12966" y="4249"/>
                    <a:pt x="12959" y="4237"/>
                    <a:pt x="12948" y="4241"/>
                  </a:cubicBezTo>
                  <a:cubicBezTo>
                    <a:pt x="12948" y="4241"/>
                    <a:pt x="12948" y="4254"/>
                    <a:pt x="12957" y="4267"/>
                  </a:cubicBezTo>
                  <a:cubicBezTo>
                    <a:pt x="12966" y="4280"/>
                    <a:pt x="12987" y="4273"/>
                    <a:pt x="13004" y="4278"/>
                  </a:cubicBezTo>
                  <a:cubicBezTo>
                    <a:pt x="13021" y="4283"/>
                    <a:pt x="13006" y="4291"/>
                    <a:pt x="13015" y="4307"/>
                  </a:cubicBezTo>
                  <a:cubicBezTo>
                    <a:pt x="13024" y="4322"/>
                    <a:pt x="13054" y="4309"/>
                    <a:pt x="13076" y="4309"/>
                  </a:cubicBezTo>
                  <a:cubicBezTo>
                    <a:pt x="13099" y="4309"/>
                    <a:pt x="13100" y="4314"/>
                    <a:pt x="13100" y="4325"/>
                  </a:cubicBezTo>
                  <a:cubicBezTo>
                    <a:pt x="13100" y="4335"/>
                    <a:pt x="13074" y="4325"/>
                    <a:pt x="13066" y="4326"/>
                  </a:cubicBezTo>
                  <a:cubicBezTo>
                    <a:pt x="13058" y="4328"/>
                    <a:pt x="13040" y="4339"/>
                    <a:pt x="13040" y="4339"/>
                  </a:cubicBezTo>
                  <a:cubicBezTo>
                    <a:pt x="13040" y="4339"/>
                    <a:pt x="13012" y="4339"/>
                    <a:pt x="13006" y="4346"/>
                  </a:cubicBezTo>
                  <a:cubicBezTo>
                    <a:pt x="12999" y="4352"/>
                    <a:pt x="13029" y="4359"/>
                    <a:pt x="13036" y="4363"/>
                  </a:cubicBezTo>
                  <a:cubicBezTo>
                    <a:pt x="13042" y="4367"/>
                    <a:pt x="13052" y="4383"/>
                    <a:pt x="13052" y="4383"/>
                  </a:cubicBezTo>
                  <a:cubicBezTo>
                    <a:pt x="13052" y="4383"/>
                    <a:pt x="13036" y="4402"/>
                    <a:pt x="13045" y="4415"/>
                  </a:cubicBezTo>
                  <a:cubicBezTo>
                    <a:pt x="13054" y="4428"/>
                    <a:pt x="13074" y="4393"/>
                    <a:pt x="13074" y="4389"/>
                  </a:cubicBezTo>
                  <a:cubicBezTo>
                    <a:pt x="13074" y="4385"/>
                    <a:pt x="13093" y="4356"/>
                    <a:pt x="13093" y="4356"/>
                  </a:cubicBezTo>
                  <a:cubicBezTo>
                    <a:pt x="13091" y="4381"/>
                    <a:pt x="13091" y="4381"/>
                    <a:pt x="13091" y="4381"/>
                  </a:cubicBezTo>
                  <a:cubicBezTo>
                    <a:pt x="13091" y="4381"/>
                    <a:pt x="13104" y="4394"/>
                    <a:pt x="13114" y="4403"/>
                  </a:cubicBezTo>
                  <a:cubicBezTo>
                    <a:pt x="13125" y="4413"/>
                    <a:pt x="13146" y="4405"/>
                    <a:pt x="13146" y="4405"/>
                  </a:cubicBezTo>
                  <a:cubicBezTo>
                    <a:pt x="13137" y="4414"/>
                    <a:pt x="13137" y="4414"/>
                    <a:pt x="13137" y="4414"/>
                  </a:cubicBezTo>
                  <a:cubicBezTo>
                    <a:pt x="13158" y="4434"/>
                    <a:pt x="13158" y="4434"/>
                    <a:pt x="13158" y="4434"/>
                  </a:cubicBezTo>
                  <a:cubicBezTo>
                    <a:pt x="13196" y="4435"/>
                    <a:pt x="13196" y="4435"/>
                    <a:pt x="13196" y="4435"/>
                  </a:cubicBezTo>
                  <a:cubicBezTo>
                    <a:pt x="13219" y="4452"/>
                    <a:pt x="13219" y="4452"/>
                    <a:pt x="13219" y="4452"/>
                  </a:cubicBezTo>
                  <a:cubicBezTo>
                    <a:pt x="13219" y="4452"/>
                    <a:pt x="13261" y="4466"/>
                    <a:pt x="13285" y="4483"/>
                  </a:cubicBezTo>
                  <a:cubicBezTo>
                    <a:pt x="13308" y="4500"/>
                    <a:pt x="13303" y="4506"/>
                    <a:pt x="13304" y="4525"/>
                  </a:cubicBezTo>
                  <a:cubicBezTo>
                    <a:pt x="13306" y="4545"/>
                    <a:pt x="13328" y="4554"/>
                    <a:pt x="13328" y="4554"/>
                  </a:cubicBezTo>
                  <a:cubicBezTo>
                    <a:pt x="13328" y="4554"/>
                    <a:pt x="13311" y="4557"/>
                    <a:pt x="13311" y="4566"/>
                  </a:cubicBezTo>
                  <a:cubicBezTo>
                    <a:pt x="13311" y="4575"/>
                    <a:pt x="13337" y="4576"/>
                    <a:pt x="13337" y="4576"/>
                  </a:cubicBezTo>
                  <a:cubicBezTo>
                    <a:pt x="13321" y="4582"/>
                    <a:pt x="13321" y="4582"/>
                    <a:pt x="13321" y="4582"/>
                  </a:cubicBezTo>
                  <a:cubicBezTo>
                    <a:pt x="13322" y="4590"/>
                    <a:pt x="13322" y="4590"/>
                    <a:pt x="13322" y="4590"/>
                  </a:cubicBezTo>
                  <a:cubicBezTo>
                    <a:pt x="13327" y="4593"/>
                    <a:pt x="13327" y="4593"/>
                    <a:pt x="13327" y="4593"/>
                  </a:cubicBezTo>
                  <a:cubicBezTo>
                    <a:pt x="13332" y="4614"/>
                    <a:pt x="13332" y="4614"/>
                    <a:pt x="13332" y="4614"/>
                  </a:cubicBezTo>
                  <a:cubicBezTo>
                    <a:pt x="13322" y="4635"/>
                    <a:pt x="13322" y="4635"/>
                    <a:pt x="13322" y="4635"/>
                  </a:cubicBezTo>
                  <a:cubicBezTo>
                    <a:pt x="13328" y="4634"/>
                    <a:pt x="13333" y="4633"/>
                    <a:pt x="13336" y="4634"/>
                  </a:cubicBezTo>
                  <a:cubicBezTo>
                    <a:pt x="13341" y="4637"/>
                    <a:pt x="13375" y="4622"/>
                    <a:pt x="13375" y="4622"/>
                  </a:cubicBezTo>
                  <a:cubicBezTo>
                    <a:pt x="13375" y="4640"/>
                    <a:pt x="13375" y="4640"/>
                    <a:pt x="13375" y="4640"/>
                  </a:cubicBezTo>
                  <a:cubicBezTo>
                    <a:pt x="13375" y="4640"/>
                    <a:pt x="13402" y="4673"/>
                    <a:pt x="13414" y="4682"/>
                  </a:cubicBezTo>
                  <a:cubicBezTo>
                    <a:pt x="13416" y="4683"/>
                    <a:pt x="13417" y="4684"/>
                    <a:pt x="13419" y="4685"/>
                  </a:cubicBezTo>
                  <a:cubicBezTo>
                    <a:pt x="13419" y="4685"/>
                    <a:pt x="13419" y="4685"/>
                    <a:pt x="13419" y="4685"/>
                  </a:cubicBezTo>
                  <a:cubicBezTo>
                    <a:pt x="13436" y="4689"/>
                    <a:pt x="13477" y="4680"/>
                    <a:pt x="13477" y="4680"/>
                  </a:cubicBezTo>
                  <a:cubicBezTo>
                    <a:pt x="13490" y="4692"/>
                    <a:pt x="13490" y="4692"/>
                    <a:pt x="13490" y="4692"/>
                  </a:cubicBezTo>
                  <a:cubicBezTo>
                    <a:pt x="13490" y="4692"/>
                    <a:pt x="13516" y="4682"/>
                    <a:pt x="13528" y="4672"/>
                  </a:cubicBezTo>
                  <a:cubicBezTo>
                    <a:pt x="13540" y="4661"/>
                    <a:pt x="13473" y="4631"/>
                    <a:pt x="13473" y="4631"/>
                  </a:cubicBezTo>
                  <a:cubicBezTo>
                    <a:pt x="13473" y="4631"/>
                    <a:pt x="13528" y="4639"/>
                    <a:pt x="13540" y="4637"/>
                  </a:cubicBezTo>
                  <a:cubicBezTo>
                    <a:pt x="13552" y="4634"/>
                    <a:pt x="13532" y="4613"/>
                    <a:pt x="13532" y="4613"/>
                  </a:cubicBezTo>
                  <a:cubicBezTo>
                    <a:pt x="13532" y="4613"/>
                    <a:pt x="13548" y="4625"/>
                    <a:pt x="13553" y="4622"/>
                  </a:cubicBezTo>
                  <a:cubicBezTo>
                    <a:pt x="13558" y="4620"/>
                    <a:pt x="13548" y="4597"/>
                    <a:pt x="13548" y="4597"/>
                  </a:cubicBezTo>
                  <a:cubicBezTo>
                    <a:pt x="13548" y="4597"/>
                    <a:pt x="13558" y="4606"/>
                    <a:pt x="13565" y="4608"/>
                  </a:cubicBezTo>
                  <a:cubicBezTo>
                    <a:pt x="13571" y="4609"/>
                    <a:pt x="13581" y="4596"/>
                    <a:pt x="13587" y="4595"/>
                  </a:cubicBezTo>
                  <a:cubicBezTo>
                    <a:pt x="13594" y="4593"/>
                    <a:pt x="13604" y="4613"/>
                    <a:pt x="13611" y="4617"/>
                  </a:cubicBezTo>
                  <a:cubicBezTo>
                    <a:pt x="13617" y="4621"/>
                    <a:pt x="13642" y="4616"/>
                    <a:pt x="13660" y="4626"/>
                  </a:cubicBezTo>
                  <a:cubicBezTo>
                    <a:pt x="13679" y="4637"/>
                    <a:pt x="13672" y="4660"/>
                    <a:pt x="13679" y="4672"/>
                  </a:cubicBezTo>
                  <a:cubicBezTo>
                    <a:pt x="13685" y="4684"/>
                    <a:pt x="13698" y="4676"/>
                    <a:pt x="13704" y="4682"/>
                  </a:cubicBezTo>
                  <a:cubicBezTo>
                    <a:pt x="13709" y="4689"/>
                    <a:pt x="13718" y="4730"/>
                    <a:pt x="13732" y="4740"/>
                  </a:cubicBezTo>
                  <a:cubicBezTo>
                    <a:pt x="13747" y="4750"/>
                    <a:pt x="13811" y="4744"/>
                    <a:pt x="13820" y="4748"/>
                  </a:cubicBezTo>
                  <a:cubicBezTo>
                    <a:pt x="13829" y="4752"/>
                    <a:pt x="13849" y="4775"/>
                    <a:pt x="13861" y="4775"/>
                  </a:cubicBezTo>
                  <a:cubicBezTo>
                    <a:pt x="13873" y="4775"/>
                    <a:pt x="13852" y="4748"/>
                    <a:pt x="13852" y="4748"/>
                  </a:cubicBezTo>
                  <a:close/>
                  <a:moveTo>
                    <a:pt x="14324" y="6411"/>
                  </a:moveTo>
                  <a:cubicBezTo>
                    <a:pt x="14315" y="6411"/>
                    <a:pt x="14315" y="6411"/>
                    <a:pt x="14315" y="6411"/>
                  </a:cubicBezTo>
                  <a:cubicBezTo>
                    <a:pt x="14321" y="6386"/>
                    <a:pt x="14321" y="6386"/>
                    <a:pt x="14321" y="6386"/>
                  </a:cubicBezTo>
                  <a:cubicBezTo>
                    <a:pt x="14303" y="6397"/>
                    <a:pt x="14303" y="6397"/>
                    <a:pt x="14303" y="6397"/>
                  </a:cubicBezTo>
                  <a:cubicBezTo>
                    <a:pt x="14303" y="6397"/>
                    <a:pt x="14316" y="6371"/>
                    <a:pt x="14304" y="6371"/>
                  </a:cubicBezTo>
                  <a:cubicBezTo>
                    <a:pt x="14292" y="6370"/>
                    <a:pt x="14282" y="6387"/>
                    <a:pt x="14282" y="6387"/>
                  </a:cubicBezTo>
                  <a:cubicBezTo>
                    <a:pt x="14271" y="6394"/>
                    <a:pt x="14271" y="6394"/>
                    <a:pt x="14271" y="6394"/>
                  </a:cubicBezTo>
                  <a:cubicBezTo>
                    <a:pt x="14271" y="6394"/>
                    <a:pt x="14260" y="6405"/>
                    <a:pt x="14251" y="6416"/>
                  </a:cubicBezTo>
                  <a:cubicBezTo>
                    <a:pt x="14243" y="6427"/>
                    <a:pt x="14222" y="6429"/>
                    <a:pt x="14207" y="6439"/>
                  </a:cubicBezTo>
                  <a:cubicBezTo>
                    <a:pt x="14192" y="6450"/>
                    <a:pt x="14186" y="6468"/>
                    <a:pt x="14186" y="6468"/>
                  </a:cubicBezTo>
                  <a:cubicBezTo>
                    <a:pt x="14186" y="6468"/>
                    <a:pt x="14139" y="6482"/>
                    <a:pt x="14126" y="6491"/>
                  </a:cubicBezTo>
                  <a:cubicBezTo>
                    <a:pt x="14111" y="6500"/>
                    <a:pt x="14087" y="6520"/>
                    <a:pt x="14087" y="6520"/>
                  </a:cubicBezTo>
                  <a:cubicBezTo>
                    <a:pt x="14087" y="6520"/>
                    <a:pt x="14060" y="6524"/>
                    <a:pt x="14043" y="6531"/>
                  </a:cubicBezTo>
                  <a:cubicBezTo>
                    <a:pt x="14027" y="6539"/>
                    <a:pt x="14018" y="6541"/>
                    <a:pt x="14003" y="6549"/>
                  </a:cubicBezTo>
                  <a:cubicBezTo>
                    <a:pt x="13987" y="6558"/>
                    <a:pt x="13957" y="6569"/>
                    <a:pt x="13945" y="6575"/>
                  </a:cubicBezTo>
                  <a:cubicBezTo>
                    <a:pt x="13932" y="6581"/>
                    <a:pt x="13938" y="6600"/>
                    <a:pt x="13938" y="6600"/>
                  </a:cubicBezTo>
                  <a:cubicBezTo>
                    <a:pt x="13928" y="6591"/>
                    <a:pt x="13928" y="6591"/>
                    <a:pt x="13928" y="6591"/>
                  </a:cubicBezTo>
                  <a:cubicBezTo>
                    <a:pt x="13928" y="6591"/>
                    <a:pt x="13893" y="6613"/>
                    <a:pt x="13882" y="6619"/>
                  </a:cubicBezTo>
                  <a:cubicBezTo>
                    <a:pt x="13870" y="6626"/>
                    <a:pt x="13865" y="6623"/>
                    <a:pt x="13849" y="6629"/>
                  </a:cubicBezTo>
                  <a:cubicBezTo>
                    <a:pt x="13833" y="6635"/>
                    <a:pt x="13826" y="6644"/>
                    <a:pt x="13826" y="6644"/>
                  </a:cubicBezTo>
                  <a:cubicBezTo>
                    <a:pt x="13826" y="6644"/>
                    <a:pt x="13846" y="6643"/>
                    <a:pt x="13844" y="6647"/>
                  </a:cubicBezTo>
                  <a:cubicBezTo>
                    <a:pt x="13842" y="6651"/>
                    <a:pt x="13834" y="6656"/>
                    <a:pt x="13838" y="6665"/>
                  </a:cubicBezTo>
                  <a:cubicBezTo>
                    <a:pt x="13843" y="6674"/>
                    <a:pt x="13866" y="6660"/>
                    <a:pt x="13866" y="6660"/>
                  </a:cubicBezTo>
                  <a:cubicBezTo>
                    <a:pt x="13873" y="6667"/>
                    <a:pt x="13873" y="6667"/>
                    <a:pt x="13873" y="6667"/>
                  </a:cubicBezTo>
                  <a:cubicBezTo>
                    <a:pt x="13889" y="6667"/>
                    <a:pt x="13889" y="6667"/>
                    <a:pt x="13889" y="6667"/>
                  </a:cubicBezTo>
                  <a:cubicBezTo>
                    <a:pt x="13891" y="6673"/>
                    <a:pt x="13891" y="6673"/>
                    <a:pt x="13891" y="6673"/>
                  </a:cubicBezTo>
                  <a:cubicBezTo>
                    <a:pt x="13913" y="6670"/>
                    <a:pt x="13913" y="6670"/>
                    <a:pt x="13913" y="6670"/>
                  </a:cubicBezTo>
                  <a:cubicBezTo>
                    <a:pt x="13922" y="6684"/>
                    <a:pt x="13922" y="6684"/>
                    <a:pt x="13922" y="6684"/>
                  </a:cubicBezTo>
                  <a:cubicBezTo>
                    <a:pt x="13944" y="6681"/>
                    <a:pt x="13944" y="6681"/>
                    <a:pt x="13944" y="6681"/>
                  </a:cubicBezTo>
                  <a:cubicBezTo>
                    <a:pt x="13944" y="6681"/>
                    <a:pt x="13962" y="6692"/>
                    <a:pt x="13978" y="6689"/>
                  </a:cubicBezTo>
                  <a:cubicBezTo>
                    <a:pt x="13993" y="6686"/>
                    <a:pt x="13998" y="6670"/>
                    <a:pt x="14008" y="6663"/>
                  </a:cubicBezTo>
                  <a:cubicBezTo>
                    <a:pt x="14018" y="6656"/>
                    <a:pt x="14026" y="6666"/>
                    <a:pt x="14041" y="6656"/>
                  </a:cubicBezTo>
                  <a:cubicBezTo>
                    <a:pt x="14056" y="6646"/>
                    <a:pt x="14046" y="6633"/>
                    <a:pt x="14058" y="6622"/>
                  </a:cubicBezTo>
                  <a:cubicBezTo>
                    <a:pt x="14069" y="6610"/>
                    <a:pt x="14083" y="6618"/>
                    <a:pt x="14091" y="6610"/>
                  </a:cubicBezTo>
                  <a:cubicBezTo>
                    <a:pt x="14099" y="6603"/>
                    <a:pt x="14091" y="6594"/>
                    <a:pt x="14091" y="6594"/>
                  </a:cubicBezTo>
                  <a:cubicBezTo>
                    <a:pt x="14105" y="6593"/>
                    <a:pt x="14105" y="6593"/>
                    <a:pt x="14105" y="6593"/>
                  </a:cubicBezTo>
                  <a:cubicBezTo>
                    <a:pt x="14144" y="6563"/>
                    <a:pt x="14144" y="6563"/>
                    <a:pt x="14144" y="6563"/>
                  </a:cubicBezTo>
                  <a:cubicBezTo>
                    <a:pt x="14132" y="6553"/>
                    <a:pt x="14132" y="6553"/>
                    <a:pt x="14132" y="6553"/>
                  </a:cubicBezTo>
                  <a:cubicBezTo>
                    <a:pt x="14159" y="6563"/>
                    <a:pt x="14159" y="6563"/>
                    <a:pt x="14159" y="6563"/>
                  </a:cubicBezTo>
                  <a:cubicBezTo>
                    <a:pt x="14159" y="6563"/>
                    <a:pt x="14160" y="6547"/>
                    <a:pt x="14169" y="6546"/>
                  </a:cubicBezTo>
                  <a:cubicBezTo>
                    <a:pt x="14178" y="6545"/>
                    <a:pt x="14186" y="6553"/>
                    <a:pt x="14198" y="6556"/>
                  </a:cubicBezTo>
                  <a:cubicBezTo>
                    <a:pt x="14209" y="6558"/>
                    <a:pt x="14214" y="6539"/>
                    <a:pt x="14214" y="6539"/>
                  </a:cubicBezTo>
                  <a:cubicBezTo>
                    <a:pt x="14204" y="6531"/>
                    <a:pt x="14204" y="6531"/>
                    <a:pt x="14204" y="6531"/>
                  </a:cubicBezTo>
                  <a:cubicBezTo>
                    <a:pt x="14221" y="6516"/>
                    <a:pt x="14221" y="6516"/>
                    <a:pt x="14221" y="6516"/>
                  </a:cubicBezTo>
                  <a:cubicBezTo>
                    <a:pt x="14233" y="6502"/>
                    <a:pt x="14233" y="6502"/>
                    <a:pt x="14233" y="6502"/>
                  </a:cubicBezTo>
                  <a:cubicBezTo>
                    <a:pt x="14233" y="6502"/>
                    <a:pt x="14244" y="6495"/>
                    <a:pt x="14256" y="6492"/>
                  </a:cubicBezTo>
                  <a:cubicBezTo>
                    <a:pt x="14268" y="6489"/>
                    <a:pt x="14273" y="6472"/>
                    <a:pt x="14273" y="6472"/>
                  </a:cubicBezTo>
                  <a:cubicBezTo>
                    <a:pt x="14273" y="6472"/>
                    <a:pt x="14284" y="6470"/>
                    <a:pt x="14294" y="6466"/>
                  </a:cubicBezTo>
                  <a:cubicBezTo>
                    <a:pt x="14305" y="6462"/>
                    <a:pt x="14314" y="6444"/>
                    <a:pt x="14314" y="6444"/>
                  </a:cubicBezTo>
                  <a:cubicBezTo>
                    <a:pt x="14314" y="6444"/>
                    <a:pt x="14334" y="6437"/>
                    <a:pt x="14344" y="6425"/>
                  </a:cubicBezTo>
                  <a:cubicBezTo>
                    <a:pt x="14355" y="6412"/>
                    <a:pt x="14342" y="6389"/>
                    <a:pt x="14342" y="6389"/>
                  </a:cubicBezTo>
                  <a:lnTo>
                    <a:pt x="14324" y="6411"/>
                  </a:lnTo>
                  <a:close/>
                  <a:moveTo>
                    <a:pt x="13321" y="4635"/>
                  </a:moveTo>
                  <a:cubicBezTo>
                    <a:pt x="13327" y="4613"/>
                    <a:pt x="13327" y="4613"/>
                    <a:pt x="13327" y="4613"/>
                  </a:cubicBezTo>
                  <a:cubicBezTo>
                    <a:pt x="13323" y="4599"/>
                    <a:pt x="13323" y="4599"/>
                    <a:pt x="13323" y="4599"/>
                  </a:cubicBezTo>
                  <a:cubicBezTo>
                    <a:pt x="13322" y="4598"/>
                    <a:pt x="13322" y="4598"/>
                    <a:pt x="13322" y="4598"/>
                  </a:cubicBezTo>
                  <a:cubicBezTo>
                    <a:pt x="13320" y="4595"/>
                    <a:pt x="13311" y="4587"/>
                    <a:pt x="13292" y="4596"/>
                  </a:cubicBezTo>
                  <a:cubicBezTo>
                    <a:pt x="13270" y="4606"/>
                    <a:pt x="13266" y="4644"/>
                    <a:pt x="13266" y="4644"/>
                  </a:cubicBezTo>
                  <a:cubicBezTo>
                    <a:pt x="13308" y="4639"/>
                    <a:pt x="13308" y="4639"/>
                    <a:pt x="13308" y="4639"/>
                  </a:cubicBezTo>
                  <a:cubicBezTo>
                    <a:pt x="13308" y="4639"/>
                    <a:pt x="13314" y="4637"/>
                    <a:pt x="13321" y="4635"/>
                  </a:cubicBezTo>
                  <a:close/>
                  <a:moveTo>
                    <a:pt x="11435" y="4245"/>
                  </a:moveTo>
                  <a:cubicBezTo>
                    <a:pt x="11425" y="4257"/>
                    <a:pt x="11431" y="4299"/>
                    <a:pt x="11453" y="4295"/>
                  </a:cubicBezTo>
                  <a:cubicBezTo>
                    <a:pt x="11462" y="4293"/>
                    <a:pt x="11446" y="4233"/>
                    <a:pt x="11435" y="4245"/>
                  </a:cubicBezTo>
                  <a:close/>
                  <a:moveTo>
                    <a:pt x="13175" y="4927"/>
                  </a:moveTo>
                  <a:cubicBezTo>
                    <a:pt x="13169" y="4927"/>
                    <a:pt x="13165" y="4958"/>
                    <a:pt x="13165" y="4958"/>
                  </a:cubicBezTo>
                  <a:cubicBezTo>
                    <a:pt x="13175" y="4972"/>
                    <a:pt x="13196" y="4960"/>
                    <a:pt x="13196" y="4960"/>
                  </a:cubicBezTo>
                  <a:cubicBezTo>
                    <a:pt x="13192" y="4951"/>
                    <a:pt x="13192" y="4951"/>
                    <a:pt x="13192" y="4951"/>
                  </a:cubicBezTo>
                  <a:cubicBezTo>
                    <a:pt x="13196" y="4932"/>
                    <a:pt x="13196" y="4932"/>
                    <a:pt x="13196" y="4932"/>
                  </a:cubicBezTo>
                  <a:cubicBezTo>
                    <a:pt x="13196" y="4932"/>
                    <a:pt x="13180" y="4927"/>
                    <a:pt x="13175" y="4927"/>
                  </a:cubicBezTo>
                  <a:close/>
                  <a:moveTo>
                    <a:pt x="13263" y="6362"/>
                  </a:moveTo>
                  <a:cubicBezTo>
                    <a:pt x="13251" y="6337"/>
                    <a:pt x="13251" y="6337"/>
                    <a:pt x="13251" y="6337"/>
                  </a:cubicBezTo>
                  <a:cubicBezTo>
                    <a:pt x="13251" y="6337"/>
                    <a:pt x="13239" y="6344"/>
                    <a:pt x="13238" y="6352"/>
                  </a:cubicBezTo>
                  <a:cubicBezTo>
                    <a:pt x="13238" y="6359"/>
                    <a:pt x="13240" y="6362"/>
                    <a:pt x="13249" y="6365"/>
                  </a:cubicBezTo>
                  <a:cubicBezTo>
                    <a:pt x="13258" y="6368"/>
                    <a:pt x="13263" y="6362"/>
                    <a:pt x="13263" y="6362"/>
                  </a:cubicBezTo>
                  <a:close/>
                  <a:moveTo>
                    <a:pt x="6552" y="1145"/>
                  </a:moveTo>
                  <a:cubicBezTo>
                    <a:pt x="6547" y="1137"/>
                    <a:pt x="6547" y="1137"/>
                    <a:pt x="6547" y="1137"/>
                  </a:cubicBezTo>
                  <a:cubicBezTo>
                    <a:pt x="6541" y="1159"/>
                    <a:pt x="6541" y="1159"/>
                    <a:pt x="6541" y="1159"/>
                  </a:cubicBezTo>
                  <a:lnTo>
                    <a:pt x="6552" y="1145"/>
                  </a:lnTo>
                  <a:close/>
                  <a:moveTo>
                    <a:pt x="6608" y="1224"/>
                  </a:moveTo>
                  <a:cubicBezTo>
                    <a:pt x="6600" y="1224"/>
                    <a:pt x="6599" y="1230"/>
                    <a:pt x="6596" y="1245"/>
                  </a:cubicBezTo>
                  <a:cubicBezTo>
                    <a:pt x="6594" y="1257"/>
                    <a:pt x="6616" y="1224"/>
                    <a:pt x="6608" y="1224"/>
                  </a:cubicBezTo>
                  <a:close/>
                  <a:moveTo>
                    <a:pt x="6587" y="1127"/>
                  </a:moveTo>
                  <a:cubicBezTo>
                    <a:pt x="6577" y="1127"/>
                    <a:pt x="6583" y="1137"/>
                    <a:pt x="6583" y="1137"/>
                  </a:cubicBezTo>
                  <a:cubicBezTo>
                    <a:pt x="6583" y="1137"/>
                    <a:pt x="6575" y="1134"/>
                    <a:pt x="6572" y="1137"/>
                  </a:cubicBezTo>
                  <a:cubicBezTo>
                    <a:pt x="6569" y="1140"/>
                    <a:pt x="6581" y="1147"/>
                    <a:pt x="6583" y="1151"/>
                  </a:cubicBezTo>
                  <a:cubicBezTo>
                    <a:pt x="6585" y="1155"/>
                    <a:pt x="6600" y="1152"/>
                    <a:pt x="6600" y="1152"/>
                  </a:cubicBezTo>
                  <a:cubicBezTo>
                    <a:pt x="6593" y="1144"/>
                    <a:pt x="6593" y="1144"/>
                    <a:pt x="6593" y="1144"/>
                  </a:cubicBezTo>
                  <a:cubicBezTo>
                    <a:pt x="6593" y="1144"/>
                    <a:pt x="6597" y="1127"/>
                    <a:pt x="6587" y="1127"/>
                  </a:cubicBezTo>
                  <a:close/>
                  <a:moveTo>
                    <a:pt x="6627" y="1237"/>
                  </a:moveTo>
                  <a:cubicBezTo>
                    <a:pt x="6633" y="1233"/>
                    <a:pt x="6624" y="1220"/>
                    <a:pt x="6618" y="1226"/>
                  </a:cubicBezTo>
                  <a:cubicBezTo>
                    <a:pt x="6612" y="1232"/>
                    <a:pt x="6620" y="1241"/>
                    <a:pt x="6627" y="1237"/>
                  </a:cubicBezTo>
                  <a:close/>
                  <a:moveTo>
                    <a:pt x="6647" y="1293"/>
                  </a:moveTo>
                  <a:cubicBezTo>
                    <a:pt x="6642" y="1278"/>
                    <a:pt x="6637" y="1298"/>
                    <a:pt x="6628" y="1306"/>
                  </a:cubicBezTo>
                  <a:cubicBezTo>
                    <a:pt x="6628" y="1306"/>
                    <a:pt x="6652" y="1308"/>
                    <a:pt x="6647" y="1293"/>
                  </a:cubicBezTo>
                  <a:close/>
                  <a:moveTo>
                    <a:pt x="6576" y="1101"/>
                  </a:moveTo>
                  <a:cubicBezTo>
                    <a:pt x="6576" y="1101"/>
                    <a:pt x="6568" y="1093"/>
                    <a:pt x="6562" y="1096"/>
                  </a:cubicBezTo>
                  <a:cubicBezTo>
                    <a:pt x="6557" y="1099"/>
                    <a:pt x="6563" y="1121"/>
                    <a:pt x="6563" y="1121"/>
                  </a:cubicBezTo>
                  <a:cubicBezTo>
                    <a:pt x="6572" y="1112"/>
                    <a:pt x="6572" y="1112"/>
                    <a:pt x="6572" y="1112"/>
                  </a:cubicBezTo>
                  <a:cubicBezTo>
                    <a:pt x="6572" y="1112"/>
                    <a:pt x="6578" y="1114"/>
                    <a:pt x="6584" y="1113"/>
                  </a:cubicBezTo>
                  <a:cubicBezTo>
                    <a:pt x="6590" y="1112"/>
                    <a:pt x="6598" y="1083"/>
                    <a:pt x="6598" y="1083"/>
                  </a:cubicBezTo>
                  <a:cubicBezTo>
                    <a:pt x="6598" y="1083"/>
                    <a:pt x="6590" y="1085"/>
                    <a:pt x="6584" y="1090"/>
                  </a:cubicBezTo>
                  <a:cubicBezTo>
                    <a:pt x="6578" y="1094"/>
                    <a:pt x="6576" y="1101"/>
                    <a:pt x="6576" y="1101"/>
                  </a:cubicBezTo>
                  <a:close/>
                  <a:moveTo>
                    <a:pt x="6370" y="744"/>
                  </a:moveTo>
                  <a:cubicBezTo>
                    <a:pt x="6356" y="737"/>
                    <a:pt x="6344" y="744"/>
                    <a:pt x="6344" y="744"/>
                  </a:cubicBezTo>
                  <a:cubicBezTo>
                    <a:pt x="6347" y="734"/>
                    <a:pt x="6347" y="734"/>
                    <a:pt x="6347" y="734"/>
                  </a:cubicBezTo>
                  <a:cubicBezTo>
                    <a:pt x="6329" y="735"/>
                    <a:pt x="6329" y="735"/>
                    <a:pt x="6329" y="735"/>
                  </a:cubicBezTo>
                  <a:cubicBezTo>
                    <a:pt x="6339" y="720"/>
                    <a:pt x="6339" y="720"/>
                    <a:pt x="6339" y="720"/>
                  </a:cubicBezTo>
                  <a:cubicBezTo>
                    <a:pt x="6330" y="718"/>
                    <a:pt x="6330" y="718"/>
                    <a:pt x="6330" y="718"/>
                  </a:cubicBezTo>
                  <a:cubicBezTo>
                    <a:pt x="6334" y="706"/>
                    <a:pt x="6334" y="706"/>
                    <a:pt x="6334" y="706"/>
                  </a:cubicBezTo>
                  <a:cubicBezTo>
                    <a:pt x="6313" y="711"/>
                    <a:pt x="6313" y="711"/>
                    <a:pt x="6313" y="711"/>
                  </a:cubicBezTo>
                  <a:cubicBezTo>
                    <a:pt x="6313" y="711"/>
                    <a:pt x="6292" y="694"/>
                    <a:pt x="6285" y="694"/>
                  </a:cubicBezTo>
                  <a:cubicBezTo>
                    <a:pt x="6278" y="694"/>
                    <a:pt x="6282" y="710"/>
                    <a:pt x="6282" y="710"/>
                  </a:cubicBezTo>
                  <a:cubicBezTo>
                    <a:pt x="6268" y="716"/>
                    <a:pt x="6268" y="716"/>
                    <a:pt x="6268" y="716"/>
                  </a:cubicBezTo>
                  <a:cubicBezTo>
                    <a:pt x="6268" y="716"/>
                    <a:pt x="6256" y="713"/>
                    <a:pt x="6250" y="713"/>
                  </a:cubicBezTo>
                  <a:cubicBezTo>
                    <a:pt x="6244" y="713"/>
                    <a:pt x="6237" y="723"/>
                    <a:pt x="6237" y="723"/>
                  </a:cubicBezTo>
                  <a:cubicBezTo>
                    <a:pt x="6237" y="723"/>
                    <a:pt x="6221" y="711"/>
                    <a:pt x="6215" y="713"/>
                  </a:cubicBezTo>
                  <a:cubicBezTo>
                    <a:pt x="6209" y="715"/>
                    <a:pt x="6214" y="735"/>
                    <a:pt x="6214" y="735"/>
                  </a:cubicBezTo>
                  <a:cubicBezTo>
                    <a:pt x="6214" y="735"/>
                    <a:pt x="6196" y="710"/>
                    <a:pt x="6189" y="710"/>
                  </a:cubicBezTo>
                  <a:cubicBezTo>
                    <a:pt x="6182" y="710"/>
                    <a:pt x="6186" y="717"/>
                    <a:pt x="6186" y="717"/>
                  </a:cubicBezTo>
                  <a:cubicBezTo>
                    <a:pt x="6186" y="717"/>
                    <a:pt x="6171" y="717"/>
                    <a:pt x="6170" y="720"/>
                  </a:cubicBezTo>
                  <a:cubicBezTo>
                    <a:pt x="6169" y="723"/>
                    <a:pt x="6169" y="732"/>
                    <a:pt x="6169" y="732"/>
                  </a:cubicBezTo>
                  <a:cubicBezTo>
                    <a:pt x="6159" y="733"/>
                    <a:pt x="6159" y="733"/>
                    <a:pt x="6159" y="733"/>
                  </a:cubicBezTo>
                  <a:cubicBezTo>
                    <a:pt x="6159" y="733"/>
                    <a:pt x="6143" y="712"/>
                    <a:pt x="6138" y="716"/>
                  </a:cubicBezTo>
                  <a:cubicBezTo>
                    <a:pt x="6133" y="720"/>
                    <a:pt x="6138" y="743"/>
                    <a:pt x="6133" y="744"/>
                  </a:cubicBezTo>
                  <a:cubicBezTo>
                    <a:pt x="6128" y="745"/>
                    <a:pt x="6121" y="736"/>
                    <a:pt x="6117" y="736"/>
                  </a:cubicBezTo>
                  <a:cubicBezTo>
                    <a:pt x="6113" y="736"/>
                    <a:pt x="6100" y="757"/>
                    <a:pt x="6100" y="757"/>
                  </a:cubicBezTo>
                  <a:cubicBezTo>
                    <a:pt x="6098" y="750"/>
                    <a:pt x="6098" y="750"/>
                    <a:pt x="6098" y="750"/>
                  </a:cubicBezTo>
                  <a:cubicBezTo>
                    <a:pt x="6090" y="734"/>
                    <a:pt x="6090" y="734"/>
                    <a:pt x="6090" y="734"/>
                  </a:cubicBezTo>
                  <a:cubicBezTo>
                    <a:pt x="6090" y="734"/>
                    <a:pt x="6106" y="729"/>
                    <a:pt x="6100" y="720"/>
                  </a:cubicBezTo>
                  <a:cubicBezTo>
                    <a:pt x="6094" y="711"/>
                    <a:pt x="6061" y="697"/>
                    <a:pt x="6056" y="701"/>
                  </a:cubicBezTo>
                  <a:cubicBezTo>
                    <a:pt x="6051" y="705"/>
                    <a:pt x="6057" y="720"/>
                    <a:pt x="6057" y="720"/>
                  </a:cubicBezTo>
                  <a:cubicBezTo>
                    <a:pt x="6057" y="720"/>
                    <a:pt x="6037" y="713"/>
                    <a:pt x="6031" y="713"/>
                  </a:cubicBezTo>
                  <a:cubicBezTo>
                    <a:pt x="6025" y="713"/>
                    <a:pt x="6013" y="725"/>
                    <a:pt x="6013" y="725"/>
                  </a:cubicBezTo>
                  <a:cubicBezTo>
                    <a:pt x="6023" y="731"/>
                    <a:pt x="6023" y="731"/>
                    <a:pt x="6023" y="731"/>
                  </a:cubicBezTo>
                  <a:cubicBezTo>
                    <a:pt x="6023" y="731"/>
                    <a:pt x="6011" y="729"/>
                    <a:pt x="6005" y="735"/>
                  </a:cubicBezTo>
                  <a:cubicBezTo>
                    <a:pt x="5999" y="741"/>
                    <a:pt x="5992" y="741"/>
                    <a:pt x="5992" y="741"/>
                  </a:cubicBezTo>
                  <a:cubicBezTo>
                    <a:pt x="5992" y="741"/>
                    <a:pt x="6000" y="748"/>
                    <a:pt x="6008" y="748"/>
                  </a:cubicBezTo>
                  <a:cubicBezTo>
                    <a:pt x="6016" y="748"/>
                    <a:pt x="6043" y="737"/>
                    <a:pt x="6043" y="737"/>
                  </a:cubicBezTo>
                  <a:cubicBezTo>
                    <a:pt x="6078" y="743"/>
                    <a:pt x="6078" y="743"/>
                    <a:pt x="6078" y="743"/>
                  </a:cubicBezTo>
                  <a:cubicBezTo>
                    <a:pt x="6052" y="755"/>
                    <a:pt x="6052" y="755"/>
                    <a:pt x="6052" y="755"/>
                  </a:cubicBezTo>
                  <a:cubicBezTo>
                    <a:pt x="6052" y="755"/>
                    <a:pt x="6072" y="758"/>
                    <a:pt x="6072" y="762"/>
                  </a:cubicBezTo>
                  <a:cubicBezTo>
                    <a:pt x="6072" y="766"/>
                    <a:pt x="6027" y="766"/>
                    <a:pt x="6023" y="767"/>
                  </a:cubicBezTo>
                  <a:cubicBezTo>
                    <a:pt x="6019" y="768"/>
                    <a:pt x="5988" y="766"/>
                    <a:pt x="5994" y="773"/>
                  </a:cubicBezTo>
                  <a:cubicBezTo>
                    <a:pt x="6000" y="780"/>
                    <a:pt x="6013" y="775"/>
                    <a:pt x="6026" y="776"/>
                  </a:cubicBezTo>
                  <a:cubicBezTo>
                    <a:pt x="6039" y="777"/>
                    <a:pt x="6053" y="789"/>
                    <a:pt x="6053" y="789"/>
                  </a:cubicBezTo>
                  <a:cubicBezTo>
                    <a:pt x="6076" y="785"/>
                    <a:pt x="6076" y="785"/>
                    <a:pt x="6076" y="785"/>
                  </a:cubicBezTo>
                  <a:cubicBezTo>
                    <a:pt x="6063" y="795"/>
                    <a:pt x="6063" y="795"/>
                    <a:pt x="6063" y="795"/>
                  </a:cubicBezTo>
                  <a:cubicBezTo>
                    <a:pt x="6073" y="799"/>
                    <a:pt x="6073" y="799"/>
                    <a:pt x="6073" y="799"/>
                  </a:cubicBezTo>
                  <a:cubicBezTo>
                    <a:pt x="6073" y="799"/>
                    <a:pt x="6070" y="808"/>
                    <a:pt x="6063" y="812"/>
                  </a:cubicBezTo>
                  <a:cubicBezTo>
                    <a:pt x="6056" y="816"/>
                    <a:pt x="6023" y="810"/>
                    <a:pt x="6029" y="819"/>
                  </a:cubicBezTo>
                  <a:cubicBezTo>
                    <a:pt x="6035" y="828"/>
                    <a:pt x="6063" y="824"/>
                    <a:pt x="6070" y="824"/>
                  </a:cubicBezTo>
                  <a:cubicBezTo>
                    <a:pt x="6077" y="824"/>
                    <a:pt x="6086" y="817"/>
                    <a:pt x="6086" y="817"/>
                  </a:cubicBezTo>
                  <a:cubicBezTo>
                    <a:pt x="6104" y="828"/>
                    <a:pt x="6104" y="828"/>
                    <a:pt x="6104" y="828"/>
                  </a:cubicBezTo>
                  <a:cubicBezTo>
                    <a:pt x="6112" y="821"/>
                    <a:pt x="6112" y="821"/>
                    <a:pt x="6112" y="821"/>
                  </a:cubicBezTo>
                  <a:cubicBezTo>
                    <a:pt x="6112" y="821"/>
                    <a:pt x="6109" y="827"/>
                    <a:pt x="6119" y="832"/>
                  </a:cubicBezTo>
                  <a:cubicBezTo>
                    <a:pt x="6129" y="837"/>
                    <a:pt x="6152" y="846"/>
                    <a:pt x="6160" y="844"/>
                  </a:cubicBezTo>
                  <a:cubicBezTo>
                    <a:pt x="6188" y="837"/>
                    <a:pt x="6188" y="843"/>
                    <a:pt x="6195" y="838"/>
                  </a:cubicBezTo>
                  <a:cubicBezTo>
                    <a:pt x="6202" y="833"/>
                    <a:pt x="6199" y="825"/>
                    <a:pt x="6199" y="825"/>
                  </a:cubicBezTo>
                  <a:cubicBezTo>
                    <a:pt x="6199" y="825"/>
                    <a:pt x="6218" y="833"/>
                    <a:pt x="6226" y="830"/>
                  </a:cubicBezTo>
                  <a:cubicBezTo>
                    <a:pt x="6234" y="827"/>
                    <a:pt x="6234" y="820"/>
                    <a:pt x="6234" y="820"/>
                  </a:cubicBezTo>
                  <a:cubicBezTo>
                    <a:pt x="6234" y="820"/>
                    <a:pt x="6245" y="824"/>
                    <a:pt x="6250" y="824"/>
                  </a:cubicBezTo>
                  <a:cubicBezTo>
                    <a:pt x="6255" y="824"/>
                    <a:pt x="6293" y="801"/>
                    <a:pt x="6301" y="800"/>
                  </a:cubicBezTo>
                  <a:cubicBezTo>
                    <a:pt x="6309" y="799"/>
                    <a:pt x="6320" y="806"/>
                    <a:pt x="6327" y="799"/>
                  </a:cubicBezTo>
                  <a:cubicBezTo>
                    <a:pt x="6334" y="792"/>
                    <a:pt x="6335" y="781"/>
                    <a:pt x="6335" y="781"/>
                  </a:cubicBezTo>
                  <a:cubicBezTo>
                    <a:pt x="6335" y="781"/>
                    <a:pt x="6342" y="781"/>
                    <a:pt x="6351" y="777"/>
                  </a:cubicBezTo>
                  <a:cubicBezTo>
                    <a:pt x="6360" y="773"/>
                    <a:pt x="6371" y="763"/>
                    <a:pt x="6371" y="763"/>
                  </a:cubicBezTo>
                  <a:cubicBezTo>
                    <a:pt x="6361" y="762"/>
                    <a:pt x="6361" y="762"/>
                    <a:pt x="6361" y="762"/>
                  </a:cubicBezTo>
                  <a:cubicBezTo>
                    <a:pt x="6361" y="762"/>
                    <a:pt x="6384" y="751"/>
                    <a:pt x="6370" y="744"/>
                  </a:cubicBezTo>
                  <a:close/>
                  <a:moveTo>
                    <a:pt x="6577" y="1229"/>
                  </a:moveTo>
                  <a:cubicBezTo>
                    <a:pt x="6592" y="1229"/>
                    <a:pt x="6599" y="1218"/>
                    <a:pt x="6588" y="1216"/>
                  </a:cubicBezTo>
                  <a:cubicBezTo>
                    <a:pt x="6577" y="1214"/>
                    <a:pt x="6568" y="1229"/>
                    <a:pt x="6577" y="1229"/>
                  </a:cubicBezTo>
                  <a:close/>
                  <a:moveTo>
                    <a:pt x="6553" y="1123"/>
                  </a:moveTo>
                  <a:cubicBezTo>
                    <a:pt x="6547" y="1123"/>
                    <a:pt x="6544" y="1123"/>
                    <a:pt x="6542" y="1131"/>
                  </a:cubicBezTo>
                  <a:cubicBezTo>
                    <a:pt x="6556" y="1131"/>
                    <a:pt x="6556" y="1131"/>
                    <a:pt x="6556" y="1131"/>
                  </a:cubicBezTo>
                  <a:cubicBezTo>
                    <a:pt x="6556" y="1131"/>
                    <a:pt x="6559" y="1123"/>
                    <a:pt x="6553" y="1123"/>
                  </a:cubicBezTo>
                  <a:close/>
                  <a:moveTo>
                    <a:pt x="6576" y="1346"/>
                  </a:moveTo>
                  <a:cubicBezTo>
                    <a:pt x="6576" y="1336"/>
                    <a:pt x="6567" y="1329"/>
                    <a:pt x="6567" y="1329"/>
                  </a:cubicBezTo>
                  <a:cubicBezTo>
                    <a:pt x="6567" y="1329"/>
                    <a:pt x="6567" y="1320"/>
                    <a:pt x="6565" y="1315"/>
                  </a:cubicBezTo>
                  <a:cubicBezTo>
                    <a:pt x="6565" y="1311"/>
                    <a:pt x="6574" y="1310"/>
                    <a:pt x="6579" y="1308"/>
                  </a:cubicBezTo>
                  <a:cubicBezTo>
                    <a:pt x="6581" y="1308"/>
                    <a:pt x="6583" y="1307"/>
                    <a:pt x="6584" y="1306"/>
                  </a:cubicBezTo>
                  <a:cubicBezTo>
                    <a:pt x="6587" y="1303"/>
                    <a:pt x="6589" y="1297"/>
                    <a:pt x="6589" y="1297"/>
                  </a:cubicBezTo>
                  <a:cubicBezTo>
                    <a:pt x="6589" y="1297"/>
                    <a:pt x="6594" y="1304"/>
                    <a:pt x="6597" y="1298"/>
                  </a:cubicBezTo>
                  <a:cubicBezTo>
                    <a:pt x="6600" y="1292"/>
                    <a:pt x="6607" y="1282"/>
                    <a:pt x="6600" y="1276"/>
                  </a:cubicBezTo>
                  <a:cubicBezTo>
                    <a:pt x="6593" y="1270"/>
                    <a:pt x="6593" y="1261"/>
                    <a:pt x="6593" y="1261"/>
                  </a:cubicBezTo>
                  <a:cubicBezTo>
                    <a:pt x="6588" y="1263"/>
                    <a:pt x="6588" y="1263"/>
                    <a:pt x="6588" y="1263"/>
                  </a:cubicBezTo>
                  <a:cubicBezTo>
                    <a:pt x="6588" y="1263"/>
                    <a:pt x="6583" y="1251"/>
                    <a:pt x="6576" y="1249"/>
                  </a:cubicBezTo>
                  <a:cubicBezTo>
                    <a:pt x="6569" y="1247"/>
                    <a:pt x="6551" y="1250"/>
                    <a:pt x="6551" y="1250"/>
                  </a:cubicBezTo>
                  <a:cubicBezTo>
                    <a:pt x="6551" y="1250"/>
                    <a:pt x="6551" y="1250"/>
                    <a:pt x="6551" y="1249"/>
                  </a:cubicBezTo>
                  <a:cubicBezTo>
                    <a:pt x="6550" y="1248"/>
                    <a:pt x="6548" y="1246"/>
                    <a:pt x="6543" y="1244"/>
                  </a:cubicBezTo>
                  <a:cubicBezTo>
                    <a:pt x="6536" y="1242"/>
                    <a:pt x="6528" y="1256"/>
                    <a:pt x="6528" y="1256"/>
                  </a:cubicBezTo>
                  <a:cubicBezTo>
                    <a:pt x="6524" y="1246"/>
                    <a:pt x="6524" y="1246"/>
                    <a:pt x="6524" y="1246"/>
                  </a:cubicBezTo>
                  <a:cubicBezTo>
                    <a:pt x="6524" y="1246"/>
                    <a:pt x="6501" y="1246"/>
                    <a:pt x="6497" y="1251"/>
                  </a:cubicBezTo>
                  <a:cubicBezTo>
                    <a:pt x="6493" y="1257"/>
                    <a:pt x="6489" y="1272"/>
                    <a:pt x="6489" y="1272"/>
                  </a:cubicBezTo>
                  <a:cubicBezTo>
                    <a:pt x="6489" y="1272"/>
                    <a:pt x="6474" y="1271"/>
                    <a:pt x="6474" y="1277"/>
                  </a:cubicBezTo>
                  <a:cubicBezTo>
                    <a:pt x="6474" y="1283"/>
                    <a:pt x="6496" y="1279"/>
                    <a:pt x="6492" y="1286"/>
                  </a:cubicBezTo>
                  <a:cubicBezTo>
                    <a:pt x="6488" y="1293"/>
                    <a:pt x="6484" y="1289"/>
                    <a:pt x="6482" y="1292"/>
                  </a:cubicBezTo>
                  <a:cubicBezTo>
                    <a:pt x="6480" y="1295"/>
                    <a:pt x="6477" y="1299"/>
                    <a:pt x="6477" y="1299"/>
                  </a:cubicBezTo>
                  <a:cubicBezTo>
                    <a:pt x="6459" y="1298"/>
                    <a:pt x="6459" y="1298"/>
                    <a:pt x="6459" y="1298"/>
                  </a:cubicBezTo>
                  <a:cubicBezTo>
                    <a:pt x="6459" y="1303"/>
                    <a:pt x="6459" y="1303"/>
                    <a:pt x="6459" y="1303"/>
                  </a:cubicBezTo>
                  <a:cubicBezTo>
                    <a:pt x="6459" y="1303"/>
                    <a:pt x="6446" y="1289"/>
                    <a:pt x="6438" y="1293"/>
                  </a:cubicBezTo>
                  <a:cubicBezTo>
                    <a:pt x="6430" y="1297"/>
                    <a:pt x="6420" y="1296"/>
                    <a:pt x="6420" y="1296"/>
                  </a:cubicBezTo>
                  <a:cubicBezTo>
                    <a:pt x="6420" y="1296"/>
                    <a:pt x="6418" y="1313"/>
                    <a:pt x="6423" y="1313"/>
                  </a:cubicBezTo>
                  <a:cubicBezTo>
                    <a:pt x="6428" y="1313"/>
                    <a:pt x="6432" y="1321"/>
                    <a:pt x="6432" y="1321"/>
                  </a:cubicBezTo>
                  <a:cubicBezTo>
                    <a:pt x="6421" y="1328"/>
                    <a:pt x="6421" y="1328"/>
                    <a:pt x="6421" y="1328"/>
                  </a:cubicBezTo>
                  <a:cubicBezTo>
                    <a:pt x="6421" y="1328"/>
                    <a:pt x="6410" y="1332"/>
                    <a:pt x="6415" y="1340"/>
                  </a:cubicBezTo>
                  <a:cubicBezTo>
                    <a:pt x="6420" y="1348"/>
                    <a:pt x="6438" y="1349"/>
                    <a:pt x="6438" y="1349"/>
                  </a:cubicBezTo>
                  <a:cubicBezTo>
                    <a:pt x="6438" y="1349"/>
                    <a:pt x="6457" y="1341"/>
                    <a:pt x="6456" y="1349"/>
                  </a:cubicBezTo>
                  <a:cubicBezTo>
                    <a:pt x="6455" y="1357"/>
                    <a:pt x="6440" y="1358"/>
                    <a:pt x="6440" y="1358"/>
                  </a:cubicBezTo>
                  <a:cubicBezTo>
                    <a:pt x="6440" y="1372"/>
                    <a:pt x="6440" y="1372"/>
                    <a:pt x="6440" y="1372"/>
                  </a:cubicBezTo>
                  <a:cubicBezTo>
                    <a:pt x="6440" y="1372"/>
                    <a:pt x="6427" y="1367"/>
                    <a:pt x="6425" y="1376"/>
                  </a:cubicBezTo>
                  <a:cubicBezTo>
                    <a:pt x="6423" y="1385"/>
                    <a:pt x="6420" y="1398"/>
                    <a:pt x="6420" y="1398"/>
                  </a:cubicBezTo>
                  <a:cubicBezTo>
                    <a:pt x="6420" y="1398"/>
                    <a:pt x="6395" y="1398"/>
                    <a:pt x="6394" y="1403"/>
                  </a:cubicBezTo>
                  <a:cubicBezTo>
                    <a:pt x="6393" y="1408"/>
                    <a:pt x="6405" y="1409"/>
                    <a:pt x="6405" y="1409"/>
                  </a:cubicBezTo>
                  <a:cubicBezTo>
                    <a:pt x="6405" y="1409"/>
                    <a:pt x="6390" y="1411"/>
                    <a:pt x="6390" y="1418"/>
                  </a:cubicBezTo>
                  <a:cubicBezTo>
                    <a:pt x="6390" y="1426"/>
                    <a:pt x="6397" y="1425"/>
                    <a:pt x="6397" y="1425"/>
                  </a:cubicBezTo>
                  <a:cubicBezTo>
                    <a:pt x="6420" y="1422"/>
                    <a:pt x="6420" y="1422"/>
                    <a:pt x="6420" y="1422"/>
                  </a:cubicBezTo>
                  <a:cubicBezTo>
                    <a:pt x="6409" y="1434"/>
                    <a:pt x="6409" y="1434"/>
                    <a:pt x="6409" y="1434"/>
                  </a:cubicBezTo>
                  <a:cubicBezTo>
                    <a:pt x="6409" y="1434"/>
                    <a:pt x="6426" y="1429"/>
                    <a:pt x="6425" y="1432"/>
                  </a:cubicBezTo>
                  <a:cubicBezTo>
                    <a:pt x="6424" y="1435"/>
                    <a:pt x="6404" y="1444"/>
                    <a:pt x="6419" y="1444"/>
                  </a:cubicBezTo>
                  <a:cubicBezTo>
                    <a:pt x="6434" y="1444"/>
                    <a:pt x="6455" y="1438"/>
                    <a:pt x="6464" y="1433"/>
                  </a:cubicBezTo>
                  <a:cubicBezTo>
                    <a:pt x="6473" y="1428"/>
                    <a:pt x="6473" y="1420"/>
                    <a:pt x="6473" y="1420"/>
                  </a:cubicBezTo>
                  <a:cubicBezTo>
                    <a:pt x="6473" y="1420"/>
                    <a:pt x="6483" y="1426"/>
                    <a:pt x="6492" y="1420"/>
                  </a:cubicBezTo>
                  <a:cubicBezTo>
                    <a:pt x="6501" y="1415"/>
                    <a:pt x="6502" y="1409"/>
                    <a:pt x="6514" y="1408"/>
                  </a:cubicBezTo>
                  <a:cubicBezTo>
                    <a:pt x="6525" y="1407"/>
                    <a:pt x="6530" y="1407"/>
                    <a:pt x="6530" y="1407"/>
                  </a:cubicBezTo>
                  <a:cubicBezTo>
                    <a:pt x="6533" y="1401"/>
                    <a:pt x="6533" y="1401"/>
                    <a:pt x="6533" y="1401"/>
                  </a:cubicBezTo>
                  <a:cubicBezTo>
                    <a:pt x="6558" y="1402"/>
                    <a:pt x="6558" y="1402"/>
                    <a:pt x="6558" y="1402"/>
                  </a:cubicBezTo>
                  <a:cubicBezTo>
                    <a:pt x="6557" y="1390"/>
                    <a:pt x="6557" y="1390"/>
                    <a:pt x="6557" y="1390"/>
                  </a:cubicBezTo>
                  <a:cubicBezTo>
                    <a:pt x="6557" y="1390"/>
                    <a:pt x="6569" y="1392"/>
                    <a:pt x="6569" y="1388"/>
                  </a:cubicBezTo>
                  <a:cubicBezTo>
                    <a:pt x="6569" y="1384"/>
                    <a:pt x="6564" y="1380"/>
                    <a:pt x="6568" y="1375"/>
                  </a:cubicBezTo>
                  <a:cubicBezTo>
                    <a:pt x="6571" y="1370"/>
                    <a:pt x="6576" y="1356"/>
                    <a:pt x="6576" y="1346"/>
                  </a:cubicBezTo>
                  <a:close/>
                  <a:moveTo>
                    <a:pt x="6590" y="1178"/>
                  </a:moveTo>
                  <a:cubicBezTo>
                    <a:pt x="6586" y="1178"/>
                    <a:pt x="6580" y="1190"/>
                    <a:pt x="6584" y="1193"/>
                  </a:cubicBezTo>
                  <a:cubicBezTo>
                    <a:pt x="6588" y="1196"/>
                    <a:pt x="6601" y="1189"/>
                    <a:pt x="6601" y="1189"/>
                  </a:cubicBezTo>
                  <a:cubicBezTo>
                    <a:pt x="6601" y="1189"/>
                    <a:pt x="6594" y="1178"/>
                    <a:pt x="6590" y="1178"/>
                  </a:cubicBezTo>
                  <a:close/>
                  <a:moveTo>
                    <a:pt x="7967" y="2161"/>
                  </a:moveTo>
                  <a:cubicBezTo>
                    <a:pt x="7957" y="2153"/>
                    <a:pt x="7959" y="2171"/>
                    <a:pt x="7959" y="2171"/>
                  </a:cubicBezTo>
                  <a:cubicBezTo>
                    <a:pt x="7973" y="2178"/>
                    <a:pt x="7977" y="2169"/>
                    <a:pt x="7967" y="2161"/>
                  </a:cubicBezTo>
                  <a:close/>
                  <a:moveTo>
                    <a:pt x="7937" y="2078"/>
                  </a:moveTo>
                  <a:cubicBezTo>
                    <a:pt x="7918" y="2083"/>
                    <a:pt x="7918" y="2083"/>
                    <a:pt x="7918" y="2083"/>
                  </a:cubicBezTo>
                  <a:cubicBezTo>
                    <a:pt x="7919" y="2099"/>
                    <a:pt x="7932" y="2092"/>
                    <a:pt x="7932" y="2092"/>
                  </a:cubicBezTo>
                  <a:cubicBezTo>
                    <a:pt x="7932" y="2092"/>
                    <a:pt x="7937" y="2103"/>
                    <a:pt x="7946" y="2099"/>
                  </a:cubicBezTo>
                  <a:cubicBezTo>
                    <a:pt x="7955" y="2095"/>
                    <a:pt x="7937" y="2078"/>
                    <a:pt x="7937" y="2078"/>
                  </a:cubicBezTo>
                  <a:close/>
                  <a:moveTo>
                    <a:pt x="7491" y="141"/>
                  </a:moveTo>
                  <a:cubicBezTo>
                    <a:pt x="7519" y="141"/>
                    <a:pt x="7519" y="141"/>
                    <a:pt x="7519" y="141"/>
                  </a:cubicBezTo>
                  <a:cubicBezTo>
                    <a:pt x="7519" y="141"/>
                    <a:pt x="7550" y="152"/>
                    <a:pt x="7554" y="150"/>
                  </a:cubicBezTo>
                  <a:cubicBezTo>
                    <a:pt x="7558" y="149"/>
                    <a:pt x="7580" y="145"/>
                    <a:pt x="7585" y="145"/>
                  </a:cubicBezTo>
                  <a:cubicBezTo>
                    <a:pt x="7591" y="145"/>
                    <a:pt x="7637" y="163"/>
                    <a:pt x="7637" y="163"/>
                  </a:cubicBezTo>
                  <a:cubicBezTo>
                    <a:pt x="7651" y="148"/>
                    <a:pt x="7651" y="148"/>
                    <a:pt x="7651" y="148"/>
                  </a:cubicBezTo>
                  <a:cubicBezTo>
                    <a:pt x="7691" y="149"/>
                    <a:pt x="7691" y="149"/>
                    <a:pt x="7691" y="149"/>
                  </a:cubicBezTo>
                  <a:cubicBezTo>
                    <a:pt x="7694" y="136"/>
                    <a:pt x="7694" y="136"/>
                    <a:pt x="7694" y="136"/>
                  </a:cubicBezTo>
                  <a:cubicBezTo>
                    <a:pt x="7694" y="136"/>
                    <a:pt x="7715" y="143"/>
                    <a:pt x="7726" y="122"/>
                  </a:cubicBezTo>
                  <a:cubicBezTo>
                    <a:pt x="7737" y="101"/>
                    <a:pt x="7691" y="118"/>
                    <a:pt x="7691" y="118"/>
                  </a:cubicBezTo>
                  <a:cubicBezTo>
                    <a:pt x="7691" y="118"/>
                    <a:pt x="7688" y="108"/>
                    <a:pt x="7664" y="108"/>
                  </a:cubicBezTo>
                  <a:cubicBezTo>
                    <a:pt x="7640" y="108"/>
                    <a:pt x="7623" y="120"/>
                    <a:pt x="7616" y="118"/>
                  </a:cubicBezTo>
                  <a:cubicBezTo>
                    <a:pt x="7609" y="117"/>
                    <a:pt x="7615" y="105"/>
                    <a:pt x="7596" y="105"/>
                  </a:cubicBezTo>
                  <a:cubicBezTo>
                    <a:pt x="7578" y="105"/>
                    <a:pt x="7573" y="121"/>
                    <a:pt x="7573" y="121"/>
                  </a:cubicBezTo>
                  <a:cubicBezTo>
                    <a:pt x="7529" y="105"/>
                    <a:pt x="7529" y="105"/>
                    <a:pt x="7529" y="105"/>
                  </a:cubicBezTo>
                  <a:cubicBezTo>
                    <a:pt x="7529" y="105"/>
                    <a:pt x="7508" y="112"/>
                    <a:pt x="7485" y="117"/>
                  </a:cubicBezTo>
                  <a:cubicBezTo>
                    <a:pt x="7463" y="121"/>
                    <a:pt x="7478" y="105"/>
                    <a:pt x="7478" y="105"/>
                  </a:cubicBezTo>
                  <a:cubicBezTo>
                    <a:pt x="7457" y="115"/>
                    <a:pt x="7457" y="115"/>
                    <a:pt x="7457" y="115"/>
                  </a:cubicBezTo>
                  <a:cubicBezTo>
                    <a:pt x="7467" y="129"/>
                    <a:pt x="7467" y="129"/>
                    <a:pt x="7467" y="129"/>
                  </a:cubicBezTo>
                  <a:lnTo>
                    <a:pt x="7491" y="141"/>
                  </a:lnTo>
                  <a:close/>
                  <a:moveTo>
                    <a:pt x="7945" y="2230"/>
                  </a:moveTo>
                  <a:cubicBezTo>
                    <a:pt x="7952" y="2235"/>
                    <a:pt x="7962" y="2227"/>
                    <a:pt x="7953" y="2223"/>
                  </a:cubicBezTo>
                  <a:cubicBezTo>
                    <a:pt x="7944" y="2219"/>
                    <a:pt x="7940" y="2227"/>
                    <a:pt x="7945" y="2230"/>
                  </a:cubicBezTo>
                  <a:close/>
                  <a:moveTo>
                    <a:pt x="7943" y="2171"/>
                  </a:moveTo>
                  <a:cubicBezTo>
                    <a:pt x="7939" y="2167"/>
                    <a:pt x="7927" y="2170"/>
                    <a:pt x="7927" y="2178"/>
                  </a:cubicBezTo>
                  <a:cubicBezTo>
                    <a:pt x="7927" y="2183"/>
                    <a:pt x="7947" y="2175"/>
                    <a:pt x="7943" y="2171"/>
                  </a:cubicBezTo>
                  <a:close/>
                  <a:moveTo>
                    <a:pt x="7898" y="2198"/>
                  </a:moveTo>
                  <a:cubicBezTo>
                    <a:pt x="7900" y="2210"/>
                    <a:pt x="7910" y="2213"/>
                    <a:pt x="7915" y="2205"/>
                  </a:cubicBezTo>
                  <a:cubicBezTo>
                    <a:pt x="7921" y="2195"/>
                    <a:pt x="7896" y="2186"/>
                    <a:pt x="7898" y="2198"/>
                  </a:cubicBezTo>
                  <a:close/>
                  <a:moveTo>
                    <a:pt x="7885" y="2175"/>
                  </a:moveTo>
                  <a:cubicBezTo>
                    <a:pt x="7891" y="2164"/>
                    <a:pt x="7891" y="2164"/>
                    <a:pt x="7891" y="2164"/>
                  </a:cubicBezTo>
                  <a:cubicBezTo>
                    <a:pt x="7869" y="2147"/>
                    <a:pt x="7869" y="2147"/>
                    <a:pt x="7869" y="2147"/>
                  </a:cubicBezTo>
                  <a:lnTo>
                    <a:pt x="7885" y="2175"/>
                  </a:lnTo>
                  <a:close/>
                  <a:moveTo>
                    <a:pt x="8551" y="596"/>
                  </a:moveTo>
                  <a:cubicBezTo>
                    <a:pt x="8573" y="601"/>
                    <a:pt x="8581" y="594"/>
                    <a:pt x="8588" y="590"/>
                  </a:cubicBezTo>
                  <a:cubicBezTo>
                    <a:pt x="8595" y="586"/>
                    <a:pt x="8601" y="578"/>
                    <a:pt x="8601" y="578"/>
                  </a:cubicBezTo>
                  <a:cubicBezTo>
                    <a:pt x="8610" y="577"/>
                    <a:pt x="8610" y="577"/>
                    <a:pt x="8610" y="577"/>
                  </a:cubicBezTo>
                  <a:cubicBezTo>
                    <a:pt x="8610" y="577"/>
                    <a:pt x="8602" y="566"/>
                    <a:pt x="8576" y="560"/>
                  </a:cubicBezTo>
                  <a:cubicBezTo>
                    <a:pt x="8550" y="554"/>
                    <a:pt x="8535" y="577"/>
                    <a:pt x="8535" y="577"/>
                  </a:cubicBezTo>
                  <a:cubicBezTo>
                    <a:pt x="8535" y="580"/>
                    <a:pt x="8529" y="592"/>
                    <a:pt x="8551" y="596"/>
                  </a:cubicBezTo>
                  <a:close/>
                  <a:moveTo>
                    <a:pt x="7829" y="2293"/>
                  </a:moveTo>
                  <a:cubicBezTo>
                    <a:pt x="7838" y="2303"/>
                    <a:pt x="7843" y="2296"/>
                    <a:pt x="7843" y="2296"/>
                  </a:cubicBezTo>
                  <a:cubicBezTo>
                    <a:pt x="7849" y="2302"/>
                    <a:pt x="7849" y="2302"/>
                    <a:pt x="7849" y="2302"/>
                  </a:cubicBezTo>
                  <a:cubicBezTo>
                    <a:pt x="7873" y="2303"/>
                    <a:pt x="7873" y="2303"/>
                    <a:pt x="7873" y="2303"/>
                  </a:cubicBezTo>
                  <a:cubicBezTo>
                    <a:pt x="7881" y="2318"/>
                    <a:pt x="7881" y="2318"/>
                    <a:pt x="7881" y="2318"/>
                  </a:cubicBezTo>
                  <a:cubicBezTo>
                    <a:pt x="7906" y="2317"/>
                    <a:pt x="7906" y="2317"/>
                    <a:pt x="7906" y="2317"/>
                  </a:cubicBezTo>
                  <a:cubicBezTo>
                    <a:pt x="7909" y="2313"/>
                    <a:pt x="7909" y="2313"/>
                    <a:pt x="7909" y="2313"/>
                  </a:cubicBezTo>
                  <a:cubicBezTo>
                    <a:pt x="7909" y="2313"/>
                    <a:pt x="7947" y="2318"/>
                    <a:pt x="7949" y="2304"/>
                  </a:cubicBezTo>
                  <a:cubicBezTo>
                    <a:pt x="7951" y="2290"/>
                    <a:pt x="7931" y="2301"/>
                    <a:pt x="7927" y="2303"/>
                  </a:cubicBezTo>
                  <a:cubicBezTo>
                    <a:pt x="7923" y="2305"/>
                    <a:pt x="7920" y="2293"/>
                    <a:pt x="7920" y="2293"/>
                  </a:cubicBezTo>
                  <a:cubicBezTo>
                    <a:pt x="7898" y="2292"/>
                    <a:pt x="7898" y="2292"/>
                    <a:pt x="7898" y="2292"/>
                  </a:cubicBezTo>
                  <a:cubicBezTo>
                    <a:pt x="7877" y="2287"/>
                    <a:pt x="7877" y="2287"/>
                    <a:pt x="7877" y="2287"/>
                  </a:cubicBezTo>
                  <a:cubicBezTo>
                    <a:pt x="7856" y="2287"/>
                    <a:pt x="7856" y="2287"/>
                    <a:pt x="7856" y="2287"/>
                  </a:cubicBezTo>
                  <a:cubicBezTo>
                    <a:pt x="7836" y="2276"/>
                    <a:pt x="7836" y="2276"/>
                    <a:pt x="7836" y="2276"/>
                  </a:cubicBezTo>
                  <a:cubicBezTo>
                    <a:pt x="7836" y="2276"/>
                    <a:pt x="7820" y="2283"/>
                    <a:pt x="7829" y="2293"/>
                  </a:cubicBezTo>
                  <a:close/>
                  <a:moveTo>
                    <a:pt x="7851" y="2036"/>
                  </a:moveTo>
                  <a:cubicBezTo>
                    <a:pt x="7858" y="2029"/>
                    <a:pt x="7858" y="2029"/>
                    <a:pt x="7858" y="2029"/>
                  </a:cubicBezTo>
                  <a:cubicBezTo>
                    <a:pt x="7833" y="2024"/>
                    <a:pt x="7833" y="2024"/>
                    <a:pt x="7833" y="2024"/>
                  </a:cubicBezTo>
                  <a:lnTo>
                    <a:pt x="7851" y="2036"/>
                  </a:lnTo>
                  <a:close/>
                  <a:moveTo>
                    <a:pt x="7934" y="2119"/>
                  </a:moveTo>
                  <a:cubicBezTo>
                    <a:pt x="7921" y="2119"/>
                    <a:pt x="7921" y="2119"/>
                    <a:pt x="7921" y="2119"/>
                  </a:cubicBezTo>
                  <a:cubicBezTo>
                    <a:pt x="7920" y="2131"/>
                    <a:pt x="7920" y="2131"/>
                    <a:pt x="7920" y="2131"/>
                  </a:cubicBezTo>
                  <a:cubicBezTo>
                    <a:pt x="7929" y="2147"/>
                    <a:pt x="7929" y="2147"/>
                    <a:pt x="7929" y="2147"/>
                  </a:cubicBezTo>
                  <a:lnTo>
                    <a:pt x="7934" y="2119"/>
                  </a:lnTo>
                  <a:close/>
                  <a:moveTo>
                    <a:pt x="7966" y="2200"/>
                  </a:moveTo>
                  <a:cubicBezTo>
                    <a:pt x="7975" y="2187"/>
                    <a:pt x="7975" y="2187"/>
                    <a:pt x="7975" y="2187"/>
                  </a:cubicBezTo>
                  <a:cubicBezTo>
                    <a:pt x="7963" y="2187"/>
                    <a:pt x="7963" y="2187"/>
                    <a:pt x="7963" y="2187"/>
                  </a:cubicBezTo>
                  <a:lnTo>
                    <a:pt x="7966" y="2200"/>
                  </a:lnTo>
                  <a:close/>
                  <a:moveTo>
                    <a:pt x="7880" y="2228"/>
                  </a:moveTo>
                  <a:cubicBezTo>
                    <a:pt x="7879" y="2231"/>
                    <a:pt x="7888" y="2233"/>
                    <a:pt x="7887" y="2226"/>
                  </a:cubicBezTo>
                  <a:cubicBezTo>
                    <a:pt x="7886" y="2219"/>
                    <a:pt x="7881" y="2222"/>
                    <a:pt x="7880" y="2228"/>
                  </a:cubicBezTo>
                  <a:close/>
                  <a:moveTo>
                    <a:pt x="7252" y="150"/>
                  </a:moveTo>
                  <a:cubicBezTo>
                    <a:pt x="7259" y="155"/>
                    <a:pt x="7274" y="152"/>
                    <a:pt x="7277" y="156"/>
                  </a:cubicBezTo>
                  <a:cubicBezTo>
                    <a:pt x="7280" y="160"/>
                    <a:pt x="7261" y="170"/>
                    <a:pt x="7261" y="170"/>
                  </a:cubicBezTo>
                  <a:cubicBezTo>
                    <a:pt x="7290" y="181"/>
                    <a:pt x="7290" y="181"/>
                    <a:pt x="7290" y="181"/>
                  </a:cubicBezTo>
                  <a:cubicBezTo>
                    <a:pt x="7290" y="181"/>
                    <a:pt x="7305" y="191"/>
                    <a:pt x="7319" y="194"/>
                  </a:cubicBezTo>
                  <a:cubicBezTo>
                    <a:pt x="7333" y="197"/>
                    <a:pt x="7343" y="177"/>
                    <a:pt x="7343" y="177"/>
                  </a:cubicBezTo>
                  <a:cubicBezTo>
                    <a:pt x="7371" y="172"/>
                    <a:pt x="7371" y="172"/>
                    <a:pt x="7371" y="172"/>
                  </a:cubicBezTo>
                  <a:cubicBezTo>
                    <a:pt x="7394" y="186"/>
                    <a:pt x="7394" y="186"/>
                    <a:pt x="7394" y="186"/>
                  </a:cubicBezTo>
                  <a:cubicBezTo>
                    <a:pt x="7394" y="186"/>
                    <a:pt x="7375" y="191"/>
                    <a:pt x="7357" y="195"/>
                  </a:cubicBezTo>
                  <a:cubicBezTo>
                    <a:pt x="7339" y="200"/>
                    <a:pt x="7340" y="207"/>
                    <a:pt x="7340" y="207"/>
                  </a:cubicBezTo>
                  <a:cubicBezTo>
                    <a:pt x="7340" y="207"/>
                    <a:pt x="7390" y="211"/>
                    <a:pt x="7383" y="212"/>
                  </a:cubicBezTo>
                  <a:cubicBezTo>
                    <a:pt x="7375" y="214"/>
                    <a:pt x="7345" y="226"/>
                    <a:pt x="7345" y="226"/>
                  </a:cubicBezTo>
                  <a:cubicBezTo>
                    <a:pt x="7378" y="238"/>
                    <a:pt x="7378" y="238"/>
                    <a:pt x="7378" y="238"/>
                  </a:cubicBezTo>
                  <a:cubicBezTo>
                    <a:pt x="7378" y="238"/>
                    <a:pt x="7408" y="253"/>
                    <a:pt x="7433" y="249"/>
                  </a:cubicBezTo>
                  <a:cubicBezTo>
                    <a:pt x="7459" y="245"/>
                    <a:pt x="7440" y="229"/>
                    <a:pt x="7440" y="222"/>
                  </a:cubicBezTo>
                  <a:cubicBezTo>
                    <a:pt x="7440" y="215"/>
                    <a:pt x="7470" y="215"/>
                    <a:pt x="7470" y="215"/>
                  </a:cubicBezTo>
                  <a:cubicBezTo>
                    <a:pt x="7470" y="201"/>
                    <a:pt x="7470" y="201"/>
                    <a:pt x="7470" y="201"/>
                  </a:cubicBezTo>
                  <a:cubicBezTo>
                    <a:pt x="7489" y="197"/>
                    <a:pt x="7489" y="197"/>
                    <a:pt x="7489" y="197"/>
                  </a:cubicBezTo>
                  <a:cubicBezTo>
                    <a:pt x="7498" y="176"/>
                    <a:pt x="7498" y="176"/>
                    <a:pt x="7498" y="176"/>
                  </a:cubicBezTo>
                  <a:cubicBezTo>
                    <a:pt x="7511" y="183"/>
                    <a:pt x="7511" y="183"/>
                    <a:pt x="7511" y="183"/>
                  </a:cubicBezTo>
                  <a:cubicBezTo>
                    <a:pt x="7527" y="174"/>
                    <a:pt x="7527" y="174"/>
                    <a:pt x="7527" y="174"/>
                  </a:cubicBezTo>
                  <a:cubicBezTo>
                    <a:pt x="7527" y="174"/>
                    <a:pt x="7536" y="188"/>
                    <a:pt x="7556" y="193"/>
                  </a:cubicBezTo>
                  <a:cubicBezTo>
                    <a:pt x="7575" y="197"/>
                    <a:pt x="7553" y="224"/>
                    <a:pt x="7553" y="224"/>
                  </a:cubicBezTo>
                  <a:cubicBezTo>
                    <a:pt x="7589" y="222"/>
                    <a:pt x="7589" y="222"/>
                    <a:pt x="7589" y="222"/>
                  </a:cubicBezTo>
                  <a:cubicBezTo>
                    <a:pt x="7589" y="222"/>
                    <a:pt x="7608" y="238"/>
                    <a:pt x="7609" y="233"/>
                  </a:cubicBezTo>
                  <a:cubicBezTo>
                    <a:pt x="7610" y="229"/>
                    <a:pt x="7661" y="215"/>
                    <a:pt x="7665" y="207"/>
                  </a:cubicBezTo>
                  <a:cubicBezTo>
                    <a:pt x="7670" y="198"/>
                    <a:pt x="7627" y="200"/>
                    <a:pt x="7627" y="200"/>
                  </a:cubicBezTo>
                  <a:cubicBezTo>
                    <a:pt x="7625" y="188"/>
                    <a:pt x="7625" y="188"/>
                    <a:pt x="7625" y="188"/>
                  </a:cubicBezTo>
                  <a:cubicBezTo>
                    <a:pt x="7589" y="183"/>
                    <a:pt x="7589" y="183"/>
                    <a:pt x="7589" y="183"/>
                  </a:cubicBezTo>
                  <a:cubicBezTo>
                    <a:pt x="7588" y="172"/>
                    <a:pt x="7588" y="172"/>
                    <a:pt x="7588" y="172"/>
                  </a:cubicBezTo>
                  <a:cubicBezTo>
                    <a:pt x="7567" y="174"/>
                    <a:pt x="7567" y="174"/>
                    <a:pt x="7567" y="174"/>
                  </a:cubicBezTo>
                  <a:cubicBezTo>
                    <a:pt x="7570" y="162"/>
                    <a:pt x="7570" y="162"/>
                    <a:pt x="7570" y="162"/>
                  </a:cubicBezTo>
                  <a:cubicBezTo>
                    <a:pt x="7519" y="163"/>
                    <a:pt x="7519" y="163"/>
                    <a:pt x="7519" y="163"/>
                  </a:cubicBezTo>
                  <a:cubicBezTo>
                    <a:pt x="7515" y="155"/>
                    <a:pt x="7515" y="155"/>
                    <a:pt x="7515" y="155"/>
                  </a:cubicBezTo>
                  <a:cubicBezTo>
                    <a:pt x="7491" y="155"/>
                    <a:pt x="7491" y="155"/>
                    <a:pt x="7491" y="155"/>
                  </a:cubicBezTo>
                  <a:cubicBezTo>
                    <a:pt x="7491" y="155"/>
                    <a:pt x="7488" y="142"/>
                    <a:pt x="7473" y="138"/>
                  </a:cubicBezTo>
                  <a:cubicBezTo>
                    <a:pt x="7457" y="134"/>
                    <a:pt x="7450" y="139"/>
                    <a:pt x="7450" y="139"/>
                  </a:cubicBezTo>
                  <a:cubicBezTo>
                    <a:pt x="7453" y="127"/>
                    <a:pt x="7453" y="127"/>
                    <a:pt x="7453" y="127"/>
                  </a:cubicBezTo>
                  <a:cubicBezTo>
                    <a:pt x="7453" y="127"/>
                    <a:pt x="7432" y="121"/>
                    <a:pt x="7404" y="122"/>
                  </a:cubicBezTo>
                  <a:cubicBezTo>
                    <a:pt x="7375" y="124"/>
                    <a:pt x="7412" y="156"/>
                    <a:pt x="7412" y="156"/>
                  </a:cubicBezTo>
                  <a:cubicBezTo>
                    <a:pt x="7412" y="156"/>
                    <a:pt x="7381" y="131"/>
                    <a:pt x="7366" y="128"/>
                  </a:cubicBezTo>
                  <a:cubicBezTo>
                    <a:pt x="7350" y="125"/>
                    <a:pt x="7345" y="145"/>
                    <a:pt x="7345" y="145"/>
                  </a:cubicBezTo>
                  <a:cubicBezTo>
                    <a:pt x="7345" y="145"/>
                    <a:pt x="7322" y="141"/>
                    <a:pt x="7316" y="138"/>
                  </a:cubicBezTo>
                  <a:cubicBezTo>
                    <a:pt x="7311" y="135"/>
                    <a:pt x="7329" y="125"/>
                    <a:pt x="7329" y="125"/>
                  </a:cubicBezTo>
                  <a:cubicBezTo>
                    <a:pt x="7292" y="128"/>
                    <a:pt x="7292" y="128"/>
                    <a:pt x="7292" y="128"/>
                  </a:cubicBezTo>
                  <a:cubicBezTo>
                    <a:pt x="7283" y="136"/>
                    <a:pt x="7283" y="136"/>
                    <a:pt x="7283" y="136"/>
                  </a:cubicBezTo>
                  <a:cubicBezTo>
                    <a:pt x="7278" y="125"/>
                    <a:pt x="7278" y="125"/>
                    <a:pt x="7278" y="125"/>
                  </a:cubicBezTo>
                  <a:cubicBezTo>
                    <a:pt x="7278" y="125"/>
                    <a:pt x="7254" y="132"/>
                    <a:pt x="7246" y="139"/>
                  </a:cubicBezTo>
                  <a:cubicBezTo>
                    <a:pt x="7246" y="139"/>
                    <a:pt x="7245" y="146"/>
                    <a:pt x="7252" y="150"/>
                  </a:cubicBezTo>
                  <a:close/>
                  <a:moveTo>
                    <a:pt x="7923" y="2212"/>
                  </a:moveTo>
                  <a:cubicBezTo>
                    <a:pt x="7923" y="2221"/>
                    <a:pt x="7923" y="2221"/>
                    <a:pt x="7923" y="2221"/>
                  </a:cubicBezTo>
                  <a:cubicBezTo>
                    <a:pt x="7932" y="2211"/>
                    <a:pt x="7932" y="2211"/>
                    <a:pt x="7932" y="2211"/>
                  </a:cubicBezTo>
                  <a:lnTo>
                    <a:pt x="7923" y="2212"/>
                  </a:lnTo>
                  <a:close/>
                  <a:moveTo>
                    <a:pt x="6620" y="1148"/>
                  </a:moveTo>
                  <a:cubicBezTo>
                    <a:pt x="6620" y="1148"/>
                    <a:pt x="6614" y="1153"/>
                    <a:pt x="6611" y="1156"/>
                  </a:cubicBezTo>
                  <a:cubicBezTo>
                    <a:pt x="6608" y="1159"/>
                    <a:pt x="6606" y="1166"/>
                    <a:pt x="6606" y="1166"/>
                  </a:cubicBezTo>
                  <a:cubicBezTo>
                    <a:pt x="6595" y="1171"/>
                    <a:pt x="6595" y="1171"/>
                    <a:pt x="6595" y="1171"/>
                  </a:cubicBezTo>
                  <a:cubicBezTo>
                    <a:pt x="6595" y="1171"/>
                    <a:pt x="6601" y="1180"/>
                    <a:pt x="6609" y="1179"/>
                  </a:cubicBezTo>
                  <a:cubicBezTo>
                    <a:pt x="6617" y="1178"/>
                    <a:pt x="6624" y="1170"/>
                    <a:pt x="6624" y="1170"/>
                  </a:cubicBezTo>
                  <a:cubicBezTo>
                    <a:pt x="6623" y="1182"/>
                    <a:pt x="6623" y="1182"/>
                    <a:pt x="6623" y="1182"/>
                  </a:cubicBezTo>
                  <a:cubicBezTo>
                    <a:pt x="6623" y="1182"/>
                    <a:pt x="6610" y="1188"/>
                    <a:pt x="6605" y="1196"/>
                  </a:cubicBezTo>
                  <a:cubicBezTo>
                    <a:pt x="6600" y="1205"/>
                    <a:pt x="6606" y="1218"/>
                    <a:pt x="6606" y="1218"/>
                  </a:cubicBezTo>
                  <a:cubicBezTo>
                    <a:pt x="6606" y="1218"/>
                    <a:pt x="6617" y="1210"/>
                    <a:pt x="6624" y="1215"/>
                  </a:cubicBezTo>
                  <a:cubicBezTo>
                    <a:pt x="6630" y="1220"/>
                    <a:pt x="6643" y="1209"/>
                    <a:pt x="6643" y="1209"/>
                  </a:cubicBezTo>
                  <a:cubicBezTo>
                    <a:pt x="6634" y="1219"/>
                    <a:pt x="6634" y="1219"/>
                    <a:pt x="6634" y="1219"/>
                  </a:cubicBezTo>
                  <a:cubicBezTo>
                    <a:pt x="6639" y="1237"/>
                    <a:pt x="6639" y="1237"/>
                    <a:pt x="6639" y="1237"/>
                  </a:cubicBezTo>
                  <a:cubicBezTo>
                    <a:pt x="6639" y="1237"/>
                    <a:pt x="6628" y="1250"/>
                    <a:pt x="6620" y="1264"/>
                  </a:cubicBezTo>
                  <a:cubicBezTo>
                    <a:pt x="6613" y="1277"/>
                    <a:pt x="6636" y="1274"/>
                    <a:pt x="6636" y="1274"/>
                  </a:cubicBezTo>
                  <a:cubicBezTo>
                    <a:pt x="6636" y="1274"/>
                    <a:pt x="6649" y="1268"/>
                    <a:pt x="6656" y="1271"/>
                  </a:cubicBezTo>
                  <a:cubicBezTo>
                    <a:pt x="6663" y="1274"/>
                    <a:pt x="6679" y="1261"/>
                    <a:pt x="6679" y="1261"/>
                  </a:cubicBezTo>
                  <a:cubicBezTo>
                    <a:pt x="6701" y="1263"/>
                    <a:pt x="6701" y="1263"/>
                    <a:pt x="6701" y="1263"/>
                  </a:cubicBezTo>
                  <a:cubicBezTo>
                    <a:pt x="6701" y="1263"/>
                    <a:pt x="6678" y="1276"/>
                    <a:pt x="6676" y="1286"/>
                  </a:cubicBezTo>
                  <a:cubicBezTo>
                    <a:pt x="6675" y="1296"/>
                    <a:pt x="6705" y="1303"/>
                    <a:pt x="6705" y="1303"/>
                  </a:cubicBezTo>
                  <a:cubicBezTo>
                    <a:pt x="6706" y="1317"/>
                    <a:pt x="6706" y="1317"/>
                    <a:pt x="6706" y="1317"/>
                  </a:cubicBezTo>
                  <a:cubicBezTo>
                    <a:pt x="6698" y="1329"/>
                    <a:pt x="6698" y="1329"/>
                    <a:pt x="6698" y="1329"/>
                  </a:cubicBezTo>
                  <a:cubicBezTo>
                    <a:pt x="6698" y="1329"/>
                    <a:pt x="6700" y="1343"/>
                    <a:pt x="6697" y="1347"/>
                  </a:cubicBezTo>
                  <a:cubicBezTo>
                    <a:pt x="6694" y="1351"/>
                    <a:pt x="6652" y="1345"/>
                    <a:pt x="6652" y="1345"/>
                  </a:cubicBezTo>
                  <a:cubicBezTo>
                    <a:pt x="6652" y="1345"/>
                    <a:pt x="6642" y="1342"/>
                    <a:pt x="6633" y="1344"/>
                  </a:cubicBezTo>
                  <a:cubicBezTo>
                    <a:pt x="6624" y="1346"/>
                    <a:pt x="6639" y="1357"/>
                    <a:pt x="6639" y="1357"/>
                  </a:cubicBezTo>
                  <a:cubicBezTo>
                    <a:pt x="6625" y="1370"/>
                    <a:pt x="6625" y="1370"/>
                    <a:pt x="6625" y="1370"/>
                  </a:cubicBezTo>
                  <a:cubicBezTo>
                    <a:pt x="6653" y="1368"/>
                    <a:pt x="6653" y="1368"/>
                    <a:pt x="6653" y="1368"/>
                  </a:cubicBezTo>
                  <a:cubicBezTo>
                    <a:pt x="6653" y="1368"/>
                    <a:pt x="6653" y="1391"/>
                    <a:pt x="6646" y="1398"/>
                  </a:cubicBezTo>
                  <a:cubicBezTo>
                    <a:pt x="6639" y="1405"/>
                    <a:pt x="6611" y="1413"/>
                    <a:pt x="6607" y="1416"/>
                  </a:cubicBezTo>
                  <a:cubicBezTo>
                    <a:pt x="6603" y="1419"/>
                    <a:pt x="6608" y="1434"/>
                    <a:pt x="6612" y="1436"/>
                  </a:cubicBezTo>
                  <a:cubicBezTo>
                    <a:pt x="6616" y="1438"/>
                    <a:pt x="6634" y="1424"/>
                    <a:pt x="6634" y="1424"/>
                  </a:cubicBezTo>
                  <a:cubicBezTo>
                    <a:pt x="6634" y="1424"/>
                    <a:pt x="6637" y="1430"/>
                    <a:pt x="6641" y="1434"/>
                  </a:cubicBezTo>
                  <a:cubicBezTo>
                    <a:pt x="6645" y="1438"/>
                    <a:pt x="6655" y="1434"/>
                    <a:pt x="6655" y="1434"/>
                  </a:cubicBezTo>
                  <a:cubicBezTo>
                    <a:pt x="6655" y="1434"/>
                    <a:pt x="6663" y="1443"/>
                    <a:pt x="6671" y="1444"/>
                  </a:cubicBezTo>
                  <a:cubicBezTo>
                    <a:pt x="6680" y="1445"/>
                    <a:pt x="6687" y="1440"/>
                    <a:pt x="6692" y="1435"/>
                  </a:cubicBezTo>
                  <a:cubicBezTo>
                    <a:pt x="6697" y="1430"/>
                    <a:pt x="6710" y="1431"/>
                    <a:pt x="6710" y="1431"/>
                  </a:cubicBezTo>
                  <a:cubicBezTo>
                    <a:pt x="6710" y="1431"/>
                    <a:pt x="6694" y="1446"/>
                    <a:pt x="6684" y="1453"/>
                  </a:cubicBezTo>
                  <a:cubicBezTo>
                    <a:pt x="6673" y="1460"/>
                    <a:pt x="6653" y="1453"/>
                    <a:pt x="6646" y="1453"/>
                  </a:cubicBezTo>
                  <a:cubicBezTo>
                    <a:pt x="6639" y="1453"/>
                    <a:pt x="6641" y="1463"/>
                    <a:pt x="6641" y="1463"/>
                  </a:cubicBezTo>
                  <a:cubicBezTo>
                    <a:pt x="6641" y="1463"/>
                    <a:pt x="6632" y="1463"/>
                    <a:pt x="6625" y="1466"/>
                  </a:cubicBezTo>
                  <a:cubicBezTo>
                    <a:pt x="6617" y="1469"/>
                    <a:pt x="6625" y="1475"/>
                    <a:pt x="6619" y="1484"/>
                  </a:cubicBezTo>
                  <a:cubicBezTo>
                    <a:pt x="6614" y="1492"/>
                    <a:pt x="6607" y="1488"/>
                    <a:pt x="6600" y="1488"/>
                  </a:cubicBezTo>
                  <a:cubicBezTo>
                    <a:pt x="6593" y="1488"/>
                    <a:pt x="6596" y="1498"/>
                    <a:pt x="6589" y="1504"/>
                  </a:cubicBezTo>
                  <a:cubicBezTo>
                    <a:pt x="6582" y="1510"/>
                    <a:pt x="6573" y="1509"/>
                    <a:pt x="6573" y="1513"/>
                  </a:cubicBezTo>
                  <a:cubicBezTo>
                    <a:pt x="6573" y="1517"/>
                    <a:pt x="6592" y="1517"/>
                    <a:pt x="6595" y="1517"/>
                  </a:cubicBezTo>
                  <a:cubicBezTo>
                    <a:pt x="6598" y="1517"/>
                    <a:pt x="6606" y="1507"/>
                    <a:pt x="6612" y="1502"/>
                  </a:cubicBezTo>
                  <a:cubicBezTo>
                    <a:pt x="6618" y="1497"/>
                    <a:pt x="6628" y="1498"/>
                    <a:pt x="6637" y="1498"/>
                  </a:cubicBezTo>
                  <a:cubicBezTo>
                    <a:pt x="6646" y="1498"/>
                    <a:pt x="6649" y="1508"/>
                    <a:pt x="6655" y="1508"/>
                  </a:cubicBezTo>
                  <a:cubicBezTo>
                    <a:pt x="6661" y="1508"/>
                    <a:pt x="6674" y="1483"/>
                    <a:pt x="6681" y="1480"/>
                  </a:cubicBezTo>
                  <a:cubicBezTo>
                    <a:pt x="6687" y="1476"/>
                    <a:pt x="6701" y="1487"/>
                    <a:pt x="6701" y="1487"/>
                  </a:cubicBezTo>
                  <a:cubicBezTo>
                    <a:pt x="6718" y="1488"/>
                    <a:pt x="6718" y="1488"/>
                    <a:pt x="6718" y="1488"/>
                  </a:cubicBezTo>
                  <a:cubicBezTo>
                    <a:pt x="6738" y="1480"/>
                    <a:pt x="6738" y="1480"/>
                    <a:pt x="6738" y="1480"/>
                  </a:cubicBezTo>
                  <a:cubicBezTo>
                    <a:pt x="6738" y="1480"/>
                    <a:pt x="6757" y="1489"/>
                    <a:pt x="6763" y="1488"/>
                  </a:cubicBezTo>
                  <a:cubicBezTo>
                    <a:pt x="6769" y="1487"/>
                    <a:pt x="6755" y="1476"/>
                    <a:pt x="6761" y="1471"/>
                  </a:cubicBezTo>
                  <a:cubicBezTo>
                    <a:pt x="6767" y="1466"/>
                    <a:pt x="6776" y="1481"/>
                    <a:pt x="6776" y="1481"/>
                  </a:cubicBezTo>
                  <a:cubicBezTo>
                    <a:pt x="6783" y="1476"/>
                    <a:pt x="6783" y="1476"/>
                    <a:pt x="6783" y="1476"/>
                  </a:cubicBezTo>
                  <a:cubicBezTo>
                    <a:pt x="6783" y="1476"/>
                    <a:pt x="6836" y="1476"/>
                    <a:pt x="6849" y="1469"/>
                  </a:cubicBezTo>
                  <a:cubicBezTo>
                    <a:pt x="6861" y="1462"/>
                    <a:pt x="6869" y="1447"/>
                    <a:pt x="6869" y="1447"/>
                  </a:cubicBezTo>
                  <a:cubicBezTo>
                    <a:pt x="6830" y="1442"/>
                    <a:pt x="6830" y="1442"/>
                    <a:pt x="6830" y="1442"/>
                  </a:cubicBezTo>
                  <a:cubicBezTo>
                    <a:pt x="6848" y="1439"/>
                    <a:pt x="6848" y="1439"/>
                    <a:pt x="6848" y="1439"/>
                  </a:cubicBezTo>
                  <a:cubicBezTo>
                    <a:pt x="6844" y="1429"/>
                    <a:pt x="6844" y="1429"/>
                    <a:pt x="6844" y="1429"/>
                  </a:cubicBezTo>
                  <a:cubicBezTo>
                    <a:pt x="6844" y="1429"/>
                    <a:pt x="6858" y="1416"/>
                    <a:pt x="6865" y="1415"/>
                  </a:cubicBezTo>
                  <a:cubicBezTo>
                    <a:pt x="6872" y="1414"/>
                    <a:pt x="6883" y="1403"/>
                    <a:pt x="6884" y="1383"/>
                  </a:cubicBezTo>
                  <a:cubicBezTo>
                    <a:pt x="6885" y="1362"/>
                    <a:pt x="6836" y="1363"/>
                    <a:pt x="6836" y="1363"/>
                  </a:cubicBezTo>
                  <a:cubicBezTo>
                    <a:pt x="6836" y="1363"/>
                    <a:pt x="6831" y="1377"/>
                    <a:pt x="6821" y="1370"/>
                  </a:cubicBezTo>
                  <a:cubicBezTo>
                    <a:pt x="6811" y="1362"/>
                    <a:pt x="6831" y="1355"/>
                    <a:pt x="6830" y="1346"/>
                  </a:cubicBezTo>
                  <a:cubicBezTo>
                    <a:pt x="6829" y="1337"/>
                    <a:pt x="6798" y="1332"/>
                    <a:pt x="6798" y="1327"/>
                  </a:cubicBezTo>
                  <a:cubicBezTo>
                    <a:pt x="6798" y="1322"/>
                    <a:pt x="6820" y="1325"/>
                    <a:pt x="6820" y="1325"/>
                  </a:cubicBezTo>
                  <a:cubicBezTo>
                    <a:pt x="6811" y="1317"/>
                    <a:pt x="6811" y="1317"/>
                    <a:pt x="6811" y="1317"/>
                  </a:cubicBezTo>
                  <a:cubicBezTo>
                    <a:pt x="6811" y="1317"/>
                    <a:pt x="6802" y="1296"/>
                    <a:pt x="6798" y="1289"/>
                  </a:cubicBezTo>
                  <a:cubicBezTo>
                    <a:pt x="6794" y="1282"/>
                    <a:pt x="6781" y="1282"/>
                    <a:pt x="6781" y="1282"/>
                  </a:cubicBezTo>
                  <a:cubicBezTo>
                    <a:pt x="6781" y="1282"/>
                    <a:pt x="6773" y="1273"/>
                    <a:pt x="6765" y="1267"/>
                  </a:cubicBezTo>
                  <a:cubicBezTo>
                    <a:pt x="6757" y="1261"/>
                    <a:pt x="6763" y="1229"/>
                    <a:pt x="6763" y="1229"/>
                  </a:cubicBezTo>
                  <a:cubicBezTo>
                    <a:pt x="6755" y="1229"/>
                    <a:pt x="6755" y="1229"/>
                    <a:pt x="6755" y="1229"/>
                  </a:cubicBezTo>
                  <a:cubicBezTo>
                    <a:pt x="6755" y="1229"/>
                    <a:pt x="6754" y="1223"/>
                    <a:pt x="6740" y="1213"/>
                  </a:cubicBezTo>
                  <a:cubicBezTo>
                    <a:pt x="6725" y="1203"/>
                    <a:pt x="6706" y="1213"/>
                    <a:pt x="6698" y="1214"/>
                  </a:cubicBezTo>
                  <a:cubicBezTo>
                    <a:pt x="6690" y="1215"/>
                    <a:pt x="6681" y="1203"/>
                    <a:pt x="6681" y="1203"/>
                  </a:cubicBezTo>
                  <a:cubicBezTo>
                    <a:pt x="6681" y="1203"/>
                    <a:pt x="6695" y="1208"/>
                    <a:pt x="6699" y="1207"/>
                  </a:cubicBezTo>
                  <a:cubicBezTo>
                    <a:pt x="6703" y="1206"/>
                    <a:pt x="6721" y="1202"/>
                    <a:pt x="6722" y="1196"/>
                  </a:cubicBezTo>
                  <a:cubicBezTo>
                    <a:pt x="6723" y="1191"/>
                    <a:pt x="6704" y="1190"/>
                    <a:pt x="6704" y="1190"/>
                  </a:cubicBezTo>
                  <a:cubicBezTo>
                    <a:pt x="6720" y="1186"/>
                    <a:pt x="6720" y="1186"/>
                    <a:pt x="6720" y="1186"/>
                  </a:cubicBezTo>
                  <a:cubicBezTo>
                    <a:pt x="6720" y="1186"/>
                    <a:pt x="6729" y="1179"/>
                    <a:pt x="6735" y="1174"/>
                  </a:cubicBezTo>
                  <a:cubicBezTo>
                    <a:pt x="6740" y="1169"/>
                    <a:pt x="6751" y="1145"/>
                    <a:pt x="6751" y="1145"/>
                  </a:cubicBezTo>
                  <a:cubicBezTo>
                    <a:pt x="6751" y="1145"/>
                    <a:pt x="6766" y="1136"/>
                    <a:pt x="6766" y="1129"/>
                  </a:cubicBezTo>
                  <a:cubicBezTo>
                    <a:pt x="6766" y="1122"/>
                    <a:pt x="6712" y="1127"/>
                    <a:pt x="6712" y="1127"/>
                  </a:cubicBezTo>
                  <a:cubicBezTo>
                    <a:pt x="6712" y="1127"/>
                    <a:pt x="6713" y="1122"/>
                    <a:pt x="6701" y="1122"/>
                  </a:cubicBezTo>
                  <a:cubicBezTo>
                    <a:pt x="6689" y="1122"/>
                    <a:pt x="6667" y="1130"/>
                    <a:pt x="6667" y="1130"/>
                  </a:cubicBezTo>
                  <a:cubicBezTo>
                    <a:pt x="6675" y="1123"/>
                    <a:pt x="6675" y="1123"/>
                    <a:pt x="6675" y="1123"/>
                  </a:cubicBezTo>
                  <a:cubicBezTo>
                    <a:pt x="6669" y="1115"/>
                    <a:pt x="6669" y="1115"/>
                    <a:pt x="6669" y="1115"/>
                  </a:cubicBezTo>
                  <a:cubicBezTo>
                    <a:pt x="6681" y="1113"/>
                    <a:pt x="6681" y="1113"/>
                    <a:pt x="6681" y="1113"/>
                  </a:cubicBezTo>
                  <a:cubicBezTo>
                    <a:pt x="6702" y="1100"/>
                    <a:pt x="6702" y="1100"/>
                    <a:pt x="6702" y="1100"/>
                  </a:cubicBezTo>
                  <a:cubicBezTo>
                    <a:pt x="6702" y="1100"/>
                    <a:pt x="6713" y="1091"/>
                    <a:pt x="6714" y="1080"/>
                  </a:cubicBezTo>
                  <a:cubicBezTo>
                    <a:pt x="6715" y="1073"/>
                    <a:pt x="6701" y="1075"/>
                    <a:pt x="6693" y="1076"/>
                  </a:cubicBezTo>
                  <a:cubicBezTo>
                    <a:pt x="6685" y="1077"/>
                    <a:pt x="6673" y="1083"/>
                    <a:pt x="6665" y="1083"/>
                  </a:cubicBezTo>
                  <a:cubicBezTo>
                    <a:pt x="6657" y="1083"/>
                    <a:pt x="6650" y="1074"/>
                    <a:pt x="6643" y="1078"/>
                  </a:cubicBezTo>
                  <a:cubicBezTo>
                    <a:pt x="6636" y="1082"/>
                    <a:pt x="6643" y="1092"/>
                    <a:pt x="6643" y="1092"/>
                  </a:cubicBezTo>
                  <a:cubicBezTo>
                    <a:pt x="6643" y="1092"/>
                    <a:pt x="6636" y="1093"/>
                    <a:pt x="6631" y="1097"/>
                  </a:cubicBezTo>
                  <a:cubicBezTo>
                    <a:pt x="6626" y="1101"/>
                    <a:pt x="6634" y="1116"/>
                    <a:pt x="6634" y="1116"/>
                  </a:cubicBezTo>
                  <a:cubicBezTo>
                    <a:pt x="6605" y="1119"/>
                    <a:pt x="6605" y="1119"/>
                    <a:pt x="6605" y="1119"/>
                  </a:cubicBezTo>
                  <a:cubicBezTo>
                    <a:pt x="6605" y="1125"/>
                    <a:pt x="6605" y="1125"/>
                    <a:pt x="6605" y="1125"/>
                  </a:cubicBezTo>
                  <a:cubicBezTo>
                    <a:pt x="6611" y="1130"/>
                    <a:pt x="6611" y="1130"/>
                    <a:pt x="6611" y="1130"/>
                  </a:cubicBezTo>
                  <a:lnTo>
                    <a:pt x="6620" y="1148"/>
                  </a:lnTo>
                  <a:close/>
                  <a:moveTo>
                    <a:pt x="7501" y="1151"/>
                  </a:moveTo>
                  <a:cubicBezTo>
                    <a:pt x="7497" y="1138"/>
                    <a:pt x="7497" y="1138"/>
                    <a:pt x="7497" y="1138"/>
                  </a:cubicBezTo>
                  <a:cubicBezTo>
                    <a:pt x="7497" y="1138"/>
                    <a:pt x="7471" y="1172"/>
                    <a:pt x="7471" y="1178"/>
                  </a:cubicBezTo>
                  <a:cubicBezTo>
                    <a:pt x="7471" y="1183"/>
                    <a:pt x="7470" y="1196"/>
                    <a:pt x="7470" y="1196"/>
                  </a:cubicBezTo>
                  <a:cubicBezTo>
                    <a:pt x="7478" y="1196"/>
                    <a:pt x="7487" y="1165"/>
                    <a:pt x="7487" y="1165"/>
                  </a:cubicBezTo>
                  <a:lnTo>
                    <a:pt x="7501" y="1151"/>
                  </a:lnTo>
                  <a:close/>
                  <a:moveTo>
                    <a:pt x="7878" y="2209"/>
                  </a:moveTo>
                  <a:cubicBezTo>
                    <a:pt x="7872" y="2204"/>
                    <a:pt x="7872" y="2204"/>
                    <a:pt x="7872" y="2204"/>
                  </a:cubicBezTo>
                  <a:cubicBezTo>
                    <a:pt x="7866" y="2210"/>
                    <a:pt x="7866" y="2210"/>
                    <a:pt x="7866" y="2210"/>
                  </a:cubicBezTo>
                  <a:lnTo>
                    <a:pt x="7878" y="2209"/>
                  </a:lnTo>
                  <a:close/>
                  <a:moveTo>
                    <a:pt x="7533" y="1130"/>
                  </a:moveTo>
                  <a:cubicBezTo>
                    <a:pt x="7530" y="1141"/>
                    <a:pt x="7542" y="1164"/>
                    <a:pt x="7542" y="1164"/>
                  </a:cubicBezTo>
                  <a:cubicBezTo>
                    <a:pt x="7550" y="1147"/>
                    <a:pt x="7550" y="1147"/>
                    <a:pt x="7550" y="1147"/>
                  </a:cubicBezTo>
                  <a:cubicBezTo>
                    <a:pt x="7550" y="1147"/>
                    <a:pt x="7556" y="1150"/>
                    <a:pt x="7561" y="1141"/>
                  </a:cubicBezTo>
                  <a:cubicBezTo>
                    <a:pt x="7567" y="1133"/>
                    <a:pt x="7561" y="1124"/>
                    <a:pt x="7561" y="1124"/>
                  </a:cubicBezTo>
                  <a:cubicBezTo>
                    <a:pt x="7573" y="1112"/>
                    <a:pt x="7573" y="1112"/>
                    <a:pt x="7573" y="1112"/>
                  </a:cubicBezTo>
                  <a:cubicBezTo>
                    <a:pt x="7573" y="1112"/>
                    <a:pt x="7536" y="1119"/>
                    <a:pt x="7533" y="1130"/>
                  </a:cubicBezTo>
                  <a:close/>
                  <a:moveTo>
                    <a:pt x="7679" y="1081"/>
                  </a:moveTo>
                  <a:cubicBezTo>
                    <a:pt x="7672" y="1083"/>
                    <a:pt x="7681" y="1100"/>
                    <a:pt x="7681" y="1100"/>
                  </a:cubicBezTo>
                  <a:cubicBezTo>
                    <a:pt x="7686" y="1113"/>
                    <a:pt x="7686" y="1113"/>
                    <a:pt x="7686" y="1113"/>
                  </a:cubicBezTo>
                  <a:cubicBezTo>
                    <a:pt x="7686" y="1113"/>
                    <a:pt x="7702" y="1100"/>
                    <a:pt x="7706" y="1100"/>
                  </a:cubicBezTo>
                  <a:cubicBezTo>
                    <a:pt x="7710" y="1100"/>
                    <a:pt x="7727" y="1086"/>
                    <a:pt x="7727" y="1086"/>
                  </a:cubicBezTo>
                  <a:cubicBezTo>
                    <a:pt x="7723" y="1075"/>
                    <a:pt x="7723" y="1075"/>
                    <a:pt x="7723" y="1075"/>
                  </a:cubicBezTo>
                  <a:cubicBezTo>
                    <a:pt x="7699" y="1079"/>
                    <a:pt x="7699" y="1079"/>
                    <a:pt x="7699" y="1079"/>
                  </a:cubicBezTo>
                  <a:cubicBezTo>
                    <a:pt x="7699" y="1079"/>
                    <a:pt x="7686" y="1078"/>
                    <a:pt x="7679" y="1081"/>
                  </a:cubicBezTo>
                  <a:close/>
                  <a:moveTo>
                    <a:pt x="7707" y="1051"/>
                  </a:moveTo>
                  <a:cubicBezTo>
                    <a:pt x="7694" y="1054"/>
                    <a:pt x="7687" y="1071"/>
                    <a:pt x="7701" y="1071"/>
                  </a:cubicBezTo>
                  <a:cubicBezTo>
                    <a:pt x="7716" y="1071"/>
                    <a:pt x="7720" y="1049"/>
                    <a:pt x="7707" y="1051"/>
                  </a:cubicBezTo>
                  <a:close/>
                  <a:moveTo>
                    <a:pt x="7317" y="1211"/>
                  </a:moveTo>
                  <a:cubicBezTo>
                    <a:pt x="7317" y="1211"/>
                    <a:pt x="7309" y="1199"/>
                    <a:pt x="7308" y="1200"/>
                  </a:cubicBezTo>
                  <a:cubicBezTo>
                    <a:pt x="7307" y="1200"/>
                    <a:pt x="7294" y="1205"/>
                    <a:pt x="7294" y="1210"/>
                  </a:cubicBezTo>
                  <a:cubicBezTo>
                    <a:pt x="7294" y="1215"/>
                    <a:pt x="7294" y="1219"/>
                    <a:pt x="7294" y="1219"/>
                  </a:cubicBezTo>
                  <a:cubicBezTo>
                    <a:pt x="7294" y="1219"/>
                    <a:pt x="7285" y="1207"/>
                    <a:pt x="7283" y="1208"/>
                  </a:cubicBezTo>
                  <a:cubicBezTo>
                    <a:pt x="7281" y="1209"/>
                    <a:pt x="7278" y="1213"/>
                    <a:pt x="7278" y="1213"/>
                  </a:cubicBezTo>
                  <a:cubicBezTo>
                    <a:pt x="7262" y="1224"/>
                    <a:pt x="7262" y="1224"/>
                    <a:pt x="7262" y="1224"/>
                  </a:cubicBezTo>
                  <a:cubicBezTo>
                    <a:pt x="7262" y="1224"/>
                    <a:pt x="7271" y="1229"/>
                    <a:pt x="7270" y="1240"/>
                  </a:cubicBezTo>
                  <a:cubicBezTo>
                    <a:pt x="7269" y="1251"/>
                    <a:pt x="7260" y="1253"/>
                    <a:pt x="7272" y="1254"/>
                  </a:cubicBezTo>
                  <a:cubicBezTo>
                    <a:pt x="7284" y="1255"/>
                    <a:pt x="7289" y="1253"/>
                    <a:pt x="7289" y="1253"/>
                  </a:cubicBezTo>
                  <a:cubicBezTo>
                    <a:pt x="7289" y="1253"/>
                    <a:pt x="7297" y="1272"/>
                    <a:pt x="7298" y="1265"/>
                  </a:cubicBezTo>
                  <a:cubicBezTo>
                    <a:pt x="7300" y="1259"/>
                    <a:pt x="7310" y="1245"/>
                    <a:pt x="7312" y="1244"/>
                  </a:cubicBezTo>
                  <a:cubicBezTo>
                    <a:pt x="7314" y="1244"/>
                    <a:pt x="7323" y="1244"/>
                    <a:pt x="7315" y="1239"/>
                  </a:cubicBezTo>
                  <a:cubicBezTo>
                    <a:pt x="7307" y="1234"/>
                    <a:pt x="7300" y="1227"/>
                    <a:pt x="7303" y="1227"/>
                  </a:cubicBezTo>
                  <a:cubicBezTo>
                    <a:pt x="7306" y="1226"/>
                    <a:pt x="7313" y="1227"/>
                    <a:pt x="7308" y="1224"/>
                  </a:cubicBezTo>
                  <a:cubicBezTo>
                    <a:pt x="7303" y="1220"/>
                    <a:pt x="7317" y="1211"/>
                    <a:pt x="7317" y="1211"/>
                  </a:cubicBezTo>
                  <a:close/>
                  <a:moveTo>
                    <a:pt x="7266" y="1272"/>
                  </a:moveTo>
                  <a:cubicBezTo>
                    <a:pt x="7274" y="1270"/>
                    <a:pt x="7285" y="1282"/>
                    <a:pt x="7285" y="1282"/>
                  </a:cubicBezTo>
                  <a:cubicBezTo>
                    <a:pt x="7285" y="1282"/>
                    <a:pt x="7302" y="1279"/>
                    <a:pt x="7319" y="1275"/>
                  </a:cubicBezTo>
                  <a:cubicBezTo>
                    <a:pt x="7337" y="1272"/>
                    <a:pt x="7322" y="1260"/>
                    <a:pt x="7322" y="1260"/>
                  </a:cubicBezTo>
                  <a:cubicBezTo>
                    <a:pt x="7305" y="1266"/>
                    <a:pt x="7305" y="1266"/>
                    <a:pt x="7305" y="1266"/>
                  </a:cubicBezTo>
                  <a:cubicBezTo>
                    <a:pt x="7305" y="1266"/>
                    <a:pt x="7295" y="1270"/>
                    <a:pt x="7291" y="1269"/>
                  </a:cubicBezTo>
                  <a:cubicBezTo>
                    <a:pt x="7287" y="1269"/>
                    <a:pt x="7271" y="1262"/>
                    <a:pt x="7266" y="1262"/>
                  </a:cubicBezTo>
                  <a:cubicBezTo>
                    <a:pt x="7256" y="1262"/>
                    <a:pt x="7258" y="1273"/>
                    <a:pt x="7266" y="1272"/>
                  </a:cubicBezTo>
                  <a:close/>
                  <a:moveTo>
                    <a:pt x="7992" y="2290"/>
                  </a:moveTo>
                  <a:cubicBezTo>
                    <a:pt x="7985" y="2263"/>
                    <a:pt x="7985" y="2263"/>
                    <a:pt x="7985" y="2263"/>
                  </a:cubicBezTo>
                  <a:cubicBezTo>
                    <a:pt x="7979" y="2293"/>
                    <a:pt x="7979" y="2293"/>
                    <a:pt x="7979" y="2293"/>
                  </a:cubicBezTo>
                  <a:lnTo>
                    <a:pt x="7992" y="2290"/>
                  </a:lnTo>
                  <a:close/>
                  <a:moveTo>
                    <a:pt x="7994" y="2200"/>
                  </a:moveTo>
                  <a:cubicBezTo>
                    <a:pt x="7978" y="2209"/>
                    <a:pt x="7978" y="2209"/>
                    <a:pt x="7978" y="2209"/>
                  </a:cubicBezTo>
                  <a:cubicBezTo>
                    <a:pt x="7977" y="2224"/>
                    <a:pt x="7977" y="2224"/>
                    <a:pt x="7977" y="2224"/>
                  </a:cubicBezTo>
                  <a:cubicBezTo>
                    <a:pt x="8002" y="2205"/>
                    <a:pt x="8002" y="2205"/>
                    <a:pt x="8002" y="2205"/>
                  </a:cubicBezTo>
                  <a:lnTo>
                    <a:pt x="7994" y="2200"/>
                  </a:lnTo>
                  <a:close/>
                  <a:moveTo>
                    <a:pt x="8029" y="2232"/>
                  </a:moveTo>
                  <a:cubicBezTo>
                    <a:pt x="8025" y="2225"/>
                    <a:pt x="8004" y="2253"/>
                    <a:pt x="8010" y="2263"/>
                  </a:cubicBezTo>
                  <a:cubicBezTo>
                    <a:pt x="8015" y="2272"/>
                    <a:pt x="8033" y="2239"/>
                    <a:pt x="8029" y="2232"/>
                  </a:cubicBezTo>
                  <a:close/>
                  <a:moveTo>
                    <a:pt x="8872" y="524"/>
                  </a:moveTo>
                  <a:cubicBezTo>
                    <a:pt x="8867" y="532"/>
                    <a:pt x="8932" y="566"/>
                    <a:pt x="8938" y="550"/>
                  </a:cubicBezTo>
                  <a:cubicBezTo>
                    <a:pt x="8944" y="534"/>
                    <a:pt x="8878" y="514"/>
                    <a:pt x="8872" y="524"/>
                  </a:cubicBezTo>
                  <a:close/>
                  <a:moveTo>
                    <a:pt x="7220" y="1252"/>
                  </a:moveTo>
                  <a:cubicBezTo>
                    <a:pt x="7226" y="1252"/>
                    <a:pt x="7236" y="1262"/>
                    <a:pt x="7236" y="1262"/>
                  </a:cubicBezTo>
                  <a:cubicBezTo>
                    <a:pt x="7242" y="1244"/>
                    <a:pt x="7242" y="1244"/>
                    <a:pt x="7242" y="1244"/>
                  </a:cubicBezTo>
                  <a:cubicBezTo>
                    <a:pt x="7230" y="1230"/>
                    <a:pt x="7230" y="1230"/>
                    <a:pt x="7230" y="1230"/>
                  </a:cubicBezTo>
                  <a:cubicBezTo>
                    <a:pt x="7218" y="1228"/>
                    <a:pt x="7218" y="1228"/>
                    <a:pt x="7218" y="1228"/>
                  </a:cubicBezTo>
                  <a:lnTo>
                    <a:pt x="7220" y="1252"/>
                  </a:lnTo>
                  <a:close/>
                  <a:moveTo>
                    <a:pt x="8643" y="464"/>
                  </a:moveTo>
                  <a:cubicBezTo>
                    <a:pt x="8656" y="464"/>
                    <a:pt x="8673" y="467"/>
                    <a:pt x="8684" y="473"/>
                  </a:cubicBezTo>
                  <a:cubicBezTo>
                    <a:pt x="8694" y="479"/>
                    <a:pt x="8693" y="496"/>
                    <a:pt x="8696" y="497"/>
                  </a:cubicBezTo>
                  <a:cubicBezTo>
                    <a:pt x="8699" y="499"/>
                    <a:pt x="8748" y="506"/>
                    <a:pt x="8748" y="506"/>
                  </a:cubicBezTo>
                  <a:cubicBezTo>
                    <a:pt x="8822" y="502"/>
                    <a:pt x="8822" y="502"/>
                    <a:pt x="8822" y="502"/>
                  </a:cubicBezTo>
                  <a:cubicBezTo>
                    <a:pt x="8822" y="502"/>
                    <a:pt x="8762" y="496"/>
                    <a:pt x="8746" y="470"/>
                  </a:cubicBezTo>
                  <a:cubicBezTo>
                    <a:pt x="8730" y="444"/>
                    <a:pt x="8714" y="444"/>
                    <a:pt x="8730" y="420"/>
                  </a:cubicBezTo>
                  <a:cubicBezTo>
                    <a:pt x="8746" y="396"/>
                    <a:pt x="8727" y="394"/>
                    <a:pt x="8727" y="394"/>
                  </a:cubicBezTo>
                  <a:cubicBezTo>
                    <a:pt x="8754" y="390"/>
                    <a:pt x="8754" y="390"/>
                    <a:pt x="8754" y="390"/>
                  </a:cubicBezTo>
                  <a:cubicBezTo>
                    <a:pt x="8743" y="378"/>
                    <a:pt x="8743" y="378"/>
                    <a:pt x="8743" y="378"/>
                  </a:cubicBezTo>
                  <a:cubicBezTo>
                    <a:pt x="8766" y="381"/>
                    <a:pt x="8766" y="381"/>
                    <a:pt x="8766" y="381"/>
                  </a:cubicBezTo>
                  <a:cubicBezTo>
                    <a:pt x="8753" y="373"/>
                    <a:pt x="8753" y="373"/>
                    <a:pt x="8753" y="373"/>
                  </a:cubicBezTo>
                  <a:cubicBezTo>
                    <a:pt x="8769" y="375"/>
                    <a:pt x="8769" y="375"/>
                    <a:pt x="8769" y="375"/>
                  </a:cubicBezTo>
                  <a:cubicBezTo>
                    <a:pt x="8773" y="365"/>
                    <a:pt x="8773" y="365"/>
                    <a:pt x="8773" y="365"/>
                  </a:cubicBezTo>
                  <a:cubicBezTo>
                    <a:pt x="8759" y="358"/>
                    <a:pt x="8759" y="358"/>
                    <a:pt x="8759" y="358"/>
                  </a:cubicBezTo>
                  <a:cubicBezTo>
                    <a:pt x="8759" y="358"/>
                    <a:pt x="8786" y="362"/>
                    <a:pt x="8790" y="358"/>
                  </a:cubicBezTo>
                  <a:cubicBezTo>
                    <a:pt x="8794" y="354"/>
                    <a:pt x="8779" y="344"/>
                    <a:pt x="8779" y="344"/>
                  </a:cubicBezTo>
                  <a:cubicBezTo>
                    <a:pt x="8801" y="346"/>
                    <a:pt x="8801" y="346"/>
                    <a:pt x="8801" y="346"/>
                  </a:cubicBezTo>
                  <a:cubicBezTo>
                    <a:pt x="8799" y="327"/>
                    <a:pt x="8799" y="327"/>
                    <a:pt x="8799" y="327"/>
                  </a:cubicBezTo>
                  <a:cubicBezTo>
                    <a:pt x="8799" y="327"/>
                    <a:pt x="8813" y="338"/>
                    <a:pt x="8831" y="330"/>
                  </a:cubicBezTo>
                  <a:cubicBezTo>
                    <a:pt x="8850" y="323"/>
                    <a:pt x="8862" y="309"/>
                    <a:pt x="8862" y="309"/>
                  </a:cubicBezTo>
                  <a:cubicBezTo>
                    <a:pt x="8862" y="309"/>
                    <a:pt x="9007" y="288"/>
                    <a:pt x="9028" y="279"/>
                  </a:cubicBezTo>
                  <a:cubicBezTo>
                    <a:pt x="9050" y="269"/>
                    <a:pt x="9071" y="254"/>
                    <a:pt x="9038" y="243"/>
                  </a:cubicBezTo>
                  <a:cubicBezTo>
                    <a:pt x="9005" y="231"/>
                    <a:pt x="8971" y="247"/>
                    <a:pt x="8956" y="253"/>
                  </a:cubicBezTo>
                  <a:cubicBezTo>
                    <a:pt x="8942" y="259"/>
                    <a:pt x="8898" y="274"/>
                    <a:pt x="8878" y="271"/>
                  </a:cubicBezTo>
                  <a:cubicBezTo>
                    <a:pt x="8857" y="269"/>
                    <a:pt x="8826" y="265"/>
                    <a:pt x="8826" y="265"/>
                  </a:cubicBezTo>
                  <a:cubicBezTo>
                    <a:pt x="8815" y="282"/>
                    <a:pt x="8815" y="282"/>
                    <a:pt x="8815" y="282"/>
                  </a:cubicBezTo>
                  <a:cubicBezTo>
                    <a:pt x="8798" y="273"/>
                    <a:pt x="8798" y="273"/>
                    <a:pt x="8798" y="273"/>
                  </a:cubicBezTo>
                  <a:cubicBezTo>
                    <a:pt x="8763" y="287"/>
                    <a:pt x="8763" y="287"/>
                    <a:pt x="8763" y="287"/>
                  </a:cubicBezTo>
                  <a:cubicBezTo>
                    <a:pt x="8744" y="286"/>
                    <a:pt x="8744" y="286"/>
                    <a:pt x="8744" y="286"/>
                  </a:cubicBezTo>
                  <a:cubicBezTo>
                    <a:pt x="8725" y="301"/>
                    <a:pt x="8725" y="301"/>
                    <a:pt x="8725" y="301"/>
                  </a:cubicBezTo>
                  <a:cubicBezTo>
                    <a:pt x="8739" y="306"/>
                    <a:pt x="8739" y="306"/>
                    <a:pt x="8739" y="306"/>
                  </a:cubicBezTo>
                  <a:cubicBezTo>
                    <a:pt x="8706" y="307"/>
                    <a:pt x="8706" y="307"/>
                    <a:pt x="8706" y="307"/>
                  </a:cubicBezTo>
                  <a:cubicBezTo>
                    <a:pt x="8687" y="313"/>
                    <a:pt x="8687" y="313"/>
                    <a:pt x="8687" y="313"/>
                  </a:cubicBezTo>
                  <a:cubicBezTo>
                    <a:pt x="8688" y="322"/>
                    <a:pt x="8688" y="322"/>
                    <a:pt x="8688" y="322"/>
                  </a:cubicBezTo>
                  <a:cubicBezTo>
                    <a:pt x="8705" y="313"/>
                    <a:pt x="8705" y="313"/>
                    <a:pt x="8705" y="313"/>
                  </a:cubicBezTo>
                  <a:cubicBezTo>
                    <a:pt x="8706" y="322"/>
                    <a:pt x="8706" y="322"/>
                    <a:pt x="8706" y="322"/>
                  </a:cubicBezTo>
                  <a:cubicBezTo>
                    <a:pt x="8725" y="324"/>
                    <a:pt x="8725" y="324"/>
                    <a:pt x="8725" y="324"/>
                  </a:cubicBezTo>
                  <a:cubicBezTo>
                    <a:pt x="8719" y="332"/>
                    <a:pt x="8719" y="332"/>
                    <a:pt x="8719" y="332"/>
                  </a:cubicBezTo>
                  <a:cubicBezTo>
                    <a:pt x="8693" y="332"/>
                    <a:pt x="8693" y="332"/>
                    <a:pt x="8693" y="332"/>
                  </a:cubicBezTo>
                  <a:cubicBezTo>
                    <a:pt x="8689" y="341"/>
                    <a:pt x="8689" y="341"/>
                    <a:pt x="8689" y="341"/>
                  </a:cubicBezTo>
                  <a:cubicBezTo>
                    <a:pt x="8707" y="344"/>
                    <a:pt x="8707" y="344"/>
                    <a:pt x="8707" y="344"/>
                  </a:cubicBezTo>
                  <a:cubicBezTo>
                    <a:pt x="8676" y="346"/>
                    <a:pt x="8676" y="346"/>
                    <a:pt x="8676" y="346"/>
                  </a:cubicBezTo>
                  <a:cubicBezTo>
                    <a:pt x="8698" y="352"/>
                    <a:pt x="8698" y="352"/>
                    <a:pt x="8698" y="352"/>
                  </a:cubicBezTo>
                  <a:cubicBezTo>
                    <a:pt x="8669" y="354"/>
                    <a:pt x="8669" y="354"/>
                    <a:pt x="8669" y="354"/>
                  </a:cubicBezTo>
                  <a:cubicBezTo>
                    <a:pt x="8667" y="368"/>
                    <a:pt x="8667" y="368"/>
                    <a:pt x="8667" y="368"/>
                  </a:cubicBezTo>
                  <a:cubicBezTo>
                    <a:pt x="8647" y="375"/>
                    <a:pt x="8647" y="375"/>
                    <a:pt x="8647" y="375"/>
                  </a:cubicBezTo>
                  <a:cubicBezTo>
                    <a:pt x="8654" y="385"/>
                    <a:pt x="8654" y="385"/>
                    <a:pt x="8654" y="385"/>
                  </a:cubicBezTo>
                  <a:cubicBezTo>
                    <a:pt x="8681" y="373"/>
                    <a:pt x="8681" y="373"/>
                    <a:pt x="8681" y="373"/>
                  </a:cubicBezTo>
                  <a:cubicBezTo>
                    <a:pt x="8670" y="391"/>
                    <a:pt x="8670" y="391"/>
                    <a:pt x="8670" y="391"/>
                  </a:cubicBezTo>
                  <a:cubicBezTo>
                    <a:pt x="8670" y="391"/>
                    <a:pt x="8649" y="386"/>
                    <a:pt x="8641" y="393"/>
                  </a:cubicBezTo>
                  <a:cubicBezTo>
                    <a:pt x="8634" y="400"/>
                    <a:pt x="8640" y="408"/>
                    <a:pt x="8640" y="408"/>
                  </a:cubicBezTo>
                  <a:cubicBezTo>
                    <a:pt x="8610" y="413"/>
                    <a:pt x="8610" y="413"/>
                    <a:pt x="8610" y="413"/>
                  </a:cubicBezTo>
                  <a:cubicBezTo>
                    <a:pt x="8619" y="425"/>
                    <a:pt x="8619" y="425"/>
                    <a:pt x="8619" y="425"/>
                  </a:cubicBezTo>
                  <a:cubicBezTo>
                    <a:pt x="8638" y="416"/>
                    <a:pt x="8638" y="416"/>
                    <a:pt x="8638" y="416"/>
                  </a:cubicBezTo>
                  <a:cubicBezTo>
                    <a:pt x="8628" y="432"/>
                    <a:pt x="8628" y="432"/>
                    <a:pt x="8628" y="432"/>
                  </a:cubicBezTo>
                  <a:cubicBezTo>
                    <a:pt x="8628" y="432"/>
                    <a:pt x="8600" y="438"/>
                    <a:pt x="8602" y="449"/>
                  </a:cubicBezTo>
                  <a:cubicBezTo>
                    <a:pt x="8604" y="460"/>
                    <a:pt x="8631" y="464"/>
                    <a:pt x="8643" y="464"/>
                  </a:cubicBezTo>
                  <a:close/>
                  <a:moveTo>
                    <a:pt x="7441" y="599"/>
                  </a:moveTo>
                  <a:cubicBezTo>
                    <a:pt x="7450" y="594"/>
                    <a:pt x="7465" y="591"/>
                    <a:pt x="7446" y="587"/>
                  </a:cubicBezTo>
                  <a:cubicBezTo>
                    <a:pt x="7427" y="584"/>
                    <a:pt x="7418" y="595"/>
                    <a:pt x="7418" y="595"/>
                  </a:cubicBezTo>
                  <a:cubicBezTo>
                    <a:pt x="7424" y="602"/>
                    <a:pt x="7424" y="602"/>
                    <a:pt x="7424" y="602"/>
                  </a:cubicBezTo>
                  <a:lnTo>
                    <a:pt x="7441" y="599"/>
                  </a:lnTo>
                  <a:close/>
                  <a:moveTo>
                    <a:pt x="7430" y="571"/>
                  </a:moveTo>
                  <a:cubicBezTo>
                    <a:pt x="7411" y="566"/>
                    <a:pt x="7401" y="583"/>
                    <a:pt x="7401" y="583"/>
                  </a:cubicBezTo>
                  <a:cubicBezTo>
                    <a:pt x="7417" y="587"/>
                    <a:pt x="7417" y="587"/>
                    <a:pt x="7417" y="587"/>
                  </a:cubicBezTo>
                  <a:cubicBezTo>
                    <a:pt x="7423" y="583"/>
                    <a:pt x="7449" y="575"/>
                    <a:pt x="7430" y="571"/>
                  </a:cubicBezTo>
                  <a:close/>
                  <a:moveTo>
                    <a:pt x="7410" y="590"/>
                  </a:moveTo>
                  <a:cubicBezTo>
                    <a:pt x="7395" y="599"/>
                    <a:pt x="7395" y="599"/>
                    <a:pt x="7395" y="599"/>
                  </a:cubicBezTo>
                  <a:cubicBezTo>
                    <a:pt x="7400" y="612"/>
                    <a:pt x="7400" y="612"/>
                    <a:pt x="7400" y="612"/>
                  </a:cubicBezTo>
                  <a:cubicBezTo>
                    <a:pt x="7418" y="613"/>
                    <a:pt x="7418" y="613"/>
                    <a:pt x="7418" y="613"/>
                  </a:cubicBezTo>
                  <a:cubicBezTo>
                    <a:pt x="7414" y="600"/>
                    <a:pt x="7414" y="600"/>
                    <a:pt x="7414" y="600"/>
                  </a:cubicBezTo>
                  <a:lnTo>
                    <a:pt x="7410" y="590"/>
                  </a:lnTo>
                  <a:close/>
                  <a:moveTo>
                    <a:pt x="7384" y="584"/>
                  </a:moveTo>
                  <a:cubicBezTo>
                    <a:pt x="7373" y="588"/>
                    <a:pt x="7377" y="605"/>
                    <a:pt x="7377" y="605"/>
                  </a:cubicBezTo>
                  <a:cubicBezTo>
                    <a:pt x="7389" y="617"/>
                    <a:pt x="7389" y="617"/>
                    <a:pt x="7389" y="617"/>
                  </a:cubicBezTo>
                  <a:cubicBezTo>
                    <a:pt x="7389" y="617"/>
                    <a:pt x="7395" y="580"/>
                    <a:pt x="7384" y="584"/>
                  </a:cubicBezTo>
                  <a:close/>
                  <a:moveTo>
                    <a:pt x="7463" y="578"/>
                  </a:moveTo>
                  <a:cubicBezTo>
                    <a:pt x="7479" y="575"/>
                    <a:pt x="7478" y="565"/>
                    <a:pt x="7485" y="565"/>
                  </a:cubicBezTo>
                  <a:cubicBezTo>
                    <a:pt x="7491" y="565"/>
                    <a:pt x="7485" y="554"/>
                    <a:pt x="7485" y="554"/>
                  </a:cubicBezTo>
                  <a:cubicBezTo>
                    <a:pt x="7455" y="568"/>
                    <a:pt x="7455" y="568"/>
                    <a:pt x="7455" y="568"/>
                  </a:cubicBezTo>
                  <a:lnTo>
                    <a:pt x="7463" y="578"/>
                  </a:lnTo>
                  <a:close/>
                  <a:moveTo>
                    <a:pt x="7551" y="538"/>
                  </a:moveTo>
                  <a:cubicBezTo>
                    <a:pt x="7560" y="535"/>
                    <a:pt x="7573" y="525"/>
                    <a:pt x="7555" y="524"/>
                  </a:cubicBezTo>
                  <a:cubicBezTo>
                    <a:pt x="7538" y="523"/>
                    <a:pt x="7551" y="538"/>
                    <a:pt x="7551" y="538"/>
                  </a:cubicBezTo>
                  <a:close/>
                  <a:moveTo>
                    <a:pt x="8379" y="1666"/>
                  </a:moveTo>
                  <a:cubicBezTo>
                    <a:pt x="8379" y="1666"/>
                    <a:pt x="8378" y="1666"/>
                    <a:pt x="8378" y="1666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9" y="1666"/>
                    <a:pt x="8379" y="1666"/>
                  </a:cubicBezTo>
                  <a:close/>
                  <a:moveTo>
                    <a:pt x="7253" y="188"/>
                  </a:moveTo>
                  <a:cubicBezTo>
                    <a:pt x="7267" y="198"/>
                    <a:pt x="7288" y="194"/>
                    <a:pt x="7288" y="194"/>
                  </a:cubicBezTo>
                  <a:cubicBezTo>
                    <a:pt x="7266" y="183"/>
                    <a:pt x="7266" y="183"/>
                    <a:pt x="7266" y="183"/>
                  </a:cubicBezTo>
                  <a:cubicBezTo>
                    <a:pt x="7233" y="166"/>
                    <a:pt x="7233" y="166"/>
                    <a:pt x="7233" y="166"/>
                  </a:cubicBezTo>
                  <a:cubicBezTo>
                    <a:pt x="7229" y="179"/>
                    <a:pt x="7239" y="179"/>
                    <a:pt x="7253" y="188"/>
                  </a:cubicBezTo>
                  <a:close/>
                  <a:moveTo>
                    <a:pt x="6729" y="1062"/>
                  </a:moveTo>
                  <a:cubicBezTo>
                    <a:pt x="6727" y="1072"/>
                    <a:pt x="6727" y="1072"/>
                    <a:pt x="6727" y="1072"/>
                  </a:cubicBezTo>
                  <a:cubicBezTo>
                    <a:pt x="6736" y="1064"/>
                    <a:pt x="6736" y="1064"/>
                    <a:pt x="6736" y="1064"/>
                  </a:cubicBezTo>
                  <a:lnTo>
                    <a:pt x="6729" y="1062"/>
                  </a:lnTo>
                  <a:close/>
                  <a:moveTo>
                    <a:pt x="6786" y="1004"/>
                  </a:moveTo>
                  <a:cubicBezTo>
                    <a:pt x="6790" y="1013"/>
                    <a:pt x="6790" y="1013"/>
                    <a:pt x="6790" y="1013"/>
                  </a:cubicBezTo>
                  <a:cubicBezTo>
                    <a:pt x="6795" y="1017"/>
                    <a:pt x="6802" y="996"/>
                    <a:pt x="6801" y="992"/>
                  </a:cubicBezTo>
                  <a:cubicBezTo>
                    <a:pt x="6800" y="988"/>
                    <a:pt x="6791" y="980"/>
                    <a:pt x="6791" y="980"/>
                  </a:cubicBezTo>
                  <a:cubicBezTo>
                    <a:pt x="6790" y="989"/>
                    <a:pt x="6790" y="989"/>
                    <a:pt x="6790" y="989"/>
                  </a:cubicBezTo>
                  <a:cubicBezTo>
                    <a:pt x="6790" y="989"/>
                    <a:pt x="6777" y="993"/>
                    <a:pt x="6778" y="997"/>
                  </a:cubicBezTo>
                  <a:cubicBezTo>
                    <a:pt x="6779" y="1001"/>
                    <a:pt x="6786" y="1004"/>
                    <a:pt x="6786" y="1004"/>
                  </a:cubicBezTo>
                  <a:close/>
                  <a:moveTo>
                    <a:pt x="6721" y="1053"/>
                  </a:moveTo>
                  <a:cubicBezTo>
                    <a:pt x="6713" y="1046"/>
                    <a:pt x="6712" y="1061"/>
                    <a:pt x="6712" y="1061"/>
                  </a:cubicBezTo>
                  <a:cubicBezTo>
                    <a:pt x="6719" y="1067"/>
                    <a:pt x="6729" y="1060"/>
                    <a:pt x="6721" y="1053"/>
                  </a:cubicBezTo>
                  <a:close/>
                  <a:moveTo>
                    <a:pt x="6815" y="969"/>
                  </a:moveTo>
                  <a:cubicBezTo>
                    <a:pt x="6808" y="970"/>
                    <a:pt x="6806" y="979"/>
                    <a:pt x="6806" y="979"/>
                  </a:cubicBezTo>
                  <a:cubicBezTo>
                    <a:pt x="6817" y="984"/>
                    <a:pt x="6822" y="968"/>
                    <a:pt x="6815" y="969"/>
                  </a:cubicBezTo>
                  <a:close/>
                  <a:moveTo>
                    <a:pt x="7648" y="515"/>
                  </a:moveTo>
                  <a:cubicBezTo>
                    <a:pt x="7661" y="518"/>
                    <a:pt x="7661" y="518"/>
                    <a:pt x="7661" y="518"/>
                  </a:cubicBezTo>
                  <a:cubicBezTo>
                    <a:pt x="7669" y="509"/>
                    <a:pt x="7669" y="503"/>
                    <a:pt x="7669" y="503"/>
                  </a:cubicBezTo>
                  <a:cubicBezTo>
                    <a:pt x="7649" y="505"/>
                    <a:pt x="7649" y="505"/>
                    <a:pt x="7649" y="505"/>
                  </a:cubicBezTo>
                  <a:lnTo>
                    <a:pt x="7648" y="515"/>
                  </a:lnTo>
                  <a:close/>
                  <a:moveTo>
                    <a:pt x="7854" y="2172"/>
                  </a:moveTo>
                  <a:cubicBezTo>
                    <a:pt x="7849" y="2177"/>
                    <a:pt x="7852" y="2183"/>
                    <a:pt x="7857" y="2182"/>
                  </a:cubicBezTo>
                  <a:cubicBezTo>
                    <a:pt x="7866" y="2180"/>
                    <a:pt x="7859" y="2167"/>
                    <a:pt x="7854" y="2172"/>
                  </a:cubicBezTo>
                  <a:close/>
                  <a:moveTo>
                    <a:pt x="7358" y="610"/>
                  </a:moveTo>
                  <a:cubicBezTo>
                    <a:pt x="7342" y="610"/>
                    <a:pt x="7317" y="629"/>
                    <a:pt x="7323" y="633"/>
                  </a:cubicBezTo>
                  <a:cubicBezTo>
                    <a:pt x="7328" y="636"/>
                    <a:pt x="7353" y="621"/>
                    <a:pt x="7353" y="621"/>
                  </a:cubicBezTo>
                  <a:cubicBezTo>
                    <a:pt x="7376" y="617"/>
                    <a:pt x="7376" y="617"/>
                    <a:pt x="7376" y="617"/>
                  </a:cubicBezTo>
                  <a:cubicBezTo>
                    <a:pt x="7373" y="617"/>
                    <a:pt x="7374" y="610"/>
                    <a:pt x="7358" y="610"/>
                  </a:cubicBezTo>
                  <a:close/>
                  <a:moveTo>
                    <a:pt x="7687" y="2158"/>
                  </a:moveTo>
                  <a:cubicBezTo>
                    <a:pt x="7678" y="2165"/>
                    <a:pt x="7698" y="2171"/>
                    <a:pt x="7698" y="2171"/>
                  </a:cubicBezTo>
                  <a:cubicBezTo>
                    <a:pt x="7704" y="2167"/>
                    <a:pt x="7696" y="2151"/>
                    <a:pt x="7687" y="2158"/>
                  </a:cubicBezTo>
                  <a:close/>
                  <a:moveTo>
                    <a:pt x="7673" y="2139"/>
                  </a:moveTo>
                  <a:cubicBezTo>
                    <a:pt x="7698" y="2146"/>
                    <a:pt x="7698" y="2146"/>
                    <a:pt x="7698" y="2146"/>
                  </a:cubicBezTo>
                  <a:cubicBezTo>
                    <a:pt x="7687" y="2124"/>
                    <a:pt x="7687" y="2124"/>
                    <a:pt x="7687" y="2124"/>
                  </a:cubicBezTo>
                  <a:lnTo>
                    <a:pt x="7673" y="2139"/>
                  </a:lnTo>
                  <a:close/>
                  <a:moveTo>
                    <a:pt x="7811" y="2183"/>
                  </a:moveTo>
                  <a:cubicBezTo>
                    <a:pt x="7820" y="2179"/>
                    <a:pt x="7820" y="2179"/>
                    <a:pt x="7820" y="2179"/>
                  </a:cubicBezTo>
                  <a:cubicBezTo>
                    <a:pt x="7820" y="2179"/>
                    <a:pt x="7809" y="2172"/>
                    <a:pt x="7800" y="2163"/>
                  </a:cubicBezTo>
                  <a:cubicBezTo>
                    <a:pt x="7791" y="2154"/>
                    <a:pt x="7747" y="2137"/>
                    <a:pt x="7747" y="2137"/>
                  </a:cubicBezTo>
                  <a:cubicBezTo>
                    <a:pt x="7733" y="2143"/>
                    <a:pt x="7733" y="2143"/>
                    <a:pt x="7733" y="2143"/>
                  </a:cubicBezTo>
                  <a:cubicBezTo>
                    <a:pt x="7726" y="2143"/>
                    <a:pt x="7726" y="2143"/>
                    <a:pt x="7726" y="2143"/>
                  </a:cubicBezTo>
                  <a:cubicBezTo>
                    <a:pt x="7715" y="2158"/>
                    <a:pt x="7715" y="2158"/>
                    <a:pt x="7715" y="2158"/>
                  </a:cubicBezTo>
                  <a:cubicBezTo>
                    <a:pt x="7734" y="2175"/>
                    <a:pt x="7734" y="2175"/>
                    <a:pt x="7734" y="2175"/>
                  </a:cubicBezTo>
                  <a:cubicBezTo>
                    <a:pt x="7734" y="2175"/>
                    <a:pt x="7731" y="2192"/>
                    <a:pt x="7731" y="2202"/>
                  </a:cubicBezTo>
                  <a:cubicBezTo>
                    <a:pt x="7731" y="2212"/>
                    <a:pt x="7746" y="2218"/>
                    <a:pt x="7749" y="2211"/>
                  </a:cubicBezTo>
                  <a:cubicBezTo>
                    <a:pt x="7752" y="2204"/>
                    <a:pt x="7761" y="2205"/>
                    <a:pt x="7761" y="2205"/>
                  </a:cubicBezTo>
                  <a:cubicBezTo>
                    <a:pt x="7775" y="2231"/>
                    <a:pt x="7775" y="2231"/>
                    <a:pt x="7775" y="2231"/>
                  </a:cubicBezTo>
                  <a:cubicBezTo>
                    <a:pt x="7781" y="2213"/>
                    <a:pt x="7781" y="2213"/>
                    <a:pt x="7781" y="2213"/>
                  </a:cubicBezTo>
                  <a:cubicBezTo>
                    <a:pt x="7790" y="2226"/>
                    <a:pt x="7790" y="2226"/>
                    <a:pt x="7790" y="2226"/>
                  </a:cubicBezTo>
                  <a:cubicBezTo>
                    <a:pt x="7806" y="2232"/>
                    <a:pt x="7806" y="2232"/>
                    <a:pt x="7806" y="2232"/>
                  </a:cubicBezTo>
                  <a:cubicBezTo>
                    <a:pt x="7797" y="2221"/>
                    <a:pt x="7797" y="2221"/>
                    <a:pt x="7797" y="2221"/>
                  </a:cubicBezTo>
                  <a:cubicBezTo>
                    <a:pt x="7801" y="2216"/>
                    <a:pt x="7801" y="2216"/>
                    <a:pt x="7801" y="2216"/>
                  </a:cubicBezTo>
                  <a:cubicBezTo>
                    <a:pt x="7799" y="2201"/>
                    <a:pt x="7799" y="2201"/>
                    <a:pt x="7799" y="2201"/>
                  </a:cubicBezTo>
                  <a:cubicBezTo>
                    <a:pt x="7799" y="2201"/>
                    <a:pt x="7782" y="2180"/>
                    <a:pt x="7785" y="2172"/>
                  </a:cubicBezTo>
                  <a:cubicBezTo>
                    <a:pt x="7788" y="2164"/>
                    <a:pt x="7811" y="2183"/>
                    <a:pt x="7811" y="2183"/>
                  </a:cubicBezTo>
                  <a:close/>
                  <a:moveTo>
                    <a:pt x="7854" y="2097"/>
                  </a:moveTo>
                  <a:cubicBezTo>
                    <a:pt x="7854" y="2097"/>
                    <a:pt x="7848" y="2109"/>
                    <a:pt x="7864" y="2109"/>
                  </a:cubicBezTo>
                  <a:lnTo>
                    <a:pt x="7854" y="2097"/>
                  </a:lnTo>
                  <a:close/>
                  <a:moveTo>
                    <a:pt x="7795" y="2239"/>
                  </a:moveTo>
                  <a:cubicBezTo>
                    <a:pt x="7789" y="2241"/>
                    <a:pt x="7794" y="2258"/>
                    <a:pt x="7801" y="2252"/>
                  </a:cubicBezTo>
                  <a:cubicBezTo>
                    <a:pt x="7808" y="2246"/>
                    <a:pt x="7802" y="2237"/>
                    <a:pt x="7795" y="2239"/>
                  </a:cubicBezTo>
                  <a:close/>
                  <a:moveTo>
                    <a:pt x="7405" y="2250"/>
                  </a:moveTo>
                  <a:cubicBezTo>
                    <a:pt x="7397" y="2264"/>
                    <a:pt x="7420" y="2269"/>
                    <a:pt x="7420" y="2269"/>
                  </a:cubicBezTo>
                  <a:cubicBezTo>
                    <a:pt x="7431" y="2256"/>
                    <a:pt x="7413" y="2236"/>
                    <a:pt x="7405" y="2250"/>
                  </a:cubicBezTo>
                  <a:close/>
                  <a:moveTo>
                    <a:pt x="6849" y="2093"/>
                  </a:moveTo>
                  <a:cubicBezTo>
                    <a:pt x="6844" y="2083"/>
                    <a:pt x="6835" y="2105"/>
                    <a:pt x="6835" y="2105"/>
                  </a:cubicBezTo>
                  <a:cubicBezTo>
                    <a:pt x="6844" y="2114"/>
                    <a:pt x="6854" y="2103"/>
                    <a:pt x="6849" y="2093"/>
                  </a:cubicBezTo>
                  <a:close/>
                  <a:moveTo>
                    <a:pt x="6970" y="2057"/>
                  </a:moveTo>
                  <a:cubicBezTo>
                    <a:pt x="6979" y="2052"/>
                    <a:pt x="6958" y="2035"/>
                    <a:pt x="6948" y="2042"/>
                  </a:cubicBezTo>
                  <a:cubicBezTo>
                    <a:pt x="6948" y="2042"/>
                    <a:pt x="6961" y="2062"/>
                    <a:pt x="6970" y="2057"/>
                  </a:cubicBezTo>
                  <a:close/>
                  <a:moveTo>
                    <a:pt x="7197" y="1887"/>
                  </a:moveTo>
                  <a:cubicBezTo>
                    <a:pt x="7193" y="1880"/>
                    <a:pt x="7185" y="1898"/>
                    <a:pt x="7185" y="1898"/>
                  </a:cubicBezTo>
                  <a:cubicBezTo>
                    <a:pt x="7185" y="1898"/>
                    <a:pt x="7156" y="1911"/>
                    <a:pt x="7159" y="1925"/>
                  </a:cubicBezTo>
                  <a:cubicBezTo>
                    <a:pt x="7162" y="1939"/>
                    <a:pt x="7169" y="1945"/>
                    <a:pt x="7169" y="1945"/>
                  </a:cubicBezTo>
                  <a:cubicBezTo>
                    <a:pt x="7169" y="1945"/>
                    <a:pt x="7160" y="1956"/>
                    <a:pt x="7168" y="1963"/>
                  </a:cubicBezTo>
                  <a:cubicBezTo>
                    <a:pt x="7176" y="1970"/>
                    <a:pt x="7185" y="1971"/>
                    <a:pt x="7185" y="1971"/>
                  </a:cubicBezTo>
                  <a:cubicBezTo>
                    <a:pt x="7185" y="1971"/>
                    <a:pt x="7195" y="1964"/>
                    <a:pt x="7195" y="1953"/>
                  </a:cubicBezTo>
                  <a:cubicBezTo>
                    <a:pt x="7195" y="1942"/>
                    <a:pt x="7194" y="1939"/>
                    <a:pt x="7194" y="1939"/>
                  </a:cubicBezTo>
                  <a:cubicBezTo>
                    <a:pt x="7202" y="1935"/>
                    <a:pt x="7202" y="1935"/>
                    <a:pt x="7202" y="1935"/>
                  </a:cubicBezTo>
                  <a:cubicBezTo>
                    <a:pt x="7200" y="1904"/>
                    <a:pt x="7200" y="1904"/>
                    <a:pt x="7200" y="1904"/>
                  </a:cubicBezTo>
                  <a:cubicBezTo>
                    <a:pt x="7195" y="1902"/>
                    <a:pt x="7195" y="1902"/>
                    <a:pt x="7195" y="1902"/>
                  </a:cubicBezTo>
                  <a:cubicBezTo>
                    <a:pt x="7195" y="1902"/>
                    <a:pt x="7201" y="1894"/>
                    <a:pt x="7197" y="1887"/>
                  </a:cubicBezTo>
                  <a:close/>
                  <a:moveTo>
                    <a:pt x="6899" y="2070"/>
                  </a:moveTo>
                  <a:cubicBezTo>
                    <a:pt x="6899" y="2070"/>
                    <a:pt x="6903" y="2079"/>
                    <a:pt x="6907" y="2080"/>
                  </a:cubicBezTo>
                  <a:cubicBezTo>
                    <a:pt x="6911" y="2081"/>
                    <a:pt x="6919" y="2081"/>
                    <a:pt x="6919" y="2081"/>
                  </a:cubicBezTo>
                  <a:cubicBezTo>
                    <a:pt x="6925" y="2079"/>
                    <a:pt x="6935" y="2069"/>
                    <a:pt x="6934" y="2062"/>
                  </a:cubicBezTo>
                  <a:cubicBezTo>
                    <a:pt x="6933" y="2055"/>
                    <a:pt x="6924" y="2056"/>
                    <a:pt x="6924" y="2056"/>
                  </a:cubicBezTo>
                  <a:cubicBezTo>
                    <a:pt x="6924" y="2056"/>
                    <a:pt x="6921" y="2049"/>
                    <a:pt x="6915" y="2049"/>
                  </a:cubicBezTo>
                  <a:cubicBezTo>
                    <a:pt x="6909" y="2049"/>
                    <a:pt x="6886" y="2062"/>
                    <a:pt x="6889" y="2067"/>
                  </a:cubicBezTo>
                  <a:cubicBezTo>
                    <a:pt x="6892" y="2072"/>
                    <a:pt x="6899" y="2070"/>
                    <a:pt x="6899" y="2070"/>
                  </a:cubicBezTo>
                  <a:close/>
                  <a:moveTo>
                    <a:pt x="7457" y="2158"/>
                  </a:moveTo>
                  <a:cubicBezTo>
                    <a:pt x="7463" y="2153"/>
                    <a:pt x="7457" y="2136"/>
                    <a:pt x="7457" y="2136"/>
                  </a:cubicBezTo>
                  <a:cubicBezTo>
                    <a:pt x="7452" y="2146"/>
                    <a:pt x="7452" y="2146"/>
                    <a:pt x="7452" y="2146"/>
                  </a:cubicBezTo>
                  <a:cubicBezTo>
                    <a:pt x="7452" y="2146"/>
                    <a:pt x="7439" y="2139"/>
                    <a:pt x="7432" y="2141"/>
                  </a:cubicBezTo>
                  <a:cubicBezTo>
                    <a:pt x="7425" y="2143"/>
                    <a:pt x="7415" y="2150"/>
                    <a:pt x="7415" y="2150"/>
                  </a:cubicBezTo>
                  <a:cubicBezTo>
                    <a:pt x="7415" y="2150"/>
                    <a:pt x="7396" y="2153"/>
                    <a:pt x="7388" y="2153"/>
                  </a:cubicBezTo>
                  <a:cubicBezTo>
                    <a:pt x="7380" y="2153"/>
                    <a:pt x="7366" y="2137"/>
                    <a:pt x="7363" y="2140"/>
                  </a:cubicBezTo>
                  <a:cubicBezTo>
                    <a:pt x="7360" y="2143"/>
                    <a:pt x="7352" y="2152"/>
                    <a:pt x="7352" y="2152"/>
                  </a:cubicBezTo>
                  <a:cubicBezTo>
                    <a:pt x="7339" y="2144"/>
                    <a:pt x="7339" y="2144"/>
                    <a:pt x="7339" y="2144"/>
                  </a:cubicBezTo>
                  <a:cubicBezTo>
                    <a:pt x="7339" y="2144"/>
                    <a:pt x="7319" y="2149"/>
                    <a:pt x="7327" y="2161"/>
                  </a:cubicBezTo>
                  <a:cubicBezTo>
                    <a:pt x="7338" y="2177"/>
                    <a:pt x="7350" y="2172"/>
                    <a:pt x="7355" y="2174"/>
                  </a:cubicBezTo>
                  <a:cubicBezTo>
                    <a:pt x="7360" y="2176"/>
                    <a:pt x="7365" y="2184"/>
                    <a:pt x="7367" y="2188"/>
                  </a:cubicBezTo>
                  <a:cubicBezTo>
                    <a:pt x="7369" y="2192"/>
                    <a:pt x="7391" y="2202"/>
                    <a:pt x="7391" y="2202"/>
                  </a:cubicBezTo>
                  <a:cubicBezTo>
                    <a:pt x="7404" y="2198"/>
                    <a:pt x="7404" y="2198"/>
                    <a:pt x="7404" y="2198"/>
                  </a:cubicBezTo>
                  <a:cubicBezTo>
                    <a:pt x="7404" y="2198"/>
                    <a:pt x="7418" y="2219"/>
                    <a:pt x="7437" y="2220"/>
                  </a:cubicBezTo>
                  <a:cubicBezTo>
                    <a:pt x="7456" y="2221"/>
                    <a:pt x="7451" y="2204"/>
                    <a:pt x="7451" y="2204"/>
                  </a:cubicBezTo>
                  <a:cubicBezTo>
                    <a:pt x="7451" y="2204"/>
                    <a:pt x="7446" y="2187"/>
                    <a:pt x="7446" y="2180"/>
                  </a:cubicBezTo>
                  <a:cubicBezTo>
                    <a:pt x="7446" y="2173"/>
                    <a:pt x="7451" y="2163"/>
                    <a:pt x="7457" y="2158"/>
                  </a:cubicBezTo>
                  <a:close/>
                  <a:moveTo>
                    <a:pt x="7142" y="1987"/>
                  </a:moveTo>
                  <a:cubicBezTo>
                    <a:pt x="7138" y="1998"/>
                    <a:pt x="7138" y="1998"/>
                    <a:pt x="7138" y="1998"/>
                  </a:cubicBezTo>
                  <a:cubicBezTo>
                    <a:pt x="7138" y="1998"/>
                    <a:pt x="7153" y="2011"/>
                    <a:pt x="7153" y="2021"/>
                  </a:cubicBezTo>
                  <a:cubicBezTo>
                    <a:pt x="7153" y="2031"/>
                    <a:pt x="7149" y="2048"/>
                    <a:pt x="7149" y="2048"/>
                  </a:cubicBezTo>
                  <a:cubicBezTo>
                    <a:pt x="7155" y="2055"/>
                    <a:pt x="7155" y="2055"/>
                    <a:pt x="7155" y="2055"/>
                  </a:cubicBezTo>
                  <a:cubicBezTo>
                    <a:pt x="7147" y="2060"/>
                    <a:pt x="7147" y="2060"/>
                    <a:pt x="7147" y="2060"/>
                  </a:cubicBezTo>
                  <a:cubicBezTo>
                    <a:pt x="7152" y="2091"/>
                    <a:pt x="7152" y="2091"/>
                    <a:pt x="7152" y="2091"/>
                  </a:cubicBezTo>
                  <a:cubicBezTo>
                    <a:pt x="7143" y="2091"/>
                    <a:pt x="7143" y="2091"/>
                    <a:pt x="7143" y="2091"/>
                  </a:cubicBezTo>
                  <a:cubicBezTo>
                    <a:pt x="7156" y="2102"/>
                    <a:pt x="7156" y="2102"/>
                    <a:pt x="7156" y="2102"/>
                  </a:cubicBezTo>
                  <a:cubicBezTo>
                    <a:pt x="7172" y="2102"/>
                    <a:pt x="7177" y="2081"/>
                    <a:pt x="7177" y="2081"/>
                  </a:cubicBezTo>
                  <a:cubicBezTo>
                    <a:pt x="7177" y="2081"/>
                    <a:pt x="7189" y="2097"/>
                    <a:pt x="7198" y="2090"/>
                  </a:cubicBezTo>
                  <a:cubicBezTo>
                    <a:pt x="7207" y="2083"/>
                    <a:pt x="7203" y="2065"/>
                    <a:pt x="7203" y="2065"/>
                  </a:cubicBezTo>
                  <a:cubicBezTo>
                    <a:pt x="7207" y="2055"/>
                    <a:pt x="7207" y="2055"/>
                    <a:pt x="7207" y="2055"/>
                  </a:cubicBezTo>
                  <a:cubicBezTo>
                    <a:pt x="7207" y="2038"/>
                    <a:pt x="7207" y="2038"/>
                    <a:pt x="7207" y="2038"/>
                  </a:cubicBezTo>
                  <a:cubicBezTo>
                    <a:pt x="7207" y="2038"/>
                    <a:pt x="7201" y="2036"/>
                    <a:pt x="7202" y="2031"/>
                  </a:cubicBezTo>
                  <a:cubicBezTo>
                    <a:pt x="7203" y="2026"/>
                    <a:pt x="7214" y="2026"/>
                    <a:pt x="7214" y="2019"/>
                  </a:cubicBezTo>
                  <a:cubicBezTo>
                    <a:pt x="7214" y="2012"/>
                    <a:pt x="7205" y="1980"/>
                    <a:pt x="7193" y="1979"/>
                  </a:cubicBezTo>
                  <a:cubicBezTo>
                    <a:pt x="7181" y="1978"/>
                    <a:pt x="7169" y="1999"/>
                    <a:pt x="7161" y="1999"/>
                  </a:cubicBezTo>
                  <a:cubicBezTo>
                    <a:pt x="7153" y="1999"/>
                    <a:pt x="7142" y="1987"/>
                    <a:pt x="7142" y="1987"/>
                  </a:cubicBezTo>
                  <a:close/>
                  <a:moveTo>
                    <a:pt x="4261" y="639"/>
                  </a:moveTo>
                  <a:cubicBezTo>
                    <a:pt x="4303" y="637"/>
                    <a:pt x="4303" y="637"/>
                    <a:pt x="4303" y="637"/>
                  </a:cubicBezTo>
                  <a:cubicBezTo>
                    <a:pt x="4303" y="626"/>
                    <a:pt x="4303" y="626"/>
                    <a:pt x="4303" y="626"/>
                  </a:cubicBezTo>
                  <a:cubicBezTo>
                    <a:pt x="4273" y="628"/>
                    <a:pt x="4273" y="628"/>
                    <a:pt x="4273" y="628"/>
                  </a:cubicBezTo>
                  <a:lnTo>
                    <a:pt x="4261" y="639"/>
                  </a:lnTo>
                  <a:close/>
                  <a:moveTo>
                    <a:pt x="4261" y="595"/>
                  </a:moveTo>
                  <a:cubicBezTo>
                    <a:pt x="4234" y="589"/>
                    <a:pt x="4261" y="607"/>
                    <a:pt x="4261" y="607"/>
                  </a:cubicBezTo>
                  <a:cubicBezTo>
                    <a:pt x="4277" y="605"/>
                    <a:pt x="4289" y="601"/>
                    <a:pt x="4261" y="595"/>
                  </a:cubicBezTo>
                  <a:close/>
                  <a:moveTo>
                    <a:pt x="3805" y="403"/>
                  </a:moveTo>
                  <a:cubicBezTo>
                    <a:pt x="3830" y="396"/>
                    <a:pt x="3847" y="416"/>
                    <a:pt x="3847" y="416"/>
                  </a:cubicBezTo>
                  <a:cubicBezTo>
                    <a:pt x="3885" y="411"/>
                    <a:pt x="3885" y="411"/>
                    <a:pt x="3885" y="411"/>
                  </a:cubicBezTo>
                  <a:cubicBezTo>
                    <a:pt x="3880" y="396"/>
                    <a:pt x="3880" y="396"/>
                    <a:pt x="3880" y="396"/>
                  </a:cubicBezTo>
                  <a:cubicBezTo>
                    <a:pt x="3880" y="396"/>
                    <a:pt x="3929" y="394"/>
                    <a:pt x="3939" y="382"/>
                  </a:cubicBezTo>
                  <a:cubicBezTo>
                    <a:pt x="3949" y="371"/>
                    <a:pt x="3966" y="360"/>
                    <a:pt x="3953" y="360"/>
                  </a:cubicBezTo>
                  <a:cubicBezTo>
                    <a:pt x="3939" y="359"/>
                    <a:pt x="3862" y="350"/>
                    <a:pt x="3821" y="352"/>
                  </a:cubicBezTo>
                  <a:cubicBezTo>
                    <a:pt x="3782" y="353"/>
                    <a:pt x="3793" y="352"/>
                    <a:pt x="3792" y="360"/>
                  </a:cubicBezTo>
                  <a:cubicBezTo>
                    <a:pt x="3790" y="369"/>
                    <a:pt x="3776" y="372"/>
                    <a:pt x="3742" y="380"/>
                  </a:cubicBezTo>
                  <a:cubicBezTo>
                    <a:pt x="3709" y="387"/>
                    <a:pt x="3741" y="388"/>
                    <a:pt x="3739" y="410"/>
                  </a:cubicBezTo>
                  <a:cubicBezTo>
                    <a:pt x="3727" y="427"/>
                    <a:pt x="3727" y="427"/>
                    <a:pt x="3727" y="427"/>
                  </a:cubicBezTo>
                  <a:cubicBezTo>
                    <a:pt x="3747" y="439"/>
                    <a:pt x="3747" y="439"/>
                    <a:pt x="3747" y="439"/>
                  </a:cubicBezTo>
                  <a:cubicBezTo>
                    <a:pt x="3800" y="417"/>
                    <a:pt x="3800" y="417"/>
                    <a:pt x="3800" y="417"/>
                  </a:cubicBezTo>
                  <a:cubicBezTo>
                    <a:pt x="3800" y="417"/>
                    <a:pt x="3781" y="410"/>
                    <a:pt x="3805" y="403"/>
                  </a:cubicBezTo>
                  <a:close/>
                  <a:moveTo>
                    <a:pt x="4156" y="573"/>
                  </a:moveTo>
                  <a:cubicBezTo>
                    <a:pt x="4140" y="578"/>
                    <a:pt x="4115" y="589"/>
                    <a:pt x="4139" y="584"/>
                  </a:cubicBezTo>
                  <a:cubicBezTo>
                    <a:pt x="4162" y="579"/>
                    <a:pt x="4182" y="571"/>
                    <a:pt x="4182" y="571"/>
                  </a:cubicBezTo>
                  <a:cubicBezTo>
                    <a:pt x="4206" y="553"/>
                    <a:pt x="4172" y="568"/>
                    <a:pt x="4156" y="573"/>
                  </a:cubicBezTo>
                  <a:close/>
                  <a:moveTo>
                    <a:pt x="3888" y="337"/>
                  </a:moveTo>
                  <a:cubicBezTo>
                    <a:pt x="3899" y="330"/>
                    <a:pt x="3924" y="311"/>
                    <a:pt x="3920" y="303"/>
                  </a:cubicBezTo>
                  <a:cubicBezTo>
                    <a:pt x="3916" y="294"/>
                    <a:pt x="3882" y="296"/>
                    <a:pt x="3871" y="297"/>
                  </a:cubicBezTo>
                  <a:cubicBezTo>
                    <a:pt x="3848" y="299"/>
                    <a:pt x="3804" y="314"/>
                    <a:pt x="3816" y="322"/>
                  </a:cubicBezTo>
                  <a:cubicBezTo>
                    <a:pt x="3828" y="329"/>
                    <a:pt x="3888" y="337"/>
                    <a:pt x="3888" y="337"/>
                  </a:cubicBezTo>
                  <a:close/>
                  <a:moveTo>
                    <a:pt x="4229" y="562"/>
                  </a:moveTo>
                  <a:cubicBezTo>
                    <a:pt x="4215" y="556"/>
                    <a:pt x="4204" y="575"/>
                    <a:pt x="4217" y="579"/>
                  </a:cubicBezTo>
                  <a:cubicBezTo>
                    <a:pt x="4217" y="579"/>
                    <a:pt x="4243" y="568"/>
                    <a:pt x="4229" y="562"/>
                  </a:cubicBezTo>
                  <a:close/>
                  <a:moveTo>
                    <a:pt x="4037" y="845"/>
                  </a:moveTo>
                  <a:cubicBezTo>
                    <a:pt x="4047" y="835"/>
                    <a:pt x="4022" y="831"/>
                    <a:pt x="4022" y="831"/>
                  </a:cubicBezTo>
                  <a:cubicBezTo>
                    <a:pt x="4022" y="831"/>
                    <a:pt x="4022" y="860"/>
                    <a:pt x="4037" y="845"/>
                  </a:cubicBezTo>
                  <a:close/>
                  <a:moveTo>
                    <a:pt x="4169" y="657"/>
                  </a:moveTo>
                  <a:cubicBezTo>
                    <a:pt x="4204" y="663"/>
                    <a:pt x="4214" y="656"/>
                    <a:pt x="4229" y="646"/>
                  </a:cubicBezTo>
                  <a:cubicBezTo>
                    <a:pt x="4245" y="637"/>
                    <a:pt x="4241" y="621"/>
                    <a:pt x="4227" y="617"/>
                  </a:cubicBezTo>
                  <a:cubicBezTo>
                    <a:pt x="4213" y="614"/>
                    <a:pt x="4180" y="623"/>
                    <a:pt x="4180" y="623"/>
                  </a:cubicBezTo>
                  <a:cubicBezTo>
                    <a:pt x="4142" y="647"/>
                    <a:pt x="4134" y="652"/>
                    <a:pt x="4169" y="657"/>
                  </a:cubicBezTo>
                  <a:close/>
                  <a:moveTo>
                    <a:pt x="219" y="1307"/>
                  </a:moveTo>
                  <a:cubicBezTo>
                    <a:pt x="221" y="1293"/>
                    <a:pt x="221" y="1293"/>
                    <a:pt x="221" y="1293"/>
                  </a:cubicBezTo>
                  <a:cubicBezTo>
                    <a:pt x="184" y="1308"/>
                    <a:pt x="184" y="1308"/>
                    <a:pt x="184" y="1308"/>
                  </a:cubicBezTo>
                  <a:lnTo>
                    <a:pt x="219" y="1307"/>
                  </a:lnTo>
                  <a:close/>
                  <a:moveTo>
                    <a:pt x="0" y="1365"/>
                  </a:moveTo>
                  <a:cubicBezTo>
                    <a:pt x="41" y="1359"/>
                    <a:pt x="41" y="1359"/>
                    <a:pt x="41" y="1359"/>
                  </a:cubicBezTo>
                  <a:cubicBezTo>
                    <a:pt x="49" y="1348"/>
                    <a:pt x="49" y="1348"/>
                    <a:pt x="49" y="1348"/>
                  </a:cubicBezTo>
                  <a:cubicBezTo>
                    <a:pt x="90" y="1342"/>
                    <a:pt x="90" y="1342"/>
                    <a:pt x="90" y="1342"/>
                  </a:cubicBezTo>
                  <a:cubicBezTo>
                    <a:pt x="76" y="1328"/>
                    <a:pt x="76" y="1328"/>
                    <a:pt x="76" y="1328"/>
                  </a:cubicBezTo>
                  <a:lnTo>
                    <a:pt x="0" y="1365"/>
                  </a:lnTo>
                  <a:close/>
                  <a:moveTo>
                    <a:pt x="525" y="1021"/>
                  </a:moveTo>
                  <a:cubicBezTo>
                    <a:pt x="547" y="1019"/>
                    <a:pt x="594" y="998"/>
                    <a:pt x="578" y="994"/>
                  </a:cubicBezTo>
                  <a:cubicBezTo>
                    <a:pt x="561" y="989"/>
                    <a:pt x="539" y="986"/>
                    <a:pt x="533" y="992"/>
                  </a:cubicBezTo>
                  <a:cubicBezTo>
                    <a:pt x="527" y="998"/>
                    <a:pt x="514" y="985"/>
                    <a:pt x="510" y="996"/>
                  </a:cubicBezTo>
                  <a:cubicBezTo>
                    <a:pt x="507" y="1007"/>
                    <a:pt x="513" y="1022"/>
                    <a:pt x="525" y="1021"/>
                  </a:cubicBezTo>
                  <a:close/>
                  <a:moveTo>
                    <a:pt x="107" y="1339"/>
                  </a:moveTo>
                  <a:cubicBezTo>
                    <a:pt x="135" y="1338"/>
                    <a:pt x="135" y="1338"/>
                    <a:pt x="135" y="1338"/>
                  </a:cubicBezTo>
                  <a:cubicBezTo>
                    <a:pt x="161" y="1319"/>
                    <a:pt x="161" y="1319"/>
                    <a:pt x="161" y="1319"/>
                  </a:cubicBezTo>
                  <a:cubicBezTo>
                    <a:pt x="152" y="1308"/>
                    <a:pt x="152" y="1308"/>
                    <a:pt x="152" y="1308"/>
                  </a:cubicBezTo>
                  <a:lnTo>
                    <a:pt x="107" y="1339"/>
                  </a:lnTo>
                  <a:close/>
                  <a:moveTo>
                    <a:pt x="331" y="1256"/>
                  </a:moveTo>
                  <a:cubicBezTo>
                    <a:pt x="319" y="1256"/>
                    <a:pt x="290" y="1267"/>
                    <a:pt x="290" y="1267"/>
                  </a:cubicBezTo>
                  <a:cubicBezTo>
                    <a:pt x="290" y="1267"/>
                    <a:pt x="253" y="1281"/>
                    <a:pt x="254" y="1288"/>
                  </a:cubicBezTo>
                  <a:cubicBezTo>
                    <a:pt x="256" y="1297"/>
                    <a:pt x="270" y="1291"/>
                    <a:pt x="289" y="1285"/>
                  </a:cubicBezTo>
                  <a:cubicBezTo>
                    <a:pt x="308" y="1278"/>
                    <a:pt x="328" y="1288"/>
                    <a:pt x="335" y="1282"/>
                  </a:cubicBezTo>
                  <a:cubicBezTo>
                    <a:pt x="342" y="1276"/>
                    <a:pt x="344" y="1256"/>
                    <a:pt x="331" y="1256"/>
                  </a:cubicBezTo>
                  <a:close/>
                  <a:moveTo>
                    <a:pt x="908" y="1114"/>
                  </a:moveTo>
                  <a:cubicBezTo>
                    <a:pt x="905" y="1115"/>
                    <a:pt x="892" y="1120"/>
                    <a:pt x="892" y="1120"/>
                  </a:cubicBezTo>
                  <a:cubicBezTo>
                    <a:pt x="892" y="1120"/>
                    <a:pt x="884" y="1113"/>
                    <a:pt x="879" y="1114"/>
                  </a:cubicBezTo>
                  <a:cubicBezTo>
                    <a:pt x="874" y="1115"/>
                    <a:pt x="875" y="1130"/>
                    <a:pt x="875" y="1130"/>
                  </a:cubicBezTo>
                  <a:cubicBezTo>
                    <a:pt x="859" y="1142"/>
                    <a:pt x="859" y="1142"/>
                    <a:pt x="859" y="1142"/>
                  </a:cubicBezTo>
                  <a:cubicBezTo>
                    <a:pt x="859" y="1125"/>
                    <a:pt x="859" y="1125"/>
                    <a:pt x="859" y="1125"/>
                  </a:cubicBezTo>
                  <a:cubicBezTo>
                    <a:pt x="859" y="1125"/>
                    <a:pt x="845" y="1120"/>
                    <a:pt x="831" y="1133"/>
                  </a:cubicBezTo>
                  <a:cubicBezTo>
                    <a:pt x="831" y="1133"/>
                    <a:pt x="814" y="1144"/>
                    <a:pt x="811" y="1151"/>
                  </a:cubicBezTo>
                  <a:cubicBezTo>
                    <a:pt x="809" y="1159"/>
                    <a:pt x="831" y="1160"/>
                    <a:pt x="831" y="1160"/>
                  </a:cubicBezTo>
                  <a:cubicBezTo>
                    <a:pt x="831" y="1160"/>
                    <a:pt x="861" y="1160"/>
                    <a:pt x="872" y="1155"/>
                  </a:cubicBezTo>
                  <a:cubicBezTo>
                    <a:pt x="884" y="1150"/>
                    <a:pt x="881" y="1143"/>
                    <a:pt x="881" y="1143"/>
                  </a:cubicBezTo>
                  <a:cubicBezTo>
                    <a:pt x="899" y="1140"/>
                    <a:pt x="899" y="1140"/>
                    <a:pt x="899" y="1140"/>
                  </a:cubicBezTo>
                  <a:cubicBezTo>
                    <a:pt x="900" y="1134"/>
                    <a:pt x="900" y="1134"/>
                    <a:pt x="900" y="1134"/>
                  </a:cubicBezTo>
                  <a:cubicBezTo>
                    <a:pt x="925" y="1133"/>
                    <a:pt x="925" y="1133"/>
                    <a:pt x="925" y="1133"/>
                  </a:cubicBezTo>
                  <a:cubicBezTo>
                    <a:pt x="931" y="1117"/>
                    <a:pt x="931" y="1117"/>
                    <a:pt x="931" y="1117"/>
                  </a:cubicBezTo>
                  <a:cubicBezTo>
                    <a:pt x="920" y="1119"/>
                    <a:pt x="920" y="1119"/>
                    <a:pt x="920" y="1119"/>
                  </a:cubicBezTo>
                  <a:cubicBezTo>
                    <a:pt x="920" y="1119"/>
                    <a:pt x="912" y="1113"/>
                    <a:pt x="908" y="1114"/>
                  </a:cubicBezTo>
                  <a:close/>
                  <a:moveTo>
                    <a:pt x="3018" y="262"/>
                  </a:moveTo>
                  <a:cubicBezTo>
                    <a:pt x="3018" y="262"/>
                    <a:pt x="3056" y="255"/>
                    <a:pt x="3065" y="261"/>
                  </a:cubicBezTo>
                  <a:cubicBezTo>
                    <a:pt x="3075" y="267"/>
                    <a:pt x="3069" y="277"/>
                    <a:pt x="3081" y="277"/>
                  </a:cubicBezTo>
                  <a:cubicBezTo>
                    <a:pt x="3094" y="277"/>
                    <a:pt x="3116" y="272"/>
                    <a:pt x="3116" y="272"/>
                  </a:cubicBezTo>
                  <a:cubicBezTo>
                    <a:pt x="3116" y="272"/>
                    <a:pt x="3132" y="281"/>
                    <a:pt x="3147" y="274"/>
                  </a:cubicBezTo>
                  <a:cubicBezTo>
                    <a:pt x="3163" y="268"/>
                    <a:pt x="3160" y="251"/>
                    <a:pt x="3160" y="251"/>
                  </a:cubicBezTo>
                  <a:cubicBezTo>
                    <a:pt x="3182" y="251"/>
                    <a:pt x="3182" y="251"/>
                    <a:pt x="3182" y="251"/>
                  </a:cubicBezTo>
                  <a:cubicBezTo>
                    <a:pt x="3226" y="237"/>
                    <a:pt x="3226" y="237"/>
                    <a:pt x="3226" y="237"/>
                  </a:cubicBezTo>
                  <a:cubicBezTo>
                    <a:pt x="3201" y="260"/>
                    <a:pt x="3201" y="260"/>
                    <a:pt x="3201" y="260"/>
                  </a:cubicBezTo>
                  <a:cubicBezTo>
                    <a:pt x="3236" y="266"/>
                    <a:pt x="3236" y="266"/>
                    <a:pt x="3236" y="266"/>
                  </a:cubicBezTo>
                  <a:cubicBezTo>
                    <a:pt x="3273" y="251"/>
                    <a:pt x="3273" y="251"/>
                    <a:pt x="3273" y="251"/>
                  </a:cubicBezTo>
                  <a:cubicBezTo>
                    <a:pt x="3336" y="222"/>
                    <a:pt x="3336" y="222"/>
                    <a:pt x="3336" y="222"/>
                  </a:cubicBezTo>
                  <a:cubicBezTo>
                    <a:pt x="3336" y="222"/>
                    <a:pt x="3288" y="207"/>
                    <a:pt x="3279" y="207"/>
                  </a:cubicBezTo>
                  <a:cubicBezTo>
                    <a:pt x="3269" y="207"/>
                    <a:pt x="3216" y="203"/>
                    <a:pt x="3216" y="203"/>
                  </a:cubicBezTo>
                  <a:cubicBezTo>
                    <a:pt x="3165" y="211"/>
                    <a:pt x="3165" y="211"/>
                    <a:pt x="3165" y="211"/>
                  </a:cubicBezTo>
                  <a:cubicBezTo>
                    <a:pt x="3162" y="225"/>
                    <a:pt x="3162" y="225"/>
                    <a:pt x="3162" y="225"/>
                  </a:cubicBezTo>
                  <a:cubicBezTo>
                    <a:pt x="3084" y="231"/>
                    <a:pt x="3084" y="231"/>
                    <a:pt x="3084" y="231"/>
                  </a:cubicBezTo>
                  <a:cubicBezTo>
                    <a:pt x="3084" y="231"/>
                    <a:pt x="3058" y="222"/>
                    <a:pt x="3036" y="226"/>
                  </a:cubicBezTo>
                  <a:cubicBezTo>
                    <a:pt x="3014" y="229"/>
                    <a:pt x="3017" y="237"/>
                    <a:pt x="3017" y="237"/>
                  </a:cubicBezTo>
                  <a:cubicBezTo>
                    <a:pt x="3017" y="242"/>
                    <a:pt x="3018" y="262"/>
                    <a:pt x="3018" y="262"/>
                  </a:cubicBezTo>
                  <a:close/>
                  <a:moveTo>
                    <a:pt x="3472" y="227"/>
                  </a:moveTo>
                  <a:cubicBezTo>
                    <a:pt x="3534" y="231"/>
                    <a:pt x="3529" y="212"/>
                    <a:pt x="3529" y="212"/>
                  </a:cubicBezTo>
                  <a:cubicBezTo>
                    <a:pt x="3525" y="202"/>
                    <a:pt x="3525" y="202"/>
                    <a:pt x="3525" y="202"/>
                  </a:cubicBezTo>
                  <a:cubicBezTo>
                    <a:pt x="3571" y="197"/>
                    <a:pt x="3571" y="197"/>
                    <a:pt x="3571" y="197"/>
                  </a:cubicBezTo>
                  <a:cubicBezTo>
                    <a:pt x="3560" y="189"/>
                    <a:pt x="3560" y="189"/>
                    <a:pt x="3560" y="189"/>
                  </a:cubicBezTo>
                  <a:cubicBezTo>
                    <a:pt x="3515" y="191"/>
                    <a:pt x="3515" y="191"/>
                    <a:pt x="3515" y="191"/>
                  </a:cubicBezTo>
                  <a:cubicBezTo>
                    <a:pt x="3507" y="199"/>
                    <a:pt x="3507" y="199"/>
                    <a:pt x="3507" y="199"/>
                  </a:cubicBezTo>
                  <a:cubicBezTo>
                    <a:pt x="3507" y="199"/>
                    <a:pt x="3448" y="186"/>
                    <a:pt x="3441" y="202"/>
                  </a:cubicBezTo>
                  <a:cubicBezTo>
                    <a:pt x="3435" y="218"/>
                    <a:pt x="3472" y="227"/>
                    <a:pt x="3472" y="227"/>
                  </a:cubicBezTo>
                  <a:close/>
                  <a:moveTo>
                    <a:pt x="3267" y="270"/>
                  </a:moveTo>
                  <a:cubicBezTo>
                    <a:pt x="3231" y="288"/>
                    <a:pt x="3231" y="288"/>
                    <a:pt x="3231" y="288"/>
                  </a:cubicBezTo>
                  <a:cubicBezTo>
                    <a:pt x="3231" y="288"/>
                    <a:pt x="3266" y="294"/>
                    <a:pt x="3250" y="297"/>
                  </a:cubicBezTo>
                  <a:cubicBezTo>
                    <a:pt x="3234" y="301"/>
                    <a:pt x="3176" y="305"/>
                    <a:pt x="3176" y="305"/>
                  </a:cubicBezTo>
                  <a:cubicBezTo>
                    <a:pt x="3162" y="321"/>
                    <a:pt x="3162" y="321"/>
                    <a:pt x="3162" y="321"/>
                  </a:cubicBezTo>
                  <a:cubicBezTo>
                    <a:pt x="3199" y="316"/>
                    <a:pt x="3199" y="316"/>
                    <a:pt x="3199" y="316"/>
                  </a:cubicBezTo>
                  <a:cubicBezTo>
                    <a:pt x="3199" y="316"/>
                    <a:pt x="3214" y="321"/>
                    <a:pt x="3233" y="324"/>
                  </a:cubicBezTo>
                  <a:cubicBezTo>
                    <a:pt x="3252" y="327"/>
                    <a:pt x="3308" y="308"/>
                    <a:pt x="3308" y="308"/>
                  </a:cubicBezTo>
                  <a:cubicBezTo>
                    <a:pt x="3306" y="317"/>
                    <a:pt x="3306" y="317"/>
                    <a:pt x="3306" y="317"/>
                  </a:cubicBezTo>
                  <a:cubicBezTo>
                    <a:pt x="3306" y="317"/>
                    <a:pt x="3344" y="312"/>
                    <a:pt x="3374" y="310"/>
                  </a:cubicBezTo>
                  <a:cubicBezTo>
                    <a:pt x="3402" y="308"/>
                    <a:pt x="3377" y="315"/>
                    <a:pt x="3367" y="317"/>
                  </a:cubicBezTo>
                  <a:cubicBezTo>
                    <a:pt x="3357" y="318"/>
                    <a:pt x="3323" y="322"/>
                    <a:pt x="3298" y="325"/>
                  </a:cubicBezTo>
                  <a:cubicBezTo>
                    <a:pt x="3273" y="328"/>
                    <a:pt x="3242" y="339"/>
                    <a:pt x="3242" y="339"/>
                  </a:cubicBezTo>
                  <a:cubicBezTo>
                    <a:pt x="3242" y="339"/>
                    <a:pt x="3270" y="344"/>
                    <a:pt x="3320" y="346"/>
                  </a:cubicBezTo>
                  <a:cubicBezTo>
                    <a:pt x="3368" y="347"/>
                    <a:pt x="3402" y="326"/>
                    <a:pt x="3402" y="326"/>
                  </a:cubicBezTo>
                  <a:cubicBezTo>
                    <a:pt x="3452" y="313"/>
                    <a:pt x="3452" y="313"/>
                    <a:pt x="3452" y="313"/>
                  </a:cubicBezTo>
                  <a:cubicBezTo>
                    <a:pt x="3452" y="313"/>
                    <a:pt x="3469" y="319"/>
                    <a:pt x="3517" y="313"/>
                  </a:cubicBezTo>
                  <a:cubicBezTo>
                    <a:pt x="3563" y="307"/>
                    <a:pt x="3566" y="297"/>
                    <a:pt x="3585" y="292"/>
                  </a:cubicBezTo>
                  <a:cubicBezTo>
                    <a:pt x="3603" y="287"/>
                    <a:pt x="3588" y="267"/>
                    <a:pt x="3568" y="267"/>
                  </a:cubicBezTo>
                  <a:cubicBezTo>
                    <a:pt x="3548" y="268"/>
                    <a:pt x="3554" y="281"/>
                    <a:pt x="3554" y="281"/>
                  </a:cubicBezTo>
                  <a:cubicBezTo>
                    <a:pt x="3527" y="280"/>
                    <a:pt x="3527" y="280"/>
                    <a:pt x="3527" y="280"/>
                  </a:cubicBezTo>
                  <a:cubicBezTo>
                    <a:pt x="3527" y="280"/>
                    <a:pt x="3532" y="273"/>
                    <a:pt x="3537" y="265"/>
                  </a:cubicBezTo>
                  <a:cubicBezTo>
                    <a:pt x="3542" y="257"/>
                    <a:pt x="3555" y="242"/>
                    <a:pt x="3543" y="242"/>
                  </a:cubicBezTo>
                  <a:cubicBezTo>
                    <a:pt x="3531" y="241"/>
                    <a:pt x="3506" y="252"/>
                    <a:pt x="3473" y="262"/>
                  </a:cubicBezTo>
                  <a:cubicBezTo>
                    <a:pt x="3439" y="272"/>
                    <a:pt x="3494" y="269"/>
                    <a:pt x="3494" y="269"/>
                  </a:cubicBezTo>
                  <a:cubicBezTo>
                    <a:pt x="3491" y="285"/>
                    <a:pt x="3491" y="285"/>
                    <a:pt x="3491" y="285"/>
                  </a:cubicBezTo>
                  <a:cubicBezTo>
                    <a:pt x="3411" y="295"/>
                    <a:pt x="3411" y="295"/>
                    <a:pt x="3411" y="295"/>
                  </a:cubicBezTo>
                  <a:cubicBezTo>
                    <a:pt x="3411" y="295"/>
                    <a:pt x="3405" y="275"/>
                    <a:pt x="3410" y="266"/>
                  </a:cubicBezTo>
                  <a:cubicBezTo>
                    <a:pt x="3414" y="257"/>
                    <a:pt x="3357" y="253"/>
                    <a:pt x="3357" y="253"/>
                  </a:cubicBezTo>
                  <a:lnTo>
                    <a:pt x="3267" y="270"/>
                  </a:lnTo>
                  <a:close/>
                  <a:moveTo>
                    <a:pt x="2745" y="467"/>
                  </a:moveTo>
                  <a:cubicBezTo>
                    <a:pt x="2750" y="479"/>
                    <a:pt x="2720" y="495"/>
                    <a:pt x="2748" y="491"/>
                  </a:cubicBezTo>
                  <a:cubicBezTo>
                    <a:pt x="2776" y="487"/>
                    <a:pt x="2810" y="475"/>
                    <a:pt x="2810" y="475"/>
                  </a:cubicBezTo>
                  <a:cubicBezTo>
                    <a:pt x="2836" y="481"/>
                    <a:pt x="2836" y="481"/>
                    <a:pt x="2836" y="481"/>
                  </a:cubicBezTo>
                  <a:cubicBezTo>
                    <a:pt x="2887" y="443"/>
                    <a:pt x="2887" y="443"/>
                    <a:pt x="2887" y="443"/>
                  </a:cubicBezTo>
                  <a:cubicBezTo>
                    <a:pt x="2975" y="415"/>
                    <a:pt x="2975" y="415"/>
                    <a:pt x="2975" y="415"/>
                  </a:cubicBezTo>
                  <a:cubicBezTo>
                    <a:pt x="3058" y="392"/>
                    <a:pt x="3058" y="392"/>
                    <a:pt x="3058" y="392"/>
                  </a:cubicBezTo>
                  <a:cubicBezTo>
                    <a:pt x="3124" y="379"/>
                    <a:pt x="3124" y="379"/>
                    <a:pt x="3124" y="379"/>
                  </a:cubicBezTo>
                  <a:cubicBezTo>
                    <a:pt x="3124" y="379"/>
                    <a:pt x="3085" y="347"/>
                    <a:pt x="3082" y="343"/>
                  </a:cubicBezTo>
                  <a:cubicBezTo>
                    <a:pt x="3078" y="340"/>
                    <a:pt x="3031" y="346"/>
                    <a:pt x="3031" y="346"/>
                  </a:cubicBezTo>
                  <a:cubicBezTo>
                    <a:pt x="2987" y="352"/>
                    <a:pt x="2987" y="352"/>
                    <a:pt x="2987" y="352"/>
                  </a:cubicBezTo>
                  <a:cubicBezTo>
                    <a:pt x="2963" y="334"/>
                    <a:pt x="2963" y="334"/>
                    <a:pt x="2963" y="334"/>
                  </a:cubicBezTo>
                  <a:cubicBezTo>
                    <a:pt x="2909" y="341"/>
                    <a:pt x="2909" y="341"/>
                    <a:pt x="2909" y="341"/>
                  </a:cubicBezTo>
                  <a:cubicBezTo>
                    <a:pt x="2875" y="351"/>
                    <a:pt x="2875" y="351"/>
                    <a:pt x="2875" y="351"/>
                  </a:cubicBezTo>
                  <a:cubicBezTo>
                    <a:pt x="2865" y="364"/>
                    <a:pt x="2865" y="364"/>
                    <a:pt x="2865" y="364"/>
                  </a:cubicBezTo>
                  <a:cubicBezTo>
                    <a:pt x="2854" y="384"/>
                    <a:pt x="2854" y="384"/>
                    <a:pt x="2854" y="384"/>
                  </a:cubicBezTo>
                  <a:cubicBezTo>
                    <a:pt x="2822" y="393"/>
                    <a:pt x="2822" y="393"/>
                    <a:pt x="2822" y="393"/>
                  </a:cubicBezTo>
                  <a:cubicBezTo>
                    <a:pt x="2776" y="406"/>
                    <a:pt x="2776" y="406"/>
                    <a:pt x="2776" y="406"/>
                  </a:cubicBezTo>
                  <a:cubicBezTo>
                    <a:pt x="2789" y="414"/>
                    <a:pt x="2789" y="414"/>
                    <a:pt x="2789" y="414"/>
                  </a:cubicBezTo>
                  <a:cubicBezTo>
                    <a:pt x="2709" y="450"/>
                    <a:pt x="2709" y="450"/>
                    <a:pt x="2709" y="450"/>
                  </a:cubicBezTo>
                  <a:cubicBezTo>
                    <a:pt x="2709" y="450"/>
                    <a:pt x="2741" y="455"/>
                    <a:pt x="2745" y="467"/>
                  </a:cubicBezTo>
                  <a:close/>
                  <a:moveTo>
                    <a:pt x="3369" y="243"/>
                  </a:moveTo>
                  <a:cubicBezTo>
                    <a:pt x="3387" y="228"/>
                    <a:pt x="3368" y="219"/>
                    <a:pt x="3350" y="229"/>
                  </a:cubicBezTo>
                  <a:cubicBezTo>
                    <a:pt x="3331" y="239"/>
                    <a:pt x="3369" y="243"/>
                    <a:pt x="3369" y="243"/>
                  </a:cubicBezTo>
                  <a:close/>
                  <a:moveTo>
                    <a:pt x="3556" y="183"/>
                  </a:moveTo>
                  <a:cubicBezTo>
                    <a:pt x="3566" y="182"/>
                    <a:pt x="3595" y="190"/>
                    <a:pt x="3597" y="182"/>
                  </a:cubicBezTo>
                  <a:cubicBezTo>
                    <a:pt x="3599" y="173"/>
                    <a:pt x="3589" y="167"/>
                    <a:pt x="3573" y="167"/>
                  </a:cubicBezTo>
                  <a:cubicBezTo>
                    <a:pt x="3556" y="167"/>
                    <a:pt x="3491" y="178"/>
                    <a:pt x="3491" y="178"/>
                  </a:cubicBezTo>
                  <a:cubicBezTo>
                    <a:pt x="3491" y="178"/>
                    <a:pt x="3547" y="184"/>
                    <a:pt x="3556" y="183"/>
                  </a:cubicBezTo>
                  <a:close/>
                  <a:moveTo>
                    <a:pt x="4268" y="416"/>
                  </a:moveTo>
                  <a:cubicBezTo>
                    <a:pt x="4284" y="422"/>
                    <a:pt x="4306" y="408"/>
                    <a:pt x="4306" y="408"/>
                  </a:cubicBezTo>
                  <a:cubicBezTo>
                    <a:pt x="4347" y="407"/>
                    <a:pt x="4347" y="407"/>
                    <a:pt x="4347" y="407"/>
                  </a:cubicBezTo>
                  <a:cubicBezTo>
                    <a:pt x="4347" y="407"/>
                    <a:pt x="4373" y="417"/>
                    <a:pt x="4381" y="411"/>
                  </a:cubicBezTo>
                  <a:cubicBezTo>
                    <a:pt x="4388" y="406"/>
                    <a:pt x="4382" y="383"/>
                    <a:pt x="4365" y="379"/>
                  </a:cubicBezTo>
                  <a:cubicBezTo>
                    <a:pt x="4347" y="375"/>
                    <a:pt x="4331" y="380"/>
                    <a:pt x="4331" y="380"/>
                  </a:cubicBezTo>
                  <a:cubicBezTo>
                    <a:pt x="4305" y="380"/>
                    <a:pt x="4305" y="380"/>
                    <a:pt x="4305" y="380"/>
                  </a:cubicBezTo>
                  <a:cubicBezTo>
                    <a:pt x="4305" y="380"/>
                    <a:pt x="4275" y="368"/>
                    <a:pt x="4264" y="377"/>
                  </a:cubicBezTo>
                  <a:cubicBezTo>
                    <a:pt x="4254" y="385"/>
                    <a:pt x="4250" y="391"/>
                    <a:pt x="4250" y="391"/>
                  </a:cubicBezTo>
                  <a:cubicBezTo>
                    <a:pt x="4263" y="398"/>
                    <a:pt x="4263" y="398"/>
                    <a:pt x="4263" y="398"/>
                  </a:cubicBezTo>
                  <a:cubicBezTo>
                    <a:pt x="4263" y="398"/>
                    <a:pt x="4254" y="410"/>
                    <a:pt x="4268" y="416"/>
                  </a:cubicBezTo>
                  <a:close/>
                  <a:moveTo>
                    <a:pt x="4008" y="114"/>
                  </a:moveTo>
                  <a:cubicBezTo>
                    <a:pt x="3971" y="118"/>
                    <a:pt x="3971" y="118"/>
                    <a:pt x="3971" y="118"/>
                  </a:cubicBezTo>
                  <a:cubicBezTo>
                    <a:pt x="3985" y="136"/>
                    <a:pt x="3985" y="136"/>
                    <a:pt x="3985" y="136"/>
                  </a:cubicBezTo>
                  <a:lnTo>
                    <a:pt x="4008" y="114"/>
                  </a:lnTo>
                  <a:close/>
                  <a:moveTo>
                    <a:pt x="3411" y="512"/>
                  </a:moveTo>
                  <a:cubicBezTo>
                    <a:pt x="3409" y="506"/>
                    <a:pt x="3344" y="507"/>
                    <a:pt x="3344" y="507"/>
                  </a:cubicBezTo>
                  <a:cubicBezTo>
                    <a:pt x="3397" y="479"/>
                    <a:pt x="3397" y="479"/>
                    <a:pt x="3397" y="479"/>
                  </a:cubicBezTo>
                  <a:cubicBezTo>
                    <a:pt x="3397" y="479"/>
                    <a:pt x="3429" y="405"/>
                    <a:pt x="3400" y="396"/>
                  </a:cubicBezTo>
                  <a:cubicBezTo>
                    <a:pt x="3373" y="388"/>
                    <a:pt x="3334" y="406"/>
                    <a:pt x="3334" y="406"/>
                  </a:cubicBezTo>
                  <a:cubicBezTo>
                    <a:pt x="3334" y="406"/>
                    <a:pt x="3308" y="460"/>
                    <a:pt x="3284" y="463"/>
                  </a:cubicBezTo>
                  <a:cubicBezTo>
                    <a:pt x="3260" y="466"/>
                    <a:pt x="3300" y="426"/>
                    <a:pt x="3298" y="416"/>
                  </a:cubicBezTo>
                  <a:cubicBezTo>
                    <a:pt x="3296" y="406"/>
                    <a:pt x="3232" y="405"/>
                    <a:pt x="3232" y="405"/>
                  </a:cubicBezTo>
                  <a:cubicBezTo>
                    <a:pt x="3226" y="418"/>
                    <a:pt x="3226" y="418"/>
                    <a:pt x="3226" y="418"/>
                  </a:cubicBezTo>
                  <a:cubicBezTo>
                    <a:pt x="3226" y="418"/>
                    <a:pt x="3190" y="433"/>
                    <a:pt x="3153" y="436"/>
                  </a:cubicBezTo>
                  <a:cubicBezTo>
                    <a:pt x="3117" y="438"/>
                    <a:pt x="3169" y="425"/>
                    <a:pt x="3205" y="413"/>
                  </a:cubicBezTo>
                  <a:cubicBezTo>
                    <a:pt x="3243" y="401"/>
                    <a:pt x="3186" y="399"/>
                    <a:pt x="3186" y="399"/>
                  </a:cubicBezTo>
                  <a:cubicBezTo>
                    <a:pt x="3146" y="411"/>
                    <a:pt x="3146" y="411"/>
                    <a:pt x="3146" y="411"/>
                  </a:cubicBezTo>
                  <a:cubicBezTo>
                    <a:pt x="3118" y="414"/>
                    <a:pt x="3118" y="414"/>
                    <a:pt x="3118" y="414"/>
                  </a:cubicBezTo>
                  <a:cubicBezTo>
                    <a:pt x="3118" y="414"/>
                    <a:pt x="3133" y="404"/>
                    <a:pt x="3149" y="393"/>
                  </a:cubicBezTo>
                  <a:cubicBezTo>
                    <a:pt x="3164" y="382"/>
                    <a:pt x="3145" y="384"/>
                    <a:pt x="3145" y="384"/>
                  </a:cubicBezTo>
                  <a:cubicBezTo>
                    <a:pt x="3046" y="415"/>
                    <a:pt x="3046" y="415"/>
                    <a:pt x="3046" y="415"/>
                  </a:cubicBezTo>
                  <a:cubicBezTo>
                    <a:pt x="3032" y="416"/>
                    <a:pt x="3032" y="416"/>
                    <a:pt x="3032" y="416"/>
                  </a:cubicBezTo>
                  <a:cubicBezTo>
                    <a:pt x="2976" y="433"/>
                    <a:pt x="2976" y="433"/>
                    <a:pt x="2976" y="433"/>
                  </a:cubicBezTo>
                  <a:cubicBezTo>
                    <a:pt x="2978" y="441"/>
                    <a:pt x="2978" y="441"/>
                    <a:pt x="2978" y="441"/>
                  </a:cubicBezTo>
                  <a:cubicBezTo>
                    <a:pt x="2938" y="456"/>
                    <a:pt x="2938" y="456"/>
                    <a:pt x="2938" y="456"/>
                  </a:cubicBezTo>
                  <a:cubicBezTo>
                    <a:pt x="2929" y="466"/>
                    <a:pt x="2929" y="466"/>
                    <a:pt x="2929" y="466"/>
                  </a:cubicBezTo>
                  <a:cubicBezTo>
                    <a:pt x="2947" y="474"/>
                    <a:pt x="2947" y="474"/>
                    <a:pt x="2947" y="474"/>
                  </a:cubicBezTo>
                  <a:cubicBezTo>
                    <a:pt x="2947" y="474"/>
                    <a:pt x="2969" y="459"/>
                    <a:pt x="2974" y="471"/>
                  </a:cubicBezTo>
                  <a:cubicBezTo>
                    <a:pt x="2979" y="483"/>
                    <a:pt x="2933" y="477"/>
                    <a:pt x="2922" y="496"/>
                  </a:cubicBezTo>
                  <a:cubicBezTo>
                    <a:pt x="2910" y="516"/>
                    <a:pt x="3069" y="497"/>
                    <a:pt x="3047" y="515"/>
                  </a:cubicBezTo>
                  <a:cubicBezTo>
                    <a:pt x="3026" y="532"/>
                    <a:pt x="2899" y="521"/>
                    <a:pt x="2888" y="538"/>
                  </a:cubicBezTo>
                  <a:cubicBezTo>
                    <a:pt x="2877" y="555"/>
                    <a:pt x="2909" y="553"/>
                    <a:pt x="2932" y="565"/>
                  </a:cubicBezTo>
                  <a:cubicBezTo>
                    <a:pt x="2955" y="577"/>
                    <a:pt x="2920" y="570"/>
                    <a:pt x="2916" y="587"/>
                  </a:cubicBezTo>
                  <a:cubicBezTo>
                    <a:pt x="2912" y="603"/>
                    <a:pt x="3015" y="595"/>
                    <a:pt x="3015" y="595"/>
                  </a:cubicBezTo>
                  <a:cubicBezTo>
                    <a:pt x="3015" y="595"/>
                    <a:pt x="3184" y="579"/>
                    <a:pt x="3223" y="567"/>
                  </a:cubicBezTo>
                  <a:cubicBezTo>
                    <a:pt x="3250" y="558"/>
                    <a:pt x="3301" y="596"/>
                    <a:pt x="3333" y="599"/>
                  </a:cubicBezTo>
                  <a:cubicBezTo>
                    <a:pt x="3366" y="601"/>
                    <a:pt x="3377" y="564"/>
                    <a:pt x="3377" y="564"/>
                  </a:cubicBezTo>
                  <a:cubicBezTo>
                    <a:pt x="3325" y="563"/>
                    <a:pt x="3325" y="563"/>
                    <a:pt x="3325" y="563"/>
                  </a:cubicBezTo>
                  <a:cubicBezTo>
                    <a:pt x="3347" y="546"/>
                    <a:pt x="3347" y="546"/>
                    <a:pt x="3347" y="546"/>
                  </a:cubicBezTo>
                  <a:cubicBezTo>
                    <a:pt x="3347" y="546"/>
                    <a:pt x="3379" y="552"/>
                    <a:pt x="3411" y="545"/>
                  </a:cubicBezTo>
                  <a:cubicBezTo>
                    <a:pt x="3444" y="538"/>
                    <a:pt x="3413" y="519"/>
                    <a:pt x="3411" y="512"/>
                  </a:cubicBezTo>
                  <a:close/>
                  <a:moveTo>
                    <a:pt x="3970" y="239"/>
                  </a:moveTo>
                  <a:cubicBezTo>
                    <a:pt x="3966" y="239"/>
                    <a:pt x="3958" y="235"/>
                    <a:pt x="3958" y="235"/>
                  </a:cubicBezTo>
                  <a:cubicBezTo>
                    <a:pt x="3958" y="235"/>
                    <a:pt x="3898" y="235"/>
                    <a:pt x="3898" y="243"/>
                  </a:cubicBezTo>
                  <a:cubicBezTo>
                    <a:pt x="3898" y="252"/>
                    <a:pt x="3917" y="254"/>
                    <a:pt x="3917" y="254"/>
                  </a:cubicBezTo>
                  <a:cubicBezTo>
                    <a:pt x="3918" y="266"/>
                    <a:pt x="3918" y="266"/>
                    <a:pt x="3918" y="266"/>
                  </a:cubicBezTo>
                  <a:cubicBezTo>
                    <a:pt x="3918" y="266"/>
                    <a:pt x="3968" y="271"/>
                    <a:pt x="3972" y="269"/>
                  </a:cubicBezTo>
                  <a:cubicBezTo>
                    <a:pt x="3976" y="267"/>
                    <a:pt x="3988" y="268"/>
                    <a:pt x="3994" y="268"/>
                  </a:cubicBezTo>
                  <a:cubicBezTo>
                    <a:pt x="3992" y="276"/>
                    <a:pt x="3990" y="287"/>
                    <a:pt x="3990" y="287"/>
                  </a:cubicBezTo>
                  <a:cubicBezTo>
                    <a:pt x="3953" y="314"/>
                    <a:pt x="3953" y="314"/>
                    <a:pt x="3953" y="314"/>
                  </a:cubicBezTo>
                  <a:cubicBezTo>
                    <a:pt x="3967" y="320"/>
                    <a:pt x="3967" y="320"/>
                    <a:pt x="3967" y="320"/>
                  </a:cubicBezTo>
                  <a:cubicBezTo>
                    <a:pt x="3967" y="320"/>
                    <a:pt x="3943" y="335"/>
                    <a:pt x="3955" y="335"/>
                  </a:cubicBezTo>
                  <a:cubicBezTo>
                    <a:pt x="3967" y="335"/>
                    <a:pt x="3985" y="325"/>
                    <a:pt x="3985" y="325"/>
                  </a:cubicBezTo>
                  <a:cubicBezTo>
                    <a:pt x="3985" y="325"/>
                    <a:pt x="3976" y="338"/>
                    <a:pt x="3995" y="337"/>
                  </a:cubicBezTo>
                  <a:cubicBezTo>
                    <a:pt x="4014" y="336"/>
                    <a:pt x="4050" y="324"/>
                    <a:pt x="4050" y="324"/>
                  </a:cubicBezTo>
                  <a:cubicBezTo>
                    <a:pt x="4051" y="338"/>
                    <a:pt x="4051" y="338"/>
                    <a:pt x="4051" y="338"/>
                  </a:cubicBezTo>
                  <a:cubicBezTo>
                    <a:pt x="4096" y="335"/>
                    <a:pt x="4096" y="335"/>
                    <a:pt x="4096" y="335"/>
                  </a:cubicBezTo>
                  <a:cubicBezTo>
                    <a:pt x="4149" y="345"/>
                    <a:pt x="4149" y="345"/>
                    <a:pt x="4149" y="345"/>
                  </a:cubicBezTo>
                  <a:cubicBezTo>
                    <a:pt x="4213" y="340"/>
                    <a:pt x="4213" y="340"/>
                    <a:pt x="4213" y="340"/>
                  </a:cubicBezTo>
                  <a:cubicBezTo>
                    <a:pt x="4231" y="325"/>
                    <a:pt x="4231" y="325"/>
                    <a:pt x="4231" y="325"/>
                  </a:cubicBezTo>
                  <a:cubicBezTo>
                    <a:pt x="4231" y="325"/>
                    <a:pt x="4220" y="339"/>
                    <a:pt x="4233" y="340"/>
                  </a:cubicBezTo>
                  <a:cubicBezTo>
                    <a:pt x="4246" y="341"/>
                    <a:pt x="4321" y="339"/>
                    <a:pt x="4321" y="339"/>
                  </a:cubicBezTo>
                  <a:cubicBezTo>
                    <a:pt x="4328" y="325"/>
                    <a:pt x="4328" y="325"/>
                    <a:pt x="4328" y="325"/>
                  </a:cubicBezTo>
                  <a:cubicBezTo>
                    <a:pt x="4372" y="307"/>
                    <a:pt x="4372" y="307"/>
                    <a:pt x="4372" y="307"/>
                  </a:cubicBezTo>
                  <a:cubicBezTo>
                    <a:pt x="4361" y="303"/>
                    <a:pt x="4361" y="303"/>
                    <a:pt x="4361" y="303"/>
                  </a:cubicBezTo>
                  <a:cubicBezTo>
                    <a:pt x="4361" y="294"/>
                    <a:pt x="4361" y="294"/>
                    <a:pt x="4361" y="294"/>
                  </a:cubicBezTo>
                  <a:cubicBezTo>
                    <a:pt x="4361" y="294"/>
                    <a:pt x="4316" y="283"/>
                    <a:pt x="4300" y="283"/>
                  </a:cubicBezTo>
                  <a:cubicBezTo>
                    <a:pt x="4284" y="283"/>
                    <a:pt x="4163" y="307"/>
                    <a:pt x="4163" y="307"/>
                  </a:cubicBezTo>
                  <a:cubicBezTo>
                    <a:pt x="4163" y="307"/>
                    <a:pt x="4148" y="296"/>
                    <a:pt x="4140" y="295"/>
                  </a:cubicBezTo>
                  <a:cubicBezTo>
                    <a:pt x="4133" y="294"/>
                    <a:pt x="4103" y="307"/>
                    <a:pt x="4103" y="307"/>
                  </a:cubicBezTo>
                  <a:cubicBezTo>
                    <a:pt x="4090" y="293"/>
                    <a:pt x="4090" y="293"/>
                    <a:pt x="4090" y="293"/>
                  </a:cubicBezTo>
                  <a:cubicBezTo>
                    <a:pt x="4078" y="299"/>
                    <a:pt x="4078" y="299"/>
                    <a:pt x="4078" y="299"/>
                  </a:cubicBezTo>
                  <a:cubicBezTo>
                    <a:pt x="4056" y="295"/>
                    <a:pt x="4056" y="295"/>
                    <a:pt x="4056" y="295"/>
                  </a:cubicBezTo>
                  <a:cubicBezTo>
                    <a:pt x="4078" y="287"/>
                    <a:pt x="4078" y="287"/>
                    <a:pt x="4078" y="287"/>
                  </a:cubicBezTo>
                  <a:cubicBezTo>
                    <a:pt x="4065" y="281"/>
                    <a:pt x="4065" y="281"/>
                    <a:pt x="4065" y="281"/>
                  </a:cubicBezTo>
                  <a:cubicBezTo>
                    <a:pt x="4028" y="285"/>
                    <a:pt x="4028" y="285"/>
                    <a:pt x="4028" y="285"/>
                  </a:cubicBezTo>
                  <a:cubicBezTo>
                    <a:pt x="4052" y="278"/>
                    <a:pt x="4052" y="278"/>
                    <a:pt x="4052" y="278"/>
                  </a:cubicBezTo>
                  <a:cubicBezTo>
                    <a:pt x="4051" y="273"/>
                    <a:pt x="4051" y="273"/>
                    <a:pt x="4051" y="273"/>
                  </a:cubicBezTo>
                  <a:cubicBezTo>
                    <a:pt x="4097" y="272"/>
                    <a:pt x="4097" y="272"/>
                    <a:pt x="4097" y="272"/>
                  </a:cubicBezTo>
                  <a:cubicBezTo>
                    <a:pt x="4074" y="264"/>
                    <a:pt x="4074" y="264"/>
                    <a:pt x="4074" y="264"/>
                  </a:cubicBezTo>
                  <a:cubicBezTo>
                    <a:pt x="4058" y="264"/>
                    <a:pt x="4058" y="264"/>
                    <a:pt x="4058" y="264"/>
                  </a:cubicBezTo>
                  <a:cubicBezTo>
                    <a:pt x="4058" y="264"/>
                    <a:pt x="4070" y="254"/>
                    <a:pt x="4060" y="253"/>
                  </a:cubicBezTo>
                  <a:cubicBezTo>
                    <a:pt x="4052" y="252"/>
                    <a:pt x="4021" y="254"/>
                    <a:pt x="4005" y="257"/>
                  </a:cubicBezTo>
                  <a:cubicBezTo>
                    <a:pt x="4003" y="250"/>
                    <a:pt x="3974" y="239"/>
                    <a:pt x="3970" y="239"/>
                  </a:cubicBezTo>
                  <a:close/>
                  <a:moveTo>
                    <a:pt x="4116" y="136"/>
                  </a:moveTo>
                  <a:cubicBezTo>
                    <a:pt x="4080" y="144"/>
                    <a:pt x="4080" y="144"/>
                    <a:pt x="4080" y="144"/>
                  </a:cubicBezTo>
                  <a:cubicBezTo>
                    <a:pt x="4105" y="155"/>
                    <a:pt x="4105" y="155"/>
                    <a:pt x="4105" y="155"/>
                  </a:cubicBezTo>
                  <a:cubicBezTo>
                    <a:pt x="4105" y="155"/>
                    <a:pt x="4091" y="159"/>
                    <a:pt x="4093" y="169"/>
                  </a:cubicBezTo>
                  <a:cubicBezTo>
                    <a:pt x="4095" y="178"/>
                    <a:pt x="4122" y="175"/>
                    <a:pt x="4122" y="175"/>
                  </a:cubicBezTo>
                  <a:cubicBezTo>
                    <a:pt x="4109" y="184"/>
                    <a:pt x="4109" y="184"/>
                    <a:pt x="4109" y="184"/>
                  </a:cubicBezTo>
                  <a:cubicBezTo>
                    <a:pt x="4109" y="184"/>
                    <a:pt x="4127" y="188"/>
                    <a:pt x="4141" y="197"/>
                  </a:cubicBezTo>
                  <a:cubicBezTo>
                    <a:pt x="4155" y="205"/>
                    <a:pt x="4180" y="185"/>
                    <a:pt x="4180" y="185"/>
                  </a:cubicBezTo>
                  <a:cubicBezTo>
                    <a:pt x="4196" y="177"/>
                    <a:pt x="4196" y="177"/>
                    <a:pt x="4196" y="177"/>
                  </a:cubicBezTo>
                  <a:cubicBezTo>
                    <a:pt x="4196" y="177"/>
                    <a:pt x="4201" y="183"/>
                    <a:pt x="4207" y="194"/>
                  </a:cubicBezTo>
                  <a:cubicBezTo>
                    <a:pt x="4214" y="204"/>
                    <a:pt x="4238" y="186"/>
                    <a:pt x="4247" y="184"/>
                  </a:cubicBezTo>
                  <a:cubicBezTo>
                    <a:pt x="4256" y="182"/>
                    <a:pt x="4269" y="168"/>
                    <a:pt x="4269" y="168"/>
                  </a:cubicBezTo>
                  <a:cubicBezTo>
                    <a:pt x="4277" y="177"/>
                    <a:pt x="4277" y="177"/>
                    <a:pt x="4277" y="177"/>
                  </a:cubicBezTo>
                  <a:cubicBezTo>
                    <a:pt x="4277" y="177"/>
                    <a:pt x="4290" y="164"/>
                    <a:pt x="4292" y="159"/>
                  </a:cubicBezTo>
                  <a:cubicBezTo>
                    <a:pt x="4294" y="154"/>
                    <a:pt x="4347" y="156"/>
                    <a:pt x="4359" y="156"/>
                  </a:cubicBezTo>
                  <a:cubicBezTo>
                    <a:pt x="4371" y="156"/>
                    <a:pt x="4368" y="142"/>
                    <a:pt x="4368" y="142"/>
                  </a:cubicBezTo>
                  <a:cubicBezTo>
                    <a:pt x="4326" y="141"/>
                    <a:pt x="4326" y="141"/>
                    <a:pt x="4326" y="141"/>
                  </a:cubicBezTo>
                  <a:cubicBezTo>
                    <a:pt x="4346" y="130"/>
                    <a:pt x="4346" y="130"/>
                    <a:pt x="4346" y="130"/>
                  </a:cubicBezTo>
                  <a:cubicBezTo>
                    <a:pt x="4346" y="130"/>
                    <a:pt x="4354" y="110"/>
                    <a:pt x="4349" y="103"/>
                  </a:cubicBezTo>
                  <a:cubicBezTo>
                    <a:pt x="4345" y="97"/>
                    <a:pt x="4311" y="115"/>
                    <a:pt x="4311" y="115"/>
                  </a:cubicBezTo>
                  <a:cubicBezTo>
                    <a:pt x="4308" y="98"/>
                    <a:pt x="4308" y="98"/>
                    <a:pt x="4308" y="98"/>
                  </a:cubicBezTo>
                  <a:cubicBezTo>
                    <a:pt x="4276" y="104"/>
                    <a:pt x="4276" y="104"/>
                    <a:pt x="4276" y="104"/>
                  </a:cubicBezTo>
                  <a:cubicBezTo>
                    <a:pt x="4276" y="104"/>
                    <a:pt x="4273" y="84"/>
                    <a:pt x="4263" y="73"/>
                  </a:cubicBezTo>
                  <a:cubicBezTo>
                    <a:pt x="4254" y="62"/>
                    <a:pt x="4212" y="85"/>
                    <a:pt x="4212" y="85"/>
                  </a:cubicBezTo>
                  <a:cubicBezTo>
                    <a:pt x="4160" y="88"/>
                    <a:pt x="4160" y="88"/>
                    <a:pt x="4160" y="88"/>
                  </a:cubicBezTo>
                  <a:cubicBezTo>
                    <a:pt x="4177" y="101"/>
                    <a:pt x="4177" y="101"/>
                    <a:pt x="4177" y="101"/>
                  </a:cubicBezTo>
                  <a:cubicBezTo>
                    <a:pt x="4177" y="101"/>
                    <a:pt x="4140" y="98"/>
                    <a:pt x="4127" y="102"/>
                  </a:cubicBezTo>
                  <a:cubicBezTo>
                    <a:pt x="4115" y="106"/>
                    <a:pt x="4135" y="119"/>
                    <a:pt x="4135" y="119"/>
                  </a:cubicBezTo>
                  <a:cubicBezTo>
                    <a:pt x="4135" y="119"/>
                    <a:pt x="4078" y="113"/>
                    <a:pt x="4074" y="127"/>
                  </a:cubicBezTo>
                  <a:cubicBezTo>
                    <a:pt x="4069" y="141"/>
                    <a:pt x="4116" y="136"/>
                    <a:pt x="4116" y="136"/>
                  </a:cubicBezTo>
                  <a:close/>
                  <a:moveTo>
                    <a:pt x="4126" y="212"/>
                  </a:moveTo>
                  <a:cubicBezTo>
                    <a:pt x="4104" y="216"/>
                    <a:pt x="4104" y="226"/>
                    <a:pt x="4104" y="226"/>
                  </a:cubicBezTo>
                  <a:cubicBezTo>
                    <a:pt x="4122" y="229"/>
                    <a:pt x="4122" y="229"/>
                    <a:pt x="4122" y="229"/>
                  </a:cubicBezTo>
                  <a:cubicBezTo>
                    <a:pt x="4137" y="229"/>
                    <a:pt x="4149" y="208"/>
                    <a:pt x="4126" y="212"/>
                  </a:cubicBezTo>
                  <a:close/>
                  <a:moveTo>
                    <a:pt x="3959" y="205"/>
                  </a:moveTo>
                  <a:cubicBezTo>
                    <a:pt x="3969" y="208"/>
                    <a:pt x="3972" y="218"/>
                    <a:pt x="3972" y="218"/>
                  </a:cubicBezTo>
                  <a:cubicBezTo>
                    <a:pt x="3972" y="218"/>
                    <a:pt x="4014" y="215"/>
                    <a:pt x="4034" y="214"/>
                  </a:cubicBezTo>
                  <a:cubicBezTo>
                    <a:pt x="4053" y="213"/>
                    <a:pt x="4010" y="202"/>
                    <a:pt x="4010" y="202"/>
                  </a:cubicBezTo>
                  <a:cubicBezTo>
                    <a:pt x="4010" y="202"/>
                    <a:pt x="4019" y="192"/>
                    <a:pt x="4029" y="190"/>
                  </a:cubicBezTo>
                  <a:cubicBezTo>
                    <a:pt x="4040" y="188"/>
                    <a:pt x="4000" y="175"/>
                    <a:pt x="3970" y="169"/>
                  </a:cubicBezTo>
                  <a:cubicBezTo>
                    <a:pt x="3970" y="169"/>
                    <a:pt x="3946" y="173"/>
                    <a:pt x="3942" y="177"/>
                  </a:cubicBezTo>
                  <a:cubicBezTo>
                    <a:pt x="3938" y="182"/>
                    <a:pt x="3950" y="203"/>
                    <a:pt x="3959" y="205"/>
                  </a:cubicBezTo>
                  <a:close/>
                  <a:moveTo>
                    <a:pt x="3655" y="294"/>
                  </a:moveTo>
                  <a:cubicBezTo>
                    <a:pt x="3664" y="294"/>
                    <a:pt x="3708" y="301"/>
                    <a:pt x="3708" y="301"/>
                  </a:cubicBezTo>
                  <a:cubicBezTo>
                    <a:pt x="3708" y="301"/>
                    <a:pt x="3684" y="321"/>
                    <a:pt x="3699" y="321"/>
                  </a:cubicBezTo>
                  <a:cubicBezTo>
                    <a:pt x="3714" y="321"/>
                    <a:pt x="3752" y="321"/>
                    <a:pt x="3752" y="321"/>
                  </a:cubicBezTo>
                  <a:cubicBezTo>
                    <a:pt x="3766" y="321"/>
                    <a:pt x="3791" y="315"/>
                    <a:pt x="3787" y="307"/>
                  </a:cubicBezTo>
                  <a:cubicBezTo>
                    <a:pt x="3783" y="298"/>
                    <a:pt x="3823" y="295"/>
                    <a:pt x="3821" y="286"/>
                  </a:cubicBezTo>
                  <a:cubicBezTo>
                    <a:pt x="3820" y="278"/>
                    <a:pt x="3858" y="272"/>
                    <a:pt x="3844" y="260"/>
                  </a:cubicBezTo>
                  <a:cubicBezTo>
                    <a:pt x="3830" y="249"/>
                    <a:pt x="3811" y="257"/>
                    <a:pt x="3811" y="257"/>
                  </a:cubicBezTo>
                  <a:cubicBezTo>
                    <a:pt x="3811" y="257"/>
                    <a:pt x="3764" y="242"/>
                    <a:pt x="3761" y="251"/>
                  </a:cubicBezTo>
                  <a:cubicBezTo>
                    <a:pt x="3758" y="259"/>
                    <a:pt x="3758" y="280"/>
                    <a:pt x="3758" y="280"/>
                  </a:cubicBezTo>
                  <a:cubicBezTo>
                    <a:pt x="3758" y="280"/>
                    <a:pt x="3737" y="255"/>
                    <a:pt x="3726" y="264"/>
                  </a:cubicBezTo>
                  <a:cubicBezTo>
                    <a:pt x="3714" y="272"/>
                    <a:pt x="3704" y="296"/>
                    <a:pt x="3695" y="289"/>
                  </a:cubicBezTo>
                  <a:cubicBezTo>
                    <a:pt x="3687" y="283"/>
                    <a:pt x="3682" y="258"/>
                    <a:pt x="3673" y="256"/>
                  </a:cubicBezTo>
                  <a:cubicBezTo>
                    <a:pt x="3663" y="254"/>
                    <a:pt x="3637" y="256"/>
                    <a:pt x="3638" y="269"/>
                  </a:cubicBezTo>
                  <a:cubicBezTo>
                    <a:pt x="3639" y="282"/>
                    <a:pt x="3647" y="294"/>
                    <a:pt x="3655" y="294"/>
                  </a:cubicBezTo>
                  <a:close/>
                  <a:moveTo>
                    <a:pt x="3789" y="168"/>
                  </a:moveTo>
                  <a:cubicBezTo>
                    <a:pt x="3789" y="168"/>
                    <a:pt x="3771" y="185"/>
                    <a:pt x="3785" y="186"/>
                  </a:cubicBezTo>
                  <a:cubicBezTo>
                    <a:pt x="3799" y="187"/>
                    <a:pt x="3831" y="188"/>
                    <a:pt x="3831" y="188"/>
                  </a:cubicBezTo>
                  <a:cubicBezTo>
                    <a:pt x="3831" y="188"/>
                    <a:pt x="3845" y="204"/>
                    <a:pt x="3862" y="204"/>
                  </a:cubicBezTo>
                  <a:cubicBezTo>
                    <a:pt x="3880" y="204"/>
                    <a:pt x="3893" y="190"/>
                    <a:pt x="3893" y="190"/>
                  </a:cubicBezTo>
                  <a:cubicBezTo>
                    <a:pt x="3884" y="182"/>
                    <a:pt x="3884" y="182"/>
                    <a:pt x="3884" y="182"/>
                  </a:cubicBezTo>
                  <a:cubicBezTo>
                    <a:pt x="3905" y="178"/>
                    <a:pt x="3905" y="178"/>
                    <a:pt x="3905" y="178"/>
                  </a:cubicBezTo>
                  <a:cubicBezTo>
                    <a:pt x="3875" y="156"/>
                    <a:pt x="3875" y="156"/>
                    <a:pt x="3875" y="156"/>
                  </a:cubicBezTo>
                  <a:cubicBezTo>
                    <a:pt x="3847" y="160"/>
                    <a:pt x="3847" y="160"/>
                    <a:pt x="3847" y="160"/>
                  </a:cubicBezTo>
                  <a:cubicBezTo>
                    <a:pt x="3837" y="145"/>
                    <a:pt x="3837" y="145"/>
                    <a:pt x="3837" y="145"/>
                  </a:cubicBezTo>
                  <a:cubicBezTo>
                    <a:pt x="3818" y="145"/>
                    <a:pt x="3818" y="145"/>
                    <a:pt x="3818" y="145"/>
                  </a:cubicBezTo>
                  <a:cubicBezTo>
                    <a:pt x="3796" y="145"/>
                    <a:pt x="3761" y="145"/>
                    <a:pt x="3760" y="157"/>
                  </a:cubicBezTo>
                  <a:cubicBezTo>
                    <a:pt x="3759" y="169"/>
                    <a:pt x="3789" y="168"/>
                    <a:pt x="3789" y="168"/>
                  </a:cubicBezTo>
                  <a:close/>
                  <a:moveTo>
                    <a:pt x="3670" y="352"/>
                  </a:moveTo>
                  <a:cubicBezTo>
                    <a:pt x="3670" y="352"/>
                    <a:pt x="3609" y="354"/>
                    <a:pt x="3575" y="365"/>
                  </a:cubicBezTo>
                  <a:cubicBezTo>
                    <a:pt x="3542" y="376"/>
                    <a:pt x="3594" y="385"/>
                    <a:pt x="3583" y="398"/>
                  </a:cubicBezTo>
                  <a:cubicBezTo>
                    <a:pt x="3572" y="412"/>
                    <a:pt x="3550" y="377"/>
                    <a:pt x="3512" y="393"/>
                  </a:cubicBezTo>
                  <a:cubicBezTo>
                    <a:pt x="3524" y="418"/>
                    <a:pt x="3524" y="418"/>
                    <a:pt x="3524" y="418"/>
                  </a:cubicBezTo>
                  <a:cubicBezTo>
                    <a:pt x="3524" y="418"/>
                    <a:pt x="3530" y="428"/>
                    <a:pt x="3547" y="431"/>
                  </a:cubicBezTo>
                  <a:cubicBezTo>
                    <a:pt x="3565" y="434"/>
                    <a:pt x="3564" y="469"/>
                    <a:pt x="3564" y="469"/>
                  </a:cubicBezTo>
                  <a:cubicBezTo>
                    <a:pt x="3564" y="469"/>
                    <a:pt x="3634" y="460"/>
                    <a:pt x="3656" y="455"/>
                  </a:cubicBezTo>
                  <a:cubicBezTo>
                    <a:pt x="3678" y="449"/>
                    <a:pt x="3678" y="408"/>
                    <a:pt x="3678" y="408"/>
                  </a:cubicBezTo>
                  <a:cubicBezTo>
                    <a:pt x="3634" y="398"/>
                    <a:pt x="3634" y="398"/>
                    <a:pt x="3634" y="398"/>
                  </a:cubicBezTo>
                  <a:cubicBezTo>
                    <a:pt x="3634" y="398"/>
                    <a:pt x="3687" y="380"/>
                    <a:pt x="3714" y="371"/>
                  </a:cubicBezTo>
                  <a:cubicBezTo>
                    <a:pt x="3740" y="361"/>
                    <a:pt x="3670" y="352"/>
                    <a:pt x="3670" y="352"/>
                  </a:cubicBezTo>
                  <a:close/>
                  <a:moveTo>
                    <a:pt x="3665" y="237"/>
                  </a:moveTo>
                  <a:cubicBezTo>
                    <a:pt x="3683" y="234"/>
                    <a:pt x="3684" y="206"/>
                    <a:pt x="3669" y="206"/>
                  </a:cubicBezTo>
                  <a:cubicBezTo>
                    <a:pt x="3655" y="206"/>
                    <a:pt x="3648" y="239"/>
                    <a:pt x="3665" y="237"/>
                  </a:cubicBezTo>
                  <a:close/>
                  <a:moveTo>
                    <a:pt x="953" y="1088"/>
                  </a:moveTo>
                  <a:cubicBezTo>
                    <a:pt x="940" y="1097"/>
                    <a:pt x="916" y="1102"/>
                    <a:pt x="923" y="1109"/>
                  </a:cubicBezTo>
                  <a:cubicBezTo>
                    <a:pt x="934" y="1120"/>
                    <a:pt x="959" y="1108"/>
                    <a:pt x="959" y="1108"/>
                  </a:cubicBezTo>
                  <a:cubicBezTo>
                    <a:pt x="966" y="1099"/>
                    <a:pt x="966" y="1099"/>
                    <a:pt x="966" y="1099"/>
                  </a:cubicBezTo>
                  <a:cubicBezTo>
                    <a:pt x="966" y="1099"/>
                    <a:pt x="982" y="1103"/>
                    <a:pt x="979" y="1097"/>
                  </a:cubicBezTo>
                  <a:cubicBezTo>
                    <a:pt x="977" y="1091"/>
                    <a:pt x="967" y="1079"/>
                    <a:pt x="953" y="1088"/>
                  </a:cubicBezTo>
                  <a:close/>
                  <a:moveTo>
                    <a:pt x="3669" y="3211"/>
                  </a:moveTo>
                  <a:cubicBezTo>
                    <a:pt x="3661" y="3211"/>
                    <a:pt x="3638" y="3202"/>
                    <a:pt x="3624" y="3202"/>
                  </a:cubicBezTo>
                  <a:cubicBezTo>
                    <a:pt x="3609" y="3202"/>
                    <a:pt x="3611" y="3234"/>
                    <a:pt x="3611" y="3234"/>
                  </a:cubicBezTo>
                  <a:cubicBezTo>
                    <a:pt x="3636" y="3242"/>
                    <a:pt x="3636" y="3242"/>
                    <a:pt x="3636" y="3242"/>
                  </a:cubicBezTo>
                  <a:cubicBezTo>
                    <a:pt x="3642" y="3236"/>
                    <a:pt x="3642" y="3236"/>
                    <a:pt x="3642" y="3236"/>
                  </a:cubicBezTo>
                  <a:cubicBezTo>
                    <a:pt x="3642" y="3236"/>
                    <a:pt x="3657" y="3238"/>
                    <a:pt x="3673" y="3236"/>
                  </a:cubicBezTo>
                  <a:cubicBezTo>
                    <a:pt x="3690" y="3234"/>
                    <a:pt x="3706" y="3219"/>
                    <a:pt x="3704" y="3212"/>
                  </a:cubicBezTo>
                  <a:cubicBezTo>
                    <a:pt x="3702" y="3204"/>
                    <a:pt x="3677" y="3212"/>
                    <a:pt x="3669" y="3211"/>
                  </a:cubicBezTo>
                  <a:close/>
                  <a:moveTo>
                    <a:pt x="3547" y="3213"/>
                  </a:moveTo>
                  <a:cubicBezTo>
                    <a:pt x="3558" y="3207"/>
                    <a:pt x="3551" y="3192"/>
                    <a:pt x="3551" y="3192"/>
                  </a:cubicBezTo>
                  <a:cubicBezTo>
                    <a:pt x="3551" y="3192"/>
                    <a:pt x="3529" y="3173"/>
                    <a:pt x="3514" y="3167"/>
                  </a:cubicBezTo>
                  <a:cubicBezTo>
                    <a:pt x="3500" y="3162"/>
                    <a:pt x="3494" y="3160"/>
                    <a:pt x="3483" y="3156"/>
                  </a:cubicBezTo>
                  <a:cubicBezTo>
                    <a:pt x="3473" y="3152"/>
                    <a:pt x="3467" y="3133"/>
                    <a:pt x="3461" y="3129"/>
                  </a:cubicBezTo>
                  <a:cubicBezTo>
                    <a:pt x="3455" y="3126"/>
                    <a:pt x="3432" y="3124"/>
                    <a:pt x="3415" y="3124"/>
                  </a:cubicBezTo>
                  <a:cubicBezTo>
                    <a:pt x="3408" y="3124"/>
                    <a:pt x="3404" y="3126"/>
                    <a:pt x="3401" y="3128"/>
                  </a:cubicBezTo>
                  <a:cubicBezTo>
                    <a:pt x="3396" y="3131"/>
                    <a:pt x="3395" y="3135"/>
                    <a:pt x="3395" y="3135"/>
                  </a:cubicBezTo>
                  <a:cubicBezTo>
                    <a:pt x="3395" y="3135"/>
                    <a:pt x="3360" y="3123"/>
                    <a:pt x="3345" y="3123"/>
                  </a:cubicBezTo>
                  <a:cubicBezTo>
                    <a:pt x="3331" y="3123"/>
                    <a:pt x="3324" y="3125"/>
                    <a:pt x="3318" y="3133"/>
                  </a:cubicBezTo>
                  <a:cubicBezTo>
                    <a:pt x="3312" y="3140"/>
                    <a:pt x="3337" y="3140"/>
                    <a:pt x="3343" y="3140"/>
                  </a:cubicBezTo>
                  <a:cubicBezTo>
                    <a:pt x="3349" y="3140"/>
                    <a:pt x="3362" y="3154"/>
                    <a:pt x="3362" y="3154"/>
                  </a:cubicBezTo>
                  <a:cubicBezTo>
                    <a:pt x="3362" y="3154"/>
                    <a:pt x="3347" y="3157"/>
                    <a:pt x="3349" y="3172"/>
                  </a:cubicBezTo>
                  <a:cubicBezTo>
                    <a:pt x="3351" y="3188"/>
                    <a:pt x="3359" y="3193"/>
                    <a:pt x="3347" y="3193"/>
                  </a:cubicBezTo>
                  <a:cubicBezTo>
                    <a:pt x="3334" y="3193"/>
                    <a:pt x="3314" y="3186"/>
                    <a:pt x="3306" y="3187"/>
                  </a:cubicBezTo>
                  <a:cubicBezTo>
                    <a:pt x="3297" y="3189"/>
                    <a:pt x="3281" y="3185"/>
                    <a:pt x="3275" y="3195"/>
                  </a:cubicBezTo>
                  <a:cubicBezTo>
                    <a:pt x="3275" y="3195"/>
                    <a:pt x="3293" y="3221"/>
                    <a:pt x="3301" y="3225"/>
                  </a:cubicBezTo>
                  <a:cubicBezTo>
                    <a:pt x="3310" y="3229"/>
                    <a:pt x="3318" y="3210"/>
                    <a:pt x="3318" y="3210"/>
                  </a:cubicBezTo>
                  <a:cubicBezTo>
                    <a:pt x="3318" y="3210"/>
                    <a:pt x="3332" y="3212"/>
                    <a:pt x="3349" y="3212"/>
                  </a:cubicBezTo>
                  <a:cubicBezTo>
                    <a:pt x="3365" y="3212"/>
                    <a:pt x="3386" y="3208"/>
                    <a:pt x="3386" y="3208"/>
                  </a:cubicBezTo>
                  <a:cubicBezTo>
                    <a:pt x="3409" y="3235"/>
                    <a:pt x="3409" y="3235"/>
                    <a:pt x="3409" y="3235"/>
                  </a:cubicBezTo>
                  <a:cubicBezTo>
                    <a:pt x="3442" y="3211"/>
                    <a:pt x="3442" y="3211"/>
                    <a:pt x="3442" y="3211"/>
                  </a:cubicBezTo>
                  <a:cubicBezTo>
                    <a:pt x="3442" y="3211"/>
                    <a:pt x="3471" y="3211"/>
                    <a:pt x="3504" y="3213"/>
                  </a:cubicBezTo>
                  <a:cubicBezTo>
                    <a:pt x="3517" y="3214"/>
                    <a:pt x="3539" y="3217"/>
                    <a:pt x="3547" y="3213"/>
                  </a:cubicBezTo>
                  <a:close/>
                  <a:moveTo>
                    <a:pt x="3233" y="3121"/>
                  </a:moveTo>
                  <a:cubicBezTo>
                    <a:pt x="3263" y="3113"/>
                    <a:pt x="3300" y="3106"/>
                    <a:pt x="3300" y="3106"/>
                  </a:cubicBezTo>
                  <a:cubicBezTo>
                    <a:pt x="3300" y="3106"/>
                    <a:pt x="3300" y="3096"/>
                    <a:pt x="3282" y="3094"/>
                  </a:cubicBezTo>
                  <a:cubicBezTo>
                    <a:pt x="3263" y="3091"/>
                    <a:pt x="3252" y="3091"/>
                    <a:pt x="3252" y="3091"/>
                  </a:cubicBezTo>
                  <a:cubicBezTo>
                    <a:pt x="3252" y="3091"/>
                    <a:pt x="3260" y="3074"/>
                    <a:pt x="3241" y="3072"/>
                  </a:cubicBezTo>
                  <a:cubicBezTo>
                    <a:pt x="3223" y="3069"/>
                    <a:pt x="3206" y="3071"/>
                    <a:pt x="3206" y="3071"/>
                  </a:cubicBezTo>
                  <a:cubicBezTo>
                    <a:pt x="3223" y="3057"/>
                    <a:pt x="3223" y="3057"/>
                    <a:pt x="3223" y="3057"/>
                  </a:cubicBezTo>
                  <a:cubicBezTo>
                    <a:pt x="3223" y="3057"/>
                    <a:pt x="3193" y="3049"/>
                    <a:pt x="3185" y="3049"/>
                  </a:cubicBezTo>
                  <a:cubicBezTo>
                    <a:pt x="3177" y="3049"/>
                    <a:pt x="3156" y="3039"/>
                    <a:pt x="3156" y="3039"/>
                  </a:cubicBezTo>
                  <a:cubicBezTo>
                    <a:pt x="3156" y="3039"/>
                    <a:pt x="3166" y="3022"/>
                    <a:pt x="3158" y="3022"/>
                  </a:cubicBezTo>
                  <a:cubicBezTo>
                    <a:pt x="3150" y="3022"/>
                    <a:pt x="3145" y="3020"/>
                    <a:pt x="3145" y="3020"/>
                  </a:cubicBezTo>
                  <a:cubicBezTo>
                    <a:pt x="3145" y="3020"/>
                    <a:pt x="3105" y="2980"/>
                    <a:pt x="3097" y="2988"/>
                  </a:cubicBezTo>
                  <a:cubicBezTo>
                    <a:pt x="3089" y="2995"/>
                    <a:pt x="3107" y="3007"/>
                    <a:pt x="3107" y="3007"/>
                  </a:cubicBezTo>
                  <a:cubicBezTo>
                    <a:pt x="3062" y="2985"/>
                    <a:pt x="3062" y="2985"/>
                    <a:pt x="3062" y="2985"/>
                  </a:cubicBezTo>
                  <a:cubicBezTo>
                    <a:pt x="3062" y="2985"/>
                    <a:pt x="3038" y="2960"/>
                    <a:pt x="3027" y="2955"/>
                  </a:cubicBezTo>
                  <a:cubicBezTo>
                    <a:pt x="3016" y="2950"/>
                    <a:pt x="2987" y="2955"/>
                    <a:pt x="2987" y="2955"/>
                  </a:cubicBezTo>
                  <a:cubicBezTo>
                    <a:pt x="2987" y="2955"/>
                    <a:pt x="2963" y="2943"/>
                    <a:pt x="2925" y="2943"/>
                  </a:cubicBezTo>
                  <a:cubicBezTo>
                    <a:pt x="2888" y="2943"/>
                    <a:pt x="2871" y="2955"/>
                    <a:pt x="2855" y="2969"/>
                  </a:cubicBezTo>
                  <a:cubicBezTo>
                    <a:pt x="2839" y="2984"/>
                    <a:pt x="2807" y="2994"/>
                    <a:pt x="2807" y="2994"/>
                  </a:cubicBezTo>
                  <a:cubicBezTo>
                    <a:pt x="2858" y="2992"/>
                    <a:pt x="2858" y="2992"/>
                    <a:pt x="2858" y="2992"/>
                  </a:cubicBezTo>
                  <a:cubicBezTo>
                    <a:pt x="2858" y="2982"/>
                    <a:pt x="2858" y="2982"/>
                    <a:pt x="2858" y="2982"/>
                  </a:cubicBezTo>
                  <a:cubicBezTo>
                    <a:pt x="2909" y="2979"/>
                    <a:pt x="2909" y="2979"/>
                    <a:pt x="2909" y="2979"/>
                  </a:cubicBezTo>
                  <a:cubicBezTo>
                    <a:pt x="2922" y="2972"/>
                    <a:pt x="2922" y="2972"/>
                    <a:pt x="2922" y="2972"/>
                  </a:cubicBezTo>
                  <a:cubicBezTo>
                    <a:pt x="2922" y="2972"/>
                    <a:pt x="2949" y="2970"/>
                    <a:pt x="2957" y="2977"/>
                  </a:cubicBezTo>
                  <a:cubicBezTo>
                    <a:pt x="2965" y="2985"/>
                    <a:pt x="2933" y="2989"/>
                    <a:pt x="2933" y="2989"/>
                  </a:cubicBezTo>
                  <a:cubicBezTo>
                    <a:pt x="2944" y="2997"/>
                    <a:pt x="2944" y="2997"/>
                    <a:pt x="2944" y="2997"/>
                  </a:cubicBezTo>
                  <a:cubicBezTo>
                    <a:pt x="2944" y="2997"/>
                    <a:pt x="2962" y="3004"/>
                    <a:pt x="2979" y="3009"/>
                  </a:cubicBezTo>
                  <a:cubicBezTo>
                    <a:pt x="2995" y="3014"/>
                    <a:pt x="2995" y="3004"/>
                    <a:pt x="2995" y="3004"/>
                  </a:cubicBezTo>
                  <a:cubicBezTo>
                    <a:pt x="2995" y="3004"/>
                    <a:pt x="3011" y="3017"/>
                    <a:pt x="3027" y="3024"/>
                  </a:cubicBezTo>
                  <a:cubicBezTo>
                    <a:pt x="3043" y="3032"/>
                    <a:pt x="3075" y="3022"/>
                    <a:pt x="3075" y="3022"/>
                  </a:cubicBezTo>
                  <a:cubicBezTo>
                    <a:pt x="3070" y="3039"/>
                    <a:pt x="3070" y="3039"/>
                    <a:pt x="3070" y="3039"/>
                  </a:cubicBezTo>
                  <a:cubicBezTo>
                    <a:pt x="3110" y="3056"/>
                    <a:pt x="3110" y="3056"/>
                    <a:pt x="3110" y="3056"/>
                  </a:cubicBezTo>
                  <a:cubicBezTo>
                    <a:pt x="3126" y="3079"/>
                    <a:pt x="3126" y="3079"/>
                    <a:pt x="3126" y="3079"/>
                  </a:cubicBezTo>
                  <a:cubicBezTo>
                    <a:pt x="3126" y="3079"/>
                    <a:pt x="3142" y="3086"/>
                    <a:pt x="3142" y="3093"/>
                  </a:cubicBezTo>
                  <a:cubicBezTo>
                    <a:pt x="3142" y="3101"/>
                    <a:pt x="3115" y="3108"/>
                    <a:pt x="3123" y="3115"/>
                  </a:cubicBezTo>
                  <a:cubicBezTo>
                    <a:pt x="3131" y="3123"/>
                    <a:pt x="3155" y="3106"/>
                    <a:pt x="3163" y="3106"/>
                  </a:cubicBezTo>
                  <a:cubicBezTo>
                    <a:pt x="3171" y="3106"/>
                    <a:pt x="3188" y="3108"/>
                    <a:pt x="3174" y="3111"/>
                  </a:cubicBezTo>
                  <a:cubicBezTo>
                    <a:pt x="3161" y="3113"/>
                    <a:pt x="3182" y="3123"/>
                    <a:pt x="3182" y="3123"/>
                  </a:cubicBezTo>
                  <a:cubicBezTo>
                    <a:pt x="3182" y="3123"/>
                    <a:pt x="3204" y="3128"/>
                    <a:pt x="3233" y="3121"/>
                  </a:cubicBezTo>
                  <a:close/>
                  <a:moveTo>
                    <a:pt x="4442" y="898"/>
                  </a:moveTo>
                  <a:cubicBezTo>
                    <a:pt x="4465" y="895"/>
                    <a:pt x="4465" y="895"/>
                    <a:pt x="4465" y="895"/>
                  </a:cubicBezTo>
                  <a:cubicBezTo>
                    <a:pt x="4465" y="885"/>
                    <a:pt x="4465" y="885"/>
                    <a:pt x="4465" y="885"/>
                  </a:cubicBezTo>
                  <a:cubicBezTo>
                    <a:pt x="4445" y="889"/>
                    <a:pt x="4445" y="889"/>
                    <a:pt x="4445" y="889"/>
                  </a:cubicBezTo>
                  <a:lnTo>
                    <a:pt x="4442" y="898"/>
                  </a:lnTo>
                  <a:close/>
                  <a:moveTo>
                    <a:pt x="3163" y="3208"/>
                  </a:moveTo>
                  <a:cubicBezTo>
                    <a:pt x="3153" y="3208"/>
                    <a:pt x="3136" y="3206"/>
                    <a:pt x="3126" y="3205"/>
                  </a:cubicBezTo>
                  <a:cubicBezTo>
                    <a:pt x="3115" y="3203"/>
                    <a:pt x="3105" y="3199"/>
                    <a:pt x="3097" y="3203"/>
                  </a:cubicBezTo>
                  <a:cubicBezTo>
                    <a:pt x="3089" y="3206"/>
                    <a:pt x="3078" y="3208"/>
                    <a:pt x="3078" y="3208"/>
                  </a:cubicBezTo>
                  <a:cubicBezTo>
                    <a:pt x="3078" y="3208"/>
                    <a:pt x="3086" y="3219"/>
                    <a:pt x="3095" y="3225"/>
                  </a:cubicBezTo>
                  <a:cubicBezTo>
                    <a:pt x="3103" y="3231"/>
                    <a:pt x="3121" y="3231"/>
                    <a:pt x="3121" y="3231"/>
                  </a:cubicBezTo>
                  <a:cubicBezTo>
                    <a:pt x="3132" y="3237"/>
                    <a:pt x="3132" y="3237"/>
                    <a:pt x="3132" y="3237"/>
                  </a:cubicBezTo>
                  <a:cubicBezTo>
                    <a:pt x="3150" y="3241"/>
                    <a:pt x="3150" y="3241"/>
                    <a:pt x="3150" y="3241"/>
                  </a:cubicBezTo>
                  <a:cubicBezTo>
                    <a:pt x="3157" y="3227"/>
                    <a:pt x="3157" y="3227"/>
                    <a:pt x="3157" y="3227"/>
                  </a:cubicBezTo>
                  <a:cubicBezTo>
                    <a:pt x="3186" y="3233"/>
                    <a:pt x="3186" y="3233"/>
                    <a:pt x="3186" y="3233"/>
                  </a:cubicBezTo>
                  <a:cubicBezTo>
                    <a:pt x="3186" y="3233"/>
                    <a:pt x="3173" y="3208"/>
                    <a:pt x="3163" y="3208"/>
                  </a:cubicBezTo>
                  <a:close/>
                  <a:moveTo>
                    <a:pt x="4275" y="1715"/>
                  </a:moveTo>
                  <a:cubicBezTo>
                    <a:pt x="4262" y="1712"/>
                    <a:pt x="4248" y="1719"/>
                    <a:pt x="4243" y="1722"/>
                  </a:cubicBezTo>
                  <a:cubicBezTo>
                    <a:pt x="4247" y="1719"/>
                    <a:pt x="4256" y="1713"/>
                    <a:pt x="4265" y="1703"/>
                  </a:cubicBezTo>
                  <a:cubicBezTo>
                    <a:pt x="4277" y="1690"/>
                    <a:pt x="4246" y="1689"/>
                    <a:pt x="4232" y="1705"/>
                  </a:cubicBezTo>
                  <a:cubicBezTo>
                    <a:pt x="4226" y="1719"/>
                    <a:pt x="4226" y="1719"/>
                    <a:pt x="4226" y="1719"/>
                  </a:cubicBezTo>
                  <a:cubicBezTo>
                    <a:pt x="4218" y="1733"/>
                    <a:pt x="4218" y="1733"/>
                    <a:pt x="4218" y="1733"/>
                  </a:cubicBezTo>
                  <a:cubicBezTo>
                    <a:pt x="4255" y="1728"/>
                    <a:pt x="4255" y="1728"/>
                    <a:pt x="4255" y="1728"/>
                  </a:cubicBezTo>
                  <a:cubicBezTo>
                    <a:pt x="4255" y="1728"/>
                    <a:pt x="4292" y="1719"/>
                    <a:pt x="4275" y="1715"/>
                  </a:cubicBezTo>
                  <a:close/>
                  <a:moveTo>
                    <a:pt x="4135" y="1704"/>
                  </a:moveTo>
                  <a:cubicBezTo>
                    <a:pt x="4115" y="1700"/>
                    <a:pt x="4104" y="1691"/>
                    <a:pt x="4104" y="1691"/>
                  </a:cubicBezTo>
                  <a:cubicBezTo>
                    <a:pt x="4094" y="1700"/>
                    <a:pt x="4094" y="1700"/>
                    <a:pt x="4094" y="1700"/>
                  </a:cubicBezTo>
                  <a:cubicBezTo>
                    <a:pt x="4094" y="1700"/>
                    <a:pt x="4111" y="1709"/>
                    <a:pt x="4115" y="1712"/>
                  </a:cubicBezTo>
                  <a:cubicBezTo>
                    <a:pt x="4119" y="1715"/>
                    <a:pt x="4138" y="1714"/>
                    <a:pt x="4138" y="1714"/>
                  </a:cubicBezTo>
                  <a:cubicBezTo>
                    <a:pt x="4138" y="1714"/>
                    <a:pt x="4148" y="1719"/>
                    <a:pt x="4158" y="1718"/>
                  </a:cubicBezTo>
                  <a:cubicBezTo>
                    <a:pt x="4169" y="1717"/>
                    <a:pt x="4173" y="1706"/>
                    <a:pt x="4173" y="1706"/>
                  </a:cubicBezTo>
                  <a:cubicBezTo>
                    <a:pt x="4173" y="1706"/>
                    <a:pt x="4156" y="1708"/>
                    <a:pt x="4135" y="1704"/>
                  </a:cubicBezTo>
                  <a:close/>
                  <a:moveTo>
                    <a:pt x="3872" y="725"/>
                  </a:moveTo>
                  <a:cubicBezTo>
                    <a:pt x="3856" y="723"/>
                    <a:pt x="3867" y="740"/>
                    <a:pt x="3867" y="740"/>
                  </a:cubicBezTo>
                  <a:cubicBezTo>
                    <a:pt x="3878" y="739"/>
                    <a:pt x="3887" y="726"/>
                    <a:pt x="3872" y="725"/>
                  </a:cubicBezTo>
                  <a:close/>
                  <a:moveTo>
                    <a:pt x="3559" y="1373"/>
                  </a:moveTo>
                  <a:cubicBezTo>
                    <a:pt x="3587" y="1369"/>
                    <a:pt x="3552" y="1355"/>
                    <a:pt x="3552" y="1355"/>
                  </a:cubicBezTo>
                  <a:cubicBezTo>
                    <a:pt x="3508" y="1364"/>
                    <a:pt x="3530" y="1376"/>
                    <a:pt x="3559" y="1373"/>
                  </a:cubicBezTo>
                  <a:close/>
                  <a:moveTo>
                    <a:pt x="4213" y="1537"/>
                  </a:moveTo>
                  <a:cubicBezTo>
                    <a:pt x="4213" y="1537"/>
                    <a:pt x="4180" y="1529"/>
                    <a:pt x="4153" y="1528"/>
                  </a:cubicBezTo>
                  <a:cubicBezTo>
                    <a:pt x="4126" y="1527"/>
                    <a:pt x="4168" y="1539"/>
                    <a:pt x="4168" y="1539"/>
                  </a:cubicBezTo>
                  <a:cubicBezTo>
                    <a:pt x="4168" y="1549"/>
                    <a:pt x="4168" y="1549"/>
                    <a:pt x="4168" y="1549"/>
                  </a:cubicBezTo>
                  <a:cubicBezTo>
                    <a:pt x="4168" y="1549"/>
                    <a:pt x="4201" y="1554"/>
                    <a:pt x="4230" y="1559"/>
                  </a:cubicBezTo>
                  <a:cubicBezTo>
                    <a:pt x="4259" y="1564"/>
                    <a:pt x="4286" y="1553"/>
                    <a:pt x="4213" y="1537"/>
                  </a:cubicBezTo>
                  <a:close/>
                  <a:moveTo>
                    <a:pt x="3490" y="390"/>
                  </a:moveTo>
                  <a:cubicBezTo>
                    <a:pt x="3470" y="374"/>
                    <a:pt x="3470" y="374"/>
                    <a:pt x="3470" y="374"/>
                  </a:cubicBezTo>
                  <a:cubicBezTo>
                    <a:pt x="3451" y="376"/>
                    <a:pt x="3451" y="376"/>
                    <a:pt x="3451" y="376"/>
                  </a:cubicBezTo>
                  <a:cubicBezTo>
                    <a:pt x="3451" y="376"/>
                    <a:pt x="3439" y="361"/>
                    <a:pt x="3414" y="370"/>
                  </a:cubicBezTo>
                  <a:cubicBezTo>
                    <a:pt x="3388" y="378"/>
                    <a:pt x="3446" y="402"/>
                    <a:pt x="3446" y="402"/>
                  </a:cubicBezTo>
                  <a:lnTo>
                    <a:pt x="3490" y="390"/>
                  </a:lnTo>
                  <a:close/>
                  <a:moveTo>
                    <a:pt x="3120" y="293"/>
                  </a:moveTo>
                  <a:cubicBezTo>
                    <a:pt x="3080" y="303"/>
                    <a:pt x="3108" y="308"/>
                    <a:pt x="3108" y="308"/>
                  </a:cubicBezTo>
                  <a:cubicBezTo>
                    <a:pt x="3165" y="294"/>
                    <a:pt x="3161" y="282"/>
                    <a:pt x="3120" y="293"/>
                  </a:cubicBezTo>
                  <a:close/>
                  <a:moveTo>
                    <a:pt x="3391" y="603"/>
                  </a:moveTo>
                  <a:cubicBezTo>
                    <a:pt x="3423" y="604"/>
                    <a:pt x="3429" y="586"/>
                    <a:pt x="3407" y="587"/>
                  </a:cubicBezTo>
                  <a:cubicBezTo>
                    <a:pt x="3385" y="587"/>
                    <a:pt x="3391" y="603"/>
                    <a:pt x="3391" y="603"/>
                  </a:cubicBezTo>
                  <a:close/>
                  <a:moveTo>
                    <a:pt x="2885" y="3027"/>
                  </a:moveTo>
                  <a:cubicBezTo>
                    <a:pt x="2882" y="3040"/>
                    <a:pt x="2909" y="3042"/>
                    <a:pt x="2911" y="3027"/>
                  </a:cubicBezTo>
                  <a:cubicBezTo>
                    <a:pt x="2914" y="3013"/>
                    <a:pt x="2885" y="3027"/>
                    <a:pt x="2885" y="3027"/>
                  </a:cubicBezTo>
                  <a:close/>
                  <a:moveTo>
                    <a:pt x="4683" y="701"/>
                  </a:moveTo>
                  <a:cubicBezTo>
                    <a:pt x="4698" y="685"/>
                    <a:pt x="4659" y="674"/>
                    <a:pt x="4654" y="678"/>
                  </a:cubicBezTo>
                  <a:cubicBezTo>
                    <a:pt x="4649" y="682"/>
                    <a:pt x="4637" y="673"/>
                    <a:pt x="4637" y="673"/>
                  </a:cubicBezTo>
                  <a:cubicBezTo>
                    <a:pt x="4615" y="686"/>
                    <a:pt x="4615" y="686"/>
                    <a:pt x="4615" y="686"/>
                  </a:cubicBezTo>
                  <a:cubicBezTo>
                    <a:pt x="4617" y="669"/>
                    <a:pt x="4617" y="669"/>
                    <a:pt x="4617" y="669"/>
                  </a:cubicBezTo>
                  <a:cubicBezTo>
                    <a:pt x="4589" y="669"/>
                    <a:pt x="4589" y="669"/>
                    <a:pt x="4589" y="669"/>
                  </a:cubicBezTo>
                  <a:cubicBezTo>
                    <a:pt x="4589" y="669"/>
                    <a:pt x="4621" y="659"/>
                    <a:pt x="4615" y="649"/>
                  </a:cubicBezTo>
                  <a:cubicBezTo>
                    <a:pt x="4610" y="638"/>
                    <a:pt x="4561" y="637"/>
                    <a:pt x="4561" y="637"/>
                  </a:cubicBezTo>
                  <a:cubicBezTo>
                    <a:pt x="4555" y="626"/>
                    <a:pt x="4555" y="626"/>
                    <a:pt x="4555" y="626"/>
                  </a:cubicBezTo>
                  <a:cubicBezTo>
                    <a:pt x="4523" y="625"/>
                    <a:pt x="4523" y="625"/>
                    <a:pt x="4523" y="625"/>
                  </a:cubicBezTo>
                  <a:cubicBezTo>
                    <a:pt x="4479" y="594"/>
                    <a:pt x="4479" y="594"/>
                    <a:pt x="4479" y="594"/>
                  </a:cubicBezTo>
                  <a:cubicBezTo>
                    <a:pt x="4526" y="591"/>
                    <a:pt x="4526" y="591"/>
                    <a:pt x="4526" y="591"/>
                  </a:cubicBezTo>
                  <a:cubicBezTo>
                    <a:pt x="4506" y="577"/>
                    <a:pt x="4506" y="577"/>
                    <a:pt x="4506" y="577"/>
                  </a:cubicBezTo>
                  <a:cubicBezTo>
                    <a:pt x="4506" y="577"/>
                    <a:pt x="4519" y="573"/>
                    <a:pt x="4523" y="573"/>
                  </a:cubicBezTo>
                  <a:cubicBezTo>
                    <a:pt x="4527" y="573"/>
                    <a:pt x="4579" y="585"/>
                    <a:pt x="4573" y="571"/>
                  </a:cubicBezTo>
                  <a:cubicBezTo>
                    <a:pt x="4566" y="558"/>
                    <a:pt x="4511" y="561"/>
                    <a:pt x="4511" y="561"/>
                  </a:cubicBezTo>
                  <a:cubicBezTo>
                    <a:pt x="4493" y="559"/>
                    <a:pt x="4493" y="559"/>
                    <a:pt x="4493" y="559"/>
                  </a:cubicBezTo>
                  <a:cubicBezTo>
                    <a:pt x="4493" y="559"/>
                    <a:pt x="4570" y="557"/>
                    <a:pt x="4573" y="547"/>
                  </a:cubicBezTo>
                  <a:cubicBezTo>
                    <a:pt x="4575" y="538"/>
                    <a:pt x="4551" y="538"/>
                    <a:pt x="4551" y="538"/>
                  </a:cubicBezTo>
                  <a:cubicBezTo>
                    <a:pt x="4482" y="549"/>
                    <a:pt x="4482" y="549"/>
                    <a:pt x="4482" y="549"/>
                  </a:cubicBezTo>
                  <a:cubicBezTo>
                    <a:pt x="4522" y="525"/>
                    <a:pt x="4522" y="525"/>
                    <a:pt x="4522" y="525"/>
                  </a:cubicBezTo>
                  <a:cubicBezTo>
                    <a:pt x="4522" y="525"/>
                    <a:pt x="4575" y="531"/>
                    <a:pt x="4559" y="517"/>
                  </a:cubicBezTo>
                  <a:cubicBezTo>
                    <a:pt x="4543" y="502"/>
                    <a:pt x="4517" y="502"/>
                    <a:pt x="4517" y="502"/>
                  </a:cubicBezTo>
                  <a:cubicBezTo>
                    <a:pt x="4491" y="517"/>
                    <a:pt x="4491" y="517"/>
                    <a:pt x="4491" y="517"/>
                  </a:cubicBezTo>
                  <a:cubicBezTo>
                    <a:pt x="4481" y="513"/>
                    <a:pt x="4481" y="513"/>
                    <a:pt x="4481" y="513"/>
                  </a:cubicBezTo>
                  <a:cubicBezTo>
                    <a:pt x="4453" y="533"/>
                    <a:pt x="4453" y="533"/>
                    <a:pt x="4453" y="533"/>
                  </a:cubicBezTo>
                  <a:cubicBezTo>
                    <a:pt x="4455" y="518"/>
                    <a:pt x="4455" y="518"/>
                    <a:pt x="4455" y="518"/>
                  </a:cubicBezTo>
                  <a:cubicBezTo>
                    <a:pt x="4441" y="530"/>
                    <a:pt x="4441" y="530"/>
                    <a:pt x="4441" y="530"/>
                  </a:cubicBezTo>
                  <a:cubicBezTo>
                    <a:pt x="4455" y="510"/>
                    <a:pt x="4455" y="510"/>
                    <a:pt x="4455" y="510"/>
                  </a:cubicBezTo>
                  <a:cubicBezTo>
                    <a:pt x="4455" y="510"/>
                    <a:pt x="4475" y="515"/>
                    <a:pt x="4485" y="506"/>
                  </a:cubicBezTo>
                  <a:cubicBezTo>
                    <a:pt x="4494" y="497"/>
                    <a:pt x="4494" y="483"/>
                    <a:pt x="4487" y="485"/>
                  </a:cubicBezTo>
                  <a:cubicBezTo>
                    <a:pt x="4481" y="486"/>
                    <a:pt x="4473" y="498"/>
                    <a:pt x="4473" y="498"/>
                  </a:cubicBezTo>
                  <a:cubicBezTo>
                    <a:pt x="4449" y="499"/>
                    <a:pt x="4449" y="499"/>
                    <a:pt x="4449" y="499"/>
                  </a:cubicBezTo>
                  <a:cubicBezTo>
                    <a:pt x="4434" y="506"/>
                    <a:pt x="4434" y="506"/>
                    <a:pt x="4434" y="506"/>
                  </a:cubicBezTo>
                  <a:cubicBezTo>
                    <a:pt x="4450" y="487"/>
                    <a:pt x="4450" y="487"/>
                    <a:pt x="4450" y="487"/>
                  </a:cubicBezTo>
                  <a:cubicBezTo>
                    <a:pt x="4470" y="487"/>
                    <a:pt x="4470" y="487"/>
                    <a:pt x="4470" y="487"/>
                  </a:cubicBezTo>
                  <a:cubicBezTo>
                    <a:pt x="4470" y="487"/>
                    <a:pt x="4494" y="478"/>
                    <a:pt x="4481" y="470"/>
                  </a:cubicBezTo>
                  <a:cubicBezTo>
                    <a:pt x="4467" y="462"/>
                    <a:pt x="4423" y="482"/>
                    <a:pt x="4423" y="482"/>
                  </a:cubicBezTo>
                  <a:cubicBezTo>
                    <a:pt x="4415" y="473"/>
                    <a:pt x="4415" y="473"/>
                    <a:pt x="4415" y="473"/>
                  </a:cubicBezTo>
                  <a:cubicBezTo>
                    <a:pt x="4399" y="485"/>
                    <a:pt x="4399" y="485"/>
                    <a:pt x="4399" y="485"/>
                  </a:cubicBezTo>
                  <a:cubicBezTo>
                    <a:pt x="4414" y="465"/>
                    <a:pt x="4414" y="465"/>
                    <a:pt x="4414" y="465"/>
                  </a:cubicBezTo>
                  <a:cubicBezTo>
                    <a:pt x="4377" y="478"/>
                    <a:pt x="4377" y="478"/>
                    <a:pt x="4377" y="478"/>
                  </a:cubicBezTo>
                  <a:cubicBezTo>
                    <a:pt x="4377" y="463"/>
                    <a:pt x="4377" y="463"/>
                    <a:pt x="4377" y="463"/>
                  </a:cubicBezTo>
                  <a:cubicBezTo>
                    <a:pt x="4377" y="463"/>
                    <a:pt x="4413" y="454"/>
                    <a:pt x="4413" y="450"/>
                  </a:cubicBezTo>
                  <a:cubicBezTo>
                    <a:pt x="4413" y="446"/>
                    <a:pt x="4363" y="455"/>
                    <a:pt x="4363" y="455"/>
                  </a:cubicBezTo>
                  <a:cubicBezTo>
                    <a:pt x="4362" y="447"/>
                    <a:pt x="4362" y="447"/>
                    <a:pt x="4362" y="447"/>
                  </a:cubicBezTo>
                  <a:cubicBezTo>
                    <a:pt x="4362" y="447"/>
                    <a:pt x="4410" y="437"/>
                    <a:pt x="4405" y="430"/>
                  </a:cubicBezTo>
                  <a:cubicBezTo>
                    <a:pt x="4399" y="423"/>
                    <a:pt x="4334" y="422"/>
                    <a:pt x="4326" y="419"/>
                  </a:cubicBezTo>
                  <a:cubicBezTo>
                    <a:pt x="4318" y="417"/>
                    <a:pt x="4302" y="419"/>
                    <a:pt x="4301" y="423"/>
                  </a:cubicBezTo>
                  <a:cubicBezTo>
                    <a:pt x="4299" y="427"/>
                    <a:pt x="4310" y="441"/>
                    <a:pt x="4310" y="441"/>
                  </a:cubicBezTo>
                  <a:cubicBezTo>
                    <a:pt x="4286" y="437"/>
                    <a:pt x="4286" y="437"/>
                    <a:pt x="4286" y="437"/>
                  </a:cubicBezTo>
                  <a:cubicBezTo>
                    <a:pt x="4289" y="455"/>
                    <a:pt x="4289" y="455"/>
                    <a:pt x="4289" y="455"/>
                  </a:cubicBezTo>
                  <a:cubicBezTo>
                    <a:pt x="4275" y="438"/>
                    <a:pt x="4275" y="438"/>
                    <a:pt x="4275" y="438"/>
                  </a:cubicBezTo>
                  <a:cubicBezTo>
                    <a:pt x="4250" y="454"/>
                    <a:pt x="4250" y="454"/>
                    <a:pt x="4250" y="454"/>
                  </a:cubicBezTo>
                  <a:cubicBezTo>
                    <a:pt x="4250" y="454"/>
                    <a:pt x="4255" y="439"/>
                    <a:pt x="4250" y="435"/>
                  </a:cubicBezTo>
                  <a:cubicBezTo>
                    <a:pt x="4245" y="431"/>
                    <a:pt x="4197" y="451"/>
                    <a:pt x="4197" y="451"/>
                  </a:cubicBezTo>
                  <a:cubicBezTo>
                    <a:pt x="4209" y="426"/>
                    <a:pt x="4209" y="426"/>
                    <a:pt x="4209" y="426"/>
                  </a:cubicBezTo>
                  <a:cubicBezTo>
                    <a:pt x="4209" y="426"/>
                    <a:pt x="4249" y="425"/>
                    <a:pt x="4249" y="415"/>
                  </a:cubicBezTo>
                  <a:cubicBezTo>
                    <a:pt x="4249" y="406"/>
                    <a:pt x="4235" y="394"/>
                    <a:pt x="4235" y="394"/>
                  </a:cubicBezTo>
                  <a:cubicBezTo>
                    <a:pt x="4235" y="394"/>
                    <a:pt x="4259" y="377"/>
                    <a:pt x="4243" y="374"/>
                  </a:cubicBezTo>
                  <a:cubicBezTo>
                    <a:pt x="4227" y="371"/>
                    <a:pt x="4181" y="375"/>
                    <a:pt x="4181" y="375"/>
                  </a:cubicBezTo>
                  <a:cubicBezTo>
                    <a:pt x="4166" y="386"/>
                    <a:pt x="4166" y="386"/>
                    <a:pt x="4166" y="386"/>
                  </a:cubicBezTo>
                  <a:cubicBezTo>
                    <a:pt x="4107" y="387"/>
                    <a:pt x="4107" y="387"/>
                    <a:pt x="4107" y="387"/>
                  </a:cubicBezTo>
                  <a:cubicBezTo>
                    <a:pt x="4114" y="398"/>
                    <a:pt x="4114" y="398"/>
                    <a:pt x="4114" y="398"/>
                  </a:cubicBezTo>
                  <a:cubicBezTo>
                    <a:pt x="4134" y="406"/>
                    <a:pt x="4134" y="406"/>
                    <a:pt x="4134" y="406"/>
                  </a:cubicBezTo>
                  <a:cubicBezTo>
                    <a:pt x="4105" y="398"/>
                    <a:pt x="4105" y="398"/>
                    <a:pt x="4105" y="398"/>
                  </a:cubicBezTo>
                  <a:cubicBezTo>
                    <a:pt x="4111" y="414"/>
                    <a:pt x="4111" y="414"/>
                    <a:pt x="4111" y="414"/>
                  </a:cubicBezTo>
                  <a:cubicBezTo>
                    <a:pt x="4111" y="414"/>
                    <a:pt x="4079" y="401"/>
                    <a:pt x="4070" y="413"/>
                  </a:cubicBezTo>
                  <a:cubicBezTo>
                    <a:pt x="4061" y="425"/>
                    <a:pt x="4078" y="437"/>
                    <a:pt x="4078" y="437"/>
                  </a:cubicBezTo>
                  <a:cubicBezTo>
                    <a:pt x="4081" y="454"/>
                    <a:pt x="4081" y="454"/>
                    <a:pt x="4081" y="454"/>
                  </a:cubicBezTo>
                  <a:cubicBezTo>
                    <a:pt x="4081" y="454"/>
                    <a:pt x="4061" y="442"/>
                    <a:pt x="4050" y="445"/>
                  </a:cubicBezTo>
                  <a:cubicBezTo>
                    <a:pt x="4039" y="447"/>
                    <a:pt x="4025" y="466"/>
                    <a:pt x="4037" y="467"/>
                  </a:cubicBezTo>
                  <a:cubicBezTo>
                    <a:pt x="4049" y="469"/>
                    <a:pt x="4053" y="475"/>
                    <a:pt x="4053" y="475"/>
                  </a:cubicBezTo>
                  <a:cubicBezTo>
                    <a:pt x="4022" y="490"/>
                    <a:pt x="4022" y="490"/>
                    <a:pt x="4022" y="490"/>
                  </a:cubicBezTo>
                  <a:cubicBezTo>
                    <a:pt x="3982" y="494"/>
                    <a:pt x="3982" y="494"/>
                    <a:pt x="3982" y="494"/>
                  </a:cubicBezTo>
                  <a:cubicBezTo>
                    <a:pt x="3982" y="494"/>
                    <a:pt x="4021" y="486"/>
                    <a:pt x="4021" y="477"/>
                  </a:cubicBezTo>
                  <a:cubicBezTo>
                    <a:pt x="4021" y="467"/>
                    <a:pt x="3997" y="466"/>
                    <a:pt x="4007" y="453"/>
                  </a:cubicBezTo>
                  <a:cubicBezTo>
                    <a:pt x="4018" y="439"/>
                    <a:pt x="4031" y="438"/>
                    <a:pt x="4031" y="438"/>
                  </a:cubicBezTo>
                  <a:cubicBezTo>
                    <a:pt x="4031" y="419"/>
                    <a:pt x="4031" y="419"/>
                    <a:pt x="4031" y="419"/>
                  </a:cubicBezTo>
                  <a:cubicBezTo>
                    <a:pt x="4031" y="419"/>
                    <a:pt x="4066" y="397"/>
                    <a:pt x="4078" y="391"/>
                  </a:cubicBezTo>
                  <a:cubicBezTo>
                    <a:pt x="4090" y="386"/>
                    <a:pt x="4135" y="379"/>
                    <a:pt x="4127" y="375"/>
                  </a:cubicBezTo>
                  <a:cubicBezTo>
                    <a:pt x="4119" y="371"/>
                    <a:pt x="4073" y="370"/>
                    <a:pt x="4047" y="371"/>
                  </a:cubicBezTo>
                  <a:cubicBezTo>
                    <a:pt x="4022" y="373"/>
                    <a:pt x="3954" y="414"/>
                    <a:pt x="3954" y="414"/>
                  </a:cubicBezTo>
                  <a:cubicBezTo>
                    <a:pt x="3954" y="414"/>
                    <a:pt x="3925" y="427"/>
                    <a:pt x="3915" y="429"/>
                  </a:cubicBezTo>
                  <a:cubicBezTo>
                    <a:pt x="3906" y="430"/>
                    <a:pt x="3902" y="441"/>
                    <a:pt x="3902" y="441"/>
                  </a:cubicBezTo>
                  <a:cubicBezTo>
                    <a:pt x="3902" y="441"/>
                    <a:pt x="3855" y="467"/>
                    <a:pt x="3873" y="474"/>
                  </a:cubicBezTo>
                  <a:cubicBezTo>
                    <a:pt x="3890" y="481"/>
                    <a:pt x="3942" y="477"/>
                    <a:pt x="3935" y="486"/>
                  </a:cubicBezTo>
                  <a:cubicBezTo>
                    <a:pt x="3929" y="495"/>
                    <a:pt x="3842" y="494"/>
                    <a:pt x="3863" y="509"/>
                  </a:cubicBezTo>
                  <a:cubicBezTo>
                    <a:pt x="3885" y="523"/>
                    <a:pt x="3911" y="526"/>
                    <a:pt x="3911" y="526"/>
                  </a:cubicBezTo>
                  <a:cubicBezTo>
                    <a:pt x="3942" y="514"/>
                    <a:pt x="3942" y="514"/>
                    <a:pt x="3942" y="514"/>
                  </a:cubicBezTo>
                  <a:cubicBezTo>
                    <a:pt x="3942" y="514"/>
                    <a:pt x="3933" y="530"/>
                    <a:pt x="3955" y="530"/>
                  </a:cubicBezTo>
                  <a:cubicBezTo>
                    <a:pt x="3978" y="530"/>
                    <a:pt x="4066" y="549"/>
                    <a:pt x="4077" y="543"/>
                  </a:cubicBezTo>
                  <a:cubicBezTo>
                    <a:pt x="4087" y="538"/>
                    <a:pt x="4063" y="526"/>
                    <a:pt x="4063" y="526"/>
                  </a:cubicBezTo>
                  <a:cubicBezTo>
                    <a:pt x="4063" y="526"/>
                    <a:pt x="4130" y="533"/>
                    <a:pt x="4141" y="534"/>
                  </a:cubicBezTo>
                  <a:cubicBezTo>
                    <a:pt x="4151" y="535"/>
                    <a:pt x="4178" y="546"/>
                    <a:pt x="4187" y="541"/>
                  </a:cubicBezTo>
                  <a:cubicBezTo>
                    <a:pt x="4197" y="535"/>
                    <a:pt x="4178" y="515"/>
                    <a:pt x="4178" y="515"/>
                  </a:cubicBezTo>
                  <a:cubicBezTo>
                    <a:pt x="4209" y="509"/>
                    <a:pt x="4209" y="509"/>
                    <a:pt x="4209" y="509"/>
                  </a:cubicBezTo>
                  <a:cubicBezTo>
                    <a:pt x="4209" y="509"/>
                    <a:pt x="4217" y="531"/>
                    <a:pt x="4221" y="530"/>
                  </a:cubicBezTo>
                  <a:cubicBezTo>
                    <a:pt x="4225" y="529"/>
                    <a:pt x="4239" y="545"/>
                    <a:pt x="4239" y="545"/>
                  </a:cubicBezTo>
                  <a:cubicBezTo>
                    <a:pt x="4259" y="538"/>
                    <a:pt x="4259" y="538"/>
                    <a:pt x="4259" y="538"/>
                  </a:cubicBezTo>
                  <a:cubicBezTo>
                    <a:pt x="4259" y="538"/>
                    <a:pt x="4251" y="558"/>
                    <a:pt x="4255" y="559"/>
                  </a:cubicBezTo>
                  <a:cubicBezTo>
                    <a:pt x="4259" y="561"/>
                    <a:pt x="4289" y="567"/>
                    <a:pt x="4289" y="567"/>
                  </a:cubicBezTo>
                  <a:cubicBezTo>
                    <a:pt x="4289" y="567"/>
                    <a:pt x="4267" y="586"/>
                    <a:pt x="4275" y="586"/>
                  </a:cubicBezTo>
                  <a:cubicBezTo>
                    <a:pt x="4283" y="586"/>
                    <a:pt x="4302" y="586"/>
                    <a:pt x="4302" y="586"/>
                  </a:cubicBezTo>
                  <a:cubicBezTo>
                    <a:pt x="4298" y="603"/>
                    <a:pt x="4298" y="603"/>
                    <a:pt x="4298" y="603"/>
                  </a:cubicBezTo>
                  <a:cubicBezTo>
                    <a:pt x="4298" y="603"/>
                    <a:pt x="4331" y="607"/>
                    <a:pt x="4331" y="623"/>
                  </a:cubicBezTo>
                  <a:cubicBezTo>
                    <a:pt x="4331" y="639"/>
                    <a:pt x="4309" y="673"/>
                    <a:pt x="4303" y="674"/>
                  </a:cubicBezTo>
                  <a:cubicBezTo>
                    <a:pt x="4298" y="675"/>
                    <a:pt x="4210" y="714"/>
                    <a:pt x="4210" y="714"/>
                  </a:cubicBezTo>
                  <a:cubicBezTo>
                    <a:pt x="4210" y="714"/>
                    <a:pt x="4238" y="733"/>
                    <a:pt x="4223" y="739"/>
                  </a:cubicBezTo>
                  <a:cubicBezTo>
                    <a:pt x="4209" y="746"/>
                    <a:pt x="4189" y="747"/>
                    <a:pt x="4189" y="747"/>
                  </a:cubicBezTo>
                  <a:cubicBezTo>
                    <a:pt x="4137" y="754"/>
                    <a:pt x="4137" y="754"/>
                    <a:pt x="4137" y="754"/>
                  </a:cubicBezTo>
                  <a:cubicBezTo>
                    <a:pt x="4131" y="769"/>
                    <a:pt x="4131" y="769"/>
                    <a:pt x="4131" y="769"/>
                  </a:cubicBezTo>
                  <a:cubicBezTo>
                    <a:pt x="4122" y="755"/>
                    <a:pt x="4122" y="755"/>
                    <a:pt x="4122" y="755"/>
                  </a:cubicBezTo>
                  <a:cubicBezTo>
                    <a:pt x="4122" y="755"/>
                    <a:pt x="4095" y="746"/>
                    <a:pt x="4082" y="749"/>
                  </a:cubicBezTo>
                  <a:cubicBezTo>
                    <a:pt x="4069" y="751"/>
                    <a:pt x="4070" y="763"/>
                    <a:pt x="4070" y="763"/>
                  </a:cubicBezTo>
                  <a:cubicBezTo>
                    <a:pt x="4070" y="763"/>
                    <a:pt x="4025" y="773"/>
                    <a:pt x="4025" y="789"/>
                  </a:cubicBezTo>
                  <a:cubicBezTo>
                    <a:pt x="4025" y="813"/>
                    <a:pt x="4059" y="807"/>
                    <a:pt x="4086" y="798"/>
                  </a:cubicBezTo>
                  <a:cubicBezTo>
                    <a:pt x="4113" y="789"/>
                    <a:pt x="4119" y="790"/>
                    <a:pt x="4119" y="790"/>
                  </a:cubicBezTo>
                  <a:cubicBezTo>
                    <a:pt x="4119" y="790"/>
                    <a:pt x="4138" y="803"/>
                    <a:pt x="4145" y="798"/>
                  </a:cubicBezTo>
                  <a:cubicBezTo>
                    <a:pt x="4151" y="793"/>
                    <a:pt x="4147" y="782"/>
                    <a:pt x="4147" y="782"/>
                  </a:cubicBezTo>
                  <a:cubicBezTo>
                    <a:pt x="4163" y="767"/>
                    <a:pt x="4163" y="767"/>
                    <a:pt x="4163" y="767"/>
                  </a:cubicBezTo>
                  <a:cubicBezTo>
                    <a:pt x="4163" y="767"/>
                    <a:pt x="4150" y="779"/>
                    <a:pt x="4159" y="782"/>
                  </a:cubicBezTo>
                  <a:cubicBezTo>
                    <a:pt x="4169" y="785"/>
                    <a:pt x="4203" y="785"/>
                    <a:pt x="4203" y="785"/>
                  </a:cubicBezTo>
                  <a:cubicBezTo>
                    <a:pt x="4203" y="785"/>
                    <a:pt x="4189" y="791"/>
                    <a:pt x="4190" y="798"/>
                  </a:cubicBezTo>
                  <a:cubicBezTo>
                    <a:pt x="4191" y="805"/>
                    <a:pt x="4213" y="809"/>
                    <a:pt x="4213" y="809"/>
                  </a:cubicBezTo>
                  <a:cubicBezTo>
                    <a:pt x="4213" y="809"/>
                    <a:pt x="4199" y="818"/>
                    <a:pt x="4210" y="825"/>
                  </a:cubicBezTo>
                  <a:cubicBezTo>
                    <a:pt x="4221" y="831"/>
                    <a:pt x="4245" y="831"/>
                    <a:pt x="4245" y="831"/>
                  </a:cubicBezTo>
                  <a:cubicBezTo>
                    <a:pt x="4214" y="842"/>
                    <a:pt x="4214" y="842"/>
                    <a:pt x="4214" y="842"/>
                  </a:cubicBezTo>
                  <a:cubicBezTo>
                    <a:pt x="4214" y="842"/>
                    <a:pt x="4219" y="863"/>
                    <a:pt x="4225" y="862"/>
                  </a:cubicBezTo>
                  <a:cubicBezTo>
                    <a:pt x="4230" y="861"/>
                    <a:pt x="4241" y="854"/>
                    <a:pt x="4241" y="854"/>
                  </a:cubicBezTo>
                  <a:cubicBezTo>
                    <a:pt x="4241" y="854"/>
                    <a:pt x="4243" y="869"/>
                    <a:pt x="4253" y="870"/>
                  </a:cubicBezTo>
                  <a:cubicBezTo>
                    <a:pt x="4262" y="871"/>
                    <a:pt x="4283" y="874"/>
                    <a:pt x="4283" y="874"/>
                  </a:cubicBezTo>
                  <a:cubicBezTo>
                    <a:pt x="4283" y="874"/>
                    <a:pt x="4282" y="891"/>
                    <a:pt x="4298" y="895"/>
                  </a:cubicBezTo>
                  <a:cubicBezTo>
                    <a:pt x="4314" y="899"/>
                    <a:pt x="4325" y="891"/>
                    <a:pt x="4339" y="899"/>
                  </a:cubicBezTo>
                  <a:cubicBezTo>
                    <a:pt x="4354" y="907"/>
                    <a:pt x="4390" y="922"/>
                    <a:pt x="4390" y="922"/>
                  </a:cubicBezTo>
                  <a:cubicBezTo>
                    <a:pt x="4390" y="922"/>
                    <a:pt x="4401" y="902"/>
                    <a:pt x="4389" y="889"/>
                  </a:cubicBezTo>
                  <a:cubicBezTo>
                    <a:pt x="4377" y="875"/>
                    <a:pt x="4357" y="863"/>
                    <a:pt x="4357" y="863"/>
                  </a:cubicBezTo>
                  <a:cubicBezTo>
                    <a:pt x="4357" y="863"/>
                    <a:pt x="4337" y="838"/>
                    <a:pt x="4342" y="830"/>
                  </a:cubicBezTo>
                  <a:cubicBezTo>
                    <a:pt x="4347" y="822"/>
                    <a:pt x="4370" y="845"/>
                    <a:pt x="4370" y="845"/>
                  </a:cubicBezTo>
                  <a:cubicBezTo>
                    <a:pt x="4370" y="825"/>
                    <a:pt x="4370" y="825"/>
                    <a:pt x="4370" y="825"/>
                  </a:cubicBezTo>
                  <a:cubicBezTo>
                    <a:pt x="4370" y="825"/>
                    <a:pt x="4379" y="850"/>
                    <a:pt x="4389" y="850"/>
                  </a:cubicBezTo>
                  <a:cubicBezTo>
                    <a:pt x="4398" y="850"/>
                    <a:pt x="4413" y="846"/>
                    <a:pt x="4413" y="846"/>
                  </a:cubicBezTo>
                  <a:cubicBezTo>
                    <a:pt x="4413" y="846"/>
                    <a:pt x="4409" y="867"/>
                    <a:pt x="4419" y="866"/>
                  </a:cubicBezTo>
                  <a:cubicBezTo>
                    <a:pt x="4430" y="865"/>
                    <a:pt x="4434" y="877"/>
                    <a:pt x="4434" y="877"/>
                  </a:cubicBezTo>
                  <a:cubicBezTo>
                    <a:pt x="4447" y="862"/>
                    <a:pt x="4447" y="862"/>
                    <a:pt x="4447" y="862"/>
                  </a:cubicBezTo>
                  <a:cubicBezTo>
                    <a:pt x="4447" y="862"/>
                    <a:pt x="4457" y="874"/>
                    <a:pt x="4462" y="871"/>
                  </a:cubicBezTo>
                  <a:cubicBezTo>
                    <a:pt x="4467" y="869"/>
                    <a:pt x="4461" y="853"/>
                    <a:pt x="4461" y="853"/>
                  </a:cubicBezTo>
                  <a:cubicBezTo>
                    <a:pt x="4471" y="822"/>
                    <a:pt x="4471" y="822"/>
                    <a:pt x="4471" y="822"/>
                  </a:cubicBezTo>
                  <a:cubicBezTo>
                    <a:pt x="4471" y="822"/>
                    <a:pt x="4471" y="849"/>
                    <a:pt x="4479" y="849"/>
                  </a:cubicBezTo>
                  <a:cubicBezTo>
                    <a:pt x="4487" y="849"/>
                    <a:pt x="4491" y="821"/>
                    <a:pt x="4491" y="821"/>
                  </a:cubicBezTo>
                  <a:cubicBezTo>
                    <a:pt x="4477" y="805"/>
                    <a:pt x="4477" y="805"/>
                    <a:pt x="4477" y="805"/>
                  </a:cubicBezTo>
                  <a:cubicBezTo>
                    <a:pt x="4491" y="801"/>
                    <a:pt x="4491" y="801"/>
                    <a:pt x="4491" y="801"/>
                  </a:cubicBezTo>
                  <a:cubicBezTo>
                    <a:pt x="4479" y="791"/>
                    <a:pt x="4479" y="791"/>
                    <a:pt x="4479" y="791"/>
                  </a:cubicBezTo>
                  <a:cubicBezTo>
                    <a:pt x="4481" y="778"/>
                    <a:pt x="4481" y="778"/>
                    <a:pt x="4481" y="778"/>
                  </a:cubicBezTo>
                  <a:cubicBezTo>
                    <a:pt x="4461" y="781"/>
                    <a:pt x="4461" y="781"/>
                    <a:pt x="4461" y="781"/>
                  </a:cubicBezTo>
                  <a:cubicBezTo>
                    <a:pt x="4461" y="770"/>
                    <a:pt x="4461" y="770"/>
                    <a:pt x="4461" y="770"/>
                  </a:cubicBezTo>
                  <a:cubicBezTo>
                    <a:pt x="4446" y="770"/>
                    <a:pt x="4446" y="770"/>
                    <a:pt x="4446" y="770"/>
                  </a:cubicBezTo>
                  <a:cubicBezTo>
                    <a:pt x="4445" y="737"/>
                    <a:pt x="4445" y="737"/>
                    <a:pt x="4445" y="737"/>
                  </a:cubicBezTo>
                  <a:cubicBezTo>
                    <a:pt x="4423" y="738"/>
                    <a:pt x="4423" y="738"/>
                    <a:pt x="4423" y="738"/>
                  </a:cubicBezTo>
                  <a:cubicBezTo>
                    <a:pt x="4423" y="738"/>
                    <a:pt x="4411" y="718"/>
                    <a:pt x="4423" y="715"/>
                  </a:cubicBezTo>
                  <a:cubicBezTo>
                    <a:pt x="4435" y="713"/>
                    <a:pt x="4443" y="730"/>
                    <a:pt x="4451" y="727"/>
                  </a:cubicBezTo>
                  <a:cubicBezTo>
                    <a:pt x="4459" y="725"/>
                    <a:pt x="4458" y="699"/>
                    <a:pt x="4458" y="699"/>
                  </a:cubicBezTo>
                  <a:cubicBezTo>
                    <a:pt x="4473" y="703"/>
                    <a:pt x="4473" y="703"/>
                    <a:pt x="4473" y="703"/>
                  </a:cubicBezTo>
                  <a:cubicBezTo>
                    <a:pt x="4498" y="691"/>
                    <a:pt x="4498" y="691"/>
                    <a:pt x="4498" y="691"/>
                  </a:cubicBezTo>
                  <a:cubicBezTo>
                    <a:pt x="4498" y="691"/>
                    <a:pt x="4499" y="723"/>
                    <a:pt x="4506" y="717"/>
                  </a:cubicBezTo>
                  <a:cubicBezTo>
                    <a:pt x="4513" y="710"/>
                    <a:pt x="4526" y="710"/>
                    <a:pt x="4526" y="710"/>
                  </a:cubicBezTo>
                  <a:cubicBezTo>
                    <a:pt x="4518" y="722"/>
                    <a:pt x="4518" y="722"/>
                    <a:pt x="4518" y="722"/>
                  </a:cubicBezTo>
                  <a:cubicBezTo>
                    <a:pt x="4533" y="723"/>
                    <a:pt x="4533" y="723"/>
                    <a:pt x="4533" y="723"/>
                  </a:cubicBezTo>
                  <a:cubicBezTo>
                    <a:pt x="4526" y="742"/>
                    <a:pt x="4526" y="742"/>
                    <a:pt x="4526" y="742"/>
                  </a:cubicBezTo>
                  <a:cubicBezTo>
                    <a:pt x="4526" y="742"/>
                    <a:pt x="4549" y="783"/>
                    <a:pt x="4565" y="773"/>
                  </a:cubicBezTo>
                  <a:cubicBezTo>
                    <a:pt x="4581" y="762"/>
                    <a:pt x="4583" y="737"/>
                    <a:pt x="4583" y="737"/>
                  </a:cubicBezTo>
                  <a:cubicBezTo>
                    <a:pt x="4590" y="727"/>
                    <a:pt x="4590" y="727"/>
                    <a:pt x="4590" y="727"/>
                  </a:cubicBezTo>
                  <a:cubicBezTo>
                    <a:pt x="4590" y="727"/>
                    <a:pt x="4609" y="743"/>
                    <a:pt x="4622" y="734"/>
                  </a:cubicBezTo>
                  <a:cubicBezTo>
                    <a:pt x="4635" y="725"/>
                    <a:pt x="4634" y="707"/>
                    <a:pt x="4634" y="707"/>
                  </a:cubicBezTo>
                  <a:cubicBezTo>
                    <a:pt x="4634" y="707"/>
                    <a:pt x="4669" y="717"/>
                    <a:pt x="4683" y="701"/>
                  </a:cubicBezTo>
                  <a:close/>
                  <a:moveTo>
                    <a:pt x="4331" y="69"/>
                  </a:moveTo>
                  <a:cubicBezTo>
                    <a:pt x="4387" y="72"/>
                    <a:pt x="4387" y="72"/>
                    <a:pt x="4387" y="72"/>
                  </a:cubicBezTo>
                  <a:cubicBezTo>
                    <a:pt x="4332" y="80"/>
                    <a:pt x="4332" y="80"/>
                    <a:pt x="4332" y="80"/>
                  </a:cubicBezTo>
                  <a:cubicBezTo>
                    <a:pt x="4332" y="80"/>
                    <a:pt x="4352" y="89"/>
                    <a:pt x="4366" y="89"/>
                  </a:cubicBezTo>
                  <a:cubicBezTo>
                    <a:pt x="4380" y="89"/>
                    <a:pt x="4417" y="83"/>
                    <a:pt x="4417" y="83"/>
                  </a:cubicBezTo>
                  <a:cubicBezTo>
                    <a:pt x="4417" y="83"/>
                    <a:pt x="4442" y="75"/>
                    <a:pt x="4460" y="75"/>
                  </a:cubicBezTo>
                  <a:cubicBezTo>
                    <a:pt x="4479" y="75"/>
                    <a:pt x="4522" y="84"/>
                    <a:pt x="4522" y="84"/>
                  </a:cubicBezTo>
                  <a:cubicBezTo>
                    <a:pt x="4522" y="84"/>
                    <a:pt x="4471" y="85"/>
                    <a:pt x="4459" y="86"/>
                  </a:cubicBezTo>
                  <a:cubicBezTo>
                    <a:pt x="4447" y="87"/>
                    <a:pt x="4412" y="100"/>
                    <a:pt x="4412" y="100"/>
                  </a:cubicBezTo>
                  <a:cubicBezTo>
                    <a:pt x="4412" y="100"/>
                    <a:pt x="4440" y="100"/>
                    <a:pt x="4461" y="102"/>
                  </a:cubicBezTo>
                  <a:cubicBezTo>
                    <a:pt x="4483" y="104"/>
                    <a:pt x="4488" y="96"/>
                    <a:pt x="4488" y="96"/>
                  </a:cubicBezTo>
                  <a:cubicBezTo>
                    <a:pt x="4532" y="96"/>
                    <a:pt x="4532" y="96"/>
                    <a:pt x="4532" y="96"/>
                  </a:cubicBezTo>
                  <a:cubicBezTo>
                    <a:pt x="4532" y="96"/>
                    <a:pt x="4546" y="97"/>
                    <a:pt x="4563" y="97"/>
                  </a:cubicBezTo>
                  <a:cubicBezTo>
                    <a:pt x="4580" y="97"/>
                    <a:pt x="4620" y="86"/>
                    <a:pt x="4624" y="83"/>
                  </a:cubicBezTo>
                  <a:cubicBezTo>
                    <a:pt x="4629" y="79"/>
                    <a:pt x="4655" y="76"/>
                    <a:pt x="4668" y="72"/>
                  </a:cubicBezTo>
                  <a:cubicBezTo>
                    <a:pt x="4681" y="67"/>
                    <a:pt x="4702" y="72"/>
                    <a:pt x="4702" y="72"/>
                  </a:cubicBezTo>
                  <a:cubicBezTo>
                    <a:pt x="4644" y="89"/>
                    <a:pt x="4644" y="89"/>
                    <a:pt x="4644" y="89"/>
                  </a:cubicBezTo>
                  <a:cubicBezTo>
                    <a:pt x="4667" y="90"/>
                    <a:pt x="4667" y="90"/>
                    <a:pt x="4667" y="90"/>
                  </a:cubicBezTo>
                  <a:cubicBezTo>
                    <a:pt x="4635" y="100"/>
                    <a:pt x="4635" y="100"/>
                    <a:pt x="4635" y="100"/>
                  </a:cubicBezTo>
                  <a:cubicBezTo>
                    <a:pt x="4635" y="100"/>
                    <a:pt x="4522" y="105"/>
                    <a:pt x="4509" y="105"/>
                  </a:cubicBezTo>
                  <a:cubicBezTo>
                    <a:pt x="4496" y="105"/>
                    <a:pt x="4496" y="117"/>
                    <a:pt x="4496" y="117"/>
                  </a:cubicBezTo>
                  <a:cubicBezTo>
                    <a:pt x="4547" y="132"/>
                    <a:pt x="4547" y="132"/>
                    <a:pt x="4547" y="132"/>
                  </a:cubicBezTo>
                  <a:cubicBezTo>
                    <a:pt x="4547" y="132"/>
                    <a:pt x="4527" y="138"/>
                    <a:pt x="4515" y="138"/>
                  </a:cubicBezTo>
                  <a:cubicBezTo>
                    <a:pt x="4504" y="138"/>
                    <a:pt x="4456" y="112"/>
                    <a:pt x="4456" y="112"/>
                  </a:cubicBezTo>
                  <a:cubicBezTo>
                    <a:pt x="4456" y="112"/>
                    <a:pt x="4407" y="113"/>
                    <a:pt x="4394" y="113"/>
                  </a:cubicBezTo>
                  <a:cubicBezTo>
                    <a:pt x="4381" y="113"/>
                    <a:pt x="4373" y="128"/>
                    <a:pt x="4373" y="128"/>
                  </a:cubicBezTo>
                  <a:cubicBezTo>
                    <a:pt x="4394" y="139"/>
                    <a:pt x="4394" y="139"/>
                    <a:pt x="4394" y="139"/>
                  </a:cubicBezTo>
                  <a:cubicBezTo>
                    <a:pt x="4394" y="139"/>
                    <a:pt x="4405" y="155"/>
                    <a:pt x="4422" y="158"/>
                  </a:cubicBezTo>
                  <a:cubicBezTo>
                    <a:pt x="4438" y="161"/>
                    <a:pt x="4471" y="157"/>
                    <a:pt x="4471" y="157"/>
                  </a:cubicBezTo>
                  <a:cubicBezTo>
                    <a:pt x="4471" y="157"/>
                    <a:pt x="4463" y="166"/>
                    <a:pt x="4446" y="168"/>
                  </a:cubicBezTo>
                  <a:cubicBezTo>
                    <a:pt x="4430" y="170"/>
                    <a:pt x="4399" y="164"/>
                    <a:pt x="4391" y="162"/>
                  </a:cubicBezTo>
                  <a:cubicBezTo>
                    <a:pt x="4384" y="160"/>
                    <a:pt x="4328" y="170"/>
                    <a:pt x="4310" y="170"/>
                  </a:cubicBezTo>
                  <a:cubicBezTo>
                    <a:pt x="4291" y="170"/>
                    <a:pt x="4256" y="195"/>
                    <a:pt x="4256" y="195"/>
                  </a:cubicBezTo>
                  <a:cubicBezTo>
                    <a:pt x="4305" y="187"/>
                    <a:pt x="4305" y="187"/>
                    <a:pt x="4305" y="187"/>
                  </a:cubicBezTo>
                  <a:cubicBezTo>
                    <a:pt x="4303" y="199"/>
                    <a:pt x="4303" y="199"/>
                    <a:pt x="4303" y="199"/>
                  </a:cubicBezTo>
                  <a:cubicBezTo>
                    <a:pt x="4345" y="187"/>
                    <a:pt x="4345" y="187"/>
                    <a:pt x="4345" y="187"/>
                  </a:cubicBezTo>
                  <a:cubicBezTo>
                    <a:pt x="4298" y="205"/>
                    <a:pt x="4298" y="205"/>
                    <a:pt x="4298" y="205"/>
                  </a:cubicBezTo>
                  <a:cubicBezTo>
                    <a:pt x="4298" y="205"/>
                    <a:pt x="4306" y="216"/>
                    <a:pt x="4322" y="216"/>
                  </a:cubicBezTo>
                  <a:cubicBezTo>
                    <a:pt x="4339" y="216"/>
                    <a:pt x="4384" y="199"/>
                    <a:pt x="4384" y="199"/>
                  </a:cubicBezTo>
                  <a:cubicBezTo>
                    <a:pt x="4316" y="225"/>
                    <a:pt x="4316" y="225"/>
                    <a:pt x="4316" y="225"/>
                  </a:cubicBezTo>
                  <a:cubicBezTo>
                    <a:pt x="4271" y="222"/>
                    <a:pt x="4271" y="222"/>
                    <a:pt x="4271" y="222"/>
                  </a:cubicBezTo>
                  <a:cubicBezTo>
                    <a:pt x="4262" y="205"/>
                    <a:pt x="4262" y="205"/>
                    <a:pt x="4262" y="205"/>
                  </a:cubicBezTo>
                  <a:cubicBezTo>
                    <a:pt x="4262" y="205"/>
                    <a:pt x="4229" y="202"/>
                    <a:pt x="4219" y="204"/>
                  </a:cubicBezTo>
                  <a:cubicBezTo>
                    <a:pt x="4209" y="206"/>
                    <a:pt x="4223" y="231"/>
                    <a:pt x="4223" y="231"/>
                  </a:cubicBezTo>
                  <a:cubicBezTo>
                    <a:pt x="4223" y="231"/>
                    <a:pt x="4179" y="235"/>
                    <a:pt x="4173" y="235"/>
                  </a:cubicBezTo>
                  <a:cubicBezTo>
                    <a:pt x="4166" y="235"/>
                    <a:pt x="4136" y="250"/>
                    <a:pt x="4116" y="252"/>
                  </a:cubicBezTo>
                  <a:cubicBezTo>
                    <a:pt x="4104" y="253"/>
                    <a:pt x="4095" y="254"/>
                    <a:pt x="4092" y="254"/>
                  </a:cubicBezTo>
                  <a:cubicBezTo>
                    <a:pt x="4089" y="254"/>
                    <a:pt x="4108" y="260"/>
                    <a:pt x="4123" y="260"/>
                  </a:cubicBezTo>
                  <a:cubicBezTo>
                    <a:pt x="4138" y="260"/>
                    <a:pt x="4145" y="253"/>
                    <a:pt x="4145" y="253"/>
                  </a:cubicBezTo>
                  <a:cubicBezTo>
                    <a:pt x="4137" y="265"/>
                    <a:pt x="4137" y="265"/>
                    <a:pt x="4137" y="265"/>
                  </a:cubicBezTo>
                  <a:cubicBezTo>
                    <a:pt x="4162" y="260"/>
                    <a:pt x="4162" y="260"/>
                    <a:pt x="4162" y="260"/>
                  </a:cubicBezTo>
                  <a:cubicBezTo>
                    <a:pt x="4177" y="253"/>
                    <a:pt x="4177" y="253"/>
                    <a:pt x="4177" y="253"/>
                  </a:cubicBezTo>
                  <a:cubicBezTo>
                    <a:pt x="4177" y="261"/>
                    <a:pt x="4177" y="261"/>
                    <a:pt x="4177" y="261"/>
                  </a:cubicBezTo>
                  <a:cubicBezTo>
                    <a:pt x="4194" y="259"/>
                    <a:pt x="4194" y="259"/>
                    <a:pt x="4194" y="259"/>
                  </a:cubicBezTo>
                  <a:cubicBezTo>
                    <a:pt x="4210" y="257"/>
                    <a:pt x="4210" y="257"/>
                    <a:pt x="4210" y="257"/>
                  </a:cubicBezTo>
                  <a:cubicBezTo>
                    <a:pt x="4210" y="257"/>
                    <a:pt x="4211" y="266"/>
                    <a:pt x="4222" y="267"/>
                  </a:cubicBezTo>
                  <a:cubicBezTo>
                    <a:pt x="4233" y="268"/>
                    <a:pt x="4255" y="254"/>
                    <a:pt x="4255" y="254"/>
                  </a:cubicBezTo>
                  <a:cubicBezTo>
                    <a:pt x="4260" y="263"/>
                    <a:pt x="4260" y="263"/>
                    <a:pt x="4260" y="263"/>
                  </a:cubicBezTo>
                  <a:cubicBezTo>
                    <a:pt x="4278" y="253"/>
                    <a:pt x="4278" y="253"/>
                    <a:pt x="4278" y="253"/>
                  </a:cubicBezTo>
                  <a:cubicBezTo>
                    <a:pt x="4278" y="253"/>
                    <a:pt x="4284" y="261"/>
                    <a:pt x="4292" y="264"/>
                  </a:cubicBezTo>
                  <a:cubicBezTo>
                    <a:pt x="4301" y="266"/>
                    <a:pt x="4310" y="255"/>
                    <a:pt x="4310" y="255"/>
                  </a:cubicBezTo>
                  <a:cubicBezTo>
                    <a:pt x="4310" y="255"/>
                    <a:pt x="4319" y="263"/>
                    <a:pt x="4332" y="263"/>
                  </a:cubicBezTo>
                  <a:cubicBezTo>
                    <a:pt x="4345" y="263"/>
                    <a:pt x="4335" y="251"/>
                    <a:pt x="4335" y="251"/>
                  </a:cubicBezTo>
                  <a:cubicBezTo>
                    <a:pt x="4373" y="265"/>
                    <a:pt x="4373" y="265"/>
                    <a:pt x="4373" y="265"/>
                  </a:cubicBezTo>
                  <a:cubicBezTo>
                    <a:pt x="4373" y="265"/>
                    <a:pt x="4380" y="274"/>
                    <a:pt x="4384" y="274"/>
                  </a:cubicBezTo>
                  <a:cubicBezTo>
                    <a:pt x="4388" y="274"/>
                    <a:pt x="4446" y="261"/>
                    <a:pt x="4457" y="261"/>
                  </a:cubicBezTo>
                  <a:cubicBezTo>
                    <a:pt x="4468" y="261"/>
                    <a:pt x="4493" y="251"/>
                    <a:pt x="4497" y="244"/>
                  </a:cubicBezTo>
                  <a:cubicBezTo>
                    <a:pt x="4501" y="238"/>
                    <a:pt x="4455" y="243"/>
                    <a:pt x="4455" y="243"/>
                  </a:cubicBezTo>
                  <a:cubicBezTo>
                    <a:pt x="4455" y="243"/>
                    <a:pt x="4464" y="236"/>
                    <a:pt x="4457" y="233"/>
                  </a:cubicBezTo>
                  <a:cubicBezTo>
                    <a:pt x="4451" y="231"/>
                    <a:pt x="4425" y="233"/>
                    <a:pt x="4425" y="233"/>
                  </a:cubicBezTo>
                  <a:cubicBezTo>
                    <a:pt x="4387" y="227"/>
                    <a:pt x="4387" y="227"/>
                    <a:pt x="4387" y="227"/>
                  </a:cubicBezTo>
                  <a:cubicBezTo>
                    <a:pt x="4399" y="214"/>
                    <a:pt x="4399" y="214"/>
                    <a:pt x="4399" y="214"/>
                  </a:cubicBezTo>
                  <a:cubicBezTo>
                    <a:pt x="4441" y="228"/>
                    <a:pt x="4441" y="228"/>
                    <a:pt x="4441" y="228"/>
                  </a:cubicBezTo>
                  <a:cubicBezTo>
                    <a:pt x="4441" y="228"/>
                    <a:pt x="4496" y="225"/>
                    <a:pt x="4516" y="224"/>
                  </a:cubicBezTo>
                  <a:cubicBezTo>
                    <a:pt x="4537" y="223"/>
                    <a:pt x="4532" y="205"/>
                    <a:pt x="4532" y="205"/>
                  </a:cubicBezTo>
                  <a:cubicBezTo>
                    <a:pt x="4532" y="205"/>
                    <a:pt x="4557" y="200"/>
                    <a:pt x="4576" y="200"/>
                  </a:cubicBezTo>
                  <a:cubicBezTo>
                    <a:pt x="4594" y="200"/>
                    <a:pt x="4632" y="191"/>
                    <a:pt x="4632" y="191"/>
                  </a:cubicBezTo>
                  <a:cubicBezTo>
                    <a:pt x="4614" y="180"/>
                    <a:pt x="4614" y="180"/>
                    <a:pt x="4614" y="180"/>
                  </a:cubicBezTo>
                  <a:cubicBezTo>
                    <a:pt x="4614" y="180"/>
                    <a:pt x="4637" y="180"/>
                    <a:pt x="4662" y="174"/>
                  </a:cubicBezTo>
                  <a:cubicBezTo>
                    <a:pt x="4687" y="169"/>
                    <a:pt x="4629" y="159"/>
                    <a:pt x="4629" y="159"/>
                  </a:cubicBezTo>
                  <a:cubicBezTo>
                    <a:pt x="4629" y="159"/>
                    <a:pt x="4597" y="160"/>
                    <a:pt x="4586" y="156"/>
                  </a:cubicBezTo>
                  <a:cubicBezTo>
                    <a:pt x="4576" y="152"/>
                    <a:pt x="4634" y="138"/>
                    <a:pt x="4637" y="139"/>
                  </a:cubicBezTo>
                  <a:cubicBezTo>
                    <a:pt x="4640" y="140"/>
                    <a:pt x="4682" y="144"/>
                    <a:pt x="4682" y="144"/>
                  </a:cubicBezTo>
                  <a:cubicBezTo>
                    <a:pt x="4682" y="144"/>
                    <a:pt x="4730" y="142"/>
                    <a:pt x="4745" y="139"/>
                  </a:cubicBezTo>
                  <a:cubicBezTo>
                    <a:pt x="4760" y="135"/>
                    <a:pt x="4711" y="133"/>
                    <a:pt x="4729" y="126"/>
                  </a:cubicBezTo>
                  <a:cubicBezTo>
                    <a:pt x="4746" y="118"/>
                    <a:pt x="4778" y="132"/>
                    <a:pt x="4798" y="132"/>
                  </a:cubicBezTo>
                  <a:cubicBezTo>
                    <a:pt x="4817" y="132"/>
                    <a:pt x="4810" y="115"/>
                    <a:pt x="4810" y="115"/>
                  </a:cubicBezTo>
                  <a:cubicBezTo>
                    <a:pt x="4858" y="118"/>
                    <a:pt x="4858" y="118"/>
                    <a:pt x="4858" y="118"/>
                  </a:cubicBezTo>
                  <a:cubicBezTo>
                    <a:pt x="4861" y="104"/>
                    <a:pt x="4861" y="104"/>
                    <a:pt x="4861" y="104"/>
                  </a:cubicBezTo>
                  <a:cubicBezTo>
                    <a:pt x="4861" y="104"/>
                    <a:pt x="4874" y="108"/>
                    <a:pt x="4883" y="108"/>
                  </a:cubicBezTo>
                  <a:cubicBezTo>
                    <a:pt x="4891" y="108"/>
                    <a:pt x="4922" y="96"/>
                    <a:pt x="4922" y="96"/>
                  </a:cubicBezTo>
                  <a:cubicBezTo>
                    <a:pt x="4922" y="96"/>
                    <a:pt x="4981" y="86"/>
                    <a:pt x="5013" y="80"/>
                  </a:cubicBezTo>
                  <a:cubicBezTo>
                    <a:pt x="5046" y="75"/>
                    <a:pt x="5049" y="70"/>
                    <a:pt x="5044" y="70"/>
                  </a:cubicBezTo>
                  <a:cubicBezTo>
                    <a:pt x="5040" y="70"/>
                    <a:pt x="4973" y="73"/>
                    <a:pt x="4973" y="73"/>
                  </a:cubicBezTo>
                  <a:cubicBezTo>
                    <a:pt x="4956" y="80"/>
                    <a:pt x="4956" y="80"/>
                    <a:pt x="4956" y="80"/>
                  </a:cubicBezTo>
                  <a:cubicBezTo>
                    <a:pt x="4910" y="77"/>
                    <a:pt x="4910" y="77"/>
                    <a:pt x="4910" y="77"/>
                  </a:cubicBezTo>
                  <a:cubicBezTo>
                    <a:pt x="4963" y="74"/>
                    <a:pt x="4963" y="74"/>
                    <a:pt x="4963" y="74"/>
                  </a:cubicBezTo>
                  <a:cubicBezTo>
                    <a:pt x="4961" y="65"/>
                    <a:pt x="4961" y="65"/>
                    <a:pt x="4961" y="65"/>
                  </a:cubicBezTo>
                  <a:cubicBezTo>
                    <a:pt x="4994" y="70"/>
                    <a:pt x="4994" y="70"/>
                    <a:pt x="4994" y="70"/>
                  </a:cubicBezTo>
                  <a:cubicBezTo>
                    <a:pt x="4994" y="70"/>
                    <a:pt x="4999" y="62"/>
                    <a:pt x="5008" y="62"/>
                  </a:cubicBezTo>
                  <a:cubicBezTo>
                    <a:pt x="5016" y="62"/>
                    <a:pt x="5117" y="58"/>
                    <a:pt x="5135" y="57"/>
                  </a:cubicBezTo>
                  <a:cubicBezTo>
                    <a:pt x="5153" y="56"/>
                    <a:pt x="5200" y="43"/>
                    <a:pt x="5197" y="39"/>
                  </a:cubicBezTo>
                  <a:cubicBezTo>
                    <a:pt x="5195" y="36"/>
                    <a:pt x="5140" y="41"/>
                    <a:pt x="5140" y="41"/>
                  </a:cubicBezTo>
                  <a:cubicBezTo>
                    <a:pt x="5142" y="31"/>
                    <a:pt x="5142" y="31"/>
                    <a:pt x="5142" y="31"/>
                  </a:cubicBezTo>
                  <a:cubicBezTo>
                    <a:pt x="5142" y="31"/>
                    <a:pt x="5107" y="23"/>
                    <a:pt x="5094" y="23"/>
                  </a:cubicBezTo>
                  <a:cubicBezTo>
                    <a:pt x="5081" y="23"/>
                    <a:pt x="5009" y="38"/>
                    <a:pt x="5009" y="38"/>
                  </a:cubicBezTo>
                  <a:cubicBezTo>
                    <a:pt x="5042" y="23"/>
                    <a:pt x="5042" y="23"/>
                    <a:pt x="5042" y="23"/>
                  </a:cubicBezTo>
                  <a:cubicBezTo>
                    <a:pt x="4997" y="25"/>
                    <a:pt x="4997" y="25"/>
                    <a:pt x="4997" y="25"/>
                  </a:cubicBezTo>
                  <a:cubicBezTo>
                    <a:pt x="4997" y="25"/>
                    <a:pt x="4961" y="13"/>
                    <a:pt x="4951" y="15"/>
                  </a:cubicBezTo>
                  <a:cubicBezTo>
                    <a:pt x="4940" y="17"/>
                    <a:pt x="4935" y="28"/>
                    <a:pt x="4935" y="28"/>
                  </a:cubicBezTo>
                  <a:cubicBezTo>
                    <a:pt x="4935" y="28"/>
                    <a:pt x="4909" y="16"/>
                    <a:pt x="4900" y="16"/>
                  </a:cubicBezTo>
                  <a:cubicBezTo>
                    <a:pt x="4891" y="16"/>
                    <a:pt x="4871" y="31"/>
                    <a:pt x="4871" y="31"/>
                  </a:cubicBezTo>
                  <a:cubicBezTo>
                    <a:pt x="4845" y="23"/>
                    <a:pt x="4845" y="23"/>
                    <a:pt x="4845" y="23"/>
                  </a:cubicBezTo>
                  <a:cubicBezTo>
                    <a:pt x="4772" y="20"/>
                    <a:pt x="4772" y="20"/>
                    <a:pt x="4772" y="20"/>
                  </a:cubicBezTo>
                  <a:cubicBezTo>
                    <a:pt x="4790" y="38"/>
                    <a:pt x="4790" y="38"/>
                    <a:pt x="4790" y="38"/>
                  </a:cubicBezTo>
                  <a:cubicBezTo>
                    <a:pt x="4748" y="24"/>
                    <a:pt x="4748" y="24"/>
                    <a:pt x="4748" y="24"/>
                  </a:cubicBezTo>
                  <a:cubicBezTo>
                    <a:pt x="4707" y="31"/>
                    <a:pt x="4707" y="31"/>
                    <a:pt x="4707" y="31"/>
                  </a:cubicBezTo>
                  <a:cubicBezTo>
                    <a:pt x="4707" y="31"/>
                    <a:pt x="4677" y="25"/>
                    <a:pt x="4661" y="25"/>
                  </a:cubicBezTo>
                  <a:cubicBezTo>
                    <a:pt x="4645" y="25"/>
                    <a:pt x="4596" y="37"/>
                    <a:pt x="4596" y="37"/>
                  </a:cubicBezTo>
                  <a:cubicBezTo>
                    <a:pt x="4654" y="55"/>
                    <a:pt x="4654" y="55"/>
                    <a:pt x="4654" y="55"/>
                  </a:cubicBezTo>
                  <a:cubicBezTo>
                    <a:pt x="4596" y="47"/>
                    <a:pt x="4596" y="47"/>
                    <a:pt x="4596" y="47"/>
                  </a:cubicBezTo>
                  <a:cubicBezTo>
                    <a:pt x="4596" y="47"/>
                    <a:pt x="4541" y="36"/>
                    <a:pt x="4516" y="38"/>
                  </a:cubicBezTo>
                  <a:cubicBezTo>
                    <a:pt x="4492" y="41"/>
                    <a:pt x="4500" y="55"/>
                    <a:pt x="4500" y="55"/>
                  </a:cubicBezTo>
                  <a:cubicBezTo>
                    <a:pt x="4500" y="55"/>
                    <a:pt x="4438" y="49"/>
                    <a:pt x="4425" y="49"/>
                  </a:cubicBezTo>
                  <a:cubicBezTo>
                    <a:pt x="4412" y="49"/>
                    <a:pt x="4312" y="59"/>
                    <a:pt x="4308" y="61"/>
                  </a:cubicBezTo>
                  <a:cubicBezTo>
                    <a:pt x="4305" y="63"/>
                    <a:pt x="4331" y="69"/>
                    <a:pt x="4331" y="69"/>
                  </a:cubicBezTo>
                  <a:close/>
                  <a:moveTo>
                    <a:pt x="4558" y="1696"/>
                  </a:moveTo>
                  <a:cubicBezTo>
                    <a:pt x="4605" y="1655"/>
                    <a:pt x="4605" y="1655"/>
                    <a:pt x="4605" y="1655"/>
                  </a:cubicBezTo>
                  <a:cubicBezTo>
                    <a:pt x="4600" y="1640"/>
                    <a:pt x="4600" y="1640"/>
                    <a:pt x="4600" y="1640"/>
                  </a:cubicBezTo>
                  <a:cubicBezTo>
                    <a:pt x="4578" y="1649"/>
                    <a:pt x="4578" y="1649"/>
                    <a:pt x="4578" y="1649"/>
                  </a:cubicBezTo>
                  <a:cubicBezTo>
                    <a:pt x="4558" y="1648"/>
                    <a:pt x="4558" y="1648"/>
                    <a:pt x="4558" y="1648"/>
                  </a:cubicBezTo>
                  <a:cubicBezTo>
                    <a:pt x="4580" y="1634"/>
                    <a:pt x="4580" y="1634"/>
                    <a:pt x="4580" y="1634"/>
                  </a:cubicBezTo>
                  <a:cubicBezTo>
                    <a:pt x="4556" y="1633"/>
                    <a:pt x="4556" y="1633"/>
                    <a:pt x="4556" y="1633"/>
                  </a:cubicBezTo>
                  <a:cubicBezTo>
                    <a:pt x="4556" y="1633"/>
                    <a:pt x="4600" y="1581"/>
                    <a:pt x="4594" y="1580"/>
                  </a:cubicBezTo>
                  <a:cubicBezTo>
                    <a:pt x="4588" y="1580"/>
                    <a:pt x="4562" y="1577"/>
                    <a:pt x="4570" y="1574"/>
                  </a:cubicBezTo>
                  <a:cubicBezTo>
                    <a:pt x="4579" y="1571"/>
                    <a:pt x="4589" y="1556"/>
                    <a:pt x="4589" y="1556"/>
                  </a:cubicBezTo>
                  <a:cubicBezTo>
                    <a:pt x="4576" y="1547"/>
                    <a:pt x="4576" y="1547"/>
                    <a:pt x="4576" y="1547"/>
                  </a:cubicBezTo>
                  <a:cubicBezTo>
                    <a:pt x="4542" y="1568"/>
                    <a:pt x="4542" y="1568"/>
                    <a:pt x="4542" y="1568"/>
                  </a:cubicBezTo>
                  <a:cubicBezTo>
                    <a:pt x="4536" y="1549"/>
                    <a:pt x="4536" y="1549"/>
                    <a:pt x="4536" y="1549"/>
                  </a:cubicBezTo>
                  <a:cubicBezTo>
                    <a:pt x="4516" y="1551"/>
                    <a:pt x="4516" y="1551"/>
                    <a:pt x="4516" y="1551"/>
                  </a:cubicBezTo>
                  <a:cubicBezTo>
                    <a:pt x="4524" y="1530"/>
                    <a:pt x="4524" y="1530"/>
                    <a:pt x="4524" y="1530"/>
                  </a:cubicBezTo>
                  <a:cubicBezTo>
                    <a:pt x="4508" y="1524"/>
                    <a:pt x="4508" y="1524"/>
                    <a:pt x="4508" y="1524"/>
                  </a:cubicBezTo>
                  <a:cubicBezTo>
                    <a:pt x="4494" y="1512"/>
                    <a:pt x="4494" y="1512"/>
                    <a:pt x="4494" y="1512"/>
                  </a:cubicBezTo>
                  <a:cubicBezTo>
                    <a:pt x="4476" y="1542"/>
                    <a:pt x="4476" y="1542"/>
                    <a:pt x="4476" y="1542"/>
                  </a:cubicBezTo>
                  <a:cubicBezTo>
                    <a:pt x="4459" y="1555"/>
                    <a:pt x="4459" y="1555"/>
                    <a:pt x="4459" y="1555"/>
                  </a:cubicBezTo>
                  <a:cubicBezTo>
                    <a:pt x="4461" y="1537"/>
                    <a:pt x="4461" y="1537"/>
                    <a:pt x="4461" y="1537"/>
                  </a:cubicBezTo>
                  <a:cubicBezTo>
                    <a:pt x="4485" y="1508"/>
                    <a:pt x="4485" y="1508"/>
                    <a:pt x="4485" y="1508"/>
                  </a:cubicBezTo>
                  <a:cubicBezTo>
                    <a:pt x="4485" y="1508"/>
                    <a:pt x="4500" y="1507"/>
                    <a:pt x="4512" y="1496"/>
                  </a:cubicBezTo>
                  <a:cubicBezTo>
                    <a:pt x="4524" y="1485"/>
                    <a:pt x="4529" y="1465"/>
                    <a:pt x="4529" y="1465"/>
                  </a:cubicBezTo>
                  <a:cubicBezTo>
                    <a:pt x="4543" y="1456"/>
                    <a:pt x="4543" y="1456"/>
                    <a:pt x="4543" y="1456"/>
                  </a:cubicBezTo>
                  <a:cubicBezTo>
                    <a:pt x="4543" y="1456"/>
                    <a:pt x="4558" y="1446"/>
                    <a:pt x="4540" y="1441"/>
                  </a:cubicBezTo>
                  <a:cubicBezTo>
                    <a:pt x="4523" y="1436"/>
                    <a:pt x="4494" y="1453"/>
                    <a:pt x="4494" y="1453"/>
                  </a:cubicBezTo>
                  <a:cubicBezTo>
                    <a:pt x="4457" y="1501"/>
                    <a:pt x="4457" y="1501"/>
                    <a:pt x="4457" y="1501"/>
                  </a:cubicBezTo>
                  <a:cubicBezTo>
                    <a:pt x="4420" y="1537"/>
                    <a:pt x="4420" y="1537"/>
                    <a:pt x="4420" y="1537"/>
                  </a:cubicBezTo>
                  <a:cubicBezTo>
                    <a:pt x="4364" y="1589"/>
                    <a:pt x="4364" y="1589"/>
                    <a:pt x="4364" y="1589"/>
                  </a:cubicBezTo>
                  <a:cubicBezTo>
                    <a:pt x="4364" y="1589"/>
                    <a:pt x="4324" y="1606"/>
                    <a:pt x="4322" y="1612"/>
                  </a:cubicBezTo>
                  <a:cubicBezTo>
                    <a:pt x="4320" y="1619"/>
                    <a:pt x="4348" y="1622"/>
                    <a:pt x="4348" y="1622"/>
                  </a:cubicBezTo>
                  <a:cubicBezTo>
                    <a:pt x="4348" y="1622"/>
                    <a:pt x="4314" y="1625"/>
                    <a:pt x="4326" y="1637"/>
                  </a:cubicBezTo>
                  <a:cubicBezTo>
                    <a:pt x="4338" y="1649"/>
                    <a:pt x="4378" y="1635"/>
                    <a:pt x="4378" y="1635"/>
                  </a:cubicBezTo>
                  <a:cubicBezTo>
                    <a:pt x="4378" y="1635"/>
                    <a:pt x="4450" y="1652"/>
                    <a:pt x="4466" y="1653"/>
                  </a:cubicBezTo>
                  <a:cubicBezTo>
                    <a:pt x="4482" y="1653"/>
                    <a:pt x="4473" y="1664"/>
                    <a:pt x="4473" y="1664"/>
                  </a:cubicBezTo>
                  <a:cubicBezTo>
                    <a:pt x="4445" y="1672"/>
                    <a:pt x="4445" y="1672"/>
                    <a:pt x="4445" y="1672"/>
                  </a:cubicBezTo>
                  <a:cubicBezTo>
                    <a:pt x="4447" y="1675"/>
                    <a:pt x="4447" y="1675"/>
                    <a:pt x="4447" y="1675"/>
                  </a:cubicBezTo>
                  <a:cubicBezTo>
                    <a:pt x="4472" y="1679"/>
                    <a:pt x="4472" y="1679"/>
                    <a:pt x="4472" y="1679"/>
                  </a:cubicBezTo>
                  <a:cubicBezTo>
                    <a:pt x="4519" y="1673"/>
                    <a:pt x="4519" y="1673"/>
                    <a:pt x="4519" y="1673"/>
                  </a:cubicBezTo>
                  <a:cubicBezTo>
                    <a:pt x="4524" y="1678"/>
                    <a:pt x="4524" y="1678"/>
                    <a:pt x="4524" y="1678"/>
                  </a:cubicBezTo>
                  <a:cubicBezTo>
                    <a:pt x="4546" y="1676"/>
                    <a:pt x="4546" y="1676"/>
                    <a:pt x="4546" y="1676"/>
                  </a:cubicBezTo>
                  <a:cubicBezTo>
                    <a:pt x="4530" y="1692"/>
                    <a:pt x="4530" y="1692"/>
                    <a:pt x="4530" y="1692"/>
                  </a:cubicBezTo>
                  <a:lnTo>
                    <a:pt x="4558" y="1696"/>
                  </a:lnTo>
                  <a:close/>
                  <a:moveTo>
                    <a:pt x="5966" y="589"/>
                  </a:moveTo>
                  <a:cubicBezTo>
                    <a:pt x="5984" y="589"/>
                    <a:pt x="5984" y="589"/>
                    <a:pt x="5984" y="589"/>
                  </a:cubicBezTo>
                  <a:cubicBezTo>
                    <a:pt x="5993" y="578"/>
                    <a:pt x="5993" y="578"/>
                    <a:pt x="5993" y="578"/>
                  </a:cubicBezTo>
                  <a:cubicBezTo>
                    <a:pt x="6010" y="578"/>
                    <a:pt x="6010" y="578"/>
                    <a:pt x="6010" y="578"/>
                  </a:cubicBezTo>
                  <a:cubicBezTo>
                    <a:pt x="6010" y="578"/>
                    <a:pt x="6028" y="561"/>
                    <a:pt x="6032" y="558"/>
                  </a:cubicBezTo>
                  <a:cubicBezTo>
                    <a:pt x="6036" y="555"/>
                    <a:pt x="6062" y="553"/>
                    <a:pt x="6062" y="553"/>
                  </a:cubicBezTo>
                  <a:cubicBezTo>
                    <a:pt x="6094" y="542"/>
                    <a:pt x="6094" y="542"/>
                    <a:pt x="6094" y="542"/>
                  </a:cubicBezTo>
                  <a:cubicBezTo>
                    <a:pt x="6115" y="537"/>
                    <a:pt x="6115" y="537"/>
                    <a:pt x="6115" y="537"/>
                  </a:cubicBezTo>
                  <a:cubicBezTo>
                    <a:pt x="6120" y="529"/>
                    <a:pt x="6120" y="529"/>
                    <a:pt x="6120" y="529"/>
                  </a:cubicBezTo>
                  <a:cubicBezTo>
                    <a:pt x="6120" y="529"/>
                    <a:pt x="6100" y="531"/>
                    <a:pt x="6088" y="531"/>
                  </a:cubicBezTo>
                  <a:cubicBezTo>
                    <a:pt x="6076" y="531"/>
                    <a:pt x="6068" y="524"/>
                    <a:pt x="6053" y="522"/>
                  </a:cubicBezTo>
                  <a:cubicBezTo>
                    <a:pt x="6038" y="520"/>
                    <a:pt x="6010" y="520"/>
                    <a:pt x="5996" y="524"/>
                  </a:cubicBezTo>
                  <a:cubicBezTo>
                    <a:pt x="5982" y="528"/>
                    <a:pt x="5962" y="528"/>
                    <a:pt x="5962" y="528"/>
                  </a:cubicBezTo>
                  <a:cubicBezTo>
                    <a:pt x="5952" y="537"/>
                    <a:pt x="5952" y="537"/>
                    <a:pt x="5952" y="537"/>
                  </a:cubicBezTo>
                  <a:cubicBezTo>
                    <a:pt x="5952" y="537"/>
                    <a:pt x="5907" y="541"/>
                    <a:pt x="5914" y="535"/>
                  </a:cubicBezTo>
                  <a:cubicBezTo>
                    <a:pt x="5921" y="529"/>
                    <a:pt x="5981" y="520"/>
                    <a:pt x="5981" y="520"/>
                  </a:cubicBezTo>
                  <a:cubicBezTo>
                    <a:pt x="5981" y="520"/>
                    <a:pt x="6041" y="508"/>
                    <a:pt x="6026" y="499"/>
                  </a:cubicBezTo>
                  <a:cubicBezTo>
                    <a:pt x="6011" y="490"/>
                    <a:pt x="6003" y="490"/>
                    <a:pt x="6003" y="490"/>
                  </a:cubicBezTo>
                  <a:cubicBezTo>
                    <a:pt x="6003" y="490"/>
                    <a:pt x="5948" y="508"/>
                    <a:pt x="5942" y="511"/>
                  </a:cubicBezTo>
                  <a:cubicBezTo>
                    <a:pt x="5936" y="514"/>
                    <a:pt x="5910" y="512"/>
                    <a:pt x="5910" y="512"/>
                  </a:cubicBezTo>
                  <a:cubicBezTo>
                    <a:pt x="5934" y="500"/>
                    <a:pt x="5934" y="500"/>
                    <a:pt x="5934" y="500"/>
                  </a:cubicBezTo>
                  <a:cubicBezTo>
                    <a:pt x="5948" y="489"/>
                    <a:pt x="5948" y="489"/>
                    <a:pt x="5948" y="489"/>
                  </a:cubicBezTo>
                  <a:cubicBezTo>
                    <a:pt x="5948" y="489"/>
                    <a:pt x="5972" y="493"/>
                    <a:pt x="5979" y="491"/>
                  </a:cubicBezTo>
                  <a:cubicBezTo>
                    <a:pt x="5986" y="489"/>
                    <a:pt x="6004" y="485"/>
                    <a:pt x="6012" y="485"/>
                  </a:cubicBezTo>
                  <a:cubicBezTo>
                    <a:pt x="6020" y="485"/>
                    <a:pt x="6042" y="483"/>
                    <a:pt x="6030" y="477"/>
                  </a:cubicBezTo>
                  <a:cubicBezTo>
                    <a:pt x="6018" y="471"/>
                    <a:pt x="5980" y="470"/>
                    <a:pt x="5980" y="470"/>
                  </a:cubicBezTo>
                  <a:cubicBezTo>
                    <a:pt x="5948" y="472"/>
                    <a:pt x="5948" y="472"/>
                    <a:pt x="5948" y="472"/>
                  </a:cubicBezTo>
                  <a:cubicBezTo>
                    <a:pt x="5964" y="465"/>
                    <a:pt x="5964" y="465"/>
                    <a:pt x="5964" y="465"/>
                  </a:cubicBezTo>
                  <a:cubicBezTo>
                    <a:pt x="5948" y="455"/>
                    <a:pt x="5948" y="455"/>
                    <a:pt x="5948" y="455"/>
                  </a:cubicBezTo>
                  <a:cubicBezTo>
                    <a:pt x="5948" y="455"/>
                    <a:pt x="5946" y="446"/>
                    <a:pt x="5950" y="446"/>
                  </a:cubicBezTo>
                  <a:cubicBezTo>
                    <a:pt x="5954" y="446"/>
                    <a:pt x="5974" y="463"/>
                    <a:pt x="5987" y="464"/>
                  </a:cubicBezTo>
                  <a:cubicBezTo>
                    <a:pt x="6000" y="465"/>
                    <a:pt x="6041" y="477"/>
                    <a:pt x="6041" y="477"/>
                  </a:cubicBezTo>
                  <a:cubicBezTo>
                    <a:pt x="6041" y="477"/>
                    <a:pt x="6059" y="469"/>
                    <a:pt x="6060" y="478"/>
                  </a:cubicBezTo>
                  <a:cubicBezTo>
                    <a:pt x="6061" y="487"/>
                    <a:pt x="6049" y="501"/>
                    <a:pt x="6070" y="507"/>
                  </a:cubicBezTo>
                  <a:cubicBezTo>
                    <a:pt x="6091" y="513"/>
                    <a:pt x="6114" y="514"/>
                    <a:pt x="6114" y="514"/>
                  </a:cubicBezTo>
                  <a:cubicBezTo>
                    <a:pt x="6114" y="514"/>
                    <a:pt x="6116" y="499"/>
                    <a:pt x="6120" y="502"/>
                  </a:cubicBezTo>
                  <a:cubicBezTo>
                    <a:pt x="6124" y="505"/>
                    <a:pt x="6120" y="520"/>
                    <a:pt x="6129" y="520"/>
                  </a:cubicBezTo>
                  <a:cubicBezTo>
                    <a:pt x="6138" y="520"/>
                    <a:pt x="6150" y="510"/>
                    <a:pt x="6150" y="510"/>
                  </a:cubicBezTo>
                  <a:cubicBezTo>
                    <a:pt x="6150" y="494"/>
                    <a:pt x="6150" y="494"/>
                    <a:pt x="6150" y="494"/>
                  </a:cubicBezTo>
                  <a:cubicBezTo>
                    <a:pt x="6144" y="492"/>
                    <a:pt x="6144" y="492"/>
                    <a:pt x="6144" y="492"/>
                  </a:cubicBezTo>
                  <a:cubicBezTo>
                    <a:pt x="6144" y="492"/>
                    <a:pt x="6158" y="481"/>
                    <a:pt x="6152" y="476"/>
                  </a:cubicBezTo>
                  <a:cubicBezTo>
                    <a:pt x="6146" y="471"/>
                    <a:pt x="6135" y="477"/>
                    <a:pt x="6135" y="477"/>
                  </a:cubicBezTo>
                  <a:cubicBezTo>
                    <a:pt x="6129" y="462"/>
                    <a:pt x="6129" y="462"/>
                    <a:pt x="6129" y="462"/>
                  </a:cubicBezTo>
                  <a:cubicBezTo>
                    <a:pt x="6118" y="459"/>
                    <a:pt x="6118" y="459"/>
                    <a:pt x="6118" y="459"/>
                  </a:cubicBezTo>
                  <a:cubicBezTo>
                    <a:pt x="6121" y="449"/>
                    <a:pt x="6121" y="449"/>
                    <a:pt x="6121" y="449"/>
                  </a:cubicBezTo>
                  <a:cubicBezTo>
                    <a:pt x="6073" y="430"/>
                    <a:pt x="6073" y="430"/>
                    <a:pt x="6073" y="430"/>
                  </a:cubicBezTo>
                  <a:cubicBezTo>
                    <a:pt x="6046" y="437"/>
                    <a:pt x="6046" y="437"/>
                    <a:pt x="6046" y="437"/>
                  </a:cubicBezTo>
                  <a:cubicBezTo>
                    <a:pt x="6040" y="434"/>
                    <a:pt x="6040" y="434"/>
                    <a:pt x="6040" y="434"/>
                  </a:cubicBezTo>
                  <a:cubicBezTo>
                    <a:pt x="6062" y="427"/>
                    <a:pt x="6062" y="427"/>
                    <a:pt x="6062" y="427"/>
                  </a:cubicBezTo>
                  <a:cubicBezTo>
                    <a:pt x="6064" y="424"/>
                    <a:pt x="6064" y="424"/>
                    <a:pt x="6064" y="424"/>
                  </a:cubicBezTo>
                  <a:cubicBezTo>
                    <a:pt x="6064" y="424"/>
                    <a:pt x="6063" y="415"/>
                    <a:pt x="6046" y="415"/>
                  </a:cubicBezTo>
                  <a:cubicBezTo>
                    <a:pt x="6029" y="415"/>
                    <a:pt x="5996" y="412"/>
                    <a:pt x="5996" y="412"/>
                  </a:cubicBezTo>
                  <a:cubicBezTo>
                    <a:pt x="6007" y="398"/>
                    <a:pt x="6007" y="398"/>
                    <a:pt x="6007" y="398"/>
                  </a:cubicBezTo>
                  <a:cubicBezTo>
                    <a:pt x="6007" y="398"/>
                    <a:pt x="6020" y="396"/>
                    <a:pt x="6030" y="400"/>
                  </a:cubicBezTo>
                  <a:cubicBezTo>
                    <a:pt x="6040" y="404"/>
                    <a:pt x="6056" y="393"/>
                    <a:pt x="6056" y="393"/>
                  </a:cubicBezTo>
                  <a:cubicBezTo>
                    <a:pt x="6074" y="390"/>
                    <a:pt x="6074" y="390"/>
                    <a:pt x="6074" y="390"/>
                  </a:cubicBezTo>
                  <a:cubicBezTo>
                    <a:pt x="6106" y="400"/>
                    <a:pt x="6106" y="400"/>
                    <a:pt x="6106" y="400"/>
                  </a:cubicBezTo>
                  <a:cubicBezTo>
                    <a:pt x="6120" y="397"/>
                    <a:pt x="6120" y="397"/>
                    <a:pt x="6120" y="397"/>
                  </a:cubicBezTo>
                  <a:cubicBezTo>
                    <a:pt x="6120" y="397"/>
                    <a:pt x="6146" y="418"/>
                    <a:pt x="6157" y="418"/>
                  </a:cubicBezTo>
                  <a:cubicBezTo>
                    <a:pt x="6168" y="418"/>
                    <a:pt x="6164" y="404"/>
                    <a:pt x="6164" y="404"/>
                  </a:cubicBezTo>
                  <a:cubicBezTo>
                    <a:pt x="6138" y="400"/>
                    <a:pt x="6138" y="400"/>
                    <a:pt x="6138" y="400"/>
                  </a:cubicBezTo>
                  <a:cubicBezTo>
                    <a:pt x="6118" y="390"/>
                    <a:pt x="6118" y="390"/>
                    <a:pt x="6118" y="390"/>
                  </a:cubicBezTo>
                  <a:cubicBezTo>
                    <a:pt x="6087" y="387"/>
                    <a:pt x="6087" y="387"/>
                    <a:pt x="6087" y="387"/>
                  </a:cubicBezTo>
                  <a:cubicBezTo>
                    <a:pt x="6087" y="387"/>
                    <a:pt x="6094" y="378"/>
                    <a:pt x="6101" y="375"/>
                  </a:cubicBezTo>
                  <a:cubicBezTo>
                    <a:pt x="6108" y="372"/>
                    <a:pt x="6125" y="390"/>
                    <a:pt x="6141" y="390"/>
                  </a:cubicBezTo>
                  <a:cubicBezTo>
                    <a:pt x="6157" y="390"/>
                    <a:pt x="6185" y="391"/>
                    <a:pt x="6185" y="391"/>
                  </a:cubicBezTo>
                  <a:cubicBezTo>
                    <a:pt x="6227" y="386"/>
                    <a:pt x="6227" y="386"/>
                    <a:pt x="6227" y="386"/>
                  </a:cubicBezTo>
                  <a:cubicBezTo>
                    <a:pt x="6228" y="368"/>
                    <a:pt x="6228" y="368"/>
                    <a:pt x="6228" y="368"/>
                  </a:cubicBezTo>
                  <a:cubicBezTo>
                    <a:pt x="6199" y="361"/>
                    <a:pt x="6199" y="361"/>
                    <a:pt x="6199" y="361"/>
                  </a:cubicBezTo>
                  <a:cubicBezTo>
                    <a:pt x="6184" y="371"/>
                    <a:pt x="6184" y="371"/>
                    <a:pt x="6184" y="371"/>
                  </a:cubicBezTo>
                  <a:cubicBezTo>
                    <a:pt x="6184" y="371"/>
                    <a:pt x="6170" y="359"/>
                    <a:pt x="6174" y="355"/>
                  </a:cubicBezTo>
                  <a:cubicBezTo>
                    <a:pt x="6178" y="351"/>
                    <a:pt x="6210" y="354"/>
                    <a:pt x="6210" y="354"/>
                  </a:cubicBezTo>
                  <a:cubicBezTo>
                    <a:pt x="6239" y="346"/>
                    <a:pt x="6239" y="346"/>
                    <a:pt x="6239" y="346"/>
                  </a:cubicBezTo>
                  <a:cubicBezTo>
                    <a:pt x="6239" y="346"/>
                    <a:pt x="6256" y="356"/>
                    <a:pt x="6269" y="352"/>
                  </a:cubicBezTo>
                  <a:cubicBezTo>
                    <a:pt x="6282" y="348"/>
                    <a:pt x="6295" y="339"/>
                    <a:pt x="6290" y="337"/>
                  </a:cubicBezTo>
                  <a:cubicBezTo>
                    <a:pt x="6285" y="335"/>
                    <a:pt x="6243" y="334"/>
                    <a:pt x="6239" y="334"/>
                  </a:cubicBezTo>
                  <a:cubicBezTo>
                    <a:pt x="6235" y="334"/>
                    <a:pt x="6243" y="326"/>
                    <a:pt x="6231" y="323"/>
                  </a:cubicBezTo>
                  <a:cubicBezTo>
                    <a:pt x="6219" y="320"/>
                    <a:pt x="6191" y="321"/>
                    <a:pt x="6191" y="321"/>
                  </a:cubicBezTo>
                  <a:cubicBezTo>
                    <a:pt x="6191" y="321"/>
                    <a:pt x="6225" y="320"/>
                    <a:pt x="6228" y="314"/>
                  </a:cubicBezTo>
                  <a:cubicBezTo>
                    <a:pt x="6231" y="308"/>
                    <a:pt x="6192" y="301"/>
                    <a:pt x="6192" y="301"/>
                  </a:cubicBezTo>
                  <a:cubicBezTo>
                    <a:pt x="6192" y="301"/>
                    <a:pt x="6214" y="296"/>
                    <a:pt x="6221" y="299"/>
                  </a:cubicBezTo>
                  <a:cubicBezTo>
                    <a:pt x="6228" y="302"/>
                    <a:pt x="6252" y="310"/>
                    <a:pt x="6258" y="308"/>
                  </a:cubicBezTo>
                  <a:cubicBezTo>
                    <a:pt x="6264" y="306"/>
                    <a:pt x="6266" y="320"/>
                    <a:pt x="6276" y="316"/>
                  </a:cubicBezTo>
                  <a:cubicBezTo>
                    <a:pt x="6286" y="312"/>
                    <a:pt x="6294" y="294"/>
                    <a:pt x="6287" y="289"/>
                  </a:cubicBezTo>
                  <a:cubicBezTo>
                    <a:pt x="6280" y="284"/>
                    <a:pt x="6263" y="272"/>
                    <a:pt x="6263" y="272"/>
                  </a:cubicBezTo>
                  <a:cubicBezTo>
                    <a:pt x="6224" y="264"/>
                    <a:pt x="6224" y="264"/>
                    <a:pt x="6224" y="264"/>
                  </a:cubicBezTo>
                  <a:cubicBezTo>
                    <a:pt x="6224" y="264"/>
                    <a:pt x="6206" y="256"/>
                    <a:pt x="6213" y="250"/>
                  </a:cubicBezTo>
                  <a:cubicBezTo>
                    <a:pt x="6220" y="244"/>
                    <a:pt x="6242" y="249"/>
                    <a:pt x="6242" y="249"/>
                  </a:cubicBezTo>
                  <a:cubicBezTo>
                    <a:pt x="6273" y="242"/>
                    <a:pt x="6273" y="242"/>
                    <a:pt x="6273" y="242"/>
                  </a:cubicBezTo>
                  <a:cubicBezTo>
                    <a:pt x="6273" y="242"/>
                    <a:pt x="6284" y="244"/>
                    <a:pt x="6316" y="246"/>
                  </a:cubicBezTo>
                  <a:cubicBezTo>
                    <a:pt x="6348" y="248"/>
                    <a:pt x="6363" y="225"/>
                    <a:pt x="6340" y="223"/>
                  </a:cubicBezTo>
                  <a:cubicBezTo>
                    <a:pt x="6317" y="221"/>
                    <a:pt x="6283" y="221"/>
                    <a:pt x="6283" y="221"/>
                  </a:cubicBezTo>
                  <a:cubicBezTo>
                    <a:pt x="6282" y="211"/>
                    <a:pt x="6282" y="211"/>
                    <a:pt x="6282" y="211"/>
                  </a:cubicBezTo>
                  <a:cubicBezTo>
                    <a:pt x="6302" y="210"/>
                    <a:pt x="6302" y="210"/>
                    <a:pt x="6302" y="210"/>
                  </a:cubicBezTo>
                  <a:cubicBezTo>
                    <a:pt x="6302" y="210"/>
                    <a:pt x="6296" y="195"/>
                    <a:pt x="6280" y="197"/>
                  </a:cubicBezTo>
                  <a:cubicBezTo>
                    <a:pt x="6264" y="199"/>
                    <a:pt x="6276" y="215"/>
                    <a:pt x="6267" y="216"/>
                  </a:cubicBezTo>
                  <a:cubicBezTo>
                    <a:pt x="6258" y="217"/>
                    <a:pt x="6233" y="204"/>
                    <a:pt x="6242" y="201"/>
                  </a:cubicBezTo>
                  <a:cubicBezTo>
                    <a:pt x="6251" y="198"/>
                    <a:pt x="6275" y="193"/>
                    <a:pt x="6278" y="185"/>
                  </a:cubicBezTo>
                  <a:cubicBezTo>
                    <a:pt x="6281" y="177"/>
                    <a:pt x="6291" y="165"/>
                    <a:pt x="6294" y="164"/>
                  </a:cubicBezTo>
                  <a:cubicBezTo>
                    <a:pt x="6297" y="163"/>
                    <a:pt x="6311" y="170"/>
                    <a:pt x="6320" y="165"/>
                  </a:cubicBezTo>
                  <a:cubicBezTo>
                    <a:pt x="6329" y="160"/>
                    <a:pt x="6342" y="151"/>
                    <a:pt x="6342" y="151"/>
                  </a:cubicBezTo>
                  <a:cubicBezTo>
                    <a:pt x="6332" y="141"/>
                    <a:pt x="6332" y="141"/>
                    <a:pt x="6332" y="141"/>
                  </a:cubicBezTo>
                  <a:cubicBezTo>
                    <a:pt x="6332" y="141"/>
                    <a:pt x="6358" y="128"/>
                    <a:pt x="6364" y="128"/>
                  </a:cubicBezTo>
                  <a:cubicBezTo>
                    <a:pt x="6370" y="128"/>
                    <a:pt x="6380" y="138"/>
                    <a:pt x="6388" y="132"/>
                  </a:cubicBezTo>
                  <a:cubicBezTo>
                    <a:pt x="6396" y="126"/>
                    <a:pt x="6416" y="122"/>
                    <a:pt x="6404" y="119"/>
                  </a:cubicBezTo>
                  <a:cubicBezTo>
                    <a:pt x="6392" y="116"/>
                    <a:pt x="6363" y="119"/>
                    <a:pt x="6363" y="119"/>
                  </a:cubicBezTo>
                  <a:cubicBezTo>
                    <a:pt x="6363" y="119"/>
                    <a:pt x="6308" y="134"/>
                    <a:pt x="6319" y="123"/>
                  </a:cubicBezTo>
                  <a:cubicBezTo>
                    <a:pt x="6330" y="112"/>
                    <a:pt x="6352" y="111"/>
                    <a:pt x="6352" y="111"/>
                  </a:cubicBezTo>
                  <a:cubicBezTo>
                    <a:pt x="6352" y="111"/>
                    <a:pt x="6393" y="113"/>
                    <a:pt x="6414" y="112"/>
                  </a:cubicBezTo>
                  <a:cubicBezTo>
                    <a:pt x="6435" y="111"/>
                    <a:pt x="6451" y="104"/>
                    <a:pt x="6451" y="104"/>
                  </a:cubicBezTo>
                  <a:cubicBezTo>
                    <a:pt x="6451" y="104"/>
                    <a:pt x="6416" y="95"/>
                    <a:pt x="6410" y="98"/>
                  </a:cubicBezTo>
                  <a:cubicBezTo>
                    <a:pt x="6404" y="101"/>
                    <a:pt x="6365" y="102"/>
                    <a:pt x="6365" y="102"/>
                  </a:cubicBezTo>
                  <a:cubicBezTo>
                    <a:pt x="6365" y="102"/>
                    <a:pt x="6318" y="105"/>
                    <a:pt x="6335" y="100"/>
                  </a:cubicBezTo>
                  <a:cubicBezTo>
                    <a:pt x="6352" y="95"/>
                    <a:pt x="6403" y="94"/>
                    <a:pt x="6403" y="94"/>
                  </a:cubicBezTo>
                  <a:cubicBezTo>
                    <a:pt x="6403" y="94"/>
                    <a:pt x="6469" y="95"/>
                    <a:pt x="6480" y="92"/>
                  </a:cubicBezTo>
                  <a:cubicBezTo>
                    <a:pt x="6491" y="89"/>
                    <a:pt x="6500" y="79"/>
                    <a:pt x="6500" y="79"/>
                  </a:cubicBezTo>
                  <a:cubicBezTo>
                    <a:pt x="6500" y="79"/>
                    <a:pt x="6527" y="80"/>
                    <a:pt x="6544" y="78"/>
                  </a:cubicBezTo>
                  <a:cubicBezTo>
                    <a:pt x="6561" y="76"/>
                    <a:pt x="6584" y="67"/>
                    <a:pt x="6584" y="67"/>
                  </a:cubicBezTo>
                  <a:cubicBezTo>
                    <a:pt x="6584" y="67"/>
                    <a:pt x="6558" y="57"/>
                    <a:pt x="6538" y="57"/>
                  </a:cubicBezTo>
                  <a:cubicBezTo>
                    <a:pt x="6518" y="57"/>
                    <a:pt x="6450" y="51"/>
                    <a:pt x="6445" y="57"/>
                  </a:cubicBezTo>
                  <a:cubicBezTo>
                    <a:pt x="6440" y="63"/>
                    <a:pt x="6415" y="69"/>
                    <a:pt x="6404" y="69"/>
                  </a:cubicBezTo>
                  <a:cubicBezTo>
                    <a:pt x="6393" y="69"/>
                    <a:pt x="6348" y="60"/>
                    <a:pt x="6340" y="64"/>
                  </a:cubicBezTo>
                  <a:cubicBezTo>
                    <a:pt x="6332" y="68"/>
                    <a:pt x="6280" y="83"/>
                    <a:pt x="6274" y="86"/>
                  </a:cubicBezTo>
                  <a:cubicBezTo>
                    <a:pt x="6268" y="89"/>
                    <a:pt x="6216" y="101"/>
                    <a:pt x="6225" y="94"/>
                  </a:cubicBezTo>
                  <a:cubicBezTo>
                    <a:pt x="6234" y="87"/>
                    <a:pt x="6308" y="71"/>
                    <a:pt x="6303" y="61"/>
                  </a:cubicBezTo>
                  <a:cubicBezTo>
                    <a:pt x="6298" y="51"/>
                    <a:pt x="6269" y="48"/>
                    <a:pt x="6258" y="52"/>
                  </a:cubicBezTo>
                  <a:cubicBezTo>
                    <a:pt x="6247" y="56"/>
                    <a:pt x="6229" y="63"/>
                    <a:pt x="6229" y="63"/>
                  </a:cubicBezTo>
                  <a:cubicBezTo>
                    <a:pt x="6150" y="73"/>
                    <a:pt x="6150" y="73"/>
                    <a:pt x="6150" y="73"/>
                  </a:cubicBezTo>
                  <a:cubicBezTo>
                    <a:pt x="6150" y="73"/>
                    <a:pt x="6224" y="55"/>
                    <a:pt x="6206" y="54"/>
                  </a:cubicBezTo>
                  <a:cubicBezTo>
                    <a:pt x="6188" y="53"/>
                    <a:pt x="6120" y="52"/>
                    <a:pt x="6120" y="52"/>
                  </a:cubicBezTo>
                  <a:cubicBezTo>
                    <a:pt x="6096" y="57"/>
                    <a:pt x="6096" y="57"/>
                    <a:pt x="6096" y="57"/>
                  </a:cubicBezTo>
                  <a:cubicBezTo>
                    <a:pt x="6051" y="53"/>
                    <a:pt x="6051" y="53"/>
                    <a:pt x="6051" y="53"/>
                  </a:cubicBezTo>
                  <a:cubicBezTo>
                    <a:pt x="6051" y="53"/>
                    <a:pt x="6000" y="68"/>
                    <a:pt x="6002" y="61"/>
                  </a:cubicBezTo>
                  <a:cubicBezTo>
                    <a:pt x="6004" y="54"/>
                    <a:pt x="6064" y="47"/>
                    <a:pt x="6085" y="47"/>
                  </a:cubicBezTo>
                  <a:cubicBezTo>
                    <a:pt x="6106" y="47"/>
                    <a:pt x="6241" y="45"/>
                    <a:pt x="6250" y="45"/>
                  </a:cubicBezTo>
                  <a:cubicBezTo>
                    <a:pt x="6259" y="45"/>
                    <a:pt x="6338" y="43"/>
                    <a:pt x="6329" y="35"/>
                  </a:cubicBezTo>
                  <a:cubicBezTo>
                    <a:pt x="6320" y="27"/>
                    <a:pt x="6270" y="24"/>
                    <a:pt x="6251" y="27"/>
                  </a:cubicBezTo>
                  <a:cubicBezTo>
                    <a:pt x="6232" y="30"/>
                    <a:pt x="6219" y="29"/>
                    <a:pt x="6219" y="29"/>
                  </a:cubicBezTo>
                  <a:cubicBezTo>
                    <a:pt x="6219" y="29"/>
                    <a:pt x="6244" y="18"/>
                    <a:pt x="6228" y="17"/>
                  </a:cubicBezTo>
                  <a:cubicBezTo>
                    <a:pt x="6212" y="16"/>
                    <a:pt x="6185" y="19"/>
                    <a:pt x="6185" y="19"/>
                  </a:cubicBezTo>
                  <a:cubicBezTo>
                    <a:pt x="6185" y="19"/>
                    <a:pt x="6155" y="18"/>
                    <a:pt x="6148" y="16"/>
                  </a:cubicBezTo>
                  <a:cubicBezTo>
                    <a:pt x="6141" y="14"/>
                    <a:pt x="6176" y="17"/>
                    <a:pt x="6183" y="10"/>
                  </a:cubicBezTo>
                  <a:cubicBezTo>
                    <a:pt x="6190" y="3"/>
                    <a:pt x="6147" y="5"/>
                    <a:pt x="6125" y="5"/>
                  </a:cubicBezTo>
                  <a:cubicBezTo>
                    <a:pt x="6103" y="5"/>
                    <a:pt x="6048" y="8"/>
                    <a:pt x="6048" y="8"/>
                  </a:cubicBezTo>
                  <a:cubicBezTo>
                    <a:pt x="6048" y="8"/>
                    <a:pt x="6008" y="4"/>
                    <a:pt x="5985" y="2"/>
                  </a:cubicBezTo>
                  <a:cubicBezTo>
                    <a:pt x="5962" y="0"/>
                    <a:pt x="5939" y="5"/>
                    <a:pt x="5930" y="6"/>
                  </a:cubicBezTo>
                  <a:cubicBezTo>
                    <a:pt x="5921" y="7"/>
                    <a:pt x="5903" y="7"/>
                    <a:pt x="5881" y="6"/>
                  </a:cubicBezTo>
                  <a:cubicBezTo>
                    <a:pt x="5859" y="5"/>
                    <a:pt x="5837" y="5"/>
                    <a:pt x="5839" y="10"/>
                  </a:cubicBezTo>
                  <a:cubicBezTo>
                    <a:pt x="5841" y="15"/>
                    <a:pt x="5870" y="16"/>
                    <a:pt x="5870" y="16"/>
                  </a:cubicBezTo>
                  <a:cubicBezTo>
                    <a:pt x="5870" y="16"/>
                    <a:pt x="5835" y="21"/>
                    <a:pt x="5822" y="20"/>
                  </a:cubicBezTo>
                  <a:cubicBezTo>
                    <a:pt x="5809" y="19"/>
                    <a:pt x="5754" y="13"/>
                    <a:pt x="5740" y="11"/>
                  </a:cubicBezTo>
                  <a:cubicBezTo>
                    <a:pt x="5726" y="9"/>
                    <a:pt x="5688" y="13"/>
                    <a:pt x="5683" y="13"/>
                  </a:cubicBezTo>
                  <a:cubicBezTo>
                    <a:pt x="5678" y="13"/>
                    <a:pt x="5628" y="19"/>
                    <a:pt x="5649" y="24"/>
                  </a:cubicBezTo>
                  <a:cubicBezTo>
                    <a:pt x="5670" y="29"/>
                    <a:pt x="5739" y="31"/>
                    <a:pt x="5739" y="31"/>
                  </a:cubicBezTo>
                  <a:cubicBezTo>
                    <a:pt x="5796" y="38"/>
                    <a:pt x="5796" y="38"/>
                    <a:pt x="5796" y="38"/>
                  </a:cubicBezTo>
                  <a:cubicBezTo>
                    <a:pt x="5796" y="38"/>
                    <a:pt x="5741" y="40"/>
                    <a:pt x="5733" y="40"/>
                  </a:cubicBezTo>
                  <a:cubicBezTo>
                    <a:pt x="5725" y="40"/>
                    <a:pt x="5677" y="27"/>
                    <a:pt x="5678" y="31"/>
                  </a:cubicBezTo>
                  <a:cubicBezTo>
                    <a:pt x="5679" y="35"/>
                    <a:pt x="5699" y="38"/>
                    <a:pt x="5699" y="38"/>
                  </a:cubicBezTo>
                  <a:cubicBezTo>
                    <a:pt x="5668" y="41"/>
                    <a:pt x="5668" y="41"/>
                    <a:pt x="5668" y="41"/>
                  </a:cubicBezTo>
                  <a:cubicBezTo>
                    <a:pt x="5668" y="41"/>
                    <a:pt x="5651" y="55"/>
                    <a:pt x="5655" y="59"/>
                  </a:cubicBezTo>
                  <a:cubicBezTo>
                    <a:pt x="5659" y="63"/>
                    <a:pt x="5631" y="64"/>
                    <a:pt x="5618" y="56"/>
                  </a:cubicBezTo>
                  <a:cubicBezTo>
                    <a:pt x="5605" y="48"/>
                    <a:pt x="5578" y="42"/>
                    <a:pt x="5552" y="40"/>
                  </a:cubicBezTo>
                  <a:cubicBezTo>
                    <a:pt x="5526" y="38"/>
                    <a:pt x="5497" y="38"/>
                    <a:pt x="5497" y="38"/>
                  </a:cubicBezTo>
                  <a:cubicBezTo>
                    <a:pt x="5499" y="58"/>
                    <a:pt x="5499" y="58"/>
                    <a:pt x="5499" y="58"/>
                  </a:cubicBezTo>
                  <a:cubicBezTo>
                    <a:pt x="5499" y="58"/>
                    <a:pt x="5479" y="61"/>
                    <a:pt x="5466" y="59"/>
                  </a:cubicBezTo>
                  <a:cubicBezTo>
                    <a:pt x="5453" y="57"/>
                    <a:pt x="5429" y="49"/>
                    <a:pt x="5421" y="51"/>
                  </a:cubicBezTo>
                  <a:cubicBezTo>
                    <a:pt x="5413" y="53"/>
                    <a:pt x="5395" y="62"/>
                    <a:pt x="5395" y="62"/>
                  </a:cubicBezTo>
                  <a:cubicBezTo>
                    <a:pt x="5395" y="62"/>
                    <a:pt x="5406" y="44"/>
                    <a:pt x="5393" y="44"/>
                  </a:cubicBezTo>
                  <a:cubicBezTo>
                    <a:pt x="5380" y="44"/>
                    <a:pt x="5309" y="45"/>
                    <a:pt x="5290" y="48"/>
                  </a:cubicBezTo>
                  <a:cubicBezTo>
                    <a:pt x="5271" y="51"/>
                    <a:pt x="5238" y="44"/>
                    <a:pt x="5243" y="49"/>
                  </a:cubicBezTo>
                  <a:cubicBezTo>
                    <a:pt x="5248" y="54"/>
                    <a:pt x="5283" y="71"/>
                    <a:pt x="5283" y="71"/>
                  </a:cubicBezTo>
                  <a:cubicBezTo>
                    <a:pt x="5283" y="71"/>
                    <a:pt x="5229" y="54"/>
                    <a:pt x="5220" y="54"/>
                  </a:cubicBezTo>
                  <a:cubicBezTo>
                    <a:pt x="5211" y="54"/>
                    <a:pt x="5184" y="49"/>
                    <a:pt x="5180" y="59"/>
                  </a:cubicBezTo>
                  <a:cubicBezTo>
                    <a:pt x="5176" y="69"/>
                    <a:pt x="5158" y="80"/>
                    <a:pt x="5145" y="80"/>
                  </a:cubicBezTo>
                  <a:cubicBezTo>
                    <a:pt x="5132" y="80"/>
                    <a:pt x="5095" y="80"/>
                    <a:pt x="5095" y="80"/>
                  </a:cubicBezTo>
                  <a:cubicBezTo>
                    <a:pt x="5095" y="80"/>
                    <a:pt x="5021" y="94"/>
                    <a:pt x="5017" y="95"/>
                  </a:cubicBezTo>
                  <a:cubicBezTo>
                    <a:pt x="5013" y="96"/>
                    <a:pt x="4941" y="106"/>
                    <a:pt x="4952" y="113"/>
                  </a:cubicBezTo>
                  <a:cubicBezTo>
                    <a:pt x="4963" y="120"/>
                    <a:pt x="5003" y="122"/>
                    <a:pt x="5008" y="121"/>
                  </a:cubicBezTo>
                  <a:cubicBezTo>
                    <a:pt x="5013" y="120"/>
                    <a:pt x="5028" y="118"/>
                    <a:pt x="5028" y="118"/>
                  </a:cubicBezTo>
                  <a:cubicBezTo>
                    <a:pt x="5004" y="128"/>
                    <a:pt x="5004" y="128"/>
                    <a:pt x="5004" y="128"/>
                  </a:cubicBezTo>
                  <a:cubicBezTo>
                    <a:pt x="4993" y="139"/>
                    <a:pt x="4993" y="139"/>
                    <a:pt x="4993" y="139"/>
                  </a:cubicBezTo>
                  <a:cubicBezTo>
                    <a:pt x="4993" y="139"/>
                    <a:pt x="4946" y="157"/>
                    <a:pt x="4929" y="157"/>
                  </a:cubicBezTo>
                  <a:cubicBezTo>
                    <a:pt x="4912" y="157"/>
                    <a:pt x="4844" y="157"/>
                    <a:pt x="4830" y="169"/>
                  </a:cubicBezTo>
                  <a:cubicBezTo>
                    <a:pt x="4816" y="181"/>
                    <a:pt x="4805" y="167"/>
                    <a:pt x="4805" y="167"/>
                  </a:cubicBezTo>
                  <a:cubicBezTo>
                    <a:pt x="4783" y="176"/>
                    <a:pt x="4783" y="176"/>
                    <a:pt x="4783" y="176"/>
                  </a:cubicBezTo>
                  <a:cubicBezTo>
                    <a:pt x="4750" y="175"/>
                    <a:pt x="4750" y="175"/>
                    <a:pt x="4750" y="175"/>
                  </a:cubicBezTo>
                  <a:cubicBezTo>
                    <a:pt x="4750" y="175"/>
                    <a:pt x="4693" y="181"/>
                    <a:pt x="4707" y="191"/>
                  </a:cubicBezTo>
                  <a:cubicBezTo>
                    <a:pt x="4721" y="201"/>
                    <a:pt x="4744" y="212"/>
                    <a:pt x="4744" y="212"/>
                  </a:cubicBezTo>
                  <a:cubicBezTo>
                    <a:pt x="4764" y="204"/>
                    <a:pt x="4764" y="204"/>
                    <a:pt x="4764" y="204"/>
                  </a:cubicBezTo>
                  <a:cubicBezTo>
                    <a:pt x="4764" y="204"/>
                    <a:pt x="4766" y="216"/>
                    <a:pt x="4776" y="219"/>
                  </a:cubicBezTo>
                  <a:cubicBezTo>
                    <a:pt x="4786" y="222"/>
                    <a:pt x="4809" y="209"/>
                    <a:pt x="4809" y="209"/>
                  </a:cubicBezTo>
                  <a:cubicBezTo>
                    <a:pt x="4809" y="209"/>
                    <a:pt x="4805" y="220"/>
                    <a:pt x="4815" y="220"/>
                  </a:cubicBezTo>
                  <a:cubicBezTo>
                    <a:pt x="4825" y="220"/>
                    <a:pt x="4862" y="204"/>
                    <a:pt x="4869" y="209"/>
                  </a:cubicBezTo>
                  <a:cubicBezTo>
                    <a:pt x="4876" y="214"/>
                    <a:pt x="4874" y="220"/>
                    <a:pt x="4874" y="220"/>
                  </a:cubicBezTo>
                  <a:cubicBezTo>
                    <a:pt x="4863" y="221"/>
                    <a:pt x="4863" y="221"/>
                    <a:pt x="4863" y="221"/>
                  </a:cubicBezTo>
                  <a:cubicBezTo>
                    <a:pt x="4863" y="221"/>
                    <a:pt x="4855" y="232"/>
                    <a:pt x="4848" y="232"/>
                  </a:cubicBezTo>
                  <a:cubicBezTo>
                    <a:pt x="4841" y="232"/>
                    <a:pt x="4845" y="226"/>
                    <a:pt x="4834" y="226"/>
                  </a:cubicBezTo>
                  <a:cubicBezTo>
                    <a:pt x="4823" y="226"/>
                    <a:pt x="4789" y="231"/>
                    <a:pt x="4789" y="231"/>
                  </a:cubicBezTo>
                  <a:cubicBezTo>
                    <a:pt x="4762" y="228"/>
                    <a:pt x="4762" y="228"/>
                    <a:pt x="4762" y="228"/>
                  </a:cubicBezTo>
                  <a:cubicBezTo>
                    <a:pt x="4762" y="228"/>
                    <a:pt x="4724" y="208"/>
                    <a:pt x="4713" y="227"/>
                  </a:cubicBezTo>
                  <a:cubicBezTo>
                    <a:pt x="4702" y="246"/>
                    <a:pt x="4729" y="252"/>
                    <a:pt x="4737" y="251"/>
                  </a:cubicBezTo>
                  <a:cubicBezTo>
                    <a:pt x="4745" y="250"/>
                    <a:pt x="4772" y="251"/>
                    <a:pt x="4772" y="251"/>
                  </a:cubicBezTo>
                  <a:cubicBezTo>
                    <a:pt x="4772" y="251"/>
                    <a:pt x="4729" y="254"/>
                    <a:pt x="4734" y="261"/>
                  </a:cubicBezTo>
                  <a:cubicBezTo>
                    <a:pt x="4739" y="268"/>
                    <a:pt x="4767" y="274"/>
                    <a:pt x="4767" y="274"/>
                  </a:cubicBezTo>
                  <a:cubicBezTo>
                    <a:pt x="4791" y="277"/>
                    <a:pt x="4791" y="277"/>
                    <a:pt x="4791" y="277"/>
                  </a:cubicBezTo>
                  <a:cubicBezTo>
                    <a:pt x="4791" y="277"/>
                    <a:pt x="4792" y="267"/>
                    <a:pt x="4799" y="266"/>
                  </a:cubicBezTo>
                  <a:cubicBezTo>
                    <a:pt x="4806" y="265"/>
                    <a:pt x="4814" y="276"/>
                    <a:pt x="4814" y="276"/>
                  </a:cubicBezTo>
                  <a:cubicBezTo>
                    <a:pt x="4837" y="267"/>
                    <a:pt x="4837" y="267"/>
                    <a:pt x="4837" y="267"/>
                  </a:cubicBezTo>
                  <a:cubicBezTo>
                    <a:pt x="4837" y="267"/>
                    <a:pt x="4841" y="277"/>
                    <a:pt x="4844" y="277"/>
                  </a:cubicBezTo>
                  <a:cubicBezTo>
                    <a:pt x="4847" y="277"/>
                    <a:pt x="4877" y="263"/>
                    <a:pt x="4886" y="265"/>
                  </a:cubicBezTo>
                  <a:cubicBezTo>
                    <a:pt x="4895" y="267"/>
                    <a:pt x="4902" y="271"/>
                    <a:pt x="4907" y="271"/>
                  </a:cubicBezTo>
                  <a:cubicBezTo>
                    <a:pt x="4912" y="271"/>
                    <a:pt x="4923" y="262"/>
                    <a:pt x="4929" y="262"/>
                  </a:cubicBezTo>
                  <a:cubicBezTo>
                    <a:pt x="4935" y="262"/>
                    <a:pt x="4952" y="273"/>
                    <a:pt x="4952" y="273"/>
                  </a:cubicBezTo>
                  <a:cubicBezTo>
                    <a:pt x="4952" y="273"/>
                    <a:pt x="4984" y="268"/>
                    <a:pt x="5006" y="274"/>
                  </a:cubicBezTo>
                  <a:cubicBezTo>
                    <a:pt x="5028" y="280"/>
                    <a:pt x="5032" y="291"/>
                    <a:pt x="5032" y="291"/>
                  </a:cubicBezTo>
                  <a:cubicBezTo>
                    <a:pt x="5032" y="291"/>
                    <a:pt x="5054" y="286"/>
                    <a:pt x="5054" y="291"/>
                  </a:cubicBezTo>
                  <a:cubicBezTo>
                    <a:pt x="5054" y="296"/>
                    <a:pt x="5044" y="306"/>
                    <a:pt x="5044" y="306"/>
                  </a:cubicBezTo>
                  <a:cubicBezTo>
                    <a:pt x="5050" y="315"/>
                    <a:pt x="5050" y="315"/>
                    <a:pt x="5050" y="315"/>
                  </a:cubicBezTo>
                  <a:cubicBezTo>
                    <a:pt x="5050" y="315"/>
                    <a:pt x="5083" y="321"/>
                    <a:pt x="5083" y="330"/>
                  </a:cubicBezTo>
                  <a:cubicBezTo>
                    <a:pt x="5083" y="339"/>
                    <a:pt x="5067" y="343"/>
                    <a:pt x="5067" y="343"/>
                  </a:cubicBezTo>
                  <a:cubicBezTo>
                    <a:pt x="5076" y="359"/>
                    <a:pt x="5076" y="359"/>
                    <a:pt x="5076" y="359"/>
                  </a:cubicBezTo>
                  <a:cubicBezTo>
                    <a:pt x="5092" y="369"/>
                    <a:pt x="5092" y="369"/>
                    <a:pt x="5092" y="369"/>
                  </a:cubicBezTo>
                  <a:cubicBezTo>
                    <a:pt x="5078" y="374"/>
                    <a:pt x="5078" y="374"/>
                    <a:pt x="5078" y="374"/>
                  </a:cubicBezTo>
                  <a:cubicBezTo>
                    <a:pt x="5088" y="387"/>
                    <a:pt x="5088" y="387"/>
                    <a:pt x="5088" y="387"/>
                  </a:cubicBezTo>
                  <a:cubicBezTo>
                    <a:pt x="5088" y="387"/>
                    <a:pt x="5076" y="386"/>
                    <a:pt x="5076" y="395"/>
                  </a:cubicBezTo>
                  <a:cubicBezTo>
                    <a:pt x="5076" y="404"/>
                    <a:pt x="5098" y="407"/>
                    <a:pt x="5095" y="412"/>
                  </a:cubicBezTo>
                  <a:cubicBezTo>
                    <a:pt x="5092" y="417"/>
                    <a:pt x="5073" y="426"/>
                    <a:pt x="5073" y="426"/>
                  </a:cubicBezTo>
                  <a:cubicBezTo>
                    <a:pt x="5081" y="433"/>
                    <a:pt x="5081" y="433"/>
                    <a:pt x="5081" y="433"/>
                  </a:cubicBezTo>
                  <a:cubicBezTo>
                    <a:pt x="5081" y="433"/>
                    <a:pt x="5040" y="438"/>
                    <a:pt x="5041" y="441"/>
                  </a:cubicBezTo>
                  <a:cubicBezTo>
                    <a:pt x="5042" y="444"/>
                    <a:pt x="5050" y="446"/>
                    <a:pt x="5063" y="445"/>
                  </a:cubicBezTo>
                  <a:cubicBezTo>
                    <a:pt x="5076" y="444"/>
                    <a:pt x="5060" y="455"/>
                    <a:pt x="5060" y="455"/>
                  </a:cubicBezTo>
                  <a:cubicBezTo>
                    <a:pt x="5060" y="455"/>
                    <a:pt x="5009" y="456"/>
                    <a:pt x="5021" y="465"/>
                  </a:cubicBezTo>
                  <a:cubicBezTo>
                    <a:pt x="5033" y="474"/>
                    <a:pt x="5046" y="479"/>
                    <a:pt x="5062" y="478"/>
                  </a:cubicBezTo>
                  <a:cubicBezTo>
                    <a:pt x="5078" y="477"/>
                    <a:pt x="5082" y="467"/>
                    <a:pt x="5082" y="467"/>
                  </a:cubicBezTo>
                  <a:cubicBezTo>
                    <a:pt x="5082" y="467"/>
                    <a:pt x="5109" y="469"/>
                    <a:pt x="5107" y="460"/>
                  </a:cubicBezTo>
                  <a:cubicBezTo>
                    <a:pt x="5105" y="451"/>
                    <a:pt x="5112" y="439"/>
                    <a:pt x="5112" y="439"/>
                  </a:cubicBezTo>
                  <a:cubicBezTo>
                    <a:pt x="5114" y="458"/>
                    <a:pt x="5114" y="458"/>
                    <a:pt x="5114" y="458"/>
                  </a:cubicBezTo>
                  <a:cubicBezTo>
                    <a:pt x="5131" y="447"/>
                    <a:pt x="5131" y="447"/>
                    <a:pt x="5131" y="447"/>
                  </a:cubicBezTo>
                  <a:cubicBezTo>
                    <a:pt x="5131" y="447"/>
                    <a:pt x="5123" y="453"/>
                    <a:pt x="5127" y="458"/>
                  </a:cubicBezTo>
                  <a:cubicBezTo>
                    <a:pt x="5131" y="463"/>
                    <a:pt x="5156" y="465"/>
                    <a:pt x="5156" y="465"/>
                  </a:cubicBezTo>
                  <a:cubicBezTo>
                    <a:pt x="5147" y="471"/>
                    <a:pt x="5147" y="471"/>
                    <a:pt x="5147" y="471"/>
                  </a:cubicBezTo>
                  <a:cubicBezTo>
                    <a:pt x="5147" y="471"/>
                    <a:pt x="5141" y="484"/>
                    <a:pt x="5150" y="487"/>
                  </a:cubicBezTo>
                  <a:cubicBezTo>
                    <a:pt x="5159" y="490"/>
                    <a:pt x="5172" y="504"/>
                    <a:pt x="5166" y="510"/>
                  </a:cubicBezTo>
                  <a:cubicBezTo>
                    <a:pt x="5160" y="516"/>
                    <a:pt x="5149" y="513"/>
                    <a:pt x="5149" y="513"/>
                  </a:cubicBezTo>
                  <a:cubicBezTo>
                    <a:pt x="5149" y="519"/>
                    <a:pt x="5149" y="519"/>
                    <a:pt x="5149" y="519"/>
                  </a:cubicBezTo>
                  <a:cubicBezTo>
                    <a:pt x="5149" y="519"/>
                    <a:pt x="5134" y="518"/>
                    <a:pt x="5125" y="517"/>
                  </a:cubicBezTo>
                  <a:cubicBezTo>
                    <a:pt x="5116" y="516"/>
                    <a:pt x="5108" y="506"/>
                    <a:pt x="5108" y="506"/>
                  </a:cubicBezTo>
                  <a:cubicBezTo>
                    <a:pt x="5068" y="505"/>
                    <a:pt x="5068" y="505"/>
                    <a:pt x="5068" y="505"/>
                  </a:cubicBezTo>
                  <a:cubicBezTo>
                    <a:pt x="5068" y="505"/>
                    <a:pt x="5044" y="483"/>
                    <a:pt x="5038" y="505"/>
                  </a:cubicBezTo>
                  <a:cubicBezTo>
                    <a:pt x="5036" y="514"/>
                    <a:pt x="5048" y="520"/>
                    <a:pt x="5055" y="521"/>
                  </a:cubicBezTo>
                  <a:cubicBezTo>
                    <a:pt x="5062" y="522"/>
                    <a:pt x="5067" y="518"/>
                    <a:pt x="5076" y="522"/>
                  </a:cubicBezTo>
                  <a:cubicBezTo>
                    <a:pt x="5085" y="526"/>
                    <a:pt x="5093" y="540"/>
                    <a:pt x="5108" y="540"/>
                  </a:cubicBezTo>
                  <a:cubicBezTo>
                    <a:pt x="5123" y="540"/>
                    <a:pt x="5134" y="534"/>
                    <a:pt x="5134" y="534"/>
                  </a:cubicBezTo>
                  <a:cubicBezTo>
                    <a:pt x="5149" y="542"/>
                    <a:pt x="5149" y="542"/>
                    <a:pt x="5149" y="542"/>
                  </a:cubicBezTo>
                  <a:cubicBezTo>
                    <a:pt x="5163" y="533"/>
                    <a:pt x="5163" y="533"/>
                    <a:pt x="5163" y="533"/>
                  </a:cubicBezTo>
                  <a:cubicBezTo>
                    <a:pt x="5160" y="547"/>
                    <a:pt x="5160" y="547"/>
                    <a:pt x="5160" y="547"/>
                  </a:cubicBezTo>
                  <a:cubicBezTo>
                    <a:pt x="5160" y="547"/>
                    <a:pt x="5145" y="540"/>
                    <a:pt x="5143" y="547"/>
                  </a:cubicBezTo>
                  <a:cubicBezTo>
                    <a:pt x="5141" y="554"/>
                    <a:pt x="5152" y="561"/>
                    <a:pt x="5152" y="561"/>
                  </a:cubicBezTo>
                  <a:cubicBezTo>
                    <a:pt x="5152" y="561"/>
                    <a:pt x="5125" y="561"/>
                    <a:pt x="5126" y="566"/>
                  </a:cubicBezTo>
                  <a:cubicBezTo>
                    <a:pt x="5127" y="571"/>
                    <a:pt x="5147" y="572"/>
                    <a:pt x="5147" y="572"/>
                  </a:cubicBezTo>
                  <a:cubicBezTo>
                    <a:pt x="5147" y="572"/>
                    <a:pt x="5144" y="581"/>
                    <a:pt x="5139" y="583"/>
                  </a:cubicBezTo>
                  <a:cubicBezTo>
                    <a:pt x="5134" y="585"/>
                    <a:pt x="5118" y="572"/>
                    <a:pt x="5114" y="578"/>
                  </a:cubicBezTo>
                  <a:cubicBezTo>
                    <a:pt x="5110" y="584"/>
                    <a:pt x="5120" y="592"/>
                    <a:pt x="5120" y="592"/>
                  </a:cubicBezTo>
                  <a:cubicBezTo>
                    <a:pt x="5104" y="591"/>
                    <a:pt x="5104" y="591"/>
                    <a:pt x="5104" y="591"/>
                  </a:cubicBezTo>
                  <a:cubicBezTo>
                    <a:pt x="5109" y="605"/>
                    <a:pt x="5109" y="605"/>
                    <a:pt x="5109" y="605"/>
                  </a:cubicBezTo>
                  <a:cubicBezTo>
                    <a:pt x="5109" y="605"/>
                    <a:pt x="5088" y="606"/>
                    <a:pt x="5091" y="616"/>
                  </a:cubicBezTo>
                  <a:cubicBezTo>
                    <a:pt x="5094" y="626"/>
                    <a:pt x="5113" y="628"/>
                    <a:pt x="5113" y="628"/>
                  </a:cubicBezTo>
                  <a:cubicBezTo>
                    <a:pt x="5113" y="628"/>
                    <a:pt x="5115" y="639"/>
                    <a:pt x="5108" y="639"/>
                  </a:cubicBezTo>
                  <a:cubicBezTo>
                    <a:pt x="5101" y="639"/>
                    <a:pt x="5106" y="647"/>
                    <a:pt x="5106" y="647"/>
                  </a:cubicBezTo>
                  <a:cubicBezTo>
                    <a:pt x="5106" y="647"/>
                    <a:pt x="5104" y="649"/>
                    <a:pt x="5101" y="639"/>
                  </a:cubicBezTo>
                  <a:cubicBezTo>
                    <a:pt x="5098" y="629"/>
                    <a:pt x="5087" y="624"/>
                    <a:pt x="5087" y="624"/>
                  </a:cubicBezTo>
                  <a:cubicBezTo>
                    <a:pt x="5087" y="624"/>
                    <a:pt x="5070" y="593"/>
                    <a:pt x="5060" y="595"/>
                  </a:cubicBezTo>
                  <a:cubicBezTo>
                    <a:pt x="5050" y="597"/>
                    <a:pt x="5024" y="609"/>
                    <a:pt x="5038" y="617"/>
                  </a:cubicBezTo>
                  <a:cubicBezTo>
                    <a:pt x="5052" y="625"/>
                    <a:pt x="5074" y="628"/>
                    <a:pt x="5074" y="628"/>
                  </a:cubicBezTo>
                  <a:cubicBezTo>
                    <a:pt x="5074" y="628"/>
                    <a:pt x="5057" y="630"/>
                    <a:pt x="5046" y="630"/>
                  </a:cubicBezTo>
                  <a:cubicBezTo>
                    <a:pt x="5035" y="630"/>
                    <a:pt x="5021" y="625"/>
                    <a:pt x="5013" y="630"/>
                  </a:cubicBezTo>
                  <a:cubicBezTo>
                    <a:pt x="5005" y="635"/>
                    <a:pt x="4982" y="640"/>
                    <a:pt x="4989" y="643"/>
                  </a:cubicBezTo>
                  <a:cubicBezTo>
                    <a:pt x="4996" y="646"/>
                    <a:pt x="5037" y="639"/>
                    <a:pt x="5047" y="640"/>
                  </a:cubicBezTo>
                  <a:cubicBezTo>
                    <a:pt x="5057" y="641"/>
                    <a:pt x="5081" y="643"/>
                    <a:pt x="5081" y="643"/>
                  </a:cubicBezTo>
                  <a:cubicBezTo>
                    <a:pt x="5081" y="643"/>
                    <a:pt x="5061" y="644"/>
                    <a:pt x="5055" y="644"/>
                  </a:cubicBezTo>
                  <a:cubicBezTo>
                    <a:pt x="5049" y="644"/>
                    <a:pt x="4983" y="649"/>
                    <a:pt x="4977" y="654"/>
                  </a:cubicBezTo>
                  <a:cubicBezTo>
                    <a:pt x="4971" y="659"/>
                    <a:pt x="4971" y="663"/>
                    <a:pt x="4987" y="662"/>
                  </a:cubicBezTo>
                  <a:cubicBezTo>
                    <a:pt x="5003" y="661"/>
                    <a:pt x="5041" y="657"/>
                    <a:pt x="5041" y="657"/>
                  </a:cubicBezTo>
                  <a:cubicBezTo>
                    <a:pt x="5041" y="657"/>
                    <a:pt x="5068" y="656"/>
                    <a:pt x="5069" y="659"/>
                  </a:cubicBezTo>
                  <a:cubicBezTo>
                    <a:pt x="5070" y="662"/>
                    <a:pt x="5023" y="664"/>
                    <a:pt x="5023" y="664"/>
                  </a:cubicBezTo>
                  <a:cubicBezTo>
                    <a:pt x="5023" y="664"/>
                    <a:pt x="4968" y="666"/>
                    <a:pt x="4969" y="668"/>
                  </a:cubicBezTo>
                  <a:cubicBezTo>
                    <a:pt x="4970" y="670"/>
                    <a:pt x="4979" y="675"/>
                    <a:pt x="4988" y="675"/>
                  </a:cubicBezTo>
                  <a:cubicBezTo>
                    <a:pt x="4997" y="675"/>
                    <a:pt x="5011" y="682"/>
                    <a:pt x="5011" y="682"/>
                  </a:cubicBezTo>
                  <a:cubicBezTo>
                    <a:pt x="5011" y="682"/>
                    <a:pt x="4987" y="676"/>
                    <a:pt x="4982" y="682"/>
                  </a:cubicBezTo>
                  <a:cubicBezTo>
                    <a:pt x="4977" y="688"/>
                    <a:pt x="4982" y="690"/>
                    <a:pt x="4982" y="690"/>
                  </a:cubicBezTo>
                  <a:cubicBezTo>
                    <a:pt x="4982" y="690"/>
                    <a:pt x="4951" y="699"/>
                    <a:pt x="4955" y="705"/>
                  </a:cubicBezTo>
                  <a:cubicBezTo>
                    <a:pt x="4980" y="706"/>
                    <a:pt x="4980" y="706"/>
                    <a:pt x="4980" y="706"/>
                  </a:cubicBezTo>
                  <a:cubicBezTo>
                    <a:pt x="4957" y="716"/>
                    <a:pt x="4957" y="716"/>
                    <a:pt x="4957" y="716"/>
                  </a:cubicBezTo>
                  <a:cubicBezTo>
                    <a:pt x="4957" y="716"/>
                    <a:pt x="4956" y="729"/>
                    <a:pt x="4966" y="727"/>
                  </a:cubicBezTo>
                  <a:cubicBezTo>
                    <a:pt x="4976" y="725"/>
                    <a:pt x="4999" y="725"/>
                    <a:pt x="4999" y="725"/>
                  </a:cubicBezTo>
                  <a:cubicBezTo>
                    <a:pt x="4999" y="725"/>
                    <a:pt x="4960" y="736"/>
                    <a:pt x="4967" y="744"/>
                  </a:cubicBezTo>
                  <a:cubicBezTo>
                    <a:pt x="4974" y="752"/>
                    <a:pt x="4997" y="740"/>
                    <a:pt x="4997" y="740"/>
                  </a:cubicBezTo>
                  <a:cubicBezTo>
                    <a:pt x="4997" y="740"/>
                    <a:pt x="4980" y="755"/>
                    <a:pt x="4978" y="762"/>
                  </a:cubicBezTo>
                  <a:cubicBezTo>
                    <a:pt x="4976" y="769"/>
                    <a:pt x="4973" y="775"/>
                    <a:pt x="4979" y="775"/>
                  </a:cubicBezTo>
                  <a:cubicBezTo>
                    <a:pt x="4985" y="775"/>
                    <a:pt x="4996" y="767"/>
                    <a:pt x="4996" y="767"/>
                  </a:cubicBezTo>
                  <a:cubicBezTo>
                    <a:pt x="4996" y="767"/>
                    <a:pt x="4991" y="783"/>
                    <a:pt x="4984" y="783"/>
                  </a:cubicBezTo>
                  <a:cubicBezTo>
                    <a:pt x="4977" y="783"/>
                    <a:pt x="4962" y="792"/>
                    <a:pt x="4963" y="802"/>
                  </a:cubicBezTo>
                  <a:cubicBezTo>
                    <a:pt x="4964" y="812"/>
                    <a:pt x="4987" y="793"/>
                    <a:pt x="4987" y="793"/>
                  </a:cubicBezTo>
                  <a:cubicBezTo>
                    <a:pt x="4987" y="793"/>
                    <a:pt x="5002" y="776"/>
                    <a:pt x="5006" y="780"/>
                  </a:cubicBezTo>
                  <a:cubicBezTo>
                    <a:pt x="5010" y="784"/>
                    <a:pt x="5034" y="774"/>
                    <a:pt x="5034" y="774"/>
                  </a:cubicBezTo>
                  <a:cubicBezTo>
                    <a:pt x="5031" y="784"/>
                    <a:pt x="5031" y="784"/>
                    <a:pt x="5031" y="784"/>
                  </a:cubicBezTo>
                  <a:cubicBezTo>
                    <a:pt x="5045" y="774"/>
                    <a:pt x="5045" y="774"/>
                    <a:pt x="5045" y="774"/>
                  </a:cubicBezTo>
                  <a:cubicBezTo>
                    <a:pt x="5031" y="791"/>
                    <a:pt x="5031" y="791"/>
                    <a:pt x="5031" y="791"/>
                  </a:cubicBezTo>
                  <a:cubicBezTo>
                    <a:pt x="5053" y="794"/>
                    <a:pt x="5053" y="794"/>
                    <a:pt x="5053" y="794"/>
                  </a:cubicBezTo>
                  <a:cubicBezTo>
                    <a:pt x="5053" y="794"/>
                    <a:pt x="5023" y="794"/>
                    <a:pt x="5021" y="798"/>
                  </a:cubicBezTo>
                  <a:cubicBezTo>
                    <a:pt x="5019" y="802"/>
                    <a:pt x="5028" y="804"/>
                    <a:pt x="5028" y="804"/>
                  </a:cubicBezTo>
                  <a:cubicBezTo>
                    <a:pt x="5028" y="804"/>
                    <a:pt x="5005" y="809"/>
                    <a:pt x="4999" y="810"/>
                  </a:cubicBezTo>
                  <a:cubicBezTo>
                    <a:pt x="4993" y="811"/>
                    <a:pt x="5000" y="816"/>
                    <a:pt x="5000" y="816"/>
                  </a:cubicBezTo>
                  <a:cubicBezTo>
                    <a:pt x="5000" y="816"/>
                    <a:pt x="4976" y="821"/>
                    <a:pt x="4974" y="826"/>
                  </a:cubicBezTo>
                  <a:cubicBezTo>
                    <a:pt x="4972" y="831"/>
                    <a:pt x="4998" y="829"/>
                    <a:pt x="4998" y="829"/>
                  </a:cubicBezTo>
                  <a:cubicBezTo>
                    <a:pt x="4998" y="829"/>
                    <a:pt x="4977" y="833"/>
                    <a:pt x="4977" y="836"/>
                  </a:cubicBezTo>
                  <a:cubicBezTo>
                    <a:pt x="4977" y="839"/>
                    <a:pt x="4997" y="844"/>
                    <a:pt x="4997" y="844"/>
                  </a:cubicBezTo>
                  <a:cubicBezTo>
                    <a:pt x="4997" y="844"/>
                    <a:pt x="4980" y="844"/>
                    <a:pt x="4979" y="851"/>
                  </a:cubicBezTo>
                  <a:cubicBezTo>
                    <a:pt x="4978" y="858"/>
                    <a:pt x="5003" y="855"/>
                    <a:pt x="5003" y="855"/>
                  </a:cubicBezTo>
                  <a:cubicBezTo>
                    <a:pt x="4991" y="870"/>
                    <a:pt x="4991" y="870"/>
                    <a:pt x="4991" y="870"/>
                  </a:cubicBezTo>
                  <a:cubicBezTo>
                    <a:pt x="5010" y="867"/>
                    <a:pt x="5010" y="867"/>
                    <a:pt x="5010" y="867"/>
                  </a:cubicBezTo>
                  <a:cubicBezTo>
                    <a:pt x="5010" y="867"/>
                    <a:pt x="4988" y="880"/>
                    <a:pt x="4991" y="891"/>
                  </a:cubicBezTo>
                  <a:cubicBezTo>
                    <a:pt x="4994" y="902"/>
                    <a:pt x="5017" y="900"/>
                    <a:pt x="5017" y="900"/>
                  </a:cubicBezTo>
                  <a:cubicBezTo>
                    <a:pt x="5006" y="915"/>
                    <a:pt x="5006" y="915"/>
                    <a:pt x="5006" y="915"/>
                  </a:cubicBezTo>
                  <a:cubicBezTo>
                    <a:pt x="5027" y="908"/>
                    <a:pt x="5027" y="908"/>
                    <a:pt x="5027" y="908"/>
                  </a:cubicBezTo>
                  <a:cubicBezTo>
                    <a:pt x="5027" y="908"/>
                    <a:pt x="5012" y="920"/>
                    <a:pt x="5015" y="925"/>
                  </a:cubicBezTo>
                  <a:cubicBezTo>
                    <a:pt x="5018" y="930"/>
                    <a:pt x="5037" y="931"/>
                    <a:pt x="5037" y="931"/>
                  </a:cubicBezTo>
                  <a:cubicBezTo>
                    <a:pt x="5037" y="931"/>
                    <a:pt x="5027" y="934"/>
                    <a:pt x="5030" y="940"/>
                  </a:cubicBezTo>
                  <a:cubicBezTo>
                    <a:pt x="5033" y="946"/>
                    <a:pt x="5044" y="943"/>
                    <a:pt x="5044" y="943"/>
                  </a:cubicBezTo>
                  <a:cubicBezTo>
                    <a:pt x="5044" y="943"/>
                    <a:pt x="5029" y="955"/>
                    <a:pt x="5032" y="959"/>
                  </a:cubicBezTo>
                  <a:cubicBezTo>
                    <a:pt x="5035" y="963"/>
                    <a:pt x="5051" y="961"/>
                    <a:pt x="5051" y="961"/>
                  </a:cubicBezTo>
                  <a:cubicBezTo>
                    <a:pt x="5049" y="969"/>
                    <a:pt x="5049" y="969"/>
                    <a:pt x="5049" y="969"/>
                  </a:cubicBezTo>
                  <a:cubicBezTo>
                    <a:pt x="5075" y="963"/>
                    <a:pt x="5075" y="963"/>
                    <a:pt x="5075" y="963"/>
                  </a:cubicBezTo>
                  <a:cubicBezTo>
                    <a:pt x="5075" y="963"/>
                    <a:pt x="5083" y="976"/>
                    <a:pt x="5091" y="969"/>
                  </a:cubicBezTo>
                  <a:cubicBezTo>
                    <a:pt x="5099" y="962"/>
                    <a:pt x="5124" y="946"/>
                    <a:pt x="5128" y="948"/>
                  </a:cubicBezTo>
                  <a:cubicBezTo>
                    <a:pt x="5132" y="950"/>
                    <a:pt x="5121" y="958"/>
                    <a:pt x="5121" y="958"/>
                  </a:cubicBezTo>
                  <a:cubicBezTo>
                    <a:pt x="5136" y="962"/>
                    <a:pt x="5136" y="962"/>
                    <a:pt x="5136" y="962"/>
                  </a:cubicBezTo>
                  <a:cubicBezTo>
                    <a:pt x="5150" y="955"/>
                    <a:pt x="5150" y="955"/>
                    <a:pt x="5150" y="955"/>
                  </a:cubicBezTo>
                  <a:cubicBezTo>
                    <a:pt x="5150" y="955"/>
                    <a:pt x="5129" y="968"/>
                    <a:pt x="5124" y="973"/>
                  </a:cubicBezTo>
                  <a:cubicBezTo>
                    <a:pt x="5119" y="978"/>
                    <a:pt x="5115" y="983"/>
                    <a:pt x="5123" y="983"/>
                  </a:cubicBezTo>
                  <a:cubicBezTo>
                    <a:pt x="5131" y="983"/>
                    <a:pt x="5158" y="978"/>
                    <a:pt x="5158" y="978"/>
                  </a:cubicBezTo>
                  <a:cubicBezTo>
                    <a:pt x="5158" y="978"/>
                    <a:pt x="5127" y="994"/>
                    <a:pt x="5136" y="1000"/>
                  </a:cubicBezTo>
                  <a:cubicBezTo>
                    <a:pt x="5145" y="1006"/>
                    <a:pt x="5164" y="1000"/>
                    <a:pt x="5164" y="1000"/>
                  </a:cubicBezTo>
                  <a:cubicBezTo>
                    <a:pt x="5164" y="1000"/>
                    <a:pt x="5174" y="1019"/>
                    <a:pt x="5186" y="1012"/>
                  </a:cubicBezTo>
                  <a:cubicBezTo>
                    <a:pt x="5198" y="1005"/>
                    <a:pt x="5204" y="998"/>
                    <a:pt x="5204" y="998"/>
                  </a:cubicBezTo>
                  <a:cubicBezTo>
                    <a:pt x="5204" y="998"/>
                    <a:pt x="5199" y="995"/>
                    <a:pt x="5195" y="989"/>
                  </a:cubicBezTo>
                  <a:cubicBezTo>
                    <a:pt x="5191" y="983"/>
                    <a:pt x="5208" y="990"/>
                    <a:pt x="5213" y="985"/>
                  </a:cubicBezTo>
                  <a:cubicBezTo>
                    <a:pt x="5218" y="980"/>
                    <a:pt x="5217" y="964"/>
                    <a:pt x="5217" y="964"/>
                  </a:cubicBezTo>
                  <a:cubicBezTo>
                    <a:pt x="5217" y="964"/>
                    <a:pt x="5239" y="974"/>
                    <a:pt x="5238" y="964"/>
                  </a:cubicBezTo>
                  <a:cubicBezTo>
                    <a:pt x="5237" y="954"/>
                    <a:pt x="5233" y="948"/>
                    <a:pt x="5233" y="948"/>
                  </a:cubicBezTo>
                  <a:cubicBezTo>
                    <a:pt x="5233" y="948"/>
                    <a:pt x="5239" y="957"/>
                    <a:pt x="5245" y="958"/>
                  </a:cubicBezTo>
                  <a:cubicBezTo>
                    <a:pt x="5250" y="958"/>
                    <a:pt x="5255" y="949"/>
                    <a:pt x="5252" y="944"/>
                  </a:cubicBezTo>
                  <a:cubicBezTo>
                    <a:pt x="5246" y="934"/>
                    <a:pt x="5240" y="931"/>
                    <a:pt x="5240" y="931"/>
                  </a:cubicBezTo>
                  <a:cubicBezTo>
                    <a:pt x="5240" y="931"/>
                    <a:pt x="5262" y="937"/>
                    <a:pt x="5262" y="933"/>
                  </a:cubicBezTo>
                  <a:cubicBezTo>
                    <a:pt x="5262" y="929"/>
                    <a:pt x="5257" y="923"/>
                    <a:pt x="5257" y="923"/>
                  </a:cubicBezTo>
                  <a:cubicBezTo>
                    <a:pt x="5275" y="922"/>
                    <a:pt x="5275" y="922"/>
                    <a:pt x="5275" y="922"/>
                  </a:cubicBezTo>
                  <a:cubicBezTo>
                    <a:pt x="5267" y="908"/>
                    <a:pt x="5267" y="908"/>
                    <a:pt x="5267" y="908"/>
                  </a:cubicBezTo>
                  <a:cubicBezTo>
                    <a:pt x="5278" y="903"/>
                    <a:pt x="5278" y="903"/>
                    <a:pt x="5278" y="903"/>
                  </a:cubicBezTo>
                  <a:cubicBezTo>
                    <a:pt x="5278" y="903"/>
                    <a:pt x="5265" y="894"/>
                    <a:pt x="5262" y="893"/>
                  </a:cubicBezTo>
                  <a:cubicBezTo>
                    <a:pt x="5259" y="892"/>
                    <a:pt x="5273" y="887"/>
                    <a:pt x="5273" y="887"/>
                  </a:cubicBezTo>
                  <a:cubicBezTo>
                    <a:pt x="5259" y="873"/>
                    <a:pt x="5259" y="873"/>
                    <a:pt x="5259" y="873"/>
                  </a:cubicBezTo>
                  <a:cubicBezTo>
                    <a:pt x="5259" y="873"/>
                    <a:pt x="5273" y="885"/>
                    <a:pt x="5277" y="882"/>
                  </a:cubicBezTo>
                  <a:cubicBezTo>
                    <a:pt x="5281" y="879"/>
                    <a:pt x="5289" y="873"/>
                    <a:pt x="5289" y="873"/>
                  </a:cubicBezTo>
                  <a:cubicBezTo>
                    <a:pt x="5289" y="873"/>
                    <a:pt x="5305" y="875"/>
                    <a:pt x="5308" y="872"/>
                  </a:cubicBezTo>
                  <a:cubicBezTo>
                    <a:pt x="5311" y="869"/>
                    <a:pt x="5304" y="859"/>
                    <a:pt x="5304" y="859"/>
                  </a:cubicBezTo>
                  <a:cubicBezTo>
                    <a:pt x="5318" y="858"/>
                    <a:pt x="5318" y="858"/>
                    <a:pt x="5318" y="858"/>
                  </a:cubicBezTo>
                  <a:cubicBezTo>
                    <a:pt x="5323" y="841"/>
                    <a:pt x="5323" y="841"/>
                    <a:pt x="5323" y="841"/>
                  </a:cubicBezTo>
                  <a:cubicBezTo>
                    <a:pt x="5323" y="841"/>
                    <a:pt x="5343" y="848"/>
                    <a:pt x="5349" y="843"/>
                  </a:cubicBezTo>
                  <a:cubicBezTo>
                    <a:pt x="5355" y="838"/>
                    <a:pt x="5350" y="829"/>
                    <a:pt x="5350" y="829"/>
                  </a:cubicBezTo>
                  <a:cubicBezTo>
                    <a:pt x="5350" y="829"/>
                    <a:pt x="5357" y="839"/>
                    <a:pt x="5364" y="839"/>
                  </a:cubicBezTo>
                  <a:cubicBezTo>
                    <a:pt x="5368" y="839"/>
                    <a:pt x="5371" y="830"/>
                    <a:pt x="5373" y="828"/>
                  </a:cubicBezTo>
                  <a:cubicBezTo>
                    <a:pt x="5378" y="821"/>
                    <a:pt x="5373" y="811"/>
                    <a:pt x="5373" y="811"/>
                  </a:cubicBezTo>
                  <a:cubicBezTo>
                    <a:pt x="5348" y="807"/>
                    <a:pt x="5348" y="807"/>
                    <a:pt x="5348" y="807"/>
                  </a:cubicBezTo>
                  <a:cubicBezTo>
                    <a:pt x="5366" y="802"/>
                    <a:pt x="5366" y="802"/>
                    <a:pt x="5366" y="802"/>
                  </a:cubicBezTo>
                  <a:cubicBezTo>
                    <a:pt x="5386" y="794"/>
                    <a:pt x="5386" y="794"/>
                    <a:pt x="5386" y="794"/>
                  </a:cubicBezTo>
                  <a:cubicBezTo>
                    <a:pt x="5387" y="780"/>
                    <a:pt x="5387" y="780"/>
                    <a:pt x="5387" y="780"/>
                  </a:cubicBezTo>
                  <a:cubicBezTo>
                    <a:pt x="5374" y="777"/>
                    <a:pt x="5374" y="777"/>
                    <a:pt x="5374" y="777"/>
                  </a:cubicBezTo>
                  <a:cubicBezTo>
                    <a:pt x="5379" y="765"/>
                    <a:pt x="5379" y="765"/>
                    <a:pt x="5379" y="765"/>
                  </a:cubicBezTo>
                  <a:cubicBezTo>
                    <a:pt x="5400" y="765"/>
                    <a:pt x="5400" y="765"/>
                    <a:pt x="5400" y="765"/>
                  </a:cubicBezTo>
                  <a:cubicBezTo>
                    <a:pt x="5400" y="765"/>
                    <a:pt x="5414" y="769"/>
                    <a:pt x="5421" y="763"/>
                  </a:cubicBezTo>
                  <a:cubicBezTo>
                    <a:pt x="5428" y="757"/>
                    <a:pt x="5423" y="745"/>
                    <a:pt x="5423" y="745"/>
                  </a:cubicBezTo>
                  <a:cubicBezTo>
                    <a:pt x="5445" y="741"/>
                    <a:pt x="5445" y="741"/>
                    <a:pt x="5445" y="741"/>
                  </a:cubicBezTo>
                  <a:cubicBezTo>
                    <a:pt x="5445" y="741"/>
                    <a:pt x="5476" y="747"/>
                    <a:pt x="5484" y="740"/>
                  </a:cubicBezTo>
                  <a:cubicBezTo>
                    <a:pt x="5492" y="733"/>
                    <a:pt x="5495" y="726"/>
                    <a:pt x="5495" y="726"/>
                  </a:cubicBezTo>
                  <a:cubicBezTo>
                    <a:pt x="5504" y="721"/>
                    <a:pt x="5504" y="721"/>
                    <a:pt x="5504" y="721"/>
                  </a:cubicBezTo>
                  <a:cubicBezTo>
                    <a:pt x="5504" y="721"/>
                    <a:pt x="5506" y="710"/>
                    <a:pt x="5517" y="708"/>
                  </a:cubicBezTo>
                  <a:cubicBezTo>
                    <a:pt x="5528" y="706"/>
                    <a:pt x="5497" y="740"/>
                    <a:pt x="5505" y="740"/>
                  </a:cubicBezTo>
                  <a:cubicBezTo>
                    <a:pt x="5513" y="740"/>
                    <a:pt x="5521" y="738"/>
                    <a:pt x="5521" y="738"/>
                  </a:cubicBezTo>
                  <a:cubicBezTo>
                    <a:pt x="5525" y="725"/>
                    <a:pt x="5525" y="725"/>
                    <a:pt x="5525" y="725"/>
                  </a:cubicBezTo>
                  <a:cubicBezTo>
                    <a:pt x="5534" y="727"/>
                    <a:pt x="5534" y="727"/>
                    <a:pt x="5534" y="727"/>
                  </a:cubicBezTo>
                  <a:cubicBezTo>
                    <a:pt x="5542" y="718"/>
                    <a:pt x="5542" y="718"/>
                    <a:pt x="5542" y="718"/>
                  </a:cubicBezTo>
                  <a:cubicBezTo>
                    <a:pt x="5542" y="718"/>
                    <a:pt x="5559" y="733"/>
                    <a:pt x="5571" y="725"/>
                  </a:cubicBezTo>
                  <a:cubicBezTo>
                    <a:pt x="5583" y="717"/>
                    <a:pt x="5600" y="704"/>
                    <a:pt x="5600" y="704"/>
                  </a:cubicBezTo>
                  <a:cubicBezTo>
                    <a:pt x="5600" y="704"/>
                    <a:pt x="5616" y="709"/>
                    <a:pt x="5643" y="698"/>
                  </a:cubicBezTo>
                  <a:cubicBezTo>
                    <a:pt x="5670" y="687"/>
                    <a:pt x="5667" y="670"/>
                    <a:pt x="5685" y="658"/>
                  </a:cubicBezTo>
                  <a:cubicBezTo>
                    <a:pt x="5703" y="646"/>
                    <a:pt x="5745" y="634"/>
                    <a:pt x="5745" y="634"/>
                  </a:cubicBezTo>
                  <a:cubicBezTo>
                    <a:pt x="5745" y="634"/>
                    <a:pt x="5748" y="625"/>
                    <a:pt x="5747" y="619"/>
                  </a:cubicBezTo>
                  <a:cubicBezTo>
                    <a:pt x="5746" y="613"/>
                    <a:pt x="5739" y="601"/>
                    <a:pt x="5746" y="599"/>
                  </a:cubicBezTo>
                  <a:cubicBezTo>
                    <a:pt x="5753" y="597"/>
                    <a:pt x="5764" y="625"/>
                    <a:pt x="5775" y="625"/>
                  </a:cubicBezTo>
                  <a:cubicBezTo>
                    <a:pt x="5775" y="625"/>
                    <a:pt x="5817" y="624"/>
                    <a:pt x="5828" y="622"/>
                  </a:cubicBezTo>
                  <a:cubicBezTo>
                    <a:pt x="5839" y="620"/>
                    <a:pt x="5860" y="609"/>
                    <a:pt x="5883" y="606"/>
                  </a:cubicBezTo>
                  <a:cubicBezTo>
                    <a:pt x="5906" y="603"/>
                    <a:pt x="5946" y="600"/>
                    <a:pt x="5953" y="598"/>
                  </a:cubicBezTo>
                  <a:cubicBezTo>
                    <a:pt x="5960" y="596"/>
                    <a:pt x="5966" y="589"/>
                    <a:pt x="5966" y="589"/>
                  </a:cubicBezTo>
                  <a:close/>
                  <a:moveTo>
                    <a:pt x="3460" y="585"/>
                  </a:moveTo>
                  <a:cubicBezTo>
                    <a:pt x="3479" y="587"/>
                    <a:pt x="3488" y="593"/>
                    <a:pt x="3504" y="601"/>
                  </a:cubicBezTo>
                  <a:cubicBezTo>
                    <a:pt x="3520" y="609"/>
                    <a:pt x="3574" y="600"/>
                    <a:pt x="3574" y="600"/>
                  </a:cubicBezTo>
                  <a:cubicBezTo>
                    <a:pt x="3560" y="555"/>
                    <a:pt x="3560" y="555"/>
                    <a:pt x="3560" y="555"/>
                  </a:cubicBezTo>
                  <a:cubicBezTo>
                    <a:pt x="3494" y="541"/>
                    <a:pt x="3494" y="541"/>
                    <a:pt x="3494" y="541"/>
                  </a:cubicBezTo>
                  <a:cubicBezTo>
                    <a:pt x="3472" y="566"/>
                    <a:pt x="3472" y="566"/>
                    <a:pt x="3472" y="566"/>
                  </a:cubicBezTo>
                  <a:cubicBezTo>
                    <a:pt x="3450" y="568"/>
                    <a:pt x="3450" y="568"/>
                    <a:pt x="3450" y="568"/>
                  </a:cubicBezTo>
                  <a:cubicBezTo>
                    <a:pt x="3450" y="568"/>
                    <a:pt x="3441" y="584"/>
                    <a:pt x="3460" y="585"/>
                  </a:cubicBezTo>
                  <a:close/>
                  <a:moveTo>
                    <a:pt x="5038" y="566"/>
                  </a:moveTo>
                  <a:cubicBezTo>
                    <a:pt x="5046" y="568"/>
                    <a:pt x="5046" y="568"/>
                    <a:pt x="5046" y="568"/>
                  </a:cubicBezTo>
                  <a:cubicBezTo>
                    <a:pt x="5046" y="568"/>
                    <a:pt x="5064" y="564"/>
                    <a:pt x="5070" y="564"/>
                  </a:cubicBezTo>
                  <a:cubicBezTo>
                    <a:pt x="5076" y="564"/>
                    <a:pt x="5090" y="554"/>
                    <a:pt x="5088" y="546"/>
                  </a:cubicBezTo>
                  <a:cubicBezTo>
                    <a:pt x="5086" y="538"/>
                    <a:pt x="5064" y="534"/>
                    <a:pt x="5064" y="534"/>
                  </a:cubicBezTo>
                  <a:cubicBezTo>
                    <a:pt x="5064" y="534"/>
                    <a:pt x="5054" y="526"/>
                    <a:pt x="5044" y="526"/>
                  </a:cubicBezTo>
                  <a:cubicBezTo>
                    <a:pt x="5034" y="526"/>
                    <a:pt x="5030" y="532"/>
                    <a:pt x="5014" y="526"/>
                  </a:cubicBezTo>
                  <a:cubicBezTo>
                    <a:pt x="5010" y="542"/>
                    <a:pt x="5010" y="542"/>
                    <a:pt x="5010" y="542"/>
                  </a:cubicBezTo>
                  <a:cubicBezTo>
                    <a:pt x="5010" y="542"/>
                    <a:pt x="5002" y="546"/>
                    <a:pt x="5002" y="552"/>
                  </a:cubicBezTo>
                  <a:cubicBezTo>
                    <a:pt x="5002" y="558"/>
                    <a:pt x="5014" y="564"/>
                    <a:pt x="5014" y="564"/>
                  </a:cubicBezTo>
                  <a:cubicBezTo>
                    <a:pt x="5010" y="572"/>
                    <a:pt x="5010" y="572"/>
                    <a:pt x="5010" y="572"/>
                  </a:cubicBezTo>
                  <a:lnTo>
                    <a:pt x="5038" y="566"/>
                  </a:lnTo>
                  <a:close/>
                  <a:moveTo>
                    <a:pt x="3831" y="723"/>
                  </a:moveTo>
                  <a:cubicBezTo>
                    <a:pt x="3819" y="725"/>
                    <a:pt x="3809" y="742"/>
                    <a:pt x="3828" y="742"/>
                  </a:cubicBezTo>
                  <a:cubicBezTo>
                    <a:pt x="3839" y="742"/>
                    <a:pt x="3844" y="721"/>
                    <a:pt x="3831" y="723"/>
                  </a:cubicBezTo>
                  <a:close/>
                  <a:moveTo>
                    <a:pt x="1600" y="1098"/>
                  </a:moveTo>
                  <a:cubicBezTo>
                    <a:pt x="1600" y="1098"/>
                    <a:pt x="1575" y="1105"/>
                    <a:pt x="1576" y="1112"/>
                  </a:cubicBezTo>
                  <a:cubicBezTo>
                    <a:pt x="1577" y="1119"/>
                    <a:pt x="1586" y="1129"/>
                    <a:pt x="1586" y="1129"/>
                  </a:cubicBezTo>
                  <a:cubicBezTo>
                    <a:pt x="1597" y="1133"/>
                    <a:pt x="1614" y="1125"/>
                    <a:pt x="1614" y="1115"/>
                  </a:cubicBezTo>
                  <a:cubicBezTo>
                    <a:pt x="1614" y="1105"/>
                    <a:pt x="1600" y="1098"/>
                    <a:pt x="1600" y="1098"/>
                  </a:cubicBezTo>
                  <a:close/>
                  <a:moveTo>
                    <a:pt x="1573" y="1465"/>
                  </a:moveTo>
                  <a:cubicBezTo>
                    <a:pt x="1561" y="1464"/>
                    <a:pt x="1541" y="1476"/>
                    <a:pt x="1546" y="1484"/>
                  </a:cubicBezTo>
                  <a:cubicBezTo>
                    <a:pt x="1551" y="1492"/>
                    <a:pt x="1560" y="1490"/>
                    <a:pt x="1560" y="1490"/>
                  </a:cubicBezTo>
                  <a:cubicBezTo>
                    <a:pt x="1569" y="1484"/>
                    <a:pt x="1569" y="1484"/>
                    <a:pt x="1569" y="1484"/>
                  </a:cubicBezTo>
                  <a:cubicBezTo>
                    <a:pt x="1576" y="1489"/>
                    <a:pt x="1576" y="1489"/>
                    <a:pt x="1576" y="1489"/>
                  </a:cubicBezTo>
                  <a:cubicBezTo>
                    <a:pt x="1570" y="1496"/>
                    <a:pt x="1570" y="1496"/>
                    <a:pt x="1570" y="1496"/>
                  </a:cubicBezTo>
                  <a:cubicBezTo>
                    <a:pt x="1570" y="1496"/>
                    <a:pt x="1541" y="1501"/>
                    <a:pt x="1549" y="1510"/>
                  </a:cubicBezTo>
                  <a:cubicBezTo>
                    <a:pt x="1557" y="1519"/>
                    <a:pt x="1572" y="1510"/>
                    <a:pt x="1572" y="1510"/>
                  </a:cubicBezTo>
                  <a:cubicBezTo>
                    <a:pt x="1567" y="1525"/>
                    <a:pt x="1567" y="1525"/>
                    <a:pt x="1567" y="1525"/>
                  </a:cubicBezTo>
                  <a:cubicBezTo>
                    <a:pt x="1582" y="1524"/>
                    <a:pt x="1582" y="1524"/>
                    <a:pt x="1582" y="1524"/>
                  </a:cubicBezTo>
                  <a:cubicBezTo>
                    <a:pt x="1568" y="1535"/>
                    <a:pt x="1568" y="1535"/>
                    <a:pt x="1568" y="1535"/>
                  </a:cubicBezTo>
                  <a:cubicBezTo>
                    <a:pt x="1594" y="1533"/>
                    <a:pt x="1594" y="1533"/>
                    <a:pt x="1594" y="1533"/>
                  </a:cubicBezTo>
                  <a:cubicBezTo>
                    <a:pt x="1594" y="1533"/>
                    <a:pt x="1567" y="1544"/>
                    <a:pt x="1573" y="1549"/>
                  </a:cubicBezTo>
                  <a:cubicBezTo>
                    <a:pt x="1579" y="1554"/>
                    <a:pt x="1591" y="1533"/>
                    <a:pt x="1597" y="1544"/>
                  </a:cubicBezTo>
                  <a:cubicBezTo>
                    <a:pt x="1603" y="1555"/>
                    <a:pt x="1581" y="1559"/>
                    <a:pt x="1587" y="1566"/>
                  </a:cubicBezTo>
                  <a:cubicBezTo>
                    <a:pt x="1593" y="1573"/>
                    <a:pt x="1619" y="1568"/>
                    <a:pt x="1619" y="1568"/>
                  </a:cubicBezTo>
                  <a:cubicBezTo>
                    <a:pt x="1632" y="1560"/>
                    <a:pt x="1632" y="1560"/>
                    <a:pt x="1632" y="1560"/>
                  </a:cubicBezTo>
                  <a:cubicBezTo>
                    <a:pt x="1620" y="1574"/>
                    <a:pt x="1620" y="1574"/>
                    <a:pt x="1620" y="1574"/>
                  </a:cubicBezTo>
                  <a:cubicBezTo>
                    <a:pt x="1620" y="1574"/>
                    <a:pt x="1595" y="1574"/>
                    <a:pt x="1606" y="1583"/>
                  </a:cubicBezTo>
                  <a:cubicBezTo>
                    <a:pt x="1617" y="1592"/>
                    <a:pt x="1626" y="1592"/>
                    <a:pt x="1626" y="1592"/>
                  </a:cubicBezTo>
                  <a:cubicBezTo>
                    <a:pt x="1626" y="1592"/>
                    <a:pt x="1650" y="1609"/>
                    <a:pt x="1662" y="1599"/>
                  </a:cubicBezTo>
                  <a:cubicBezTo>
                    <a:pt x="1674" y="1589"/>
                    <a:pt x="1683" y="1581"/>
                    <a:pt x="1674" y="1570"/>
                  </a:cubicBezTo>
                  <a:cubicBezTo>
                    <a:pt x="1665" y="1559"/>
                    <a:pt x="1648" y="1548"/>
                    <a:pt x="1648" y="1548"/>
                  </a:cubicBezTo>
                  <a:cubicBezTo>
                    <a:pt x="1648" y="1548"/>
                    <a:pt x="1645" y="1534"/>
                    <a:pt x="1646" y="1527"/>
                  </a:cubicBezTo>
                  <a:cubicBezTo>
                    <a:pt x="1647" y="1520"/>
                    <a:pt x="1652" y="1508"/>
                    <a:pt x="1644" y="1498"/>
                  </a:cubicBezTo>
                  <a:cubicBezTo>
                    <a:pt x="1644" y="1498"/>
                    <a:pt x="1618" y="1494"/>
                    <a:pt x="1609" y="1492"/>
                  </a:cubicBezTo>
                  <a:cubicBezTo>
                    <a:pt x="1600" y="1490"/>
                    <a:pt x="1585" y="1466"/>
                    <a:pt x="1573" y="1465"/>
                  </a:cubicBezTo>
                  <a:close/>
                  <a:moveTo>
                    <a:pt x="1638" y="1472"/>
                  </a:moveTo>
                  <a:cubicBezTo>
                    <a:pt x="1628" y="1469"/>
                    <a:pt x="1629" y="1486"/>
                    <a:pt x="1629" y="1486"/>
                  </a:cubicBezTo>
                  <a:cubicBezTo>
                    <a:pt x="1637" y="1486"/>
                    <a:pt x="1648" y="1475"/>
                    <a:pt x="1638" y="1472"/>
                  </a:cubicBezTo>
                  <a:close/>
                  <a:moveTo>
                    <a:pt x="1625" y="1384"/>
                  </a:moveTo>
                  <a:cubicBezTo>
                    <a:pt x="1623" y="1367"/>
                    <a:pt x="1623" y="1367"/>
                    <a:pt x="1623" y="1367"/>
                  </a:cubicBezTo>
                  <a:cubicBezTo>
                    <a:pt x="1623" y="1367"/>
                    <a:pt x="1591" y="1364"/>
                    <a:pt x="1591" y="1373"/>
                  </a:cubicBezTo>
                  <a:cubicBezTo>
                    <a:pt x="1591" y="1382"/>
                    <a:pt x="1608" y="1379"/>
                    <a:pt x="1608" y="1379"/>
                  </a:cubicBezTo>
                  <a:cubicBezTo>
                    <a:pt x="1606" y="1396"/>
                    <a:pt x="1606" y="1396"/>
                    <a:pt x="1606" y="1396"/>
                  </a:cubicBezTo>
                  <a:lnTo>
                    <a:pt x="1625" y="1384"/>
                  </a:lnTo>
                  <a:close/>
                  <a:moveTo>
                    <a:pt x="1582" y="1336"/>
                  </a:moveTo>
                  <a:cubicBezTo>
                    <a:pt x="1584" y="1351"/>
                    <a:pt x="1595" y="1357"/>
                    <a:pt x="1595" y="1357"/>
                  </a:cubicBezTo>
                  <a:cubicBezTo>
                    <a:pt x="1603" y="1336"/>
                    <a:pt x="1603" y="1336"/>
                    <a:pt x="1603" y="1336"/>
                  </a:cubicBezTo>
                  <a:cubicBezTo>
                    <a:pt x="1603" y="1336"/>
                    <a:pt x="1580" y="1321"/>
                    <a:pt x="1582" y="1336"/>
                  </a:cubicBezTo>
                  <a:close/>
                  <a:moveTo>
                    <a:pt x="1573" y="1224"/>
                  </a:moveTo>
                  <a:cubicBezTo>
                    <a:pt x="1569" y="1226"/>
                    <a:pt x="1563" y="1237"/>
                    <a:pt x="1568" y="1246"/>
                  </a:cubicBezTo>
                  <a:cubicBezTo>
                    <a:pt x="1573" y="1255"/>
                    <a:pt x="1572" y="1273"/>
                    <a:pt x="1572" y="1273"/>
                  </a:cubicBezTo>
                  <a:cubicBezTo>
                    <a:pt x="1572" y="1273"/>
                    <a:pt x="1586" y="1265"/>
                    <a:pt x="1594" y="1256"/>
                  </a:cubicBezTo>
                  <a:cubicBezTo>
                    <a:pt x="1602" y="1247"/>
                    <a:pt x="1590" y="1235"/>
                    <a:pt x="1590" y="1235"/>
                  </a:cubicBezTo>
                  <a:cubicBezTo>
                    <a:pt x="1590" y="1235"/>
                    <a:pt x="1600" y="1234"/>
                    <a:pt x="1609" y="1224"/>
                  </a:cubicBezTo>
                  <a:cubicBezTo>
                    <a:pt x="1618" y="1214"/>
                    <a:pt x="1594" y="1196"/>
                    <a:pt x="1594" y="1196"/>
                  </a:cubicBezTo>
                  <a:cubicBezTo>
                    <a:pt x="1581" y="1205"/>
                    <a:pt x="1581" y="1205"/>
                    <a:pt x="1581" y="1205"/>
                  </a:cubicBezTo>
                  <a:cubicBezTo>
                    <a:pt x="1581" y="1205"/>
                    <a:pt x="1587" y="1211"/>
                    <a:pt x="1591" y="1212"/>
                  </a:cubicBezTo>
                  <a:cubicBezTo>
                    <a:pt x="1595" y="1213"/>
                    <a:pt x="1577" y="1222"/>
                    <a:pt x="1573" y="1224"/>
                  </a:cubicBezTo>
                  <a:close/>
                  <a:moveTo>
                    <a:pt x="1636" y="1101"/>
                  </a:moveTo>
                  <a:cubicBezTo>
                    <a:pt x="1628" y="1108"/>
                    <a:pt x="1614" y="1124"/>
                    <a:pt x="1614" y="1124"/>
                  </a:cubicBezTo>
                  <a:cubicBezTo>
                    <a:pt x="1602" y="1148"/>
                    <a:pt x="1602" y="1148"/>
                    <a:pt x="1602" y="1148"/>
                  </a:cubicBezTo>
                  <a:cubicBezTo>
                    <a:pt x="1602" y="1148"/>
                    <a:pt x="1623" y="1144"/>
                    <a:pt x="1633" y="1135"/>
                  </a:cubicBezTo>
                  <a:cubicBezTo>
                    <a:pt x="1643" y="1126"/>
                    <a:pt x="1640" y="1117"/>
                    <a:pt x="1640" y="1117"/>
                  </a:cubicBezTo>
                  <a:cubicBezTo>
                    <a:pt x="1650" y="1107"/>
                    <a:pt x="1650" y="1107"/>
                    <a:pt x="1650" y="1107"/>
                  </a:cubicBezTo>
                  <a:cubicBezTo>
                    <a:pt x="1650" y="1107"/>
                    <a:pt x="1644" y="1094"/>
                    <a:pt x="1636" y="1101"/>
                  </a:cubicBezTo>
                  <a:close/>
                  <a:moveTo>
                    <a:pt x="1614" y="1326"/>
                  </a:moveTo>
                  <a:cubicBezTo>
                    <a:pt x="1607" y="1344"/>
                    <a:pt x="1607" y="1344"/>
                    <a:pt x="1607" y="1344"/>
                  </a:cubicBezTo>
                  <a:cubicBezTo>
                    <a:pt x="1609" y="1356"/>
                    <a:pt x="1609" y="1356"/>
                    <a:pt x="1609" y="1356"/>
                  </a:cubicBezTo>
                  <a:cubicBezTo>
                    <a:pt x="1625" y="1346"/>
                    <a:pt x="1625" y="1346"/>
                    <a:pt x="1625" y="1346"/>
                  </a:cubicBezTo>
                  <a:lnTo>
                    <a:pt x="1614" y="1326"/>
                  </a:lnTo>
                  <a:close/>
                  <a:moveTo>
                    <a:pt x="4282" y="982"/>
                  </a:moveTo>
                  <a:cubicBezTo>
                    <a:pt x="4259" y="984"/>
                    <a:pt x="4259" y="984"/>
                    <a:pt x="4259" y="984"/>
                  </a:cubicBezTo>
                  <a:cubicBezTo>
                    <a:pt x="4283" y="1000"/>
                    <a:pt x="4283" y="1000"/>
                    <a:pt x="4283" y="1000"/>
                  </a:cubicBezTo>
                  <a:cubicBezTo>
                    <a:pt x="4302" y="991"/>
                    <a:pt x="4282" y="982"/>
                    <a:pt x="4282" y="982"/>
                  </a:cubicBezTo>
                  <a:close/>
                  <a:moveTo>
                    <a:pt x="4428" y="931"/>
                  </a:moveTo>
                  <a:cubicBezTo>
                    <a:pt x="4428" y="931"/>
                    <a:pt x="4406" y="926"/>
                    <a:pt x="4403" y="935"/>
                  </a:cubicBezTo>
                  <a:cubicBezTo>
                    <a:pt x="4403" y="935"/>
                    <a:pt x="4414" y="949"/>
                    <a:pt x="4425" y="942"/>
                  </a:cubicBezTo>
                  <a:cubicBezTo>
                    <a:pt x="4435" y="934"/>
                    <a:pt x="4428" y="931"/>
                    <a:pt x="4428" y="931"/>
                  </a:cubicBezTo>
                  <a:close/>
                  <a:moveTo>
                    <a:pt x="1487" y="1399"/>
                  </a:moveTo>
                  <a:cubicBezTo>
                    <a:pt x="1487" y="1399"/>
                    <a:pt x="1482" y="1411"/>
                    <a:pt x="1498" y="1410"/>
                  </a:cubicBezTo>
                  <a:cubicBezTo>
                    <a:pt x="1509" y="1409"/>
                    <a:pt x="1498" y="1392"/>
                    <a:pt x="1495" y="1385"/>
                  </a:cubicBezTo>
                  <a:cubicBezTo>
                    <a:pt x="1492" y="1378"/>
                    <a:pt x="1500" y="1372"/>
                    <a:pt x="1505" y="1369"/>
                  </a:cubicBezTo>
                  <a:cubicBezTo>
                    <a:pt x="1510" y="1366"/>
                    <a:pt x="1518" y="1357"/>
                    <a:pt x="1516" y="1353"/>
                  </a:cubicBezTo>
                  <a:cubicBezTo>
                    <a:pt x="1516" y="1353"/>
                    <a:pt x="1514" y="1342"/>
                    <a:pt x="1520" y="1337"/>
                  </a:cubicBezTo>
                  <a:cubicBezTo>
                    <a:pt x="1526" y="1332"/>
                    <a:pt x="1537" y="1321"/>
                    <a:pt x="1546" y="1316"/>
                  </a:cubicBezTo>
                  <a:cubicBezTo>
                    <a:pt x="1555" y="1311"/>
                    <a:pt x="1568" y="1305"/>
                    <a:pt x="1564" y="1304"/>
                  </a:cubicBezTo>
                  <a:cubicBezTo>
                    <a:pt x="1560" y="1303"/>
                    <a:pt x="1544" y="1307"/>
                    <a:pt x="1538" y="1310"/>
                  </a:cubicBezTo>
                  <a:cubicBezTo>
                    <a:pt x="1532" y="1313"/>
                    <a:pt x="1527" y="1328"/>
                    <a:pt x="1517" y="1328"/>
                  </a:cubicBezTo>
                  <a:cubicBezTo>
                    <a:pt x="1507" y="1328"/>
                    <a:pt x="1506" y="1320"/>
                    <a:pt x="1516" y="1320"/>
                  </a:cubicBezTo>
                  <a:cubicBezTo>
                    <a:pt x="1526" y="1320"/>
                    <a:pt x="1544" y="1307"/>
                    <a:pt x="1530" y="1308"/>
                  </a:cubicBezTo>
                  <a:cubicBezTo>
                    <a:pt x="1516" y="1309"/>
                    <a:pt x="1514" y="1312"/>
                    <a:pt x="1514" y="1312"/>
                  </a:cubicBezTo>
                  <a:cubicBezTo>
                    <a:pt x="1514" y="1312"/>
                    <a:pt x="1517" y="1298"/>
                    <a:pt x="1506" y="1302"/>
                  </a:cubicBezTo>
                  <a:cubicBezTo>
                    <a:pt x="1495" y="1306"/>
                    <a:pt x="1493" y="1319"/>
                    <a:pt x="1493" y="1319"/>
                  </a:cubicBezTo>
                  <a:cubicBezTo>
                    <a:pt x="1485" y="1337"/>
                    <a:pt x="1485" y="1337"/>
                    <a:pt x="1485" y="1337"/>
                  </a:cubicBezTo>
                  <a:cubicBezTo>
                    <a:pt x="1485" y="1337"/>
                    <a:pt x="1482" y="1349"/>
                    <a:pt x="1485" y="1350"/>
                  </a:cubicBezTo>
                  <a:cubicBezTo>
                    <a:pt x="1488" y="1351"/>
                    <a:pt x="1491" y="1360"/>
                    <a:pt x="1491" y="1360"/>
                  </a:cubicBezTo>
                  <a:cubicBezTo>
                    <a:pt x="1482" y="1364"/>
                    <a:pt x="1482" y="1364"/>
                    <a:pt x="1482" y="1364"/>
                  </a:cubicBezTo>
                  <a:lnTo>
                    <a:pt x="1487" y="1399"/>
                  </a:lnTo>
                  <a:close/>
                  <a:moveTo>
                    <a:pt x="3982" y="842"/>
                  </a:moveTo>
                  <a:cubicBezTo>
                    <a:pt x="3959" y="854"/>
                    <a:pt x="3991" y="862"/>
                    <a:pt x="3991" y="862"/>
                  </a:cubicBezTo>
                  <a:cubicBezTo>
                    <a:pt x="4014" y="849"/>
                    <a:pt x="4006" y="829"/>
                    <a:pt x="3982" y="842"/>
                  </a:cubicBezTo>
                  <a:close/>
                  <a:moveTo>
                    <a:pt x="3698" y="1210"/>
                  </a:moveTo>
                  <a:cubicBezTo>
                    <a:pt x="3730" y="1209"/>
                    <a:pt x="3741" y="1183"/>
                    <a:pt x="3710" y="1183"/>
                  </a:cubicBezTo>
                  <a:cubicBezTo>
                    <a:pt x="3678" y="1184"/>
                    <a:pt x="3698" y="1210"/>
                    <a:pt x="3698" y="1210"/>
                  </a:cubicBezTo>
                  <a:close/>
                  <a:moveTo>
                    <a:pt x="3875" y="899"/>
                  </a:moveTo>
                  <a:cubicBezTo>
                    <a:pt x="3834" y="912"/>
                    <a:pt x="3875" y="926"/>
                    <a:pt x="3875" y="926"/>
                  </a:cubicBezTo>
                  <a:cubicBezTo>
                    <a:pt x="3897" y="910"/>
                    <a:pt x="3916" y="885"/>
                    <a:pt x="3875" y="899"/>
                  </a:cubicBezTo>
                  <a:close/>
                  <a:moveTo>
                    <a:pt x="3938" y="838"/>
                  </a:moveTo>
                  <a:cubicBezTo>
                    <a:pt x="3938" y="838"/>
                    <a:pt x="3915" y="835"/>
                    <a:pt x="3905" y="827"/>
                  </a:cubicBezTo>
                  <a:cubicBezTo>
                    <a:pt x="3895" y="819"/>
                    <a:pt x="3900" y="798"/>
                    <a:pt x="3900" y="798"/>
                  </a:cubicBezTo>
                  <a:cubicBezTo>
                    <a:pt x="3879" y="782"/>
                    <a:pt x="3879" y="782"/>
                    <a:pt x="3879" y="782"/>
                  </a:cubicBezTo>
                  <a:cubicBezTo>
                    <a:pt x="3852" y="785"/>
                    <a:pt x="3852" y="785"/>
                    <a:pt x="3852" y="785"/>
                  </a:cubicBezTo>
                  <a:cubicBezTo>
                    <a:pt x="3848" y="776"/>
                    <a:pt x="3848" y="776"/>
                    <a:pt x="3848" y="776"/>
                  </a:cubicBezTo>
                  <a:cubicBezTo>
                    <a:pt x="3835" y="754"/>
                    <a:pt x="3835" y="754"/>
                    <a:pt x="3835" y="754"/>
                  </a:cubicBezTo>
                  <a:cubicBezTo>
                    <a:pt x="3812" y="758"/>
                    <a:pt x="3812" y="758"/>
                    <a:pt x="3812" y="758"/>
                  </a:cubicBezTo>
                  <a:cubicBezTo>
                    <a:pt x="3799" y="751"/>
                    <a:pt x="3799" y="751"/>
                    <a:pt x="3799" y="751"/>
                  </a:cubicBezTo>
                  <a:cubicBezTo>
                    <a:pt x="3811" y="740"/>
                    <a:pt x="3811" y="740"/>
                    <a:pt x="3811" y="740"/>
                  </a:cubicBezTo>
                  <a:cubicBezTo>
                    <a:pt x="3809" y="723"/>
                    <a:pt x="3809" y="723"/>
                    <a:pt x="3809" y="723"/>
                  </a:cubicBezTo>
                  <a:cubicBezTo>
                    <a:pt x="3775" y="741"/>
                    <a:pt x="3775" y="741"/>
                    <a:pt x="3775" y="741"/>
                  </a:cubicBezTo>
                  <a:cubicBezTo>
                    <a:pt x="3758" y="749"/>
                    <a:pt x="3758" y="749"/>
                    <a:pt x="3758" y="749"/>
                  </a:cubicBezTo>
                  <a:cubicBezTo>
                    <a:pt x="3739" y="777"/>
                    <a:pt x="3739" y="777"/>
                    <a:pt x="3739" y="777"/>
                  </a:cubicBezTo>
                  <a:cubicBezTo>
                    <a:pt x="3739" y="777"/>
                    <a:pt x="3708" y="784"/>
                    <a:pt x="3706" y="790"/>
                  </a:cubicBezTo>
                  <a:cubicBezTo>
                    <a:pt x="3704" y="796"/>
                    <a:pt x="3716" y="803"/>
                    <a:pt x="3706" y="806"/>
                  </a:cubicBezTo>
                  <a:cubicBezTo>
                    <a:pt x="3697" y="810"/>
                    <a:pt x="3668" y="820"/>
                    <a:pt x="3668" y="820"/>
                  </a:cubicBezTo>
                  <a:cubicBezTo>
                    <a:pt x="3685" y="828"/>
                    <a:pt x="3685" y="828"/>
                    <a:pt x="3685" y="828"/>
                  </a:cubicBezTo>
                  <a:cubicBezTo>
                    <a:pt x="3685" y="828"/>
                    <a:pt x="3712" y="824"/>
                    <a:pt x="3713" y="827"/>
                  </a:cubicBezTo>
                  <a:cubicBezTo>
                    <a:pt x="3713" y="830"/>
                    <a:pt x="3707" y="835"/>
                    <a:pt x="3707" y="846"/>
                  </a:cubicBezTo>
                  <a:cubicBezTo>
                    <a:pt x="3707" y="857"/>
                    <a:pt x="3750" y="858"/>
                    <a:pt x="3769" y="848"/>
                  </a:cubicBezTo>
                  <a:cubicBezTo>
                    <a:pt x="3788" y="839"/>
                    <a:pt x="3778" y="821"/>
                    <a:pt x="3806" y="822"/>
                  </a:cubicBezTo>
                  <a:cubicBezTo>
                    <a:pt x="3833" y="822"/>
                    <a:pt x="3837" y="831"/>
                    <a:pt x="3837" y="831"/>
                  </a:cubicBezTo>
                  <a:cubicBezTo>
                    <a:pt x="3868" y="836"/>
                    <a:pt x="3868" y="836"/>
                    <a:pt x="3868" y="836"/>
                  </a:cubicBezTo>
                  <a:cubicBezTo>
                    <a:pt x="3872" y="847"/>
                    <a:pt x="3872" y="847"/>
                    <a:pt x="3872" y="847"/>
                  </a:cubicBezTo>
                  <a:cubicBezTo>
                    <a:pt x="3934" y="851"/>
                    <a:pt x="3934" y="851"/>
                    <a:pt x="3934" y="851"/>
                  </a:cubicBezTo>
                  <a:lnTo>
                    <a:pt x="3938" y="838"/>
                  </a:lnTo>
                  <a:close/>
                  <a:moveTo>
                    <a:pt x="3767" y="885"/>
                  </a:moveTo>
                  <a:cubicBezTo>
                    <a:pt x="3712" y="935"/>
                    <a:pt x="3802" y="899"/>
                    <a:pt x="3802" y="899"/>
                  </a:cubicBezTo>
                  <a:cubicBezTo>
                    <a:pt x="3848" y="856"/>
                    <a:pt x="3821" y="834"/>
                    <a:pt x="3767" y="885"/>
                  </a:cubicBezTo>
                  <a:close/>
                  <a:moveTo>
                    <a:pt x="4240" y="874"/>
                  </a:moveTo>
                  <a:cubicBezTo>
                    <a:pt x="4228" y="875"/>
                    <a:pt x="4229" y="891"/>
                    <a:pt x="4243" y="891"/>
                  </a:cubicBezTo>
                  <a:cubicBezTo>
                    <a:pt x="4267" y="891"/>
                    <a:pt x="4253" y="872"/>
                    <a:pt x="4240" y="874"/>
                  </a:cubicBezTo>
                  <a:close/>
                  <a:moveTo>
                    <a:pt x="1646" y="1241"/>
                  </a:moveTo>
                  <a:cubicBezTo>
                    <a:pt x="1652" y="1228"/>
                    <a:pt x="1637" y="1213"/>
                    <a:pt x="1627" y="1223"/>
                  </a:cubicBezTo>
                  <a:cubicBezTo>
                    <a:pt x="1617" y="1233"/>
                    <a:pt x="1611" y="1263"/>
                    <a:pt x="1611" y="1263"/>
                  </a:cubicBezTo>
                  <a:cubicBezTo>
                    <a:pt x="1611" y="1263"/>
                    <a:pt x="1624" y="1252"/>
                    <a:pt x="1629" y="1252"/>
                  </a:cubicBezTo>
                  <a:cubicBezTo>
                    <a:pt x="1634" y="1252"/>
                    <a:pt x="1640" y="1254"/>
                    <a:pt x="1646" y="1241"/>
                  </a:cubicBezTo>
                  <a:close/>
                  <a:moveTo>
                    <a:pt x="1638" y="1161"/>
                  </a:moveTo>
                  <a:cubicBezTo>
                    <a:pt x="1620" y="1158"/>
                    <a:pt x="1620" y="1158"/>
                    <a:pt x="1620" y="1158"/>
                  </a:cubicBezTo>
                  <a:cubicBezTo>
                    <a:pt x="1620" y="1158"/>
                    <a:pt x="1595" y="1176"/>
                    <a:pt x="1598" y="1183"/>
                  </a:cubicBezTo>
                  <a:cubicBezTo>
                    <a:pt x="1604" y="1197"/>
                    <a:pt x="1624" y="1175"/>
                    <a:pt x="1624" y="1175"/>
                  </a:cubicBezTo>
                  <a:cubicBezTo>
                    <a:pt x="1639" y="1171"/>
                    <a:pt x="1639" y="1171"/>
                    <a:pt x="1639" y="1171"/>
                  </a:cubicBezTo>
                  <a:lnTo>
                    <a:pt x="1638" y="1161"/>
                  </a:lnTo>
                  <a:close/>
                  <a:moveTo>
                    <a:pt x="1553" y="1272"/>
                  </a:moveTo>
                  <a:cubicBezTo>
                    <a:pt x="1559" y="1247"/>
                    <a:pt x="1559" y="1247"/>
                    <a:pt x="1559" y="1247"/>
                  </a:cubicBezTo>
                  <a:cubicBezTo>
                    <a:pt x="1548" y="1252"/>
                    <a:pt x="1548" y="1252"/>
                    <a:pt x="1548" y="1252"/>
                  </a:cubicBezTo>
                  <a:cubicBezTo>
                    <a:pt x="1544" y="1271"/>
                    <a:pt x="1544" y="1271"/>
                    <a:pt x="1544" y="1271"/>
                  </a:cubicBezTo>
                  <a:lnTo>
                    <a:pt x="1553" y="1272"/>
                  </a:lnTo>
                  <a:close/>
                  <a:moveTo>
                    <a:pt x="1558" y="1149"/>
                  </a:moveTo>
                  <a:cubicBezTo>
                    <a:pt x="1557" y="1155"/>
                    <a:pt x="1550" y="1168"/>
                    <a:pt x="1550" y="1168"/>
                  </a:cubicBezTo>
                  <a:cubicBezTo>
                    <a:pt x="1549" y="1177"/>
                    <a:pt x="1549" y="1177"/>
                    <a:pt x="1549" y="1177"/>
                  </a:cubicBezTo>
                  <a:cubicBezTo>
                    <a:pt x="1549" y="1177"/>
                    <a:pt x="1541" y="1181"/>
                    <a:pt x="1540" y="1188"/>
                  </a:cubicBezTo>
                  <a:cubicBezTo>
                    <a:pt x="1539" y="1195"/>
                    <a:pt x="1546" y="1199"/>
                    <a:pt x="1546" y="1199"/>
                  </a:cubicBezTo>
                  <a:cubicBezTo>
                    <a:pt x="1546" y="1199"/>
                    <a:pt x="1559" y="1179"/>
                    <a:pt x="1576" y="1166"/>
                  </a:cubicBezTo>
                  <a:cubicBezTo>
                    <a:pt x="1593" y="1153"/>
                    <a:pt x="1590" y="1138"/>
                    <a:pt x="1583" y="1135"/>
                  </a:cubicBezTo>
                  <a:cubicBezTo>
                    <a:pt x="1576" y="1132"/>
                    <a:pt x="1559" y="1143"/>
                    <a:pt x="1558" y="1149"/>
                  </a:cubicBezTo>
                  <a:close/>
                  <a:moveTo>
                    <a:pt x="4429" y="4263"/>
                  </a:moveTo>
                  <a:cubicBezTo>
                    <a:pt x="4438" y="4234"/>
                    <a:pt x="4438" y="4234"/>
                    <a:pt x="4438" y="4234"/>
                  </a:cubicBezTo>
                  <a:cubicBezTo>
                    <a:pt x="4438" y="4234"/>
                    <a:pt x="4445" y="4220"/>
                    <a:pt x="4444" y="4207"/>
                  </a:cubicBezTo>
                  <a:cubicBezTo>
                    <a:pt x="4443" y="4194"/>
                    <a:pt x="4423" y="4199"/>
                    <a:pt x="4412" y="4199"/>
                  </a:cubicBezTo>
                  <a:cubicBezTo>
                    <a:pt x="4412" y="4199"/>
                    <a:pt x="4396" y="4208"/>
                    <a:pt x="4389" y="4207"/>
                  </a:cubicBezTo>
                  <a:cubicBezTo>
                    <a:pt x="4383" y="4206"/>
                    <a:pt x="4355" y="4199"/>
                    <a:pt x="4345" y="4201"/>
                  </a:cubicBezTo>
                  <a:cubicBezTo>
                    <a:pt x="4335" y="4203"/>
                    <a:pt x="4346" y="4226"/>
                    <a:pt x="4346" y="4226"/>
                  </a:cubicBezTo>
                  <a:cubicBezTo>
                    <a:pt x="4335" y="4228"/>
                    <a:pt x="4335" y="4228"/>
                    <a:pt x="4335" y="4228"/>
                  </a:cubicBezTo>
                  <a:cubicBezTo>
                    <a:pt x="4335" y="4244"/>
                    <a:pt x="4335" y="4244"/>
                    <a:pt x="4335" y="4244"/>
                  </a:cubicBezTo>
                  <a:cubicBezTo>
                    <a:pt x="4349" y="4250"/>
                    <a:pt x="4349" y="4250"/>
                    <a:pt x="4349" y="4250"/>
                  </a:cubicBezTo>
                  <a:cubicBezTo>
                    <a:pt x="4339" y="4258"/>
                    <a:pt x="4339" y="4258"/>
                    <a:pt x="4339" y="4258"/>
                  </a:cubicBezTo>
                  <a:cubicBezTo>
                    <a:pt x="4339" y="4258"/>
                    <a:pt x="4342" y="4274"/>
                    <a:pt x="4348" y="4284"/>
                  </a:cubicBezTo>
                  <a:cubicBezTo>
                    <a:pt x="4355" y="4294"/>
                    <a:pt x="4375" y="4288"/>
                    <a:pt x="4382" y="4288"/>
                  </a:cubicBezTo>
                  <a:cubicBezTo>
                    <a:pt x="4388" y="4288"/>
                    <a:pt x="4387" y="4280"/>
                    <a:pt x="4387" y="4280"/>
                  </a:cubicBezTo>
                  <a:cubicBezTo>
                    <a:pt x="4387" y="4280"/>
                    <a:pt x="4400" y="4276"/>
                    <a:pt x="4411" y="4276"/>
                  </a:cubicBezTo>
                  <a:cubicBezTo>
                    <a:pt x="4422" y="4276"/>
                    <a:pt x="4429" y="4263"/>
                    <a:pt x="4429" y="4263"/>
                  </a:cubicBezTo>
                  <a:close/>
                  <a:moveTo>
                    <a:pt x="4330" y="4191"/>
                  </a:moveTo>
                  <a:cubicBezTo>
                    <a:pt x="4317" y="4207"/>
                    <a:pt x="4317" y="4207"/>
                    <a:pt x="4317" y="4207"/>
                  </a:cubicBezTo>
                  <a:cubicBezTo>
                    <a:pt x="4328" y="4212"/>
                    <a:pt x="4328" y="4212"/>
                    <a:pt x="4328" y="4212"/>
                  </a:cubicBezTo>
                  <a:cubicBezTo>
                    <a:pt x="4339" y="4195"/>
                    <a:pt x="4339" y="4195"/>
                    <a:pt x="4339" y="4195"/>
                  </a:cubicBezTo>
                  <a:lnTo>
                    <a:pt x="4330" y="4191"/>
                  </a:lnTo>
                  <a:close/>
                  <a:moveTo>
                    <a:pt x="4367" y="4178"/>
                  </a:moveTo>
                  <a:cubicBezTo>
                    <a:pt x="4353" y="4179"/>
                    <a:pt x="4353" y="4179"/>
                    <a:pt x="4353" y="4179"/>
                  </a:cubicBezTo>
                  <a:cubicBezTo>
                    <a:pt x="4352" y="4190"/>
                    <a:pt x="4352" y="4190"/>
                    <a:pt x="4352" y="4190"/>
                  </a:cubicBezTo>
                  <a:cubicBezTo>
                    <a:pt x="4374" y="4191"/>
                    <a:pt x="4374" y="4191"/>
                    <a:pt x="4374" y="4191"/>
                  </a:cubicBezTo>
                  <a:cubicBezTo>
                    <a:pt x="4386" y="4174"/>
                    <a:pt x="4386" y="4174"/>
                    <a:pt x="4386" y="4174"/>
                  </a:cubicBezTo>
                  <a:cubicBezTo>
                    <a:pt x="4377" y="4163"/>
                    <a:pt x="4377" y="4163"/>
                    <a:pt x="4377" y="4163"/>
                  </a:cubicBezTo>
                  <a:lnTo>
                    <a:pt x="4367" y="4178"/>
                  </a:lnTo>
                  <a:close/>
                  <a:moveTo>
                    <a:pt x="4402" y="4194"/>
                  </a:moveTo>
                  <a:cubicBezTo>
                    <a:pt x="4390" y="4183"/>
                    <a:pt x="4390" y="4183"/>
                    <a:pt x="4390" y="4183"/>
                  </a:cubicBezTo>
                  <a:cubicBezTo>
                    <a:pt x="4375" y="4200"/>
                    <a:pt x="4375" y="4200"/>
                    <a:pt x="4375" y="4200"/>
                  </a:cubicBezTo>
                  <a:cubicBezTo>
                    <a:pt x="4387" y="4199"/>
                    <a:pt x="4387" y="4199"/>
                    <a:pt x="4387" y="4199"/>
                  </a:cubicBezTo>
                  <a:lnTo>
                    <a:pt x="4402" y="4194"/>
                  </a:lnTo>
                  <a:close/>
                  <a:moveTo>
                    <a:pt x="3763" y="6942"/>
                  </a:moveTo>
                  <a:cubicBezTo>
                    <a:pt x="3766" y="6925"/>
                    <a:pt x="3766" y="6925"/>
                    <a:pt x="3766" y="6925"/>
                  </a:cubicBezTo>
                  <a:cubicBezTo>
                    <a:pt x="3763" y="6900"/>
                    <a:pt x="3763" y="6900"/>
                    <a:pt x="3763" y="6900"/>
                  </a:cubicBezTo>
                  <a:cubicBezTo>
                    <a:pt x="3752" y="6896"/>
                    <a:pt x="3752" y="6896"/>
                    <a:pt x="3752" y="6896"/>
                  </a:cubicBezTo>
                  <a:cubicBezTo>
                    <a:pt x="3752" y="6907"/>
                    <a:pt x="3752" y="6907"/>
                    <a:pt x="3752" y="6907"/>
                  </a:cubicBezTo>
                  <a:cubicBezTo>
                    <a:pt x="3730" y="6903"/>
                    <a:pt x="3730" y="6903"/>
                    <a:pt x="3730" y="6903"/>
                  </a:cubicBezTo>
                  <a:cubicBezTo>
                    <a:pt x="3747" y="6926"/>
                    <a:pt x="3747" y="6926"/>
                    <a:pt x="3747" y="6926"/>
                  </a:cubicBezTo>
                  <a:cubicBezTo>
                    <a:pt x="3743" y="6955"/>
                    <a:pt x="3743" y="6955"/>
                    <a:pt x="3743" y="6955"/>
                  </a:cubicBezTo>
                  <a:lnTo>
                    <a:pt x="3763" y="6942"/>
                  </a:lnTo>
                  <a:close/>
                  <a:moveTo>
                    <a:pt x="4098" y="7134"/>
                  </a:moveTo>
                  <a:cubicBezTo>
                    <a:pt x="4104" y="7128"/>
                    <a:pt x="4104" y="7128"/>
                    <a:pt x="4104" y="7128"/>
                  </a:cubicBezTo>
                  <a:cubicBezTo>
                    <a:pt x="4077" y="7125"/>
                    <a:pt x="4077" y="7125"/>
                    <a:pt x="4077" y="7125"/>
                  </a:cubicBezTo>
                  <a:cubicBezTo>
                    <a:pt x="4053" y="7125"/>
                    <a:pt x="4053" y="7125"/>
                    <a:pt x="4053" y="7125"/>
                  </a:cubicBezTo>
                  <a:cubicBezTo>
                    <a:pt x="4062" y="7149"/>
                    <a:pt x="4062" y="7149"/>
                    <a:pt x="4062" y="7149"/>
                  </a:cubicBezTo>
                  <a:cubicBezTo>
                    <a:pt x="4085" y="7151"/>
                    <a:pt x="4085" y="7151"/>
                    <a:pt x="4085" y="7151"/>
                  </a:cubicBezTo>
                  <a:cubicBezTo>
                    <a:pt x="4079" y="7141"/>
                    <a:pt x="4079" y="7141"/>
                    <a:pt x="4079" y="7141"/>
                  </a:cubicBezTo>
                  <a:cubicBezTo>
                    <a:pt x="4085" y="7137"/>
                    <a:pt x="4085" y="7137"/>
                    <a:pt x="4085" y="7137"/>
                  </a:cubicBezTo>
                  <a:cubicBezTo>
                    <a:pt x="4092" y="7147"/>
                    <a:pt x="4092" y="7147"/>
                    <a:pt x="4092" y="7147"/>
                  </a:cubicBezTo>
                  <a:cubicBezTo>
                    <a:pt x="4123" y="7147"/>
                    <a:pt x="4123" y="7147"/>
                    <a:pt x="4123" y="7147"/>
                  </a:cubicBezTo>
                  <a:cubicBezTo>
                    <a:pt x="4133" y="7159"/>
                    <a:pt x="4133" y="7159"/>
                    <a:pt x="4133" y="7159"/>
                  </a:cubicBezTo>
                  <a:cubicBezTo>
                    <a:pt x="4146" y="7159"/>
                    <a:pt x="4146" y="7159"/>
                    <a:pt x="4146" y="7159"/>
                  </a:cubicBezTo>
                  <a:cubicBezTo>
                    <a:pt x="4126" y="7138"/>
                    <a:pt x="4126" y="7138"/>
                    <a:pt x="4126" y="7138"/>
                  </a:cubicBezTo>
                  <a:lnTo>
                    <a:pt x="4098" y="7134"/>
                  </a:lnTo>
                  <a:close/>
                  <a:moveTo>
                    <a:pt x="3867" y="6985"/>
                  </a:moveTo>
                  <a:cubicBezTo>
                    <a:pt x="3867" y="6985"/>
                    <a:pt x="3841" y="6972"/>
                    <a:pt x="3838" y="6984"/>
                  </a:cubicBezTo>
                  <a:cubicBezTo>
                    <a:pt x="3835" y="6996"/>
                    <a:pt x="3831" y="7011"/>
                    <a:pt x="3835" y="7011"/>
                  </a:cubicBezTo>
                  <a:cubicBezTo>
                    <a:pt x="3840" y="7011"/>
                    <a:pt x="3857" y="7004"/>
                    <a:pt x="3857" y="7004"/>
                  </a:cubicBezTo>
                  <a:cubicBezTo>
                    <a:pt x="3859" y="7020"/>
                    <a:pt x="3859" y="7020"/>
                    <a:pt x="3859" y="7020"/>
                  </a:cubicBezTo>
                  <a:cubicBezTo>
                    <a:pt x="3880" y="7010"/>
                    <a:pt x="3880" y="7010"/>
                    <a:pt x="3880" y="7010"/>
                  </a:cubicBezTo>
                  <a:cubicBezTo>
                    <a:pt x="3869" y="7000"/>
                    <a:pt x="3869" y="7000"/>
                    <a:pt x="3869" y="7000"/>
                  </a:cubicBezTo>
                  <a:cubicBezTo>
                    <a:pt x="3873" y="6988"/>
                    <a:pt x="3873" y="6988"/>
                    <a:pt x="3873" y="6988"/>
                  </a:cubicBezTo>
                  <a:lnTo>
                    <a:pt x="3867" y="6985"/>
                  </a:lnTo>
                  <a:close/>
                  <a:moveTo>
                    <a:pt x="3994" y="7061"/>
                  </a:moveTo>
                  <a:cubicBezTo>
                    <a:pt x="3986" y="7072"/>
                    <a:pt x="3986" y="7072"/>
                    <a:pt x="3986" y="7072"/>
                  </a:cubicBezTo>
                  <a:cubicBezTo>
                    <a:pt x="3990" y="7092"/>
                    <a:pt x="3990" y="7092"/>
                    <a:pt x="3990" y="7092"/>
                  </a:cubicBezTo>
                  <a:cubicBezTo>
                    <a:pt x="4006" y="7086"/>
                    <a:pt x="4006" y="7086"/>
                    <a:pt x="4006" y="7086"/>
                  </a:cubicBezTo>
                  <a:lnTo>
                    <a:pt x="3994" y="7061"/>
                  </a:lnTo>
                  <a:close/>
                  <a:moveTo>
                    <a:pt x="3997" y="7104"/>
                  </a:moveTo>
                  <a:cubicBezTo>
                    <a:pt x="3955" y="7099"/>
                    <a:pt x="3955" y="7099"/>
                    <a:pt x="3955" y="7099"/>
                  </a:cubicBezTo>
                  <a:cubicBezTo>
                    <a:pt x="3960" y="7111"/>
                    <a:pt x="3960" y="7111"/>
                    <a:pt x="3960" y="7111"/>
                  </a:cubicBezTo>
                  <a:cubicBezTo>
                    <a:pt x="3987" y="7110"/>
                    <a:pt x="3987" y="7110"/>
                    <a:pt x="3987" y="7110"/>
                  </a:cubicBezTo>
                  <a:cubicBezTo>
                    <a:pt x="3997" y="7124"/>
                    <a:pt x="3997" y="7124"/>
                    <a:pt x="3997" y="7124"/>
                  </a:cubicBezTo>
                  <a:cubicBezTo>
                    <a:pt x="4035" y="7140"/>
                    <a:pt x="4035" y="7140"/>
                    <a:pt x="4035" y="7140"/>
                  </a:cubicBezTo>
                  <a:cubicBezTo>
                    <a:pt x="4012" y="7120"/>
                    <a:pt x="4012" y="7120"/>
                    <a:pt x="4012" y="7120"/>
                  </a:cubicBezTo>
                  <a:lnTo>
                    <a:pt x="3997" y="7104"/>
                  </a:lnTo>
                  <a:close/>
                  <a:moveTo>
                    <a:pt x="3975" y="7091"/>
                  </a:moveTo>
                  <a:cubicBezTo>
                    <a:pt x="3973" y="7079"/>
                    <a:pt x="3973" y="7079"/>
                    <a:pt x="3973" y="7079"/>
                  </a:cubicBezTo>
                  <a:cubicBezTo>
                    <a:pt x="3939" y="7071"/>
                    <a:pt x="3939" y="7071"/>
                    <a:pt x="3939" y="7071"/>
                  </a:cubicBezTo>
                  <a:cubicBezTo>
                    <a:pt x="3931" y="7082"/>
                    <a:pt x="3931" y="7082"/>
                    <a:pt x="3931" y="7082"/>
                  </a:cubicBezTo>
                  <a:cubicBezTo>
                    <a:pt x="3932" y="7095"/>
                    <a:pt x="3932" y="7095"/>
                    <a:pt x="3932" y="7095"/>
                  </a:cubicBezTo>
                  <a:cubicBezTo>
                    <a:pt x="3955" y="7086"/>
                    <a:pt x="3955" y="7086"/>
                    <a:pt x="3955" y="7086"/>
                  </a:cubicBezTo>
                  <a:lnTo>
                    <a:pt x="3975" y="7091"/>
                  </a:lnTo>
                  <a:close/>
                  <a:moveTo>
                    <a:pt x="4085" y="7040"/>
                  </a:moveTo>
                  <a:cubicBezTo>
                    <a:pt x="4062" y="7040"/>
                    <a:pt x="4062" y="7040"/>
                    <a:pt x="4062" y="7040"/>
                  </a:cubicBezTo>
                  <a:cubicBezTo>
                    <a:pt x="4066" y="7029"/>
                    <a:pt x="4066" y="7029"/>
                    <a:pt x="4066" y="7029"/>
                  </a:cubicBezTo>
                  <a:cubicBezTo>
                    <a:pt x="4040" y="7003"/>
                    <a:pt x="4040" y="7003"/>
                    <a:pt x="4040" y="7003"/>
                  </a:cubicBezTo>
                  <a:cubicBezTo>
                    <a:pt x="4019" y="7009"/>
                    <a:pt x="4019" y="7009"/>
                    <a:pt x="4019" y="7009"/>
                  </a:cubicBezTo>
                  <a:cubicBezTo>
                    <a:pt x="4010" y="7001"/>
                    <a:pt x="4010" y="7001"/>
                    <a:pt x="4010" y="7001"/>
                  </a:cubicBezTo>
                  <a:cubicBezTo>
                    <a:pt x="4003" y="7013"/>
                    <a:pt x="4003" y="7013"/>
                    <a:pt x="4003" y="7013"/>
                  </a:cubicBezTo>
                  <a:cubicBezTo>
                    <a:pt x="3990" y="7016"/>
                    <a:pt x="3990" y="7016"/>
                    <a:pt x="3990" y="7016"/>
                  </a:cubicBezTo>
                  <a:cubicBezTo>
                    <a:pt x="3991" y="7027"/>
                    <a:pt x="3991" y="7027"/>
                    <a:pt x="3991" y="7027"/>
                  </a:cubicBezTo>
                  <a:cubicBezTo>
                    <a:pt x="3980" y="7029"/>
                    <a:pt x="3980" y="7029"/>
                    <a:pt x="3980" y="7029"/>
                  </a:cubicBezTo>
                  <a:cubicBezTo>
                    <a:pt x="3981" y="7047"/>
                    <a:pt x="3981" y="7047"/>
                    <a:pt x="3981" y="7047"/>
                  </a:cubicBezTo>
                  <a:cubicBezTo>
                    <a:pt x="3994" y="7060"/>
                    <a:pt x="4017" y="7037"/>
                    <a:pt x="4017" y="7037"/>
                  </a:cubicBezTo>
                  <a:cubicBezTo>
                    <a:pt x="4032" y="7043"/>
                    <a:pt x="4032" y="7043"/>
                    <a:pt x="4032" y="7043"/>
                  </a:cubicBezTo>
                  <a:cubicBezTo>
                    <a:pt x="4032" y="7056"/>
                    <a:pt x="4032" y="7056"/>
                    <a:pt x="4032" y="7056"/>
                  </a:cubicBezTo>
                  <a:cubicBezTo>
                    <a:pt x="4032" y="7056"/>
                    <a:pt x="4001" y="7071"/>
                    <a:pt x="4012" y="7075"/>
                  </a:cubicBezTo>
                  <a:cubicBezTo>
                    <a:pt x="4022" y="7079"/>
                    <a:pt x="4075" y="7097"/>
                    <a:pt x="4075" y="7097"/>
                  </a:cubicBezTo>
                  <a:cubicBezTo>
                    <a:pt x="4065" y="7111"/>
                    <a:pt x="4065" y="7111"/>
                    <a:pt x="4065" y="7111"/>
                  </a:cubicBezTo>
                  <a:cubicBezTo>
                    <a:pt x="4065" y="7111"/>
                    <a:pt x="4062" y="7098"/>
                    <a:pt x="4052" y="7098"/>
                  </a:cubicBezTo>
                  <a:cubicBezTo>
                    <a:pt x="4042" y="7098"/>
                    <a:pt x="4039" y="7105"/>
                    <a:pt x="4039" y="7105"/>
                  </a:cubicBezTo>
                  <a:cubicBezTo>
                    <a:pt x="4027" y="7091"/>
                    <a:pt x="4027" y="7091"/>
                    <a:pt x="4027" y="7091"/>
                  </a:cubicBezTo>
                  <a:cubicBezTo>
                    <a:pt x="4016" y="7095"/>
                    <a:pt x="4016" y="7095"/>
                    <a:pt x="4016" y="7095"/>
                  </a:cubicBezTo>
                  <a:cubicBezTo>
                    <a:pt x="4025" y="7102"/>
                    <a:pt x="4025" y="7102"/>
                    <a:pt x="4025" y="7102"/>
                  </a:cubicBezTo>
                  <a:cubicBezTo>
                    <a:pt x="4004" y="7099"/>
                    <a:pt x="4004" y="7099"/>
                    <a:pt x="4004" y="7099"/>
                  </a:cubicBezTo>
                  <a:cubicBezTo>
                    <a:pt x="4004" y="7099"/>
                    <a:pt x="4010" y="7115"/>
                    <a:pt x="4026" y="7115"/>
                  </a:cubicBezTo>
                  <a:cubicBezTo>
                    <a:pt x="4042" y="7115"/>
                    <a:pt x="4055" y="7115"/>
                    <a:pt x="4055" y="7115"/>
                  </a:cubicBezTo>
                  <a:cubicBezTo>
                    <a:pt x="4055" y="7115"/>
                    <a:pt x="4071" y="7121"/>
                    <a:pt x="4081" y="7120"/>
                  </a:cubicBezTo>
                  <a:cubicBezTo>
                    <a:pt x="4091" y="7118"/>
                    <a:pt x="4136" y="7118"/>
                    <a:pt x="4150" y="7118"/>
                  </a:cubicBezTo>
                  <a:cubicBezTo>
                    <a:pt x="4165" y="7118"/>
                    <a:pt x="4185" y="7131"/>
                    <a:pt x="4185" y="7131"/>
                  </a:cubicBezTo>
                  <a:cubicBezTo>
                    <a:pt x="4206" y="7120"/>
                    <a:pt x="4206" y="7120"/>
                    <a:pt x="4206" y="7120"/>
                  </a:cubicBezTo>
                  <a:cubicBezTo>
                    <a:pt x="4218" y="7124"/>
                    <a:pt x="4218" y="7124"/>
                    <a:pt x="4218" y="7124"/>
                  </a:cubicBezTo>
                  <a:cubicBezTo>
                    <a:pt x="4230" y="7123"/>
                    <a:pt x="4230" y="7123"/>
                    <a:pt x="4230" y="7123"/>
                  </a:cubicBezTo>
                  <a:cubicBezTo>
                    <a:pt x="4231" y="7107"/>
                    <a:pt x="4231" y="7107"/>
                    <a:pt x="4231" y="7107"/>
                  </a:cubicBezTo>
                  <a:cubicBezTo>
                    <a:pt x="4231" y="7107"/>
                    <a:pt x="4189" y="7105"/>
                    <a:pt x="4137" y="7079"/>
                  </a:cubicBezTo>
                  <a:cubicBezTo>
                    <a:pt x="4085" y="7053"/>
                    <a:pt x="4085" y="7040"/>
                    <a:pt x="4085" y="7040"/>
                  </a:cubicBezTo>
                  <a:close/>
                  <a:moveTo>
                    <a:pt x="4118" y="7130"/>
                  </a:moveTo>
                  <a:cubicBezTo>
                    <a:pt x="4136" y="7140"/>
                    <a:pt x="4136" y="7140"/>
                    <a:pt x="4136" y="7140"/>
                  </a:cubicBezTo>
                  <a:cubicBezTo>
                    <a:pt x="4172" y="7143"/>
                    <a:pt x="4172" y="7143"/>
                    <a:pt x="4172" y="7143"/>
                  </a:cubicBezTo>
                  <a:cubicBezTo>
                    <a:pt x="4153" y="7125"/>
                    <a:pt x="4153" y="7125"/>
                    <a:pt x="4153" y="7125"/>
                  </a:cubicBezTo>
                  <a:lnTo>
                    <a:pt x="4118" y="7130"/>
                  </a:lnTo>
                  <a:close/>
                  <a:moveTo>
                    <a:pt x="4293" y="4234"/>
                  </a:moveTo>
                  <a:cubicBezTo>
                    <a:pt x="4290" y="4248"/>
                    <a:pt x="4290" y="4248"/>
                    <a:pt x="4290" y="4248"/>
                  </a:cubicBezTo>
                  <a:cubicBezTo>
                    <a:pt x="4280" y="4271"/>
                    <a:pt x="4280" y="4271"/>
                    <a:pt x="4280" y="4271"/>
                  </a:cubicBezTo>
                  <a:cubicBezTo>
                    <a:pt x="4300" y="4259"/>
                    <a:pt x="4300" y="4259"/>
                    <a:pt x="4300" y="4259"/>
                  </a:cubicBezTo>
                  <a:cubicBezTo>
                    <a:pt x="4300" y="4259"/>
                    <a:pt x="4322" y="4229"/>
                    <a:pt x="4314" y="4224"/>
                  </a:cubicBezTo>
                  <a:cubicBezTo>
                    <a:pt x="4305" y="4218"/>
                    <a:pt x="4293" y="4234"/>
                    <a:pt x="4293" y="4234"/>
                  </a:cubicBezTo>
                  <a:close/>
                  <a:moveTo>
                    <a:pt x="3623" y="6528"/>
                  </a:moveTo>
                  <a:cubicBezTo>
                    <a:pt x="3625" y="6496"/>
                    <a:pt x="3625" y="6496"/>
                    <a:pt x="3625" y="6496"/>
                  </a:cubicBezTo>
                  <a:cubicBezTo>
                    <a:pt x="3604" y="6476"/>
                    <a:pt x="3604" y="6476"/>
                    <a:pt x="3604" y="6476"/>
                  </a:cubicBezTo>
                  <a:cubicBezTo>
                    <a:pt x="3614" y="6466"/>
                    <a:pt x="3614" y="6466"/>
                    <a:pt x="3614" y="6466"/>
                  </a:cubicBezTo>
                  <a:cubicBezTo>
                    <a:pt x="3600" y="6450"/>
                    <a:pt x="3600" y="6450"/>
                    <a:pt x="3600" y="6450"/>
                  </a:cubicBezTo>
                  <a:cubicBezTo>
                    <a:pt x="3577" y="6441"/>
                    <a:pt x="3577" y="6441"/>
                    <a:pt x="3577" y="6441"/>
                  </a:cubicBezTo>
                  <a:cubicBezTo>
                    <a:pt x="3577" y="6441"/>
                    <a:pt x="3574" y="6477"/>
                    <a:pt x="3583" y="6480"/>
                  </a:cubicBezTo>
                  <a:cubicBezTo>
                    <a:pt x="3591" y="6483"/>
                    <a:pt x="3597" y="6503"/>
                    <a:pt x="3597" y="6503"/>
                  </a:cubicBezTo>
                  <a:cubicBezTo>
                    <a:pt x="3593" y="6516"/>
                    <a:pt x="3593" y="6516"/>
                    <a:pt x="3593" y="6516"/>
                  </a:cubicBezTo>
                  <a:lnTo>
                    <a:pt x="3623" y="6528"/>
                  </a:lnTo>
                  <a:close/>
                  <a:moveTo>
                    <a:pt x="3672" y="6600"/>
                  </a:moveTo>
                  <a:cubicBezTo>
                    <a:pt x="3672" y="6600"/>
                    <a:pt x="3704" y="6581"/>
                    <a:pt x="3682" y="6577"/>
                  </a:cubicBezTo>
                  <a:cubicBezTo>
                    <a:pt x="3661" y="6572"/>
                    <a:pt x="3659" y="6600"/>
                    <a:pt x="3672" y="6600"/>
                  </a:cubicBezTo>
                  <a:close/>
                  <a:moveTo>
                    <a:pt x="5098" y="4575"/>
                  </a:moveTo>
                  <a:cubicBezTo>
                    <a:pt x="5098" y="4558"/>
                    <a:pt x="5082" y="4534"/>
                    <a:pt x="5081" y="4523"/>
                  </a:cubicBezTo>
                  <a:cubicBezTo>
                    <a:pt x="5080" y="4512"/>
                    <a:pt x="5080" y="4500"/>
                    <a:pt x="5080" y="4491"/>
                  </a:cubicBezTo>
                  <a:cubicBezTo>
                    <a:pt x="5080" y="4482"/>
                    <a:pt x="5062" y="4466"/>
                    <a:pt x="5062" y="4466"/>
                  </a:cubicBezTo>
                  <a:cubicBezTo>
                    <a:pt x="5041" y="4462"/>
                    <a:pt x="5041" y="4462"/>
                    <a:pt x="5041" y="4462"/>
                  </a:cubicBezTo>
                  <a:cubicBezTo>
                    <a:pt x="5007" y="4467"/>
                    <a:pt x="5007" y="4467"/>
                    <a:pt x="5007" y="4467"/>
                  </a:cubicBezTo>
                  <a:cubicBezTo>
                    <a:pt x="4996" y="4457"/>
                    <a:pt x="4996" y="4457"/>
                    <a:pt x="4996" y="4457"/>
                  </a:cubicBezTo>
                  <a:cubicBezTo>
                    <a:pt x="4983" y="4456"/>
                    <a:pt x="4983" y="4456"/>
                    <a:pt x="4983" y="4456"/>
                  </a:cubicBezTo>
                  <a:cubicBezTo>
                    <a:pt x="4971" y="4441"/>
                    <a:pt x="4971" y="4441"/>
                    <a:pt x="4971" y="4441"/>
                  </a:cubicBezTo>
                  <a:cubicBezTo>
                    <a:pt x="4956" y="4440"/>
                    <a:pt x="4956" y="4440"/>
                    <a:pt x="4956" y="4440"/>
                  </a:cubicBezTo>
                  <a:cubicBezTo>
                    <a:pt x="4956" y="4440"/>
                    <a:pt x="4938" y="4420"/>
                    <a:pt x="4921" y="4399"/>
                  </a:cubicBezTo>
                  <a:cubicBezTo>
                    <a:pt x="4904" y="4378"/>
                    <a:pt x="4855" y="4347"/>
                    <a:pt x="4839" y="4346"/>
                  </a:cubicBezTo>
                  <a:cubicBezTo>
                    <a:pt x="4823" y="4345"/>
                    <a:pt x="4790" y="4347"/>
                    <a:pt x="4790" y="4347"/>
                  </a:cubicBezTo>
                  <a:cubicBezTo>
                    <a:pt x="4790" y="4357"/>
                    <a:pt x="4790" y="4357"/>
                    <a:pt x="4790" y="4357"/>
                  </a:cubicBezTo>
                  <a:cubicBezTo>
                    <a:pt x="4790" y="4357"/>
                    <a:pt x="4775" y="4347"/>
                    <a:pt x="4768" y="4344"/>
                  </a:cubicBezTo>
                  <a:cubicBezTo>
                    <a:pt x="4761" y="4341"/>
                    <a:pt x="4735" y="4340"/>
                    <a:pt x="4735" y="4340"/>
                  </a:cubicBezTo>
                  <a:cubicBezTo>
                    <a:pt x="4735" y="4340"/>
                    <a:pt x="4707" y="4323"/>
                    <a:pt x="4688" y="4320"/>
                  </a:cubicBezTo>
                  <a:cubicBezTo>
                    <a:pt x="4669" y="4317"/>
                    <a:pt x="4649" y="4350"/>
                    <a:pt x="4649" y="4350"/>
                  </a:cubicBezTo>
                  <a:cubicBezTo>
                    <a:pt x="4638" y="4337"/>
                    <a:pt x="4638" y="4337"/>
                    <a:pt x="4638" y="4337"/>
                  </a:cubicBezTo>
                  <a:cubicBezTo>
                    <a:pt x="4638" y="4359"/>
                    <a:pt x="4638" y="4359"/>
                    <a:pt x="4638" y="4359"/>
                  </a:cubicBezTo>
                  <a:cubicBezTo>
                    <a:pt x="4618" y="4374"/>
                    <a:pt x="4618" y="4374"/>
                    <a:pt x="4618" y="4374"/>
                  </a:cubicBezTo>
                  <a:cubicBezTo>
                    <a:pt x="4629" y="4330"/>
                    <a:pt x="4629" y="4330"/>
                    <a:pt x="4629" y="4330"/>
                  </a:cubicBezTo>
                  <a:cubicBezTo>
                    <a:pt x="4629" y="4330"/>
                    <a:pt x="4647" y="4320"/>
                    <a:pt x="4640" y="4310"/>
                  </a:cubicBezTo>
                  <a:cubicBezTo>
                    <a:pt x="4633" y="4300"/>
                    <a:pt x="4620" y="4319"/>
                    <a:pt x="4620" y="4319"/>
                  </a:cubicBezTo>
                  <a:cubicBezTo>
                    <a:pt x="4629" y="4297"/>
                    <a:pt x="4629" y="4297"/>
                    <a:pt x="4629" y="4297"/>
                  </a:cubicBezTo>
                  <a:cubicBezTo>
                    <a:pt x="4629" y="4297"/>
                    <a:pt x="4620" y="4296"/>
                    <a:pt x="4621" y="4289"/>
                  </a:cubicBezTo>
                  <a:cubicBezTo>
                    <a:pt x="4622" y="4282"/>
                    <a:pt x="4601" y="4273"/>
                    <a:pt x="4601" y="4273"/>
                  </a:cubicBezTo>
                  <a:cubicBezTo>
                    <a:pt x="4593" y="4285"/>
                    <a:pt x="4593" y="4285"/>
                    <a:pt x="4593" y="4285"/>
                  </a:cubicBezTo>
                  <a:cubicBezTo>
                    <a:pt x="4593" y="4285"/>
                    <a:pt x="4580" y="4268"/>
                    <a:pt x="4570" y="4258"/>
                  </a:cubicBezTo>
                  <a:cubicBezTo>
                    <a:pt x="4560" y="4248"/>
                    <a:pt x="4533" y="4250"/>
                    <a:pt x="4529" y="4246"/>
                  </a:cubicBezTo>
                  <a:cubicBezTo>
                    <a:pt x="4525" y="4242"/>
                    <a:pt x="4501" y="4224"/>
                    <a:pt x="4501" y="4224"/>
                  </a:cubicBezTo>
                  <a:cubicBezTo>
                    <a:pt x="4495" y="4232"/>
                    <a:pt x="4495" y="4232"/>
                    <a:pt x="4495" y="4232"/>
                  </a:cubicBezTo>
                  <a:cubicBezTo>
                    <a:pt x="4495" y="4232"/>
                    <a:pt x="4474" y="4231"/>
                    <a:pt x="4464" y="4230"/>
                  </a:cubicBezTo>
                  <a:cubicBezTo>
                    <a:pt x="4454" y="4229"/>
                    <a:pt x="4446" y="4264"/>
                    <a:pt x="4446" y="4264"/>
                  </a:cubicBezTo>
                  <a:cubicBezTo>
                    <a:pt x="4453" y="4276"/>
                    <a:pt x="4453" y="4276"/>
                    <a:pt x="4453" y="4276"/>
                  </a:cubicBezTo>
                  <a:cubicBezTo>
                    <a:pt x="4453" y="4276"/>
                    <a:pt x="4439" y="4277"/>
                    <a:pt x="4431" y="4277"/>
                  </a:cubicBezTo>
                  <a:cubicBezTo>
                    <a:pt x="4423" y="4277"/>
                    <a:pt x="4411" y="4299"/>
                    <a:pt x="4411" y="4299"/>
                  </a:cubicBezTo>
                  <a:cubicBezTo>
                    <a:pt x="4411" y="4299"/>
                    <a:pt x="4404" y="4332"/>
                    <a:pt x="4397" y="4331"/>
                  </a:cubicBezTo>
                  <a:cubicBezTo>
                    <a:pt x="4390" y="4330"/>
                    <a:pt x="4406" y="4305"/>
                    <a:pt x="4403" y="4294"/>
                  </a:cubicBezTo>
                  <a:cubicBezTo>
                    <a:pt x="4400" y="4283"/>
                    <a:pt x="4380" y="4304"/>
                    <a:pt x="4380" y="4304"/>
                  </a:cubicBezTo>
                  <a:cubicBezTo>
                    <a:pt x="4373" y="4298"/>
                    <a:pt x="4373" y="4298"/>
                    <a:pt x="4373" y="4298"/>
                  </a:cubicBezTo>
                  <a:cubicBezTo>
                    <a:pt x="4373" y="4298"/>
                    <a:pt x="4352" y="4303"/>
                    <a:pt x="4341" y="4296"/>
                  </a:cubicBezTo>
                  <a:cubicBezTo>
                    <a:pt x="4330" y="4289"/>
                    <a:pt x="4332" y="4279"/>
                    <a:pt x="4332" y="4266"/>
                  </a:cubicBezTo>
                  <a:cubicBezTo>
                    <a:pt x="4332" y="4253"/>
                    <a:pt x="4327" y="4245"/>
                    <a:pt x="4327" y="4245"/>
                  </a:cubicBezTo>
                  <a:cubicBezTo>
                    <a:pt x="4320" y="4238"/>
                    <a:pt x="4305" y="4264"/>
                    <a:pt x="4305" y="4264"/>
                  </a:cubicBezTo>
                  <a:cubicBezTo>
                    <a:pt x="4305" y="4264"/>
                    <a:pt x="4284" y="4279"/>
                    <a:pt x="4272" y="4281"/>
                  </a:cubicBezTo>
                  <a:cubicBezTo>
                    <a:pt x="4260" y="4283"/>
                    <a:pt x="4246" y="4276"/>
                    <a:pt x="4246" y="4276"/>
                  </a:cubicBezTo>
                  <a:cubicBezTo>
                    <a:pt x="4272" y="4268"/>
                    <a:pt x="4272" y="4268"/>
                    <a:pt x="4272" y="4268"/>
                  </a:cubicBezTo>
                  <a:cubicBezTo>
                    <a:pt x="4272" y="4268"/>
                    <a:pt x="4282" y="4256"/>
                    <a:pt x="4285" y="4251"/>
                  </a:cubicBezTo>
                  <a:cubicBezTo>
                    <a:pt x="4288" y="4246"/>
                    <a:pt x="4287" y="4234"/>
                    <a:pt x="4287" y="4234"/>
                  </a:cubicBezTo>
                  <a:cubicBezTo>
                    <a:pt x="4287" y="4234"/>
                    <a:pt x="4296" y="4228"/>
                    <a:pt x="4300" y="4216"/>
                  </a:cubicBezTo>
                  <a:cubicBezTo>
                    <a:pt x="4304" y="4204"/>
                    <a:pt x="4328" y="4185"/>
                    <a:pt x="4338" y="4178"/>
                  </a:cubicBezTo>
                  <a:cubicBezTo>
                    <a:pt x="4348" y="4171"/>
                    <a:pt x="4350" y="4162"/>
                    <a:pt x="4354" y="4153"/>
                  </a:cubicBezTo>
                  <a:cubicBezTo>
                    <a:pt x="4358" y="4144"/>
                    <a:pt x="4379" y="4131"/>
                    <a:pt x="4379" y="4131"/>
                  </a:cubicBezTo>
                  <a:cubicBezTo>
                    <a:pt x="4366" y="4129"/>
                    <a:pt x="4366" y="4129"/>
                    <a:pt x="4366" y="4129"/>
                  </a:cubicBezTo>
                  <a:cubicBezTo>
                    <a:pt x="4366" y="4129"/>
                    <a:pt x="4378" y="4123"/>
                    <a:pt x="4378" y="4107"/>
                  </a:cubicBezTo>
                  <a:cubicBezTo>
                    <a:pt x="4378" y="4091"/>
                    <a:pt x="4351" y="4100"/>
                    <a:pt x="4341" y="4089"/>
                  </a:cubicBezTo>
                  <a:cubicBezTo>
                    <a:pt x="4331" y="4078"/>
                    <a:pt x="4331" y="4055"/>
                    <a:pt x="4327" y="4018"/>
                  </a:cubicBezTo>
                  <a:cubicBezTo>
                    <a:pt x="4323" y="3981"/>
                    <a:pt x="4315" y="3963"/>
                    <a:pt x="4306" y="3960"/>
                  </a:cubicBezTo>
                  <a:cubicBezTo>
                    <a:pt x="4297" y="3957"/>
                    <a:pt x="4303" y="3976"/>
                    <a:pt x="4303" y="3980"/>
                  </a:cubicBezTo>
                  <a:cubicBezTo>
                    <a:pt x="4303" y="3984"/>
                    <a:pt x="4293" y="3979"/>
                    <a:pt x="4291" y="3974"/>
                  </a:cubicBezTo>
                  <a:cubicBezTo>
                    <a:pt x="4289" y="3969"/>
                    <a:pt x="4277" y="3937"/>
                    <a:pt x="4277" y="3937"/>
                  </a:cubicBezTo>
                  <a:cubicBezTo>
                    <a:pt x="4258" y="3930"/>
                    <a:pt x="4258" y="3930"/>
                    <a:pt x="4258" y="3930"/>
                  </a:cubicBezTo>
                  <a:cubicBezTo>
                    <a:pt x="4242" y="3897"/>
                    <a:pt x="4242" y="3897"/>
                    <a:pt x="4242" y="3897"/>
                  </a:cubicBezTo>
                  <a:cubicBezTo>
                    <a:pt x="4219" y="3897"/>
                    <a:pt x="4219" y="3897"/>
                    <a:pt x="4219" y="3897"/>
                  </a:cubicBezTo>
                  <a:cubicBezTo>
                    <a:pt x="4219" y="3897"/>
                    <a:pt x="4196" y="3889"/>
                    <a:pt x="4188" y="3881"/>
                  </a:cubicBezTo>
                  <a:cubicBezTo>
                    <a:pt x="4187" y="3880"/>
                    <a:pt x="4186" y="3880"/>
                    <a:pt x="4186" y="3879"/>
                  </a:cubicBezTo>
                  <a:cubicBezTo>
                    <a:pt x="4179" y="3870"/>
                    <a:pt x="4132" y="3870"/>
                    <a:pt x="4132" y="3870"/>
                  </a:cubicBezTo>
                  <a:cubicBezTo>
                    <a:pt x="4128" y="3879"/>
                    <a:pt x="4128" y="3879"/>
                    <a:pt x="4128" y="3879"/>
                  </a:cubicBezTo>
                  <a:cubicBezTo>
                    <a:pt x="4098" y="3874"/>
                    <a:pt x="4098" y="3874"/>
                    <a:pt x="4098" y="3874"/>
                  </a:cubicBezTo>
                  <a:cubicBezTo>
                    <a:pt x="4097" y="3885"/>
                    <a:pt x="4097" y="3885"/>
                    <a:pt x="4097" y="3885"/>
                  </a:cubicBezTo>
                  <a:cubicBezTo>
                    <a:pt x="4058" y="3871"/>
                    <a:pt x="4058" y="3871"/>
                    <a:pt x="4058" y="3871"/>
                  </a:cubicBezTo>
                  <a:cubicBezTo>
                    <a:pt x="4039" y="3877"/>
                    <a:pt x="4039" y="3877"/>
                    <a:pt x="4039" y="3877"/>
                  </a:cubicBezTo>
                  <a:cubicBezTo>
                    <a:pt x="4039" y="3877"/>
                    <a:pt x="4039" y="3866"/>
                    <a:pt x="4036" y="3858"/>
                  </a:cubicBezTo>
                  <a:cubicBezTo>
                    <a:pt x="4033" y="3850"/>
                    <a:pt x="4018" y="3858"/>
                    <a:pt x="4018" y="3858"/>
                  </a:cubicBezTo>
                  <a:cubicBezTo>
                    <a:pt x="4016" y="3843"/>
                    <a:pt x="4016" y="3843"/>
                    <a:pt x="4016" y="3843"/>
                  </a:cubicBezTo>
                  <a:cubicBezTo>
                    <a:pt x="4016" y="3843"/>
                    <a:pt x="3999" y="3828"/>
                    <a:pt x="3986" y="3826"/>
                  </a:cubicBezTo>
                  <a:cubicBezTo>
                    <a:pt x="3973" y="3824"/>
                    <a:pt x="3966" y="3850"/>
                    <a:pt x="3966" y="3850"/>
                  </a:cubicBezTo>
                  <a:cubicBezTo>
                    <a:pt x="3966" y="3850"/>
                    <a:pt x="3975" y="3810"/>
                    <a:pt x="3977" y="3802"/>
                  </a:cubicBezTo>
                  <a:cubicBezTo>
                    <a:pt x="3979" y="3794"/>
                    <a:pt x="3965" y="3771"/>
                    <a:pt x="3959" y="3763"/>
                  </a:cubicBezTo>
                  <a:cubicBezTo>
                    <a:pt x="3953" y="3755"/>
                    <a:pt x="3916" y="3741"/>
                    <a:pt x="3916" y="3741"/>
                  </a:cubicBezTo>
                  <a:cubicBezTo>
                    <a:pt x="3916" y="3741"/>
                    <a:pt x="3908" y="3731"/>
                    <a:pt x="3904" y="3725"/>
                  </a:cubicBezTo>
                  <a:cubicBezTo>
                    <a:pt x="3900" y="3719"/>
                    <a:pt x="3885" y="3736"/>
                    <a:pt x="3885" y="3736"/>
                  </a:cubicBezTo>
                  <a:cubicBezTo>
                    <a:pt x="3885" y="3736"/>
                    <a:pt x="3875" y="3732"/>
                    <a:pt x="3869" y="3729"/>
                  </a:cubicBezTo>
                  <a:cubicBezTo>
                    <a:pt x="3863" y="3726"/>
                    <a:pt x="3849" y="3743"/>
                    <a:pt x="3849" y="3743"/>
                  </a:cubicBezTo>
                  <a:cubicBezTo>
                    <a:pt x="3827" y="3729"/>
                    <a:pt x="3827" y="3729"/>
                    <a:pt x="3827" y="3729"/>
                  </a:cubicBezTo>
                  <a:cubicBezTo>
                    <a:pt x="3827" y="3729"/>
                    <a:pt x="3853" y="3729"/>
                    <a:pt x="3857" y="3722"/>
                  </a:cubicBezTo>
                  <a:cubicBezTo>
                    <a:pt x="3861" y="3715"/>
                    <a:pt x="3860" y="3702"/>
                    <a:pt x="3860" y="3702"/>
                  </a:cubicBezTo>
                  <a:cubicBezTo>
                    <a:pt x="3860" y="3702"/>
                    <a:pt x="3870" y="3701"/>
                    <a:pt x="3872" y="3688"/>
                  </a:cubicBezTo>
                  <a:cubicBezTo>
                    <a:pt x="3874" y="3675"/>
                    <a:pt x="3846" y="3678"/>
                    <a:pt x="3846" y="3678"/>
                  </a:cubicBezTo>
                  <a:cubicBezTo>
                    <a:pt x="3846" y="3678"/>
                    <a:pt x="3842" y="3664"/>
                    <a:pt x="3835" y="3663"/>
                  </a:cubicBezTo>
                  <a:cubicBezTo>
                    <a:pt x="3828" y="3662"/>
                    <a:pt x="3830" y="3678"/>
                    <a:pt x="3830" y="3678"/>
                  </a:cubicBezTo>
                  <a:cubicBezTo>
                    <a:pt x="3830" y="3678"/>
                    <a:pt x="3824" y="3669"/>
                    <a:pt x="3824" y="3663"/>
                  </a:cubicBezTo>
                  <a:cubicBezTo>
                    <a:pt x="3824" y="3657"/>
                    <a:pt x="3810" y="3658"/>
                    <a:pt x="3810" y="3658"/>
                  </a:cubicBezTo>
                  <a:cubicBezTo>
                    <a:pt x="3806" y="3678"/>
                    <a:pt x="3806" y="3678"/>
                    <a:pt x="3806" y="3678"/>
                  </a:cubicBezTo>
                  <a:cubicBezTo>
                    <a:pt x="3806" y="3678"/>
                    <a:pt x="3798" y="3670"/>
                    <a:pt x="3796" y="3664"/>
                  </a:cubicBezTo>
                  <a:cubicBezTo>
                    <a:pt x="3794" y="3658"/>
                    <a:pt x="3793" y="3644"/>
                    <a:pt x="3793" y="3644"/>
                  </a:cubicBezTo>
                  <a:cubicBezTo>
                    <a:pt x="3772" y="3652"/>
                    <a:pt x="3772" y="3652"/>
                    <a:pt x="3772" y="3652"/>
                  </a:cubicBezTo>
                  <a:cubicBezTo>
                    <a:pt x="3772" y="3652"/>
                    <a:pt x="3788" y="3643"/>
                    <a:pt x="3788" y="3638"/>
                  </a:cubicBezTo>
                  <a:cubicBezTo>
                    <a:pt x="3788" y="3633"/>
                    <a:pt x="3775" y="3633"/>
                    <a:pt x="3775" y="3628"/>
                  </a:cubicBezTo>
                  <a:cubicBezTo>
                    <a:pt x="3775" y="3623"/>
                    <a:pt x="3817" y="3623"/>
                    <a:pt x="3821" y="3617"/>
                  </a:cubicBezTo>
                  <a:cubicBezTo>
                    <a:pt x="3825" y="3611"/>
                    <a:pt x="3731" y="3619"/>
                    <a:pt x="3731" y="3619"/>
                  </a:cubicBezTo>
                  <a:cubicBezTo>
                    <a:pt x="3740" y="3629"/>
                    <a:pt x="3740" y="3629"/>
                    <a:pt x="3740" y="3629"/>
                  </a:cubicBezTo>
                  <a:cubicBezTo>
                    <a:pt x="3740" y="3629"/>
                    <a:pt x="3718" y="3631"/>
                    <a:pt x="3709" y="3634"/>
                  </a:cubicBezTo>
                  <a:cubicBezTo>
                    <a:pt x="3700" y="3637"/>
                    <a:pt x="3676" y="3654"/>
                    <a:pt x="3676" y="3654"/>
                  </a:cubicBezTo>
                  <a:cubicBezTo>
                    <a:pt x="3652" y="3655"/>
                    <a:pt x="3620" y="3623"/>
                    <a:pt x="3620" y="3623"/>
                  </a:cubicBezTo>
                  <a:cubicBezTo>
                    <a:pt x="3620" y="3623"/>
                    <a:pt x="3539" y="3628"/>
                    <a:pt x="3529" y="3627"/>
                  </a:cubicBezTo>
                  <a:cubicBezTo>
                    <a:pt x="3519" y="3626"/>
                    <a:pt x="3516" y="3617"/>
                    <a:pt x="3516" y="3603"/>
                  </a:cubicBezTo>
                  <a:cubicBezTo>
                    <a:pt x="3516" y="3589"/>
                    <a:pt x="3510" y="3579"/>
                    <a:pt x="3484" y="3574"/>
                  </a:cubicBezTo>
                  <a:cubicBezTo>
                    <a:pt x="3458" y="3569"/>
                    <a:pt x="3421" y="3591"/>
                    <a:pt x="3421" y="3591"/>
                  </a:cubicBezTo>
                  <a:cubicBezTo>
                    <a:pt x="3421" y="3591"/>
                    <a:pt x="3394" y="3597"/>
                    <a:pt x="3378" y="3611"/>
                  </a:cubicBezTo>
                  <a:cubicBezTo>
                    <a:pt x="3362" y="3625"/>
                    <a:pt x="3385" y="3651"/>
                    <a:pt x="3387" y="3671"/>
                  </a:cubicBezTo>
                  <a:cubicBezTo>
                    <a:pt x="3389" y="3691"/>
                    <a:pt x="3362" y="3707"/>
                    <a:pt x="3362" y="3707"/>
                  </a:cubicBezTo>
                  <a:cubicBezTo>
                    <a:pt x="3363" y="3689"/>
                    <a:pt x="3363" y="3689"/>
                    <a:pt x="3363" y="3689"/>
                  </a:cubicBezTo>
                  <a:cubicBezTo>
                    <a:pt x="3363" y="3689"/>
                    <a:pt x="3345" y="3684"/>
                    <a:pt x="3339" y="3674"/>
                  </a:cubicBezTo>
                  <a:cubicBezTo>
                    <a:pt x="3333" y="3664"/>
                    <a:pt x="3349" y="3646"/>
                    <a:pt x="3356" y="3637"/>
                  </a:cubicBezTo>
                  <a:cubicBezTo>
                    <a:pt x="3363" y="3628"/>
                    <a:pt x="3362" y="3612"/>
                    <a:pt x="3362" y="3600"/>
                  </a:cubicBezTo>
                  <a:cubicBezTo>
                    <a:pt x="3362" y="3588"/>
                    <a:pt x="3351" y="3573"/>
                    <a:pt x="3351" y="3573"/>
                  </a:cubicBezTo>
                  <a:cubicBezTo>
                    <a:pt x="3351" y="3573"/>
                    <a:pt x="3368" y="3563"/>
                    <a:pt x="3373" y="3562"/>
                  </a:cubicBezTo>
                  <a:cubicBezTo>
                    <a:pt x="3378" y="3561"/>
                    <a:pt x="3393" y="3557"/>
                    <a:pt x="3394" y="3536"/>
                  </a:cubicBezTo>
                  <a:cubicBezTo>
                    <a:pt x="3395" y="3515"/>
                    <a:pt x="3353" y="3531"/>
                    <a:pt x="3347" y="3532"/>
                  </a:cubicBezTo>
                  <a:cubicBezTo>
                    <a:pt x="3341" y="3533"/>
                    <a:pt x="3341" y="3553"/>
                    <a:pt x="3334" y="3560"/>
                  </a:cubicBezTo>
                  <a:cubicBezTo>
                    <a:pt x="3327" y="3567"/>
                    <a:pt x="3316" y="3560"/>
                    <a:pt x="3309" y="3561"/>
                  </a:cubicBezTo>
                  <a:cubicBezTo>
                    <a:pt x="3302" y="3562"/>
                    <a:pt x="3288" y="3585"/>
                    <a:pt x="3288" y="3585"/>
                  </a:cubicBezTo>
                  <a:cubicBezTo>
                    <a:pt x="3263" y="3589"/>
                    <a:pt x="3263" y="3589"/>
                    <a:pt x="3263" y="3589"/>
                  </a:cubicBezTo>
                  <a:cubicBezTo>
                    <a:pt x="3263" y="3589"/>
                    <a:pt x="3257" y="3580"/>
                    <a:pt x="3250" y="3584"/>
                  </a:cubicBezTo>
                  <a:cubicBezTo>
                    <a:pt x="3243" y="3589"/>
                    <a:pt x="3243" y="3601"/>
                    <a:pt x="3243" y="3601"/>
                  </a:cubicBezTo>
                  <a:cubicBezTo>
                    <a:pt x="3243" y="3601"/>
                    <a:pt x="3238" y="3615"/>
                    <a:pt x="3231" y="3616"/>
                  </a:cubicBezTo>
                  <a:cubicBezTo>
                    <a:pt x="3224" y="3618"/>
                    <a:pt x="3232" y="3607"/>
                    <a:pt x="3232" y="3607"/>
                  </a:cubicBezTo>
                  <a:cubicBezTo>
                    <a:pt x="3232" y="3607"/>
                    <a:pt x="3226" y="3602"/>
                    <a:pt x="3222" y="3602"/>
                  </a:cubicBezTo>
                  <a:cubicBezTo>
                    <a:pt x="3219" y="3602"/>
                    <a:pt x="3204" y="3606"/>
                    <a:pt x="3199" y="3609"/>
                  </a:cubicBezTo>
                  <a:cubicBezTo>
                    <a:pt x="3194" y="3613"/>
                    <a:pt x="3179" y="3627"/>
                    <a:pt x="3175" y="3634"/>
                  </a:cubicBezTo>
                  <a:cubicBezTo>
                    <a:pt x="3172" y="3641"/>
                    <a:pt x="3180" y="3650"/>
                    <a:pt x="3180" y="3650"/>
                  </a:cubicBezTo>
                  <a:cubicBezTo>
                    <a:pt x="3169" y="3670"/>
                    <a:pt x="3169" y="3670"/>
                    <a:pt x="3169" y="3670"/>
                  </a:cubicBezTo>
                  <a:cubicBezTo>
                    <a:pt x="3176" y="3686"/>
                    <a:pt x="3176" y="3686"/>
                    <a:pt x="3176" y="3686"/>
                  </a:cubicBezTo>
                  <a:cubicBezTo>
                    <a:pt x="3176" y="3686"/>
                    <a:pt x="3160" y="3687"/>
                    <a:pt x="3154" y="3690"/>
                  </a:cubicBezTo>
                  <a:cubicBezTo>
                    <a:pt x="3148" y="3692"/>
                    <a:pt x="3142" y="3706"/>
                    <a:pt x="3139" y="3713"/>
                  </a:cubicBezTo>
                  <a:cubicBezTo>
                    <a:pt x="3135" y="3720"/>
                    <a:pt x="3121" y="3722"/>
                    <a:pt x="3121" y="3722"/>
                  </a:cubicBezTo>
                  <a:cubicBezTo>
                    <a:pt x="3107" y="3728"/>
                    <a:pt x="3107" y="3728"/>
                    <a:pt x="3107" y="3728"/>
                  </a:cubicBezTo>
                  <a:cubicBezTo>
                    <a:pt x="3115" y="3744"/>
                    <a:pt x="3115" y="3744"/>
                    <a:pt x="3115" y="3744"/>
                  </a:cubicBezTo>
                  <a:cubicBezTo>
                    <a:pt x="3115" y="3744"/>
                    <a:pt x="3118" y="3767"/>
                    <a:pt x="3110" y="3769"/>
                  </a:cubicBezTo>
                  <a:cubicBezTo>
                    <a:pt x="3102" y="3771"/>
                    <a:pt x="3108" y="3761"/>
                    <a:pt x="3107" y="3751"/>
                  </a:cubicBezTo>
                  <a:cubicBezTo>
                    <a:pt x="3105" y="3742"/>
                    <a:pt x="3085" y="3730"/>
                    <a:pt x="3085" y="3730"/>
                  </a:cubicBezTo>
                  <a:cubicBezTo>
                    <a:pt x="3085" y="3730"/>
                    <a:pt x="3085" y="3730"/>
                    <a:pt x="3085" y="3731"/>
                  </a:cubicBezTo>
                  <a:cubicBezTo>
                    <a:pt x="3085" y="3731"/>
                    <a:pt x="3085" y="3731"/>
                    <a:pt x="3085" y="3731"/>
                  </a:cubicBezTo>
                  <a:cubicBezTo>
                    <a:pt x="3070" y="3719"/>
                    <a:pt x="3070" y="3719"/>
                    <a:pt x="3070" y="3719"/>
                  </a:cubicBezTo>
                  <a:cubicBezTo>
                    <a:pt x="3070" y="3719"/>
                    <a:pt x="3066" y="3697"/>
                    <a:pt x="3051" y="3691"/>
                  </a:cubicBezTo>
                  <a:cubicBezTo>
                    <a:pt x="3036" y="3685"/>
                    <a:pt x="3011" y="3686"/>
                    <a:pt x="3011" y="3686"/>
                  </a:cubicBezTo>
                  <a:cubicBezTo>
                    <a:pt x="3010" y="3677"/>
                    <a:pt x="3010" y="3677"/>
                    <a:pt x="3010" y="3677"/>
                  </a:cubicBezTo>
                  <a:cubicBezTo>
                    <a:pt x="3010" y="3677"/>
                    <a:pt x="2984" y="3673"/>
                    <a:pt x="2978" y="3680"/>
                  </a:cubicBezTo>
                  <a:cubicBezTo>
                    <a:pt x="2972" y="3687"/>
                    <a:pt x="2959" y="3700"/>
                    <a:pt x="2959" y="3700"/>
                  </a:cubicBezTo>
                  <a:cubicBezTo>
                    <a:pt x="2959" y="3700"/>
                    <a:pt x="2949" y="3691"/>
                    <a:pt x="2941" y="3698"/>
                  </a:cubicBezTo>
                  <a:cubicBezTo>
                    <a:pt x="2933" y="3705"/>
                    <a:pt x="2919" y="3723"/>
                    <a:pt x="2909" y="3723"/>
                  </a:cubicBezTo>
                  <a:cubicBezTo>
                    <a:pt x="2899" y="3723"/>
                    <a:pt x="2890" y="3716"/>
                    <a:pt x="2890" y="3716"/>
                  </a:cubicBezTo>
                  <a:cubicBezTo>
                    <a:pt x="2880" y="3705"/>
                    <a:pt x="2880" y="3705"/>
                    <a:pt x="2880" y="3705"/>
                  </a:cubicBezTo>
                  <a:cubicBezTo>
                    <a:pt x="2874" y="3712"/>
                    <a:pt x="2874" y="3712"/>
                    <a:pt x="2874" y="3712"/>
                  </a:cubicBezTo>
                  <a:cubicBezTo>
                    <a:pt x="2874" y="3712"/>
                    <a:pt x="2860" y="3717"/>
                    <a:pt x="2855" y="3708"/>
                  </a:cubicBezTo>
                  <a:cubicBezTo>
                    <a:pt x="2850" y="3699"/>
                    <a:pt x="2857" y="3689"/>
                    <a:pt x="2850" y="3683"/>
                  </a:cubicBezTo>
                  <a:cubicBezTo>
                    <a:pt x="2848" y="3681"/>
                    <a:pt x="2845" y="3680"/>
                    <a:pt x="2842" y="3678"/>
                  </a:cubicBezTo>
                  <a:cubicBezTo>
                    <a:pt x="2834" y="3673"/>
                    <a:pt x="2823" y="3666"/>
                    <a:pt x="2820" y="3657"/>
                  </a:cubicBezTo>
                  <a:cubicBezTo>
                    <a:pt x="2816" y="3644"/>
                    <a:pt x="2804" y="3630"/>
                    <a:pt x="2804" y="3630"/>
                  </a:cubicBezTo>
                  <a:cubicBezTo>
                    <a:pt x="2802" y="3615"/>
                    <a:pt x="2802" y="3615"/>
                    <a:pt x="2802" y="3615"/>
                  </a:cubicBezTo>
                  <a:cubicBezTo>
                    <a:pt x="2802" y="3615"/>
                    <a:pt x="2802" y="3615"/>
                    <a:pt x="2802" y="3614"/>
                  </a:cubicBezTo>
                  <a:cubicBezTo>
                    <a:pt x="2802" y="3614"/>
                    <a:pt x="2802" y="3614"/>
                    <a:pt x="2802" y="3614"/>
                  </a:cubicBezTo>
                  <a:cubicBezTo>
                    <a:pt x="2799" y="3612"/>
                    <a:pt x="2789" y="3599"/>
                    <a:pt x="2789" y="3586"/>
                  </a:cubicBezTo>
                  <a:cubicBezTo>
                    <a:pt x="2789" y="3571"/>
                    <a:pt x="2801" y="3575"/>
                    <a:pt x="2801" y="3566"/>
                  </a:cubicBezTo>
                  <a:cubicBezTo>
                    <a:pt x="2801" y="3557"/>
                    <a:pt x="2796" y="3545"/>
                    <a:pt x="2796" y="3545"/>
                  </a:cubicBezTo>
                  <a:cubicBezTo>
                    <a:pt x="2800" y="3513"/>
                    <a:pt x="2800" y="3513"/>
                    <a:pt x="2800" y="3513"/>
                  </a:cubicBezTo>
                  <a:cubicBezTo>
                    <a:pt x="2810" y="3525"/>
                    <a:pt x="2810" y="3525"/>
                    <a:pt x="2810" y="3525"/>
                  </a:cubicBezTo>
                  <a:cubicBezTo>
                    <a:pt x="2813" y="3468"/>
                    <a:pt x="2813" y="3468"/>
                    <a:pt x="2813" y="3468"/>
                  </a:cubicBezTo>
                  <a:cubicBezTo>
                    <a:pt x="2813" y="3468"/>
                    <a:pt x="2819" y="3447"/>
                    <a:pt x="2828" y="3438"/>
                  </a:cubicBezTo>
                  <a:cubicBezTo>
                    <a:pt x="2837" y="3429"/>
                    <a:pt x="2839" y="3414"/>
                    <a:pt x="2837" y="3409"/>
                  </a:cubicBezTo>
                  <a:cubicBezTo>
                    <a:pt x="2835" y="3404"/>
                    <a:pt x="2829" y="3399"/>
                    <a:pt x="2830" y="3395"/>
                  </a:cubicBezTo>
                  <a:cubicBezTo>
                    <a:pt x="2831" y="3391"/>
                    <a:pt x="2845" y="3392"/>
                    <a:pt x="2843" y="3385"/>
                  </a:cubicBezTo>
                  <a:cubicBezTo>
                    <a:pt x="2841" y="3378"/>
                    <a:pt x="2832" y="3371"/>
                    <a:pt x="2832" y="3371"/>
                  </a:cubicBezTo>
                  <a:cubicBezTo>
                    <a:pt x="2817" y="3365"/>
                    <a:pt x="2817" y="3365"/>
                    <a:pt x="2817" y="3365"/>
                  </a:cubicBezTo>
                  <a:cubicBezTo>
                    <a:pt x="2817" y="3365"/>
                    <a:pt x="2806" y="3357"/>
                    <a:pt x="2797" y="3348"/>
                  </a:cubicBezTo>
                  <a:cubicBezTo>
                    <a:pt x="2788" y="3339"/>
                    <a:pt x="2779" y="3343"/>
                    <a:pt x="2779" y="3343"/>
                  </a:cubicBezTo>
                  <a:cubicBezTo>
                    <a:pt x="2779" y="3343"/>
                    <a:pt x="2775" y="3331"/>
                    <a:pt x="2763" y="3331"/>
                  </a:cubicBezTo>
                  <a:cubicBezTo>
                    <a:pt x="2751" y="3331"/>
                    <a:pt x="2741" y="3339"/>
                    <a:pt x="2741" y="3339"/>
                  </a:cubicBezTo>
                  <a:cubicBezTo>
                    <a:pt x="2741" y="3339"/>
                    <a:pt x="2727" y="3330"/>
                    <a:pt x="2720" y="3330"/>
                  </a:cubicBezTo>
                  <a:cubicBezTo>
                    <a:pt x="2713" y="3330"/>
                    <a:pt x="2697" y="3348"/>
                    <a:pt x="2697" y="3348"/>
                  </a:cubicBezTo>
                  <a:cubicBezTo>
                    <a:pt x="2674" y="3347"/>
                    <a:pt x="2674" y="3347"/>
                    <a:pt x="2674" y="3347"/>
                  </a:cubicBezTo>
                  <a:cubicBezTo>
                    <a:pt x="2674" y="3347"/>
                    <a:pt x="2661" y="3341"/>
                    <a:pt x="2658" y="3341"/>
                  </a:cubicBezTo>
                  <a:cubicBezTo>
                    <a:pt x="2655" y="3341"/>
                    <a:pt x="2638" y="3346"/>
                    <a:pt x="2638" y="3346"/>
                  </a:cubicBezTo>
                  <a:cubicBezTo>
                    <a:pt x="2638" y="3346"/>
                    <a:pt x="2633" y="3332"/>
                    <a:pt x="2630" y="3332"/>
                  </a:cubicBezTo>
                  <a:cubicBezTo>
                    <a:pt x="2627" y="3332"/>
                    <a:pt x="2608" y="3345"/>
                    <a:pt x="2608" y="3345"/>
                  </a:cubicBezTo>
                  <a:cubicBezTo>
                    <a:pt x="2599" y="3336"/>
                    <a:pt x="2599" y="3336"/>
                    <a:pt x="2599" y="3336"/>
                  </a:cubicBezTo>
                  <a:cubicBezTo>
                    <a:pt x="2588" y="3343"/>
                    <a:pt x="2588" y="3343"/>
                    <a:pt x="2588" y="3343"/>
                  </a:cubicBezTo>
                  <a:cubicBezTo>
                    <a:pt x="2579" y="3338"/>
                    <a:pt x="2579" y="3338"/>
                    <a:pt x="2579" y="3338"/>
                  </a:cubicBezTo>
                  <a:cubicBezTo>
                    <a:pt x="2589" y="3312"/>
                    <a:pt x="2589" y="3312"/>
                    <a:pt x="2589" y="3312"/>
                  </a:cubicBezTo>
                  <a:cubicBezTo>
                    <a:pt x="2600" y="3316"/>
                    <a:pt x="2600" y="3316"/>
                    <a:pt x="2600" y="3316"/>
                  </a:cubicBezTo>
                  <a:cubicBezTo>
                    <a:pt x="2600" y="3316"/>
                    <a:pt x="2616" y="3302"/>
                    <a:pt x="2616" y="3291"/>
                  </a:cubicBezTo>
                  <a:cubicBezTo>
                    <a:pt x="2616" y="3280"/>
                    <a:pt x="2612" y="3268"/>
                    <a:pt x="2616" y="3258"/>
                  </a:cubicBezTo>
                  <a:cubicBezTo>
                    <a:pt x="2620" y="3248"/>
                    <a:pt x="2633" y="3225"/>
                    <a:pt x="2633" y="3220"/>
                  </a:cubicBezTo>
                  <a:cubicBezTo>
                    <a:pt x="2633" y="3215"/>
                    <a:pt x="2615" y="3209"/>
                    <a:pt x="2615" y="3209"/>
                  </a:cubicBezTo>
                  <a:cubicBezTo>
                    <a:pt x="2626" y="3199"/>
                    <a:pt x="2626" y="3199"/>
                    <a:pt x="2626" y="3199"/>
                  </a:cubicBezTo>
                  <a:cubicBezTo>
                    <a:pt x="2640" y="3183"/>
                    <a:pt x="2640" y="3183"/>
                    <a:pt x="2640" y="3183"/>
                  </a:cubicBezTo>
                  <a:cubicBezTo>
                    <a:pt x="2640" y="3183"/>
                    <a:pt x="2634" y="3202"/>
                    <a:pt x="2638" y="3205"/>
                  </a:cubicBezTo>
                  <a:cubicBezTo>
                    <a:pt x="2642" y="3208"/>
                    <a:pt x="2649" y="3208"/>
                    <a:pt x="2649" y="3208"/>
                  </a:cubicBezTo>
                  <a:cubicBezTo>
                    <a:pt x="2664" y="3163"/>
                    <a:pt x="2664" y="3163"/>
                    <a:pt x="2664" y="3163"/>
                  </a:cubicBezTo>
                  <a:cubicBezTo>
                    <a:pt x="2658" y="3155"/>
                    <a:pt x="2658" y="3155"/>
                    <a:pt x="2658" y="3155"/>
                  </a:cubicBezTo>
                  <a:cubicBezTo>
                    <a:pt x="2671" y="3151"/>
                    <a:pt x="2671" y="3151"/>
                    <a:pt x="2671" y="3151"/>
                  </a:cubicBezTo>
                  <a:cubicBezTo>
                    <a:pt x="2672" y="3143"/>
                    <a:pt x="2672" y="3143"/>
                    <a:pt x="2672" y="3143"/>
                  </a:cubicBezTo>
                  <a:cubicBezTo>
                    <a:pt x="2660" y="3139"/>
                    <a:pt x="2660" y="3139"/>
                    <a:pt x="2660" y="3139"/>
                  </a:cubicBezTo>
                  <a:cubicBezTo>
                    <a:pt x="2672" y="3126"/>
                    <a:pt x="2672" y="3126"/>
                    <a:pt x="2672" y="3126"/>
                  </a:cubicBezTo>
                  <a:cubicBezTo>
                    <a:pt x="2676" y="3110"/>
                    <a:pt x="2676" y="3110"/>
                    <a:pt x="2676" y="3110"/>
                  </a:cubicBezTo>
                  <a:cubicBezTo>
                    <a:pt x="2676" y="3110"/>
                    <a:pt x="2706" y="3079"/>
                    <a:pt x="2710" y="3070"/>
                  </a:cubicBezTo>
                  <a:cubicBezTo>
                    <a:pt x="2714" y="3061"/>
                    <a:pt x="2723" y="3038"/>
                    <a:pt x="2712" y="3035"/>
                  </a:cubicBezTo>
                  <a:cubicBezTo>
                    <a:pt x="2701" y="3032"/>
                    <a:pt x="2679" y="3039"/>
                    <a:pt x="2679" y="3039"/>
                  </a:cubicBezTo>
                  <a:cubicBezTo>
                    <a:pt x="2679" y="3039"/>
                    <a:pt x="2655" y="3032"/>
                    <a:pt x="2648" y="3032"/>
                  </a:cubicBezTo>
                  <a:cubicBezTo>
                    <a:pt x="2641" y="3032"/>
                    <a:pt x="2613" y="3040"/>
                    <a:pt x="2599" y="3044"/>
                  </a:cubicBezTo>
                  <a:cubicBezTo>
                    <a:pt x="2585" y="3048"/>
                    <a:pt x="2560" y="3044"/>
                    <a:pt x="2554" y="3050"/>
                  </a:cubicBezTo>
                  <a:cubicBezTo>
                    <a:pt x="2548" y="3056"/>
                    <a:pt x="2537" y="3077"/>
                    <a:pt x="2536" y="3093"/>
                  </a:cubicBezTo>
                  <a:cubicBezTo>
                    <a:pt x="2535" y="3109"/>
                    <a:pt x="2535" y="3124"/>
                    <a:pt x="2535" y="3124"/>
                  </a:cubicBezTo>
                  <a:cubicBezTo>
                    <a:pt x="2525" y="3128"/>
                    <a:pt x="2525" y="3128"/>
                    <a:pt x="2525" y="3128"/>
                  </a:cubicBezTo>
                  <a:cubicBezTo>
                    <a:pt x="2525" y="3128"/>
                    <a:pt x="2525" y="3148"/>
                    <a:pt x="2519" y="3154"/>
                  </a:cubicBezTo>
                  <a:cubicBezTo>
                    <a:pt x="2513" y="3160"/>
                    <a:pt x="2492" y="3166"/>
                    <a:pt x="2487" y="3175"/>
                  </a:cubicBezTo>
                  <a:cubicBezTo>
                    <a:pt x="2482" y="3184"/>
                    <a:pt x="2485" y="3203"/>
                    <a:pt x="2472" y="3204"/>
                  </a:cubicBezTo>
                  <a:cubicBezTo>
                    <a:pt x="2459" y="3205"/>
                    <a:pt x="2466" y="3187"/>
                    <a:pt x="2450" y="3187"/>
                  </a:cubicBezTo>
                  <a:cubicBezTo>
                    <a:pt x="2434" y="3187"/>
                    <a:pt x="2408" y="3199"/>
                    <a:pt x="2388" y="3199"/>
                  </a:cubicBezTo>
                  <a:cubicBezTo>
                    <a:pt x="2368" y="3199"/>
                    <a:pt x="2340" y="3222"/>
                    <a:pt x="2331" y="3218"/>
                  </a:cubicBezTo>
                  <a:cubicBezTo>
                    <a:pt x="2322" y="3214"/>
                    <a:pt x="2323" y="3193"/>
                    <a:pt x="2312" y="3191"/>
                  </a:cubicBezTo>
                  <a:cubicBezTo>
                    <a:pt x="2301" y="3189"/>
                    <a:pt x="2273" y="3186"/>
                    <a:pt x="2273" y="3186"/>
                  </a:cubicBezTo>
                  <a:cubicBezTo>
                    <a:pt x="2273" y="3186"/>
                    <a:pt x="2271" y="3169"/>
                    <a:pt x="2266" y="3162"/>
                  </a:cubicBezTo>
                  <a:cubicBezTo>
                    <a:pt x="2261" y="3155"/>
                    <a:pt x="2253" y="3146"/>
                    <a:pt x="2253" y="3146"/>
                  </a:cubicBezTo>
                  <a:cubicBezTo>
                    <a:pt x="2253" y="3123"/>
                    <a:pt x="2253" y="3123"/>
                    <a:pt x="2253" y="3123"/>
                  </a:cubicBezTo>
                  <a:cubicBezTo>
                    <a:pt x="2227" y="3082"/>
                    <a:pt x="2227" y="3082"/>
                    <a:pt x="2227" y="3082"/>
                  </a:cubicBezTo>
                  <a:cubicBezTo>
                    <a:pt x="2226" y="3054"/>
                    <a:pt x="2226" y="3054"/>
                    <a:pt x="2226" y="3054"/>
                  </a:cubicBezTo>
                  <a:cubicBezTo>
                    <a:pt x="2215" y="3034"/>
                    <a:pt x="2215" y="3034"/>
                    <a:pt x="2215" y="3034"/>
                  </a:cubicBezTo>
                  <a:cubicBezTo>
                    <a:pt x="2212" y="2977"/>
                    <a:pt x="2212" y="2977"/>
                    <a:pt x="2212" y="2977"/>
                  </a:cubicBezTo>
                  <a:cubicBezTo>
                    <a:pt x="2212" y="2977"/>
                    <a:pt x="2228" y="2956"/>
                    <a:pt x="2228" y="2945"/>
                  </a:cubicBezTo>
                  <a:cubicBezTo>
                    <a:pt x="2228" y="2934"/>
                    <a:pt x="2230" y="2904"/>
                    <a:pt x="2230" y="2904"/>
                  </a:cubicBezTo>
                  <a:cubicBezTo>
                    <a:pt x="2228" y="2877"/>
                    <a:pt x="2228" y="2877"/>
                    <a:pt x="2228" y="2877"/>
                  </a:cubicBezTo>
                  <a:cubicBezTo>
                    <a:pt x="2244" y="2872"/>
                    <a:pt x="2244" y="2872"/>
                    <a:pt x="2244" y="2872"/>
                  </a:cubicBezTo>
                  <a:cubicBezTo>
                    <a:pt x="2244" y="2872"/>
                    <a:pt x="2243" y="2832"/>
                    <a:pt x="2251" y="2830"/>
                  </a:cubicBezTo>
                  <a:cubicBezTo>
                    <a:pt x="2259" y="2828"/>
                    <a:pt x="2267" y="2839"/>
                    <a:pt x="2269" y="2830"/>
                  </a:cubicBezTo>
                  <a:cubicBezTo>
                    <a:pt x="2271" y="2821"/>
                    <a:pt x="2282" y="2802"/>
                    <a:pt x="2282" y="2802"/>
                  </a:cubicBezTo>
                  <a:cubicBezTo>
                    <a:pt x="2272" y="2752"/>
                    <a:pt x="2272" y="2752"/>
                    <a:pt x="2272" y="2752"/>
                  </a:cubicBezTo>
                  <a:cubicBezTo>
                    <a:pt x="2284" y="2741"/>
                    <a:pt x="2284" y="2741"/>
                    <a:pt x="2284" y="2741"/>
                  </a:cubicBezTo>
                  <a:cubicBezTo>
                    <a:pt x="2271" y="2732"/>
                    <a:pt x="2271" y="2732"/>
                    <a:pt x="2271" y="2732"/>
                  </a:cubicBezTo>
                  <a:cubicBezTo>
                    <a:pt x="2271" y="2719"/>
                    <a:pt x="2271" y="2719"/>
                    <a:pt x="2271" y="2719"/>
                  </a:cubicBezTo>
                  <a:cubicBezTo>
                    <a:pt x="2271" y="2719"/>
                    <a:pt x="2289" y="2731"/>
                    <a:pt x="2292" y="2719"/>
                  </a:cubicBezTo>
                  <a:cubicBezTo>
                    <a:pt x="2295" y="2707"/>
                    <a:pt x="2292" y="2698"/>
                    <a:pt x="2292" y="2698"/>
                  </a:cubicBezTo>
                  <a:cubicBezTo>
                    <a:pt x="2308" y="2696"/>
                    <a:pt x="2308" y="2696"/>
                    <a:pt x="2308" y="2696"/>
                  </a:cubicBezTo>
                  <a:cubicBezTo>
                    <a:pt x="2313" y="2678"/>
                    <a:pt x="2313" y="2678"/>
                    <a:pt x="2313" y="2678"/>
                  </a:cubicBezTo>
                  <a:cubicBezTo>
                    <a:pt x="2323" y="2683"/>
                    <a:pt x="2323" y="2683"/>
                    <a:pt x="2323" y="2683"/>
                  </a:cubicBezTo>
                  <a:cubicBezTo>
                    <a:pt x="2336" y="2676"/>
                    <a:pt x="2336" y="2676"/>
                    <a:pt x="2336" y="2676"/>
                  </a:cubicBezTo>
                  <a:cubicBezTo>
                    <a:pt x="2331" y="2660"/>
                    <a:pt x="2331" y="2660"/>
                    <a:pt x="2331" y="2660"/>
                  </a:cubicBezTo>
                  <a:cubicBezTo>
                    <a:pt x="2341" y="2667"/>
                    <a:pt x="2341" y="2667"/>
                    <a:pt x="2341" y="2667"/>
                  </a:cubicBezTo>
                  <a:cubicBezTo>
                    <a:pt x="2341" y="2667"/>
                    <a:pt x="2345" y="2645"/>
                    <a:pt x="2351" y="2649"/>
                  </a:cubicBezTo>
                  <a:cubicBezTo>
                    <a:pt x="2357" y="2653"/>
                    <a:pt x="2358" y="2664"/>
                    <a:pt x="2364" y="2661"/>
                  </a:cubicBezTo>
                  <a:cubicBezTo>
                    <a:pt x="2370" y="2658"/>
                    <a:pt x="2398" y="2650"/>
                    <a:pt x="2406" y="2642"/>
                  </a:cubicBezTo>
                  <a:cubicBezTo>
                    <a:pt x="2414" y="2634"/>
                    <a:pt x="2428" y="2615"/>
                    <a:pt x="2428" y="2615"/>
                  </a:cubicBezTo>
                  <a:cubicBezTo>
                    <a:pt x="2428" y="2615"/>
                    <a:pt x="2420" y="2592"/>
                    <a:pt x="2430" y="2591"/>
                  </a:cubicBezTo>
                  <a:cubicBezTo>
                    <a:pt x="2440" y="2590"/>
                    <a:pt x="2451" y="2614"/>
                    <a:pt x="2463" y="2607"/>
                  </a:cubicBezTo>
                  <a:cubicBezTo>
                    <a:pt x="2475" y="2600"/>
                    <a:pt x="2479" y="2572"/>
                    <a:pt x="2485" y="2579"/>
                  </a:cubicBezTo>
                  <a:cubicBezTo>
                    <a:pt x="2491" y="2586"/>
                    <a:pt x="2494" y="2592"/>
                    <a:pt x="2499" y="2592"/>
                  </a:cubicBezTo>
                  <a:cubicBezTo>
                    <a:pt x="2504" y="2592"/>
                    <a:pt x="2515" y="2576"/>
                    <a:pt x="2515" y="2576"/>
                  </a:cubicBezTo>
                  <a:cubicBezTo>
                    <a:pt x="2515" y="2576"/>
                    <a:pt x="2534" y="2607"/>
                    <a:pt x="2548" y="2605"/>
                  </a:cubicBezTo>
                  <a:cubicBezTo>
                    <a:pt x="2562" y="2603"/>
                    <a:pt x="2564" y="2572"/>
                    <a:pt x="2580" y="2588"/>
                  </a:cubicBezTo>
                  <a:cubicBezTo>
                    <a:pt x="2596" y="2604"/>
                    <a:pt x="2588" y="2622"/>
                    <a:pt x="2598" y="2622"/>
                  </a:cubicBezTo>
                  <a:cubicBezTo>
                    <a:pt x="2608" y="2622"/>
                    <a:pt x="2624" y="2629"/>
                    <a:pt x="2624" y="2629"/>
                  </a:cubicBezTo>
                  <a:cubicBezTo>
                    <a:pt x="2624" y="2629"/>
                    <a:pt x="2623" y="2613"/>
                    <a:pt x="2630" y="2618"/>
                  </a:cubicBezTo>
                  <a:cubicBezTo>
                    <a:pt x="2637" y="2623"/>
                    <a:pt x="2645" y="2642"/>
                    <a:pt x="2650" y="2630"/>
                  </a:cubicBezTo>
                  <a:cubicBezTo>
                    <a:pt x="2655" y="2618"/>
                    <a:pt x="2648" y="2603"/>
                    <a:pt x="2648" y="2603"/>
                  </a:cubicBezTo>
                  <a:cubicBezTo>
                    <a:pt x="2662" y="2608"/>
                    <a:pt x="2662" y="2608"/>
                    <a:pt x="2662" y="2608"/>
                  </a:cubicBezTo>
                  <a:cubicBezTo>
                    <a:pt x="2667" y="2619"/>
                    <a:pt x="2667" y="2619"/>
                    <a:pt x="2667" y="2619"/>
                  </a:cubicBezTo>
                  <a:cubicBezTo>
                    <a:pt x="2677" y="2622"/>
                    <a:pt x="2677" y="2622"/>
                    <a:pt x="2677" y="2622"/>
                  </a:cubicBezTo>
                  <a:cubicBezTo>
                    <a:pt x="2677" y="2631"/>
                    <a:pt x="2677" y="2631"/>
                    <a:pt x="2677" y="2631"/>
                  </a:cubicBezTo>
                  <a:cubicBezTo>
                    <a:pt x="2677" y="2631"/>
                    <a:pt x="2701" y="2638"/>
                    <a:pt x="2696" y="2626"/>
                  </a:cubicBezTo>
                  <a:cubicBezTo>
                    <a:pt x="2691" y="2614"/>
                    <a:pt x="2677" y="2609"/>
                    <a:pt x="2677" y="2609"/>
                  </a:cubicBezTo>
                  <a:cubicBezTo>
                    <a:pt x="2671" y="2599"/>
                    <a:pt x="2671" y="2599"/>
                    <a:pt x="2671" y="2599"/>
                  </a:cubicBezTo>
                  <a:cubicBezTo>
                    <a:pt x="2671" y="2599"/>
                    <a:pt x="2691" y="2596"/>
                    <a:pt x="2689" y="2588"/>
                  </a:cubicBezTo>
                  <a:cubicBezTo>
                    <a:pt x="2687" y="2580"/>
                    <a:pt x="2685" y="2578"/>
                    <a:pt x="2676" y="2579"/>
                  </a:cubicBezTo>
                  <a:cubicBezTo>
                    <a:pt x="2667" y="2580"/>
                    <a:pt x="2640" y="2583"/>
                    <a:pt x="2649" y="2569"/>
                  </a:cubicBezTo>
                  <a:cubicBezTo>
                    <a:pt x="2658" y="2555"/>
                    <a:pt x="2667" y="2566"/>
                    <a:pt x="2678" y="2569"/>
                  </a:cubicBezTo>
                  <a:cubicBezTo>
                    <a:pt x="2689" y="2572"/>
                    <a:pt x="2697" y="2570"/>
                    <a:pt x="2707" y="2563"/>
                  </a:cubicBezTo>
                  <a:cubicBezTo>
                    <a:pt x="2717" y="2556"/>
                    <a:pt x="2728" y="2556"/>
                    <a:pt x="2728" y="2556"/>
                  </a:cubicBezTo>
                  <a:cubicBezTo>
                    <a:pt x="2729" y="2560"/>
                    <a:pt x="2729" y="2560"/>
                    <a:pt x="2729" y="2560"/>
                  </a:cubicBezTo>
                  <a:cubicBezTo>
                    <a:pt x="2729" y="2560"/>
                    <a:pt x="2759" y="2560"/>
                    <a:pt x="2759" y="2553"/>
                  </a:cubicBezTo>
                  <a:cubicBezTo>
                    <a:pt x="2759" y="2546"/>
                    <a:pt x="2765" y="2531"/>
                    <a:pt x="2768" y="2536"/>
                  </a:cubicBezTo>
                  <a:cubicBezTo>
                    <a:pt x="2771" y="2541"/>
                    <a:pt x="2771" y="2563"/>
                    <a:pt x="2771" y="2563"/>
                  </a:cubicBezTo>
                  <a:cubicBezTo>
                    <a:pt x="2771" y="2563"/>
                    <a:pt x="2804" y="2551"/>
                    <a:pt x="2813" y="2552"/>
                  </a:cubicBezTo>
                  <a:cubicBezTo>
                    <a:pt x="2822" y="2553"/>
                    <a:pt x="2829" y="2563"/>
                    <a:pt x="2829" y="2563"/>
                  </a:cubicBezTo>
                  <a:cubicBezTo>
                    <a:pt x="2829" y="2563"/>
                    <a:pt x="2826" y="2547"/>
                    <a:pt x="2836" y="2551"/>
                  </a:cubicBezTo>
                  <a:cubicBezTo>
                    <a:pt x="2846" y="2555"/>
                    <a:pt x="2846" y="2569"/>
                    <a:pt x="2846" y="2569"/>
                  </a:cubicBezTo>
                  <a:cubicBezTo>
                    <a:pt x="2866" y="2564"/>
                    <a:pt x="2866" y="2564"/>
                    <a:pt x="2866" y="2564"/>
                  </a:cubicBezTo>
                  <a:cubicBezTo>
                    <a:pt x="2862" y="2572"/>
                    <a:pt x="2862" y="2572"/>
                    <a:pt x="2862" y="2572"/>
                  </a:cubicBezTo>
                  <a:cubicBezTo>
                    <a:pt x="2862" y="2572"/>
                    <a:pt x="2863" y="2604"/>
                    <a:pt x="2881" y="2600"/>
                  </a:cubicBezTo>
                  <a:cubicBezTo>
                    <a:pt x="2899" y="2596"/>
                    <a:pt x="2912" y="2570"/>
                    <a:pt x="2930" y="2574"/>
                  </a:cubicBezTo>
                  <a:cubicBezTo>
                    <a:pt x="2948" y="2578"/>
                    <a:pt x="2949" y="2612"/>
                    <a:pt x="2958" y="2618"/>
                  </a:cubicBezTo>
                  <a:cubicBezTo>
                    <a:pt x="2967" y="2624"/>
                    <a:pt x="2985" y="2624"/>
                    <a:pt x="2985" y="2624"/>
                  </a:cubicBezTo>
                  <a:cubicBezTo>
                    <a:pt x="2982" y="2650"/>
                    <a:pt x="2982" y="2650"/>
                    <a:pt x="2982" y="2650"/>
                  </a:cubicBezTo>
                  <a:cubicBezTo>
                    <a:pt x="2982" y="2650"/>
                    <a:pt x="2963" y="2678"/>
                    <a:pt x="2965" y="2686"/>
                  </a:cubicBezTo>
                  <a:cubicBezTo>
                    <a:pt x="2967" y="2694"/>
                    <a:pt x="2977" y="2695"/>
                    <a:pt x="2977" y="2695"/>
                  </a:cubicBezTo>
                  <a:cubicBezTo>
                    <a:pt x="2982" y="2705"/>
                    <a:pt x="2982" y="2705"/>
                    <a:pt x="2982" y="2705"/>
                  </a:cubicBezTo>
                  <a:cubicBezTo>
                    <a:pt x="2963" y="2718"/>
                    <a:pt x="2963" y="2718"/>
                    <a:pt x="2963" y="2718"/>
                  </a:cubicBezTo>
                  <a:cubicBezTo>
                    <a:pt x="2976" y="2751"/>
                    <a:pt x="2976" y="2751"/>
                    <a:pt x="2976" y="2751"/>
                  </a:cubicBezTo>
                  <a:cubicBezTo>
                    <a:pt x="2976" y="2751"/>
                    <a:pt x="2991" y="2732"/>
                    <a:pt x="2992" y="2738"/>
                  </a:cubicBezTo>
                  <a:cubicBezTo>
                    <a:pt x="2993" y="2744"/>
                    <a:pt x="2981" y="2769"/>
                    <a:pt x="2981" y="2769"/>
                  </a:cubicBezTo>
                  <a:cubicBezTo>
                    <a:pt x="2991" y="2766"/>
                    <a:pt x="2991" y="2766"/>
                    <a:pt x="2991" y="2766"/>
                  </a:cubicBezTo>
                  <a:cubicBezTo>
                    <a:pt x="2994" y="2798"/>
                    <a:pt x="2994" y="2798"/>
                    <a:pt x="2994" y="2798"/>
                  </a:cubicBezTo>
                  <a:cubicBezTo>
                    <a:pt x="2994" y="2798"/>
                    <a:pt x="3011" y="2798"/>
                    <a:pt x="3011" y="2804"/>
                  </a:cubicBezTo>
                  <a:cubicBezTo>
                    <a:pt x="3011" y="2810"/>
                    <a:pt x="3008" y="2826"/>
                    <a:pt x="3008" y="2826"/>
                  </a:cubicBezTo>
                  <a:cubicBezTo>
                    <a:pt x="3023" y="2843"/>
                    <a:pt x="3023" y="2843"/>
                    <a:pt x="3023" y="2843"/>
                  </a:cubicBezTo>
                  <a:cubicBezTo>
                    <a:pt x="3023" y="2843"/>
                    <a:pt x="3047" y="2837"/>
                    <a:pt x="3049" y="2830"/>
                  </a:cubicBezTo>
                  <a:cubicBezTo>
                    <a:pt x="3051" y="2823"/>
                    <a:pt x="3053" y="2810"/>
                    <a:pt x="3053" y="2810"/>
                  </a:cubicBezTo>
                  <a:cubicBezTo>
                    <a:pt x="3065" y="2810"/>
                    <a:pt x="3065" y="2810"/>
                    <a:pt x="3065" y="2810"/>
                  </a:cubicBezTo>
                  <a:cubicBezTo>
                    <a:pt x="3065" y="2810"/>
                    <a:pt x="3064" y="2789"/>
                    <a:pt x="3071" y="2779"/>
                  </a:cubicBezTo>
                  <a:cubicBezTo>
                    <a:pt x="3078" y="2769"/>
                    <a:pt x="3082" y="2752"/>
                    <a:pt x="3079" y="2742"/>
                  </a:cubicBezTo>
                  <a:cubicBezTo>
                    <a:pt x="3076" y="2732"/>
                    <a:pt x="3066" y="2699"/>
                    <a:pt x="3066" y="2690"/>
                  </a:cubicBezTo>
                  <a:cubicBezTo>
                    <a:pt x="3066" y="2681"/>
                    <a:pt x="3072" y="2667"/>
                    <a:pt x="3072" y="2651"/>
                  </a:cubicBezTo>
                  <a:cubicBezTo>
                    <a:pt x="3072" y="2635"/>
                    <a:pt x="3052" y="2609"/>
                    <a:pt x="3056" y="2595"/>
                  </a:cubicBezTo>
                  <a:cubicBezTo>
                    <a:pt x="3060" y="2581"/>
                    <a:pt x="3052" y="2541"/>
                    <a:pt x="3064" y="2526"/>
                  </a:cubicBezTo>
                  <a:cubicBezTo>
                    <a:pt x="3076" y="2511"/>
                    <a:pt x="3084" y="2487"/>
                    <a:pt x="3084" y="2487"/>
                  </a:cubicBezTo>
                  <a:cubicBezTo>
                    <a:pt x="3094" y="2481"/>
                    <a:pt x="3094" y="2481"/>
                    <a:pt x="3094" y="2481"/>
                  </a:cubicBezTo>
                  <a:cubicBezTo>
                    <a:pt x="3107" y="2468"/>
                    <a:pt x="3107" y="2468"/>
                    <a:pt x="3107" y="2468"/>
                  </a:cubicBezTo>
                  <a:cubicBezTo>
                    <a:pt x="3113" y="2452"/>
                    <a:pt x="3113" y="2452"/>
                    <a:pt x="3113" y="2452"/>
                  </a:cubicBezTo>
                  <a:cubicBezTo>
                    <a:pt x="3122" y="2458"/>
                    <a:pt x="3122" y="2458"/>
                    <a:pt x="3122" y="2458"/>
                  </a:cubicBezTo>
                  <a:cubicBezTo>
                    <a:pt x="3125" y="2444"/>
                    <a:pt x="3125" y="2444"/>
                    <a:pt x="3125" y="2444"/>
                  </a:cubicBezTo>
                  <a:cubicBezTo>
                    <a:pt x="3125" y="2444"/>
                    <a:pt x="3155" y="2448"/>
                    <a:pt x="3160" y="2442"/>
                  </a:cubicBezTo>
                  <a:cubicBezTo>
                    <a:pt x="3165" y="2436"/>
                    <a:pt x="3161" y="2425"/>
                    <a:pt x="3161" y="2425"/>
                  </a:cubicBezTo>
                  <a:cubicBezTo>
                    <a:pt x="3174" y="2426"/>
                    <a:pt x="3174" y="2426"/>
                    <a:pt x="3174" y="2426"/>
                  </a:cubicBezTo>
                  <a:cubicBezTo>
                    <a:pt x="3178" y="2420"/>
                    <a:pt x="3178" y="2420"/>
                    <a:pt x="3178" y="2420"/>
                  </a:cubicBezTo>
                  <a:cubicBezTo>
                    <a:pt x="3189" y="2419"/>
                    <a:pt x="3189" y="2419"/>
                    <a:pt x="3189" y="2419"/>
                  </a:cubicBezTo>
                  <a:cubicBezTo>
                    <a:pt x="3206" y="2398"/>
                    <a:pt x="3206" y="2398"/>
                    <a:pt x="3206" y="2398"/>
                  </a:cubicBezTo>
                  <a:cubicBezTo>
                    <a:pt x="3206" y="2398"/>
                    <a:pt x="3210" y="2378"/>
                    <a:pt x="3229" y="2373"/>
                  </a:cubicBezTo>
                  <a:cubicBezTo>
                    <a:pt x="3248" y="2368"/>
                    <a:pt x="3259" y="2379"/>
                    <a:pt x="3268" y="2370"/>
                  </a:cubicBezTo>
                  <a:cubicBezTo>
                    <a:pt x="3277" y="2361"/>
                    <a:pt x="3283" y="2344"/>
                    <a:pt x="3283" y="2344"/>
                  </a:cubicBezTo>
                  <a:cubicBezTo>
                    <a:pt x="3293" y="2346"/>
                    <a:pt x="3293" y="2346"/>
                    <a:pt x="3293" y="2346"/>
                  </a:cubicBezTo>
                  <a:cubicBezTo>
                    <a:pt x="3298" y="2331"/>
                    <a:pt x="3298" y="2331"/>
                    <a:pt x="3298" y="2331"/>
                  </a:cubicBezTo>
                  <a:cubicBezTo>
                    <a:pt x="3352" y="2328"/>
                    <a:pt x="3352" y="2328"/>
                    <a:pt x="3352" y="2328"/>
                  </a:cubicBezTo>
                  <a:cubicBezTo>
                    <a:pt x="3355" y="2312"/>
                    <a:pt x="3355" y="2312"/>
                    <a:pt x="3355" y="2312"/>
                  </a:cubicBezTo>
                  <a:cubicBezTo>
                    <a:pt x="3330" y="2314"/>
                    <a:pt x="3330" y="2314"/>
                    <a:pt x="3330" y="2314"/>
                  </a:cubicBezTo>
                  <a:cubicBezTo>
                    <a:pt x="3330" y="2314"/>
                    <a:pt x="3344" y="2309"/>
                    <a:pt x="3343" y="2302"/>
                  </a:cubicBezTo>
                  <a:cubicBezTo>
                    <a:pt x="3342" y="2295"/>
                    <a:pt x="3332" y="2288"/>
                    <a:pt x="3332" y="2288"/>
                  </a:cubicBezTo>
                  <a:cubicBezTo>
                    <a:pt x="3355" y="2284"/>
                    <a:pt x="3355" y="2284"/>
                    <a:pt x="3355" y="2284"/>
                  </a:cubicBezTo>
                  <a:cubicBezTo>
                    <a:pt x="3371" y="2290"/>
                    <a:pt x="3371" y="2290"/>
                    <a:pt x="3371" y="2290"/>
                  </a:cubicBezTo>
                  <a:cubicBezTo>
                    <a:pt x="3394" y="2266"/>
                    <a:pt x="3394" y="2266"/>
                    <a:pt x="3394" y="2266"/>
                  </a:cubicBezTo>
                  <a:cubicBezTo>
                    <a:pt x="3357" y="2265"/>
                    <a:pt x="3357" y="2265"/>
                    <a:pt x="3357" y="2265"/>
                  </a:cubicBezTo>
                  <a:cubicBezTo>
                    <a:pt x="3355" y="2248"/>
                    <a:pt x="3355" y="2248"/>
                    <a:pt x="3355" y="2248"/>
                  </a:cubicBezTo>
                  <a:cubicBezTo>
                    <a:pt x="3364" y="2257"/>
                    <a:pt x="3364" y="2257"/>
                    <a:pt x="3364" y="2257"/>
                  </a:cubicBezTo>
                  <a:cubicBezTo>
                    <a:pt x="3394" y="2246"/>
                    <a:pt x="3394" y="2246"/>
                    <a:pt x="3394" y="2246"/>
                  </a:cubicBezTo>
                  <a:cubicBezTo>
                    <a:pt x="3397" y="2207"/>
                    <a:pt x="3397" y="2207"/>
                    <a:pt x="3397" y="2207"/>
                  </a:cubicBezTo>
                  <a:cubicBezTo>
                    <a:pt x="3378" y="2215"/>
                    <a:pt x="3378" y="2215"/>
                    <a:pt x="3378" y="2215"/>
                  </a:cubicBezTo>
                  <a:cubicBezTo>
                    <a:pt x="3374" y="2197"/>
                    <a:pt x="3374" y="2197"/>
                    <a:pt x="3374" y="2197"/>
                  </a:cubicBezTo>
                  <a:cubicBezTo>
                    <a:pt x="3358" y="2186"/>
                    <a:pt x="3358" y="2186"/>
                    <a:pt x="3358" y="2186"/>
                  </a:cubicBezTo>
                  <a:cubicBezTo>
                    <a:pt x="3387" y="2201"/>
                    <a:pt x="3387" y="2201"/>
                    <a:pt x="3387" y="2201"/>
                  </a:cubicBezTo>
                  <a:cubicBezTo>
                    <a:pt x="3394" y="2195"/>
                    <a:pt x="3394" y="2195"/>
                    <a:pt x="3394" y="2195"/>
                  </a:cubicBezTo>
                  <a:cubicBezTo>
                    <a:pt x="3381" y="2185"/>
                    <a:pt x="3381" y="2185"/>
                    <a:pt x="3381" y="2185"/>
                  </a:cubicBezTo>
                  <a:cubicBezTo>
                    <a:pt x="3399" y="2185"/>
                    <a:pt x="3399" y="2185"/>
                    <a:pt x="3399" y="2185"/>
                  </a:cubicBezTo>
                  <a:cubicBezTo>
                    <a:pt x="3399" y="2185"/>
                    <a:pt x="3377" y="2156"/>
                    <a:pt x="3377" y="2149"/>
                  </a:cubicBezTo>
                  <a:cubicBezTo>
                    <a:pt x="3377" y="2142"/>
                    <a:pt x="3382" y="2139"/>
                    <a:pt x="3382" y="2139"/>
                  </a:cubicBezTo>
                  <a:cubicBezTo>
                    <a:pt x="3382" y="2139"/>
                    <a:pt x="3365" y="2128"/>
                    <a:pt x="3367" y="2125"/>
                  </a:cubicBezTo>
                  <a:cubicBezTo>
                    <a:pt x="3369" y="2122"/>
                    <a:pt x="3388" y="2110"/>
                    <a:pt x="3388" y="2110"/>
                  </a:cubicBezTo>
                  <a:cubicBezTo>
                    <a:pt x="3383" y="2128"/>
                    <a:pt x="3383" y="2128"/>
                    <a:pt x="3383" y="2128"/>
                  </a:cubicBezTo>
                  <a:cubicBezTo>
                    <a:pt x="3404" y="2145"/>
                    <a:pt x="3404" y="2145"/>
                    <a:pt x="3404" y="2145"/>
                  </a:cubicBezTo>
                  <a:cubicBezTo>
                    <a:pt x="3404" y="2145"/>
                    <a:pt x="3412" y="2121"/>
                    <a:pt x="3412" y="2108"/>
                  </a:cubicBezTo>
                  <a:cubicBezTo>
                    <a:pt x="3412" y="2095"/>
                    <a:pt x="3450" y="2064"/>
                    <a:pt x="3449" y="2072"/>
                  </a:cubicBezTo>
                  <a:cubicBezTo>
                    <a:pt x="3448" y="2080"/>
                    <a:pt x="3425" y="2113"/>
                    <a:pt x="3425" y="2113"/>
                  </a:cubicBezTo>
                  <a:cubicBezTo>
                    <a:pt x="3419" y="2135"/>
                    <a:pt x="3419" y="2135"/>
                    <a:pt x="3419" y="2135"/>
                  </a:cubicBezTo>
                  <a:cubicBezTo>
                    <a:pt x="3432" y="2136"/>
                    <a:pt x="3432" y="2136"/>
                    <a:pt x="3432" y="2136"/>
                  </a:cubicBezTo>
                  <a:cubicBezTo>
                    <a:pt x="3432" y="2136"/>
                    <a:pt x="3429" y="2158"/>
                    <a:pt x="3424" y="2162"/>
                  </a:cubicBezTo>
                  <a:cubicBezTo>
                    <a:pt x="3419" y="2166"/>
                    <a:pt x="3401" y="2200"/>
                    <a:pt x="3408" y="2200"/>
                  </a:cubicBezTo>
                  <a:cubicBezTo>
                    <a:pt x="3415" y="2200"/>
                    <a:pt x="3425" y="2176"/>
                    <a:pt x="3431" y="2171"/>
                  </a:cubicBezTo>
                  <a:cubicBezTo>
                    <a:pt x="3437" y="2166"/>
                    <a:pt x="3467" y="2150"/>
                    <a:pt x="3469" y="2137"/>
                  </a:cubicBezTo>
                  <a:cubicBezTo>
                    <a:pt x="3471" y="2124"/>
                    <a:pt x="3467" y="2103"/>
                    <a:pt x="3467" y="2092"/>
                  </a:cubicBezTo>
                  <a:cubicBezTo>
                    <a:pt x="3467" y="2081"/>
                    <a:pt x="3471" y="2055"/>
                    <a:pt x="3478" y="2052"/>
                  </a:cubicBezTo>
                  <a:cubicBezTo>
                    <a:pt x="3485" y="2049"/>
                    <a:pt x="3480" y="2054"/>
                    <a:pt x="3477" y="2067"/>
                  </a:cubicBezTo>
                  <a:cubicBezTo>
                    <a:pt x="3474" y="2080"/>
                    <a:pt x="3486" y="2084"/>
                    <a:pt x="3486" y="2084"/>
                  </a:cubicBezTo>
                  <a:cubicBezTo>
                    <a:pt x="3486" y="2084"/>
                    <a:pt x="3480" y="2109"/>
                    <a:pt x="3483" y="2109"/>
                  </a:cubicBezTo>
                  <a:cubicBezTo>
                    <a:pt x="3486" y="2109"/>
                    <a:pt x="3517" y="2070"/>
                    <a:pt x="3527" y="2060"/>
                  </a:cubicBezTo>
                  <a:cubicBezTo>
                    <a:pt x="3537" y="2050"/>
                    <a:pt x="3559" y="2034"/>
                    <a:pt x="3556" y="2030"/>
                  </a:cubicBezTo>
                  <a:cubicBezTo>
                    <a:pt x="3553" y="2026"/>
                    <a:pt x="3544" y="2029"/>
                    <a:pt x="3544" y="2019"/>
                  </a:cubicBezTo>
                  <a:cubicBezTo>
                    <a:pt x="3544" y="2009"/>
                    <a:pt x="3562" y="2014"/>
                    <a:pt x="3582" y="2014"/>
                  </a:cubicBezTo>
                  <a:cubicBezTo>
                    <a:pt x="3602" y="2014"/>
                    <a:pt x="3648" y="1992"/>
                    <a:pt x="3648" y="1992"/>
                  </a:cubicBezTo>
                  <a:cubicBezTo>
                    <a:pt x="3635" y="1986"/>
                    <a:pt x="3635" y="1986"/>
                    <a:pt x="3635" y="1986"/>
                  </a:cubicBezTo>
                  <a:cubicBezTo>
                    <a:pt x="3635" y="1986"/>
                    <a:pt x="3611" y="1997"/>
                    <a:pt x="3599" y="1998"/>
                  </a:cubicBezTo>
                  <a:cubicBezTo>
                    <a:pt x="3587" y="1999"/>
                    <a:pt x="3567" y="2007"/>
                    <a:pt x="3570" y="1994"/>
                  </a:cubicBezTo>
                  <a:cubicBezTo>
                    <a:pt x="3573" y="1981"/>
                    <a:pt x="3608" y="1978"/>
                    <a:pt x="3608" y="1978"/>
                  </a:cubicBezTo>
                  <a:cubicBezTo>
                    <a:pt x="3668" y="1977"/>
                    <a:pt x="3668" y="1977"/>
                    <a:pt x="3668" y="1977"/>
                  </a:cubicBezTo>
                  <a:cubicBezTo>
                    <a:pt x="3697" y="1950"/>
                    <a:pt x="3697" y="1950"/>
                    <a:pt x="3697" y="1950"/>
                  </a:cubicBezTo>
                  <a:cubicBezTo>
                    <a:pt x="3703" y="1960"/>
                    <a:pt x="3703" y="1960"/>
                    <a:pt x="3703" y="1960"/>
                  </a:cubicBezTo>
                  <a:cubicBezTo>
                    <a:pt x="3721" y="1951"/>
                    <a:pt x="3721" y="1951"/>
                    <a:pt x="3721" y="1951"/>
                  </a:cubicBezTo>
                  <a:cubicBezTo>
                    <a:pt x="3719" y="1974"/>
                    <a:pt x="3719" y="1974"/>
                    <a:pt x="3719" y="1974"/>
                  </a:cubicBezTo>
                  <a:cubicBezTo>
                    <a:pt x="3739" y="1961"/>
                    <a:pt x="3739" y="1961"/>
                    <a:pt x="3739" y="1961"/>
                  </a:cubicBezTo>
                  <a:cubicBezTo>
                    <a:pt x="3755" y="1957"/>
                    <a:pt x="3755" y="1957"/>
                    <a:pt x="3755" y="1957"/>
                  </a:cubicBezTo>
                  <a:cubicBezTo>
                    <a:pt x="3760" y="1935"/>
                    <a:pt x="3760" y="1935"/>
                    <a:pt x="3760" y="1935"/>
                  </a:cubicBezTo>
                  <a:cubicBezTo>
                    <a:pt x="3751" y="1927"/>
                    <a:pt x="3751" y="1927"/>
                    <a:pt x="3751" y="1927"/>
                  </a:cubicBezTo>
                  <a:cubicBezTo>
                    <a:pt x="3749" y="1946"/>
                    <a:pt x="3749" y="1946"/>
                    <a:pt x="3749" y="1946"/>
                  </a:cubicBezTo>
                  <a:cubicBezTo>
                    <a:pt x="3733" y="1949"/>
                    <a:pt x="3733" y="1949"/>
                    <a:pt x="3733" y="1949"/>
                  </a:cubicBezTo>
                  <a:cubicBezTo>
                    <a:pt x="3733" y="1930"/>
                    <a:pt x="3733" y="1930"/>
                    <a:pt x="3733" y="1930"/>
                  </a:cubicBezTo>
                  <a:cubicBezTo>
                    <a:pt x="3720" y="1916"/>
                    <a:pt x="3720" y="1916"/>
                    <a:pt x="3720" y="1916"/>
                  </a:cubicBezTo>
                  <a:cubicBezTo>
                    <a:pt x="3736" y="1908"/>
                    <a:pt x="3736" y="1908"/>
                    <a:pt x="3736" y="1908"/>
                  </a:cubicBezTo>
                  <a:cubicBezTo>
                    <a:pt x="3740" y="1885"/>
                    <a:pt x="3740" y="1885"/>
                    <a:pt x="3740" y="1885"/>
                  </a:cubicBezTo>
                  <a:cubicBezTo>
                    <a:pt x="3740" y="1885"/>
                    <a:pt x="3755" y="1868"/>
                    <a:pt x="3765" y="1863"/>
                  </a:cubicBezTo>
                  <a:cubicBezTo>
                    <a:pt x="3775" y="1858"/>
                    <a:pt x="3780" y="1840"/>
                    <a:pt x="3780" y="1840"/>
                  </a:cubicBezTo>
                  <a:cubicBezTo>
                    <a:pt x="3799" y="1845"/>
                    <a:pt x="3799" y="1845"/>
                    <a:pt x="3799" y="1845"/>
                  </a:cubicBezTo>
                  <a:cubicBezTo>
                    <a:pt x="3809" y="1830"/>
                    <a:pt x="3809" y="1830"/>
                    <a:pt x="3809" y="1830"/>
                  </a:cubicBezTo>
                  <a:cubicBezTo>
                    <a:pt x="3809" y="1830"/>
                    <a:pt x="3812" y="1841"/>
                    <a:pt x="3821" y="1835"/>
                  </a:cubicBezTo>
                  <a:cubicBezTo>
                    <a:pt x="3830" y="1829"/>
                    <a:pt x="3857" y="1805"/>
                    <a:pt x="3857" y="1805"/>
                  </a:cubicBezTo>
                  <a:cubicBezTo>
                    <a:pt x="3858" y="1823"/>
                    <a:pt x="3858" y="1823"/>
                    <a:pt x="3858" y="1823"/>
                  </a:cubicBezTo>
                  <a:cubicBezTo>
                    <a:pt x="3858" y="1823"/>
                    <a:pt x="3889" y="1804"/>
                    <a:pt x="3898" y="1799"/>
                  </a:cubicBezTo>
                  <a:cubicBezTo>
                    <a:pt x="3907" y="1794"/>
                    <a:pt x="3939" y="1793"/>
                    <a:pt x="3939" y="1793"/>
                  </a:cubicBezTo>
                  <a:cubicBezTo>
                    <a:pt x="3939" y="1771"/>
                    <a:pt x="3939" y="1771"/>
                    <a:pt x="3939" y="1771"/>
                  </a:cubicBezTo>
                  <a:cubicBezTo>
                    <a:pt x="3939" y="1771"/>
                    <a:pt x="3940" y="1771"/>
                    <a:pt x="3940" y="1772"/>
                  </a:cubicBezTo>
                  <a:cubicBezTo>
                    <a:pt x="3944" y="1774"/>
                    <a:pt x="3954" y="1778"/>
                    <a:pt x="3966" y="1773"/>
                  </a:cubicBezTo>
                  <a:cubicBezTo>
                    <a:pt x="3981" y="1767"/>
                    <a:pt x="3993" y="1751"/>
                    <a:pt x="3993" y="1751"/>
                  </a:cubicBezTo>
                  <a:cubicBezTo>
                    <a:pt x="3999" y="1765"/>
                    <a:pt x="3999" y="1765"/>
                    <a:pt x="3999" y="1765"/>
                  </a:cubicBezTo>
                  <a:cubicBezTo>
                    <a:pt x="3999" y="1765"/>
                    <a:pt x="4031" y="1751"/>
                    <a:pt x="4036" y="1747"/>
                  </a:cubicBezTo>
                  <a:cubicBezTo>
                    <a:pt x="4041" y="1743"/>
                    <a:pt x="4062" y="1737"/>
                    <a:pt x="4062" y="1737"/>
                  </a:cubicBezTo>
                  <a:cubicBezTo>
                    <a:pt x="4072" y="1738"/>
                    <a:pt x="4072" y="1738"/>
                    <a:pt x="4072" y="1738"/>
                  </a:cubicBezTo>
                  <a:cubicBezTo>
                    <a:pt x="4043" y="1761"/>
                    <a:pt x="4043" y="1761"/>
                    <a:pt x="4043" y="1761"/>
                  </a:cubicBezTo>
                  <a:cubicBezTo>
                    <a:pt x="4104" y="1755"/>
                    <a:pt x="4104" y="1755"/>
                    <a:pt x="4104" y="1755"/>
                  </a:cubicBezTo>
                  <a:cubicBezTo>
                    <a:pt x="4104" y="1755"/>
                    <a:pt x="4075" y="1758"/>
                    <a:pt x="4074" y="1764"/>
                  </a:cubicBezTo>
                  <a:cubicBezTo>
                    <a:pt x="4073" y="1770"/>
                    <a:pt x="4069" y="1777"/>
                    <a:pt x="4069" y="1777"/>
                  </a:cubicBezTo>
                  <a:cubicBezTo>
                    <a:pt x="4069" y="1777"/>
                    <a:pt x="4050" y="1766"/>
                    <a:pt x="4043" y="1769"/>
                  </a:cubicBezTo>
                  <a:cubicBezTo>
                    <a:pt x="4036" y="1772"/>
                    <a:pt x="3968" y="1806"/>
                    <a:pt x="3965" y="1814"/>
                  </a:cubicBezTo>
                  <a:cubicBezTo>
                    <a:pt x="3962" y="1822"/>
                    <a:pt x="3956" y="1846"/>
                    <a:pt x="3961" y="1847"/>
                  </a:cubicBezTo>
                  <a:cubicBezTo>
                    <a:pt x="3966" y="1848"/>
                    <a:pt x="3973" y="1842"/>
                    <a:pt x="3973" y="1842"/>
                  </a:cubicBezTo>
                  <a:cubicBezTo>
                    <a:pt x="3973" y="1842"/>
                    <a:pt x="3971" y="1858"/>
                    <a:pt x="3980" y="1856"/>
                  </a:cubicBezTo>
                  <a:cubicBezTo>
                    <a:pt x="3989" y="1854"/>
                    <a:pt x="3995" y="1841"/>
                    <a:pt x="3995" y="1841"/>
                  </a:cubicBezTo>
                  <a:cubicBezTo>
                    <a:pt x="3995" y="1841"/>
                    <a:pt x="4021" y="1838"/>
                    <a:pt x="4035" y="1826"/>
                  </a:cubicBezTo>
                  <a:cubicBezTo>
                    <a:pt x="4049" y="1814"/>
                    <a:pt x="4064" y="1793"/>
                    <a:pt x="4064" y="1793"/>
                  </a:cubicBezTo>
                  <a:cubicBezTo>
                    <a:pt x="4064" y="1793"/>
                    <a:pt x="4064" y="1809"/>
                    <a:pt x="4078" y="1806"/>
                  </a:cubicBezTo>
                  <a:cubicBezTo>
                    <a:pt x="4092" y="1803"/>
                    <a:pt x="4126" y="1788"/>
                    <a:pt x="4137" y="1785"/>
                  </a:cubicBezTo>
                  <a:cubicBezTo>
                    <a:pt x="4148" y="1782"/>
                    <a:pt x="4200" y="1769"/>
                    <a:pt x="4200" y="1769"/>
                  </a:cubicBezTo>
                  <a:cubicBezTo>
                    <a:pt x="4191" y="1759"/>
                    <a:pt x="4191" y="1759"/>
                    <a:pt x="4191" y="1759"/>
                  </a:cubicBezTo>
                  <a:cubicBezTo>
                    <a:pt x="4195" y="1746"/>
                    <a:pt x="4195" y="1746"/>
                    <a:pt x="4195" y="1746"/>
                  </a:cubicBezTo>
                  <a:cubicBezTo>
                    <a:pt x="4174" y="1750"/>
                    <a:pt x="4174" y="1750"/>
                    <a:pt x="4174" y="1750"/>
                  </a:cubicBezTo>
                  <a:cubicBezTo>
                    <a:pt x="4173" y="1734"/>
                    <a:pt x="4173" y="1734"/>
                    <a:pt x="4173" y="1734"/>
                  </a:cubicBezTo>
                  <a:cubicBezTo>
                    <a:pt x="4173" y="1734"/>
                    <a:pt x="4149" y="1748"/>
                    <a:pt x="4143" y="1747"/>
                  </a:cubicBezTo>
                  <a:cubicBezTo>
                    <a:pt x="4137" y="1746"/>
                    <a:pt x="4139" y="1737"/>
                    <a:pt x="4139" y="1737"/>
                  </a:cubicBezTo>
                  <a:cubicBezTo>
                    <a:pt x="4139" y="1737"/>
                    <a:pt x="4107" y="1740"/>
                    <a:pt x="4101" y="1735"/>
                  </a:cubicBezTo>
                  <a:cubicBezTo>
                    <a:pt x="4095" y="1730"/>
                    <a:pt x="4087" y="1720"/>
                    <a:pt x="4096" y="1720"/>
                  </a:cubicBezTo>
                  <a:cubicBezTo>
                    <a:pt x="4105" y="1720"/>
                    <a:pt x="4092" y="1707"/>
                    <a:pt x="4081" y="1710"/>
                  </a:cubicBezTo>
                  <a:cubicBezTo>
                    <a:pt x="4070" y="1713"/>
                    <a:pt x="4066" y="1694"/>
                    <a:pt x="4066" y="1689"/>
                  </a:cubicBezTo>
                  <a:cubicBezTo>
                    <a:pt x="4066" y="1684"/>
                    <a:pt x="4078" y="1671"/>
                    <a:pt x="4078" y="1671"/>
                  </a:cubicBezTo>
                  <a:cubicBezTo>
                    <a:pt x="4062" y="1670"/>
                    <a:pt x="4062" y="1670"/>
                    <a:pt x="4062" y="1670"/>
                  </a:cubicBezTo>
                  <a:cubicBezTo>
                    <a:pt x="4062" y="1670"/>
                    <a:pt x="4081" y="1655"/>
                    <a:pt x="4088" y="1647"/>
                  </a:cubicBezTo>
                  <a:cubicBezTo>
                    <a:pt x="4095" y="1639"/>
                    <a:pt x="4114" y="1620"/>
                    <a:pt x="4114" y="1620"/>
                  </a:cubicBezTo>
                  <a:cubicBezTo>
                    <a:pt x="4104" y="1617"/>
                    <a:pt x="4104" y="1617"/>
                    <a:pt x="4104" y="1617"/>
                  </a:cubicBezTo>
                  <a:cubicBezTo>
                    <a:pt x="4090" y="1635"/>
                    <a:pt x="4090" y="1635"/>
                    <a:pt x="4090" y="1635"/>
                  </a:cubicBezTo>
                  <a:cubicBezTo>
                    <a:pt x="4075" y="1627"/>
                    <a:pt x="4075" y="1627"/>
                    <a:pt x="4075" y="1627"/>
                  </a:cubicBezTo>
                  <a:cubicBezTo>
                    <a:pt x="4056" y="1641"/>
                    <a:pt x="4056" y="1641"/>
                    <a:pt x="4056" y="1641"/>
                  </a:cubicBezTo>
                  <a:cubicBezTo>
                    <a:pt x="4053" y="1628"/>
                    <a:pt x="4053" y="1628"/>
                    <a:pt x="4053" y="1628"/>
                  </a:cubicBezTo>
                  <a:cubicBezTo>
                    <a:pt x="4034" y="1621"/>
                    <a:pt x="4034" y="1621"/>
                    <a:pt x="4034" y="1621"/>
                  </a:cubicBezTo>
                  <a:cubicBezTo>
                    <a:pt x="4019" y="1623"/>
                    <a:pt x="4019" y="1623"/>
                    <a:pt x="4019" y="1623"/>
                  </a:cubicBezTo>
                  <a:cubicBezTo>
                    <a:pt x="4056" y="1610"/>
                    <a:pt x="4056" y="1610"/>
                    <a:pt x="4056" y="1610"/>
                  </a:cubicBezTo>
                  <a:cubicBezTo>
                    <a:pt x="4056" y="1610"/>
                    <a:pt x="4063" y="1620"/>
                    <a:pt x="4073" y="1619"/>
                  </a:cubicBezTo>
                  <a:cubicBezTo>
                    <a:pt x="4083" y="1618"/>
                    <a:pt x="4106" y="1600"/>
                    <a:pt x="4106" y="1600"/>
                  </a:cubicBezTo>
                  <a:cubicBezTo>
                    <a:pt x="4106" y="1600"/>
                    <a:pt x="4132" y="1605"/>
                    <a:pt x="4133" y="1598"/>
                  </a:cubicBezTo>
                  <a:cubicBezTo>
                    <a:pt x="4134" y="1591"/>
                    <a:pt x="4126" y="1580"/>
                    <a:pt x="4126" y="1580"/>
                  </a:cubicBezTo>
                  <a:cubicBezTo>
                    <a:pt x="4142" y="1579"/>
                    <a:pt x="4142" y="1579"/>
                    <a:pt x="4142" y="1579"/>
                  </a:cubicBezTo>
                  <a:cubicBezTo>
                    <a:pt x="4142" y="1579"/>
                    <a:pt x="4133" y="1556"/>
                    <a:pt x="4091" y="1556"/>
                  </a:cubicBezTo>
                  <a:cubicBezTo>
                    <a:pt x="4049" y="1556"/>
                    <a:pt x="3999" y="1577"/>
                    <a:pt x="3976" y="1582"/>
                  </a:cubicBezTo>
                  <a:cubicBezTo>
                    <a:pt x="3953" y="1587"/>
                    <a:pt x="3916" y="1610"/>
                    <a:pt x="3909" y="1616"/>
                  </a:cubicBezTo>
                  <a:cubicBezTo>
                    <a:pt x="3902" y="1622"/>
                    <a:pt x="3860" y="1655"/>
                    <a:pt x="3850" y="1663"/>
                  </a:cubicBezTo>
                  <a:cubicBezTo>
                    <a:pt x="3840" y="1671"/>
                    <a:pt x="3804" y="1676"/>
                    <a:pt x="3804" y="1676"/>
                  </a:cubicBezTo>
                  <a:cubicBezTo>
                    <a:pt x="3804" y="1676"/>
                    <a:pt x="3854" y="1648"/>
                    <a:pt x="3863" y="1639"/>
                  </a:cubicBezTo>
                  <a:cubicBezTo>
                    <a:pt x="3872" y="1630"/>
                    <a:pt x="3885" y="1616"/>
                    <a:pt x="3885" y="1616"/>
                  </a:cubicBezTo>
                  <a:cubicBezTo>
                    <a:pt x="3870" y="1607"/>
                    <a:pt x="3870" y="1607"/>
                    <a:pt x="3870" y="1607"/>
                  </a:cubicBezTo>
                  <a:cubicBezTo>
                    <a:pt x="3870" y="1607"/>
                    <a:pt x="3891" y="1615"/>
                    <a:pt x="3896" y="1610"/>
                  </a:cubicBezTo>
                  <a:cubicBezTo>
                    <a:pt x="3901" y="1605"/>
                    <a:pt x="3951" y="1572"/>
                    <a:pt x="3963" y="1563"/>
                  </a:cubicBezTo>
                  <a:cubicBezTo>
                    <a:pt x="3975" y="1554"/>
                    <a:pt x="4013" y="1548"/>
                    <a:pt x="4017" y="1550"/>
                  </a:cubicBezTo>
                  <a:cubicBezTo>
                    <a:pt x="4021" y="1552"/>
                    <a:pt x="4043" y="1514"/>
                    <a:pt x="4073" y="1509"/>
                  </a:cubicBezTo>
                  <a:cubicBezTo>
                    <a:pt x="4103" y="1504"/>
                    <a:pt x="4179" y="1500"/>
                    <a:pt x="4195" y="1500"/>
                  </a:cubicBezTo>
                  <a:cubicBezTo>
                    <a:pt x="4211" y="1500"/>
                    <a:pt x="4270" y="1517"/>
                    <a:pt x="4280" y="1515"/>
                  </a:cubicBezTo>
                  <a:cubicBezTo>
                    <a:pt x="4290" y="1513"/>
                    <a:pt x="4311" y="1502"/>
                    <a:pt x="4321" y="1501"/>
                  </a:cubicBezTo>
                  <a:cubicBezTo>
                    <a:pt x="4331" y="1500"/>
                    <a:pt x="4362" y="1495"/>
                    <a:pt x="4374" y="1486"/>
                  </a:cubicBezTo>
                  <a:cubicBezTo>
                    <a:pt x="4386" y="1477"/>
                    <a:pt x="4412" y="1452"/>
                    <a:pt x="4422" y="1450"/>
                  </a:cubicBezTo>
                  <a:cubicBezTo>
                    <a:pt x="4432" y="1448"/>
                    <a:pt x="4449" y="1449"/>
                    <a:pt x="4449" y="1449"/>
                  </a:cubicBezTo>
                  <a:cubicBezTo>
                    <a:pt x="4449" y="1449"/>
                    <a:pt x="4462" y="1437"/>
                    <a:pt x="4472" y="1437"/>
                  </a:cubicBezTo>
                  <a:cubicBezTo>
                    <a:pt x="4482" y="1437"/>
                    <a:pt x="4483" y="1442"/>
                    <a:pt x="4500" y="1434"/>
                  </a:cubicBezTo>
                  <a:cubicBezTo>
                    <a:pt x="4500" y="1434"/>
                    <a:pt x="4565" y="1417"/>
                    <a:pt x="4559" y="1407"/>
                  </a:cubicBezTo>
                  <a:cubicBezTo>
                    <a:pt x="4553" y="1397"/>
                    <a:pt x="4534" y="1384"/>
                    <a:pt x="4534" y="1384"/>
                  </a:cubicBezTo>
                  <a:cubicBezTo>
                    <a:pt x="4534" y="1384"/>
                    <a:pt x="4558" y="1386"/>
                    <a:pt x="4558" y="1377"/>
                  </a:cubicBezTo>
                  <a:cubicBezTo>
                    <a:pt x="4558" y="1368"/>
                    <a:pt x="4554" y="1356"/>
                    <a:pt x="4554" y="1356"/>
                  </a:cubicBezTo>
                  <a:cubicBezTo>
                    <a:pt x="4554" y="1356"/>
                    <a:pt x="4582" y="1360"/>
                    <a:pt x="4576" y="1344"/>
                  </a:cubicBezTo>
                  <a:cubicBezTo>
                    <a:pt x="4570" y="1328"/>
                    <a:pt x="4547" y="1317"/>
                    <a:pt x="4540" y="1325"/>
                  </a:cubicBezTo>
                  <a:cubicBezTo>
                    <a:pt x="4533" y="1333"/>
                    <a:pt x="4534" y="1348"/>
                    <a:pt x="4519" y="1337"/>
                  </a:cubicBezTo>
                  <a:cubicBezTo>
                    <a:pt x="4504" y="1326"/>
                    <a:pt x="4528" y="1319"/>
                    <a:pt x="4528" y="1319"/>
                  </a:cubicBezTo>
                  <a:cubicBezTo>
                    <a:pt x="4525" y="1302"/>
                    <a:pt x="4525" y="1302"/>
                    <a:pt x="4525" y="1302"/>
                  </a:cubicBezTo>
                  <a:cubicBezTo>
                    <a:pt x="4505" y="1301"/>
                    <a:pt x="4505" y="1301"/>
                    <a:pt x="4505" y="1301"/>
                  </a:cubicBezTo>
                  <a:cubicBezTo>
                    <a:pt x="4505" y="1301"/>
                    <a:pt x="4459" y="1321"/>
                    <a:pt x="4456" y="1325"/>
                  </a:cubicBezTo>
                  <a:cubicBezTo>
                    <a:pt x="4453" y="1329"/>
                    <a:pt x="4417" y="1333"/>
                    <a:pt x="4417" y="1333"/>
                  </a:cubicBezTo>
                  <a:cubicBezTo>
                    <a:pt x="4396" y="1347"/>
                    <a:pt x="4396" y="1347"/>
                    <a:pt x="4396" y="1347"/>
                  </a:cubicBezTo>
                  <a:cubicBezTo>
                    <a:pt x="4404" y="1332"/>
                    <a:pt x="4404" y="1332"/>
                    <a:pt x="4404" y="1332"/>
                  </a:cubicBezTo>
                  <a:cubicBezTo>
                    <a:pt x="4389" y="1321"/>
                    <a:pt x="4389" y="1321"/>
                    <a:pt x="4389" y="1321"/>
                  </a:cubicBezTo>
                  <a:cubicBezTo>
                    <a:pt x="4412" y="1326"/>
                    <a:pt x="4412" y="1326"/>
                    <a:pt x="4412" y="1326"/>
                  </a:cubicBezTo>
                  <a:cubicBezTo>
                    <a:pt x="4422" y="1318"/>
                    <a:pt x="4422" y="1318"/>
                    <a:pt x="4422" y="1318"/>
                  </a:cubicBezTo>
                  <a:cubicBezTo>
                    <a:pt x="4440" y="1317"/>
                    <a:pt x="4440" y="1317"/>
                    <a:pt x="4440" y="1317"/>
                  </a:cubicBezTo>
                  <a:cubicBezTo>
                    <a:pt x="4442" y="1304"/>
                    <a:pt x="4442" y="1304"/>
                    <a:pt x="4442" y="1304"/>
                  </a:cubicBezTo>
                  <a:cubicBezTo>
                    <a:pt x="4442" y="1304"/>
                    <a:pt x="4463" y="1307"/>
                    <a:pt x="4475" y="1302"/>
                  </a:cubicBezTo>
                  <a:cubicBezTo>
                    <a:pt x="4487" y="1297"/>
                    <a:pt x="4504" y="1288"/>
                    <a:pt x="4504" y="1288"/>
                  </a:cubicBezTo>
                  <a:cubicBezTo>
                    <a:pt x="4504" y="1288"/>
                    <a:pt x="4552" y="1293"/>
                    <a:pt x="4551" y="1288"/>
                  </a:cubicBezTo>
                  <a:cubicBezTo>
                    <a:pt x="4550" y="1283"/>
                    <a:pt x="4532" y="1275"/>
                    <a:pt x="4532" y="1275"/>
                  </a:cubicBezTo>
                  <a:cubicBezTo>
                    <a:pt x="4531" y="1259"/>
                    <a:pt x="4531" y="1259"/>
                    <a:pt x="4531" y="1259"/>
                  </a:cubicBezTo>
                  <a:cubicBezTo>
                    <a:pt x="4531" y="1259"/>
                    <a:pt x="4503" y="1268"/>
                    <a:pt x="4497" y="1267"/>
                  </a:cubicBezTo>
                  <a:cubicBezTo>
                    <a:pt x="4491" y="1266"/>
                    <a:pt x="4489" y="1254"/>
                    <a:pt x="4489" y="1254"/>
                  </a:cubicBezTo>
                  <a:cubicBezTo>
                    <a:pt x="4449" y="1266"/>
                    <a:pt x="4449" y="1266"/>
                    <a:pt x="4449" y="1266"/>
                  </a:cubicBezTo>
                  <a:cubicBezTo>
                    <a:pt x="4451" y="1246"/>
                    <a:pt x="4451" y="1246"/>
                    <a:pt x="4451" y="1246"/>
                  </a:cubicBezTo>
                  <a:cubicBezTo>
                    <a:pt x="4422" y="1256"/>
                    <a:pt x="4422" y="1256"/>
                    <a:pt x="4422" y="1256"/>
                  </a:cubicBezTo>
                  <a:cubicBezTo>
                    <a:pt x="4422" y="1256"/>
                    <a:pt x="4453" y="1221"/>
                    <a:pt x="4445" y="1217"/>
                  </a:cubicBezTo>
                  <a:cubicBezTo>
                    <a:pt x="4437" y="1213"/>
                    <a:pt x="4412" y="1213"/>
                    <a:pt x="4412" y="1213"/>
                  </a:cubicBezTo>
                  <a:cubicBezTo>
                    <a:pt x="4415" y="1197"/>
                    <a:pt x="4415" y="1197"/>
                    <a:pt x="4415" y="1197"/>
                  </a:cubicBezTo>
                  <a:cubicBezTo>
                    <a:pt x="4393" y="1197"/>
                    <a:pt x="4393" y="1197"/>
                    <a:pt x="4393" y="1197"/>
                  </a:cubicBezTo>
                  <a:cubicBezTo>
                    <a:pt x="4402" y="1183"/>
                    <a:pt x="4402" y="1183"/>
                    <a:pt x="4402" y="1183"/>
                  </a:cubicBezTo>
                  <a:cubicBezTo>
                    <a:pt x="4384" y="1167"/>
                    <a:pt x="4384" y="1167"/>
                    <a:pt x="4384" y="1167"/>
                  </a:cubicBezTo>
                  <a:cubicBezTo>
                    <a:pt x="4384" y="1167"/>
                    <a:pt x="4414" y="1174"/>
                    <a:pt x="4422" y="1168"/>
                  </a:cubicBezTo>
                  <a:cubicBezTo>
                    <a:pt x="4430" y="1162"/>
                    <a:pt x="4441" y="1157"/>
                    <a:pt x="4441" y="1157"/>
                  </a:cubicBezTo>
                  <a:cubicBezTo>
                    <a:pt x="4411" y="1139"/>
                    <a:pt x="4411" y="1139"/>
                    <a:pt x="4411" y="1139"/>
                  </a:cubicBezTo>
                  <a:cubicBezTo>
                    <a:pt x="4444" y="1120"/>
                    <a:pt x="4444" y="1120"/>
                    <a:pt x="4444" y="1120"/>
                  </a:cubicBezTo>
                  <a:cubicBezTo>
                    <a:pt x="4411" y="1105"/>
                    <a:pt x="4411" y="1105"/>
                    <a:pt x="4411" y="1105"/>
                  </a:cubicBezTo>
                  <a:cubicBezTo>
                    <a:pt x="4381" y="1106"/>
                    <a:pt x="4381" y="1106"/>
                    <a:pt x="4381" y="1106"/>
                  </a:cubicBezTo>
                  <a:cubicBezTo>
                    <a:pt x="4417" y="1093"/>
                    <a:pt x="4417" y="1093"/>
                    <a:pt x="4417" y="1093"/>
                  </a:cubicBezTo>
                  <a:cubicBezTo>
                    <a:pt x="4392" y="1087"/>
                    <a:pt x="4392" y="1087"/>
                    <a:pt x="4392" y="1087"/>
                  </a:cubicBezTo>
                  <a:cubicBezTo>
                    <a:pt x="4422" y="1073"/>
                    <a:pt x="4422" y="1073"/>
                    <a:pt x="4422" y="1073"/>
                  </a:cubicBezTo>
                  <a:cubicBezTo>
                    <a:pt x="4417" y="1057"/>
                    <a:pt x="4417" y="1057"/>
                    <a:pt x="4417" y="1057"/>
                  </a:cubicBezTo>
                  <a:cubicBezTo>
                    <a:pt x="4395" y="1055"/>
                    <a:pt x="4395" y="1055"/>
                    <a:pt x="4395" y="1055"/>
                  </a:cubicBezTo>
                  <a:cubicBezTo>
                    <a:pt x="4395" y="1055"/>
                    <a:pt x="4413" y="1045"/>
                    <a:pt x="4405" y="1026"/>
                  </a:cubicBezTo>
                  <a:cubicBezTo>
                    <a:pt x="4397" y="1007"/>
                    <a:pt x="4389" y="1010"/>
                    <a:pt x="4389" y="1010"/>
                  </a:cubicBezTo>
                  <a:cubicBezTo>
                    <a:pt x="4398" y="996"/>
                    <a:pt x="4398" y="996"/>
                    <a:pt x="4398" y="996"/>
                  </a:cubicBezTo>
                  <a:cubicBezTo>
                    <a:pt x="4398" y="996"/>
                    <a:pt x="4374" y="1007"/>
                    <a:pt x="4369" y="1014"/>
                  </a:cubicBezTo>
                  <a:cubicBezTo>
                    <a:pt x="4364" y="1021"/>
                    <a:pt x="4368" y="1027"/>
                    <a:pt x="4368" y="1027"/>
                  </a:cubicBezTo>
                  <a:cubicBezTo>
                    <a:pt x="4349" y="1021"/>
                    <a:pt x="4349" y="1021"/>
                    <a:pt x="4349" y="1021"/>
                  </a:cubicBezTo>
                  <a:cubicBezTo>
                    <a:pt x="4353" y="1043"/>
                    <a:pt x="4353" y="1043"/>
                    <a:pt x="4353" y="1043"/>
                  </a:cubicBezTo>
                  <a:cubicBezTo>
                    <a:pt x="4335" y="1042"/>
                    <a:pt x="4335" y="1042"/>
                    <a:pt x="4335" y="1042"/>
                  </a:cubicBezTo>
                  <a:cubicBezTo>
                    <a:pt x="4327" y="1056"/>
                    <a:pt x="4327" y="1056"/>
                    <a:pt x="4327" y="1056"/>
                  </a:cubicBezTo>
                  <a:cubicBezTo>
                    <a:pt x="4332" y="1062"/>
                    <a:pt x="4332" y="1062"/>
                    <a:pt x="4332" y="1062"/>
                  </a:cubicBezTo>
                  <a:cubicBezTo>
                    <a:pt x="4316" y="1063"/>
                    <a:pt x="4316" y="1063"/>
                    <a:pt x="4316" y="1063"/>
                  </a:cubicBezTo>
                  <a:cubicBezTo>
                    <a:pt x="4301" y="1093"/>
                    <a:pt x="4301" y="1093"/>
                    <a:pt x="4301" y="1093"/>
                  </a:cubicBezTo>
                  <a:cubicBezTo>
                    <a:pt x="4293" y="1093"/>
                    <a:pt x="4293" y="1093"/>
                    <a:pt x="4293" y="1093"/>
                  </a:cubicBezTo>
                  <a:cubicBezTo>
                    <a:pt x="4303" y="1068"/>
                    <a:pt x="4303" y="1068"/>
                    <a:pt x="4303" y="1068"/>
                  </a:cubicBezTo>
                  <a:cubicBezTo>
                    <a:pt x="4303" y="1068"/>
                    <a:pt x="4293" y="1053"/>
                    <a:pt x="4284" y="1062"/>
                  </a:cubicBezTo>
                  <a:cubicBezTo>
                    <a:pt x="4275" y="1071"/>
                    <a:pt x="4263" y="1084"/>
                    <a:pt x="4256" y="1085"/>
                  </a:cubicBezTo>
                  <a:cubicBezTo>
                    <a:pt x="4249" y="1086"/>
                    <a:pt x="4221" y="1107"/>
                    <a:pt x="4221" y="1107"/>
                  </a:cubicBezTo>
                  <a:cubicBezTo>
                    <a:pt x="4226" y="1092"/>
                    <a:pt x="4226" y="1092"/>
                    <a:pt x="4226" y="1092"/>
                  </a:cubicBezTo>
                  <a:cubicBezTo>
                    <a:pt x="4225" y="1081"/>
                    <a:pt x="4225" y="1081"/>
                    <a:pt x="4225" y="1081"/>
                  </a:cubicBezTo>
                  <a:cubicBezTo>
                    <a:pt x="4200" y="1102"/>
                    <a:pt x="4200" y="1102"/>
                    <a:pt x="4200" y="1102"/>
                  </a:cubicBezTo>
                  <a:cubicBezTo>
                    <a:pt x="4156" y="1112"/>
                    <a:pt x="4156" y="1112"/>
                    <a:pt x="4156" y="1112"/>
                  </a:cubicBezTo>
                  <a:cubicBezTo>
                    <a:pt x="4197" y="1098"/>
                    <a:pt x="4197" y="1098"/>
                    <a:pt x="4197" y="1098"/>
                  </a:cubicBezTo>
                  <a:cubicBezTo>
                    <a:pt x="4197" y="1098"/>
                    <a:pt x="4221" y="1071"/>
                    <a:pt x="4208" y="1065"/>
                  </a:cubicBezTo>
                  <a:cubicBezTo>
                    <a:pt x="4195" y="1059"/>
                    <a:pt x="4180" y="1065"/>
                    <a:pt x="4180" y="1065"/>
                  </a:cubicBezTo>
                  <a:cubicBezTo>
                    <a:pt x="4180" y="1065"/>
                    <a:pt x="4147" y="1080"/>
                    <a:pt x="4149" y="1069"/>
                  </a:cubicBezTo>
                  <a:cubicBezTo>
                    <a:pt x="4151" y="1058"/>
                    <a:pt x="4168" y="1055"/>
                    <a:pt x="4168" y="1055"/>
                  </a:cubicBezTo>
                  <a:cubicBezTo>
                    <a:pt x="4167" y="1062"/>
                    <a:pt x="4167" y="1062"/>
                    <a:pt x="4167" y="1062"/>
                  </a:cubicBezTo>
                  <a:cubicBezTo>
                    <a:pt x="4181" y="1057"/>
                    <a:pt x="4181" y="1057"/>
                    <a:pt x="4181" y="1057"/>
                  </a:cubicBezTo>
                  <a:cubicBezTo>
                    <a:pt x="4178" y="1038"/>
                    <a:pt x="4178" y="1038"/>
                    <a:pt x="4178" y="1038"/>
                  </a:cubicBezTo>
                  <a:cubicBezTo>
                    <a:pt x="4178" y="1038"/>
                    <a:pt x="4203" y="1024"/>
                    <a:pt x="4194" y="1017"/>
                  </a:cubicBezTo>
                  <a:cubicBezTo>
                    <a:pt x="4185" y="1010"/>
                    <a:pt x="4158" y="1006"/>
                    <a:pt x="4158" y="1006"/>
                  </a:cubicBezTo>
                  <a:cubicBezTo>
                    <a:pt x="4158" y="1006"/>
                    <a:pt x="4203" y="1008"/>
                    <a:pt x="4206" y="996"/>
                  </a:cubicBezTo>
                  <a:cubicBezTo>
                    <a:pt x="4209" y="984"/>
                    <a:pt x="4212" y="981"/>
                    <a:pt x="4218" y="977"/>
                  </a:cubicBezTo>
                  <a:cubicBezTo>
                    <a:pt x="4224" y="973"/>
                    <a:pt x="4244" y="972"/>
                    <a:pt x="4234" y="963"/>
                  </a:cubicBezTo>
                  <a:cubicBezTo>
                    <a:pt x="4224" y="954"/>
                    <a:pt x="4214" y="970"/>
                    <a:pt x="4214" y="970"/>
                  </a:cubicBezTo>
                  <a:cubicBezTo>
                    <a:pt x="4208" y="953"/>
                    <a:pt x="4208" y="953"/>
                    <a:pt x="4208" y="953"/>
                  </a:cubicBezTo>
                  <a:cubicBezTo>
                    <a:pt x="4208" y="953"/>
                    <a:pt x="4177" y="954"/>
                    <a:pt x="4168" y="954"/>
                  </a:cubicBezTo>
                  <a:cubicBezTo>
                    <a:pt x="4159" y="954"/>
                    <a:pt x="4157" y="939"/>
                    <a:pt x="4165" y="936"/>
                  </a:cubicBezTo>
                  <a:cubicBezTo>
                    <a:pt x="4173" y="933"/>
                    <a:pt x="4174" y="926"/>
                    <a:pt x="4167" y="924"/>
                  </a:cubicBezTo>
                  <a:cubicBezTo>
                    <a:pt x="4160" y="922"/>
                    <a:pt x="4154" y="929"/>
                    <a:pt x="4154" y="929"/>
                  </a:cubicBezTo>
                  <a:cubicBezTo>
                    <a:pt x="4159" y="913"/>
                    <a:pt x="4159" y="913"/>
                    <a:pt x="4159" y="913"/>
                  </a:cubicBezTo>
                  <a:cubicBezTo>
                    <a:pt x="4135" y="917"/>
                    <a:pt x="4135" y="917"/>
                    <a:pt x="4135" y="917"/>
                  </a:cubicBezTo>
                  <a:cubicBezTo>
                    <a:pt x="4135" y="917"/>
                    <a:pt x="4139" y="888"/>
                    <a:pt x="4122" y="888"/>
                  </a:cubicBezTo>
                  <a:cubicBezTo>
                    <a:pt x="4105" y="888"/>
                    <a:pt x="4077" y="905"/>
                    <a:pt x="4077" y="905"/>
                  </a:cubicBezTo>
                  <a:cubicBezTo>
                    <a:pt x="4077" y="905"/>
                    <a:pt x="4069" y="894"/>
                    <a:pt x="4061" y="894"/>
                  </a:cubicBezTo>
                  <a:cubicBezTo>
                    <a:pt x="4053" y="894"/>
                    <a:pt x="4036" y="903"/>
                    <a:pt x="4036" y="903"/>
                  </a:cubicBezTo>
                  <a:cubicBezTo>
                    <a:pt x="4036" y="903"/>
                    <a:pt x="3990" y="881"/>
                    <a:pt x="3974" y="884"/>
                  </a:cubicBezTo>
                  <a:cubicBezTo>
                    <a:pt x="3958" y="887"/>
                    <a:pt x="3952" y="899"/>
                    <a:pt x="3952" y="899"/>
                  </a:cubicBezTo>
                  <a:cubicBezTo>
                    <a:pt x="3952" y="899"/>
                    <a:pt x="3931" y="909"/>
                    <a:pt x="3938" y="917"/>
                  </a:cubicBezTo>
                  <a:cubicBezTo>
                    <a:pt x="3945" y="925"/>
                    <a:pt x="3958" y="926"/>
                    <a:pt x="3952" y="934"/>
                  </a:cubicBezTo>
                  <a:cubicBezTo>
                    <a:pt x="3946" y="942"/>
                    <a:pt x="3921" y="958"/>
                    <a:pt x="3921" y="958"/>
                  </a:cubicBezTo>
                  <a:cubicBezTo>
                    <a:pt x="3903" y="965"/>
                    <a:pt x="3903" y="965"/>
                    <a:pt x="3903" y="965"/>
                  </a:cubicBezTo>
                  <a:cubicBezTo>
                    <a:pt x="3920" y="974"/>
                    <a:pt x="3920" y="974"/>
                    <a:pt x="3920" y="974"/>
                  </a:cubicBezTo>
                  <a:cubicBezTo>
                    <a:pt x="3920" y="974"/>
                    <a:pt x="3905" y="981"/>
                    <a:pt x="3904" y="990"/>
                  </a:cubicBezTo>
                  <a:cubicBezTo>
                    <a:pt x="3903" y="999"/>
                    <a:pt x="3911" y="1006"/>
                    <a:pt x="3903" y="1016"/>
                  </a:cubicBezTo>
                  <a:cubicBezTo>
                    <a:pt x="3895" y="1026"/>
                    <a:pt x="3888" y="1018"/>
                    <a:pt x="3875" y="1026"/>
                  </a:cubicBezTo>
                  <a:cubicBezTo>
                    <a:pt x="3862" y="1034"/>
                    <a:pt x="3864" y="1047"/>
                    <a:pt x="3864" y="1047"/>
                  </a:cubicBezTo>
                  <a:cubicBezTo>
                    <a:pt x="3864" y="1047"/>
                    <a:pt x="3848" y="1050"/>
                    <a:pt x="3842" y="1056"/>
                  </a:cubicBezTo>
                  <a:cubicBezTo>
                    <a:pt x="3836" y="1062"/>
                    <a:pt x="3816" y="1067"/>
                    <a:pt x="3818" y="1075"/>
                  </a:cubicBezTo>
                  <a:cubicBezTo>
                    <a:pt x="3820" y="1083"/>
                    <a:pt x="3857" y="1097"/>
                    <a:pt x="3857" y="1106"/>
                  </a:cubicBezTo>
                  <a:cubicBezTo>
                    <a:pt x="3857" y="1115"/>
                    <a:pt x="3856" y="1180"/>
                    <a:pt x="3821" y="1200"/>
                  </a:cubicBezTo>
                  <a:cubicBezTo>
                    <a:pt x="3786" y="1220"/>
                    <a:pt x="3741" y="1255"/>
                    <a:pt x="3723" y="1256"/>
                  </a:cubicBezTo>
                  <a:cubicBezTo>
                    <a:pt x="3705" y="1257"/>
                    <a:pt x="3656" y="1260"/>
                    <a:pt x="3653" y="1269"/>
                  </a:cubicBezTo>
                  <a:cubicBezTo>
                    <a:pt x="3650" y="1278"/>
                    <a:pt x="3662" y="1306"/>
                    <a:pt x="3662" y="1311"/>
                  </a:cubicBezTo>
                  <a:cubicBezTo>
                    <a:pt x="3662" y="1316"/>
                    <a:pt x="3641" y="1337"/>
                    <a:pt x="3637" y="1352"/>
                  </a:cubicBezTo>
                  <a:cubicBezTo>
                    <a:pt x="3633" y="1367"/>
                    <a:pt x="3636" y="1400"/>
                    <a:pt x="3636" y="1400"/>
                  </a:cubicBezTo>
                  <a:cubicBezTo>
                    <a:pt x="3636" y="1400"/>
                    <a:pt x="3602" y="1417"/>
                    <a:pt x="3601" y="1422"/>
                  </a:cubicBezTo>
                  <a:cubicBezTo>
                    <a:pt x="3600" y="1427"/>
                    <a:pt x="3599" y="1444"/>
                    <a:pt x="3599" y="1444"/>
                  </a:cubicBezTo>
                  <a:cubicBezTo>
                    <a:pt x="3586" y="1460"/>
                    <a:pt x="3586" y="1460"/>
                    <a:pt x="3586" y="1460"/>
                  </a:cubicBezTo>
                  <a:cubicBezTo>
                    <a:pt x="3586" y="1460"/>
                    <a:pt x="3593" y="1436"/>
                    <a:pt x="3582" y="1435"/>
                  </a:cubicBezTo>
                  <a:cubicBezTo>
                    <a:pt x="3571" y="1434"/>
                    <a:pt x="3549" y="1448"/>
                    <a:pt x="3554" y="1459"/>
                  </a:cubicBezTo>
                  <a:cubicBezTo>
                    <a:pt x="3559" y="1470"/>
                    <a:pt x="3553" y="1479"/>
                    <a:pt x="3553" y="1479"/>
                  </a:cubicBezTo>
                  <a:cubicBezTo>
                    <a:pt x="3553" y="1479"/>
                    <a:pt x="3551" y="1459"/>
                    <a:pt x="3545" y="1454"/>
                  </a:cubicBezTo>
                  <a:cubicBezTo>
                    <a:pt x="3539" y="1449"/>
                    <a:pt x="3501" y="1460"/>
                    <a:pt x="3501" y="1460"/>
                  </a:cubicBezTo>
                  <a:cubicBezTo>
                    <a:pt x="3501" y="1460"/>
                    <a:pt x="3537" y="1439"/>
                    <a:pt x="3533" y="1426"/>
                  </a:cubicBezTo>
                  <a:cubicBezTo>
                    <a:pt x="3529" y="1413"/>
                    <a:pt x="3493" y="1402"/>
                    <a:pt x="3493" y="1402"/>
                  </a:cubicBezTo>
                  <a:cubicBezTo>
                    <a:pt x="3493" y="1402"/>
                    <a:pt x="3510" y="1399"/>
                    <a:pt x="3510" y="1392"/>
                  </a:cubicBezTo>
                  <a:cubicBezTo>
                    <a:pt x="3510" y="1385"/>
                    <a:pt x="3498" y="1359"/>
                    <a:pt x="3498" y="1359"/>
                  </a:cubicBezTo>
                  <a:cubicBezTo>
                    <a:pt x="3520" y="1344"/>
                    <a:pt x="3520" y="1344"/>
                    <a:pt x="3520" y="1344"/>
                  </a:cubicBezTo>
                  <a:cubicBezTo>
                    <a:pt x="3519" y="1329"/>
                    <a:pt x="3519" y="1329"/>
                    <a:pt x="3519" y="1329"/>
                  </a:cubicBezTo>
                  <a:cubicBezTo>
                    <a:pt x="3536" y="1318"/>
                    <a:pt x="3536" y="1318"/>
                    <a:pt x="3536" y="1318"/>
                  </a:cubicBezTo>
                  <a:cubicBezTo>
                    <a:pt x="3535" y="1293"/>
                    <a:pt x="3535" y="1293"/>
                    <a:pt x="3535" y="1293"/>
                  </a:cubicBezTo>
                  <a:cubicBezTo>
                    <a:pt x="3535" y="1293"/>
                    <a:pt x="3584" y="1266"/>
                    <a:pt x="3560" y="1254"/>
                  </a:cubicBezTo>
                  <a:cubicBezTo>
                    <a:pt x="3536" y="1242"/>
                    <a:pt x="3464" y="1246"/>
                    <a:pt x="3464" y="1246"/>
                  </a:cubicBezTo>
                  <a:cubicBezTo>
                    <a:pt x="3440" y="1254"/>
                    <a:pt x="3440" y="1254"/>
                    <a:pt x="3440" y="1254"/>
                  </a:cubicBezTo>
                  <a:cubicBezTo>
                    <a:pt x="3440" y="1254"/>
                    <a:pt x="3458" y="1233"/>
                    <a:pt x="3448" y="1228"/>
                  </a:cubicBezTo>
                  <a:cubicBezTo>
                    <a:pt x="3438" y="1223"/>
                    <a:pt x="3390" y="1213"/>
                    <a:pt x="3390" y="1213"/>
                  </a:cubicBezTo>
                  <a:cubicBezTo>
                    <a:pt x="3390" y="1213"/>
                    <a:pt x="3395" y="1191"/>
                    <a:pt x="3376" y="1177"/>
                  </a:cubicBezTo>
                  <a:cubicBezTo>
                    <a:pt x="3357" y="1163"/>
                    <a:pt x="3332" y="1162"/>
                    <a:pt x="3332" y="1162"/>
                  </a:cubicBezTo>
                  <a:cubicBezTo>
                    <a:pt x="3332" y="1162"/>
                    <a:pt x="3333" y="1150"/>
                    <a:pt x="3305" y="1149"/>
                  </a:cubicBezTo>
                  <a:cubicBezTo>
                    <a:pt x="3277" y="1148"/>
                    <a:pt x="3208" y="1160"/>
                    <a:pt x="3208" y="1160"/>
                  </a:cubicBezTo>
                  <a:cubicBezTo>
                    <a:pt x="3208" y="1160"/>
                    <a:pt x="3241" y="1150"/>
                    <a:pt x="3242" y="1138"/>
                  </a:cubicBezTo>
                  <a:cubicBezTo>
                    <a:pt x="3243" y="1126"/>
                    <a:pt x="3261" y="1074"/>
                    <a:pt x="3261" y="1074"/>
                  </a:cubicBezTo>
                  <a:cubicBezTo>
                    <a:pt x="3261" y="1074"/>
                    <a:pt x="3231" y="1068"/>
                    <a:pt x="3228" y="1070"/>
                  </a:cubicBezTo>
                  <a:cubicBezTo>
                    <a:pt x="3225" y="1072"/>
                    <a:pt x="3202" y="1088"/>
                    <a:pt x="3202" y="1088"/>
                  </a:cubicBezTo>
                  <a:cubicBezTo>
                    <a:pt x="3212" y="1069"/>
                    <a:pt x="3212" y="1069"/>
                    <a:pt x="3212" y="1069"/>
                  </a:cubicBezTo>
                  <a:cubicBezTo>
                    <a:pt x="3208" y="1054"/>
                    <a:pt x="3208" y="1054"/>
                    <a:pt x="3208" y="1054"/>
                  </a:cubicBezTo>
                  <a:cubicBezTo>
                    <a:pt x="3208" y="1054"/>
                    <a:pt x="3234" y="1032"/>
                    <a:pt x="3246" y="1011"/>
                  </a:cubicBezTo>
                  <a:cubicBezTo>
                    <a:pt x="3258" y="990"/>
                    <a:pt x="3326" y="953"/>
                    <a:pt x="3326" y="953"/>
                  </a:cubicBezTo>
                  <a:cubicBezTo>
                    <a:pt x="3320" y="942"/>
                    <a:pt x="3320" y="942"/>
                    <a:pt x="3320" y="942"/>
                  </a:cubicBezTo>
                  <a:cubicBezTo>
                    <a:pt x="3363" y="928"/>
                    <a:pt x="3363" y="928"/>
                    <a:pt x="3363" y="928"/>
                  </a:cubicBezTo>
                  <a:cubicBezTo>
                    <a:pt x="3364" y="917"/>
                    <a:pt x="3364" y="917"/>
                    <a:pt x="3364" y="917"/>
                  </a:cubicBezTo>
                  <a:cubicBezTo>
                    <a:pt x="3391" y="913"/>
                    <a:pt x="3391" y="913"/>
                    <a:pt x="3391" y="913"/>
                  </a:cubicBezTo>
                  <a:cubicBezTo>
                    <a:pt x="3393" y="900"/>
                    <a:pt x="3393" y="900"/>
                    <a:pt x="3393" y="900"/>
                  </a:cubicBezTo>
                  <a:cubicBezTo>
                    <a:pt x="3414" y="897"/>
                    <a:pt x="3414" y="897"/>
                    <a:pt x="3414" y="897"/>
                  </a:cubicBezTo>
                  <a:cubicBezTo>
                    <a:pt x="3448" y="870"/>
                    <a:pt x="3448" y="870"/>
                    <a:pt x="3448" y="870"/>
                  </a:cubicBezTo>
                  <a:cubicBezTo>
                    <a:pt x="3448" y="870"/>
                    <a:pt x="3522" y="873"/>
                    <a:pt x="3522" y="860"/>
                  </a:cubicBezTo>
                  <a:cubicBezTo>
                    <a:pt x="3522" y="847"/>
                    <a:pt x="3502" y="832"/>
                    <a:pt x="3502" y="832"/>
                  </a:cubicBezTo>
                  <a:cubicBezTo>
                    <a:pt x="3462" y="837"/>
                    <a:pt x="3462" y="837"/>
                    <a:pt x="3462" y="837"/>
                  </a:cubicBezTo>
                  <a:cubicBezTo>
                    <a:pt x="3468" y="827"/>
                    <a:pt x="3468" y="827"/>
                    <a:pt x="3468" y="827"/>
                  </a:cubicBezTo>
                  <a:cubicBezTo>
                    <a:pt x="3432" y="813"/>
                    <a:pt x="3432" y="813"/>
                    <a:pt x="3432" y="813"/>
                  </a:cubicBezTo>
                  <a:cubicBezTo>
                    <a:pt x="3448" y="808"/>
                    <a:pt x="3448" y="808"/>
                    <a:pt x="3448" y="808"/>
                  </a:cubicBezTo>
                  <a:cubicBezTo>
                    <a:pt x="3503" y="824"/>
                    <a:pt x="3503" y="824"/>
                    <a:pt x="3503" y="824"/>
                  </a:cubicBezTo>
                  <a:cubicBezTo>
                    <a:pt x="3503" y="824"/>
                    <a:pt x="3524" y="846"/>
                    <a:pt x="3543" y="838"/>
                  </a:cubicBezTo>
                  <a:cubicBezTo>
                    <a:pt x="3562" y="830"/>
                    <a:pt x="3578" y="797"/>
                    <a:pt x="3585" y="802"/>
                  </a:cubicBezTo>
                  <a:cubicBezTo>
                    <a:pt x="3592" y="807"/>
                    <a:pt x="3613" y="817"/>
                    <a:pt x="3622" y="815"/>
                  </a:cubicBezTo>
                  <a:cubicBezTo>
                    <a:pt x="3622" y="815"/>
                    <a:pt x="3667" y="796"/>
                    <a:pt x="3685" y="789"/>
                  </a:cubicBezTo>
                  <a:cubicBezTo>
                    <a:pt x="3703" y="782"/>
                    <a:pt x="3737" y="763"/>
                    <a:pt x="3725" y="760"/>
                  </a:cubicBezTo>
                  <a:cubicBezTo>
                    <a:pt x="3713" y="757"/>
                    <a:pt x="3657" y="757"/>
                    <a:pt x="3657" y="757"/>
                  </a:cubicBezTo>
                  <a:cubicBezTo>
                    <a:pt x="3653" y="741"/>
                    <a:pt x="3653" y="741"/>
                    <a:pt x="3653" y="741"/>
                  </a:cubicBezTo>
                  <a:cubicBezTo>
                    <a:pt x="3597" y="721"/>
                    <a:pt x="3597" y="721"/>
                    <a:pt x="3597" y="721"/>
                  </a:cubicBezTo>
                  <a:cubicBezTo>
                    <a:pt x="3597" y="721"/>
                    <a:pt x="3653" y="713"/>
                    <a:pt x="3668" y="719"/>
                  </a:cubicBezTo>
                  <a:cubicBezTo>
                    <a:pt x="3683" y="725"/>
                    <a:pt x="3697" y="751"/>
                    <a:pt x="3712" y="751"/>
                  </a:cubicBezTo>
                  <a:cubicBezTo>
                    <a:pt x="3727" y="751"/>
                    <a:pt x="3806" y="713"/>
                    <a:pt x="3806" y="713"/>
                  </a:cubicBezTo>
                  <a:cubicBezTo>
                    <a:pt x="3787" y="705"/>
                    <a:pt x="3787" y="705"/>
                    <a:pt x="3787" y="705"/>
                  </a:cubicBezTo>
                  <a:cubicBezTo>
                    <a:pt x="3787" y="705"/>
                    <a:pt x="3801" y="693"/>
                    <a:pt x="3819" y="693"/>
                  </a:cubicBezTo>
                  <a:cubicBezTo>
                    <a:pt x="3837" y="693"/>
                    <a:pt x="3842" y="707"/>
                    <a:pt x="3842" y="707"/>
                  </a:cubicBezTo>
                  <a:cubicBezTo>
                    <a:pt x="3862" y="714"/>
                    <a:pt x="3862" y="714"/>
                    <a:pt x="3862" y="714"/>
                  </a:cubicBezTo>
                  <a:cubicBezTo>
                    <a:pt x="3863" y="701"/>
                    <a:pt x="3863" y="701"/>
                    <a:pt x="3863" y="701"/>
                  </a:cubicBezTo>
                  <a:cubicBezTo>
                    <a:pt x="3863" y="701"/>
                    <a:pt x="3877" y="718"/>
                    <a:pt x="3882" y="709"/>
                  </a:cubicBezTo>
                  <a:cubicBezTo>
                    <a:pt x="3887" y="700"/>
                    <a:pt x="3870" y="682"/>
                    <a:pt x="3870" y="682"/>
                  </a:cubicBezTo>
                  <a:cubicBezTo>
                    <a:pt x="3856" y="676"/>
                    <a:pt x="3856" y="676"/>
                    <a:pt x="3856" y="676"/>
                  </a:cubicBezTo>
                  <a:cubicBezTo>
                    <a:pt x="3883" y="671"/>
                    <a:pt x="3883" y="671"/>
                    <a:pt x="3883" y="671"/>
                  </a:cubicBezTo>
                  <a:cubicBezTo>
                    <a:pt x="3883" y="671"/>
                    <a:pt x="3897" y="710"/>
                    <a:pt x="3906" y="708"/>
                  </a:cubicBezTo>
                  <a:cubicBezTo>
                    <a:pt x="3915" y="706"/>
                    <a:pt x="4028" y="673"/>
                    <a:pt x="4014" y="654"/>
                  </a:cubicBezTo>
                  <a:cubicBezTo>
                    <a:pt x="4000" y="635"/>
                    <a:pt x="3989" y="620"/>
                    <a:pt x="4000" y="613"/>
                  </a:cubicBezTo>
                  <a:cubicBezTo>
                    <a:pt x="4011" y="606"/>
                    <a:pt x="4061" y="604"/>
                    <a:pt x="4062" y="598"/>
                  </a:cubicBezTo>
                  <a:cubicBezTo>
                    <a:pt x="4063" y="592"/>
                    <a:pt x="4052" y="566"/>
                    <a:pt x="4052" y="566"/>
                  </a:cubicBezTo>
                  <a:cubicBezTo>
                    <a:pt x="4040" y="551"/>
                    <a:pt x="4040" y="551"/>
                    <a:pt x="4040" y="551"/>
                  </a:cubicBezTo>
                  <a:cubicBezTo>
                    <a:pt x="4040" y="551"/>
                    <a:pt x="3978" y="533"/>
                    <a:pt x="3952" y="551"/>
                  </a:cubicBezTo>
                  <a:cubicBezTo>
                    <a:pt x="3926" y="569"/>
                    <a:pt x="3948" y="581"/>
                    <a:pt x="3948" y="581"/>
                  </a:cubicBezTo>
                  <a:cubicBezTo>
                    <a:pt x="3924" y="596"/>
                    <a:pt x="3924" y="596"/>
                    <a:pt x="3924" y="596"/>
                  </a:cubicBezTo>
                  <a:cubicBezTo>
                    <a:pt x="3910" y="596"/>
                    <a:pt x="3910" y="596"/>
                    <a:pt x="3910" y="596"/>
                  </a:cubicBezTo>
                  <a:cubicBezTo>
                    <a:pt x="3865" y="627"/>
                    <a:pt x="3865" y="627"/>
                    <a:pt x="3865" y="627"/>
                  </a:cubicBezTo>
                  <a:cubicBezTo>
                    <a:pt x="3848" y="634"/>
                    <a:pt x="3848" y="634"/>
                    <a:pt x="3848" y="634"/>
                  </a:cubicBezTo>
                  <a:cubicBezTo>
                    <a:pt x="3848" y="634"/>
                    <a:pt x="3836" y="652"/>
                    <a:pt x="3832" y="655"/>
                  </a:cubicBezTo>
                  <a:cubicBezTo>
                    <a:pt x="3828" y="658"/>
                    <a:pt x="3809" y="659"/>
                    <a:pt x="3809" y="659"/>
                  </a:cubicBezTo>
                  <a:cubicBezTo>
                    <a:pt x="3786" y="671"/>
                    <a:pt x="3786" y="671"/>
                    <a:pt x="3786" y="671"/>
                  </a:cubicBezTo>
                  <a:cubicBezTo>
                    <a:pt x="3786" y="671"/>
                    <a:pt x="3775" y="637"/>
                    <a:pt x="3781" y="626"/>
                  </a:cubicBezTo>
                  <a:cubicBezTo>
                    <a:pt x="3787" y="615"/>
                    <a:pt x="3818" y="620"/>
                    <a:pt x="3823" y="604"/>
                  </a:cubicBezTo>
                  <a:cubicBezTo>
                    <a:pt x="3828" y="588"/>
                    <a:pt x="3812" y="571"/>
                    <a:pt x="3809" y="571"/>
                  </a:cubicBezTo>
                  <a:cubicBezTo>
                    <a:pt x="3806" y="571"/>
                    <a:pt x="3753" y="595"/>
                    <a:pt x="3753" y="595"/>
                  </a:cubicBezTo>
                  <a:cubicBezTo>
                    <a:pt x="3734" y="616"/>
                    <a:pt x="3734" y="616"/>
                    <a:pt x="3734" y="616"/>
                  </a:cubicBezTo>
                  <a:cubicBezTo>
                    <a:pt x="3728" y="607"/>
                    <a:pt x="3728" y="607"/>
                    <a:pt x="3728" y="607"/>
                  </a:cubicBezTo>
                  <a:cubicBezTo>
                    <a:pt x="3746" y="589"/>
                    <a:pt x="3746" y="589"/>
                    <a:pt x="3746" y="589"/>
                  </a:cubicBezTo>
                  <a:cubicBezTo>
                    <a:pt x="3744" y="576"/>
                    <a:pt x="3744" y="576"/>
                    <a:pt x="3744" y="576"/>
                  </a:cubicBezTo>
                  <a:cubicBezTo>
                    <a:pt x="3774" y="565"/>
                    <a:pt x="3774" y="565"/>
                    <a:pt x="3774" y="565"/>
                  </a:cubicBezTo>
                  <a:cubicBezTo>
                    <a:pt x="3747" y="560"/>
                    <a:pt x="3747" y="560"/>
                    <a:pt x="3747" y="560"/>
                  </a:cubicBezTo>
                  <a:cubicBezTo>
                    <a:pt x="3752" y="550"/>
                    <a:pt x="3752" y="550"/>
                    <a:pt x="3752" y="550"/>
                  </a:cubicBezTo>
                  <a:cubicBezTo>
                    <a:pt x="3720" y="560"/>
                    <a:pt x="3720" y="560"/>
                    <a:pt x="3720" y="560"/>
                  </a:cubicBezTo>
                  <a:cubicBezTo>
                    <a:pt x="3706" y="552"/>
                    <a:pt x="3706" y="552"/>
                    <a:pt x="3706" y="552"/>
                  </a:cubicBezTo>
                  <a:cubicBezTo>
                    <a:pt x="3731" y="543"/>
                    <a:pt x="3731" y="543"/>
                    <a:pt x="3731" y="543"/>
                  </a:cubicBezTo>
                  <a:cubicBezTo>
                    <a:pt x="3732" y="533"/>
                    <a:pt x="3732" y="533"/>
                    <a:pt x="3732" y="533"/>
                  </a:cubicBezTo>
                  <a:cubicBezTo>
                    <a:pt x="3732" y="533"/>
                    <a:pt x="3768" y="541"/>
                    <a:pt x="3766" y="528"/>
                  </a:cubicBezTo>
                  <a:cubicBezTo>
                    <a:pt x="3764" y="515"/>
                    <a:pt x="3736" y="518"/>
                    <a:pt x="3748" y="501"/>
                  </a:cubicBezTo>
                  <a:cubicBezTo>
                    <a:pt x="3760" y="484"/>
                    <a:pt x="3771" y="459"/>
                    <a:pt x="3755" y="458"/>
                  </a:cubicBezTo>
                  <a:cubicBezTo>
                    <a:pt x="3730" y="448"/>
                    <a:pt x="3730" y="448"/>
                    <a:pt x="3730" y="448"/>
                  </a:cubicBezTo>
                  <a:cubicBezTo>
                    <a:pt x="3711" y="456"/>
                    <a:pt x="3711" y="456"/>
                    <a:pt x="3711" y="456"/>
                  </a:cubicBezTo>
                  <a:cubicBezTo>
                    <a:pt x="3711" y="456"/>
                    <a:pt x="3684" y="458"/>
                    <a:pt x="3683" y="462"/>
                  </a:cubicBezTo>
                  <a:cubicBezTo>
                    <a:pt x="3682" y="466"/>
                    <a:pt x="3690" y="475"/>
                    <a:pt x="3684" y="476"/>
                  </a:cubicBezTo>
                  <a:cubicBezTo>
                    <a:pt x="3678" y="477"/>
                    <a:pt x="3642" y="470"/>
                    <a:pt x="3634" y="479"/>
                  </a:cubicBezTo>
                  <a:cubicBezTo>
                    <a:pt x="3626" y="488"/>
                    <a:pt x="3609" y="497"/>
                    <a:pt x="3618" y="501"/>
                  </a:cubicBezTo>
                  <a:cubicBezTo>
                    <a:pt x="3627" y="505"/>
                    <a:pt x="3638" y="507"/>
                    <a:pt x="3638" y="507"/>
                  </a:cubicBezTo>
                  <a:cubicBezTo>
                    <a:pt x="3638" y="507"/>
                    <a:pt x="3589" y="520"/>
                    <a:pt x="3591" y="533"/>
                  </a:cubicBezTo>
                  <a:cubicBezTo>
                    <a:pt x="3593" y="546"/>
                    <a:pt x="3620" y="556"/>
                    <a:pt x="3620" y="556"/>
                  </a:cubicBezTo>
                  <a:cubicBezTo>
                    <a:pt x="3636" y="549"/>
                    <a:pt x="3636" y="549"/>
                    <a:pt x="3636" y="549"/>
                  </a:cubicBezTo>
                  <a:cubicBezTo>
                    <a:pt x="3636" y="549"/>
                    <a:pt x="3635" y="570"/>
                    <a:pt x="3641" y="567"/>
                  </a:cubicBezTo>
                  <a:cubicBezTo>
                    <a:pt x="3647" y="564"/>
                    <a:pt x="3676" y="559"/>
                    <a:pt x="3665" y="567"/>
                  </a:cubicBezTo>
                  <a:cubicBezTo>
                    <a:pt x="3654" y="575"/>
                    <a:pt x="3645" y="574"/>
                    <a:pt x="3645" y="574"/>
                  </a:cubicBezTo>
                  <a:cubicBezTo>
                    <a:pt x="3632" y="569"/>
                    <a:pt x="3632" y="569"/>
                    <a:pt x="3632" y="569"/>
                  </a:cubicBezTo>
                  <a:cubicBezTo>
                    <a:pt x="3630" y="578"/>
                    <a:pt x="3630" y="578"/>
                    <a:pt x="3630" y="578"/>
                  </a:cubicBezTo>
                  <a:cubicBezTo>
                    <a:pt x="3630" y="578"/>
                    <a:pt x="3594" y="584"/>
                    <a:pt x="3606" y="588"/>
                  </a:cubicBezTo>
                  <a:cubicBezTo>
                    <a:pt x="3618" y="592"/>
                    <a:pt x="3645" y="572"/>
                    <a:pt x="3639" y="585"/>
                  </a:cubicBezTo>
                  <a:cubicBezTo>
                    <a:pt x="3633" y="598"/>
                    <a:pt x="3614" y="607"/>
                    <a:pt x="3601" y="611"/>
                  </a:cubicBezTo>
                  <a:cubicBezTo>
                    <a:pt x="3588" y="615"/>
                    <a:pt x="3568" y="630"/>
                    <a:pt x="3568" y="630"/>
                  </a:cubicBezTo>
                  <a:cubicBezTo>
                    <a:pt x="3568" y="630"/>
                    <a:pt x="3546" y="618"/>
                    <a:pt x="3542" y="625"/>
                  </a:cubicBezTo>
                  <a:cubicBezTo>
                    <a:pt x="3538" y="632"/>
                    <a:pt x="3517" y="638"/>
                    <a:pt x="3518" y="648"/>
                  </a:cubicBezTo>
                  <a:cubicBezTo>
                    <a:pt x="3519" y="658"/>
                    <a:pt x="3512" y="667"/>
                    <a:pt x="3512" y="667"/>
                  </a:cubicBezTo>
                  <a:cubicBezTo>
                    <a:pt x="3508" y="658"/>
                    <a:pt x="3508" y="658"/>
                    <a:pt x="3508" y="658"/>
                  </a:cubicBezTo>
                  <a:cubicBezTo>
                    <a:pt x="3508" y="658"/>
                    <a:pt x="3483" y="657"/>
                    <a:pt x="3485" y="651"/>
                  </a:cubicBezTo>
                  <a:cubicBezTo>
                    <a:pt x="3487" y="645"/>
                    <a:pt x="3529" y="617"/>
                    <a:pt x="3529" y="617"/>
                  </a:cubicBezTo>
                  <a:cubicBezTo>
                    <a:pt x="3504" y="617"/>
                    <a:pt x="3504" y="617"/>
                    <a:pt x="3504" y="617"/>
                  </a:cubicBezTo>
                  <a:cubicBezTo>
                    <a:pt x="3504" y="617"/>
                    <a:pt x="3497" y="603"/>
                    <a:pt x="3490" y="603"/>
                  </a:cubicBezTo>
                  <a:cubicBezTo>
                    <a:pt x="3483" y="603"/>
                    <a:pt x="3467" y="609"/>
                    <a:pt x="3467" y="609"/>
                  </a:cubicBezTo>
                  <a:cubicBezTo>
                    <a:pt x="3467" y="609"/>
                    <a:pt x="3446" y="602"/>
                    <a:pt x="3443" y="610"/>
                  </a:cubicBezTo>
                  <a:cubicBezTo>
                    <a:pt x="3440" y="618"/>
                    <a:pt x="3438" y="625"/>
                    <a:pt x="3442" y="626"/>
                  </a:cubicBezTo>
                  <a:cubicBezTo>
                    <a:pt x="3446" y="627"/>
                    <a:pt x="3475" y="640"/>
                    <a:pt x="3465" y="643"/>
                  </a:cubicBezTo>
                  <a:cubicBezTo>
                    <a:pt x="3455" y="646"/>
                    <a:pt x="3437" y="631"/>
                    <a:pt x="3437" y="631"/>
                  </a:cubicBezTo>
                  <a:cubicBezTo>
                    <a:pt x="3423" y="622"/>
                    <a:pt x="3423" y="622"/>
                    <a:pt x="3423" y="622"/>
                  </a:cubicBezTo>
                  <a:cubicBezTo>
                    <a:pt x="3422" y="642"/>
                    <a:pt x="3422" y="642"/>
                    <a:pt x="3422" y="642"/>
                  </a:cubicBezTo>
                  <a:cubicBezTo>
                    <a:pt x="3422" y="642"/>
                    <a:pt x="3407" y="651"/>
                    <a:pt x="3398" y="649"/>
                  </a:cubicBezTo>
                  <a:cubicBezTo>
                    <a:pt x="3389" y="647"/>
                    <a:pt x="3356" y="638"/>
                    <a:pt x="3345" y="638"/>
                  </a:cubicBezTo>
                  <a:cubicBezTo>
                    <a:pt x="3334" y="638"/>
                    <a:pt x="3312" y="642"/>
                    <a:pt x="3301" y="641"/>
                  </a:cubicBezTo>
                  <a:cubicBezTo>
                    <a:pt x="3290" y="640"/>
                    <a:pt x="3273" y="623"/>
                    <a:pt x="3273" y="623"/>
                  </a:cubicBezTo>
                  <a:cubicBezTo>
                    <a:pt x="3234" y="626"/>
                    <a:pt x="3234" y="626"/>
                    <a:pt x="3234" y="626"/>
                  </a:cubicBezTo>
                  <a:cubicBezTo>
                    <a:pt x="3234" y="626"/>
                    <a:pt x="3219" y="612"/>
                    <a:pt x="3211" y="610"/>
                  </a:cubicBezTo>
                  <a:cubicBezTo>
                    <a:pt x="3203" y="608"/>
                    <a:pt x="3186" y="608"/>
                    <a:pt x="3174" y="614"/>
                  </a:cubicBezTo>
                  <a:cubicBezTo>
                    <a:pt x="3162" y="620"/>
                    <a:pt x="3167" y="622"/>
                    <a:pt x="3154" y="622"/>
                  </a:cubicBezTo>
                  <a:cubicBezTo>
                    <a:pt x="3141" y="622"/>
                    <a:pt x="3113" y="615"/>
                    <a:pt x="3106" y="624"/>
                  </a:cubicBezTo>
                  <a:cubicBezTo>
                    <a:pt x="3099" y="633"/>
                    <a:pt x="3087" y="659"/>
                    <a:pt x="3087" y="659"/>
                  </a:cubicBezTo>
                  <a:cubicBezTo>
                    <a:pt x="3079" y="679"/>
                    <a:pt x="3079" y="679"/>
                    <a:pt x="3079" y="679"/>
                  </a:cubicBezTo>
                  <a:cubicBezTo>
                    <a:pt x="3058" y="681"/>
                    <a:pt x="3058" y="681"/>
                    <a:pt x="3058" y="681"/>
                  </a:cubicBezTo>
                  <a:cubicBezTo>
                    <a:pt x="3053" y="700"/>
                    <a:pt x="3053" y="700"/>
                    <a:pt x="3053" y="700"/>
                  </a:cubicBezTo>
                  <a:cubicBezTo>
                    <a:pt x="3038" y="667"/>
                    <a:pt x="3038" y="667"/>
                    <a:pt x="3038" y="667"/>
                  </a:cubicBezTo>
                  <a:cubicBezTo>
                    <a:pt x="3038" y="667"/>
                    <a:pt x="3080" y="678"/>
                    <a:pt x="3069" y="659"/>
                  </a:cubicBezTo>
                  <a:cubicBezTo>
                    <a:pt x="3058" y="640"/>
                    <a:pt x="3026" y="638"/>
                    <a:pt x="3026" y="638"/>
                  </a:cubicBezTo>
                  <a:cubicBezTo>
                    <a:pt x="3028" y="629"/>
                    <a:pt x="3028" y="629"/>
                    <a:pt x="3028" y="629"/>
                  </a:cubicBezTo>
                  <a:cubicBezTo>
                    <a:pt x="3028" y="629"/>
                    <a:pt x="2959" y="642"/>
                    <a:pt x="2922" y="642"/>
                  </a:cubicBezTo>
                  <a:cubicBezTo>
                    <a:pt x="2885" y="642"/>
                    <a:pt x="2819" y="638"/>
                    <a:pt x="2832" y="632"/>
                  </a:cubicBezTo>
                  <a:cubicBezTo>
                    <a:pt x="2845" y="626"/>
                    <a:pt x="2929" y="629"/>
                    <a:pt x="2909" y="607"/>
                  </a:cubicBezTo>
                  <a:cubicBezTo>
                    <a:pt x="2889" y="585"/>
                    <a:pt x="2870" y="583"/>
                    <a:pt x="2846" y="585"/>
                  </a:cubicBezTo>
                  <a:cubicBezTo>
                    <a:pt x="2822" y="587"/>
                    <a:pt x="2783" y="573"/>
                    <a:pt x="2777" y="570"/>
                  </a:cubicBezTo>
                  <a:cubicBezTo>
                    <a:pt x="2771" y="567"/>
                    <a:pt x="2753" y="567"/>
                    <a:pt x="2753" y="567"/>
                  </a:cubicBezTo>
                  <a:cubicBezTo>
                    <a:pt x="2753" y="567"/>
                    <a:pt x="2705" y="540"/>
                    <a:pt x="2687" y="541"/>
                  </a:cubicBezTo>
                  <a:cubicBezTo>
                    <a:pt x="2669" y="542"/>
                    <a:pt x="2637" y="567"/>
                    <a:pt x="2637" y="567"/>
                  </a:cubicBezTo>
                  <a:cubicBezTo>
                    <a:pt x="2601" y="567"/>
                    <a:pt x="2601" y="567"/>
                    <a:pt x="2601" y="567"/>
                  </a:cubicBezTo>
                  <a:cubicBezTo>
                    <a:pt x="2621" y="555"/>
                    <a:pt x="2621" y="555"/>
                    <a:pt x="2621" y="555"/>
                  </a:cubicBezTo>
                  <a:cubicBezTo>
                    <a:pt x="2621" y="547"/>
                    <a:pt x="2621" y="547"/>
                    <a:pt x="2621" y="547"/>
                  </a:cubicBezTo>
                  <a:cubicBezTo>
                    <a:pt x="2638" y="527"/>
                    <a:pt x="2638" y="527"/>
                    <a:pt x="2638" y="527"/>
                  </a:cubicBezTo>
                  <a:cubicBezTo>
                    <a:pt x="2638" y="527"/>
                    <a:pt x="2599" y="545"/>
                    <a:pt x="2592" y="552"/>
                  </a:cubicBezTo>
                  <a:cubicBezTo>
                    <a:pt x="2585" y="559"/>
                    <a:pt x="2569" y="581"/>
                    <a:pt x="2554" y="566"/>
                  </a:cubicBezTo>
                  <a:cubicBezTo>
                    <a:pt x="2539" y="551"/>
                    <a:pt x="2560" y="535"/>
                    <a:pt x="2557" y="524"/>
                  </a:cubicBezTo>
                  <a:cubicBezTo>
                    <a:pt x="2554" y="513"/>
                    <a:pt x="2531" y="502"/>
                    <a:pt x="2528" y="511"/>
                  </a:cubicBezTo>
                  <a:cubicBezTo>
                    <a:pt x="2525" y="520"/>
                    <a:pt x="2538" y="526"/>
                    <a:pt x="2538" y="526"/>
                  </a:cubicBezTo>
                  <a:cubicBezTo>
                    <a:pt x="2538" y="526"/>
                    <a:pt x="2518" y="524"/>
                    <a:pt x="2507" y="528"/>
                  </a:cubicBezTo>
                  <a:cubicBezTo>
                    <a:pt x="2496" y="532"/>
                    <a:pt x="2480" y="543"/>
                    <a:pt x="2475" y="547"/>
                  </a:cubicBezTo>
                  <a:cubicBezTo>
                    <a:pt x="2470" y="551"/>
                    <a:pt x="2452" y="546"/>
                    <a:pt x="2452" y="546"/>
                  </a:cubicBezTo>
                  <a:cubicBezTo>
                    <a:pt x="2452" y="546"/>
                    <a:pt x="2405" y="556"/>
                    <a:pt x="2401" y="557"/>
                  </a:cubicBezTo>
                  <a:cubicBezTo>
                    <a:pt x="2397" y="558"/>
                    <a:pt x="2372" y="573"/>
                    <a:pt x="2372" y="573"/>
                  </a:cubicBezTo>
                  <a:cubicBezTo>
                    <a:pt x="2358" y="560"/>
                    <a:pt x="2358" y="560"/>
                    <a:pt x="2358" y="560"/>
                  </a:cubicBezTo>
                  <a:cubicBezTo>
                    <a:pt x="2358" y="560"/>
                    <a:pt x="2325" y="577"/>
                    <a:pt x="2315" y="578"/>
                  </a:cubicBezTo>
                  <a:cubicBezTo>
                    <a:pt x="2305" y="579"/>
                    <a:pt x="2287" y="591"/>
                    <a:pt x="2287" y="591"/>
                  </a:cubicBezTo>
                  <a:cubicBezTo>
                    <a:pt x="2265" y="593"/>
                    <a:pt x="2265" y="593"/>
                    <a:pt x="2265" y="593"/>
                  </a:cubicBezTo>
                  <a:cubicBezTo>
                    <a:pt x="2265" y="593"/>
                    <a:pt x="2282" y="575"/>
                    <a:pt x="2297" y="572"/>
                  </a:cubicBezTo>
                  <a:cubicBezTo>
                    <a:pt x="2312" y="569"/>
                    <a:pt x="2346" y="556"/>
                    <a:pt x="2346" y="556"/>
                  </a:cubicBezTo>
                  <a:cubicBezTo>
                    <a:pt x="2346" y="556"/>
                    <a:pt x="2377" y="559"/>
                    <a:pt x="2388" y="554"/>
                  </a:cubicBezTo>
                  <a:cubicBezTo>
                    <a:pt x="2399" y="549"/>
                    <a:pt x="2460" y="535"/>
                    <a:pt x="2460" y="535"/>
                  </a:cubicBezTo>
                  <a:cubicBezTo>
                    <a:pt x="2460" y="535"/>
                    <a:pt x="2472" y="532"/>
                    <a:pt x="2465" y="527"/>
                  </a:cubicBezTo>
                  <a:cubicBezTo>
                    <a:pt x="2458" y="522"/>
                    <a:pt x="2437" y="529"/>
                    <a:pt x="2437" y="529"/>
                  </a:cubicBezTo>
                  <a:cubicBezTo>
                    <a:pt x="2437" y="529"/>
                    <a:pt x="2419" y="528"/>
                    <a:pt x="2412" y="530"/>
                  </a:cubicBezTo>
                  <a:cubicBezTo>
                    <a:pt x="2405" y="532"/>
                    <a:pt x="2398" y="540"/>
                    <a:pt x="2393" y="541"/>
                  </a:cubicBezTo>
                  <a:cubicBezTo>
                    <a:pt x="2388" y="542"/>
                    <a:pt x="2369" y="542"/>
                    <a:pt x="2369" y="542"/>
                  </a:cubicBezTo>
                  <a:cubicBezTo>
                    <a:pt x="2354" y="545"/>
                    <a:pt x="2354" y="545"/>
                    <a:pt x="2354" y="545"/>
                  </a:cubicBezTo>
                  <a:cubicBezTo>
                    <a:pt x="2354" y="545"/>
                    <a:pt x="2337" y="545"/>
                    <a:pt x="2325" y="548"/>
                  </a:cubicBezTo>
                  <a:cubicBezTo>
                    <a:pt x="2313" y="551"/>
                    <a:pt x="2302" y="563"/>
                    <a:pt x="2302" y="563"/>
                  </a:cubicBezTo>
                  <a:cubicBezTo>
                    <a:pt x="2288" y="565"/>
                    <a:pt x="2288" y="565"/>
                    <a:pt x="2288" y="565"/>
                  </a:cubicBezTo>
                  <a:cubicBezTo>
                    <a:pt x="2253" y="578"/>
                    <a:pt x="2253" y="578"/>
                    <a:pt x="2253" y="578"/>
                  </a:cubicBezTo>
                  <a:cubicBezTo>
                    <a:pt x="2253" y="578"/>
                    <a:pt x="2238" y="581"/>
                    <a:pt x="2235" y="584"/>
                  </a:cubicBezTo>
                  <a:cubicBezTo>
                    <a:pt x="2232" y="587"/>
                    <a:pt x="2230" y="603"/>
                    <a:pt x="2223" y="599"/>
                  </a:cubicBezTo>
                  <a:cubicBezTo>
                    <a:pt x="2216" y="595"/>
                    <a:pt x="2215" y="580"/>
                    <a:pt x="2226" y="578"/>
                  </a:cubicBezTo>
                  <a:cubicBezTo>
                    <a:pt x="2237" y="576"/>
                    <a:pt x="2266" y="566"/>
                    <a:pt x="2275" y="560"/>
                  </a:cubicBezTo>
                  <a:cubicBezTo>
                    <a:pt x="2284" y="554"/>
                    <a:pt x="2242" y="548"/>
                    <a:pt x="2235" y="557"/>
                  </a:cubicBezTo>
                  <a:cubicBezTo>
                    <a:pt x="2228" y="566"/>
                    <a:pt x="2201" y="571"/>
                    <a:pt x="2194" y="571"/>
                  </a:cubicBezTo>
                  <a:cubicBezTo>
                    <a:pt x="2187" y="571"/>
                    <a:pt x="2187" y="598"/>
                    <a:pt x="2187" y="598"/>
                  </a:cubicBezTo>
                  <a:cubicBezTo>
                    <a:pt x="2171" y="589"/>
                    <a:pt x="2171" y="589"/>
                    <a:pt x="2171" y="589"/>
                  </a:cubicBezTo>
                  <a:cubicBezTo>
                    <a:pt x="2129" y="583"/>
                    <a:pt x="2129" y="583"/>
                    <a:pt x="2129" y="583"/>
                  </a:cubicBezTo>
                  <a:cubicBezTo>
                    <a:pt x="2129" y="583"/>
                    <a:pt x="2103" y="571"/>
                    <a:pt x="2105" y="566"/>
                  </a:cubicBezTo>
                  <a:cubicBezTo>
                    <a:pt x="2107" y="561"/>
                    <a:pt x="2111" y="552"/>
                    <a:pt x="2111" y="552"/>
                  </a:cubicBezTo>
                  <a:cubicBezTo>
                    <a:pt x="2037" y="553"/>
                    <a:pt x="2037" y="553"/>
                    <a:pt x="2037" y="553"/>
                  </a:cubicBezTo>
                  <a:cubicBezTo>
                    <a:pt x="2037" y="553"/>
                    <a:pt x="2034" y="530"/>
                    <a:pt x="2008" y="532"/>
                  </a:cubicBezTo>
                  <a:cubicBezTo>
                    <a:pt x="1982" y="534"/>
                    <a:pt x="1951" y="543"/>
                    <a:pt x="1947" y="543"/>
                  </a:cubicBezTo>
                  <a:cubicBezTo>
                    <a:pt x="1943" y="543"/>
                    <a:pt x="1916" y="529"/>
                    <a:pt x="1912" y="527"/>
                  </a:cubicBezTo>
                  <a:cubicBezTo>
                    <a:pt x="1908" y="525"/>
                    <a:pt x="1858" y="526"/>
                    <a:pt x="1858" y="526"/>
                  </a:cubicBezTo>
                  <a:cubicBezTo>
                    <a:pt x="1858" y="526"/>
                    <a:pt x="1842" y="518"/>
                    <a:pt x="1824" y="516"/>
                  </a:cubicBezTo>
                  <a:cubicBezTo>
                    <a:pt x="1806" y="514"/>
                    <a:pt x="1735" y="517"/>
                    <a:pt x="1732" y="517"/>
                  </a:cubicBezTo>
                  <a:cubicBezTo>
                    <a:pt x="1729" y="517"/>
                    <a:pt x="1735" y="503"/>
                    <a:pt x="1735" y="503"/>
                  </a:cubicBezTo>
                  <a:cubicBezTo>
                    <a:pt x="1735" y="503"/>
                    <a:pt x="1699" y="498"/>
                    <a:pt x="1694" y="497"/>
                  </a:cubicBezTo>
                  <a:cubicBezTo>
                    <a:pt x="1689" y="496"/>
                    <a:pt x="1656" y="503"/>
                    <a:pt x="1656" y="503"/>
                  </a:cubicBezTo>
                  <a:cubicBezTo>
                    <a:pt x="1676" y="481"/>
                    <a:pt x="1676" y="481"/>
                    <a:pt x="1676" y="481"/>
                  </a:cubicBezTo>
                  <a:cubicBezTo>
                    <a:pt x="1621" y="503"/>
                    <a:pt x="1621" y="503"/>
                    <a:pt x="1621" y="503"/>
                  </a:cubicBezTo>
                  <a:cubicBezTo>
                    <a:pt x="1642" y="481"/>
                    <a:pt x="1642" y="481"/>
                    <a:pt x="1642" y="481"/>
                  </a:cubicBezTo>
                  <a:cubicBezTo>
                    <a:pt x="1622" y="479"/>
                    <a:pt x="1622" y="479"/>
                    <a:pt x="1622" y="479"/>
                  </a:cubicBezTo>
                  <a:cubicBezTo>
                    <a:pt x="1622" y="479"/>
                    <a:pt x="1591" y="501"/>
                    <a:pt x="1561" y="501"/>
                  </a:cubicBezTo>
                  <a:cubicBezTo>
                    <a:pt x="1531" y="501"/>
                    <a:pt x="1485" y="495"/>
                    <a:pt x="1477" y="503"/>
                  </a:cubicBezTo>
                  <a:cubicBezTo>
                    <a:pt x="1469" y="511"/>
                    <a:pt x="1439" y="518"/>
                    <a:pt x="1439" y="518"/>
                  </a:cubicBezTo>
                  <a:cubicBezTo>
                    <a:pt x="1439" y="518"/>
                    <a:pt x="1390" y="518"/>
                    <a:pt x="1364" y="521"/>
                  </a:cubicBezTo>
                  <a:cubicBezTo>
                    <a:pt x="1338" y="524"/>
                    <a:pt x="1277" y="570"/>
                    <a:pt x="1235" y="576"/>
                  </a:cubicBezTo>
                  <a:cubicBezTo>
                    <a:pt x="1193" y="582"/>
                    <a:pt x="1141" y="586"/>
                    <a:pt x="1141" y="586"/>
                  </a:cubicBezTo>
                  <a:cubicBezTo>
                    <a:pt x="1141" y="586"/>
                    <a:pt x="1078" y="607"/>
                    <a:pt x="1081" y="612"/>
                  </a:cubicBezTo>
                  <a:cubicBezTo>
                    <a:pt x="1084" y="617"/>
                    <a:pt x="1105" y="628"/>
                    <a:pt x="1105" y="628"/>
                  </a:cubicBezTo>
                  <a:cubicBezTo>
                    <a:pt x="1105" y="628"/>
                    <a:pt x="1118" y="651"/>
                    <a:pt x="1112" y="654"/>
                  </a:cubicBezTo>
                  <a:cubicBezTo>
                    <a:pt x="1106" y="657"/>
                    <a:pt x="1097" y="666"/>
                    <a:pt x="1097" y="666"/>
                  </a:cubicBezTo>
                  <a:cubicBezTo>
                    <a:pt x="1157" y="667"/>
                    <a:pt x="1157" y="667"/>
                    <a:pt x="1157" y="667"/>
                  </a:cubicBezTo>
                  <a:cubicBezTo>
                    <a:pt x="1138" y="690"/>
                    <a:pt x="1138" y="690"/>
                    <a:pt x="1138" y="690"/>
                  </a:cubicBezTo>
                  <a:cubicBezTo>
                    <a:pt x="1182" y="692"/>
                    <a:pt x="1182" y="692"/>
                    <a:pt x="1182" y="692"/>
                  </a:cubicBezTo>
                  <a:cubicBezTo>
                    <a:pt x="1175" y="704"/>
                    <a:pt x="1175" y="704"/>
                    <a:pt x="1175" y="704"/>
                  </a:cubicBezTo>
                  <a:cubicBezTo>
                    <a:pt x="1139" y="703"/>
                    <a:pt x="1139" y="703"/>
                    <a:pt x="1139" y="703"/>
                  </a:cubicBezTo>
                  <a:cubicBezTo>
                    <a:pt x="1132" y="711"/>
                    <a:pt x="1132" y="711"/>
                    <a:pt x="1132" y="711"/>
                  </a:cubicBezTo>
                  <a:cubicBezTo>
                    <a:pt x="1110" y="711"/>
                    <a:pt x="1110" y="711"/>
                    <a:pt x="1110" y="711"/>
                  </a:cubicBezTo>
                  <a:cubicBezTo>
                    <a:pt x="1110" y="711"/>
                    <a:pt x="1076" y="717"/>
                    <a:pt x="1051" y="717"/>
                  </a:cubicBezTo>
                  <a:cubicBezTo>
                    <a:pt x="1026" y="717"/>
                    <a:pt x="1031" y="707"/>
                    <a:pt x="1045" y="702"/>
                  </a:cubicBezTo>
                  <a:cubicBezTo>
                    <a:pt x="1059" y="697"/>
                    <a:pt x="1017" y="694"/>
                    <a:pt x="1017" y="694"/>
                  </a:cubicBezTo>
                  <a:cubicBezTo>
                    <a:pt x="1017" y="694"/>
                    <a:pt x="969" y="692"/>
                    <a:pt x="967" y="700"/>
                  </a:cubicBezTo>
                  <a:cubicBezTo>
                    <a:pt x="965" y="708"/>
                    <a:pt x="969" y="713"/>
                    <a:pt x="969" y="713"/>
                  </a:cubicBezTo>
                  <a:cubicBezTo>
                    <a:pt x="969" y="713"/>
                    <a:pt x="934" y="715"/>
                    <a:pt x="911" y="718"/>
                  </a:cubicBezTo>
                  <a:cubicBezTo>
                    <a:pt x="888" y="721"/>
                    <a:pt x="820" y="734"/>
                    <a:pt x="837" y="740"/>
                  </a:cubicBezTo>
                  <a:cubicBezTo>
                    <a:pt x="854" y="746"/>
                    <a:pt x="877" y="749"/>
                    <a:pt x="877" y="749"/>
                  </a:cubicBezTo>
                  <a:cubicBezTo>
                    <a:pt x="848" y="759"/>
                    <a:pt x="848" y="759"/>
                    <a:pt x="848" y="759"/>
                  </a:cubicBezTo>
                  <a:cubicBezTo>
                    <a:pt x="840" y="786"/>
                    <a:pt x="840" y="786"/>
                    <a:pt x="840" y="786"/>
                  </a:cubicBezTo>
                  <a:cubicBezTo>
                    <a:pt x="840" y="786"/>
                    <a:pt x="864" y="790"/>
                    <a:pt x="880" y="790"/>
                  </a:cubicBezTo>
                  <a:cubicBezTo>
                    <a:pt x="896" y="790"/>
                    <a:pt x="910" y="787"/>
                    <a:pt x="910" y="787"/>
                  </a:cubicBezTo>
                  <a:cubicBezTo>
                    <a:pt x="939" y="795"/>
                    <a:pt x="939" y="795"/>
                    <a:pt x="939" y="795"/>
                  </a:cubicBezTo>
                  <a:cubicBezTo>
                    <a:pt x="948" y="783"/>
                    <a:pt x="948" y="783"/>
                    <a:pt x="948" y="783"/>
                  </a:cubicBezTo>
                  <a:cubicBezTo>
                    <a:pt x="957" y="794"/>
                    <a:pt x="957" y="794"/>
                    <a:pt x="957" y="794"/>
                  </a:cubicBezTo>
                  <a:cubicBezTo>
                    <a:pt x="957" y="794"/>
                    <a:pt x="989" y="776"/>
                    <a:pt x="994" y="776"/>
                  </a:cubicBezTo>
                  <a:cubicBezTo>
                    <a:pt x="999" y="776"/>
                    <a:pt x="1007" y="782"/>
                    <a:pt x="1017" y="778"/>
                  </a:cubicBezTo>
                  <a:cubicBezTo>
                    <a:pt x="1027" y="774"/>
                    <a:pt x="1045" y="760"/>
                    <a:pt x="1046" y="769"/>
                  </a:cubicBezTo>
                  <a:cubicBezTo>
                    <a:pt x="1047" y="778"/>
                    <a:pt x="1037" y="790"/>
                    <a:pt x="1037" y="790"/>
                  </a:cubicBezTo>
                  <a:cubicBezTo>
                    <a:pt x="999" y="791"/>
                    <a:pt x="999" y="791"/>
                    <a:pt x="999" y="791"/>
                  </a:cubicBezTo>
                  <a:cubicBezTo>
                    <a:pt x="1004" y="812"/>
                    <a:pt x="1004" y="812"/>
                    <a:pt x="1004" y="812"/>
                  </a:cubicBezTo>
                  <a:cubicBezTo>
                    <a:pt x="1004" y="812"/>
                    <a:pt x="976" y="839"/>
                    <a:pt x="958" y="840"/>
                  </a:cubicBezTo>
                  <a:cubicBezTo>
                    <a:pt x="940" y="841"/>
                    <a:pt x="920" y="841"/>
                    <a:pt x="920" y="841"/>
                  </a:cubicBezTo>
                  <a:cubicBezTo>
                    <a:pt x="910" y="829"/>
                    <a:pt x="910" y="829"/>
                    <a:pt x="910" y="829"/>
                  </a:cubicBezTo>
                  <a:cubicBezTo>
                    <a:pt x="898" y="836"/>
                    <a:pt x="898" y="836"/>
                    <a:pt x="898" y="836"/>
                  </a:cubicBezTo>
                  <a:cubicBezTo>
                    <a:pt x="898" y="844"/>
                    <a:pt x="898" y="844"/>
                    <a:pt x="898" y="844"/>
                  </a:cubicBezTo>
                  <a:cubicBezTo>
                    <a:pt x="898" y="844"/>
                    <a:pt x="857" y="868"/>
                    <a:pt x="844" y="860"/>
                  </a:cubicBezTo>
                  <a:cubicBezTo>
                    <a:pt x="831" y="852"/>
                    <a:pt x="824" y="850"/>
                    <a:pt x="824" y="850"/>
                  </a:cubicBezTo>
                  <a:cubicBezTo>
                    <a:pt x="762" y="885"/>
                    <a:pt x="762" y="885"/>
                    <a:pt x="762" y="885"/>
                  </a:cubicBezTo>
                  <a:cubicBezTo>
                    <a:pt x="748" y="897"/>
                    <a:pt x="748" y="897"/>
                    <a:pt x="748" y="897"/>
                  </a:cubicBezTo>
                  <a:cubicBezTo>
                    <a:pt x="745" y="883"/>
                    <a:pt x="745" y="883"/>
                    <a:pt x="745" y="883"/>
                  </a:cubicBezTo>
                  <a:cubicBezTo>
                    <a:pt x="745" y="883"/>
                    <a:pt x="720" y="894"/>
                    <a:pt x="706" y="899"/>
                  </a:cubicBezTo>
                  <a:cubicBezTo>
                    <a:pt x="692" y="904"/>
                    <a:pt x="682" y="919"/>
                    <a:pt x="682" y="919"/>
                  </a:cubicBezTo>
                  <a:cubicBezTo>
                    <a:pt x="662" y="913"/>
                    <a:pt x="662" y="913"/>
                    <a:pt x="662" y="913"/>
                  </a:cubicBezTo>
                  <a:cubicBezTo>
                    <a:pt x="662" y="926"/>
                    <a:pt x="662" y="926"/>
                    <a:pt x="662" y="926"/>
                  </a:cubicBezTo>
                  <a:cubicBezTo>
                    <a:pt x="662" y="926"/>
                    <a:pt x="649" y="920"/>
                    <a:pt x="646" y="926"/>
                  </a:cubicBezTo>
                  <a:cubicBezTo>
                    <a:pt x="643" y="932"/>
                    <a:pt x="643" y="941"/>
                    <a:pt x="643" y="941"/>
                  </a:cubicBezTo>
                  <a:cubicBezTo>
                    <a:pt x="636" y="950"/>
                    <a:pt x="636" y="950"/>
                    <a:pt x="636" y="950"/>
                  </a:cubicBezTo>
                  <a:cubicBezTo>
                    <a:pt x="676" y="936"/>
                    <a:pt x="676" y="936"/>
                    <a:pt x="676" y="936"/>
                  </a:cubicBezTo>
                  <a:cubicBezTo>
                    <a:pt x="661" y="948"/>
                    <a:pt x="661" y="948"/>
                    <a:pt x="661" y="948"/>
                  </a:cubicBezTo>
                  <a:cubicBezTo>
                    <a:pt x="661" y="954"/>
                    <a:pt x="661" y="954"/>
                    <a:pt x="661" y="954"/>
                  </a:cubicBezTo>
                  <a:cubicBezTo>
                    <a:pt x="648" y="962"/>
                    <a:pt x="648" y="962"/>
                    <a:pt x="648" y="962"/>
                  </a:cubicBezTo>
                  <a:cubicBezTo>
                    <a:pt x="648" y="962"/>
                    <a:pt x="698" y="961"/>
                    <a:pt x="689" y="970"/>
                  </a:cubicBezTo>
                  <a:cubicBezTo>
                    <a:pt x="680" y="979"/>
                    <a:pt x="658" y="977"/>
                    <a:pt x="658" y="977"/>
                  </a:cubicBezTo>
                  <a:cubicBezTo>
                    <a:pt x="641" y="981"/>
                    <a:pt x="641" y="981"/>
                    <a:pt x="641" y="981"/>
                  </a:cubicBezTo>
                  <a:cubicBezTo>
                    <a:pt x="649" y="973"/>
                    <a:pt x="649" y="973"/>
                    <a:pt x="649" y="973"/>
                  </a:cubicBezTo>
                  <a:cubicBezTo>
                    <a:pt x="640" y="968"/>
                    <a:pt x="640" y="968"/>
                    <a:pt x="640" y="968"/>
                  </a:cubicBezTo>
                  <a:cubicBezTo>
                    <a:pt x="640" y="968"/>
                    <a:pt x="611" y="979"/>
                    <a:pt x="612" y="982"/>
                  </a:cubicBezTo>
                  <a:cubicBezTo>
                    <a:pt x="613" y="985"/>
                    <a:pt x="619" y="989"/>
                    <a:pt x="619" y="989"/>
                  </a:cubicBezTo>
                  <a:cubicBezTo>
                    <a:pt x="619" y="989"/>
                    <a:pt x="608" y="1016"/>
                    <a:pt x="612" y="1017"/>
                  </a:cubicBezTo>
                  <a:cubicBezTo>
                    <a:pt x="616" y="1018"/>
                    <a:pt x="659" y="1015"/>
                    <a:pt x="659" y="1015"/>
                  </a:cubicBezTo>
                  <a:cubicBezTo>
                    <a:pt x="691" y="997"/>
                    <a:pt x="691" y="997"/>
                    <a:pt x="691" y="997"/>
                  </a:cubicBezTo>
                  <a:cubicBezTo>
                    <a:pt x="738" y="978"/>
                    <a:pt x="738" y="978"/>
                    <a:pt x="738" y="978"/>
                  </a:cubicBezTo>
                  <a:cubicBezTo>
                    <a:pt x="738" y="978"/>
                    <a:pt x="694" y="999"/>
                    <a:pt x="689" y="1007"/>
                  </a:cubicBezTo>
                  <a:cubicBezTo>
                    <a:pt x="684" y="1015"/>
                    <a:pt x="685" y="1031"/>
                    <a:pt x="678" y="1033"/>
                  </a:cubicBezTo>
                  <a:cubicBezTo>
                    <a:pt x="671" y="1035"/>
                    <a:pt x="659" y="1028"/>
                    <a:pt x="653" y="1037"/>
                  </a:cubicBezTo>
                  <a:cubicBezTo>
                    <a:pt x="647" y="1046"/>
                    <a:pt x="643" y="1056"/>
                    <a:pt x="638" y="1061"/>
                  </a:cubicBezTo>
                  <a:cubicBezTo>
                    <a:pt x="633" y="1066"/>
                    <a:pt x="618" y="1075"/>
                    <a:pt x="618" y="1075"/>
                  </a:cubicBezTo>
                  <a:cubicBezTo>
                    <a:pt x="654" y="1071"/>
                    <a:pt x="654" y="1071"/>
                    <a:pt x="654" y="1071"/>
                  </a:cubicBezTo>
                  <a:cubicBezTo>
                    <a:pt x="647" y="1083"/>
                    <a:pt x="647" y="1083"/>
                    <a:pt x="647" y="1083"/>
                  </a:cubicBezTo>
                  <a:cubicBezTo>
                    <a:pt x="647" y="1083"/>
                    <a:pt x="677" y="1052"/>
                    <a:pt x="694" y="1055"/>
                  </a:cubicBezTo>
                  <a:cubicBezTo>
                    <a:pt x="711" y="1058"/>
                    <a:pt x="702" y="1063"/>
                    <a:pt x="702" y="1063"/>
                  </a:cubicBezTo>
                  <a:cubicBezTo>
                    <a:pt x="718" y="1061"/>
                    <a:pt x="718" y="1061"/>
                    <a:pt x="718" y="1061"/>
                  </a:cubicBezTo>
                  <a:cubicBezTo>
                    <a:pt x="718" y="1061"/>
                    <a:pt x="705" y="1086"/>
                    <a:pt x="719" y="1086"/>
                  </a:cubicBezTo>
                  <a:cubicBezTo>
                    <a:pt x="733" y="1086"/>
                    <a:pt x="750" y="1064"/>
                    <a:pt x="750" y="1064"/>
                  </a:cubicBezTo>
                  <a:cubicBezTo>
                    <a:pt x="778" y="1051"/>
                    <a:pt x="778" y="1051"/>
                    <a:pt x="778" y="1051"/>
                  </a:cubicBezTo>
                  <a:cubicBezTo>
                    <a:pt x="785" y="1059"/>
                    <a:pt x="785" y="1059"/>
                    <a:pt x="785" y="1059"/>
                  </a:cubicBezTo>
                  <a:cubicBezTo>
                    <a:pt x="765" y="1061"/>
                    <a:pt x="765" y="1061"/>
                    <a:pt x="765" y="1061"/>
                  </a:cubicBezTo>
                  <a:cubicBezTo>
                    <a:pt x="765" y="1061"/>
                    <a:pt x="751" y="1075"/>
                    <a:pt x="762" y="1075"/>
                  </a:cubicBezTo>
                  <a:cubicBezTo>
                    <a:pt x="773" y="1075"/>
                    <a:pt x="819" y="1062"/>
                    <a:pt x="819" y="1062"/>
                  </a:cubicBezTo>
                  <a:cubicBezTo>
                    <a:pt x="847" y="1050"/>
                    <a:pt x="847" y="1050"/>
                    <a:pt x="847" y="1050"/>
                  </a:cubicBezTo>
                  <a:cubicBezTo>
                    <a:pt x="815" y="1067"/>
                    <a:pt x="815" y="1067"/>
                    <a:pt x="815" y="1067"/>
                  </a:cubicBezTo>
                  <a:cubicBezTo>
                    <a:pt x="815" y="1077"/>
                    <a:pt x="815" y="1077"/>
                    <a:pt x="815" y="1077"/>
                  </a:cubicBezTo>
                  <a:cubicBezTo>
                    <a:pt x="815" y="1077"/>
                    <a:pt x="797" y="1078"/>
                    <a:pt x="786" y="1082"/>
                  </a:cubicBezTo>
                  <a:cubicBezTo>
                    <a:pt x="775" y="1086"/>
                    <a:pt x="767" y="1099"/>
                    <a:pt x="767" y="1099"/>
                  </a:cubicBezTo>
                  <a:cubicBezTo>
                    <a:pt x="747" y="1101"/>
                    <a:pt x="747" y="1101"/>
                    <a:pt x="747" y="1101"/>
                  </a:cubicBezTo>
                  <a:cubicBezTo>
                    <a:pt x="723" y="1121"/>
                    <a:pt x="723" y="1121"/>
                    <a:pt x="723" y="1121"/>
                  </a:cubicBezTo>
                  <a:cubicBezTo>
                    <a:pt x="724" y="1130"/>
                    <a:pt x="724" y="1130"/>
                    <a:pt x="724" y="1130"/>
                  </a:cubicBezTo>
                  <a:cubicBezTo>
                    <a:pt x="697" y="1133"/>
                    <a:pt x="697" y="1133"/>
                    <a:pt x="697" y="1133"/>
                  </a:cubicBezTo>
                  <a:cubicBezTo>
                    <a:pt x="697" y="1133"/>
                    <a:pt x="652" y="1142"/>
                    <a:pt x="647" y="1149"/>
                  </a:cubicBezTo>
                  <a:cubicBezTo>
                    <a:pt x="642" y="1156"/>
                    <a:pt x="645" y="1170"/>
                    <a:pt x="636" y="1170"/>
                  </a:cubicBezTo>
                  <a:cubicBezTo>
                    <a:pt x="627" y="1170"/>
                    <a:pt x="600" y="1170"/>
                    <a:pt x="584" y="1172"/>
                  </a:cubicBezTo>
                  <a:cubicBezTo>
                    <a:pt x="568" y="1174"/>
                    <a:pt x="515" y="1213"/>
                    <a:pt x="515" y="1213"/>
                  </a:cubicBezTo>
                  <a:cubicBezTo>
                    <a:pt x="500" y="1216"/>
                    <a:pt x="500" y="1216"/>
                    <a:pt x="500" y="1216"/>
                  </a:cubicBezTo>
                  <a:cubicBezTo>
                    <a:pt x="491" y="1226"/>
                    <a:pt x="491" y="1226"/>
                    <a:pt x="491" y="1226"/>
                  </a:cubicBezTo>
                  <a:cubicBezTo>
                    <a:pt x="490" y="1215"/>
                    <a:pt x="490" y="1215"/>
                    <a:pt x="490" y="1215"/>
                  </a:cubicBezTo>
                  <a:cubicBezTo>
                    <a:pt x="490" y="1215"/>
                    <a:pt x="458" y="1211"/>
                    <a:pt x="447" y="1217"/>
                  </a:cubicBezTo>
                  <a:cubicBezTo>
                    <a:pt x="436" y="1223"/>
                    <a:pt x="412" y="1233"/>
                    <a:pt x="412" y="1233"/>
                  </a:cubicBezTo>
                  <a:cubicBezTo>
                    <a:pt x="403" y="1231"/>
                    <a:pt x="403" y="1231"/>
                    <a:pt x="403" y="1231"/>
                  </a:cubicBezTo>
                  <a:cubicBezTo>
                    <a:pt x="404" y="1239"/>
                    <a:pt x="404" y="1239"/>
                    <a:pt x="404" y="1239"/>
                  </a:cubicBezTo>
                  <a:cubicBezTo>
                    <a:pt x="385" y="1242"/>
                    <a:pt x="385" y="1242"/>
                    <a:pt x="385" y="1242"/>
                  </a:cubicBezTo>
                  <a:cubicBezTo>
                    <a:pt x="378" y="1248"/>
                    <a:pt x="378" y="1248"/>
                    <a:pt x="378" y="1248"/>
                  </a:cubicBezTo>
                  <a:cubicBezTo>
                    <a:pt x="362" y="1246"/>
                    <a:pt x="362" y="1246"/>
                    <a:pt x="362" y="1246"/>
                  </a:cubicBezTo>
                  <a:cubicBezTo>
                    <a:pt x="345" y="1261"/>
                    <a:pt x="345" y="1261"/>
                    <a:pt x="345" y="1261"/>
                  </a:cubicBezTo>
                  <a:cubicBezTo>
                    <a:pt x="350" y="1267"/>
                    <a:pt x="350" y="1267"/>
                    <a:pt x="350" y="1267"/>
                  </a:cubicBezTo>
                  <a:cubicBezTo>
                    <a:pt x="360" y="1255"/>
                    <a:pt x="360" y="1255"/>
                    <a:pt x="360" y="1255"/>
                  </a:cubicBezTo>
                  <a:cubicBezTo>
                    <a:pt x="373" y="1262"/>
                    <a:pt x="373" y="1262"/>
                    <a:pt x="373" y="1262"/>
                  </a:cubicBezTo>
                  <a:cubicBezTo>
                    <a:pt x="387" y="1250"/>
                    <a:pt x="387" y="1250"/>
                    <a:pt x="387" y="1250"/>
                  </a:cubicBezTo>
                  <a:cubicBezTo>
                    <a:pt x="388" y="1258"/>
                    <a:pt x="388" y="1258"/>
                    <a:pt x="388" y="1258"/>
                  </a:cubicBezTo>
                  <a:cubicBezTo>
                    <a:pt x="388" y="1258"/>
                    <a:pt x="409" y="1257"/>
                    <a:pt x="417" y="1250"/>
                  </a:cubicBezTo>
                  <a:cubicBezTo>
                    <a:pt x="425" y="1243"/>
                    <a:pt x="441" y="1229"/>
                    <a:pt x="450" y="1227"/>
                  </a:cubicBezTo>
                  <a:cubicBezTo>
                    <a:pt x="459" y="1225"/>
                    <a:pt x="451" y="1241"/>
                    <a:pt x="464" y="1241"/>
                  </a:cubicBezTo>
                  <a:cubicBezTo>
                    <a:pt x="477" y="1241"/>
                    <a:pt x="514" y="1225"/>
                    <a:pt x="514" y="1225"/>
                  </a:cubicBezTo>
                  <a:cubicBezTo>
                    <a:pt x="536" y="1231"/>
                    <a:pt x="536" y="1231"/>
                    <a:pt x="536" y="1231"/>
                  </a:cubicBezTo>
                  <a:cubicBezTo>
                    <a:pt x="548" y="1219"/>
                    <a:pt x="548" y="1219"/>
                    <a:pt x="548" y="1219"/>
                  </a:cubicBezTo>
                  <a:cubicBezTo>
                    <a:pt x="548" y="1219"/>
                    <a:pt x="585" y="1217"/>
                    <a:pt x="596" y="1208"/>
                  </a:cubicBezTo>
                  <a:cubicBezTo>
                    <a:pt x="607" y="1199"/>
                    <a:pt x="619" y="1185"/>
                    <a:pt x="628" y="1184"/>
                  </a:cubicBezTo>
                  <a:cubicBezTo>
                    <a:pt x="637" y="1183"/>
                    <a:pt x="649" y="1183"/>
                    <a:pt x="649" y="1183"/>
                  </a:cubicBezTo>
                  <a:cubicBezTo>
                    <a:pt x="653" y="1176"/>
                    <a:pt x="653" y="1176"/>
                    <a:pt x="653" y="1176"/>
                  </a:cubicBezTo>
                  <a:cubicBezTo>
                    <a:pt x="677" y="1176"/>
                    <a:pt x="677" y="1176"/>
                    <a:pt x="677" y="1176"/>
                  </a:cubicBezTo>
                  <a:cubicBezTo>
                    <a:pt x="684" y="1170"/>
                    <a:pt x="684" y="1170"/>
                    <a:pt x="684" y="1170"/>
                  </a:cubicBezTo>
                  <a:cubicBezTo>
                    <a:pt x="684" y="1170"/>
                    <a:pt x="717" y="1163"/>
                    <a:pt x="732" y="1156"/>
                  </a:cubicBezTo>
                  <a:cubicBezTo>
                    <a:pt x="747" y="1149"/>
                    <a:pt x="762" y="1135"/>
                    <a:pt x="762" y="1135"/>
                  </a:cubicBezTo>
                  <a:cubicBezTo>
                    <a:pt x="803" y="1129"/>
                    <a:pt x="803" y="1129"/>
                    <a:pt x="803" y="1129"/>
                  </a:cubicBezTo>
                  <a:cubicBezTo>
                    <a:pt x="841" y="1107"/>
                    <a:pt x="841" y="1107"/>
                    <a:pt x="841" y="1107"/>
                  </a:cubicBezTo>
                  <a:cubicBezTo>
                    <a:pt x="841" y="1107"/>
                    <a:pt x="885" y="1106"/>
                    <a:pt x="892" y="1099"/>
                  </a:cubicBezTo>
                  <a:cubicBezTo>
                    <a:pt x="899" y="1092"/>
                    <a:pt x="912" y="1080"/>
                    <a:pt x="912" y="1080"/>
                  </a:cubicBezTo>
                  <a:cubicBezTo>
                    <a:pt x="912" y="1080"/>
                    <a:pt x="954" y="1073"/>
                    <a:pt x="958" y="1065"/>
                  </a:cubicBezTo>
                  <a:cubicBezTo>
                    <a:pt x="962" y="1057"/>
                    <a:pt x="947" y="1057"/>
                    <a:pt x="947" y="1057"/>
                  </a:cubicBezTo>
                  <a:cubicBezTo>
                    <a:pt x="947" y="1057"/>
                    <a:pt x="970" y="1041"/>
                    <a:pt x="979" y="1036"/>
                  </a:cubicBezTo>
                  <a:cubicBezTo>
                    <a:pt x="988" y="1031"/>
                    <a:pt x="1015" y="1024"/>
                    <a:pt x="1015" y="1024"/>
                  </a:cubicBezTo>
                  <a:cubicBezTo>
                    <a:pt x="1066" y="1005"/>
                    <a:pt x="1066" y="1005"/>
                    <a:pt x="1066" y="1005"/>
                  </a:cubicBezTo>
                  <a:cubicBezTo>
                    <a:pt x="1060" y="992"/>
                    <a:pt x="1060" y="992"/>
                    <a:pt x="1060" y="992"/>
                  </a:cubicBezTo>
                  <a:cubicBezTo>
                    <a:pt x="1060" y="992"/>
                    <a:pt x="1083" y="998"/>
                    <a:pt x="1090" y="993"/>
                  </a:cubicBezTo>
                  <a:cubicBezTo>
                    <a:pt x="1097" y="988"/>
                    <a:pt x="1130" y="973"/>
                    <a:pt x="1130" y="973"/>
                  </a:cubicBezTo>
                  <a:cubicBezTo>
                    <a:pt x="1130" y="973"/>
                    <a:pt x="1188" y="949"/>
                    <a:pt x="1196" y="946"/>
                  </a:cubicBezTo>
                  <a:cubicBezTo>
                    <a:pt x="1204" y="943"/>
                    <a:pt x="1234" y="964"/>
                    <a:pt x="1234" y="964"/>
                  </a:cubicBezTo>
                  <a:cubicBezTo>
                    <a:pt x="1210" y="964"/>
                    <a:pt x="1210" y="964"/>
                    <a:pt x="1210" y="964"/>
                  </a:cubicBezTo>
                  <a:cubicBezTo>
                    <a:pt x="1197" y="956"/>
                    <a:pt x="1197" y="956"/>
                    <a:pt x="1197" y="956"/>
                  </a:cubicBezTo>
                  <a:cubicBezTo>
                    <a:pt x="1174" y="972"/>
                    <a:pt x="1174" y="972"/>
                    <a:pt x="1174" y="972"/>
                  </a:cubicBezTo>
                  <a:cubicBezTo>
                    <a:pt x="1151" y="972"/>
                    <a:pt x="1151" y="972"/>
                    <a:pt x="1151" y="972"/>
                  </a:cubicBezTo>
                  <a:cubicBezTo>
                    <a:pt x="1151" y="972"/>
                    <a:pt x="1128" y="994"/>
                    <a:pt x="1119" y="997"/>
                  </a:cubicBezTo>
                  <a:cubicBezTo>
                    <a:pt x="1110" y="1000"/>
                    <a:pt x="1071" y="1006"/>
                    <a:pt x="1075" y="1015"/>
                  </a:cubicBezTo>
                  <a:cubicBezTo>
                    <a:pt x="1079" y="1024"/>
                    <a:pt x="1099" y="1023"/>
                    <a:pt x="1099" y="1023"/>
                  </a:cubicBezTo>
                  <a:cubicBezTo>
                    <a:pt x="1099" y="1023"/>
                    <a:pt x="1079" y="1031"/>
                    <a:pt x="1075" y="1031"/>
                  </a:cubicBezTo>
                  <a:cubicBezTo>
                    <a:pt x="1071" y="1031"/>
                    <a:pt x="1042" y="1030"/>
                    <a:pt x="1042" y="1036"/>
                  </a:cubicBezTo>
                  <a:cubicBezTo>
                    <a:pt x="1042" y="1042"/>
                    <a:pt x="1045" y="1055"/>
                    <a:pt x="1065" y="1047"/>
                  </a:cubicBezTo>
                  <a:cubicBezTo>
                    <a:pt x="1085" y="1039"/>
                    <a:pt x="1129" y="1015"/>
                    <a:pt x="1147" y="1011"/>
                  </a:cubicBezTo>
                  <a:cubicBezTo>
                    <a:pt x="1165" y="1007"/>
                    <a:pt x="1197" y="1016"/>
                    <a:pt x="1211" y="1009"/>
                  </a:cubicBezTo>
                  <a:cubicBezTo>
                    <a:pt x="1225" y="1002"/>
                    <a:pt x="1247" y="981"/>
                    <a:pt x="1247" y="981"/>
                  </a:cubicBezTo>
                  <a:cubicBezTo>
                    <a:pt x="1245" y="971"/>
                    <a:pt x="1245" y="971"/>
                    <a:pt x="1245" y="971"/>
                  </a:cubicBezTo>
                  <a:cubicBezTo>
                    <a:pt x="1245" y="971"/>
                    <a:pt x="1299" y="950"/>
                    <a:pt x="1309" y="951"/>
                  </a:cubicBezTo>
                  <a:cubicBezTo>
                    <a:pt x="1319" y="952"/>
                    <a:pt x="1322" y="962"/>
                    <a:pt x="1322" y="962"/>
                  </a:cubicBezTo>
                  <a:cubicBezTo>
                    <a:pt x="1364" y="949"/>
                    <a:pt x="1364" y="949"/>
                    <a:pt x="1364" y="949"/>
                  </a:cubicBezTo>
                  <a:cubicBezTo>
                    <a:pt x="1336" y="971"/>
                    <a:pt x="1336" y="971"/>
                    <a:pt x="1336" y="971"/>
                  </a:cubicBezTo>
                  <a:cubicBezTo>
                    <a:pt x="1350" y="977"/>
                    <a:pt x="1350" y="977"/>
                    <a:pt x="1350" y="977"/>
                  </a:cubicBezTo>
                  <a:cubicBezTo>
                    <a:pt x="1350" y="977"/>
                    <a:pt x="1346" y="989"/>
                    <a:pt x="1350" y="989"/>
                  </a:cubicBezTo>
                  <a:cubicBezTo>
                    <a:pt x="1354" y="989"/>
                    <a:pt x="1395" y="964"/>
                    <a:pt x="1395" y="964"/>
                  </a:cubicBezTo>
                  <a:cubicBezTo>
                    <a:pt x="1395" y="964"/>
                    <a:pt x="1356" y="994"/>
                    <a:pt x="1367" y="999"/>
                  </a:cubicBezTo>
                  <a:cubicBezTo>
                    <a:pt x="1378" y="1004"/>
                    <a:pt x="1406" y="1005"/>
                    <a:pt x="1406" y="1005"/>
                  </a:cubicBezTo>
                  <a:cubicBezTo>
                    <a:pt x="1472" y="1011"/>
                    <a:pt x="1472" y="1011"/>
                    <a:pt x="1472" y="1011"/>
                  </a:cubicBezTo>
                  <a:cubicBezTo>
                    <a:pt x="1493" y="998"/>
                    <a:pt x="1493" y="998"/>
                    <a:pt x="1493" y="998"/>
                  </a:cubicBezTo>
                  <a:cubicBezTo>
                    <a:pt x="1493" y="998"/>
                    <a:pt x="1480" y="1020"/>
                    <a:pt x="1491" y="1021"/>
                  </a:cubicBezTo>
                  <a:cubicBezTo>
                    <a:pt x="1502" y="1022"/>
                    <a:pt x="1534" y="1020"/>
                    <a:pt x="1534" y="1020"/>
                  </a:cubicBezTo>
                  <a:cubicBezTo>
                    <a:pt x="1556" y="1014"/>
                    <a:pt x="1556" y="1014"/>
                    <a:pt x="1556" y="1014"/>
                  </a:cubicBezTo>
                  <a:cubicBezTo>
                    <a:pt x="1556" y="1014"/>
                    <a:pt x="1517" y="1028"/>
                    <a:pt x="1520" y="1036"/>
                  </a:cubicBezTo>
                  <a:cubicBezTo>
                    <a:pt x="1523" y="1044"/>
                    <a:pt x="1541" y="1052"/>
                    <a:pt x="1541" y="1052"/>
                  </a:cubicBezTo>
                  <a:cubicBezTo>
                    <a:pt x="1541" y="1052"/>
                    <a:pt x="1539" y="1088"/>
                    <a:pt x="1551" y="1088"/>
                  </a:cubicBezTo>
                  <a:cubicBezTo>
                    <a:pt x="1563" y="1088"/>
                    <a:pt x="1594" y="1085"/>
                    <a:pt x="1594" y="1085"/>
                  </a:cubicBezTo>
                  <a:cubicBezTo>
                    <a:pt x="1587" y="1064"/>
                    <a:pt x="1587" y="1064"/>
                    <a:pt x="1587" y="1064"/>
                  </a:cubicBezTo>
                  <a:cubicBezTo>
                    <a:pt x="1601" y="1059"/>
                    <a:pt x="1601" y="1059"/>
                    <a:pt x="1601" y="1059"/>
                  </a:cubicBezTo>
                  <a:cubicBezTo>
                    <a:pt x="1610" y="1070"/>
                    <a:pt x="1610" y="1070"/>
                    <a:pt x="1610" y="1070"/>
                  </a:cubicBezTo>
                  <a:cubicBezTo>
                    <a:pt x="1630" y="1064"/>
                    <a:pt x="1630" y="1064"/>
                    <a:pt x="1630" y="1064"/>
                  </a:cubicBezTo>
                  <a:cubicBezTo>
                    <a:pt x="1630" y="1064"/>
                    <a:pt x="1610" y="1087"/>
                    <a:pt x="1621" y="1091"/>
                  </a:cubicBezTo>
                  <a:cubicBezTo>
                    <a:pt x="1632" y="1095"/>
                    <a:pt x="1650" y="1065"/>
                    <a:pt x="1650" y="1065"/>
                  </a:cubicBezTo>
                  <a:cubicBezTo>
                    <a:pt x="1670" y="1036"/>
                    <a:pt x="1670" y="1036"/>
                    <a:pt x="1670" y="1036"/>
                  </a:cubicBezTo>
                  <a:cubicBezTo>
                    <a:pt x="1652" y="1078"/>
                    <a:pt x="1652" y="1078"/>
                    <a:pt x="1652" y="1078"/>
                  </a:cubicBezTo>
                  <a:cubicBezTo>
                    <a:pt x="1656" y="1094"/>
                    <a:pt x="1656" y="1094"/>
                    <a:pt x="1656" y="1094"/>
                  </a:cubicBezTo>
                  <a:cubicBezTo>
                    <a:pt x="1679" y="1086"/>
                    <a:pt x="1679" y="1086"/>
                    <a:pt x="1679" y="1086"/>
                  </a:cubicBezTo>
                  <a:cubicBezTo>
                    <a:pt x="1664" y="1102"/>
                    <a:pt x="1664" y="1102"/>
                    <a:pt x="1664" y="1102"/>
                  </a:cubicBezTo>
                  <a:cubicBezTo>
                    <a:pt x="1681" y="1117"/>
                    <a:pt x="1681" y="1117"/>
                    <a:pt x="1681" y="1117"/>
                  </a:cubicBezTo>
                  <a:cubicBezTo>
                    <a:pt x="1669" y="1114"/>
                    <a:pt x="1669" y="1114"/>
                    <a:pt x="1669" y="1114"/>
                  </a:cubicBezTo>
                  <a:cubicBezTo>
                    <a:pt x="1667" y="1126"/>
                    <a:pt x="1667" y="1126"/>
                    <a:pt x="1667" y="1126"/>
                  </a:cubicBezTo>
                  <a:cubicBezTo>
                    <a:pt x="1648" y="1139"/>
                    <a:pt x="1648" y="1139"/>
                    <a:pt x="1648" y="1139"/>
                  </a:cubicBezTo>
                  <a:cubicBezTo>
                    <a:pt x="1636" y="1149"/>
                    <a:pt x="1636" y="1149"/>
                    <a:pt x="1636" y="1149"/>
                  </a:cubicBezTo>
                  <a:cubicBezTo>
                    <a:pt x="1657" y="1160"/>
                    <a:pt x="1657" y="1160"/>
                    <a:pt x="1657" y="1160"/>
                  </a:cubicBezTo>
                  <a:cubicBezTo>
                    <a:pt x="1654" y="1181"/>
                    <a:pt x="1654" y="1181"/>
                    <a:pt x="1654" y="1181"/>
                  </a:cubicBezTo>
                  <a:cubicBezTo>
                    <a:pt x="1642" y="1193"/>
                    <a:pt x="1642" y="1193"/>
                    <a:pt x="1642" y="1193"/>
                  </a:cubicBezTo>
                  <a:cubicBezTo>
                    <a:pt x="1654" y="1198"/>
                    <a:pt x="1654" y="1198"/>
                    <a:pt x="1654" y="1198"/>
                  </a:cubicBezTo>
                  <a:cubicBezTo>
                    <a:pt x="1639" y="1212"/>
                    <a:pt x="1639" y="1212"/>
                    <a:pt x="1639" y="1212"/>
                  </a:cubicBezTo>
                  <a:cubicBezTo>
                    <a:pt x="1660" y="1212"/>
                    <a:pt x="1660" y="1212"/>
                    <a:pt x="1660" y="1212"/>
                  </a:cubicBezTo>
                  <a:cubicBezTo>
                    <a:pt x="1685" y="1203"/>
                    <a:pt x="1685" y="1203"/>
                    <a:pt x="1685" y="1203"/>
                  </a:cubicBezTo>
                  <a:cubicBezTo>
                    <a:pt x="1663" y="1229"/>
                    <a:pt x="1663" y="1229"/>
                    <a:pt x="1663" y="1229"/>
                  </a:cubicBezTo>
                  <a:cubicBezTo>
                    <a:pt x="1652" y="1239"/>
                    <a:pt x="1652" y="1239"/>
                    <a:pt x="1652" y="1239"/>
                  </a:cubicBezTo>
                  <a:cubicBezTo>
                    <a:pt x="1667" y="1244"/>
                    <a:pt x="1667" y="1244"/>
                    <a:pt x="1667" y="1244"/>
                  </a:cubicBezTo>
                  <a:cubicBezTo>
                    <a:pt x="1637" y="1256"/>
                    <a:pt x="1637" y="1256"/>
                    <a:pt x="1637" y="1256"/>
                  </a:cubicBezTo>
                  <a:cubicBezTo>
                    <a:pt x="1623" y="1264"/>
                    <a:pt x="1623" y="1264"/>
                    <a:pt x="1623" y="1264"/>
                  </a:cubicBezTo>
                  <a:cubicBezTo>
                    <a:pt x="1637" y="1270"/>
                    <a:pt x="1637" y="1270"/>
                    <a:pt x="1637" y="1270"/>
                  </a:cubicBezTo>
                  <a:cubicBezTo>
                    <a:pt x="1637" y="1270"/>
                    <a:pt x="1636" y="1273"/>
                    <a:pt x="1634" y="1277"/>
                  </a:cubicBezTo>
                  <a:cubicBezTo>
                    <a:pt x="1632" y="1282"/>
                    <a:pt x="1631" y="1287"/>
                    <a:pt x="1630" y="1291"/>
                  </a:cubicBezTo>
                  <a:cubicBezTo>
                    <a:pt x="1629" y="1298"/>
                    <a:pt x="1624" y="1312"/>
                    <a:pt x="1624" y="1312"/>
                  </a:cubicBezTo>
                  <a:cubicBezTo>
                    <a:pt x="1615" y="1318"/>
                    <a:pt x="1615" y="1318"/>
                    <a:pt x="1615" y="1318"/>
                  </a:cubicBezTo>
                  <a:cubicBezTo>
                    <a:pt x="1615" y="1318"/>
                    <a:pt x="1624" y="1322"/>
                    <a:pt x="1625" y="1329"/>
                  </a:cubicBezTo>
                  <a:cubicBezTo>
                    <a:pt x="1626" y="1336"/>
                    <a:pt x="1633" y="1339"/>
                    <a:pt x="1633" y="1339"/>
                  </a:cubicBezTo>
                  <a:cubicBezTo>
                    <a:pt x="1633" y="1339"/>
                    <a:pt x="1683" y="1300"/>
                    <a:pt x="1683" y="1309"/>
                  </a:cubicBezTo>
                  <a:cubicBezTo>
                    <a:pt x="1683" y="1318"/>
                    <a:pt x="1667" y="1319"/>
                    <a:pt x="1665" y="1324"/>
                  </a:cubicBezTo>
                  <a:cubicBezTo>
                    <a:pt x="1663" y="1329"/>
                    <a:pt x="1667" y="1339"/>
                    <a:pt x="1667" y="1339"/>
                  </a:cubicBezTo>
                  <a:cubicBezTo>
                    <a:pt x="1676" y="1346"/>
                    <a:pt x="1676" y="1346"/>
                    <a:pt x="1676" y="1346"/>
                  </a:cubicBezTo>
                  <a:cubicBezTo>
                    <a:pt x="1647" y="1345"/>
                    <a:pt x="1647" y="1345"/>
                    <a:pt x="1647" y="1345"/>
                  </a:cubicBezTo>
                  <a:cubicBezTo>
                    <a:pt x="1647" y="1345"/>
                    <a:pt x="1625" y="1372"/>
                    <a:pt x="1635" y="1373"/>
                  </a:cubicBezTo>
                  <a:cubicBezTo>
                    <a:pt x="1645" y="1374"/>
                    <a:pt x="1651" y="1380"/>
                    <a:pt x="1651" y="1380"/>
                  </a:cubicBezTo>
                  <a:cubicBezTo>
                    <a:pt x="1651" y="1380"/>
                    <a:pt x="1639" y="1401"/>
                    <a:pt x="1646" y="1398"/>
                  </a:cubicBezTo>
                  <a:cubicBezTo>
                    <a:pt x="1653" y="1395"/>
                    <a:pt x="1694" y="1367"/>
                    <a:pt x="1694" y="1367"/>
                  </a:cubicBezTo>
                  <a:cubicBezTo>
                    <a:pt x="1693" y="1376"/>
                    <a:pt x="1693" y="1376"/>
                    <a:pt x="1693" y="1376"/>
                  </a:cubicBezTo>
                  <a:cubicBezTo>
                    <a:pt x="1674" y="1387"/>
                    <a:pt x="1674" y="1387"/>
                    <a:pt x="1674" y="1387"/>
                  </a:cubicBezTo>
                  <a:cubicBezTo>
                    <a:pt x="1689" y="1393"/>
                    <a:pt x="1689" y="1393"/>
                    <a:pt x="1689" y="1393"/>
                  </a:cubicBezTo>
                  <a:cubicBezTo>
                    <a:pt x="1689" y="1393"/>
                    <a:pt x="1684" y="1413"/>
                    <a:pt x="1676" y="1411"/>
                  </a:cubicBezTo>
                  <a:cubicBezTo>
                    <a:pt x="1668" y="1409"/>
                    <a:pt x="1666" y="1400"/>
                    <a:pt x="1666" y="1400"/>
                  </a:cubicBezTo>
                  <a:cubicBezTo>
                    <a:pt x="1666" y="1400"/>
                    <a:pt x="1633" y="1410"/>
                    <a:pt x="1627" y="1416"/>
                  </a:cubicBezTo>
                  <a:cubicBezTo>
                    <a:pt x="1621" y="1422"/>
                    <a:pt x="1615" y="1430"/>
                    <a:pt x="1615" y="1430"/>
                  </a:cubicBezTo>
                  <a:cubicBezTo>
                    <a:pt x="1615" y="1430"/>
                    <a:pt x="1633" y="1425"/>
                    <a:pt x="1638" y="1425"/>
                  </a:cubicBezTo>
                  <a:cubicBezTo>
                    <a:pt x="1643" y="1425"/>
                    <a:pt x="1664" y="1425"/>
                    <a:pt x="1664" y="1425"/>
                  </a:cubicBezTo>
                  <a:cubicBezTo>
                    <a:pt x="1664" y="1425"/>
                    <a:pt x="1628" y="1434"/>
                    <a:pt x="1622" y="1437"/>
                  </a:cubicBezTo>
                  <a:cubicBezTo>
                    <a:pt x="1616" y="1440"/>
                    <a:pt x="1620" y="1448"/>
                    <a:pt x="1620" y="1448"/>
                  </a:cubicBezTo>
                  <a:cubicBezTo>
                    <a:pt x="1620" y="1448"/>
                    <a:pt x="1587" y="1436"/>
                    <a:pt x="1596" y="1450"/>
                  </a:cubicBezTo>
                  <a:cubicBezTo>
                    <a:pt x="1605" y="1464"/>
                    <a:pt x="1614" y="1468"/>
                    <a:pt x="1614" y="1468"/>
                  </a:cubicBezTo>
                  <a:cubicBezTo>
                    <a:pt x="1646" y="1457"/>
                    <a:pt x="1646" y="1457"/>
                    <a:pt x="1646" y="1457"/>
                  </a:cubicBezTo>
                  <a:cubicBezTo>
                    <a:pt x="1655" y="1472"/>
                    <a:pt x="1655" y="1472"/>
                    <a:pt x="1655" y="1472"/>
                  </a:cubicBezTo>
                  <a:cubicBezTo>
                    <a:pt x="1680" y="1458"/>
                    <a:pt x="1680" y="1458"/>
                    <a:pt x="1680" y="1458"/>
                  </a:cubicBezTo>
                  <a:cubicBezTo>
                    <a:pt x="1680" y="1458"/>
                    <a:pt x="1647" y="1492"/>
                    <a:pt x="1658" y="1491"/>
                  </a:cubicBezTo>
                  <a:cubicBezTo>
                    <a:pt x="1669" y="1490"/>
                    <a:pt x="1699" y="1467"/>
                    <a:pt x="1699" y="1467"/>
                  </a:cubicBezTo>
                  <a:cubicBezTo>
                    <a:pt x="1699" y="1467"/>
                    <a:pt x="1672" y="1497"/>
                    <a:pt x="1676" y="1497"/>
                  </a:cubicBezTo>
                  <a:cubicBezTo>
                    <a:pt x="1680" y="1497"/>
                    <a:pt x="1698" y="1492"/>
                    <a:pt x="1698" y="1492"/>
                  </a:cubicBezTo>
                  <a:cubicBezTo>
                    <a:pt x="1698" y="1492"/>
                    <a:pt x="1660" y="1521"/>
                    <a:pt x="1672" y="1522"/>
                  </a:cubicBezTo>
                  <a:cubicBezTo>
                    <a:pt x="1684" y="1523"/>
                    <a:pt x="1711" y="1503"/>
                    <a:pt x="1711" y="1503"/>
                  </a:cubicBezTo>
                  <a:cubicBezTo>
                    <a:pt x="1711" y="1503"/>
                    <a:pt x="1685" y="1531"/>
                    <a:pt x="1692" y="1533"/>
                  </a:cubicBezTo>
                  <a:cubicBezTo>
                    <a:pt x="1699" y="1535"/>
                    <a:pt x="1715" y="1539"/>
                    <a:pt x="1715" y="1542"/>
                  </a:cubicBezTo>
                  <a:cubicBezTo>
                    <a:pt x="1715" y="1544"/>
                    <a:pt x="1713" y="1561"/>
                    <a:pt x="1710" y="1574"/>
                  </a:cubicBezTo>
                  <a:cubicBezTo>
                    <a:pt x="1710" y="1574"/>
                    <a:pt x="1710" y="1574"/>
                    <a:pt x="1710" y="1574"/>
                  </a:cubicBezTo>
                  <a:cubicBezTo>
                    <a:pt x="1709" y="1581"/>
                    <a:pt x="1707" y="1587"/>
                    <a:pt x="1706" y="1589"/>
                  </a:cubicBezTo>
                  <a:cubicBezTo>
                    <a:pt x="1702" y="1595"/>
                    <a:pt x="1701" y="1619"/>
                    <a:pt x="1701" y="1619"/>
                  </a:cubicBezTo>
                  <a:cubicBezTo>
                    <a:pt x="1679" y="1631"/>
                    <a:pt x="1679" y="1631"/>
                    <a:pt x="1679" y="1631"/>
                  </a:cubicBezTo>
                  <a:cubicBezTo>
                    <a:pt x="1677" y="1643"/>
                    <a:pt x="1677" y="1643"/>
                    <a:pt x="1677" y="1643"/>
                  </a:cubicBezTo>
                  <a:cubicBezTo>
                    <a:pt x="1666" y="1658"/>
                    <a:pt x="1666" y="1658"/>
                    <a:pt x="1666" y="1658"/>
                  </a:cubicBezTo>
                  <a:cubicBezTo>
                    <a:pt x="1634" y="1669"/>
                    <a:pt x="1634" y="1669"/>
                    <a:pt x="1634" y="1669"/>
                  </a:cubicBezTo>
                  <a:cubicBezTo>
                    <a:pt x="1657" y="1656"/>
                    <a:pt x="1657" y="1656"/>
                    <a:pt x="1657" y="1656"/>
                  </a:cubicBezTo>
                  <a:cubicBezTo>
                    <a:pt x="1642" y="1654"/>
                    <a:pt x="1642" y="1654"/>
                    <a:pt x="1642" y="1654"/>
                  </a:cubicBezTo>
                  <a:cubicBezTo>
                    <a:pt x="1642" y="1654"/>
                    <a:pt x="1656" y="1634"/>
                    <a:pt x="1660" y="1631"/>
                  </a:cubicBezTo>
                  <a:cubicBezTo>
                    <a:pt x="1664" y="1628"/>
                    <a:pt x="1684" y="1614"/>
                    <a:pt x="1674" y="1614"/>
                  </a:cubicBezTo>
                  <a:cubicBezTo>
                    <a:pt x="1664" y="1614"/>
                    <a:pt x="1655" y="1616"/>
                    <a:pt x="1645" y="1615"/>
                  </a:cubicBezTo>
                  <a:cubicBezTo>
                    <a:pt x="1635" y="1614"/>
                    <a:pt x="1626" y="1596"/>
                    <a:pt x="1617" y="1600"/>
                  </a:cubicBezTo>
                  <a:cubicBezTo>
                    <a:pt x="1608" y="1604"/>
                    <a:pt x="1599" y="1596"/>
                    <a:pt x="1597" y="1617"/>
                  </a:cubicBezTo>
                  <a:cubicBezTo>
                    <a:pt x="1595" y="1638"/>
                    <a:pt x="1597" y="1650"/>
                    <a:pt x="1594" y="1652"/>
                  </a:cubicBezTo>
                  <a:cubicBezTo>
                    <a:pt x="1591" y="1654"/>
                    <a:pt x="1581" y="1669"/>
                    <a:pt x="1581" y="1669"/>
                  </a:cubicBezTo>
                  <a:cubicBezTo>
                    <a:pt x="1599" y="1673"/>
                    <a:pt x="1599" y="1673"/>
                    <a:pt x="1599" y="1673"/>
                  </a:cubicBezTo>
                  <a:cubicBezTo>
                    <a:pt x="1580" y="1676"/>
                    <a:pt x="1580" y="1676"/>
                    <a:pt x="1580" y="1676"/>
                  </a:cubicBezTo>
                  <a:cubicBezTo>
                    <a:pt x="1583" y="1687"/>
                    <a:pt x="1583" y="1687"/>
                    <a:pt x="1583" y="1687"/>
                  </a:cubicBezTo>
                  <a:cubicBezTo>
                    <a:pt x="1572" y="1704"/>
                    <a:pt x="1572" y="1704"/>
                    <a:pt x="1572" y="1704"/>
                  </a:cubicBezTo>
                  <a:cubicBezTo>
                    <a:pt x="1572" y="1704"/>
                    <a:pt x="1593" y="1712"/>
                    <a:pt x="1592" y="1716"/>
                  </a:cubicBezTo>
                  <a:cubicBezTo>
                    <a:pt x="1591" y="1720"/>
                    <a:pt x="1560" y="1714"/>
                    <a:pt x="1560" y="1714"/>
                  </a:cubicBezTo>
                  <a:cubicBezTo>
                    <a:pt x="1560" y="1714"/>
                    <a:pt x="1521" y="1774"/>
                    <a:pt x="1511" y="1786"/>
                  </a:cubicBezTo>
                  <a:cubicBezTo>
                    <a:pt x="1501" y="1798"/>
                    <a:pt x="1454" y="1854"/>
                    <a:pt x="1454" y="1854"/>
                  </a:cubicBezTo>
                  <a:cubicBezTo>
                    <a:pt x="1456" y="1869"/>
                    <a:pt x="1456" y="1869"/>
                    <a:pt x="1456" y="1869"/>
                  </a:cubicBezTo>
                  <a:cubicBezTo>
                    <a:pt x="1456" y="1869"/>
                    <a:pt x="1443" y="1871"/>
                    <a:pt x="1432" y="1883"/>
                  </a:cubicBezTo>
                  <a:cubicBezTo>
                    <a:pt x="1421" y="1895"/>
                    <a:pt x="1421" y="1913"/>
                    <a:pt x="1421" y="1913"/>
                  </a:cubicBezTo>
                  <a:cubicBezTo>
                    <a:pt x="1408" y="1926"/>
                    <a:pt x="1408" y="1926"/>
                    <a:pt x="1408" y="1926"/>
                  </a:cubicBezTo>
                  <a:cubicBezTo>
                    <a:pt x="1405" y="1960"/>
                    <a:pt x="1405" y="1960"/>
                    <a:pt x="1405" y="1960"/>
                  </a:cubicBezTo>
                  <a:cubicBezTo>
                    <a:pt x="1405" y="1960"/>
                    <a:pt x="1381" y="1992"/>
                    <a:pt x="1375" y="1998"/>
                  </a:cubicBezTo>
                  <a:cubicBezTo>
                    <a:pt x="1369" y="2004"/>
                    <a:pt x="1348" y="2016"/>
                    <a:pt x="1350" y="2027"/>
                  </a:cubicBezTo>
                  <a:cubicBezTo>
                    <a:pt x="1352" y="2038"/>
                    <a:pt x="1368" y="2045"/>
                    <a:pt x="1365" y="2055"/>
                  </a:cubicBezTo>
                  <a:cubicBezTo>
                    <a:pt x="1362" y="2065"/>
                    <a:pt x="1342" y="2089"/>
                    <a:pt x="1342" y="2101"/>
                  </a:cubicBezTo>
                  <a:cubicBezTo>
                    <a:pt x="1342" y="2113"/>
                    <a:pt x="1355" y="2154"/>
                    <a:pt x="1355" y="2154"/>
                  </a:cubicBezTo>
                  <a:cubicBezTo>
                    <a:pt x="1371" y="2144"/>
                    <a:pt x="1371" y="2144"/>
                    <a:pt x="1371" y="2144"/>
                  </a:cubicBezTo>
                  <a:cubicBezTo>
                    <a:pt x="1416" y="2148"/>
                    <a:pt x="1416" y="2148"/>
                    <a:pt x="1416" y="2148"/>
                  </a:cubicBezTo>
                  <a:cubicBezTo>
                    <a:pt x="1416" y="2148"/>
                    <a:pt x="1378" y="2148"/>
                    <a:pt x="1375" y="2154"/>
                  </a:cubicBezTo>
                  <a:cubicBezTo>
                    <a:pt x="1372" y="2160"/>
                    <a:pt x="1373" y="2174"/>
                    <a:pt x="1373" y="2174"/>
                  </a:cubicBezTo>
                  <a:cubicBezTo>
                    <a:pt x="1373" y="2174"/>
                    <a:pt x="1362" y="2159"/>
                    <a:pt x="1358" y="2165"/>
                  </a:cubicBezTo>
                  <a:cubicBezTo>
                    <a:pt x="1354" y="2171"/>
                    <a:pt x="1344" y="2190"/>
                    <a:pt x="1349" y="2198"/>
                  </a:cubicBezTo>
                  <a:cubicBezTo>
                    <a:pt x="1354" y="2206"/>
                    <a:pt x="1367" y="2206"/>
                    <a:pt x="1367" y="2206"/>
                  </a:cubicBezTo>
                  <a:cubicBezTo>
                    <a:pt x="1367" y="2206"/>
                    <a:pt x="1365" y="2227"/>
                    <a:pt x="1362" y="2227"/>
                  </a:cubicBezTo>
                  <a:cubicBezTo>
                    <a:pt x="1359" y="2227"/>
                    <a:pt x="1349" y="2239"/>
                    <a:pt x="1349" y="2248"/>
                  </a:cubicBezTo>
                  <a:cubicBezTo>
                    <a:pt x="1349" y="2257"/>
                    <a:pt x="1362" y="2272"/>
                    <a:pt x="1362" y="2272"/>
                  </a:cubicBezTo>
                  <a:cubicBezTo>
                    <a:pt x="1362" y="2272"/>
                    <a:pt x="1382" y="2302"/>
                    <a:pt x="1381" y="2309"/>
                  </a:cubicBezTo>
                  <a:cubicBezTo>
                    <a:pt x="1380" y="2316"/>
                    <a:pt x="1358" y="2338"/>
                    <a:pt x="1370" y="2342"/>
                  </a:cubicBezTo>
                  <a:cubicBezTo>
                    <a:pt x="1382" y="2346"/>
                    <a:pt x="1407" y="2346"/>
                    <a:pt x="1407" y="2346"/>
                  </a:cubicBezTo>
                  <a:cubicBezTo>
                    <a:pt x="1407" y="2346"/>
                    <a:pt x="1409" y="2367"/>
                    <a:pt x="1421" y="2367"/>
                  </a:cubicBezTo>
                  <a:cubicBezTo>
                    <a:pt x="1433" y="2367"/>
                    <a:pt x="1450" y="2361"/>
                    <a:pt x="1450" y="2361"/>
                  </a:cubicBezTo>
                  <a:cubicBezTo>
                    <a:pt x="1453" y="2380"/>
                    <a:pt x="1453" y="2380"/>
                    <a:pt x="1453" y="2380"/>
                  </a:cubicBezTo>
                  <a:cubicBezTo>
                    <a:pt x="1453" y="2380"/>
                    <a:pt x="1485" y="2391"/>
                    <a:pt x="1485" y="2406"/>
                  </a:cubicBezTo>
                  <a:cubicBezTo>
                    <a:pt x="1485" y="2414"/>
                    <a:pt x="1482" y="2428"/>
                    <a:pt x="1480" y="2440"/>
                  </a:cubicBezTo>
                  <a:cubicBezTo>
                    <a:pt x="1478" y="2450"/>
                    <a:pt x="1476" y="2458"/>
                    <a:pt x="1476" y="2463"/>
                  </a:cubicBezTo>
                  <a:cubicBezTo>
                    <a:pt x="1476" y="2474"/>
                    <a:pt x="1489" y="2492"/>
                    <a:pt x="1489" y="2492"/>
                  </a:cubicBezTo>
                  <a:cubicBezTo>
                    <a:pt x="1478" y="2499"/>
                    <a:pt x="1478" y="2499"/>
                    <a:pt x="1478" y="2499"/>
                  </a:cubicBezTo>
                  <a:cubicBezTo>
                    <a:pt x="1486" y="2514"/>
                    <a:pt x="1486" y="2514"/>
                    <a:pt x="1486" y="2514"/>
                  </a:cubicBezTo>
                  <a:cubicBezTo>
                    <a:pt x="1479" y="2524"/>
                    <a:pt x="1479" y="2524"/>
                    <a:pt x="1479" y="2524"/>
                  </a:cubicBezTo>
                  <a:cubicBezTo>
                    <a:pt x="1492" y="2535"/>
                    <a:pt x="1492" y="2535"/>
                    <a:pt x="1492" y="2535"/>
                  </a:cubicBezTo>
                  <a:cubicBezTo>
                    <a:pt x="1481" y="2555"/>
                    <a:pt x="1481" y="2555"/>
                    <a:pt x="1481" y="2555"/>
                  </a:cubicBezTo>
                  <a:cubicBezTo>
                    <a:pt x="1490" y="2559"/>
                    <a:pt x="1490" y="2559"/>
                    <a:pt x="1490" y="2559"/>
                  </a:cubicBezTo>
                  <a:cubicBezTo>
                    <a:pt x="1490" y="2559"/>
                    <a:pt x="1487" y="2600"/>
                    <a:pt x="1496" y="2609"/>
                  </a:cubicBezTo>
                  <a:cubicBezTo>
                    <a:pt x="1505" y="2618"/>
                    <a:pt x="1518" y="2614"/>
                    <a:pt x="1518" y="2614"/>
                  </a:cubicBezTo>
                  <a:cubicBezTo>
                    <a:pt x="1518" y="2614"/>
                    <a:pt x="1542" y="2657"/>
                    <a:pt x="1542" y="2665"/>
                  </a:cubicBezTo>
                  <a:cubicBezTo>
                    <a:pt x="1542" y="2673"/>
                    <a:pt x="1523" y="2698"/>
                    <a:pt x="1523" y="2698"/>
                  </a:cubicBezTo>
                  <a:cubicBezTo>
                    <a:pt x="1534" y="2705"/>
                    <a:pt x="1534" y="2705"/>
                    <a:pt x="1534" y="2705"/>
                  </a:cubicBezTo>
                  <a:cubicBezTo>
                    <a:pt x="1526" y="2714"/>
                    <a:pt x="1526" y="2714"/>
                    <a:pt x="1526" y="2714"/>
                  </a:cubicBezTo>
                  <a:cubicBezTo>
                    <a:pt x="1517" y="2702"/>
                    <a:pt x="1517" y="2702"/>
                    <a:pt x="1517" y="2702"/>
                  </a:cubicBezTo>
                  <a:cubicBezTo>
                    <a:pt x="1483" y="2699"/>
                    <a:pt x="1483" y="2699"/>
                    <a:pt x="1483" y="2699"/>
                  </a:cubicBezTo>
                  <a:cubicBezTo>
                    <a:pt x="1499" y="2717"/>
                    <a:pt x="1499" y="2717"/>
                    <a:pt x="1499" y="2717"/>
                  </a:cubicBezTo>
                  <a:cubicBezTo>
                    <a:pt x="1505" y="2733"/>
                    <a:pt x="1505" y="2733"/>
                    <a:pt x="1505" y="2733"/>
                  </a:cubicBezTo>
                  <a:cubicBezTo>
                    <a:pt x="1519" y="2734"/>
                    <a:pt x="1519" y="2734"/>
                    <a:pt x="1519" y="2734"/>
                  </a:cubicBezTo>
                  <a:cubicBezTo>
                    <a:pt x="1519" y="2734"/>
                    <a:pt x="1536" y="2757"/>
                    <a:pt x="1541" y="2755"/>
                  </a:cubicBezTo>
                  <a:cubicBezTo>
                    <a:pt x="1546" y="2753"/>
                    <a:pt x="1561" y="2743"/>
                    <a:pt x="1561" y="2743"/>
                  </a:cubicBezTo>
                  <a:cubicBezTo>
                    <a:pt x="1561" y="2743"/>
                    <a:pt x="1560" y="2766"/>
                    <a:pt x="1567" y="2775"/>
                  </a:cubicBezTo>
                  <a:cubicBezTo>
                    <a:pt x="1574" y="2784"/>
                    <a:pt x="1589" y="2796"/>
                    <a:pt x="1589" y="2806"/>
                  </a:cubicBezTo>
                  <a:cubicBezTo>
                    <a:pt x="1589" y="2816"/>
                    <a:pt x="1572" y="2836"/>
                    <a:pt x="1578" y="2850"/>
                  </a:cubicBezTo>
                  <a:cubicBezTo>
                    <a:pt x="1584" y="2864"/>
                    <a:pt x="1604" y="2880"/>
                    <a:pt x="1618" y="2897"/>
                  </a:cubicBezTo>
                  <a:cubicBezTo>
                    <a:pt x="1632" y="2914"/>
                    <a:pt x="1651" y="2935"/>
                    <a:pt x="1651" y="2935"/>
                  </a:cubicBezTo>
                  <a:cubicBezTo>
                    <a:pt x="1651" y="2935"/>
                    <a:pt x="1638" y="2962"/>
                    <a:pt x="1654" y="2963"/>
                  </a:cubicBezTo>
                  <a:cubicBezTo>
                    <a:pt x="1670" y="2964"/>
                    <a:pt x="1686" y="2944"/>
                    <a:pt x="1686" y="2944"/>
                  </a:cubicBezTo>
                  <a:cubicBezTo>
                    <a:pt x="1682" y="2931"/>
                    <a:pt x="1682" y="2931"/>
                    <a:pt x="1682" y="2931"/>
                  </a:cubicBezTo>
                  <a:cubicBezTo>
                    <a:pt x="1682" y="2931"/>
                    <a:pt x="1674" y="2895"/>
                    <a:pt x="1666" y="2891"/>
                  </a:cubicBezTo>
                  <a:cubicBezTo>
                    <a:pt x="1658" y="2887"/>
                    <a:pt x="1648" y="2890"/>
                    <a:pt x="1648" y="2890"/>
                  </a:cubicBezTo>
                  <a:cubicBezTo>
                    <a:pt x="1636" y="2873"/>
                    <a:pt x="1636" y="2873"/>
                    <a:pt x="1636" y="2873"/>
                  </a:cubicBezTo>
                  <a:cubicBezTo>
                    <a:pt x="1636" y="2873"/>
                    <a:pt x="1640" y="2860"/>
                    <a:pt x="1638" y="2852"/>
                  </a:cubicBezTo>
                  <a:cubicBezTo>
                    <a:pt x="1636" y="2844"/>
                    <a:pt x="1638" y="2825"/>
                    <a:pt x="1638" y="2825"/>
                  </a:cubicBezTo>
                  <a:cubicBezTo>
                    <a:pt x="1626" y="2803"/>
                    <a:pt x="1626" y="2803"/>
                    <a:pt x="1626" y="2803"/>
                  </a:cubicBezTo>
                  <a:cubicBezTo>
                    <a:pt x="1626" y="2803"/>
                    <a:pt x="1636" y="2779"/>
                    <a:pt x="1632" y="2767"/>
                  </a:cubicBezTo>
                  <a:cubicBezTo>
                    <a:pt x="1628" y="2755"/>
                    <a:pt x="1607" y="2757"/>
                    <a:pt x="1607" y="2757"/>
                  </a:cubicBezTo>
                  <a:cubicBezTo>
                    <a:pt x="1607" y="2726"/>
                    <a:pt x="1607" y="2726"/>
                    <a:pt x="1607" y="2726"/>
                  </a:cubicBezTo>
                  <a:cubicBezTo>
                    <a:pt x="1590" y="2705"/>
                    <a:pt x="1590" y="2705"/>
                    <a:pt x="1590" y="2705"/>
                  </a:cubicBezTo>
                  <a:cubicBezTo>
                    <a:pt x="1592" y="2665"/>
                    <a:pt x="1592" y="2665"/>
                    <a:pt x="1592" y="2665"/>
                  </a:cubicBezTo>
                  <a:cubicBezTo>
                    <a:pt x="1592" y="2665"/>
                    <a:pt x="1578" y="2645"/>
                    <a:pt x="1573" y="2639"/>
                  </a:cubicBezTo>
                  <a:cubicBezTo>
                    <a:pt x="1568" y="2633"/>
                    <a:pt x="1565" y="2608"/>
                    <a:pt x="1565" y="2608"/>
                  </a:cubicBezTo>
                  <a:cubicBezTo>
                    <a:pt x="1565" y="2608"/>
                    <a:pt x="1539" y="2570"/>
                    <a:pt x="1542" y="2566"/>
                  </a:cubicBezTo>
                  <a:cubicBezTo>
                    <a:pt x="1545" y="2562"/>
                    <a:pt x="1555" y="2545"/>
                    <a:pt x="1551" y="2533"/>
                  </a:cubicBezTo>
                  <a:cubicBezTo>
                    <a:pt x="1547" y="2521"/>
                    <a:pt x="1561" y="2505"/>
                    <a:pt x="1561" y="2505"/>
                  </a:cubicBezTo>
                  <a:cubicBezTo>
                    <a:pt x="1560" y="2480"/>
                    <a:pt x="1560" y="2480"/>
                    <a:pt x="1560" y="2480"/>
                  </a:cubicBezTo>
                  <a:cubicBezTo>
                    <a:pt x="1560" y="2480"/>
                    <a:pt x="1580" y="2500"/>
                    <a:pt x="1589" y="2500"/>
                  </a:cubicBezTo>
                  <a:cubicBezTo>
                    <a:pt x="1598" y="2500"/>
                    <a:pt x="1610" y="2496"/>
                    <a:pt x="1610" y="2496"/>
                  </a:cubicBezTo>
                  <a:cubicBezTo>
                    <a:pt x="1610" y="2496"/>
                    <a:pt x="1607" y="2507"/>
                    <a:pt x="1614" y="2511"/>
                  </a:cubicBezTo>
                  <a:cubicBezTo>
                    <a:pt x="1621" y="2515"/>
                    <a:pt x="1631" y="2515"/>
                    <a:pt x="1631" y="2515"/>
                  </a:cubicBezTo>
                  <a:cubicBezTo>
                    <a:pt x="1631" y="2515"/>
                    <a:pt x="1628" y="2526"/>
                    <a:pt x="1628" y="2544"/>
                  </a:cubicBezTo>
                  <a:cubicBezTo>
                    <a:pt x="1628" y="2562"/>
                    <a:pt x="1636" y="2618"/>
                    <a:pt x="1636" y="2618"/>
                  </a:cubicBezTo>
                  <a:cubicBezTo>
                    <a:pt x="1636" y="2618"/>
                    <a:pt x="1657" y="2693"/>
                    <a:pt x="1665" y="2695"/>
                  </a:cubicBezTo>
                  <a:cubicBezTo>
                    <a:pt x="1673" y="2697"/>
                    <a:pt x="1693" y="2695"/>
                    <a:pt x="1693" y="2695"/>
                  </a:cubicBezTo>
                  <a:cubicBezTo>
                    <a:pt x="1693" y="2695"/>
                    <a:pt x="1675" y="2706"/>
                    <a:pt x="1684" y="2722"/>
                  </a:cubicBezTo>
                  <a:cubicBezTo>
                    <a:pt x="1693" y="2738"/>
                    <a:pt x="1710" y="2740"/>
                    <a:pt x="1710" y="2740"/>
                  </a:cubicBezTo>
                  <a:cubicBezTo>
                    <a:pt x="1712" y="2755"/>
                    <a:pt x="1712" y="2755"/>
                    <a:pt x="1712" y="2755"/>
                  </a:cubicBezTo>
                  <a:cubicBezTo>
                    <a:pt x="1733" y="2756"/>
                    <a:pt x="1733" y="2756"/>
                    <a:pt x="1733" y="2756"/>
                  </a:cubicBezTo>
                  <a:cubicBezTo>
                    <a:pt x="1736" y="2784"/>
                    <a:pt x="1736" y="2784"/>
                    <a:pt x="1736" y="2784"/>
                  </a:cubicBezTo>
                  <a:cubicBezTo>
                    <a:pt x="1736" y="2784"/>
                    <a:pt x="1704" y="2797"/>
                    <a:pt x="1714" y="2812"/>
                  </a:cubicBezTo>
                  <a:cubicBezTo>
                    <a:pt x="1724" y="2827"/>
                    <a:pt x="1731" y="2813"/>
                    <a:pt x="1731" y="2813"/>
                  </a:cubicBezTo>
                  <a:cubicBezTo>
                    <a:pt x="1731" y="2813"/>
                    <a:pt x="1740" y="2833"/>
                    <a:pt x="1746" y="2835"/>
                  </a:cubicBezTo>
                  <a:cubicBezTo>
                    <a:pt x="1752" y="2837"/>
                    <a:pt x="1770" y="2839"/>
                    <a:pt x="1770" y="2842"/>
                  </a:cubicBezTo>
                  <a:cubicBezTo>
                    <a:pt x="1770" y="2845"/>
                    <a:pt x="1770" y="2856"/>
                    <a:pt x="1770" y="2856"/>
                  </a:cubicBezTo>
                  <a:cubicBezTo>
                    <a:pt x="1770" y="2856"/>
                    <a:pt x="1755" y="2875"/>
                    <a:pt x="1766" y="2876"/>
                  </a:cubicBezTo>
                  <a:cubicBezTo>
                    <a:pt x="1777" y="2877"/>
                    <a:pt x="1789" y="2875"/>
                    <a:pt x="1789" y="2875"/>
                  </a:cubicBezTo>
                  <a:cubicBezTo>
                    <a:pt x="1789" y="2894"/>
                    <a:pt x="1789" y="2894"/>
                    <a:pt x="1789" y="2894"/>
                  </a:cubicBezTo>
                  <a:cubicBezTo>
                    <a:pt x="1789" y="2894"/>
                    <a:pt x="1811" y="2919"/>
                    <a:pt x="1821" y="2933"/>
                  </a:cubicBezTo>
                  <a:cubicBezTo>
                    <a:pt x="1831" y="2947"/>
                    <a:pt x="1849" y="2976"/>
                    <a:pt x="1849" y="2985"/>
                  </a:cubicBezTo>
                  <a:cubicBezTo>
                    <a:pt x="1849" y="2994"/>
                    <a:pt x="1846" y="3000"/>
                    <a:pt x="1847" y="3013"/>
                  </a:cubicBezTo>
                  <a:cubicBezTo>
                    <a:pt x="1848" y="3026"/>
                    <a:pt x="1862" y="3033"/>
                    <a:pt x="1860" y="3044"/>
                  </a:cubicBezTo>
                  <a:cubicBezTo>
                    <a:pt x="1858" y="3055"/>
                    <a:pt x="1840" y="3063"/>
                    <a:pt x="1840" y="3070"/>
                  </a:cubicBezTo>
                  <a:cubicBezTo>
                    <a:pt x="1840" y="3077"/>
                    <a:pt x="1851" y="3083"/>
                    <a:pt x="1851" y="3083"/>
                  </a:cubicBezTo>
                  <a:cubicBezTo>
                    <a:pt x="1851" y="3083"/>
                    <a:pt x="1827" y="3080"/>
                    <a:pt x="1827" y="3097"/>
                  </a:cubicBezTo>
                  <a:cubicBezTo>
                    <a:pt x="1827" y="3114"/>
                    <a:pt x="1826" y="3155"/>
                    <a:pt x="1849" y="3157"/>
                  </a:cubicBezTo>
                  <a:cubicBezTo>
                    <a:pt x="1872" y="3159"/>
                    <a:pt x="1892" y="3165"/>
                    <a:pt x="1899" y="3178"/>
                  </a:cubicBezTo>
                  <a:cubicBezTo>
                    <a:pt x="1906" y="3191"/>
                    <a:pt x="1913" y="3217"/>
                    <a:pt x="1929" y="3219"/>
                  </a:cubicBezTo>
                  <a:cubicBezTo>
                    <a:pt x="1945" y="3221"/>
                    <a:pt x="1972" y="3215"/>
                    <a:pt x="1983" y="3226"/>
                  </a:cubicBezTo>
                  <a:cubicBezTo>
                    <a:pt x="1994" y="3237"/>
                    <a:pt x="2001" y="3263"/>
                    <a:pt x="2032" y="3276"/>
                  </a:cubicBezTo>
                  <a:cubicBezTo>
                    <a:pt x="2063" y="3289"/>
                    <a:pt x="2108" y="3289"/>
                    <a:pt x="2115" y="3299"/>
                  </a:cubicBezTo>
                  <a:cubicBezTo>
                    <a:pt x="2122" y="3309"/>
                    <a:pt x="2125" y="3319"/>
                    <a:pt x="2135" y="3319"/>
                  </a:cubicBezTo>
                  <a:cubicBezTo>
                    <a:pt x="2145" y="3319"/>
                    <a:pt x="2153" y="3337"/>
                    <a:pt x="2153" y="3337"/>
                  </a:cubicBezTo>
                  <a:cubicBezTo>
                    <a:pt x="2153" y="3337"/>
                    <a:pt x="2196" y="3332"/>
                    <a:pt x="2198" y="3335"/>
                  </a:cubicBezTo>
                  <a:cubicBezTo>
                    <a:pt x="2200" y="3338"/>
                    <a:pt x="2207" y="3359"/>
                    <a:pt x="2221" y="3355"/>
                  </a:cubicBezTo>
                  <a:cubicBezTo>
                    <a:pt x="2235" y="3351"/>
                    <a:pt x="2305" y="3313"/>
                    <a:pt x="2316" y="3316"/>
                  </a:cubicBezTo>
                  <a:cubicBezTo>
                    <a:pt x="2327" y="3319"/>
                    <a:pt x="2397" y="3376"/>
                    <a:pt x="2400" y="3384"/>
                  </a:cubicBezTo>
                  <a:cubicBezTo>
                    <a:pt x="2402" y="3389"/>
                    <a:pt x="2403" y="3402"/>
                    <a:pt x="2409" y="3412"/>
                  </a:cubicBezTo>
                  <a:cubicBezTo>
                    <a:pt x="2412" y="3418"/>
                    <a:pt x="2416" y="3422"/>
                    <a:pt x="2423" y="3425"/>
                  </a:cubicBezTo>
                  <a:cubicBezTo>
                    <a:pt x="2442" y="3432"/>
                    <a:pt x="2445" y="3442"/>
                    <a:pt x="2456" y="3446"/>
                  </a:cubicBezTo>
                  <a:cubicBezTo>
                    <a:pt x="2467" y="3450"/>
                    <a:pt x="2489" y="3446"/>
                    <a:pt x="2489" y="3446"/>
                  </a:cubicBezTo>
                  <a:cubicBezTo>
                    <a:pt x="2489" y="3446"/>
                    <a:pt x="2495" y="3450"/>
                    <a:pt x="2501" y="3455"/>
                  </a:cubicBezTo>
                  <a:cubicBezTo>
                    <a:pt x="2508" y="3460"/>
                    <a:pt x="2517" y="3466"/>
                    <a:pt x="2521" y="3468"/>
                  </a:cubicBezTo>
                  <a:cubicBezTo>
                    <a:pt x="2529" y="3471"/>
                    <a:pt x="2549" y="3469"/>
                    <a:pt x="2549" y="3469"/>
                  </a:cubicBezTo>
                  <a:cubicBezTo>
                    <a:pt x="2565" y="3482"/>
                    <a:pt x="2565" y="3482"/>
                    <a:pt x="2565" y="3482"/>
                  </a:cubicBezTo>
                  <a:cubicBezTo>
                    <a:pt x="2587" y="3480"/>
                    <a:pt x="2587" y="3480"/>
                    <a:pt x="2587" y="3480"/>
                  </a:cubicBezTo>
                  <a:cubicBezTo>
                    <a:pt x="2599" y="3490"/>
                    <a:pt x="2599" y="3490"/>
                    <a:pt x="2599" y="3490"/>
                  </a:cubicBezTo>
                  <a:cubicBezTo>
                    <a:pt x="2611" y="3471"/>
                    <a:pt x="2611" y="3471"/>
                    <a:pt x="2611" y="3471"/>
                  </a:cubicBezTo>
                  <a:cubicBezTo>
                    <a:pt x="2618" y="3473"/>
                    <a:pt x="2618" y="3473"/>
                    <a:pt x="2618" y="3473"/>
                  </a:cubicBezTo>
                  <a:cubicBezTo>
                    <a:pt x="2617" y="3473"/>
                    <a:pt x="2617" y="3473"/>
                    <a:pt x="2617" y="3473"/>
                  </a:cubicBezTo>
                  <a:cubicBezTo>
                    <a:pt x="2634" y="3478"/>
                    <a:pt x="2634" y="3478"/>
                    <a:pt x="2634" y="3478"/>
                  </a:cubicBezTo>
                  <a:cubicBezTo>
                    <a:pt x="2641" y="3488"/>
                    <a:pt x="2638" y="3496"/>
                    <a:pt x="2638" y="3496"/>
                  </a:cubicBezTo>
                  <a:cubicBezTo>
                    <a:pt x="2619" y="3496"/>
                    <a:pt x="2619" y="3496"/>
                    <a:pt x="2619" y="3496"/>
                  </a:cubicBezTo>
                  <a:cubicBezTo>
                    <a:pt x="2651" y="3530"/>
                    <a:pt x="2651" y="3530"/>
                    <a:pt x="2651" y="3530"/>
                  </a:cubicBezTo>
                  <a:cubicBezTo>
                    <a:pt x="2651" y="3530"/>
                    <a:pt x="2659" y="3561"/>
                    <a:pt x="2669" y="3569"/>
                  </a:cubicBezTo>
                  <a:cubicBezTo>
                    <a:pt x="2678" y="3576"/>
                    <a:pt x="2696" y="3590"/>
                    <a:pt x="2699" y="3593"/>
                  </a:cubicBezTo>
                  <a:cubicBezTo>
                    <a:pt x="2699" y="3593"/>
                    <a:pt x="2699" y="3593"/>
                    <a:pt x="2699" y="3593"/>
                  </a:cubicBezTo>
                  <a:cubicBezTo>
                    <a:pt x="2690" y="3610"/>
                    <a:pt x="2690" y="3610"/>
                    <a:pt x="2690" y="3610"/>
                  </a:cubicBezTo>
                  <a:cubicBezTo>
                    <a:pt x="2690" y="3610"/>
                    <a:pt x="2706" y="3619"/>
                    <a:pt x="2700" y="3623"/>
                  </a:cubicBezTo>
                  <a:cubicBezTo>
                    <a:pt x="2694" y="3627"/>
                    <a:pt x="2680" y="3637"/>
                    <a:pt x="2689" y="3651"/>
                  </a:cubicBezTo>
                  <a:cubicBezTo>
                    <a:pt x="2698" y="3665"/>
                    <a:pt x="2713" y="3663"/>
                    <a:pt x="2713" y="3663"/>
                  </a:cubicBezTo>
                  <a:cubicBezTo>
                    <a:pt x="2713" y="3663"/>
                    <a:pt x="2730" y="3683"/>
                    <a:pt x="2733" y="3676"/>
                  </a:cubicBezTo>
                  <a:cubicBezTo>
                    <a:pt x="2736" y="3669"/>
                    <a:pt x="2731" y="3658"/>
                    <a:pt x="2731" y="3658"/>
                  </a:cubicBezTo>
                  <a:cubicBezTo>
                    <a:pt x="2731" y="3658"/>
                    <a:pt x="2704" y="3640"/>
                    <a:pt x="2713" y="3640"/>
                  </a:cubicBezTo>
                  <a:cubicBezTo>
                    <a:pt x="2722" y="3640"/>
                    <a:pt x="2747" y="3661"/>
                    <a:pt x="2747" y="3661"/>
                  </a:cubicBezTo>
                  <a:cubicBezTo>
                    <a:pt x="2747" y="3661"/>
                    <a:pt x="2744" y="3680"/>
                    <a:pt x="2748" y="3680"/>
                  </a:cubicBezTo>
                  <a:cubicBezTo>
                    <a:pt x="2752" y="3680"/>
                    <a:pt x="2775" y="3685"/>
                    <a:pt x="2775" y="3685"/>
                  </a:cubicBezTo>
                  <a:cubicBezTo>
                    <a:pt x="2788" y="3712"/>
                    <a:pt x="2788" y="3712"/>
                    <a:pt x="2788" y="3712"/>
                  </a:cubicBezTo>
                  <a:cubicBezTo>
                    <a:pt x="2788" y="3712"/>
                    <a:pt x="2779" y="3720"/>
                    <a:pt x="2788" y="3729"/>
                  </a:cubicBezTo>
                  <a:cubicBezTo>
                    <a:pt x="2797" y="3738"/>
                    <a:pt x="2811" y="3741"/>
                    <a:pt x="2811" y="3741"/>
                  </a:cubicBezTo>
                  <a:cubicBezTo>
                    <a:pt x="2802" y="3724"/>
                    <a:pt x="2802" y="3724"/>
                    <a:pt x="2802" y="3724"/>
                  </a:cubicBezTo>
                  <a:cubicBezTo>
                    <a:pt x="2826" y="3748"/>
                    <a:pt x="2826" y="3748"/>
                    <a:pt x="2826" y="3748"/>
                  </a:cubicBezTo>
                  <a:cubicBezTo>
                    <a:pt x="2854" y="3742"/>
                    <a:pt x="2854" y="3742"/>
                    <a:pt x="2854" y="3742"/>
                  </a:cubicBezTo>
                  <a:cubicBezTo>
                    <a:pt x="2859" y="3754"/>
                    <a:pt x="2859" y="3754"/>
                    <a:pt x="2859" y="3754"/>
                  </a:cubicBezTo>
                  <a:cubicBezTo>
                    <a:pt x="2879" y="3753"/>
                    <a:pt x="2879" y="3753"/>
                    <a:pt x="2879" y="3753"/>
                  </a:cubicBezTo>
                  <a:cubicBezTo>
                    <a:pt x="2879" y="3753"/>
                    <a:pt x="2874" y="3775"/>
                    <a:pt x="2882" y="3780"/>
                  </a:cubicBezTo>
                  <a:cubicBezTo>
                    <a:pt x="2890" y="3785"/>
                    <a:pt x="2901" y="3775"/>
                    <a:pt x="2901" y="3775"/>
                  </a:cubicBezTo>
                  <a:cubicBezTo>
                    <a:pt x="2901" y="3762"/>
                    <a:pt x="2901" y="3762"/>
                    <a:pt x="2901" y="3762"/>
                  </a:cubicBezTo>
                  <a:cubicBezTo>
                    <a:pt x="2912" y="3761"/>
                    <a:pt x="2912" y="3761"/>
                    <a:pt x="2912" y="3761"/>
                  </a:cubicBezTo>
                  <a:cubicBezTo>
                    <a:pt x="2912" y="3761"/>
                    <a:pt x="2916" y="3814"/>
                    <a:pt x="2930" y="3807"/>
                  </a:cubicBezTo>
                  <a:cubicBezTo>
                    <a:pt x="2944" y="3800"/>
                    <a:pt x="2958" y="3791"/>
                    <a:pt x="2958" y="3791"/>
                  </a:cubicBezTo>
                  <a:cubicBezTo>
                    <a:pt x="2958" y="3791"/>
                    <a:pt x="2920" y="3764"/>
                    <a:pt x="2931" y="3754"/>
                  </a:cubicBezTo>
                  <a:cubicBezTo>
                    <a:pt x="2942" y="3744"/>
                    <a:pt x="2953" y="3743"/>
                    <a:pt x="2962" y="3735"/>
                  </a:cubicBezTo>
                  <a:cubicBezTo>
                    <a:pt x="2971" y="3727"/>
                    <a:pt x="2982" y="3707"/>
                    <a:pt x="2992" y="3709"/>
                  </a:cubicBezTo>
                  <a:cubicBezTo>
                    <a:pt x="3002" y="3711"/>
                    <a:pt x="3018" y="3716"/>
                    <a:pt x="3024" y="3720"/>
                  </a:cubicBezTo>
                  <a:cubicBezTo>
                    <a:pt x="3030" y="3724"/>
                    <a:pt x="3039" y="3739"/>
                    <a:pt x="3039" y="3739"/>
                  </a:cubicBezTo>
                  <a:cubicBezTo>
                    <a:pt x="3047" y="3736"/>
                    <a:pt x="3047" y="3736"/>
                    <a:pt x="3047" y="3736"/>
                  </a:cubicBezTo>
                  <a:cubicBezTo>
                    <a:pt x="3069" y="3754"/>
                    <a:pt x="3069" y="3754"/>
                    <a:pt x="3069" y="3754"/>
                  </a:cubicBezTo>
                  <a:cubicBezTo>
                    <a:pt x="3047" y="3744"/>
                    <a:pt x="3047" y="3744"/>
                    <a:pt x="3047" y="3744"/>
                  </a:cubicBezTo>
                  <a:cubicBezTo>
                    <a:pt x="3047" y="3744"/>
                    <a:pt x="3044" y="3773"/>
                    <a:pt x="3044" y="3779"/>
                  </a:cubicBezTo>
                  <a:cubicBezTo>
                    <a:pt x="3044" y="3784"/>
                    <a:pt x="3055" y="3797"/>
                    <a:pt x="3058" y="3801"/>
                  </a:cubicBezTo>
                  <a:cubicBezTo>
                    <a:pt x="3066" y="3816"/>
                    <a:pt x="3066" y="3816"/>
                    <a:pt x="3066" y="3816"/>
                  </a:cubicBezTo>
                  <a:cubicBezTo>
                    <a:pt x="3066" y="3823"/>
                    <a:pt x="3066" y="3823"/>
                    <a:pt x="3066" y="3823"/>
                  </a:cubicBezTo>
                  <a:cubicBezTo>
                    <a:pt x="3066" y="3823"/>
                    <a:pt x="3073" y="3828"/>
                    <a:pt x="3079" y="3840"/>
                  </a:cubicBezTo>
                  <a:cubicBezTo>
                    <a:pt x="3085" y="3852"/>
                    <a:pt x="3069" y="3853"/>
                    <a:pt x="3069" y="3853"/>
                  </a:cubicBezTo>
                  <a:cubicBezTo>
                    <a:pt x="3079" y="3868"/>
                    <a:pt x="3079" y="3868"/>
                    <a:pt x="3079" y="3868"/>
                  </a:cubicBezTo>
                  <a:cubicBezTo>
                    <a:pt x="3084" y="3890"/>
                    <a:pt x="3084" y="3890"/>
                    <a:pt x="3084" y="3890"/>
                  </a:cubicBezTo>
                  <a:cubicBezTo>
                    <a:pt x="3069" y="3893"/>
                    <a:pt x="3069" y="3893"/>
                    <a:pt x="3069" y="3893"/>
                  </a:cubicBezTo>
                  <a:cubicBezTo>
                    <a:pt x="3079" y="3906"/>
                    <a:pt x="3079" y="3906"/>
                    <a:pt x="3079" y="3906"/>
                  </a:cubicBezTo>
                  <a:cubicBezTo>
                    <a:pt x="3079" y="3946"/>
                    <a:pt x="3079" y="3946"/>
                    <a:pt x="3079" y="3946"/>
                  </a:cubicBezTo>
                  <a:cubicBezTo>
                    <a:pt x="3079" y="3946"/>
                    <a:pt x="3066" y="3956"/>
                    <a:pt x="3066" y="3969"/>
                  </a:cubicBezTo>
                  <a:cubicBezTo>
                    <a:pt x="3066" y="3982"/>
                    <a:pt x="3083" y="3982"/>
                    <a:pt x="3084" y="3997"/>
                  </a:cubicBezTo>
                  <a:cubicBezTo>
                    <a:pt x="3085" y="4012"/>
                    <a:pt x="3057" y="4029"/>
                    <a:pt x="3057" y="4029"/>
                  </a:cubicBezTo>
                  <a:cubicBezTo>
                    <a:pt x="3066" y="4037"/>
                    <a:pt x="3066" y="4037"/>
                    <a:pt x="3066" y="4037"/>
                  </a:cubicBezTo>
                  <a:cubicBezTo>
                    <a:pt x="3047" y="4054"/>
                    <a:pt x="3047" y="4054"/>
                    <a:pt x="3047" y="4054"/>
                  </a:cubicBezTo>
                  <a:cubicBezTo>
                    <a:pt x="3047" y="4054"/>
                    <a:pt x="3026" y="4054"/>
                    <a:pt x="3018" y="4063"/>
                  </a:cubicBezTo>
                  <a:cubicBezTo>
                    <a:pt x="3010" y="4073"/>
                    <a:pt x="3018" y="4095"/>
                    <a:pt x="3018" y="4095"/>
                  </a:cubicBezTo>
                  <a:cubicBezTo>
                    <a:pt x="3018" y="4095"/>
                    <a:pt x="2993" y="4087"/>
                    <a:pt x="2992" y="4101"/>
                  </a:cubicBezTo>
                  <a:cubicBezTo>
                    <a:pt x="2992" y="4103"/>
                    <a:pt x="2992" y="4105"/>
                    <a:pt x="2992" y="4107"/>
                  </a:cubicBezTo>
                  <a:cubicBezTo>
                    <a:pt x="2993" y="4117"/>
                    <a:pt x="2999" y="4121"/>
                    <a:pt x="2995" y="4130"/>
                  </a:cubicBezTo>
                  <a:cubicBezTo>
                    <a:pt x="2992" y="4139"/>
                    <a:pt x="2962" y="4144"/>
                    <a:pt x="2962" y="4144"/>
                  </a:cubicBezTo>
                  <a:cubicBezTo>
                    <a:pt x="2960" y="4134"/>
                    <a:pt x="2960" y="4134"/>
                    <a:pt x="2960" y="4134"/>
                  </a:cubicBezTo>
                  <a:cubicBezTo>
                    <a:pt x="2960" y="4134"/>
                    <a:pt x="2940" y="4145"/>
                    <a:pt x="2938" y="4153"/>
                  </a:cubicBezTo>
                  <a:cubicBezTo>
                    <a:pt x="2935" y="4161"/>
                    <a:pt x="2945" y="4171"/>
                    <a:pt x="2943" y="4184"/>
                  </a:cubicBezTo>
                  <a:cubicBezTo>
                    <a:pt x="2942" y="4197"/>
                    <a:pt x="2929" y="4196"/>
                    <a:pt x="2925" y="4204"/>
                  </a:cubicBezTo>
                  <a:cubicBezTo>
                    <a:pt x="2920" y="4212"/>
                    <a:pt x="2933" y="4226"/>
                    <a:pt x="2933" y="4226"/>
                  </a:cubicBezTo>
                  <a:cubicBezTo>
                    <a:pt x="2921" y="4226"/>
                    <a:pt x="2921" y="4226"/>
                    <a:pt x="2921" y="4226"/>
                  </a:cubicBezTo>
                  <a:cubicBezTo>
                    <a:pt x="2920" y="4237"/>
                    <a:pt x="2920" y="4237"/>
                    <a:pt x="2920" y="4237"/>
                  </a:cubicBezTo>
                  <a:cubicBezTo>
                    <a:pt x="2897" y="4251"/>
                    <a:pt x="2897" y="4251"/>
                    <a:pt x="2897" y="4251"/>
                  </a:cubicBezTo>
                  <a:cubicBezTo>
                    <a:pt x="2913" y="4261"/>
                    <a:pt x="2913" y="4261"/>
                    <a:pt x="2913" y="4261"/>
                  </a:cubicBezTo>
                  <a:cubicBezTo>
                    <a:pt x="2902" y="4280"/>
                    <a:pt x="2902" y="4280"/>
                    <a:pt x="2902" y="4280"/>
                  </a:cubicBezTo>
                  <a:cubicBezTo>
                    <a:pt x="2902" y="4280"/>
                    <a:pt x="2913" y="4283"/>
                    <a:pt x="2912" y="4294"/>
                  </a:cubicBezTo>
                  <a:cubicBezTo>
                    <a:pt x="2910" y="4305"/>
                    <a:pt x="2897" y="4308"/>
                    <a:pt x="2897" y="4308"/>
                  </a:cubicBezTo>
                  <a:cubicBezTo>
                    <a:pt x="2906" y="4314"/>
                    <a:pt x="2906" y="4314"/>
                    <a:pt x="2906" y="4314"/>
                  </a:cubicBezTo>
                  <a:cubicBezTo>
                    <a:pt x="2906" y="4314"/>
                    <a:pt x="2894" y="4328"/>
                    <a:pt x="2916" y="4335"/>
                  </a:cubicBezTo>
                  <a:cubicBezTo>
                    <a:pt x="2939" y="4342"/>
                    <a:pt x="2942" y="4321"/>
                    <a:pt x="2942" y="4321"/>
                  </a:cubicBezTo>
                  <a:cubicBezTo>
                    <a:pt x="2959" y="4326"/>
                    <a:pt x="2959" y="4326"/>
                    <a:pt x="2959" y="4326"/>
                  </a:cubicBezTo>
                  <a:cubicBezTo>
                    <a:pt x="2967" y="4334"/>
                    <a:pt x="2958" y="4353"/>
                    <a:pt x="2955" y="4365"/>
                  </a:cubicBezTo>
                  <a:cubicBezTo>
                    <a:pt x="2953" y="4377"/>
                    <a:pt x="2930" y="4378"/>
                    <a:pt x="2930" y="4378"/>
                  </a:cubicBezTo>
                  <a:cubicBezTo>
                    <a:pt x="2930" y="4378"/>
                    <a:pt x="2904" y="4406"/>
                    <a:pt x="2896" y="4413"/>
                  </a:cubicBezTo>
                  <a:cubicBezTo>
                    <a:pt x="2888" y="4420"/>
                    <a:pt x="2887" y="4431"/>
                    <a:pt x="2887" y="4444"/>
                  </a:cubicBezTo>
                  <a:cubicBezTo>
                    <a:pt x="2887" y="4457"/>
                    <a:pt x="2899" y="4454"/>
                    <a:pt x="2899" y="4454"/>
                  </a:cubicBezTo>
                  <a:cubicBezTo>
                    <a:pt x="2896" y="4472"/>
                    <a:pt x="2896" y="4472"/>
                    <a:pt x="2896" y="4472"/>
                  </a:cubicBezTo>
                  <a:cubicBezTo>
                    <a:pt x="2896" y="4472"/>
                    <a:pt x="2913" y="4482"/>
                    <a:pt x="2914" y="4494"/>
                  </a:cubicBezTo>
                  <a:cubicBezTo>
                    <a:pt x="2915" y="4506"/>
                    <a:pt x="2895" y="4507"/>
                    <a:pt x="2895" y="4521"/>
                  </a:cubicBezTo>
                  <a:cubicBezTo>
                    <a:pt x="2895" y="4535"/>
                    <a:pt x="2929" y="4537"/>
                    <a:pt x="2938" y="4542"/>
                  </a:cubicBezTo>
                  <a:cubicBezTo>
                    <a:pt x="2946" y="4547"/>
                    <a:pt x="2969" y="4579"/>
                    <a:pt x="2972" y="4584"/>
                  </a:cubicBezTo>
                  <a:cubicBezTo>
                    <a:pt x="2974" y="4588"/>
                    <a:pt x="2986" y="4608"/>
                    <a:pt x="2986" y="4614"/>
                  </a:cubicBezTo>
                  <a:cubicBezTo>
                    <a:pt x="2986" y="4620"/>
                    <a:pt x="3010" y="4646"/>
                    <a:pt x="3013" y="4652"/>
                  </a:cubicBezTo>
                  <a:cubicBezTo>
                    <a:pt x="3017" y="4658"/>
                    <a:pt x="3051" y="4712"/>
                    <a:pt x="3051" y="4712"/>
                  </a:cubicBezTo>
                  <a:cubicBezTo>
                    <a:pt x="3056" y="4737"/>
                    <a:pt x="3056" y="4737"/>
                    <a:pt x="3056" y="4737"/>
                  </a:cubicBezTo>
                  <a:cubicBezTo>
                    <a:pt x="3056" y="4737"/>
                    <a:pt x="3084" y="4792"/>
                    <a:pt x="3084" y="4799"/>
                  </a:cubicBezTo>
                  <a:cubicBezTo>
                    <a:pt x="3084" y="4806"/>
                    <a:pt x="3092" y="4806"/>
                    <a:pt x="3101" y="4812"/>
                  </a:cubicBezTo>
                  <a:cubicBezTo>
                    <a:pt x="3109" y="4818"/>
                    <a:pt x="3105" y="4825"/>
                    <a:pt x="3107" y="4837"/>
                  </a:cubicBezTo>
                  <a:cubicBezTo>
                    <a:pt x="3108" y="4848"/>
                    <a:pt x="3142" y="4889"/>
                    <a:pt x="3154" y="4905"/>
                  </a:cubicBezTo>
                  <a:cubicBezTo>
                    <a:pt x="3166" y="4922"/>
                    <a:pt x="3157" y="4944"/>
                    <a:pt x="3157" y="4952"/>
                  </a:cubicBezTo>
                  <a:cubicBezTo>
                    <a:pt x="3157" y="4961"/>
                    <a:pt x="3180" y="4986"/>
                    <a:pt x="3191" y="4993"/>
                  </a:cubicBezTo>
                  <a:cubicBezTo>
                    <a:pt x="3201" y="5000"/>
                    <a:pt x="3211" y="5016"/>
                    <a:pt x="3219" y="5025"/>
                  </a:cubicBezTo>
                  <a:cubicBezTo>
                    <a:pt x="3227" y="5033"/>
                    <a:pt x="3273" y="5051"/>
                    <a:pt x="3287" y="5059"/>
                  </a:cubicBezTo>
                  <a:cubicBezTo>
                    <a:pt x="3302" y="5067"/>
                    <a:pt x="3329" y="5073"/>
                    <a:pt x="3350" y="5091"/>
                  </a:cubicBezTo>
                  <a:cubicBezTo>
                    <a:pt x="3371" y="5109"/>
                    <a:pt x="3403" y="5129"/>
                    <a:pt x="3403" y="5129"/>
                  </a:cubicBezTo>
                  <a:cubicBezTo>
                    <a:pt x="3409" y="5144"/>
                    <a:pt x="3409" y="5144"/>
                    <a:pt x="3409" y="5144"/>
                  </a:cubicBezTo>
                  <a:cubicBezTo>
                    <a:pt x="3409" y="5144"/>
                    <a:pt x="3420" y="5152"/>
                    <a:pt x="3427" y="5158"/>
                  </a:cubicBezTo>
                  <a:cubicBezTo>
                    <a:pt x="3434" y="5164"/>
                    <a:pt x="3461" y="5182"/>
                    <a:pt x="3461" y="5182"/>
                  </a:cubicBezTo>
                  <a:cubicBezTo>
                    <a:pt x="3461" y="5183"/>
                    <a:pt x="3461" y="5183"/>
                    <a:pt x="3461" y="5183"/>
                  </a:cubicBezTo>
                  <a:cubicBezTo>
                    <a:pt x="3460" y="5209"/>
                    <a:pt x="3460" y="5209"/>
                    <a:pt x="3460" y="5209"/>
                  </a:cubicBezTo>
                  <a:cubicBezTo>
                    <a:pt x="3460" y="5209"/>
                    <a:pt x="3473" y="5236"/>
                    <a:pt x="3479" y="5256"/>
                  </a:cubicBezTo>
                  <a:cubicBezTo>
                    <a:pt x="3485" y="5276"/>
                    <a:pt x="3484" y="5306"/>
                    <a:pt x="3484" y="5319"/>
                  </a:cubicBezTo>
                  <a:cubicBezTo>
                    <a:pt x="3484" y="5332"/>
                    <a:pt x="3492" y="5343"/>
                    <a:pt x="3493" y="5366"/>
                  </a:cubicBezTo>
                  <a:cubicBezTo>
                    <a:pt x="3494" y="5390"/>
                    <a:pt x="3494" y="5427"/>
                    <a:pt x="3494" y="5427"/>
                  </a:cubicBezTo>
                  <a:cubicBezTo>
                    <a:pt x="3480" y="5435"/>
                    <a:pt x="3480" y="5435"/>
                    <a:pt x="3480" y="5435"/>
                  </a:cubicBezTo>
                  <a:cubicBezTo>
                    <a:pt x="3483" y="5455"/>
                    <a:pt x="3483" y="5455"/>
                    <a:pt x="3483" y="5455"/>
                  </a:cubicBezTo>
                  <a:cubicBezTo>
                    <a:pt x="3498" y="5464"/>
                    <a:pt x="3498" y="5464"/>
                    <a:pt x="3498" y="5464"/>
                  </a:cubicBezTo>
                  <a:cubicBezTo>
                    <a:pt x="3492" y="5526"/>
                    <a:pt x="3492" y="5526"/>
                    <a:pt x="3492" y="5526"/>
                  </a:cubicBezTo>
                  <a:cubicBezTo>
                    <a:pt x="3507" y="5554"/>
                    <a:pt x="3507" y="5554"/>
                    <a:pt x="3507" y="5554"/>
                  </a:cubicBezTo>
                  <a:cubicBezTo>
                    <a:pt x="3496" y="5567"/>
                    <a:pt x="3496" y="5567"/>
                    <a:pt x="3496" y="5567"/>
                  </a:cubicBezTo>
                  <a:cubicBezTo>
                    <a:pt x="3502" y="5609"/>
                    <a:pt x="3502" y="5609"/>
                    <a:pt x="3502" y="5609"/>
                  </a:cubicBezTo>
                  <a:cubicBezTo>
                    <a:pt x="3502" y="5609"/>
                    <a:pt x="3509" y="5612"/>
                    <a:pt x="3511" y="5629"/>
                  </a:cubicBezTo>
                  <a:cubicBezTo>
                    <a:pt x="3513" y="5645"/>
                    <a:pt x="3502" y="5646"/>
                    <a:pt x="3502" y="5646"/>
                  </a:cubicBezTo>
                  <a:cubicBezTo>
                    <a:pt x="3500" y="5668"/>
                    <a:pt x="3500" y="5668"/>
                    <a:pt x="3500" y="5668"/>
                  </a:cubicBezTo>
                  <a:cubicBezTo>
                    <a:pt x="3507" y="5677"/>
                    <a:pt x="3507" y="5677"/>
                    <a:pt x="3507" y="5677"/>
                  </a:cubicBezTo>
                  <a:cubicBezTo>
                    <a:pt x="3507" y="5677"/>
                    <a:pt x="3500" y="5682"/>
                    <a:pt x="3494" y="5696"/>
                  </a:cubicBezTo>
                  <a:cubicBezTo>
                    <a:pt x="3488" y="5710"/>
                    <a:pt x="3500" y="5708"/>
                    <a:pt x="3500" y="5708"/>
                  </a:cubicBezTo>
                  <a:cubicBezTo>
                    <a:pt x="3500" y="5708"/>
                    <a:pt x="3504" y="5717"/>
                    <a:pt x="3504" y="5728"/>
                  </a:cubicBezTo>
                  <a:cubicBezTo>
                    <a:pt x="3504" y="5739"/>
                    <a:pt x="3493" y="5736"/>
                    <a:pt x="3493" y="5756"/>
                  </a:cubicBezTo>
                  <a:cubicBezTo>
                    <a:pt x="3493" y="5777"/>
                    <a:pt x="3509" y="5775"/>
                    <a:pt x="3512" y="5785"/>
                  </a:cubicBezTo>
                  <a:cubicBezTo>
                    <a:pt x="3516" y="5794"/>
                    <a:pt x="3512" y="5818"/>
                    <a:pt x="3512" y="5818"/>
                  </a:cubicBezTo>
                  <a:cubicBezTo>
                    <a:pt x="3512" y="5818"/>
                    <a:pt x="3505" y="5816"/>
                    <a:pt x="3500" y="5818"/>
                  </a:cubicBezTo>
                  <a:cubicBezTo>
                    <a:pt x="3496" y="5820"/>
                    <a:pt x="3500" y="5837"/>
                    <a:pt x="3507" y="5857"/>
                  </a:cubicBezTo>
                  <a:cubicBezTo>
                    <a:pt x="3515" y="5877"/>
                    <a:pt x="3526" y="5907"/>
                    <a:pt x="3526" y="5907"/>
                  </a:cubicBezTo>
                  <a:cubicBezTo>
                    <a:pt x="3526" y="5907"/>
                    <a:pt x="3529" y="5921"/>
                    <a:pt x="3536" y="5927"/>
                  </a:cubicBezTo>
                  <a:cubicBezTo>
                    <a:pt x="3543" y="5933"/>
                    <a:pt x="3539" y="5963"/>
                    <a:pt x="3539" y="5963"/>
                  </a:cubicBezTo>
                  <a:cubicBezTo>
                    <a:pt x="3536" y="5982"/>
                    <a:pt x="3536" y="5982"/>
                    <a:pt x="3536" y="5982"/>
                  </a:cubicBezTo>
                  <a:cubicBezTo>
                    <a:pt x="3552" y="5999"/>
                    <a:pt x="3552" y="5999"/>
                    <a:pt x="3552" y="5999"/>
                  </a:cubicBezTo>
                  <a:cubicBezTo>
                    <a:pt x="3552" y="5999"/>
                    <a:pt x="3542" y="6026"/>
                    <a:pt x="3542" y="6040"/>
                  </a:cubicBezTo>
                  <a:cubicBezTo>
                    <a:pt x="3542" y="6054"/>
                    <a:pt x="3542" y="6084"/>
                    <a:pt x="3542" y="6084"/>
                  </a:cubicBezTo>
                  <a:cubicBezTo>
                    <a:pt x="3526" y="6109"/>
                    <a:pt x="3526" y="6109"/>
                    <a:pt x="3526" y="6109"/>
                  </a:cubicBezTo>
                  <a:cubicBezTo>
                    <a:pt x="3536" y="6116"/>
                    <a:pt x="3536" y="6116"/>
                    <a:pt x="3536" y="6116"/>
                  </a:cubicBezTo>
                  <a:cubicBezTo>
                    <a:pt x="3536" y="6116"/>
                    <a:pt x="3532" y="6132"/>
                    <a:pt x="3532" y="6141"/>
                  </a:cubicBezTo>
                  <a:cubicBezTo>
                    <a:pt x="3532" y="6149"/>
                    <a:pt x="3526" y="6193"/>
                    <a:pt x="3526" y="6193"/>
                  </a:cubicBezTo>
                  <a:cubicBezTo>
                    <a:pt x="3516" y="6195"/>
                    <a:pt x="3516" y="6195"/>
                    <a:pt x="3516" y="6195"/>
                  </a:cubicBezTo>
                  <a:cubicBezTo>
                    <a:pt x="3516" y="6209"/>
                    <a:pt x="3516" y="6209"/>
                    <a:pt x="3516" y="6209"/>
                  </a:cubicBezTo>
                  <a:cubicBezTo>
                    <a:pt x="3532" y="6239"/>
                    <a:pt x="3532" y="6239"/>
                    <a:pt x="3532" y="6239"/>
                  </a:cubicBezTo>
                  <a:cubicBezTo>
                    <a:pt x="3532" y="6239"/>
                    <a:pt x="3532" y="6258"/>
                    <a:pt x="3532" y="6268"/>
                  </a:cubicBezTo>
                  <a:cubicBezTo>
                    <a:pt x="3532" y="6279"/>
                    <a:pt x="3555" y="6286"/>
                    <a:pt x="3561" y="6302"/>
                  </a:cubicBezTo>
                  <a:cubicBezTo>
                    <a:pt x="3567" y="6317"/>
                    <a:pt x="3558" y="6355"/>
                    <a:pt x="3558" y="6355"/>
                  </a:cubicBezTo>
                  <a:cubicBezTo>
                    <a:pt x="3567" y="6362"/>
                    <a:pt x="3567" y="6362"/>
                    <a:pt x="3567" y="6362"/>
                  </a:cubicBezTo>
                  <a:cubicBezTo>
                    <a:pt x="3567" y="6362"/>
                    <a:pt x="3567" y="6391"/>
                    <a:pt x="3567" y="6403"/>
                  </a:cubicBezTo>
                  <a:cubicBezTo>
                    <a:pt x="3567" y="6415"/>
                    <a:pt x="3594" y="6423"/>
                    <a:pt x="3594" y="6423"/>
                  </a:cubicBezTo>
                  <a:cubicBezTo>
                    <a:pt x="3589" y="6436"/>
                    <a:pt x="3589" y="6436"/>
                    <a:pt x="3589" y="6436"/>
                  </a:cubicBezTo>
                  <a:cubicBezTo>
                    <a:pt x="3616" y="6436"/>
                    <a:pt x="3616" y="6436"/>
                    <a:pt x="3616" y="6436"/>
                  </a:cubicBezTo>
                  <a:cubicBezTo>
                    <a:pt x="3616" y="6416"/>
                    <a:pt x="3616" y="6416"/>
                    <a:pt x="3616" y="6416"/>
                  </a:cubicBezTo>
                  <a:cubicBezTo>
                    <a:pt x="3616" y="6416"/>
                    <a:pt x="3629" y="6426"/>
                    <a:pt x="3637" y="6427"/>
                  </a:cubicBezTo>
                  <a:cubicBezTo>
                    <a:pt x="3646" y="6428"/>
                    <a:pt x="3646" y="6414"/>
                    <a:pt x="3646" y="6414"/>
                  </a:cubicBezTo>
                  <a:cubicBezTo>
                    <a:pt x="3652" y="6427"/>
                    <a:pt x="3652" y="6427"/>
                    <a:pt x="3652" y="6427"/>
                  </a:cubicBezTo>
                  <a:cubicBezTo>
                    <a:pt x="3652" y="6427"/>
                    <a:pt x="3635" y="6437"/>
                    <a:pt x="3633" y="6448"/>
                  </a:cubicBezTo>
                  <a:cubicBezTo>
                    <a:pt x="3630" y="6459"/>
                    <a:pt x="3646" y="6447"/>
                    <a:pt x="3653" y="6450"/>
                  </a:cubicBezTo>
                  <a:cubicBezTo>
                    <a:pt x="3660" y="6454"/>
                    <a:pt x="3658" y="6467"/>
                    <a:pt x="3658" y="6467"/>
                  </a:cubicBezTo>
                  <a:cubicBezTo>
                    <a:pt x="3639" y="6465"/>
                    <a:pt x="3639" y="6465"/>
                    <a:pt x="3639" y="6465"/>
                  </a:cubicBezTo>
                  <a:cubicBezTo>
                    <a:pt x="3650" y="6478"/>
                    <a:pt x="3650" y="6478"/>
                    <a:pt x="3650" y="6478"/>
                  </a:cubicBezTo>
                  <a:cubicBezTo>
                    <a:pt x="3643" y="6486"/>
                    <a:pt x="3643" y="6486"/>
                    <a:pt x="3643" y="6486"/>
                  </a:cubicBezTo>
                  <a:cubicBezTo>
                    <a:pt x="3655" y="6504"/>
                    <a:pt x="3655" y="6504"/>
                    <a:pt x="3655" y="6504"/>
                  </a:cubicBezTo>
                  <a:cubicBezTo>
                    <a:pt x="3655" y="6504"/>
                    <a:pt x="3648" y="6512"/>
                    <a:pt x="3641" y="6521"/>
                  </a:cubicBezTo>
                  <a:cubicBezTo>
                    <a:pt x="3634" y="6531"/>
                    <a:pt x="3672" y="6540"/>
                    <a:pt x="3672" y="6540"/>
                  </a:cubicBezTo>
                  <a:cubicBezTo>
                    <a:pt x="3672" y="6540"/>
                    <a:pt x="3665" y="6546"/>
                    <a:pt x="3660" y="6550"/>
                  </a:cubicBezTo>
                  <a:cubicBezTo>
                    <a:pt x="3655" y="6553"/>
                    <a:pt x="3662" y="6564"/>
                    <a:pt x="3672" y="6569"/>
                  </a:cubicBezTo>
                  <a:cubicBezTo>
                    <a:pt x="3681" y="6573"/>
                    <a:pt x="3694" y="6570"/>
                    <a:pt x="3694" y="6570"/>
                  </a:cubicBezTo>
                  <a:cubicBezTo>
                    <a:pt x="3699" y="6594"/>
                    <a:pt x="3699" y="6594"/>
                    <a:pt x="3699" y="6594"/>
                  </a:cubicBezTo>
                  <a:cubicBezTo>
                    <a:pt x="3699" y="6594"/>
                    <a:pt x="3679" y="6607"/>
                    <a:pt x="3674" y="6614"/>
                  </a:cubicBezTo>
                  <a:cubicBezTo>
                    <a:pt x="3669" y="6621"/>
                    <a:pt x="3688" y="6622"/>
                    <a:pt x="3688" y="6622"/>
                  </a:cubicBezTo>
                  <a:cubicBezTo>
                    <a:pt x="3688" y="6622"/>
                    <a:pt x="3712" y="6627"/>
                    <a:pt x="3712" y="6634"/>
                  </a:cubicBezTo>
                  <a:cubicBezTo>
                    <a:pt x="3712" y="6641"/>
                    <a:pt x="3697" y="6635"/>
                    <a:pt x="3687" y="6630"/>
                  </a:cubicBezTo>
                  <a:cubicBezTo>
                    <a:pt x="3678" y="6625"/>
                    <a:pt x="3676" y="6640"/>
                    <a:pt x="3676" y="6640"/>
                  </a:cubicBezTo>
                  <a:cubicBezTo>
                    <a:pt x="3695" y="6644"/>
                    <a:pt x="3695" y="6644"/>
                    <a:pt x="3695" y="6644"/>
                  </a:cubicBezTo>
                  <a:cubicBezTo>
                    <a:pt x="3681" y="6651"/>
                    <a:pt x="3681" y="6651"/>
                    <a:pt x="3681" y="6651"/>
                  </a:cubicBezTo>
                  <a:cubicBezTo>
                    <a:pt x="3682" y="6668"/>
                    <a:pt x="3682" y="6668"/>
                    <a:pt x="3682" y="6668"/>
                  </a:cubicBezTo>
                  <a:cubicBezTo>
                    <a:pt x="3682" y="6668"/>
                    <a:pt x="3698" y="6660"/>
                    <a:pt x="3691" y="6681"/>
                  </a:cubicBezTo>
                  <a:cubicBezTo>
                    <a:pt x="3684" y="6702"/>
                    <a:pt x="3674" y="6672"/>
                    <a:pt x="3674" y="6672"/>
                  </a:cubicBezTo>
                  <a:cubicBezTo>
                    <a:pt x="3650" y="6673"/>
                    <a:pt x="3650" y="6673"/>
                    <a:pt x="3650" y="6673"/>
                  </a:cubicBezTo>
                  <a:cubicBezTo>
                    <a:pt x="3666" y="6666"/>
                    <a:pt x="3666" y="6666"/>
                    <a:pt x="3666" y="6666"/>
                  </a:cubicBezTo>
                  <a:cubicBezTo>
                    <a:pt x="3666" y="6666"/>
                    <a:pt x="3649" y="6648"/>
                    <a:pt x="3646" y="6649"/>
                  </a:cubicBezTo>
                  <a:cubicBezTo>
                    <a:pt x="3642" y="6650"/>
                    <a:pt x="3645" y="6659"/>
                    <a:pt x="3645" y="6659"/>
                  </a:cubicBezTo>
                  <a:cubicBezTo>
                    <a:pt x="3639" y="6653"/>
                    <a:pt x="3639" y="6653"/>
                    <a:pt x="3639" y="6653"/>
                  </a:cubicBezTo>
                  <a:cubicBezTo>
                    <a:pt x="3614" y="6660"/>
                    <a:pt x="3614" y="6660"/>
                    <a:pt x="3614" y="6660"/>
                  </a:cubicBezTo>
                  <a:cubicBezTo>
                    <a:pt x="3636" y="6665"/>
                    <a:pt x="3636" y="6665"/>
                    <a:pt x="3636" y="6665"/>
                  </a:cubicBezTo>
                  <a:cubicBezTo>
                    <a:pt x="3636" y="6665"/>
                    <a:pt x="3632" y="6668"/>
                    <a:pt x="3628" y="6674"/>
                  </a:cubicBezTo>
                  <a:cubicBezTo>
                    <a:pt x="3624" y="6680"/>
                    <a:pt x="3608" y="6686"/>
                    <a:pt x="3607" y="6695"/>
                  </a:cubicBezTo>
                  <a:cubicBezTo>
                    <a:pt x="3606" y="6705"/>
                    <a:pt x="3626" y="6709"/>
                    <a:pt x="3629" y="6707"/>
                  </a:cubicBezTo>
                  <a:cubicBezTo>
                    <a:pt x="3633" y="6705"/>
                    <a:pt x="3621" y="6696"/>
                    <a:pt x="3621" y="6696"/>
                  </a:cubicBezTo>
                  <a:cubicBezTo>
                    <a:pt x="3636" y="6693"/>
                    <a:pt x="3636" y="6693"/>
                    <a:pt x="3636" y="6693"/>
                  </a:cubicBezTo>
                  <a:cubicBezTo>
                    <a:pt x="3636" y="6693"/>
                    <a:pt x="3643" y="6698"/>
                    <a:pt x="3647" y="6702"/>
                  </a:cubicBezTo>
                  <a:cubicBezTo>
                    <a:pt x="3650" y="6707"/>
                    <a:pt x="3674" y="6704"/>
                    <a:pt x="3674" y="6704"/>
                  </a:cubicBezTo>
                  <a:cubicBezTo>
                    <a:pt x="3674" y="6704"/>
                    <a:pt x="3689" y="6711"/>
                    <a:pt x="3695" y="6719"/>
                  </a:cubicBezTo>
                  <a:cubicBezTo>
                    <a:pt x="3701" y="6727"/>
                    <a:pt x="3682" y="6735"/>
                    <a:pt x="3682" y="6735"/>
                  </a:cubicBezTo>
                  <a:cubicBezTo>
                    <a:pt x="3688" y="6745"/>
                    <a:pt x="3688" y="6745"/>
                    <a:pt x="3688" y="6745"/>
                  </a:cubicBezTo>
                  <a:cubicBezTo>
                    <a:pt x="3700" y="6741"/>
                    <a:pt x="3700" y="6741"/>
                    <a:pt x="3700" y="6741"/>
                  </a:cubicBezTo>
                  <a:cubicBezTo>
                    <a:pt x="3700" y="6752"/>
                    <a:pt x="3700" y="6752"/>
                    <a:pt x="3700" y="6752"/>
                  </a:cubicBezTo>
                  <a:cubicBezTo>
                    <a:pt x="3712" y="6757"/>
                    <a:pt x="3712" y="6757"/>
                    <a:pt x="3712" y="6757"/>
                  </a:cubicBezTo>
                  <a:cubicBezTo>
                    <a:pt x="3717" y="6741"/>
                    <a:pt x="3717" y="6741"/>
                    <a:pt x="3717" y="6741"/>
                  </a:cubicBezTo>
                  <a:cubicBezTo>
                    <a:pt x="3726" y="6757"/>
                    <a:pt x="3726" y="6757"/>
                    <a:pt x="3726" y="6757"/>
                  </a:cubicBezTo>
                  <a:cubicBezTo>
                    <a:pt x="3726" y="6757"/>
                    <a:pt x="3745" y="6757"/>
                    <a:pt x="3743" y="6771"/>
                  </a:cubicBezTo>
                  <a:cubicBezTo>
                    <a:pt x="3740" y="6785"/>
                    <a:pt x="3718" y="6769"/>
                    <a:pt x="3710" y="6767"/>
                  </a:cubicBezTo>
                  <a:cubicBezTo>
                    <a:pt x="3701" y="6766"/>
                    <a:pt x="3708" y="6780"/>
                    <a:pt x="3708" y="6780"/>
                  </a:cubicBezTo>
                  <a:cubicBezTo>
                    <a:pt x="3708" y="6780"/>
                    <a:pt x="3729" y="6787"/>
                    <a:pt x="3730" y="6802"/>
                  </a:cubicBezTo>
                  <a:cubicBezTo>
                    <a:pt x="3731" y="6816"/>
                    <a:pt x="3716" y="6811"/>
                    <a:pt x="3716" y="6811"/>
                  </a:cubicBezTo>
                  <a:cubicBezTo>
                    <a:pt x="3725" y="6823"/>
                    <a:pt x="3725" y="6823"/>
                    <a:pt x="3725" y="6823"/>
                  </a:cubicBezTo>
                  <a:cubicBezTo>
                    <a:pt x="3734" y="6847"/>
                    <a:pt x="3734" y="6847"/>
                    <a:pt x="3734" y="6847"/>
                  </a:cubicBezTo>
                  <a:cubicBezTo>
                    <a:pt x="3743" y="6818"/>
                    <a:pt x="3743" y="6818"/>
                    <a:pt x="3743" y="6818"/>
                  </a:cubicBezTo>
                  <a:cubicBezTo>
                    <a:pt x="3743" y="6838"/>
                    <a:pt x="3743" y="6838"/>
                    <a:pt x="3743" y="6838"/>
                  </a:cubicBezTo>
                  <a:cubicBezTo>
                    <a:pt x="3756" y="6854"/>
                    <a:pt x="3756" y="6854"/>
                    <a:pt x="3756" y="6854"/>
                  </a:cubicBezTo>
                  <a:cubicBezTo>
                    <a:pt x="3740" y="6854"/>
                    <a:pt x="3740" y="6854"/>
                    <a:pt x="3740" y="6854"/>
                  </a:cubicBezTo>
                  <a:cubicBezTo>
                    <a:pt x="3743" y="6867"/>
                    <a:pt x="3743" y="6867"/>
                    <a:pt x="3743" y="6867"/>
                  </a:cubicBezTo>
                  <a:cubicBezTo>
                    <a:pt x="3758" y="6868"/>
                    <a:pt x="3758" y="6868"/>
                    <a:pt x="3758" y="6868"/>
                  </a:cubicBezTo>
                  <a:cubicBezTo>
                    <a:pt x="3749" y="6876"/>
                    <a:pt x="3749" y="6876"/>
                    <a:pt x="3749" y="6876"/>
                  </a:cubicBezTo>
                  <a:cubicBezTo>
                    <a:pt x="3769" y="6882"/>
                    <a:pt x="3769" y="6882"/>
                    <a:pt x="3769" y="6882"/>
                  </a:cubicBezTo>
                  <a:cubicBezTo>
                    <a:pt x="3756" y="6890"/>
                    <a:pt x="3756" y="6890"/>
                    <a:pt x="3756" y="6890"/>
                  </a:cubicBezTo>
                  <a:cubicBezTo>
                    <a:pt x="3775" y="6897"/>
                    <a:pt x="3775" y="6897"/>
                    <a:pt x="3775" y="6897"/>
                  </a:cubicBezTo>
                  <a:cubicBezTo>
                    <a:pt x="3770" y="6907"/>
                    <a:pt x="3770" y="6907"/>
                    <a:pt x="3770" y="6907"/>
                  </a:cubicBezTo>
                  <a:cubicBezTo>
                    <a:pt x="3782" y="6910"/>
                    <a:pt x="3782" y="6910"/>
                    <a:pt x="3782" y="6910"/>
                  </a:cubicBezTo>
                  <a:cubicBezTo>
                    <a:pt x="3782" y="6910"/>
                    <a:pt x="3784" y="6887"/>
                    <a:pt x="3791" y="6899"/>
                  </a:cubicBezTo>
                  <a:cubicBezTo>
                    <a:pt x="3798" y="6910"/>
                    <a:pt x="3789" y="6916"/>
                    <a:pt x="3783" y="6920"/>
                  </a:cubicBezTo>
                  <a:cubicBezTo>
                    <a:pt x="3777" y="6923"/>
                    <a:pt x="3783" y="6931"/>
                    <a:pt x="3783" y="6931"/>
                  </a:cubicBezTo>
                  <a:cubicBezTo>
                    <a:pt x="3803" y="6932"/>
                    <a:pt x="3803" y="6932"/>
                    <a:pt x="3803" y="6932"/>
                  </a:cubicBezTo>
                  <a:cubicBezTo>
                    <a:pt x="3803" y="6932"/>
                    <a:pt x="3804" y="6942"/>
                    <a:pt x="3810" y="6947"/>
                  </a:cubicBezTo>
                  <a:cubicBezTo>
                    <a:pt x="3816" y="6952"/>
                    <a:pt x="3833" y="6961"/>
                    <a:pt x="3833" y="6961"/>
                  </a:cubicBezTo>
                  <a:cubicBezTo>
                    <a:pt x="3830" y="6939"/>
                    <a:pt x="3830" y="6939"/>
                    <a:pt x="3830" y="6939"/>
                  </a:cubicBezTo>
                  <a:cubicBezTo>
                    <a:pt x="3830" y="6939"/>
                    <a:pt x="3851" y="6947"/>
                    <a:pt x="3867" y="6958"/>
                  </a:cubicBezTo>
                  <a:cubicBezTo>
                    <a:pt x="3882" y="6968"/>
                    <a:pt x="3869" y="6978"/>
                    <a:pt x="3869" y="6978"/>
                  </a:cubicBezTo>
                  <a:cubicBezTo>
                    <a:pt x="3880" y="6985"/>
                    <a:pt x="3880" y="6985"/>
                    <a:pt x="3880" y="6985"/>
                  </a:cubicBezTo>
                  <a:cubicBezTo>
                    <a:pt x="3879" y="6998"/>
                    <a:pt x="3879" y="6998"/>
                    <a:pt x="3879" y="6998"/>
                  </a:cubicBezTo>
                  <a:cubicBezTo>
                    <a:pt x="3918" y="6998"/>
                    <a:pt x="3918" y="6998"/>
                    <a:pt x="3918" y="6998"/>
                  </a:cubicBezTo>
                  <a:cubicBezTo>
                    <a:pt x="3922" y="7005"/>
                    <a:pt x="3922" y="7005"/>
                    <a:pt x="3922" y="7005"/>
                  </a:cubicBezTo>
                  <a:cubicBezTo>
                    <a:pt x="3902" y="7005"/>
                    <a:pt x="3902" y="7005"/>
                    <a:pt x="3902" y="7005"/>
                  </a:cubicBezTo>
                  <a:cubicBezTo>
                    <a:pt x="3894" y="7013"/>
                    <a:pt x="3894" y="7013"/>
                    <a:pt x="3894" y="7013"/>
                  </a:cubicBezTo>
                  <a:cubicBezTo>
                    <a:pt x="3881" y="7014"/>
                    <a:pt x="3881" y="7014"/>
                    <a:pt x="3881" y="7014"/>
                  </a:cubicBezTo>
                  <a:cubicBezTo>
                    <a:pt x="3870" y="7026"/>
                    <a:pt x="3870" y="7026"/>
                    <a:pt x="3870" y="7026"/>
                  </a:cubicBezTo>
                  <a:cubicBezTo>
                    <a:pt x="3890" y="7029"/>
                    <a:pt x="3890" y="7029"/>
                    <a:pt x="3890" y="7029"/>
                  </a:cubicBezTo>
                  <a:cubicBezTo>
                    <a:pt x="3886" y="7039"/>
                    <a:pt x="3886" y="7039"/>
                    <a:pt x="3886" y="7039"/>
                  </a:cubicBezTo>
                  <a:cubicBezTo>
                    <a:pt x="3902" y="7037"/>
                    <a:pt x="3902" y="7037"/>
                    <a:pt x="3902" y="7037"/>
                  </a:cubicBezTo>
                  <a:cubicBezTo>
                    <a:pt x="3904" y="7024"/>
                    <a:pt x="3904" y="7024"/>
                    <a:pt x="3904" y="7024"/>
                  </a:cubicBezTo>
                  <a:cubicBezTo>
                    <a:pt x="3919" y="7030"/>
                    <a:pt x="3919" y="7030"/>
                    <a:pt x="3919" y="7030"/>
                  </a:cubicBezTo>
                  <a:cubicBezTo>
                    <a:pt x="3919" y="7030"/>
                    <a:pt x="3937" y="7005"/>
                    <a:pt x="3946" y="7012"/>
                  </a:cubicBezTo>
                  <a:cubicBezTo>
                    <a:pt x="3956" y="7019"/>
                    <a:pt x="3927" y="7044"/>
                    <a:pt x="3927" y="7044"/>
                  </a:cubicBezTo>
                  <a:cubicBezTo>
                    <a:pt x="3927" y="7044"/>
                    <a:pt x="3924" y="7037"/>
                    <a:pt x="3915" y="7038"/>
                  </a:cubicBezTo>
                  <a:cubicBezTo>
                    <a:pt x="3907" y="7039"/>
                    <a:pt x="3912" y="7050"/>
                    <a:pt x="3912" y="7050"/>
                  </a:cubicBezTo>
                  <a:cubicBezTo>
                    <a:pt x="3900" y="7050"/>
                    <a:pt x="3900" y="7050"/>
                    <a:pt x="3900" y="7050"/>
                  </a:cubicBezTo>
                  <a:cubicBezTo>
                    <a:pt x="3891" y="7047"/>
                    <a:pt x="3879" y="7058"/>
                    <a:pt x="3879" y="7058"/>
                  </a:cubicBezTo>
                  <a:cubicBezTo>
                    <a:pt x="3888" y="7064"/>
                    <a:pt x="3888" y="7064"/>
                    <a:pt x="3888" y="7064"/>
                  </a:cubicBezTo>
                  <a:cubicBezTo>
                    <a:pt x="3890" y="7082"/>
                    <a:pt x="3890" y="7082"/>
                    <a:pt x="3890" y="7082"/>
                  </a:cubicBezTo>
                  <a:cubicBezTo>
                    <a:pt x="3910" y="7072"/>
                    <a:pt x="3910" y="7072"/>
                    <a:pt x="3910" y="7072"/>
                  </a:cubicBezTo>
                  <a:cubicBezTo>
                    <a:pt x="3910" y="7072"/>
                    <a:pt x="3915" y="7083"/>
                    <a:pt x="3921" y="7082"/>
                  </a:cubicBezTo>
                  <a:cubicBezTo>
                    <a:pt x="3926" y="7081"/>
                    <a:pt x="3927" y="7061"/>
                    <a:pt x="3936" y="7056"/>
                  </a:cubicBezTo>
                  <a:cubicBezTo>
                    <a:pt x="3945" y="7052"/>
                    <a:pt x="3944" y="7062"/>
                    <a:pt x="3944" y="7062"/>
                  </a:cubicBezTo>
                  <a:cubicBezTo>
                    <a:pt x="3944" y="7062"/>
                    <a:pt x="3959" y="7065"/>
                    <a:pt x="3974" y="7062"/>
                  </a:cubicBezTo>
                  <a:cubicBezTo>
                    <a:pt x="3988" y="7058"/>
                    <a:pt x="3958" y="7036"/>
                    <a:pt x="3958" y="7036"/>
                  </a:cubicBezTo>
                  <a:cubicBezTo>
                    <a:pt x="3958" y="7011"/>
                    <a:pt x="3958" y="7011"/>
                    <a:pt x="3958" y="7011"/>
                  </a:cubicBezTo>
                  <a:cubicBezTo>
                    <a:pt x="3983" y="7009"/>
                    <a:pt x="3983" y="7009"/>
                    <a:pt x="3983" y="7009"/>
                  </a:cubicBezTo>
                  <a:cubicBezTo>
                    <a:pt x="3981" y="6997"/>
                    <a:pt x="3981" y="6997"/>
                    <a:pt x="3981" y="6997"/>
                  </a:cubicBezTo>
                  <a:cubicBezTo>
                    <a:pt x="3997" y="6999"/>
                    <a:pt x="3997" y="6999"/>
                    <a:pt x="3997" y="6999"/>
                  </a:cubicBezTo>
                  <a:cubicBezTo>
                    <a:pt x="4002" y="6987"/>
                    <a:pt x="4002" y="6987"/>
                    <a:pt x="4002" y="6987"/>
                  </a:cubicBezTo>
                  <a:cubicBezTo>
                    <a:pt x="3999" y="6995"/>
                    <a:pt x="3999" y="6995"/>
                    <a:pt x="3999" y="6995"/>
                  </a:cubicBezTo>
                  <a:cubicBezTo>
                    <a:pt x="4004" y="6983"/>
                    <a:pt x="4004" y="6983"/>
                    <a:pt x="4004" y="6983"/>
                  </a:cubicBezTo>
                  <a:cubicBezTo>
                    <a:pt x="4011" y="6973"/>
                    <a:pt x="4040" y="6992"/>
                    <a:pt x="4040" y="6992"/>
                  </a:cubicBezTo>
                  <a:cubicBezTo>
                    <a:pt x="4013" y="6955"/>
                    <a:pt x="4013" y="6955"/>
                    <a:pt x="4013" y="6955"/>
                  </a:cubicBezTo>
                  <a:cubicBezTo>
                    <a:pt x="4000" y="6956"/>
                    <a:pt x="4000" y="6956"/>
                    <a:pt x="4000" y="6956"/>
                  </a:cubicBezTo>
                  <a:cubicBezTo>
                    <a:pt x="4003" y="6946"/>
                    <a:pt x="4003" y="6946"/>
                    <a:pt x="4003" y="6946"/>
                  </a:cubicBezTo>
                  <a:cubicBezTo>
                    <a:pt x="3979" y="6929"/>
                    <a:pt x="3979" y="6929"/>
                    <a:pt x="3979" y="6929"/>
                  </a:cubicBezTo>
                  <a:cubicBezTo>
                    <a:pt x="3980" y="6905"/>
                    <a:pt x="3980" y="6905"/>
                    <a:pt x="3980" y="6905"/>
                  </a:cubicBezTo>
                  <a:cubicBezTo>
                    <a:pt x="3971" y="6901"/>
                    <a:pt x="3971" y="6901"/>
                    <a:pt x="3971" y="6901"/>
                  </a:cubicBezTo>
                  <a:cubicBezTo>
                    <a:pt x="3976" y="6889"/>
                    <a:pt x="3976" y="6889"/>
                    <a:pt x="3976" y="6889"/>
                  </a:cubicBezTo>
                  <a:cubicBezTo>
                    <a:pt x="3976" y="6889"/>
                    <a:pt x="3985" y="6889"/>
                    <a:pt x="3988" y="6881"/>
                  </a:cubicBezTo>
                  <a:cubicBezTo>
                    <a:pt x="3992" y="6873"/>
                    <a:pt x="3962" y="6873"/>
                    <a:pt x="3962" y="6873"/>
                  </a:cubicBezTo>
                  <a:cubicBezTo>
                    <a:pt x="3974" y="6868"/>
                    <a:pt x="3974" y="6868"/>
                    <a:pt x="3974" y="6868"/>
                  </a:cubicBezTo>
                  <a:cubicBezTo>
                    <a:pt x="3970" y="6855"/>
                    <a:pt x="3970" y="6855"/>
                    <a:pt x="3970" y="6855"/>
                  </a:cubicBezTo>
                  <a:cubicBezTo>
                    <a:pt x="3986" y="6872"/>
                    <a:pt x="3986" y="6872"/>
                    <a:pt x="3986" y="6872"/>
                  </a:cubicBezTo>
                  <a:cubicBezTo>
                    <a:pt x="3986" y="6872"/>
                    <a:pt x="4000" y="6882"/>
                    <a:pt x="4010" y="6870"/>
                  </a:cubicBezTo>
                  <a:cubicBezTo>
                    <a:pt x="4020" y="6858"/>
                    <a:pt x="4002" y="6832"/>
                    <a:pt x="4003" y="6818"/>
                  </a:cubicBezTo>
                  <a:cubicBezTo>
                    <a:pt x="4004" y="6805"/>
                    <a:pt x="4047" y="6776"/>
                    <a:pt x="4050" y="6767"/>
                  </a:cubicBezTo>
                  <a:cubicBezTo>
                    <a:pt x="4054" y="6758"/>
                    <a:pt x="4029" y="6758"/>
                    <a:pt x="4029" y="6758"/>
                  </a:cubicBezTo>
                  <a:cubicBezTo>
                    <a:pt x="4045" y="6756"/>
                    <a:pt x="4045" y="6756"/>
                    <a:pt x="4045" y="6756"/>
                  </a:cubicBezTo>
                  <a:cubicBezTo>
                    <a:pt x="4045" y="6756"/>
                    <a:pt x="4046" y="6736"/>
                    <a:pt x="4038" y="6726"/>
                  </a:cubicBezTo>
                  <a:cubicBezTo>
                    <a:pt x="4030" y="6716"/>
                    <a:pt x="4018" y="6721"/>
                    <a:pt x="4018" y="6721"/>
                  </a:cubicBezTo>
                  <a:cubicBezTo>
                    <a:pt x="4006" y="6712"/>
                    <a:pt x="4006" y="6712"/>
                    <a:pt x="4006" y="6712"/>
                  </a:cubicBezTo>
                  <a:cubicBezTo>
                    <a:pt x="3993" y="6712"/>
                    <a:pt x="3993" y="6712"/>
                    <a:pt x="3993" y="6712"/>
                  </a:cubicBezTo>
                  <a:cubicBezTo>
                    <a:pt x="3993" y="6712"/>
                    <a:pt x="3953" y="6695"/>
                    <a:pt x="3941" y="6668"/>
                  </a:cubicBezTo>
                  <a:cubicBezTo>
                    <a:pt x="3928" y="6641"/>
                    <a:pt x="3948" y="6636"/>
                    <a:pt x="3948" y="6636"/>
                  </a:cubicBezTo>
                  <a:cubicBezTo>
                    <a:pt x="3954" y="6619"/>
                    <a:pt x="3954" y="6619"/>
                    <a:pt x="3954" y="6619"/>
                  </a:cubicBezTo>
                  <a:cubicBezTo>
                    <a:pt x="3963" y="6619"/>
                    <a:pt x="3963" y="6619"/>
                    <a:pt x="3963" y="6619"/>
                  </a:cubicBezTo>
                  <a:cubicBezTo>
                    <a:pt x="3969" y="6607"/>
                    <a:pt x="3969" y="6607"/>
                    <a:pt x="3969" y="6607"/>
                  </a:cubicBezTo>
                  <a:cubicBezTo>
                    <a:pt x="4005" y="6606"/>
                    <a:pt x="4005" y="6606"/>
                    <a:pt x="4005" y="6606"/>
                  </a:cubicBezTo>
                  <a:cubicBezTo>
                    <a:pt x="3997" y="6599"/>
                    <a:pt x="3997" y="6599"/>
                    <a:pt x="3997" y="6599"/>
                  </a:cubicBezTo>
                  <a:cubicBezTo>
                    <a:pt x="3996" y="6585"/>
                    <a:pt x="3996" y="6585"/>
                    <a:pt x="3996" y="6585"/>
                  </a:cubicBezTo>
                  <a:cubicBezTo>
                    <a:pt x="4005" y="6584"/>
                    <a:pt x="4005" y="6584"/>
                    <a:pt x="4005" y="6584"/>
                  </a:cubicBezTo>
                  <a:cubicBezTo>
                    <a:pt x="4005" y="6584"/>
                    <a:pt x="4010" y="6565"/>
                    <a:pt x="4002" y="6558"/>
                  </a:cubicBezTo>
                  <a:cubicBezTo>
                    <a:pt x="3994" y="6551"/>
                    <a:pt x="3985" y="6535"/>
                    <a:pt x="3992" y="6519"/>
                  </a:cubicBezTo>
                  <a:cubicBezTo>
                    <a:pt x="3998" y="6504"/>
                    <a:pt x="4018" y="6504"/>
                    <a:pt x="4018" y="6504"/>
                  </a:cubicBezTo>
                  <a:cubicBezTo>
                    <a:pt x="4018" y="6497"/>
                    <a:pt x="4018" y="6497"/>
                    <a:pt x="4018" y="6497"/>
                  </a:cubicBezTo>
                  <a:cubicBezTo>
                    <a:pt x="4018" y="6497"/>
                    <a:pt x="4001" y="6497"/>
                    <a:pt x="3993" y="6492"/>
                  </a:cubicBezTo>
                  <a:cubicBezTo>
                    <a:pt x="3985" y="6488"/>
                    <a:pt x="3994" y="6479"/>
                    <a:pt x="4002" y="6478"/>
                  </a:cubicBezTo>
                  <a:cubicBezTo>
                    <a:pt x="4010" y="6477"/>
                    <a:pt x="4024" y="6494"/>
                    <a:pt x="4031" y="6494"/>
                  </a:cubicBezTo>
                  <a:cubicBezTo>
                    <a:pt x="4038" y="6494"/>
                    <a:pt x="4047" y="6490"/>
                    <a:pt x="4048" y="6480"/>
                  </a:cubicBezTo>
                  <a:cubicBezTo>
                    <a:pt x="4049" y="6470"/>
                    <a:pt x="4036" y="6447"/>
                    <a:pt x="4023" y="6452"/>
                  </a:cubicBezTo>
                  <a:cubicBezTo>
                    <a:pt x="4011" y="6456"/>
                    <a:pt x="4030" y="6466"/>
                    <a:pt x="4018" y="6472"/>
                  </a:cubicBezTo>
                  <a:cubicBezTo>
                    <a:pt x="4005" y="6478"/>
                    <a:pt x="3993" y="6461"/>
                    <a:pt x="3993" y="6461"/>
                  </a:cubicBezTo>
                  <a:cubicBezTo>
                    <a:pt x="3993" y="6461"/>
                    <a:pt x="3969" y="6463"/>
                    <a:pt x="3966" y="6456"/>
                  </a:cubicBezTo>
                  <a:cubicBezTo>
                    <a:pt x="3962" y="6450"/>
                    <a:pt x="3966" y="6422"/>
                    <a:pt x="3966" y="6419"/>
                  </a:cubicBezTo>
                  <a:cubicBezTo>
                    <a:pt x="3966" y="6416"/>
                    <a:pt x="3949" y="6399"/>
                    <a:pt x="3953" y="6384"/>
                  </a:cubicBezTo>
                  <a:cubicBezTo>
                    <a:pt x="3958" y="6370"/>
                    <a:pt x="3971" y="6386"/>
                    <a:pt x="3986" y="6390"/>
                  </a:cubicBezTo>
                  <a:cubicBezTo>
                    <a:pt x="4001" y="6393"/>
                    <a:pt x="4018" y="6406"/>
                    <a:pt x="4027" y="6406"/>
                  </a:cubicBezTo>
                  <a:cubicBezTo>
                    <a:pt x="4036" y="6406"/>
                    <a:pt x="4069" y="6388"/>
                    <a:pt x="4077" y="6382"/>
                  </a:cubicBezTo>
                  <a:cubicBezTo>
                    <a:pt x="4085" y="6376"/>
                    <a:pt x="4052" y="6358"/>
                    <a:pt x="4052" y="6358"/>
                  </a:cubicBezTo>
                  <a:cubicBezTo>
                    <a:pt x="4051" y="6342"/>
                    <a:pt x="4051" y="6342"/>
                    <a:pt x="4051" y="6342"/>
                  </a:cubicBezTo>
                  <a:cubicBezTo>
                    <a:pt x="4051" y="6342"/>
                    <a:pt x="4060" y="6326"/>
                    <a:pt x="4063" y="6315"/>
                  </a:cubicBezTo>
                  <a:cubicBezTo>
                    <a:pt x="4065" y="6305"/>
                    <a:pt x="4042" y="6305"/>
                    <a:pt x="4042" y="6305"/>
                  </a:cubicBezTo>
                  <a:cubicBezTo>
                    <a:pt x="4040" y="6291"/>
                    <a:pt x="4040" y="6291"/>
                    <a:pt x="4040" y="6291"/>
                  </a:cubicBezTo>
                  <a:cubicBezTo>
                    <a:pt x="4040" y="6291"/>
                    <a:pt x="4032" y="6282"/>
                    <a:pt x="4039" y="6274"/>
                  </a:cubicBezTo>
                  <a:cubicBezTo>
                    <a:pt x="4046" y="6266"/>
                    <a:pt x="4056" y="6301"/>
                    <a:pt x="4056" y="6301"/>
                  </a:cubicBezTo>
                  <a:cubicBezTo>
                    <a:pt x="4064" y="6300"/>
                    <a:pt x="4064" y="6300"/>
                    <a:pt x="4064" y="6300"/>
                  </a:cubicBezTo>
                  <a:cubicBezTo>
                    <a:pt x="4059" y="6286"/>
                    <a:pt x="4059" y="6286"/>
                    <a:pt x="4059" y="6286"/>
                  </a:cubicBezTo>
                  <a:cubicBezTo>
                    <a:pt x="4113" y="6293"/>
                    <a:pt x="4113" y="6293"/>
                    <a:pt x="4113" y="6293"/>
                  </a:cubicBezTo>
                  <a:cubicBezTo>
                    <a:pt x="4116" y="6287"/>
                    <a:pt x="4116" y="6287"/>
                    <a:pt x="4116" y="6287"/>
                  </a:cubicBezTo>
                  <a:cubicBezTo>
                    <a:pt x="4116" y="6287"/>
                    <a:pt x="4129" y="6279"/>
                    <a:pt x="4157" y="6276"/>
                  </a:cubicBezTo>
                  <a:cubicBezTo>
                    <a:pt x="4186" y="6273"/>
                    <a:pt x="4238" y="6248"/>
                    <a:pt x="4238" y="6248"/>
                  </a:cubicBezTo>
                  <a:cubicBezTo>
                    <a:pt x="4235" y="6222"/>
                    <a:pt x="4235" y="6222"/>
                    <a:pt x="4235" y="6222"/>
                  </a:cubicBezTo>
                  <a:cubicBezTo>
                    <a:pt x="4250" y="6214"/>
                    <a:pt x="4250" y="6214"/>
                    <a:pt x="4250" y="6214"/>
                  </a:cubicBezTo>
                  <a:cubicBezTo>
                    <a:pt x="4258" y="6181"/>
                    <a:pt x="4258" y="6181"/>
                    <a:pt x="4258" y="6181"/>
                  </a:cubicBezTo>
                  <a:cubicBezTo>
                    <a:pt x="4251" y="6164"/>
                    <a:pt x="4251" y="6164"/>
                    <a:pt x="4251" y="6164"/>
                  </a:cubicBezTo>
                  <a:cubicBezTo>
                    <a:pt x="4251" y="6146"/>
                    <a:pt x="4251" y="6146"/>
                    <a:pt x="4251" y="6146"/>
                  </a:cubicBezTo>
                  <a:cubicBezTo>
                    <a:pt x="4251" y="6146"/>
                    <a:pt x="4240" y="6137"/>
                    <a:pt x="4229" y="6133"/>
                  </a:cubicBezTo>
                  <a:cubicBezTo>
                    <a:pt x="4223" y="6131"/>
                    <a:pt x="4216" y="6136"/>
                    <a:pt x="4211" y="6132"/>
                  </a:cubicBezTo>
                  <a:cubicBezTo>
                    <a:pt x="4203" y="6126"/>
                    <a:pt x="4217" y="6120"/>
                    <a:pt x="4220" y="6115"/>
                  </a:cubicBezTo>
                  <a:cubicBezTo>
                    <a:pt x="4224" y="6108"/>
                    <a:pt x="4219" y="6102"/>
                    <a:pt x="4219" y="6094"/>
                  </a:cubicBezTo>
                  <a:cubicBezTo>
                    <a:pt x="4219" y="6079"/>
                    <a:pt x="4186" y="6074"/>
                    <a:pt x="4163" y="6063"/>
                  </a:cubicBezTo>
                  <a:cubicBezTo>
                    <a:pt x="4140" y="6052"/>
                    <a:pt x="4140" y="6041"/>
                    <a:pt x="4150" y="6027"/>
                  </a:cubicBezTo>
                  <a:cubicBezTo>
                    <a:pt x="4151" y="6026"/>
                    <a:pt x="4151" y="6025"/>
                    <a:pt x="4152" y="6025"/>
                  </a:cubicBezTo>
                  <a:cubicBezTo>
                    <a:pt x="4132" y="6000"/>
                    <a:pt x="4132" y="6000"/>
                    <a:pt x="4132" y="6000"/>
                  </a:cubicBezTo>
                  <a:cubicBezTo>
                    <a:pt x="4152" y="6025"/>
                    <a:pt x="4152" y="6025"/>
                    <a:pt x="4152" y="6025"/>
                  </a:cubicBezTo>
                  <a:cubicBezTo>
                    <a:pt x="4160" y="6019"/>
                    <a:pt x="4174" y="6037"/>
                    <a:pt x="4179" y="6044"/>
                  </a:cubicBezTo>
                  <a:cubicBezTo>
                    <a:pt x="4179" y="6044"/>
                    <a:pt x="4179" y="6044"/>
                    <a:pt x="4179" y="6044"/>
                  </a:cubicBezTo>
                  <a:cubicBezTo>
                    <a:pt x="4180" y="6046"/>
                    <a:pt x="4181" y="6048"/>
                    <a:pt x="4181" y="6048"/>
                  </a:cubicBezTo>
                  <a:cubicBezTo>
                    <a:pt x="4213" y="6048"/>
                    <a:pt x="4213" y="6048"/>
                    <a:pt x="4213" y="6048"/>
                  </a:cubicBezTo>
                  <a:cubicBezTo>
                    <a:pt x="4220" y="6059"/>
                    <a:pt x="4220" y="6059"/>
                    <a:pt x="4220" y="6059"/>
                  </a:cubicBezTo>
                  <a:cubicBezTo>
                    <a:pt x="4220" y="6059"/>
                    <a:pt x="4247" y="6058"/>
                    <a:pt x="4280" y="6063"/>
                  </a:cubicBezTo>
                  <a:cubicBezTo>
                    <a:pt x="4313" y="6068"/>
                    <a:pt x="4332" y="6067"/>
                    <a:pt x="4348" y="6054"/>
                  </a:cubicBezTo>
                  <a:cubicBezTo>
                    <a:pt x="4362" y="6043"/>
                    <a:pt x="4369" y="6013"/>
                    <a:pt x="4371" y="6006"/>
                  </a:cubicBezTo>
                  <a:cubicBezTo>
                    <a:pt x="4371" y="6004"/>
                    <a:pt x="4371" y="6004"/>
                    <a:pt x="4371" y="6004"/>
                  </a:cubicBezTo>
                  <a:cubicBezTo>
                    <a:pt x="4371" y="6004"/>
                    <a:pt x="4394" y="5978"/>
                    <a:pt x="4399" y="5969"/>
                  </a:cubicBezTo>
                  <a:cubicBezTo>
                    <a:pt x="4404" y="5960"/>
                    <a:pt x="4396" y="5939"/>
                    <a:pt x="4396" y="5939"/>
                  </a:cubicBezTo>
                  <a:cubicBezTo>
                    <a:pt x="4408" y="5921"/>
                    <a:pt x="4408" y="5921"/>
                    <a:pt x="4408" y="5921"/>
                  </a:cubicBezTo>
                  <a:cubicBezTo>
                    <a:pt x="4408" y="5921"/>
                    <a:pt x="4398" y="5913"/>
                    <a:pt x="4398" y="5903"/>
                  </a:cubicBezTo>
                  <a:cubicBezTo>
                    <a:pt x="4398" y="5893"/>
                    <a:pt x="4408" y="5892"/>
                    <a:pt x="4408" y="5892"/>
                  </a:cubicBezTo>
                  <a:cubicBezTo>
                    <a:pt x="4410" y="5876"/>
                    <a:pt x="4410" y="5876"/>
                    <a:pt x="4410" y="5876"/>
                  </a:cubicBezTo>
                  <a:cubicBezTo>
                    <a:pt x="4410" y="5876"/>
                    <a:pt x="4422" y="5874"/>
                    <a:pt x="4426" y="5870"/>
                  </a:cubicBezTo>
                  <a:cubicBezTo>
                    <a:pt x="4430" y="5866"/>
                    <a:pt x="4429" y="5852"/>
                    <a:pt x="4429" y="5844"/>
                  </a:cubicBezTo>
                  <a:cubicBezTo>
                    <a:pt x="4429" y="5836"/>
                    <a:pt x="4447" y="5819"/>
                    <a:pt x="4456" y="5817"/>
                  </a:cubicBezTo>
                  <a:cubicBezTo>
                    <a:pt x="4465" y="5815"/>
                    <a:pt x="4462" y="5839"/>
                    <a:pt x="4462" y="5839"/>
                  </a:cubicBezTo>
                  <a:cubicBezTo>
                    <a:pt x="4462" y="5839"/>
                    <a:pt x="4456" y="5849"/>
                    <a:pt x="4453" y="5851"/>
                  </a:cubicBezTo>
                  <a:cubicBezTo>
                    <a:pt x="4450" y="5853"/>
                    <a:pt x="4451" y="5864"/>
                    <a:pt x="4451" y="5864"/>
                  </a:cubicBezTo>
                  <a:cubicBezTo>
                    <a:pt x="4444" y="5868"/>
                    <a:pt x="4444" y="5868"/>
                    <a:pt x="4444" y="5868"/>
                  </a:cubicBezTo>
                  <a:cubicBezTo>
                    <a:pt x="4444" y="5877"/>
                    <a:pt x="4444" y="5877"/>
                    <a:pt x="4444" y="5877"/>
                  </a:cubicBezTo>
                  <a:cubicBezTo>
                    <a:pt x="4427" y="5895"/>
                    <a:pt x="4427" y="5895"/>
                    <a:pt x="4427" y="5895"/>
                  </a:cubicBezTo>
                  <a:cubicBezTo>
                    <a:pt x="4406" y="5910"/>
                    <a:pt x="4406" y="5910"/>
                    <a:pt x="4406" y="5910"/>
                  </a:cubicBezTo>
                  <a:cubicBezTo>
                    <a:pt x="4406" y="5910"/>
                    <a:pt x="4413" y="5916"/>
                    <a:pt x="4420" y="5914"/>
                  </a:cubicBezTo>
                  <a:cubicBezTo>
                    <a:pt x="4425" y="5913"/>
                    <a:pt x="4425" y="5901"/>
                    <a:pt x="4430" y="5898"/>
                  </a:cubicBezTo>
                  <a:cubicBezTo>
                    <a:pt x="4434" y="5894"/>
                    <a:pt x="4441" y="5897"/>
                    <a:pt x="4443" y="5895"/>
                  </a:cubicBezTo>
                  <a:cubicBezTo>
                    <a:pt x="4449" y="5886"/>
                    <a:pt x="4471" y="5852"/>
                    <a:pt x="4476" y="5828"/>
                  </a:cubicBezTo>
                  <a:cubicBezTo>
                    <a:pt x="4481" y="5804"/>
                    <a:pt x="4491" y="5782"/>
                    <a:pt x="4495" y="5768"/>
                  </a:cubicBezTo>
                  <a:cubicBezTo>
                    <a:pt x="4499" y="5754"/>
                    <a:pt x="4527" y="5737"/>
                    <a:pt x="4529" y="5733"/>
                  </a:cubicBezTo>
                  <a:cubicBezTo>
                    <a:pt x="4531" y="5729"/>
                    <a:pt x="4524" y="5719"/>
                    <a:pt x="4524" y="5719"/>
                  </a:cubicBezTo>
                  <a:cubicBezTo>
                    <a:pt x="4537" y="5710"/>
                    <a:pt x="4537" y="5710"/>
                    <a:pt x="4537" y="5710"/>
                  </a:cubicBezTo>
                  <a:cubicBezTo>
                    <a:pt x="4533" y="5686"/>
                    <a:pt x="4533" y="5686"/>
                    <a:pt x="4533" y="5686"/>
                  </a:cubicBezTo>
                  <a:cubicBezTo>
                    <a:pt x="4537" y="5672"/>
                    <a:pt x="4537" y="5672"/>
                    <a:pt x="4537" y="5672"/>
                  </a:cubicBezTo>
                  <a:cubicBezTo>
                    <a:pt x="4528" y="5667"/>
                    <a:pt x="4528" y="5667"/>
                    <a:pt x="4528" y="5667"/>
                  </a:cubicBezTo>
                  <a:cubicBezTo>
                    <a:pt x="4528" y="5667"/>
                    <a:pt x="4535" y="5658"/>
                    <a:pt x="4535" y="5650"/>
                  </a:cubicBezTo>
                  <a:cubicBezTo>
                    <a:pt x="4535" y="5642"/>
                    <a:pt x="4520" y="5636"/>
                    <a:pt x="4520" y="5636"/>
                  </a:cubicBezTo>
                  <a:cubicBezTo>
                    <a:pt x="4519" y="5613"/>
                    <a:pt x="4519" y="5613"/>
                    <a:pt x="4519" y="5613"/>
                  </a:cubicBezTo>
                  <a:cubicBezTo>
                    <a:pt x="4509" y="5602"/>
                    <a:pt x="4509" y="5602"/>
                    <a:pt x="4509" y="5602"/>
                  </a:cubicBezTo>
                  <a:cubicBezTo>
                    <a:pt x="4523" y="5603"/>
                    <a:pt x="4523" y="5603"/>
                    <a:pt x="4523" y="5603"/>
                  </a:cubicBezTo>
                  <a:cubicBezTo>
                    <a:pt x="4522" y="5586"/>
                    <a:pt x="4522" y="5586"/>
                    <a:pt x="4522" y="5586"/>
                  </a:cubicBezTo>
                  <a:cubicBezTo>
                    <a:pt x="4513" y="5581"/>
                    <a:pt x="4513" y="5581"/>
                    <a:pt x="4513" y="5581"/>
                  </a:cubicBezTo>
                  <a:cubicBezTo>
                    <a:pt x="4513" y="5581"/>
                    <a:pt x="4525" y="5578"/>
                    <a:pt x="4525" y="5573"/>
                  </a:cubicBezTo>
                  <a:cubicBezTo>
                    <a:pt x="4525" y="5568"/>
                    <a:pt x="4509" y="5558"/>
                    <a:pt x="4509" y="5558"/>
                  </a:cubicBezTo>
                  <a:cubicBezTo>
                    <a:pt x="4525" y="5547"/>
                    <a:pt x="4525" y="5547"/>
                    <a:pt x="4525" y="5547"/>
                  </a:cubicBezTo>
                  <a:cubicBezTo>
                    <a:pt x="4525" y="5547"/>
                    <a:pt x="4538" y="5561"/>
                    <a:pt x="4544" y="5560"/>
                  </a:cubicBezTo>
                  <a:cubicBezTo>
                    <a:pt x="4550" y="5559"/>
                    <a:pt x="4546" y="5547"/>
                    <a:pt x="4546" y="5547"/>
                  </a:cubicBezTo>
                  <a:cubicBezTo>
                    <a:pt x="4546" y="5547"/>
                    <a:pt x="4546" y="5535"/>
                    <a:pt x="4554" y="5525"/>
                  </a:cubicBezTo>
                  <a:cubicBezTo>
                    <a:pt x="4562" y="5515"/>
                    <a:pt x="4574" y="5518"/>
                    <a:pt x="4580" y="5513"/>
                  </a:cubicBezTo>
                  <a:cubicBezTo>
                    <a:pt x="4586" y="5508"/>
                    <a:pt x="4583" y="5504"/>
                    <a:pt x="4586" y="5497"/>
                  </a:cubicBezTo>
                  <a:cubicBezTo>
                    <a:pt x="4589" y="5490"/>
                    <a:pt x="4607" y="5487"/>
                    <a:pt x="4607" y="5487"/>
                  </a:cubicBezTo>
                  <a:cubicBezTo>
                    <a:pt x="4609" y="5479"/>
                    <a:pt x="4609" y="5479"/>
                    <a:pt x="4609" y="5479"/>
                  </a:cubicBezTo>
                  <a:cubicBezTo>
                    <a:pt x="4609" y="5479"/>
                    <a:pt x="4615" y="5482"/>
                    <a:pt x="4620" y="5481"/>
                  </a:cubicBezTo>
                  <a:cubicBezTo>
                    <a:pt x="4625" y="5480"/>
                    <a:pt x="4624" y="5468"/>
                    <a:pt x="4630" y="5467"/>
                  </a:cubicBezTo>
                  <a:cubicBezTo>
                    <a:pt x="4636" y="5466"/>
                    <a:pt x="4655" y="5469"/>
                    <a:pt x="4655" y="5469"/>
                  </a:cubicBezTo>
                  <a:cubicBezTo>
                    <a:pt x="4659" y="5479"/>
                    <a:pt x="4659" y="5479"/>
                    <a:pt x="4659" y="5479"/>
                  </a:cubicBezTo>
                  <a:cubicBezTo>
                    <a:pt x="4670" y="5477"/>
                    <a:pt x="4670" y="5477"/>
                    <a:pt x="4670" y="5477"/>
                  </a:cubicBezTo>
                  <a:cubicBezTo>
                    <a:pt x="4657" y="5462"/>
                    <a:pt x="4657" y="5462"/>
                    <a:pt x="4657" y="5462"/>
                  </a:cubicBezTo>
                  <a:cubicBezTo>
                    <a:pt x="4657" y="5462"/>
                    <a:pt x="4666" y="5458"/>
                    <a:pt x="4670" y="5453"/>
                  </a:cubicBezTo>
                  <a:cubicBezTo>
                    <a:pt x="4674" y="5448"/>
                    <a:pt x="4696" y="5447"/>
                    <a:pt x="4696" y="5447"/>
                  </a:cubicBezTo>
                  <a:cubicBezTo>
                    <a:pt x="4685" y="5437"/>
                    <a:pt x="4685" y="5437"/>
                    <a:pt x="4685" y="5437"/>
                  </a:cubicBezTo>
                  <a:cubicBezTo>
                    <a:pt x="4685" y="5437"/>
                    <a:pt x="4697" y="5427"/>
                    <a:pt x="4702" y="5427"/>
                  </a:cubicBezTo>
                  <a:cubicBezTo>
                    <a:pt x="4707" y="5427"/>
                    <a:pt x="4703" y="5443"/>
                    <a:pt x="4706" y="5443"/>
                  </a:cubicBezTo>
                  <a:cubicBezTo>
                    <a:pt x="4709" y="5443"/>
                    <a:pt x="4715" y="5426"/>
                    <a:pt x="4715" y="5426"/>
                  </a:cubicBezTo>
                  <a:cubicBezTo>
                    <a:pt x="4740" y="5431"/>
                    <a:pt x="4740" y="5431"/>
                    <a:pt x="4740" y="5431"/>
                  </a:cubicBezTo>
                  <a:cubicBezTo>
                    <a:pt x="4740" y="5431"/>
                    <a:pt x="4745" y="5411"/>
                    <a:pt x="4756" y="5410"/>
                  </a:cubicBezTo>
                  <a:cubicBezTo>
                    <a:pt x="4767" y="5409"/>
                    <a:pt x="4764" y="5431"/>
                    <a:pt x="4764" y="5431"/>
                  </a:cubicBezTo>
                  <a:cubicBezTo>
                    <a:pt x="4809" y="5426"/>
                    <a:pt x="4809" y="5426"/>
                    <a:pt x="4809" y="5426"/>
                  </a:cubicBezTo>
                  <a:cubicBezTo>
                    <a:pt x="4814" y="5414"/>
                    <a:pt x="4814" y="5414"/>
                    <a:pt x="4814" y="5414"/>
                  </a:cubicBezTo>
                  <a:cubicBezTo>
                    <a:pt x="4808" y="5407"/>
                    <a:pt x="4808" y="5407"/>
                    <a:pt x="4808" y="5407"/>
                  </a:cubicBezTo>
                  <a:cubicBezTo>
                    <a:pt x="4808" y="5407"/>
                    <a:pt x="4814" y="5399"/>
                    <a:pt x="4820" y="5390"/>
                  </a:cubicBezTo>
                  <a:cubicBezTo>
                    <a:pt x="4826" y="5381"/>
                    <a:pt x="4856" y="5376"/>
                    <a:pt x="4856" y="5376"/>
                  </a:cubicBezTo>
                  <a:cubicBezTo>
                    <a:pt x="4856" y="5376"/>
                    <a:pt x="4853" y="5363"/>
                    <a:pt x="4853" y="5360"/>
                  </a:cubicBezTo>
                  <a:cubicBezTo>
                    <a:pt x="4853" y="5357"/>
                    <a:pt x="4854" y="5316"/>
                    <a:pt x="4854" y="5316"/>
                  </a:cubicBezTo>
                  <a:cubicBezTo>
                    <a:pt x="4872" y="5296"/>
                    <a:pt x="4872" y="5296"/>
                    <a:pt x="4872" y="5296"/>
                  </a:cubicBezTo>
                  <a:cubicBezTo>
                    <a:pt x="4872" y="5280"/>
                    <a:pt x="4872" y="5280"/>
                    <a:pt x="4872" y="5280"/>
                  </a:cubicBezTo>
                  <a:cubicBezTo>
                    <a:pt x="4885" y="5277"/>
                    <a:pt x="4885" y="5277"/>
                    <a:pt x="4885" y="5277"/>
                  </a:cubicBezTo>
                  <a:cubicBezTo>
                    <a:pt x="4885" y="5255"/>
                    <a:pt x="4885" y="5255"/>
                    <a:pt x="4885" y="5255"/>
                  </a:cubicBezTo>
                  <a:cubicBezTo>
                    <a:pt x="4885" y="5255"/>
                    <a:pt x="4894" y="5250"/>
                    <a:pt x="4898" y="5250"/>
                  </a:cubicBezTo>
                  <a:cubicBezTo>
                    <a:pt x="4902" y="5250"/>
                    <a:pt x="4902" y="5225"/>
                    <a:pt x="4902" y="5225"/>
                  </a:cubicBezTo>
                  <a:cubicBezTo>
                    <a:pt x="4902" y="5225"/>
                    <a:pt x="4896" y="5196"/>
                    <a:pt x="4894" y="5181"/>
                  </a:cubicBezTo>
                  <a:cubicBezTo>
                    <a:pt x="4892" y="5166"/>
                    <a:pt x="4910" y="5154"/>
                    <a:pt x="4917" y="5148"/>
                  </a:cubicBezTo>
                  <a:cubicBezTo>
                    <a:pt x="4924" y="5142"/>
                    <a:pt x="4914" y="5121"/>
                    <a:pt x="4914" y="5121"/>
                  </a:cubicBezTo>
                  <a:cubicBezTo>
                    <a:pt x="4918" y="5083"/>
                    <a:pt x="4918" y="5083"/>
                    <a:pt x="4918" y="5083"/>
                  </a:cubicBezTo>
                  <a:cubicBezTo>
                    <a:pt x="4918" y="5083"/>
                    <a:pt x="4926" y="5053"/>
                    <a:pt x="4925" y="5042"/>
                  </a:cubicBezTo>
                  <a:cubicBezTo>
                    <a:pt x="4924" y="5031"/>
                    <a:pt x="4912" y="4973"/>
                    <a:pt x="4912" y="4973"/>
                  </a:cubicBezTo>
                  <a:cubicBezTo>
                    <a:pt x="4917" y="4949"/>
                    <a:pt x="4917" y="4949"/>
                    <a:pt x="4917" y="4949"/>
                  </a:cubicBezTo>
                  <a:cubicBezTo>
                    <a:pt x="4917" y="4949"/>
                    <a:pt x="4908" y="4918"/>
                    <a:pt x="4911" y="4910"/>
                  </a:cubicBezTo>
                  <a:cubicBezTo>
                    <a:pt x="4914" y="4902"/>
                    <a:pt x="4925" y="4892"/>
                    <a:pt x="4925" y="4892"/>
                  </a:cubicBezTo>
                  <a:cubicBezTo>
                    <a:pt x="4917" y="4880"/>
                    <a:pt x="4917" y="4880"/>
                    <a:pt x="4917" y="4880"/>
                  </a:cubicBezTo>
                  <a:cubicBezTo>
                    <a:pt x="4917" y="4880"/>
                    <a:pt x="4924" y="4870"/>
                    <a:pt x="4928" y="4870"/>
                  </a:cubicBezTo>
                  <a:cubicBezTo>
                    <a:pt x="4932" y="4870"/>
                    <a:pt x="4941" y="4889"/>
                    <a:pt x="4941" y="4889"/>
                  </a:cubicBezTo>
                  <a:cubicBezTo>
                    <a:pt x="4941" y="4889"/>
                    <a:pt x="4963" y="4869"/>
                    <a:pt x="4970" y="4859"/>
                  </a:cubicBezTo>
                  <a:cubicBezTo>
                    <a:pt x="4977" y="4849"/>
                    <a:pt x="4982" y="4805"/>
                    <a:pt x="4982" y="4805"/>
                  </a:cubicBezTo>
                  <a:cubicBezTo>
                    <a:pt x="4982" y="4805"/>
                    <a:pt x="4988" y="4801"/>
                    <a:pt x="4994" y="4797"/>
                  </a:cubicBezTo>
                  <a:cubicBezTo>
                    <a:pt x="5000" y="4793"/>
                    <a:pt x="5005" y="4771"/>
                    <a:pt x="5005" y="4771"/>
                  </a:cubicBezTo>
                  <a:cubicBezTo>
                    <a:pt x="5005" y="4771"/>
                    <a:pt x="5018" y="4764"/>
                    <a:pt x="5025" y="4763"/>
                  </a:cubicBezTo>
                  <a:cubicBezTo>
                    <a:pt x="5032" y="4762"/>
                    <a:pt x="5032" y="4742"/>
                    <a:pt x="5032" y="4742"/>
                  </a:cubicBezTo>
                  <a:cubicBezTo>
                    <a:pt x="5032" y="4742"/>
                    <a:pt x="5046" y="4737"/>
                    <a:pt x="5059" y="4719"/>
                  </a:cubicBezTo>
                  <a:cubicBezTo>
                    <a:pt x="5072" y="4701"/>
                    <a:pt x="5087" y="4654"/>
                    <a:pt x="5087" y="4654"/>
                  </a:cubicBezTo>
                  <a:cubicBezTo>
                    <a:pt x="5087" y="4654"/>
                    <a:pt x="5099" y="4641"/>
                    <a:pt x="5100" y="4635"/>
                  </a:cubicBezTo>
                  <a:cubicBezTo>
                    <a:pt x="5101" y="4629"/>
                    <a:pt x="5095" y="4613"/>
                    <a:pt x="5095" y="4613"/>
                  </a:cubicBezTo>
                  <a:cubicBezTo>
                    <a:pt x="5095" y="4613"/>
                    <a:pt x="5098" y="4592"/>
                    <a:pt x="5098" y="4575"/>
                  </a:cubicBezTo>
                  <a:close/>
                  <a:moveTo>
                    <a:pt x="3153" y="1791"/>
                  </a:moveTo>
                  <a:cubicBezTo>
                    <a:pt x="3139" y="1791"/>
                    <a:pt x="3159" y="1774"/>
                    <a:pt x="3152" y="1771"/>
                  </a:cubicBezTo>
                  <a:cubicBezTo>
                    <a:pt x="3145" y="1768"/>
                    <a:pt x="3135" y="1781"/>
                    <a:pt x="3135" y="1781"/>
                  </a:cubicBezTo>
                  <a:cubicBezTo>
                    <a:pt x="3130" y="1783"/>
                    <a:pt x="3130" y="1783"/>
                    <a:pt x="3130" y="1783"/>
                  </a:cubicBezTo>
                  <a:cubicBezTo>
                    <a:pt x="3126" y="1794"/>
                    <a:pt x="3126" y="1794"/>
                    <a:pt x="3126" y="1794"/>
                  </a:cubicBezTo>
                  <a:cubicBezTo>
                    <a:pt x="3115" y="1790"/>
                    <a:pt x="3115" y="1790"/>
                    <a:pt x="3115" y="1790"/>
                  </a:cubicBezTo>
                  <a:cubicBezTo>
                    <a:pt x="3115" y="1790"/>
                    <a:pt x="3115" y="1801"/>
                    <a:pt x="3112" y="1808"/>
                  </a:cubicBezTo>
                  <a:cubicBezTo>
                    <a:pt x="3109" y="1815"/>
                    <a:pt x="3099" y="1818"/>
                    <a:pt x="3094" y="1823"/>
                  </a:cubicBezTo>
                  <a:cubicBezTo>
                    <a:pt x="3089" y="1828"/>
                    <a:pt x="3095" y="1836"/>
                    <a:pt x="3095" y="1836"/>
                  </a:cubicBezTo>
                  <a:cubicBezTo>
                    <a:pt x="3095" y="1836"/>
                    <a:pt x="3091" y="1836"/>
                    <a:pt x="3078" y="1850"/>
                  </a:cubicBezTo>
                  <a:cubicBezTo>
                    <a:pt x="3065" y="1864"/>
                    <a:pt x="3083" y="1864"/>
                    <a:pt x="3083" y="1872"/>
                  </a:cubicBezTo>
                  <a:cubicBezTo>
                    <a:pt x="3083" y="1880"/>
                    <a:pt x="3076" y="1881"/>
                    <a:pt x="3076" y="1881"/>
                  </a:cubicBezTo>
                  <a:cubicBezTo>
                    <a:pt x="3076" y="1881"/>
                    <a:pt x="3084" y="1885"/>
                    <a:pt x="3061" y="1917"/>
                  </a:cubicBezTo>
                  <a:cubicBezTo>
                    <a:pt x="3038" y="1949"/>
                    <a:pt x="2993" y="1959"/>
                    <a:pt x="2993" y="1959"/>
                  </a:cubicBezTo>
                  <a:cubicBezTo>
                    <a:pt x="2996" y="1939"/>
                    <a:pt x="2996" y="1939"/>
                    <a:pt x="2996" y="1939"/>
                  </a:cubicBezTo>
                  <a:cubicBezTo>
                    <a:pt x="2996" y="1939"/>
                    <a:pt x="2992" y="1932"/>
                    <a:pt x="2990" y="1928"/>
                  </a:cubicBezTo>
                  <a:cubicBezTo>
                    <a:pt x="2988" y="1924"/>
                    <a:pt x="3005" y="1904"/>
                    <a:pt x="3007" y="1897"/>
                  </a:cubicBezTo>
                  <a:cubicBezTo>
                    <a:pt x="3009" y="1890"/>
                    <a:pt x="3003" y="1889"/>
                    <a:pt x="3005" y="1877"/>
                  </a:cubicBezTo>
                  <a:cubicBezTo>
                    <a:pt x="3007" y="1865"/>
                    <a:pt x="3029" y="1846"/>
                    <a:pt x="3029" y="1846"/>
                  </a:cubicBezTo>
                  <a:cubicBezTo>
                    <a:pt x="3029" y="1837"/>
                    <a:pt x="3029" y="1837"/>
                    <a:pt x="3029" y="1837"/>
                  </a:cubicBezTo>
                  <a:cubicBezTo>
                    <a:pt x="3029" y="1837"/>
                    <a:pt x="3050" y="1822"/>
                    <a:pt x="3053" y="1816"/>
                  </a:cubicBezTo>
                  <a:cubicBezTo>
                    <a:pt x="3056" y="1810"/>
                    <a:pt x="3088" y="1779"/>
                    <a:pt x="3088" y="1779"/>
                  </a:cubicBezTo>
                  <a:cubicBezTo>
                    <a:pt x="3067" y="1785"/>
                    <a:pt x="3067" y="1785"/>
                    <a:pt x="3067" y="1785"/>
                  </a:cubicBezTo>
                  <a:cubicBezTo>
                    <a:pt x="3067" y="1785"/>
                    <a:pt x="3044" y="1804"/>
                    <a:pt x="3040" y="1799"/>
                  </a:cubicBezTo>
                  <a:cubicBezTo>
                    <a:pt x="3036" y="1794"/>
                    <a:pt x="3076" y="1770"/>
                    <a:pt x="3081" y="1762"/>
                  </a:cubicBezTo>
                  <a:cubicBezTo>
                    <a:pt x="3086" y="1754"/>
                    <a:pt x="3114" y="1733"/>
                    <a:pt x="3114" y="1733"/>
                  </a:cubicBezTo>
                  <a:cubicBezTo>
                    <a:pt x="3119" y="1739"/>
                    <a:pt x="3119" y="1739"/>
                    <a:pt x="3119" y="1739"/>
                  </a:cubicBezTo>
                  <a:cubicBezTo>
                    <a:pt x="3129" y="1733"/>
                    <a:pt x="3129" y="1733"/>
                    <a:pt x="3129" y="1733"/>
                  </a:cubicBezTo>
                  <a:cubicBezTo>
                    <a:pt x="3129" y="1733"/>
                    <a:pt x="3124" y="1742"/>
                    <a:pt x="3134" y="1741"/>
                  </a:cubicBezTo>
                  <a:cubicBezTo>
                    <a:pt x="3144" y="1740"/>
                    <a:pt x="3141" y="1726"/>
                    <a:pt x="3141" y="1726"/>
                  </a:cubicBezTo>
                  <a:cubicBezTo>
                    <a:pt x="3157" y="1731"/>
                    <a:pt x="3157" y="1731"/>
                    <a:pt x="3157" y="1731"/>
                  </a:cubicBezTo>
                  <a:cubicBezTo>
                    <a:pt x="3157" y="1731"/>
                    <a:pt x="3179" y="1720"/>
                    <a:pt x="3189" y="1723"/>
                  </a:cubicBezTo>
                  <a:cubicBezTo>
                    <a:pt x="3199" y="1726"/>
                    <a:pt x="3204" y="1738"/>
                    <a:pt x="3204" y="1738"/>
                  </a:cubicBezTo>
                  <a:cubicBezTo>
                    <a:pt x="3187" y="1744"/>
                    <a:pt x="3187" y="1744"/>
                    <a:pt x="3187" y="1744"/>
                  </a:cubicBezTo>
                  <a:cubicBezTo>
                    <a:pt x="3189" y="1761"/>
                    <a:pt x="3189" y="1761"/>
                    <a:pt x="3189" y="1761"/>
                  </a:cubicBezTo>
                  <a:cubicBezTo>
                    <a:pt x="3189" y="1761"/>
                    <a:pt x="3177" y="1759"/>
                    <a:pt x="3170" y="1759"/>
                  </a:cubicBezTo>
                  <a:cubicBezTo>
                    <a:pt x="3163" y="1759"/>
                    <a:pt x="3166" y="1776"/>
                    <a:pt x="3166" y="1776"/>
                  </a:cubicBezTo>
                  <a:cubicBezTo>
                    <a:pt x="3166" y="1776"/>
                    <a:pt x="3167" y="1791"/>
                    <a:pt x="3153" y="1791"/>
                  </a:cubicBezTo>
                  <a:close/>
                  <a:moveTo>
                    <a:pt x="3303" y="1940"/>
                  </a:moveTo>
                  <a:cubicBezTo>
                    <a:pt x="3295" y="1943"/>
                    <a:pt x="3287" y="1946"/>
                    <a:pt x="3267" y="1951"/>
                  </a:cubicBezTo>
                  <a:cubicBezTo>
                    <a:pt x="3247" y="1956"/>
                    <a:pt x="3239" y="1962"/>
                    <a:pt x="3232" y="1965"/>
                  </a:cubicBezTo>
                  <a:cubicBezTo>
                    <a:pt x="3225" y="1968"/>
                    <a:pt x="3213" y="1966"/>
                    <a:pt x="3213" y="1966"/>
                  </a:cubicBezTo>
                  <a:cubicBezTo>
                    <a:pt x="3213" y="1966"/>
                    <a:pt x="3213" y="1971"/>
                    <a:pt x="3201" y="1972"/>
                  </a:cubicBezTo>
                  <a:cubicBezTo>
                    <a:pt x="3189" y="1973"/>
                    <a:pt x="3188" y="1962"/>
                    <a:pt x="3188" y="1962"/>
                  </a:cubicBezTo>
                  <a:cubicBezTo>
                    <a:pt x="3188" y="1962"/>
                    <a:pt x="3166" y="1959"/>
                    <a:pt x="3166" y="1952"/>
                  </a:cubicBezTo>
                  <a:cubicBezTo>
                    <a:pt x="3166" y="1952"/>
                    <a:pt x="3179" y="1946"/>
                    <a:pt x="3190" y="1941"/>
                  </a:cubicBezTo>
                  <a:cubicBezTo>
                    <a:pt x="3198" y="1937"/>
                    <a:pt x="3205" y="1934"/>
                    <a:pt x="3206" y="1934"/>
                  </a:cubicBezTo>
                  <a:cubicBezTo>
                    <a:pt x="3209" y="1934"/>
                    <a:pt x="3213" y="1939"/>
                    <a:pt x="3213" y="1939"/>
                  </a:cubicBezTo>
                  <a:cubicBezTo>
                    <a:pt x="3213" y="1939"/>
                    <a:pt x="3228" y="1925"/>
                    <a:pt x="3236" y="1923"/>
                  </a:cubicBezTo>
                  <a:cubicBezTo>
                    <a:pt x="3244" y="1921"/>
                    <a:pt x="3252" y="1924"/>
                    <a:pt x="3252" y="1924"/>
                  </a:cubicBezTo>
                  <a:cubicBezTo>
                    <a:pt x="3252" y="1924"/>
                    <a:pt x="3257" y="1903"/>
                    <a:pt x="3282" y="1902"/>
                  </a:cubicBezTo>
                  <a:cubicBezTo>
                    <a:pt x="3307" y="1901"/>
                    <a:pt x="3324" y="1908"/>
                    <a:pt x="3324" y="1908"/>
                  </a:cubicBezTo>
                  <a:cubicBezTo>
                    <a:pt x="3340" y="1894"/>
                    <a:pt x="3340" y="1894"/>
                    <a:pt x="3340" y="1894"/>
                  </a:cubicBezTo>
                  <a:cubicBezTo>
                    <a:pt x="3382" y="1896"/>
                    <a:pt x="3382" y="1896"/>
                    <a:pt x="3382" y="1896"/>
                  </a:cubicBezTo>
                  <a:cubicBezTo>
                    <a:pt x="3391" y="1896"/>
                    <a:pt x="3391" y="1896"/>
                    <a:pt x="3391" y="1896"/>
                  </a:cubicBezTo>
                  <a:cubicBezTo>
                    <a:pt x="3391" y="1896"/>
                    <a:pt x="3311" y="1937"/>
                    <a:pt x="3303" y="1940"/>
                  </a:cubicBezTo>
                  <a:close/>
                  <a:moveTo>
                    <a:pt x="3446" y="1834"/>
                  </a:moveTo>
                  <a:cubicBezTo>
                    <a:pt x="3450" y="1834"/>
                    <a:pt x="3467" y="1828"/>
                    <a:pt x="3467" y="1828"/>
                  </a:cubicBezTo>
                  <a:cubicBezTo>
                    <a:pt x="3467" y="1828"/>
                    <a:pt x="3494" y="1838"/>
                    <a:pt x="3498" y="1838"/>
                  </a:cubicBezTo>
                  <a:cubicBezTo>
                    <a:pt x="3502" y="1838"/>
                    <a:pt x="3502" y="1822"/>
                    <a:pt x="3502" y="1822"/>
                  </a:cubicBezTo>
                  <a:cubicBezTo>
                    <a:pt x="3502" y="1822"/>
                    <a:pt x="3509" y="1813"/>
                    <a:pt x="3519" y="1816"/>
                  </a:cubicBezTo>
                  <a:cubicBezTo>
                    <a:pt x="3522" y="1817"/>
                    <a:pt x="3524" y="1818"/>
                    <a:pt x="3525" y="1819"/>
                  </a:cubicBezTo>
                  <a:cubicBezTo>
                    <a:pt x="3530" y="1824"/>
                    <a:pt x="3531" y="1830"/>
                    <a:pt x="3531" y="1830"/>
                  </a:cubicBezTo>
                  <a:cubicBezTo>
                    <a:pt x="3531" y="1830"/>
                    <a:pt x="3530" y="1838"/>
                    <a:pt x="3523" y="1844"/>
                  </a:cubicBezTo>
                  <a:cubicBezTo>
                    <a:pt x="3516" y="1850"/>
                    <a:pt x="3516" y="1860"/>
                    <a:pt x="3516" y="1860"/>
                  </a:cubicBezTo>
                  <a:cubicBezTo>
                    <a:pt x="3504" y="1859"/>
                    <a:pt x="3504" y="1859"/>
                    <a:pt x="3504" y="1859"/>
                  </a:cubicBezTo>
                  <a:cubicBezTo>
                    <a:pt x="3504" y="1859"/>
                    <a:pt x="3504" y="1863"/>
                    <a:pt x="3492" y="1868"/>
                  </a:cubicBezTo>
                  <a:cubicBezTo>
                    <a:pt x="3480" y="1873"/>
                    <a:pt x="3474" y="1863"/>
                    <a:pt x="3474" y="1863"/>
                  </a:cubicBezTo>
                  <a:cubicBezTo>
                    <a:pt x="3474" y="1863"/>
                    <a:pt x="3469" y="1871"/>
                    <a:pt x="3456" y="1872"/>
                  </a:cubicBezTo>
                  <a:cubicBezTo>
                    <a:pt x="3443" y="1873"/>
                    <a:pt x="3439" y="1863"/>
                    <a:pt x="3430" y="1862"/>
                  </a:cubicBezTo>
                  <a:cubicBezTo>
                    <a:pt x="3421" y="1861"/>
                    <a:pt x="3414" y="1869"/>
                    <a:pt x="3393" y="1874"/>
                  </a:cubicBezTo>
                  <a:cubicBezTo>
                    <a:pt x="3392" y="1874"/>
                    <a:pt x="3390" y="1875"/>
                    <a:pt x="3389" y="1875"/>
                  </a:cubicBezTo>
                  <a:cubicBezTo>
                    <a:pt x="3371" y="1879"/>
                    <a:pt x="3365" y="1878"/>
                    <a:pt x="3364" y="1871"/>
                  </a:cubicBezTo>
                  <a:cubicBezTo>
                    <a:pt x="3363" y="1861"/>
                    <a:pt x="3397" y="1839"/>
                    <a:pt x="3410" y="1839"/>
                  </a:cubicBezTo>
                  <a:cubicBezTo>
                    <a:pt x="3423" y="1839"/>
                    <a:pt x="3442" y="1834"/>
                    <a:pt x="3446" y="1834"/>
                  </a:cubicBezTo>
                  <a:close/>
                  <a:moveTo>
                    <a:pt x="3263" y="1714"/>
                  </a:moveTo>
                  <a:cubicBezTo>
                    <a:pt x="3268" y="1713"/>
                    <a:pt x="3276" y="1716"/>
                    <a:pt x="3288" y="1717"/>
                  </a:cubicBezTo>
                  <a:cubicBezTo>
                    <a:pt x="3300" y="1718"/>
                    <a:pt x="3307" y="1716"/>
                    <a:pt x="3307" y="1716"/>
                  </a:cubicBezTo>
                  <a:cubicBezTo>
                    <a:pt x="3319" y="1716"/>
                    <a:pt x="3334" y="1728"/>
                    <a:pt x="3345" y="1728"/>
                  </a:cubicBezTo>
                  <a:cubicBezTo>
                    <a:pt x="3356" y="1728"/>
                    <a:pt x="3366" y="1728"/>
                    <a:pt x="3366" y="1728"/>
                  </a:cubicBezTo>
                  <a:cubicBezTo>
                    <a:pt x="3388" y="1728"/>
                    <a:pt x="3386" y="1742"/>
                    <a:pt x="3386" y="1751"/>
                  </a:cubicBezTo>
                  <a:cubicBezTo>
                    <a:pt x="3386" y="1760"/>
                    <a:pt x="3396" y="1749"/>
                    <a:pt x="3396" y="1759"/>
                  </a:cubicBezTo>
                  <a:cubicBezTo>
                    <a:pt x="3396" y="1769"/>
                    <a:pt x="3392" y="1772"/>
                    <a:pt x="3387" y="1777"/>
                  </a:cubicBezTo>
                  <a:cubicBezTo>
                    <a:pt x="3382" y="1782"/>
                    <a:pt x="3400" y="1790"/>
                    <a:pt x="3400" y="1790"/>
                  </a:cubicBezTo>
                  <a:cubicBezTo>
                    <a:pt x="3385" y="1789"/>
                    <a:pt x="3385" y="1789"/>
                    <a:pt x="3385" y="1789"/>
                  </a:cubicBezTo>
                  <a:cubicBezTo>
                    <a:pt x="3385" y="1789"/>
                    <a:pt x="3385" y="1798"/>
                    <a:pt x="3378" y="1806"/>
                  </a:cubicBezTo>
                  <a:cubicBezTo>
                    <a:pt x="3370" y="1813"/>
                    <a:pt x="3369" y="1806"/>
                    <a:pt x="3350" y="1796"/>
                  </a:cubicBezTo>
                  <a:cubicBezTo>
                    <a:pt x="3331" y="1786"/>
                    <a:pt x="3337" y="1767"/>
                    <a:pt x="3337" y="1767"/>
                  </a:cubicBezTo>
                  <a:cubicBezTo>
                    <a:pt x="3326" y="1762"/>
                    <a:pt x="3326" y="1762"/>
                    <a:pt x="3326" y="1762"/>
                  </a:cubicBezTo>
                  <a:cubicBezTo>
                    <a:pt x="3328" y="1774"/>
                    <a:pt x="3328" y="1774"/>
                    <a:pt x="3328" y="1774"/>
                  </a:cubicBezTo>
                  <a:cubicBezTo>
                    <a:pt x="3328" y="1774"/>
                    <a:pt x="3336" y="1787"/>
                    <a:pt x="3328" y="1801"/>
                  </a:cubicBezTo>
                  <a:cubicBezTo>
                    <a:pt x="3320" y="1815"/>
                    <a:pt x="3302" y="1819"/>
                    <a:pt x="3294" y="1832"/>
                  </a:cubicBezTo>
                  <a:cubicBezTo>
                    <a:pt x="3286" y="1845"/>
                    <a:pt x="3283" y="1857"/>
                    <a:pt x="3275" y="1866"/>
                  </a:cubicBezTo>
                  <a:cubicBezTo>
                    <a:pt x="3267" y="1874"/>
                    <a:pt x="3251" y="1881"/>
                    <a:pt x="3244" y="1877"/>
                  </a:cubicBezTo>
                  <a:cubicBezTo>
                    <a:pt x="3244" y="1876"/>
                    <a:pt x="3243" y="1876"/>
                    <a:pt x="3243" y="1876"/>
                  </a:cubicBezTo>
                  <a:cubicBezTo>
                    <a:pt x="3237" y="1870"/>
                    <a:pt x="3250" y="1841"/>
                    <a:pt x="3248" y="1833"/>
                  </a:cubicBezTo>
                  <a:cubicBezTo>
                    <a:pt x="3246" y="1825"/>
                    <a:pt x="3232" y="1832"/>
                    <a:pt x="3226" y="1837"/>
                  </a:cubicBezTo>
                  <a:cubicBezTo>
                    <a:pt x="3220" y="1842"/>
                    <a:pt x="3192" y="1860"/>
                    <a:pt x="3190" y="1847"/>
                  </a:cubicBezTo>
                  <a:cubicBezTo>
                    <a:pt x="3189" y="1841"/>
                    <a:pt x="3213" y="1827"/>
                    <a:pt x="3216" y="1822"/>
                  </a:cubicBezTo>
                  <a:cubicBezTo>
                    <a:pt x="3219" y="1817"/>
                    <a:pt x="3230" y="1814"/>
                    <a:pt x="3239" y="1808"/>
                  </a:cubicBezTo>
                  <a:cubicBezTo>
                    <a:pt x="3248" y="1802"/>
                    <a:pt x="3240" y="1779"/>
                    <a:pt x="3240" y="1779"/>
                  </a:cubicBezTo>
                  <a:cubicBezTo>
                    <a:pt x="3240" y="1779"/>
                    <a:pt x="3243" y="1784"/>
                    <a:pt x="3251" y="1767"/>
                  </a:cubicBezTo>
                  <a:cubicBezTo>
                    <a:pt x="3259" y="1750"/>
                    <a:pt x="3239" y="1757"/>
                    <a:pt x="3230" y="1750"/>
                  </a:cubicBezTo>
                  <a:cubicBezTo>
                    <a:pt x="3221" y="1743"/>
                    <a:pt x="3221" y="1737"/>
                    <a:pt x="3221" y="1737"/>
                  </a:cubicBezTo>
                  <a:cubicBezTo>
                    <a:pt x="3221" y="1737"/>
                    <a:pt x="3218" y="1744"/>
                    <a:pt x="3213" y="1739"/>
                  </a:cubicBezTo>
                  <a:cubicBezTo>
                    <a:pt x="3208" y="1734"/>
                    <a:pt x="3214" y="1724"/>
                    <a:pt x="3214" y="1724"/>
                  </a:cubicBezTo>
                  <a:cubicBezTo>
                    <a:pt x="3238" y="1728"/>
                    <a:pt x="3238" y="1728"/>
                    <a:pt x="3238" y="1728"/>
                  </a:cubicBezTo>
                  <a:cubicBezTo>
                    <a:pt x="3238" y="1728"/>
                    <a:pt x="3242" y="1725"/>
                    <a:pt x="3239" y="1717"/>
                  </a:cubicBezTo>
                  <a:cubicBezTo>
                    <a:pt x="3238" y="1713"/>
                    <a:pt x="3242" y="1713"/>
                    <a:pt x="3247" y="1713"/>
                  </a:cubicBezTo>
                  <a:cubicBezTo>
                    <a:pt x="3253" y="1713"/>
                    <a:pt x="3260" y="1714"/>
                    <a:pt x="3263" y="1714"/>
                  </a:cubicBezTo>
                  <a:close/>
                  <a:moveTo>
                    <a:pt x="3009" y="1640"/>
                  </a:moveTo>
                  <a:cubicBezTo>
                    <a:pt x="3021" y="1632"/>
                    <a:pt x="3036" y="1629"/>
                    <a:pt x="3055" y="1625"/>
                  </a:cubicBezTo>
                  <a:cubicBezTo>
                    <a:pt x="3060" y="1624"/>
                    <a:pt x="3064" y="1622"/>
                    <a:pt x="3068" y="1619"/>
                  </a:cubicBezTo>
                  <a:cubicBezTo>
                    <a:pt x="3080" y="1611"/>
                    <a:pt x="3087" y="1598"/>
                    <a:pt x="3088" y="1595"/>
                  </a:cubicBezTo>
                  <a:cubicBezTo>
                    <a:pt x="3089" y="1591"/>
                    <a:pt x="3108" y="1599"/>
                    <a:pt x="3108" y="1599"/>
                  </a:cubicBezTo>
                  <a:cubicBezTo>
                    <a:pt x="3116" y="1593"/>
                    <a:pt x="3116" y="1593"/>
                    <a:pt x="3116" y="1593"/>
                  </a:cubicBezTo>
                  <a:cubicBezTo>
                    <a:pt x="3116" y="1593"/>
                    <a:pt x="3123" y="1581"/>
                    <a:pt x="3124" y="1578"/>
                  </a:cubicBezTo>
                  <a:cubicBezTo>
                    <a:pt x="3125" y="1575"/>
                    <a:pt x="3133" y="1588"/>
                    <a:pt x="3133" y="1588"/>
                  </a:cubicBezTo>
                  <a:cubicBezTo>
                    <a:pt x="3150" y="1585"/>
                    <a:pt x="3150" y="1585"/>
                    <a:pt x="3150" y="1585"/>
                  </a:cubicBezTo>
                  <a:cubicBezTo>
                    <a:pt x="3150" y="1585"/>
                    <a:pt x="3141" y="1575"/>
                    <a:pt x="3150" y="1568"/>
                  </a:cubicBezTo>
                  <a:cubicBezTo>
                    <a:pt x="3159" y="1561"/>
                    <a:pt x="3168" y="1576"/>
                    <a:pt x="3168" y="1576"/>
                  </a:cubicBezTo>
                  <a:cubicBezTo>
                    <a:pt x="3186" y="1576"/>
                    <a:pt x="3186" y="1576"/>
                    <a:pt x="3186" y="1576"/>
                  </a:cubicBezTo>
                  <a:cubicBezTo>
                    <a:pt x="3190" y="1580"/>
                    <a:pt x="3190" y="1580"/>
                    <a:pt x="3190" y="1580"/>
                  </a:cubicBezTo>
                  <a:cubicBezTo>
                    <a:pt x="3190" y="1580"/>
                    <a:pt x="3210" y="1581"/>
                    <a:pt x="3215" y="1586"/>
                  </a:cubicBezTo>
                  <a:cubicBezTo>
                    <a:pt x="3220" y="1591"/>
                    <a:pt x="3209" y="1617"/>
                    <a:pt x="3209" y="1617"/>
                  </a:cubicBezTo>
                  <a:cubicBezTo>
                    <a:pt x="3215" y="1624"/>
                    <a:pt x="3215" y="1624"/>
                    <a:pt x="3215" y="1624"/>
                  </a:cubicBezTo>
                  <a:cubicBezTo>
                    <a:pt x="3209" y="1639"/>
                    <a:pt x="3209" y="1639"/>
                    <a:pt x="3209" y="1639"/>
                  </a:cubicBezTo>
                  <a:cubicBezTo>
                    <a:pt x="3209" y="1639"/>
                    <a:pt x="3248" y="1616"/>
                    <a:pt x="3259" y="1623"/>
                  </a:cubicBezTo>
                  <a:cubicBezTo>
                    <a:pt x="3270" y="1630"/>
                    <a:pt x="3242" y="1640"/>
                    <a:pt x="3241" y="1644"/>
                  </a:cubicBezTo>
                  <a:cubicBezTo>
                    <a:pt x="3240" y="1648"/>
                    <a:pt x="3255" y="1651"/>
                    <a:pt x="3255" y="1656"/>
                  </a:cubicBezTo>
                  <a:cubicBezTo>
                    <a:pt x="3255" y="1661"/>
                    <a:pt x="3239" y="1667"/>
                    <a:pt x="3239" y="1672"/>
                  </a:cubicBezTo>
                  <a:cubicBezTo>
                    <a:pt x="3239" y="1677"/>
                    <a:pt x="3252" y="1677"/>
                    <a:pt x="3249" y="1684"/>
                  </a:cubicBezTo>
                  <a:cubicBezTo>
                    <a:pt x="3246" y="1691"/>
                    <a:pt x="3240" y="1692"/>
                    <a:pt x="3240" y="1692"/>
                  </a:cubicBezTo>
                  <a:cubicBezTo>
                    <a:pt x="3238" y="1698"/>
                    <a:pt x="3238" y="1698"/>
                    <a:pt x="3238" y="1698"/>
                  </a:cubicBezTo>
                  <a:cubicBezTo>
                    <a:pt x="3236" y="1706"/>
                    <a:pt x="3236" y="1706"/>
                    <a:pt x="3236" y="1706"/>
                  </a:cubicBezTo>
                  <a:cubicBezTo>
                    <a:pt x="3220" y="1700"/>
                    <a:pt x="3220" y="1700"/>
                    <a:pt x="3220" y="1700"/>
                  </a:cubicBezTo>
                  <a:cubicBezTo>
                    <a:pt x="3219" y="1686"/>
                    <a:pt x="3219" y="1686"/>
                    <a:pt x="3219" y="1686"/>
                  </a:cubicBezTo>
                  <a:cubicBezTo>
                    <a:pt x="3210" y="1688"/>
                    <a:pt x="3210" y="1688"/>
                    <a:pt x="3210" y="1688"/>
                  </a:cubicBezTo>
                  <a:cubicBezTo>
                    <a:pt x="3199" y="1693"/>
                    <a:pt x="3199" y="1693"/>
                    <a:pt x="3199" y="1693"/>
                  </a:cubicBezTo>
                  <a:cubicBezTo>
                    <a:pt x="3163" y="1690"/>
                    <a:pt x="3163" y="1690"/>
                    <a:pt x="3163" y="1690"/>
                  </a:cubicBezTo>
                  <a:cubicBezTo>
                    <a:pt x="3163" y="1690"/>
                    <a:pt x="3150" y="1701"/>
                    <a:pt x="3129" y="1699"/>
                  </a:cubicBezTo>
                  <a:cubicBezTo>
                    <a:pt x="3108" y="1697"/>
                    <a:pt x="3113" y="1683"/>
                    <a:pt x="3109" y="1678"/>
                  </a:cubicBezTo>
                  <a:cubicBezTo>
                    <a:pt x="3105" y="1673"/>
                    <a:pt x="3085" y="1684"/>
                    <a:pt x="3082" y="1675"/>
                  </a:cubicBezTo>
                  <a:cubicBezTo>
                    <a:pt x="3119" y="1654"/>
                    <a:pt x="3119" y="1654"/>
                    <a:pt x="3119" y="1654"/>
                  </a:cubicBezTo>
                  <a:cubicBezTo>
                    <a:pt x="3119" y="1654"/>
                    <a:pt x="3114" y="1649"/>
                    <a:pt x="3107" y="1649"/>
                  </a:cubicBezTo>
                  <a:cubicBezTo>
                    <a:pt x="3100" y="1649"/>
                    <a:pt x="3086" y="1661"/>
                    <a:pt x="3082" y="1662"/>
                  </a:cubicBezTo>
                  <a:cubicBezTo>
                    <a:pt x="3078" y="1663"/>
                    <a:pt x="3056" y="1676"/>
                    <a:pt x="3042" y="1681"/>
                  </a:cubicBezTo>
                  <a:cubicBezTo>
                    <a:pt x="3028" y="1686"/>
                    <a:pt x="3012" y="1683"/>
                    <a:pt x="3012" y="1683"/>
                  </a:cubicBezTo>
                  <a:cubicBezTo>
                    <a:pt x="3006" y="1692"/>
                    <a:pt x="3006" y="1692"/>
                    <a:pt x="3006" y="1692"/>
                  </a:cubicBezTo>
                  <a:cubicBezTo>
                    <a:pt x="3006" y="1692"/>
                    <a:pt x="2982" y="1694"/>
                    <a:pt x="2973" y="1693"/>
                  </a:cubicBezTo>
                  <a:cubicBezTo>
                    <a:pt x="2964" y="1692"/>
                    <a:pt x="2988" y="1675"/>
                    <a:pt x="2988" y="1675"/>
                  </a:cubicBezTo>
                  <a:cubicBezTo>
                    <a:pt x="2988" y="1675"/>
                    <a:pt x="2978" y="1679"/>
                    <a:pt x="2959" y="1680"/>
                  </a:cubicBezTo>
                  <a:cubicBezTo>
                    <a:pt x="2940" y="1681"/>
                    <a:pt x="2938" y="1693"/>
                    <a:pt x="2921" y="1687"/>
                  </a:cubicBezTo>
                  <a:cubicBezTo>
                    <a:pt x="2904" y="1681"/>
                    <a:pt x="2997" y="1648"/>
                    <a:pt x="3009" y="1640"/>
                  </a:cubicBezTo>
                  <a:close/>
                  <a:moveTo>
                    <a:pt x="2864" y="1316"/>
                  </a:moveTo>
                  <a:cubicBezTo>
                    <a:pt x="2874" y="1312"/>
                    <a:pt x="2873" y="1319"/>
                    <a:pt x="2877" y="1320"/>
                  </a:cubicBezTo>
                  <a:cubicBezTo>
                    <a:pt x="2881" y="1321"/>
                    <a:pt x="2892" y="1318"/>
                    <a:pt x="2900" y="1335"/>
                  </a:cubicBezTo>
                  <a:cubicBezTo>
                    <a:pt x="2908" y="1352"/>
                    <a:pt x="2887" y="1368"/>
                    <a:pt x="2887" y="1368"/>
                  </a:cubicBezTo>
                  <a:cubicBezTo>
                    <a:pt x="2887" y="1368"/>
                    <a:pt x="2884" y="1397"/>
                    <a:pt x="2885" y="1406"/>
                  </a:cubicBezTo>
                  <a:cubicBezTo>
                    <a:pt x="2886" y="1415"/>
                    <a:pt x="2881" y="1424"/>
                    <a:pt x="2878" y="1429"/>
                  </a:cubicBezTo>
                  <a:cubicBezTo>
                    <a:pt x="2875" y="1434"/>
                    <a:pt x="2882" y="1435"/>
                    <a:pt x="2885" y="1446"/>
                  </a:cubicBezTo>
                  <a:cubicBezTo>
                    <a:pt x="2888" y="1457"/>
                    <a:pt x="2864" y="1484"/>
                    <a:pt x="2864" y="1484"/>
                  </a:cubicBezTo>
                  <a:cubicBezTo>
                    <a:pt x="2850" y="1479"/>
                    <a:pt x="2850" y="1479"/>
                    <a:pt x="2850" y="1479"/>
                  </a:cubicBezTo>
                  <a:cubicBezTo>
                    <a:pt x="2850" y="1479"/>
                    <a:pt x="2847" y="1498"/>
                    <a:pt x="2830" y="1495"/>
                  </a:cubicBezTo>
                  <a:cubicBezTo>
                    <a:pt x="2813" y="1492"/>
                    <a:pt x="2869" y="1444"/>
                    <a:pt x="2869" y="1432"/>
                  </a:cubicBezTo>
                  <a:cubicBezTo>
                    <a:pt x="2869" y="1420"/>
                    <a:pt x="2848" y="1440"/>
                    <a:pt x="2848" y="1440"/>
                  </a:cubicBezTo>
                  <a:cubicBezTo>
                    <a:pt x="2861" y="1419"/>
                    <a:pt x="2861" y="1419"/>
                    <a:pt x="2861" y="1419"/>
                  </a:cubicBezTo>
                  <a:cubicBezTo>
                    <a:pt x="2861" y="1419"/>
                    <a:pt x="2865" y="1406"/>
                    <a:pt x="2854" y="1403"/>
                  </a:cubicBezTo>
                  <a:cubicBezTo>
                    <a:pt x="2843" y="1400"/>
                    <a:pt x="2849" y="1420"/>
                    <a:pt x="2836" y="1420"/>
                  </a:cubicBezTo>
                  <a:cubicBezTo>
                    <a:pt x="2823" y="1420"/>
                    <a:pt x="2833" y="1389"/>
                    <a:pt x="2833" y="1389"/>
                  </a:cubicBezTo>
                  <a:cubicBezTo>
                    <a:pt x="2833" y="1389"/>
                    <a:pt x="2827" y="1383"/>
                    <a:pt x="2825" y="1374"/>
                  </a:cubicBezTo>
                  <a:cubicBezTo>
                    <a:pt x="2823" y="1365"/>
                    <a:pt x="2847" y="1365"/>
                    <a:pt x="2849" y="1359"/>
                  </a:cubicBezTo>
                  <a:cubicBezTo>
                    <a:pt x="2851" y="1353"/>
                    <a:pt x="2829" y="1362"/>
                    <a:pt x="2825" y="1353"/>
                  </a:cubicBezTo>
                  <a:cubicBezTo>
                    <a:pt x="2824" y="1351"/>
                    <a:pt x="2854" y="1320"/>
                    <a:pt x="2864" y="1316"/>
                  </a:cubicBezTo>
                  <a:close/>
                  <a:moveTo>
                    <a:pt x="2777" y="867"/>
                  </a:moveTo>
                  <a:cubicBezTo>
                    <a:pt x="2795" y="866"/>
                    <a:pt x="2833" y="870"/>
                    <a:pt x="2830" y="874"/>
                  </a:cubicBezTo>
                  <a:cubicBezTo>
                    <a:pt x="2827" y="878"/>
                    <a:pt x="2806" y="888"/>
                    <a:pt x="2806" y="885"/>
                  </a:cubicBezTo>
                  <a:cubicBezTo>
                    <a:pt x="2806" y="882"/>
                    <a:pt x="2794" y="868"/>
                    <a:pt x="2790" y="875"/>
                  </a:cubicBezTo>
                  <a:cubicBezTo>
                    <a:pt x="2786" y="882"/>
                    <a:pt x="2787" y="889"/>
                    <a:pt x="2787" y="889"/>
                  </a:cubicBezTo>
                  <a:cubicBezTo>
                    <a:pt x="2787" y="889"/>
                    <a:pt x="2773" y="881"/>
                    <a:pt x="2767" y="883"/>
                  </a:cubicBezTo>
                  <a:cubicBezTo>
                    <a:pt x="2761" y="885"/>
                    <a:pt x="2765" y="892"/>
                    <a:pt x="2765" y="892"/>
                  </a:cubicBezTo>
                  <a:cubicBezTo>
                    <a:pt x="2748" y="894"/>
                    <a:pt x="2748" y="894"/>
                    <a:pt x="2748" y="894"/>
                  </a:cubicBezTo>
                  <a:cubicBezTo>
                    <a:pt x="2748" y="894"/>
                    <a:pt x="2736" y="890"/>
                    <a:pt x="2721" y="900"/>
                  </a:cubicBezTo>
                  <a:cubicBezTo>
                    <a:pt x="2706" y="910"/>
                    <a:pt x="2677" y="929"/>
                    <a:pt x="2663" y="932"/>
                  </a:cubicBezTo>
                  <a:cubicBezTo>
                    <a:pt x="2649" y="935"/>
                    <a:pt x="2629" y="941"/>
                    <a:pt x="2629" y="941"/>
                  </a:cubicBezTo>
                  <a:cubicBezTo>
                    <a:pt x="2629" y="941"/>
                    <a:pt x="2598" y="933"/>
                    <a:pt x="2590" y="941"/>
                  </a:cubicBezTo>
                  <a:cubicBezTo>
                    <a:pt x="2582" y="949"/>
                    <a:pt x="2576" y="960"/>
                    <a:pt x="2576" y="960"/>
                  </a:cubicBezTo>
                  <a:cubicBezTo>
                    <a:pt x="2547" y="960"/>
                    <a:pt x="2547" y="960"/>
                    <a:pt x="2547" y="960"/>
                  </a:cubicBezTo>
                  <a:cubicBezTo>
                    <a:pt x="2541" y="966"/>
                    <a:pt x="2541" y="966"/>
                    <a:pt x="2541" y="966"/>
                  </a:cubicBezTo>
                  <a:cubicBezTo>
                    <a:pt x="2541" y="966"/>
                    <a:pt x="2527" y="963"/>
                    <a:pt x="2520" y="965"/>
                  </a:cubicBezTo>
                  <a:cubicBezTo>
                    <a:pt x="2513" y="967"/>
                    <a:pt x="2494" y="970"/>
                    <a:pt x="2487" y="969"/>
                  </a:cubicBezTo>
                  <a:cubicBezTo>
                    <a:pt x="2480" y="968"/>
                    <a:pt x="2469" y="960"/>
                    <a:pt x="2466" y="961"/>
                  </a:cubicBezTo>
                  <a:cubicBezTo>
                    <a:pt x="2463" y="962"/>
                    <a:pt x="2445" y="959"/>
                    <a:pt x="2445" y="955"/>
                  </a:cubicBezTo>
                  <a:cubicBezTo>
                    <a:pt x="2445" y="951"/>
                    <a:pt x="2467" y="952"/>
                    <a:pt x="2467" y="952"/>
                  </a:cubicBezTo>
                  <a:cubicBezTo>
                    <a:pt x="2467" y="952"/>
                    <a:pt x="2476" y="942"/>
                    <a:pt x="2479" y="942"/>
                  </a:cubicBezTo>
                  <a:cubicBezTo>
                    <a:pt x="2482" y="942"/>
                    <a:pt x="2490" y="950"/>
                    <a:pt x="2500" y="950"/>
                  </a:cubicBezTo>
                  <a:cubicBezTo>
                    <a:pt x="2510" y="950"/>
                    <a:pt x="2510" y="942"/>
                    <a:pt x="2510" y="942"/>
                  </a:cubicBezTo>
                  <a:cubicBezTo>
                    <a:pt x="2521" y="942"/>
                    <a:pt x="2521" y="942"/>
                    <a:pt x="2521" y="942"/>
                  </a:cubicBezTo>
                  <a:cubicBezTo>
                    <a:pt x="2521" y="942"/>
                    <a:pt x="2531" y="924"/>
                    <a:pt x="2541" y="923"/>
                  </a:cubicBezTo>
                  <a:cubicBezTo>
                    <a:pt x="2551" y="922"/>
                    <a:pt x="2554" y="931"/>
                    <a:pt x="2572" y="924"/>
                  </a:cubicBezTo>
                  <a:cubicBezTo>
                    <a:pt x="2590" y="917"/>
                    <a:pt x="2575" y="895"/>
                    <a:pt x="2575" y="895"/>
                  </a:cubicBezTo>
                  <a:cubicBezTo>
                    <a:pt x="2575" y="895"/>
                    <a:pt x="2553" y="881"/>
                    <a:pt x="2567" y="875"/>
                  </a:cubicBezTo>
                  <a:cubicBezTo>
                    <a:pt x="2573" y="872"/>
                    <a:pt x="2581" y="885"/>
                    <a:pt x="2581" y="885"/>
                  </a:cubicBezTo>
                  <a:cubicBezTo>
                    <a:pt x="2589" y="884"/>
                    <a:pt x="2589" y="884"/>
                    <a:pt x="2589" y="884"/>
                  </a:cubicBezTo>
                  <a:cubicBezTo>
                    <a:pt x="2601" y="895"/>
                    <a:pt x="2601" y="895"/>
                    <a:pt x="2601" y="895"/>
                  </a:cubicBezTo>
                  <a:cubicBezTo>
                    <a:pt x="2601" y="895"/>
                    <a:pt x="2615" y="894"/>
                    <a:pt x="2619" y="897"/>
                  </a:cubicBezTo>
                  <a:cubicBezTo>
                    <a:pt x="2623" y="900"/>
                    <a:pt x="2612" y="915"/>
                    <a:pt x="2635" y="914"/>
                  </a:cubicBezTo>
                  <a:cubicBezTo>
                    <a:pt x="2658" y="913"/>
                    <a:pt x="2658" y="908"/>
                    <a:pt x="2658" y="908"/>
                  </a:cubicBezTo>
                  <a:cubicBezTo>
                    <a:pt x="2669" y="909"/>
                    <a:pt x="2669" y="909"/>
                    <a:pt x="2669" y="909"/>
                  </a:cubicBezTo>
                  <a:cubicBezTo>
                    <a:pt x="2669" y="909"/>
                    <a:pt x="2709" y="893"/>
                    <a:pt x="2723" y="884"/>
                  </a:cubicBezTo>
                  <a:cubicBezTo>
                    <a:pt x="2737" y="875"/>
                    <a:pt x="2759" y="868"/>
                    <a:pt x="2777" y="867"/>
                  </a:cubicBezTo>
                  <a:close/>
                  <a:moveTo>
                    <a:pt x="2442" y="702"/>
                  </a:moveTo>
                  <a:cubicBezTo>
                    <a:pt x="2452" y="697"/>
                    <a:pt x="2461" y="703"/>
                    <a:pt x="2474" y="703"/>
                  </a:cubicBezTo>
                  <a:cubicBezTo>
                    <a:pt x="2487" y="703"/>
                    <a:pt x="2483" y="694"/>
                    <a:pt x="2483" y="694"/>
                  </a:cubicBezTo>
                  <a:cubicBezTo>
                    <a:pt x="2553" y="689"/>
                    <a:pt x="2553" y="689"/>
                    <a:pt x="2553" y="689"/>
                  </a:cubicBezTo>
                  <a:cubicBezTo>
                    <a:pt x="2553" y="689"/>
                    <a:pt x="2588" y="679"/>
                    <a:pt x="2601" y="677"/>
                  </a:cubicBezTo>
                  <a:cubicBezTo>
                    <a:pt x="2614" y="675"/>
                    <a:pt x="2622" y="682"/>
                    <a:pt x="2622" y="682"/>
                  </a:cubicBezTo>
                  <a:cubicBezTo>
                    <a:pt x="2622" y="682"/>
                    <a:pt x="2625" y="676"/>
                    <a:pt x="2632" y="673"/>
                  </a:cubicBezTo>
                  <a:cubicBezTo>
                    <a:pt x="2639" y="670"/>
                    <a:pt x="2661" y="680"/>
                    <a:pt x="2661" y="680"/>
                  </a:cubicBezTo>
                  <a:cubicBezTo>
                    <a:pt x="2661" y="680"/>
                    <a:pt x="2639" y="686"/>
                    <a:pt x="2631" y="690"/>
                  </a:cubicBezTo>
                  <a:cubicBezTo>
                    <a:pt x="2623" y="694"/>
                    <a:pt x="2589" y="696"/>
                    <a:pt x="2589" y="696"/>
                  </a:cubicBezTo>
                  <a:cubicBezTo>
                    <a:pt x="2587" y="704"/>
                    <a:pt x="2587" y="704"/>
                    <a:pt x="2587" y="704"/>
                  </a:cubicBezTo>
                  <a:cubicBezTo>
                    <a:pt x="2605" y="704"/>
                    <a:pt x="2605" y="704"/>
                    <a:pt x="2605" y="704"/>
                  </a:cubicBezTo>
                  <a:cubicBezTo>
                    <a:pt x="2605" y="704"/>
                    <a:pt x="2616" y="707"/>
                    <a:pt x="2620" y="707"/>
                  </a:cubicBezTo>
                  <a:cubicBezTo>
                    <a:pt x="2624" y="707"/>
                    <a:pt x="2650" y="704"/>
                    <a:pt x="2664" y="703"/>
                  </a:cubicBezTo>
                  <a:cubicBezTo>
                    <a:pt x="2678" y="702"/>
                    <a:pt x="2658" y="693"/>
                    <a:pt x="2658" y="693"/>
                  </a:cubicBezTo>
                  <a:cubicBezTo>
                    <a:pt x="2695" y="692"/>
                    <a:pt x="2695" y="692"/>
                    <a:pt x="2695" y="692"/>
                  </a:cubicBezTo>
                  <a:cubicBezTo>
                    <a:pt x="2695" y="692"/>
                    <a:pt x="2690" y="705"/>
                    <a:pt x="2671" y="711"/>
                  </a:cubicBezTo>
                  <a:cubicBezTo>
                    <a:pt x="2652" y="717"/>
                    <a:pt x="2640" y="724"/>
                    <a:pt x="2640" y="724"/>
                  </a:cubicBezTo>
                  <a:cubicBezTo>
                    <a:pt x="2640" y="724"/>
                    <a:pt x="2639" y="736"/>
                    <a:pt x="2631" y="738"/>
                  </a:cubicBezTo>
                  <a:cubicBezTo>
                    <a:pt x="2623" y="740"/>
                    <a:pt x="2601" y="729"/>
                    <a:pt x="2601" y="729"/>
                  </a:cubicBezTo>
                  <a:cubicBezTo>
                    <a:pt x="2596" y="736"/>
                    <a:pt x="2596" y="736"/>
                    <a:pt x="2596" y="736"/>
                  </a:cubicBezTo>
                  <a:cubicBezTo>
                    <a:pt x="2586" y="727"/>
                    <a:pt x="2586" y="727"/>
                    <a:pt x="2586" y="727"/>
                  </a:cubicBezTo>
                  <a:cubicBezTo>
                    <a:pt x="2576" y="737"/>
                    <a:pt x="2576" y="737"/>
                    <a:pt x="2576" y="737"/>
                  </a:cubicBezTo>
                  <a:cubicBezTo>
                    <a:pt x="2576" y="737"/>
                    <a:pt x="2568" y="731"/>
                    <a:pt x="2562" y="738"/>
                  </a:cubicBezTo>
                  <a:cubicBezTo>
                    <a:pt x="2556" y="745"/>
                    <a:pt x="2568" y="751"/>
                    <a:pt x="2568" y="751"/>
                  </a:cubicBezTo>
                  <a:cubicBezTo>
                    <a:pt x="2547" y="754"/>
                    <a:pt x="2547" y="754"/>
                    <a:pt x="2547" y="754"/>
                  </a:cubicBezTo>
                  <a:cubicBezTo>
                    <a:pt x="2547" y="754"/>
                    <a:pt x="2532" y="764"/>
                    <a:pt x="2529" y="764"/>
                  </a:cubicBezTo>
                  <a:cubicBezTo>
                    <a:pt x="2526" y="764"/>
                    <a:pt x="2483" y="777"/>
                    <a:pt x="2472" y="773"/>
                  </a:cubicBezTo>
                  <a:cubicBezTo>
                    <a:pt x="2461" y="769"/>
                    <a:pt x="2500" y="762"/>
                    <a:pt x="2515" y="759"/>
                  </a:cubicBezTo>
                  <a:cubicBezTo>
                    <a:pt x="2530" y="756"/>
                    <a:pt x="2552" y="739"/>
                    <a:pt x="2539" y="737"/>
                  </a:cubicBezTo>
                  <a:cubicBezTo>
                    <a:pt x="2526" y="735"/>
                    <a:pt x="2474" y="764"/>
                    <a:pt x="2461" y="766"/>
                  </a:cubicBezTo>
                  <a:cubicBezTo>
                    <a:pt x="2448" y="768"/>
                    <a:pt x="2422" y="764"/>
                    <a:pt x="2413" y="759"/>
                  </a:cubicBezTo>
                  <a:cubicBezTo>
                    <a:pt x="2404" y="754"/>
                    <a:pt x="2444" y="753"/>
                    <a:pt x="2451" y="748"/>
                  </a:cubicBezTo>
                  <a:cubicBezTo>
                    <a:pt x="2458" y="743"/>
                    <a:pt x="2486" y="733"/>
                    <a:pt x="2486" y="733"/>
                  </a:cubicBezTo>
                  <a:cubicBezTo>
                    <a:pt x="2486" y="733"/>
                    <a:pt x="2481" y="725"/>
                    <a:pt x="2487" y="722"/>
                  </a:cubicBezTo>
                  <a:cubicBezTo>
                    <a:pt x="2493" y="719"/>
                    <a:pt x="2511" y="728"/>
                    <a:pt x="2533" y="722"/>
                  </a:cubicBezTo>
                  <a:cubicBezTo>
                    <a:pt x="2555" y="716"/>
                    <a:pt x="2535" y="704"/>
                    <a:pt x="2516" y="704"/>
                  </a:cubicBezTo>
                  <a:cubicBezTo>
                    <a:pt x="2497" y="704"/>
                    <a:pt x="2492" y="711"/>
                    <a:pt x="2481" y="716"/>
                  </a:cubicBezTo>
                  <a:cubicBezTo>
                    <a:pt x="2470" y="721"/>
                    <a:pt x="2471" y="711"/>
                    <a:pt x="2471" y="711"/>
                  </a:cubicBezTo>
                  <a:cubicBezTo>
                    <a:pt x="2459" y="716"/>
                    <a:pt x="2459" y="716"/>
                    <a:pt x="2459" y="716"/>
                  </a:cubicBezTo>
                  <a:cubicBezTo>
                    <a:pt x="2436" y="713"/>
                    <a:pt x="2436" y="713"/>
                    <a:pt x="2436" y="713"/>
                  </a:cubicBezTo>
                  <a:cubicBezTo>
                    <a:pt x="2436" y="713"/>
                    <a:pt x="2415" y="723"/>
                    <a:pt x="2406" y="720"/>
                  </a:cubicBezTo>
                  <a:cubicBezTo>
                    <a:pt x="2397" y="717"/>
                    <a:pt x="2432" y="707"/>
                    <a:pt x="2442" y="702"/>
                  </a:cubicBezTo>
                  <a:close/>
                  <a:moveTo>
                    <a:pt x="2739" y="3603"/>
                  </a:moveTo>
                  <a:cubicBezTo>
                    <a:pt x="2739" y="3603"/>
                    <a:pt x="2719" y="3594"/>
                    <a:pt x="2713" y="3592"/>
                  </a:cubicBezTo>
                  <a:cubicBezTo>
                    <a:pt x="2712" y="3592"/>
                    <a:pt x="2712" y="3592"/>
                    <a:pt x="2711" y="3592"/>
                  </a:cubicBezTo>
                  <a:cubicBezTo>
                    <a:pt x="2711" y="3591"/>
                    <a:pt x="2711" y="3591"/>
                    <a:pt x="2711" y="3591"/>
                  </a:cubicBezTo>
                  <a:cubicBezTo>
                    <a:pt x="2708" y="3589"/>
                    <a:pt x="2697" y="3585"/>
                    <a:pt x="2700" y="3581"/>
                  </a:cubicBezTo>
                  <a:cubicBezTo>
                    <a:pt x="2703" y="3577"/>
                    <a:pt x="2718" y="3582"/>
                    <a:pt x="2714" y="3575"/>
                  </a:cubicBezTo>
                  <a:cubicBezTo>
                    <a:pt x="2710" y="3569"/>
                    <a:pt x="2709" y="3569"/>
                    <a:pt x="2709" y="3569"/>
                  </a:cubicBezTo>
                  <a:cubicBezTo>
                    <a:pt x="2709" y="3569"/>
                    <a:pt x="2698" y="3573"/>
                    <a:pt x="2698" y="3571"/>
                  </a:cubicBezTo>
                  <a:cubicBezTo>
                    <a:pt x="2697" y="3569"/>
                    <a:pt x="2691" y="3541"/>
                    <a:pt x="2698" y="3543"/>
                  </a:cubicBezTo>
                  <a:cubicBezTo>
                    <a:pt x="2705" y="3545"/>
                    <a:pt x="2738" y="3571"/>
                    <a:pt x="2742" y="3579"/>
                  </a:cubicBezTo>
                  <a:cubicBezTo>
                    <a:pt x="2745" y="3583"/>
                    <a:pt x="2746" y="3591"/>
                    <a:pt x="2747" y="3598"/>
                  </a:cubicBezTo>
                  <a:cubicBezTo>
                    <a:pt x="2747" y="3598"/>
                    <a:pt x="2747" y="3598"/>
                    <a:pt x="2747" y="3598"/>
                  </a:cubicBezTo>
                  <a:cubicBezTo>
                    <a:pt x="2738" y="3598"/>
                    <a:pt x="2739" y="3603"/>
                    <a:pt x="2739" y="3603"/>
                  </a:cubicBezTo>
                  <a:close/>
                  <a:moveTo>
                    <a:pt x="3523" y="5086"/>
                  </a:moveTo>
                  <a:cubicBezTo>
                    <a:pt x="3517" y="5079"/>
                    <a:pt x="3517" y="5079"/>
                    <a:pt x="3517" y="5079"/>
                  </a:cubicBezTo>
                  <a:cubicBezTo>
                    <a:pt x="3509" y="5070"/>
                    <a:pt x="3509" y="5070"/>
                    <a:pt x="3509" y="5070"/>
                  </a:cubicBezTo>
                  <a:cubicBezTo>
                    <a:pt x="3509" y="5070"/>
                    <a:pt x="3499" y="5063"/>
                    <a:pt x="3491" y="5059"/>
                  </a:cubicBezTo>
                  <a:cubicBezTo>
                    <a:pt x="3483" y="5055"/>
                    <a:pt x="3480" y="5047"/>
                    <a:pt x="3480" y="5047"/>
                  </a:cubicBezTo>
                  <a:cubicBezTo>
                    <a:pt x="3480" y="5047"/>
                    <a:pt x="3466" y="5049"/>
                    <a:pt x="3462" y="5044"/>
                  </a:cubicBezTo>
                  <a:cubicBezTo>
                    <a:pt x="3467" y="5030"/>
                    <a:pt x="3467" y="5030"/>
                    <a:pt x="3467" y="5030"/>
                  </a:cubicBezTo>
                  <a:cubicBezTo>
                    <a:pt x="3467" y="5030"/>
                    <a:pt x="3463" y="5015"/>
                    <a:pt x="3468" y="5011"/>
                  </a:cubicBezTo>
                  <a:cubicBezTo>
                    <a:pt x="3471" y="5008"/>
                    <a:pt x="3485" y="5020"/>
                    <a:pt x="3494" y="5028"/>
                  </a:cubicBezTo>
                  <a:cubicBezTo>
                    <a:pt x="3499" y="5032"/>
                    <a:pt x="3502" y="5036"/>
                    <a:pt x="3502" y="5036"/>
                  </a:cubicBezTo>
                  <a:cubicBezTo>
                    <a:pt x="3517" y="5049"/>
                    <a:pt x="3517" y="5049"/>
                    <a:pt x="3517" y="5049"/>
                  </a:cubicBezTo>
                  <a:cubicBezTo>
                    <a:pt x="3518" y="5061"/>
                    <a:pt x="3518" y="5061"/>
                    <a:pt x="3518" y="5061"/>
                  </a:cubicBezTo>
                  <a:cubicBezTo>
                    <a:pt x="3531" y="5069"/>
                    <a:pt x="3531" y="5069"/>
                    <a:pt x="3531" y="5069"/>
                  </a:cubicBezTo>
                  <a:lnTo>
                    <a:pt x="3523" y="5086"/>
                  </a:lnTo>
                  <a:close/>
                  <a:moveTo>
                    <a:pt x="3432" y="3548"/>
                  </a:moveTo>
                  <a:cubicBezTo>
                    <a:pt x="3432" y="3553"/>
                    <a:pt x="3439" y="3569"/>
                    <a:pt x="3439" y="3569"/>
                  </a:cubicBezTo>
                  <a:cubicBezTo>
                    <a:pt x="3456" y="3568"/>
                    <a:pt x="3456" y="3568"/>
                    <a:pt x="3456" y="3568"/>
                  </a:cubicBezTo>
                  <a:cubicBezTo>
                    <a:pt x="3456" y="3568"/>
                    <a:pt x="3461" y="3541"/>
                    <a:pt x="3449" y="3538"/>
                  </a:cubicBezTo>
                  <a:cubicBezTo>
                    <a:pt x="3438" y="3535"/>
                    <a:pt x="3432" y="3542"/>
                    <a:pt x="3432" y="3548"/>
                  </a:cubicBezTo>
                  <a:close/>
                  <a:moveTo>
                    <a:pt x="2936" y="4356"/>
                  </a:moveTo>
                  <a:cubicBezTo>
                    <a:pt x="2951" y="4352"/>
                    <a:pt x="2953" y="4332"/>
                    <a:pt x="2943" y="4336"/>
                  </a:cubicBezTo>
                  <a:cubicBezTo>
                    <a:pt x="2934" y="4340"/>
                    <a:pt x="2928" y="4357"/>
                    <a:pt x="2936" y="4356"/>
                  </a:cubicBezTo>
                  <a:close/>
                  <a:moveTo>
                    <a:pt x="3616" y="6574"/>
                  </a:moveTo>
                  <a:cubicBezTo>
                    <a:pt x="3603" y="6577"/>
                    <a:pt x="3603" y="6577"/>
                    <a:pt x="3603" y="6577"/>
                  </a:cubicBezTo>
                  <a:cubicBezTo>
                    <a:pt x="3610" y="6590"/>
                    <a:pt x="3610" y="6590"/>
                    <a:pt x="3610" y="6590"/>
                  </a:cubicBezTo>
                  <a:lnTo>
                    <a:pt x="3616" y="6574"/>
                  </a:lnTo>
                  <a:close/>
                  <a:moveTo>
                    <a:pt x="3626" y="6546"/>
                  </a:moveTo>
                  <a:cubicBezTo>
                    <a:pt x="3612" y="6557"/>
                    <a:pt x="3619" y="6567"/>
                    <a:pt x="3629" y="6564"/>
                  </a:cubicBezTo>
                  <a:cubicBezTo>
                    <a:pt x="3641" y="6560"/>
                    <a:pt x="3640" y="6536"/>
                    <a:pt x="3626" y="6546"/>
                  </a:cubicBezTo>
                  <a:close/>
                  <a:moveTo>
                    <a:pt x="3828" y="7023"/>
                  </a:moveTo>
                  <a:cubicBezTo>
                    <a:pt x="3805" y="7010"/>
                    <a:pt x="3805" y="7010"/>
                    <a:pt x="3805" y="7010"/>
                  </a:cubicBezTo>
                  <a:cubicBezTo>
                    <a:pt x="3822" y="7029"/>
                    <a:pt x="3822" y="7029"/>
                    <a:pt x="3822" y="7029"/>
                  </a:cubicBezTo>
                  <a:cubicBezTo>
                    <a:pt x="3853" y="7033"/>
                    <a:pt x="3853" y="7033"/>
                    <a:pt x="3853" y="7033"/>
                  </a:cubicBezTo>
                  <a:cubicBezTo>
                    <a:pt x="3864" y="7040"/>
                    <a:pt x="3864" y="7040"/>
                    <a:pt x="3864" y="7040"/>
                  </a:cubicBezTo>
                  <a:cubicBezTo>
                    <a:pt x="3853" y="7026"/>
                    <a:pt x="3853" y="7026"/>
                    <a:pt x="3853" y="7026"/>
                  </a:cubicBezTo>
                  <a:lnTo>
                    <a:pt x="3828" y="7023"/>
                  </a:lnTo>
                  <a:close/>
                  <a:moveTo>
                    <a:pt x="3646" y="6620"/>
                  </a:moveTo>
                  <a:cubicBezTo>
                    <a:pt x="3648" y="6632"/>
                    <a:pt x="3648" y="6632"/>
                    <a:pt x="3648" y="6632"/>
                  </a:cubicBezTo>
                  <a:cubicBezTo>
                    <a:pt x="3664" y="6642"/>
                    <a:pt x="3664" y="6642"/>
                    <a:pt x="3664" y="6642"/>
                  </a:cubicBezTo>
                  <a:cubicBezTo>
                    <a:pt x="3664" y="6626"/>
                    <a:pt x="3664" y="6626"/>
                    <a:pt x="3664" y="6626"/>
                  </a:cubicBezTo>
                  <a:cubicBezTo>
                    <a:pt x="3655" y="6610"/>
                    <a:pt x="3655" y="6610"/>
                    <a:pt x="3655" y="6610"/>
                  </a:cubicBezTo>
                  <a:cubicBezTo>
                    <a:pt x="3633" y="6611"/>
                    <a:pt x="3633" y="6611"/>
                    <a:pt x="3633" y="6611"/>
                  </a:cubicBezTo>
                  <a:lnTo>
                    <a:pt x="3646" y="6620"/>
                  </a:lnTo>
                  <a:close/>
                  <a:moveTo>
                    <a:pt x="3623" y="6590"/>
                  </a:moveTo>
                  <a:cubicBezTo>
                    <a:pt x="3630" y="6598"/>
                    <a:pt x="3630" y="6598"/>
                    <a:pt x="3630" y="6598"/>
                  </a:cubicBezTo>
                  <a:cubicBezTo>
                    <a:pt x="3648" y="6598"/>
                    <a:pt x="3648" y="6598"/>
                    <a:pt x="3648" y="6598"/>
                  </a:cubicBezTo>
                  <a:cubicBezTo>
                    <a:pt x="3655" y="6585"/>
                    <a:pt x="3655" y="6585"/>
                    <a:pt x="3655" y="6585"/>
                  </a:cubicBezTo>
                  <a:cubicBezTo>
                    <a:pt x="3636" y="6590"/>
                    <a:pt x="3636" y="6590"/>
                    <a:pt x="3636" y="6590"/>
                  </a:cubicBezTo>
                  <a:lnTo>
                    <a:pt x="3623" y="6590"/>
                  </a:lnTo>
                  <a:close/>
                  <a:moveTo>
                    <a:pt x="3708" y="6864"/>
                  </a:moveTo>
                  <a:cubicBezTo>
                    <a:pt x="3713" y="6863"/>
                    <a:pt x="3716" y="6854"/>
                    <a:pt x="3716" y="6854"/>
                  </a:cubicBezTo>
                  <a:cubicBezTo>
                    <a:pt x="3736" y="6871"/>
                    <a:pt x="3736" y="6871"/>
                    <a:pt x="3736" y="6871"/>
                  </a:cubicBezTo>
                  <a:cubicBezTo>
                    <a:pt x="3737" y="6855"/>
                    <a:pt x="3737" y="6855"/>
                    <a:pt x="3737" y="6855"/>
                  </a:cubicBezTo>
                  <a:cubicBezTo>
                    <a:pt x="3717" y="6834"/>
                    <a:pt x="3717" y="6834"/>
                    <a:pt x="3717" y="6834"/>
                  </a:cubicBezTo>
                  <a:cubicBezTo>
                    <a:pt x="3717" y="6834"/>
                    <a:pt x="3701" y="6811"/>
                    <a:pt x="3701" y="6799"/>
                  </a:cubicBezTo>
                  <a:cubicBezTo>
                    <a:pt x="3701" y="6788"/>
                    <a:pt x="3690" y="6776"/>
                    <a:pt x="3679" y="6770"/>
                  </a:cubicBezTo>
                  <a:cubicBezTo>
                    <a:pt x="3669" y="6765"/>
                    <a:pt x="3669" y="6776"/>
                    <a:pt x="3669" y="6776"/>
                  </a:cubicBezTo>
                  <a:cubicBezTo>
                    <a:pt x="3655" y="6772"/>
                    <a:pt x="3655" y="6772"/>
                    <a:pt x="3655" y="6772"/>
                  </a:cubicBezTo>
                  <a:cubicBezTo>
                    <a:pt x="3655" y="6772"/>
                    <a:pt x="3640" y="6799"/>
                    <a:pt x="3651" y="6799"/>
                  </a:cubicBezTo>
                  <a:cubicBezTo>
                    <a:pt x="3661" y="6799"/>
                    <a:pt x="3681" y="6799"/>
                    <a:pt x="3681" y="6799"/>
                  </a:cubicBezTo>
                  <a:cubicBezTo>
                    <a:pt x="3668" y="6825"/>
                    <a:pt x="3668" y="6825"/>
                    <a:pt x="3668" y="6825"/>
                  </a:cubicBezTo>
                  <a:cubicBezTo>
                    <a:pt x="3677" y="6825"/>
                    <a:pt x="3677" y="6825"/>
                    <a:pt x="3677" y="6825"/>
                  </a:cubicBezTo>
                  <a:cubicBezTo>
                    <a:pt x="3691" y="6812"/>
                    <a:pt x="3691" y="6812"/>
                    <a:pt x="3691" y="6812"/>
                  </a:cubicBezTo>
                  <a:cubicBezTo>
                    <a:pt x="3690" y="6828"/>
                    <a:pt x="3690" y="6828"/>
                    <a:pt x="3690" y="6828"/>
                  </a:cubicBezTo>
                  <a:cubicBezTo>
                    <a:pt x="3690" y="6828"/>
                    <a:pt x="3704" y="6866"/>
                    <a:pt x="3708" y="6864"/>
                  </a:cubicBezTo>
                  <a:close/>
                  <a:moveTo>
                    <a:pt x="3703" y="6889"/>
                  </a:moveTo>
                  <a:cubicBezTo>
                    <a:pt x="3714" y="6890"/>
                    <a:pt x="3714" y="6890"/>
                    <a:pt x="3714" y="6890"/>
                  </a:cubicBezTo>
                  <a:cubicBezTo>
                    <a:pt x="3721" y="6912"/>
                    <a:pt x="3721" y="6912"/>
                    <a:pt x="3721" y="6912"/>
                  </a:cubicBezTo>
                  <a:cubicBezTo>
                    <a:pt x="3726" y="6892"/>
                    <a:pt x="3726" y="6892"/>
                    <a:pt x="3726" y="6892"/>
                  </a:cubicBezTo>
                  <a:cubicBezTo>
                    <a:pt x="3727" y="6876"/>
                    <a:pt x="3727" y="6876"/>
                    <a:pt x="3727" y="6876"/>
                  </a:cubicBezTo>
                  <a:cubicBezTo>
                    <a:pt x="3710" y="6871"/>
                    <a:pt x="3710" y="6871"/>
                    <a:pt x="3710" y="6871"/>
                  </a:cubicBezTo>
                  <a:lnTo>
                    <a:pt x="3703" y="6889"/>
                  </a:lnTo>
                  <a:close/>
                  <a:moveTo>
                    <a:pt x="3756" y="6964"/>
                  </a:moveTo>
                  <a:cubicBezTo>
                    <a:pt x="3779" y="6985"/>
                    <a:pt x="3779" y="6985"/>
                    <a:pt x="3779" y="6985"/>
                  </a:cubicBezTo>
                  <a:cubicBezTo>
                    <a:pt x="3786" y="6978"/>
                    <a:pt x="3786" y="6978"/>
                    <a:pt x="3786" y="6978"/>
                  </a:cubicBezTo>
                  <a:cubicBezTo>
                    <a:pt x="3766" y="6955"/>
                    <a:pt x="3766" y="6955"/>
                    <a:pt x="3766" y="6955"/>
                  </a:cubicBezTo>
                  <a:lnTo>
                    <a:pt x="3756" y="6964"/>
                  </a:lnTo>
                  <a:close/>
                  <a:moveTo>
                    <a:pt x="3828" y="6972"/>
                  </a:moveTo>
                  <a:cubicBezTo>
                    <a:pt x="3815" y="6959"/>
                    <a:pt x="3815" y="6959"/>
                    <a:pt x="3815" y="6959"/>
                  </a:cubicBezTo>
                  <a:cubicBezTo>
                    <a:pt x="3811" y="6981"/>
                    <a:pt x="3811" y="6981"/>
                    <a:pt x="3811" y="6981"/>
                  </a:cubicBezTo>
                  <a:cubicBezTo>
                    <a:pt x="3796" y="6985"/>
                    <a:pt x="3796" y="6985"/>
                    <a:pt x="3796" y="6985"/>
                  </a:cubicBezTo>
                  <a:cubicBezTo>
                    <a:pt x="3825" y="6997"/>
                    <a:pt x="3825" y="6997"/>
                    <a:pt x="3825" y="6997"/>
                  </a:cubicBezTo>
                  <a:lnTo>
                    <a:pt x="3828" y="6972"/>
                  </a:lnTo>
                  <a:close/>
                  <a:moveTo>
                    <a:pt x="3802" y="6957"/>
                  </a:moveTo>
                  <a:cubicBezTo>
                    <a:pt x="3795" y="6951"/>
                    <a:pt x="3795" y="6951"/>
                    <a:pt x="3795" y="6951"/>
                  </a:cubicBezTo>
                  <a:cubicBezTo>
                    <a:pt x="3789" y="6961"/>
                    <a:pt x="3789" y="6961"/>
                    <a:pt x="3789" y="6961"/>
                  </a:cubicBezTo>
                  <a:cubicBezTo>
                    <a:pt x="3796" y="6970"/>
                    <a:pt x="3796" y="6970"/>
                    <a:pt x="3796" y="6970"/>
                  </a:cubicBezTo>
                  <a:lnTo>
                    <a:pt x="3802" y="6957"/>
                  </a:lnTo>
                  <a:close/>
                  <a:moveTo>
                    <a:pt x="9720" y="140"/>
                  </a:moveTo>
                  <a:cubicBezTo>
                    <a:pt x="9720" y="148"/>
                    <a:pt x="9786" y="154"/>
                    <a:pt x="9786" y="154"/>
                  </a:cubicBezTo>
                  <a:cubicBezTo>
                    <a:pt x="9820" y="150"/>
                    <a:pt x="9820" y="150"/>
                    <a:pt x="9820" y="150"/>
                  </a:cubicBezTo>
                  <a:cubicBezTo>
                    <a:pt x="9858" y="164"/>
                    <a:pt x="9858" y="164"/>
                    <a:pt x="9858" y="164"/>
                  </a:cubicBezTo>
                  <a:cubicBezTo>
                    <a:pt x="9900" y="162"/>
                    <a:pt x="9900" y="162"/>
                    <a:pt x="9900" y="162"/>
                  </a:cubicBezTo>
                  <a:cubicBezTo>
                    <a:pt x="9894" y="144"/>
                    <a:pt x="9876" y="118"/>
                    <a:pt x="9858" y="120"/>
                  </a:cubicBezTo>
                  <a:cubicBezTo>
                    <a:pt x="9840" y="122"/>
                    <a:pt x="9822" y="134"/>
                    <a:pt x="9822" y="134"/>
                  </a:cubicBezTo>
                  <a:cubicBezTo>
                    <a:pt x="9808" y="118"/>
                    <a:pt x="9808" y="118"/>
                    <a:pt x="9808" y="118"/>
                  </a:cubicBezTo>
                  <a:cubicBezTo>
                    <a:pt x="9808" y="118"/>
                    <a:pt x="9720" y="132"/>
                    <a:pt x="9720" y="140"/>
                  </a:cubicBezTo>
                  <a:close/>
                  <a:moveTo>
                    <a:pt x="9682" y="142"/>
                  </a:moveTo>
                  <a:cubicBezTo>
                    <a:pt x="9692" y="132"/>
                    <a:pt x="9692" y="132"/>
                    <a:pt x="9692" y="132"/>
                  </a:cubicBezTo>
                  <a:cubicBezTo>
                    <a:pt x="9632" y="132"/>
                    <a:pt x="9632" y="132"/>
                    <a:pt x="9632" y="132"/>
                  </a:cubicBezTo>
                  <a:lnTo>
                    <a:pt x="9682" y="142"/>
                  </a:lnTo>
                  <a:close/>
                  <a:moveTo>
                    <a:pt x="9658" y="124"/>
                  </a:moveTo>
                  <a:cubicBezTo>
                    <a:pt x="9658" y="124"/>
                    <a:pt x="9714" y="128"/>
                    <a:pt x="9726" y="124"/>
                  </a:cubicBezTo>
                  <a:cubicBezTo>
                    <a:pt x="9738" y="120"/>
                    <a:pt x="9780" y="124"/>
                    <a:pt x="9772" y="108"/>
                  </a:cubicBezTo>
                  <a:cubicBezTo>
                    <a:pt x="9764" y="92"/>
                    <a:pt x="9690" y="70"/>
                    <a:pt x="9690" y="70"/>
                  </a:cubicBezTo>
                  <a:cubicBezTo>
                    <a:pt x="9690" y="70"/>
                    <a:pt x="9634" y="60"/>
                    <a:pt x="9632" y="80"/>
                  </a:cubicBezTo>
                  <a:cubicBezTo>
                    <a:pt x="9630" y="100"/>
                    <a:pt x="9658" y="124"/>
                    <a:pt x="9658" y="124"/>
                  </a:cubicBezTo>
                  <a:close/>
                  <a:moveTo>
                    <a:pt x="10000" y="192"/>
                  </a:moveTo>
                  <a:cubicBezTo>
                    <a:pt x="10106" y="186"/>
                    <a:pt x="10106" y="186"/>
                    <a:pt x="10106" y="186"/>
                  </a:cubicBezTo>
                  <a:cubicBezTo>
                    <a:pt x="10078" y="170"/>
                    <a:pt x="10078" y="170"/>
                    <a:pt x="10078" y="170"/>
                  </a:cubicBezTo>
                  <a:cubicBezTo>
                    <a:pt x="10078" y="170"/>
                    <a:pt x="10040" y="150"/>
                    <a:pt x="10030" y="150"/>
                  </a:cubicBezTo>
                  <a:cubicBezTo>
                    <a:pt x="10020" y="150"/>
                    <a:pt x="10002" y="162"/>
                    <a:pt x="10002" y="162"/>
                  </a:cubicBezTo>
                  <a:cubicBezTo>
                    <a:pt x="10002" y="162"/>
                    <a:pt x="9996" y="134"/>
                    <a:pt x="9974" y="134"/>
                  </a:cubicBezTo>
                  <a:cubicBezTo>
                    <a:pt x="9952" y="134"/>
                    <a:pt x="9940" y="200"/>
                    <a:pt x="9940" y="200"/>
                  </a:cubicBezTo>
                  <a:cubicBezTo>
                    <a:pt x="9956" y="208"/>
                    <a:pt x="9956" y="208"/>
                    <a:pt x="9956" y="208"/>
                  </a:cubicBezTo>
                  <a:cubicBezTo>
                    <a:pt x="9974" y="204"/>
                    <a:pt x="10000" y="192"/>
                    <a:pt x="10000" y="192"/>
                  </a:cubicBezTo>
                  <a:close/>
                  <a:moveTo>
                    <a:pt x="11360" y="338"/>
                  </a:moveTo>
                  <a:cubicBezTo>
                    <a:pt x="11370" y="320"/>
                    <a:pt x="11370" y="320"/>
                    <a:pt x="11370" y="320"/>
                  </a:cubicBezTo>
                  <a:cubicBezTo>
                    <a:pt x="11370" y="320"/>
                    <a:pt x="11396" y="320"/>
                    <a:pt x="11406" y="320"/>
                  </a:cubicBezTo>
                  <a:cubicBezTo>
                    <a:pt x="11416" y="320"/>
                    <a:pt x="11446" y="318"/>
                    <a:pt x="11446" y="318"/>
                  </a:cubicBezTo>
                  <a:cubicBezTo>
                    <a:pt x="11404" y="298"/>
                    <a:pt x="11404" y="298"/>
                    <a:pt x="11404" y="298"/>
                  </a:cubicBezTo>
                  <a:cubicBezTo>
                    <a:pt x="11412" y="284"/>
                    <a:pt x="11412" y="284"/>
                    <a:pt x="11412" y="284"/>
                  </a:cubicBezTo>
                  <a:cubicBezTo>
                    <a:pt x="11352" y="272"/>
                    <a:pt x="11352" y="272"/>
                    <a:pt x="11352" y="272"/>
                  </a:cubicBezTo>
                  <a:cubicBezTo>
                    <a:pt x="11362" y="290"/>
                    <a:pt x="11362" y="290"/>
                    <a:pt x="11362" y="290"/>
                  </a:cubicBezTo>
                  <a:cubicBezTo>
                    <a:pt x="11362" y="290"/>
                    <a:pt x="11240" y="250"/>
                    <a:pt x="11242" y="280"/>
                  </a:cubicBezTo>
                  <a:cubicBezTo>
                    <a:pt x="11244" y="310"/>
                    <a:pt x="11360" y="338"/>
                    <a:pt x="11360" y="338"/>
                  </a:cubicBezTo>
                  <a:close/>
                  <a:moveTo>
                    <a:pt x="11226" y="294"/>
                  </a:moveTo>
                  <a:cubicBezTo>
                    <a:pt x="11190" y="282"/>
                    <a:pt x="11190" y="282"/>
                    <a:pt x="11190" y="282"/>
                  </a:cubicBezTo>
                  <a:cubicBezTo>
                    <a:pt x="11206" y="304"/>
                    <a:pt x="11206" y="304"/>
                    <a:pt x="11206" y="304"/>
                  </a:cubicBezTo>
                  <a:lnTo>
                    <a:pt x="11226" y="294"/>
                  </a:lnTo>
                  <a:close/>
                  <a:moveTo>
                    <a:pt x="10490" y="348"/>
                  </a:moveTo>
                  <a:cubicBezTo>
                    <a:pt x="10522" y="354"/>
                    <a:pt x="10522" y="354"/>
                    <a:pt x="10522" y="354"/>
                  </a:cubicBezTo>
                  <a:cubicBezTo>
                    <a:pt x="10542" y="356"/>
                    <a:pt x="10562" y="344"/>
                    <a:pt x="10532" y="338"/>
                  </a:cubicBezTo>
                  <a:cubicBezTo>
                    <a:pt x="10502" y="332"/>
                    <a:pt x="10490" y="348"/>
                    <a:pt x="10490" y="348"/>
                  </a:cubicBezTo>
                  <a:close/>
                  <a:moveTo>
                    <a:pt x="9502" y="405"/>
                  </a:moveTo>
                  <a:cubicBezTo>
                    <a:pt x="9477" y="388"/>
                    <a:pt x="9484" y="411"/>
                    <a:pt x="9484" y="411"/>
                  </a:cubicBezTo>
                  <a:cubicBezTo>
                    <a:pt x="9509" y="421"/>
                    <a:pt x="9527" y="422"/>
                    <a:pt x="9502" y="405"/>
                  </a:cubicBezTo>
                  <a:close/>
                  <a:moveTo>
                    <a:pt x="8214" y="2309"/>
                  </a:moveTo>
                  <a:cubicBezTo>
                    <a:pt x="8215" y="2323"/>
                    <a:pt x="8242" y="2338"/>
                    <a:pt x="8249" y="2335"/>
                  </a:cubicBezTo>
                  <a:cubicBezTo>
                    <a:pt x="8256" y="2332"/>
                    <a:pt x="8274" y="2316"/>
                    <a:pt x="8274" y="2316"/>
                  </a:cubicBezTo>
                  <a:cubicBezTo>
                    <a:pt x="8274" y="2316"/>
                    <a:pt x="8290" y="2323"/>
                    <a:pt x="8293" y="2317"/>
                  </a:cubicBezTo>
                  <a:cubicBezTo>
                    <a:pt x="8297" y="2311"/>
                    <a:pt x="8290" y="2302"/>
                    <a:pt x="8290" y="2302"/>
                  </a:cubicBezTo>
                  <a:cubicBezTo>
                    <a:pt x="8311" y="2278"/>
                    <a:pt x="8311" y="2278"/>
                    <a:pt x="8311" y="2278"/>
                  </a:cubicBezTo>
                  <a:cubicBezTo>
                    <a:pt x="8284" y="2295"/>
                    <a:pt x="8284" y="2295"/>
                    <a:pt x="8284" y="2295"/>
                  </a:cubicBezTo>
                  <a:cubicBezTo>
                    <a:pt x="8284" y="2295"/>
                    <a:pt x="8260" y="2291"/>
                    <a:pt x="8251" y="2293"/>
                  </a:cubicBezTo>
                  <a:cubicBezTo>
                    <a:pt x="8242" y="2295"/>
                    <a:pt x="8245" y="2304"/>
                    <a:pt x="8245" y="2304"/>
                  </a:cubicBezTo>
                  <a:cubicBezTo>
                    <a:pt x="8245" y="2304"/>
                    <a:pt x="8213" y="2298"/>
                    <a:pt x="8214" y="2309"/>
                  </a:cubicBezTo>
                  <a:close/>
                  <a:moveTo>
                    <a:pt x="7882" y="2054"/>
                  </a:moveTo>
                  <a:cubicBezTo>
                    <a:pt x="7896" y="2053"/>
                    <a:pt x="7896" y="2053"/>
                    <a:pt x="7896" y="2053"/>
                  </a:cubicBezTo>
                  <a:cubicBezTo>
                    <a:pt x="7899" y="2044"/>
                    <a:pt x="7899" y="2044"/>
                    <a:pt x="7899" y="2044"/>
                  </a:cubicBezTo>
                  <a:cubicBezTo>
                    <a:pt x="7879" y="2044"/>
                    <a:pt x="7879" y="2044"/>
                    <a:pt x="7879" y="2044"/>
                  </a:cubicBezTo>
                  <a:lnTo>
                    <a:pt x="7882" y="2054"/>
                  </a:lnTo>
                  <a:close/>
                  <a:moveTo>
                    <a:pt x="7906" y="2035"/>
                  </a:moveTo>
                  <a:cubicBezTo>
                    <a:pt x="7909" y="2044"/>
                    <a:pt x="7919" y="2050"/>
                    <a:pt x="7918" y="2034"/>
                  </a:cubicBezTo>
                  <a:cubicBezTo>
                    <a:pt x="7917" y="2018"/>
                    <a:pt x="7906" y="2035"/>
                    <a:pt x="7906" y="2035"/>
                  </a:cubicBezTo>
                  <a:close/>
                  <a:moveTo>
                    <a:pt x="9198" y="400"/>
                  </a:moveTo>
                  <a:cubicBezTo>
                    <a:pt x="9231" y="392"/>
                    <a:pt x="9220" y="382"/>
                    <a:pt x="9212" y="378"/>
                  </a:cubicBezTo>
                  <a:cubicBezTo>
                    <a:pt x="9204" y="374"/>
                    <a:pt x="9174" y="378"/>
                    <a:pt x="9174" y="378"/>
                  </a:cubicBezTo>
                  <a:cubicBezTo>
                    <a:pt x="9174" y="378"/>
                    <a:pt x="9180" y="404"/>
                    <a:pt x="9198" y="400"/>
                  </a:cubicBezTo>
                  <a:close/>
                  <a:moveTo>
                    <a:pt x="9474" y="423"/>
                  </a:moveTo>
                  <a:cubicBezTo>
                    <a:pt x="9453" y="418"/>
                    <a:pt x="9453" y="418"/>
                    <a:pt x="9453" y="418"/>
                  </a:cubicBezTo>
                  <a:cubicBezTo>
                    <a:pt x="9436" y="432"/>
                    <a:pt x="9436" y="432"/>
                    <a:pt x="9436" y="432"/>
                  </a:cubicBezTo>
                  <a:cubicBezTo>
                    <a:pt x="9462" y="439"/>
                    <a:pt x="9462" y="439"/>
                    <a:pt x="9462" y="439"/>
                  </a:cubicBezTo>
                  <a:lnTo>
                    <a:pt x="9474" y="423"/>
                  </a:lnTo>
                  <a:close/>
                  <a:moveTo>
                    <a:pt x="7942" y="2021"/>
                  </a:moveTo>
                  <a:cubicBezTo>
                    <a:pt x="7924" y="2021"/>
                    <a:pt x="7924" y="2021"/>
                    <a:pt x="7924" y="2021"/>
                  </a:cubicBezTo>
                  <a:cubicBezTo>
                    <a:pt x="7924" y="2042"/>
                    <a:pt x="7924" y="2042"/>
                    <a:pt x="7924" y="2042"/>
                  </a:cubicBezTo>
                  <a:cubicBezTo>
                    <a:pt x="7931" y="2029"/>
                    <a:pt x="7931" y="2029"/>
                    <a:pt x="7931" y="2029"/>
                  </a:cubicBezTo>
                  <a:lnTo>
                    <a:pt x="7942" y="2021"/>
                  </a:lnTo>
                  <a:close/>
                  <a:moveTo>
                    <a:pt x="11466" y="312"/>
                  </a:moveTo>
                  <a:cubicBezTo>
                    <a:pt x="11504" y="316"/>
                    <a:pt x="11504" y="316"/>
                    <a:pt x="11504" y="316"/>
                  </a:cubicBezTo>
                  <a:cubicBezTo>
                    <a:pt x="11514" y="306"/>
                    <a:pt x="11512" y="294"/>
                    <a:pt x="11494" y="294"/>
                  </a:cubicBezTo>
                  <a:cubicBezTo>
                    <a:pt x="11476" y="294"/>
                    <a:pt x="11416" y="280"/>
                    <a:pt x="11424" y="292"/>
                  </a:cubicBezTo>
                  <a:cubicBezTo>
                    <a:pt x="11432" y="304"/>
                    <a:pt x="11466" y="312"/>
                    <a:pt x="11466" y="312"/>
                  </a:cubicBezTo>
                  <a:close/>
                  <a:moveTo>
                    <a:pt x="12678" y="554"/>
                  </a:moveTo>
                  <a:cubicBezTo>
                    <a:pt x="12686" y="544"/>
                    <a:pt x="12612" y="534"/>
                    <a:pt x="12612" y="534"/>
                  </a:cubicBezTo>
                  <a:cubicBezTo>
                    <a:pt x="12612" y="542"/>
                    <a:pt x="12670" y="564"/>
                    <a:pt x="12678" y="554"/>
                  </a:cubicBezTo>
                  <a:close/>
                  <a:moveTo>
                    <a:pt x="11426" y="348"/>
                  </a:moveTo>
                  <a:cubicBezTo>
                    <a:pt x="11400" y="374"/>
                    <a:pt x="11456" y="372"/>
                    <a:pt x="11464" y="362"/>
                  </a:cubicBezTo>
                  <a:cubicBezTo>
                    <a:pt x="11472" y="352"/>
                    <a:pt x="11433" y="341"/>
                    <a:pt x="11426" y="348"/>
                  </a:cubicBezTo>
                  <a:close/>
                  <a:moveTo>
                    <a:pt x="13194" y="1684"/>
                  </a:moveTo>
                  <a:cubicBezTo>
                    <a:pt x="13195" y="1663"/>
                    <a:pt x="13195" y="1663"/>
                    <a:pt x="13195" y="1663"/>
                  </a:cubicBezTo>
                  <a:cubicBezTo>
                    <a:pt x="13186" y="1680"/>
                    <a:pt x="13186" y="1680"/>
                    <a:pt x="13186" y="1680"/>
                  </a:cubicBezTo>
                  <a:lnTo>
                    <a:pt x="13194" y="1684"/>
                  </a:lnTo>
                  <a:close/>
                  <a:moveTo>
                    <a:pt x="13193" y="1621"/>
                  </a:moveTo>
                  <a:cubicBezTo>
                    <a:pt x="13205" y="1619"/>
                    <a:pt x="13205" y="1619"/>
                    <a:pt x="13205" y="1619"/>
                  </a:cubicBezTo>
                  <a:cubicBezTo>
                    <a:pt x="13193" y="1607"/>
                    <a:pt x="13193" y="1607"/>
                    <a:pt x="13193" y="1607"/>
                  </a:cubicBezTo>
                  <a:lnTo>
                    <a:pt x="13193" y="1621"/>
                  </a:lnTo>
                  <a:close/>
                  <a:moveTo>
                    <a:pt x="11925" y="3120"/>
                  </a:moveTo>
                  <a:cubicBezTo>
                    <a:pt x="11911" y="3110"/>
                    <a:pt x="11863" y="3116"/>
                    <a:pt x="11863" y="3116"/>
                  </a:cubicBezTo>
                  <a:cubicBezTo>
                    <a:pt x="11859" y="3128"/>
                    <a:pt x="11859" y="3128"/>
                    <a:pt x="11859" y="3128"/>
                  </a:cubicBezTo>
                  <a:cubicBezTo>
                    <a:pt x="11848" y="3122"/>
                    <a:pt x="11848" y="3122"/>
                    <a:pt x="11848" y="3122"/>
                  </a:cubicBezTo>
                  <a:cubicBezTo>
                    <a:pt x="11842" y="3139"/>
                    <a:pt x="11842" y="3139"/>
                    <a:pt x="11842" y="3139"/>
                  </a:cubicBezTo>
                  <a:cubicBezTo>
                    <a:pt x="11842" y="3139"/>
                    <a:pt x="11812" y="3162"/>
                    <a:pt x="11831" y="3186"/>
                  </a:cubicBezTo>
                  <a:cubicBezTo>
                    <a:pt x="11851" y="3209"/>
                    <a:pt x="11864" y="3209"/>
                    <a:pt x="11864" y="3209"/>
                  </a:cubicBezTo>
                  <a:cubicBezTo>
                    <a:pt x="11920" y="3208"/>
                    <a:pt x="11916" y="3191"/>
                    <a:pt x="11918" y="3184"/>
                  </a:cubicBezTo>
                  <a:cubicBezTo>
                    <a:pt x="11919" y="3178"/>
                    <a:pt x="11915" y="3163"/>
                    <a:pt x="11915" y="3163"/>
                  </a:cubicBezTo>
                  <a:cubicBezTo>
                    <a:pt x="11915" y="3163"/>
                    <a:pt x="11940" y="3131"/>
                    <a:pt x="11925" y="3120"/>
                  </a:cubicBezTo>
                  <a:close/>
                  <a:moveTo>
                    <a:pt x="11975" y="3291"/>
                  </a:moveTo>
                  <a:cubicBezTo>
                    <a:pt x="11959" y="3291"/>
                    <a:pt x="11970" y="3309"/>
                    <a:pt x="11970" y="3309"/>
                  </a:cubicBezTo>
                  <a:cubicBezTo>
                    <a:pt x="11982" y="3309"/>
                    <a:pt x="11991" y="3291"/>
                    <a:pt x="11975" y="3291"/>
                  </a:cubicBezTo>
                  <a:close/>
                  <a:moveTo>
                    <a:pt x="13029" y="2240"/>
                  </a:moveTo>
                  <a:cubicBezTo>
                    <a:pt x="13030" y="2226"/>
                    <a:pt x="13031" y="2200"/>
                    <a:pt x="13025" y="2188"/>
                  </a:cubicBezTo>
                  <a:cubicBezTo>
                    <a:pt x="13019" y="2176"/>
                    <a:pt x="12995" y="2159"/>
                    <a:pt x="12998" y="2142"/>
                  </a:cubicBezTo>
                  <a:cubicBezTo>
                    <a:pt x="13001" y="2125"/>
                    <a:pt x="13017" y="2130"/>
                    <a:pt x="13017" y="2130"/>
                  </a:cubicBezTo>
                  <a:cubicBezTo>
                    <a:pt x="13014" y="2103"/>
                    <a:pt x="13014" y="2103"/>
                    <a:pt x="13014" y="2103"/>
                  </a:cubicBezTo>
                  <a:cubicBezTo>
                    <a:pt x="13006" y="2097"/>
                    <a:pt x="13006" y="2097"/>
                    <a:pt x="13006" y="2097"/>
                  </a:cubicBezTo>
                  <a:cubicBezTo>
                    <a:pt x="13016" y="2090"/>
                    <a:pt x="13016" y="2090"/>
                    <a:pt x="13016" y="2090"/>
                  </a:cubicBezTo>
                  <a:cubicBezTo>
                    <a:pt x="13016" y="2090"/>
                    <a:pt x="13011" y="2072"/>
                    <a:pt x="13007" y="2062"/>
                  </a:cubicBezTo>
                  <a:cubicBezTo>
                    <a:pt x="13003" y="2052"/>
                    <a:pt x="12989" y="2044"/>
                    <a:pt x="12989" y="2044"/>
                  </a:cubicBezTo>
                  <a:cubicBezTo>
                    <a:pt x="12985" y="2031"/>
                    <a:pt x="12985" y="2031"/>
                    <a:pt x="12985" y="2031"/>
                  </a:cubicBezTo>
                  <a:cubicBezTo>
                    <a:pt x="12985" y="2031"/>
                    <a:pt x="12970" y="2024"/>
                    <a:pt x="12961" y="2017"/>
                  </a:cubicBezTo>
                  <a:cubicBezTo>
                    <a:pt x="12952" y="2010"/>
                    <a:pt x="12937" y="1994"/>
                    <a:pt x="12937" y="1985"/>
                  </a:cubicBezTo>
                  <a:cubicBezTo>
                    <a:pt x="12937" y="1976"/>
                    <a:pt x="12934" y="1972"/>
                    <a:pt x="12934" y="1972"/>
                  </a:cubicBezTo>
                  <a:cubicBezTo>
                    <a:pt x="12934" y="1972"/>
                    <a:pt x="12911" y="1955"/>
                    <a:pt x="12908" y="1967"/>
                  </a:cubicBezTo>
                  <a:cubicBezTo>
                    <a:pt x="12905" y="1979"/>
                    <a:pt x="12917" y="1982"/>
                    <a:pt x="12917" y="1982"/>
                  </a:cubicBezTo>
                  <a:cubicBezTo>
                    <a:pt x="12924" y="1978"/>
                    <a:pt x="12924" y="1978"/>
                    <a:pt x="12924" y="1978"/>
                  </a:cubicBezTo>
                  <a:cubicBezTo>
                    <a:pt x="12924" y="1978"/>
                    <a:pt x="12932" y="1997"/>
                    <a:pt x="12928" y="1997"/>
                  </a:cubicBezTo>
                  <a:cubicBezTo>
                    <a:pt x="12924" y="1997"/>
                    <a:pt x="12919" y="1990"/>
                    <a:pt x="12919" y="1990"/>
                  </a:cubicBezTo>
                  <a:cubicBezTo>
                    <a:pt x="12910" y="1999"/>
                    <a:pt x="12910" y="1999"/>
                    <a:pt x="12910" y="1999"/>
                  </a:cubicBezTo>
                  <a:cubicBezTo>
                    <a:pt x="12897" y="1978"/>
                    <a:pt x="12897" y="1978"/>
                    <a:pt x="12897" y="1978"/>
                  </a:cubicBezTo>
                  <a:cubicBezTo>
                    <a:pt x="12885" y="1978"/>
                    <a:pt x="12885" y="1978"/>
                    <a:pt x="12885" y="1978"/>
                  </a:cubicBezTo>
                  <a:cubicBezTo>
                    <a:pt x="12899" y="2002"/>
                    <a:pt x="12899" y="2002"/>
                    <a:pt x="12899" y="2002"/>
                  </a:cubicBezTo>
                  <a:cubicBezTo>
                    <a:pt x="12887" y="2005"/>
                    <a:pt x="12887" y="2005"/>
                    <a:pt x="12887" y="2005"/>
                  </a:cubicBezTo>
                  <a:cubicBezTo>
                    <a:pt x="12906" y="2037"/>
                    <a:pt x="12906" y="2037"/>
                    <a:pt x="12906" y="2037"/>
                  </a:cubicBezTo>
                  <a:cubicBezTo>
                    <a:pt x="12899" y="2045"/>
                    <a:pt x="12899" y="2045"/>
                    <a:pt x="12899" y="2045"/>
                  </a:cubicBezTo>
                  <a:cubicBezTo>
                    <a:pt x="12899" y="2045"/>
                    <a:pt x="12935" y="2063"/>
                    <a:pt x="12933" y="2078"/>
                  </a:cubicBezTo>
                  <a:cubicBezTo>
                    <a:pt x="12931" y="2093"/>
                    <a:pt x="12925" y="2114"/>
                    <a:pt x="12925" y="2114"/>
                  </a:cubicBezTo>
                  <a:cubicBezTo>
                    <a:pt x="12923" y="2132"/>
                    <a:pt x="12923" y="2132"/>
                    <a:pt x="12923" y="2132"/>
                  </a:cubicBezTo>
                  <a:cubicBezTo>
                    <a:pt x="12923" y="2132"/>
                    <a:pt x="12944" y="2145"/>
                    <a:pt x="12934" y="2152"/>
                  </a:cubicBezTo>
                  <a:cubicBezTo>
                    <a:pt x="12924" y="2159"/>
                    <a:pt x="12916" y="2155"/>
                    <a:pt x="12916" y="2155"/>
                  </a:cubicBezTo>
                  <a:cubicBezTo>
                    <a:pt x="12916" y="2155"/>
                    <a:pt x="12923" y="2185"/>
                    <a:pt x="12912" y="2191"/>
                  </a:cubicBezTo>
                  <a:cubicBezTo>
                    <a:pt x="12901" y="2197"/>
                    <a:pt x="12878" y="2205"/>
                    <a:pt x="12878" y="2205"/>
                  </a:cubicBezTo>
                  <a:cubicBezTo>
                    <a:pt x="12878" y="2214"/>
                    <a:pt x="12878" y="2214"/>
                    <a:pt x="12878" y="2214"/>
                  </a:cubicBezTo>
                  <a:cubicBezTo>
                    <a:pt x="12878" y="2214"/>
                    <a:pt x="12867" y="2218"/>
                    <a:pt x="12858" y="2208"/>
                  </a:cubicBezTo>
                  <a:cubicBezTo>
                    <a:pt x="12849" y="2198"/>
                    <a:pt x="12852" y="2189"/>
                    <a:pt x="12852" y="2189"/>
                  </a:cubicBezTo>
                  <a:cubicBezTo>
                    <a:pt x="12855" y="2176"/>
                    <a:pt x="12855" y="2176"/>
                    <a:pt x="12855" y="2176"/>
                  </a:cubicBezTo>
                  <a:cubicBezTo>
                    <a:pt x="12855" y="2176"/>
                    <a:pt x="12829" y="2181"/>
                    <a:pt x="12833" y="2191"/>
                  </a:cubicBezTo>
                  <a:cubicBezTo>
                    <a:pt x="12837" y="2201"/>
                    <a:pt x="12850" y="2215"/>
                    <a:pt x="12848" y="2222"/>
                  </a:cubicBezTo>
                  <a:cubicBezTo>
                    <a:pt x="12846" y="2229"/>
                    <a:pt x="12832" y="2245"/>
                    <a:pt x="12836" y="2255"/>
                  </a:cubicBezTo>
                  <a:cubicBezTo>
                    <a:pt x="12840" y="2265"/>
                    <a:pt x="12853" y="2280"/>
                    <a:pt x="12843" y="2281"/>
                  </a:cubicBezTo>
                  <a:cubicBezTo>
                    <a:pt x="12833" y="2282"/>
                    <a:pt x="12807" y="2270"/>
                    <a:pt x="12798" y="2271"/>
                  </a:cubicBezTo>
                  <a:cubicBezTo>
                    <a:pt x="12789" y="2272"/>
                    <a:pt x="12750" y="2287"/>
                    <a:pt x="12747" y="2287"/>
                  </a:cubicBezTo>
                  <a:cubicBezTo>
                    <a:pt x="12744" y="2287"/>
                    <a:pt x="12728" y="2287"/>
                    <a:pt x="12728" y="2287"/>
                  </a:cubicBezTo>
                  <a:cubicBezTo>
                    <a:pt x="12720" y="2279"/>
                    <a:pt x="12720" y="2279"/>
                    <a:pt x="12720" y="2279"/>
                  </a:cubicBezTo>
                  <a:cubicBezTo>
                    <a:pt x="12698" y="2296"/>
                    <a:pt x="12698" y="2296"/>
                    <a:pt x="12698" y="2296"/>
                  </a:cubicBezTo>
                  <a:cubicBezTo>
                    <a:pt x="12698" y="2296"/>
                    <a:pt x="12671" y="2341"/>
                    <a:pt x="12667" y="2341"/>
                  </a:cubicBezTo>
                  <a:cubicBezTo>
                    <a:pt x="12663" y="2341"/>
                    <a:pt x="12648" y="2342"/>
                    <a:pt x="12648" y="2342"/>
                  </a:cubicBezTo>
                  <a:cubicBezTo>
                    <a:pt x="12648" y="2342"/>
                    <a:pt x="12653" y="2366"/>
                    <a:pt x="12660" y="2366"/>
                  </a:cubicBezTo>
                  <a:cubicBezTo>
                    <a:pt x="12667" y="2366"/>
                    <a:pt x="12679" y="2362"/>
                    <a:pt x="12679" y="2362"/>
                  </a:cubicBezTo>
                  <a:cubicBezTo>
                    <a:pt x="12679" y="2362"/>
                    <a:pt x="12698" y="2373"/>
                    <a:pt x="12703" y="2371"/>
                  </a:cubicBezTo>
                  <a:cubicBezTo>
                    <a:pt x="12708" y="2369"/>
                    <a:pt x="12710" y="2348"/>
                    <a:pt x="12710" y="2348"/>
                  </a:cubicBezTo>
                  <a:cubicBezTo>
                    <a:pt x="12725" y="2356"/>
                    <a:pt x="12725" y="2356"/>
                    <a:pt x="12725" y="2356"/>
                  </a:cubicBezTo>
                  <a:cubicBezTo>
                    <a:pt x="12725" y="2356"/>
                    <a:pt x="12759" y="2339"/>
                    <a:pt x="12764" y="2336"/>
                  </a:cubicBezTo>
                  <a:cubicBezTo>
                    <a:pt x="12769" y="2333"/>
                    <a:pt x="12782" y="2342"/>
                    <a:pt x="12790" y="2341"/>
                  </a:cubicBezTo>
                  <a:cubicBezTo>
                    <a:pt x="12798" y="2340"/>
                    <a:pt x="12783" y="2325"/>
                    <a:pt x="12800" y="2325"/>
                  </a:cubicBezTo>
                  <a:cubicBezTo>
                    <a:pt x="12817" y="2325"/>
                    <a:pt x="12821" y="2334"/>
                    <a:pt x="12821" y="2334"/>
                  </a:cubicBezTo>
                  <a:cubicBezTo>
                    <a:pt x="12821" y="2334"/>
                    <a:pt x="12841" y="2321"/>
                    <a:pt x="12845" y="2329"/>
                  </a:cubicBezTo>
                  <a:cubicBezTo>
                    <a:pt x="12849" y="2337"/>
                    <a:pt x="12836" y="2356"/>
                    <a:pt x="12836" y="2356"/>
                  </a:cubicBezTo>
                  <a:cubicBezTo>
                    <a:pt x="12836" y="2356"/>
                    <a:pt x="12856" y="2395"/>
                    <a:pt x="12876" y="2395"/>
                  </a:cubicBezTo>
                  <a:cubicBezTo>
                    <a:pt x="12896" y="2395"/>
                    <a:pt x="12894" y="2357"/>
                    <a:pt x="12894" y="2357"/>
                  </a:cubicBezTo>
                  <a:cubicBezTo>
                    <a:pt x="12916" y="2353"/>
                    <a:pt x="12916" y="2353"/>
                    <a:pt x="12916" y="2353"/>
                  </a:cubicBezTo>
                  <a:cubicBezTo>
                    <a:pt x="12916" y="2353"/>
                    <a:pt x="12899" y="2333"/>
                    <a:pt x="12896" y="2332"/>
                  </a:cubicBezTo>
                  <a:cubicBezTo>
                    <a:pt x="12893" y="2331"/>
                    <a:pt x="12884" y="2324"/>
                    <a:pt x="12884" y="2324"/>
                  </a:cubicBezTo>
                  <a:cubicBezTo>
                    <a:pt x="12895" y="2309"/>
                    <a:pt x="12895" y="2309"/>
                    <a:pt x="12895" y="2309"/>
                  </a:cubicBezTo>
                  <a:cubicBezTo>
                    <a:pt x="12904" y="2308"/>
                    <a:pt x="12898" y="2322"/>
                    <a:pt x="12908" y="2322"/>
                  </a:cubicBezTo>
                  <a:cubicBezTo>
                    <a:pt x="12918" y="2322"/>
                    <a:pt x="12921" y="2335"/>
                    <a:pt x="12921" y="2335"/>
                  </a:cubicBezTo>
                  <a:cubicBezTo>
                    <a:pt x="12933" y="2326"/>
                    <a:pt x="12933" y="2326"/>
                    <a:pt x="12933" y="2326"/>
                  </a:cubicBezTo>
                  <a:cubicBezTo>
                    <a:pt x="12933" y="2326"/>
                    <a:pt x="12948" y="2334"/>
                    <a:pt x="12963" y="2330"/>
                  </a:cubicBezTo>
                  <a:cubicBezTo>
                    <a:pt x="12978" y="2326"/>
                    <a:pt x="12960" y="2305"/>
                    <a:pt x="12977" y="2307"/>
                  </a:cubicBezTo>
                  <a:cubicBezTo>
                    <a:pt x="12994" y="2309"/>
                    <a:pt x="12985" y="2337"/>
                    <a:pt x="12996" y="2331"/>
                  </a:cubicBezTo>
                  <a:cubicBezTo>
                    <a:pt x="13007" y="2325"/>
                    <a:pt x="12989" y="2302"/>
                    <a:pt x="12997" y="2297"/>
                  </a:cubicBezTo>
                  <a:cubicBezTo>
                    <a:pt x="13005" y="2292"/>
                    <a:pt x="13010" y="2294"/>
                    <a:pt x="13010" y="2294"/>
                  </a:cubicBezTo>
                  <a:cubicBezTo>
                    <a:pt x="13010" y="2294"/>
                    <a:pt x="13012" y="2263"/>
                    <a:pt x="13024" y="2275"/>
                  </a:cubicBezTo>
                  <a:cubicBezTo>
                    <a:pt x="13036" y="2287"/>
                    <a:pt x="13017" y="2312"/>
                    <a:pt x="13037" y="2311"/>
                  </a:cubicBezTo>
                  <a:cubicBezTo>
                    <a:pt x="13057" y="2310"/>
                    <a:pt x="13047" y="2279"/>
                    <a:pt x="13047" y="2279"/>
                  </a:cubicBezTo>
                  <a:cubicBezTo>
                    <a:pt x="13060" y="2272"/>
                    <a:pt x="13060" y="2272"/>
                    <a:pt x="13060" y="2272"/>
                  </a:cubicBezTo>
                  <a:cubicBezTo>
                    <a:pt x="13060" y="2272"/>
                    <a:pt x="13028" y="2254"/>
                    <a:pt x="13029" y="2240"/>
                  </a:cubicBezTo>
                  <a:close/>
                  <a:moveTo>
                    <a:pt x="13208" y="1561"/>
                  </a:moveTo>
                  <a:cubicBezTo>
                    <a:pt x="13219" y="1547"/>
                    <a:pt x="13219" y="1547"/>
                    <a:pt x="13219" y="1547"/>
                  </a:cubicBezTo>
                  <a:cubicBezTo>
                    <a:pt x="13202" y="1533"/>
                    <a:pt x="13202" y="1533"/>
                    <a:pt x="13202" y="1533"/>
                  </a:cubicBezTo>
                  <a:lnTo>
                    <a:pt x="13208" y="1561"/>
                  </a:lnTo>
                  <a:close/>
                  <a:moveTo>
                    <a:pt x="13141" y="1745"/>
                  </a:moveTo>
                  <a:cubicBezTo>
                    <a:pt x="13152" y="1749"/>
                    <a:pt x="13162" y="1723"/>
                    <a:pt x="13152" y="1720"/>
                  </a:cubicBezTo>
                  <a:cubicBezTo>
                    <a:pt x="13143" y="1718"/>
                    <a:pt x="13133" y="1742"/>
                    <a:pt x="13141" y="1745"/>
                  </a:cubicBezTo>
                  <a:close/>
                  <a:moveTo>
                    <a:pt x="11702" y="332"/>
                  </a:moveTo>
                  <a:cubicBezTo>
                    <a:pt x="11730" y="318"/>
                    <a:pt x="11634" y="318"/>
                    <a:pt x="11634" y="318"/>
                  </a:cubicBezTo>
                  <a:cubicBezTo>
                    <a:pt x="11634" y="318"/>
                    <a:pt x="11614" y="300"/>
                    <a:pt x="11606" y="300"/>
                  </a:cubicBezTo>
                  <a:cubicBezTo>
                    <a:pt x="11598" y="300"/>
                    <a:pt x="11574" y="304"/>
                    <a:pt x="11574" y="304"/>
                  </a:cubicBezTo>
                  <a:cubicBezTo>
                    <a:pt x="11550" y="302"/>
                    <a:pt x="11550" y="302"/>
                    <a:pt x="11550" y="302"/>
                  </a:cubicBezTo>
                  <a:cubicBezTo>
                    <a:pt x="11574" y="318"/>
                    <a:pt x="11574" y="318"/>
                    <a:pt x="11574" y="318"/>
                  </a:cubicBezTo>
                  <a:cubicBezTo>
                    <a:pt x="11574" y="318"/>
                    <a:pt x="11674" y="346"/>
                    <a:pt x="11702" y="332"/>
                  </a:cubicBezTo>
                  <a:close/>
                  <a:moveTo>
                    <a:pt x="7946" y="2117"/>
                  </a:moveTo>
                  <a:cubicBezTo>
                    <a:pt x="7942" y="2113"/>
                    <a:pt x="7940" y="2135"/>
                    <a:pt x="7946" y="2145"/>
                  </a:cubicBezTo>
                  <a:cubicBezTo>
                    <a:pt x="7951" y="2154"/>
                    <a:pt x="7958" y="2136"/>
                    <a:pt x="7960" y="2132"/>
                  </a:cubicBezTo>
                  <a:cubicBezTo>
                    <a:pt x="7962" y="2128"/>
                    <a:pt x="7950" y="2121"/>
                    <a:pt x="7946" y="2117"/>
                  </a:cubicBezTo>
                  <a:close/>
                  <a:moveTo>
                    <a:pt x="11994" y="3265"/>
                  </a:moveTo>
                  <a:cubicBezTo>
                    <a:pt x="11987" y="3273"/>
                    <a:pt x="12006" y="3283"/>
                    <a:pt x="12006" y="3283"/>
                  </a:cubicBezTo>
                  <a:cubicBezTo>
                    <a:pt x="12017" y="3278"/>
                    <a:pt x="12017" y="3278"/>
                    <a:pt x="12017" y="3278"/>
                  </a:cubicBezTo>
                  <a:cubicBezTo>
                    <a:pt x="12017" y="3278"/>
                    <a:pt x="12000" y="3257"/>
                    <a:pt x="11994" y="3265"/>
                  </a:cubicBezTo>
                  <a:close/>
                  <a:moveTo>
                    <a:pt x="11464" y="390"/>
                  </a:moveTo>
                  <a:cubicBezTo>
                    <a:pt x="11512" y="384"/>
                    <a:pt x="11512" y="384"/>
                    <a:pt x="11512" y="384"/>
                  </a:cubicBezTo>
                  <a:cubicBezTo>
                    <a:pt x="11584" y="394"/>
                    <a:pt x="11584" y="394"/>
                    <a:pt x="11584" y="394"/>
                  </a:cubicBezTo>
                  <a:cubicBezTo>
                    <a:pt x="11584" y="394"/>
                    <a:pt x="11562" y="370"/>
                    <a:pt x="11546" y="366"/>
                  </a:cubicBezTo>
                  <a:cubicBezTo>
                    <a:pt x="11530" y="362"/>
                    <a:pt x="11474" y="370"/>
                    <a:pt x="11474" y="370"/>
                  </a:cubicBezTo>
                  <a:lnTo>
                    <a:pt x="11464" y="390"/>
                  </a:lnTo>
                  <a:close/>
                  <a:moveTo>
                    <a:pt x="13118" y="1086"/>
                  </a:moveTo>
                  <a:cubicBezTo>
                    <a:pt x="13138" y="1062"/>
                    <a:pt x="13138" y="1062"/>
                    <a:pt x="13138" y="1062"/>
                  </a:cubicBezTo>
                  <a:cubicBezTo>
                    <a:pt x="13130" y="1048"/>
                    <a:pt x="13130" y="1048"/>
                    <a:pt x="13130" y="1048"/>
                  </a:cubicBezTo>
                  <a:cubicBezTo>
                    <a:pt x="13106" y="1062"/>
                    <a:pt x="13106" y="1062"/>
                    <a:pt x="13106" y="1062"/>
                  </a:cubicBezTo>
                  <a:lnTo>
                    <a:pt x="13118" y="1086"/>
                  </a:lnTo>
                  <a:close/>
                  <a:moveTo>
                    <a:pt x="12936" y="502"/>
                  </a:moveTo>
                  <a:cubicBezTo>
                    <a:pt x="12948" y="498"/>
                    <a:pt x="12966" y="496"/>
                    <a:pt x="12992" y="496"/>
                  </a:cubicBezTo>
                  <a:cubicBezTo>
                    <a:pt x="13018" y="496"/>
                    <a:pt x="13022" y="480"/>
                    <a:pt x="13004" y="478"/>
                  </a:cubicBezTo>
                  <a:cubicBezTo>
                    <a:pt x="12986" y="476"/>
                    <a:pt x="12954" y="464"/>
                    <a:pt x="12942" y="464"/>
                  </a:cubicBezTo>
                  <a:cubicBezTo>
                    <a:pt x="12930" y="464"/>
                    <a:pt x="12902" y="464"/>
                    <a:pt x="12902" y="486"/>
                  </a:cubicBezTo>
                  <a:cubicBezTo>
                    <a:pt x="12902" y="510"/>
                    <a:pt x="12924" y="506"/>
                    <a:pt x="12936" y="502"/>
                  </a:cubicBezTo>
                  <a:close/>
                  <a:moveTo>
                    <a:pt x="13197" y="1517"/>
                  </a:moveTo>
                  <a:cubicBezTo>
                    <a:pt x="13213" y="1515"/>
                    <a:pt x="13213" y="1515"/>
                    <a:pt x="13213" y="1515"/>
                  </a:cubicBezTo>
                  <a:cubicBezTo>
                    <a:pt x="13222" y="1504"/>
                    <a:pt x="13222" y="1504"/>
                    <a:pt x="13222" y="1504"/>
                  </a:cubicBezTo>
                  <a:cubicBezTo>
                    <a:pt x="13213" y="1485"/>
                    <a:pt x="13213" y="1485"/>
                    <a:pt x="13213" y="1485"/>
                  </a:cubicBezTo>
                  <a:cubicBezTo>
                    <a:pt x="13223" y="1483"/>
                    <a:pt x="13223" y="1483"/>
                    <a:pt x="13223" y="1483"/>
                  </a:cubicBezTo>
                  <a:cubicBezTo>
                    <a:pt x="13213" y="1471"/>
                    <a:pt x="13213" y="1471"/>
                    <a:pt x="13213" y="1471"/>
                  </a:cubicBezTo>
                  <a:cubicBezTo>
                    <a:pt x="13201" y="1482"/>
                    <a:pt x="13201" y="1482"/>
                    <a:pt x="13201" y="1482"/>
                  </a:cubicBezTo>
                  <a:cubicBezTo>
                    <a:pt x="13209" y="1497"/>
                    <a:pt x="13209" y="1497"/>
                    <a:pt x="13209" y="1497"/>
                  </a:cubicBezTo>
                  <a:cubicBezTo>
                    <a:pt x="13197" y="1497"/>
                    <a:pt x="13197" y="1497"/>
                    <a:pt x="13197" y="1497"/>
                  </a:cubicBezTo>
                  <a:lnTo>
                    <a:pt x="13197" y="1517"/>
                  </a:lnTo>
                  <a:close/>
                  <a:moveTo>
                    <a:pt x="12365" y="2831"/>
                  </a:moveTo>
                  <a:cubicBezTo>
                    <a:pt x="12348" y="2851"/>
                    <a:pt x="12348" y="2851"/>
                    <a:pt x="12348" y="2851"/>
                  </a:cubicBezTo>
                  <a:cubicBezTo>
                    <a:pt x="12348" y="2851"/>
                    <a:pt x="12309" y="2933"/>
                    <a:pt x="12317" y="2945"/>
                  </a:cubicBezTo>
                  <a:cubicBezTo>
                    <a:pt x="12325" y="2957"/>
                    <a:pt x="12343" y="2978"/>
                    <a:pt x="12343" y="2978"/>
                  </a:cubicBezTo>
                  <a:cubicBezTo>
                    <a:pt x="12343" y="2978"/>
                    <a:pt x="12356" y="3012"/>
                    <a:pt x="12371" y="3012"/>
                  </a:cubicBezTo>
                  <a:cubicBezTo>
                    <a:pt x="12371" y="2979"/>
                    <a:pt x="12371" y="2979"/>
                    <a:pt x="12371" y="2979"/>
                  </a:cubicBezTo>
                  <a:cubicBezTo>
                    <a:pt x="12371" y="2979"/>
                    <a:pt x="12384" y="2970"/>
                    <a:pt x="12384" y="2949"/>
                  </a:cubicBezTo>
                  <a:cubicBezTo>
                    <a:pt x="12384" y="2928"/>
                    <a:pt x="12384" y="2899"/>
                    <a:pt x="12384" y="2899"/>
                  </a:cubicBezTo>
                  <a:cubicBezTo>
                    <a:pt x="12384" y="2899"/>
                    <a:pt x="12394" y="2886"/>
                    <a:pt x="12393" y="2874"/>
                  </a:cubicBezTo>
                  <a:cubicBezTo>
                    <a:pt x="12392" y="2862"/>
                    <a:pt x="12394" y="2848"/>
                    <a:pt x="12394" y="2848"/>
                  </a:cubicBezTo>
                  <a:lnTo>
                    <a:pt x="12365" y="2831"/>
                  </a:lnTo>
                  <a:close/>
                  <a:moveTo>
                    <a:pt x="12652" y="2434"/>
                  </a:moveTo>
                  <a:cubicBezTo>
                    <a:pt x="12641" y="2459"/>
                    <a:pt x="12641" y="2459"/>
                    <a:pt x="12641" y="2459"/>
                  </a:cubicBezTo>
                  <a:cubicBezTo>
                    <a:pt x="12653" y="2456"/>
                    <a:pt x="12653" y="2456"/>
                    <a:pt x="12653" y="2456"/>
                  </a:cubicBezTo>
                  <a:lnTo>
                    <a:pt x="12652" y="2434"/>
                  </a:lnTo>
                  <a:close/>
                  <a:moveTo>
                    <a:pt x="12783" y="2395"/>
                  </a:moveTo>
                  <a:cubicBezTo>
                    <a:pt x="12798" y="2385"/>
                    <a:pt x="12820" y="2413"/>
                    <a:pt x="12820" y="2413"/>
                  </a:cubicBezTo>
                  <a:cubicBezTo>
                    <a:pt x="12820" y="2413"/>
                    <a:pt x="12825" y="2391"/>
                    <a:pt x="12827" y="2379"/>
                  </a:cubicBezTo>
                  <a:cubicBezTo>
                    <a:pt x="12829" y="2367"/>
                    <a:pt x="12820" y="2356"/>
                    <a:pt x="12820" y="2356"/>
                  </a:cubicBezTo>
                  <a:cubicBezTo>
                    <a:pt x="12807" y="2359"/>
                    <a:pt x="12807" y="2359"/>
                    <a:pt x="12807" y="2359"/>
                  </a:cubicBezTo>
                  <a:cubicBezTo>
                    <a:pt x="12807" y="2359"/>
                    <a:pt x="12790" y="2346"/>
                    <a:pt x="12781" y="2347"/>
                  </a:cubicBezTo>
                  <a:cubicBezTo>
                    <a:pt x="12761" y="2349"/>
                    <a:pt x="12768" y="2369"/>
                    <a:pt x="12768" y="2369"/>
                  </a:cubicBezTo>
                  <a:cubicBezTo>
                    <a:pt x="12768" y="2369"/>
                    <a:pt x="12751" y="2363"/>
                    <a:pt x="12741" y="2365"/>
                  </a:cubicBezTo>
                  <a:cubicBezTo>
                    <a:pt x="12731" y="2367"/>
                    <a:pt x="12738" y="2389"/>
                    <a:pt x="12738" y="2389"/>
                  </a:cubicBezTo>
                  <a:cubicBezTo>
                    <a:pt x="12726" y="2400"/>
                    <a:pt x="12726" y="2400"/>
                    <a:pt x="12726" y="2400"/>
                  </a:cubicBezTo>
                  <a:cubicBezTo>
                    <a:pt x="12726" y="2400"/>
                    <a:pt x="12739" y="2408"/>
                    <a:pt x="12745" y="2415"/>
                  </a:cubicBezTo>
                  <a:cubicBezTo>
                    <a:pt x="12751" y="2422"/>
                    <a:pt x="12774" y="2436"/>
                    <a:pt x="12774" y="2436"/>
                  </a:cubicBezTo>
                  <a:cubicBezTo>
                    <a:pt x="12774" y="2436"/>
                    <a:pt x="12768" y="2405"/>
                    <a:pt x="12783" y="2395"/>
                  </a:cubicBezTo>
                  <a:close/>
                  <a:moveTo>
                    <a:pt x="12683" y="2697"/>
                  </a:moveTo>
                  <a:cubicBezTo>
                    <a:pt x="12673" y="2693"/>
                    <a:pt x="12674" y="2702"/>
                    <a:pt x="12674" y="2702"/>
                  </a:cubicBezTo>
                  <a:cubicBezTo>
                    <a:pt x="12689" y="2709"/>
                    <a:pt x="12694" y="2701"/>
                    <a:pt x="12683" y="2697"/>
                  </a:cubicBezTo>
                  <a:close/>
                  <a:moveTo>
                    <a:pt x="12694" y="2675"/>
                  </a:moveTo>
                  <a:cubicBezTo>
                    <a:pt x="12694" y="2675"/>
                    <a:pt x="12709" y="2674"/>
                    <a:pt x="12702" y="2663"/>
                  </a:cubicBezTo>
                  <a:cubicBezTo>
                    <a:pt x="12695" y="2653"/>
                    <a:pt x="12674" y="2665"/>
                    <a:pt x="12677" y="2674"/>
                  </a:cubicBezTo>
                  <a:cubicBezTo>
                    <a:pt x="12679" y="2683"/>
                    <a:pt x="12683" y="2683"/>
                    <a:pt x="12683" y="2683"/>
                  </a:cubicBezTo>
                  <a:cubicBezTo>
                    <a:pt x="12693" y="2685"/>
                    <a:pt x="12694" y="2675"/>
                    <a:pt x="12694" y="2675"/>
                  </a:cubicBezTo>
                  <a:close/>
                  <a:moveTo>
                    <a:pt x="8814" y="1489"/>
                  </a:moveTo>
                  <a:cubicBezTo>
                    <a:pt x="8814" y="1489"/>
                    <a:pt x="8814" y="1489"/>
                    <a:pt x="8814" y="1489"/>
                  </a:cubicBezTo>
                  <a:cubicBezTo>
                    <a:pt x="8814" y="1489"/>
                    <a:pt x="8814" y="1488"/>
                    <a:pt x="8814" y="1488"/>
                  </a:cubicBezTo>
                  <a:cubicBezTo>
                    <a:pt x="8814" y="1489"/>
                    <a:pt x="8814" y="1489"/>
                    <a:pt x="8814" y="1489"/>
                  </a:cubicBezTo>
                  <a:close/>
                  <a:moveTo>
                    <a:pt x="12699" y="2551"/>
                  </a:moveTo>
                  <a:cubicBezTo>
                    <a:pt x="12699" y="2555"/>
                    <a:pt x="12686" y="2561"/>
                    <a:pt x="12686" y="2561"/>
                  </a:cubicBezTo>
                  <a:cubicBezTo>
                    <a:pt x="12703" y="2570"/>
                    <a:pt x="12703" y="2570"/>
                    <a:pt x="12703" y="2570"/>
                  </a:cubicBezTo>
                  <a:cubicBezTo>
                    <a:pt x="12703" y="2570"/>
                    <a:pt x="12699" y="2547"/>
                    <a:pt x="12699" y="2551"/>
                  </a:cubicBezTo>
                  <a:close/>
                  <a:moveTo>
                    <a:pt x="12721" y="2533"/>
                  </a:moveTo>
                  <a:cubicBezTo>
                    <a:pt x="12721" y="2537"/>
                    <a:pt x="12717" y="2546"/>
                    <a:pt x="12717" y="2546"/>
                  </a:cubicBezTo>
                  <a:cubicBezTo>
                    <a:pt x="12726" y="2566"/>
                    <a:pt x="12726" y="2566"/>
                    <a:pt x="12726" y="2566"/>
                  </a:cubicBezTo>
                  <a:cubicBezTo>
                    <a:pt x="12727" y="2555"/>
                    <a:pt x="12727" y="2555"/>
                    <a:pt x="12727" y="2555"/>
                  </a:cubicBezTo>
                  <a:cubicBezTo>
                    <a:pt x="12727" y="2555"/>
                    <a:pt x="12721" y="2529"/>
                    <a:pt x="12721" y="2533"/>
                  </a:cubicBezTo>
                  <a:close/>
                  <a:moveTo>
                    <a:pt x="10617" y="3750"/>
                  </a:moveTo>
                  <a:cubicBezTo>
                    <a:pt x="10600" y="3754"/>
                    <a:pt x="10600" y="3754"/>
                    <a:pt x="10600" y="3754"/>
                  </a:cubicBezTo>
                  <a:cubicBezTo>
                    <a:pt x="10604" y="3733"/>
                    <a:pt x="10604" y="3733"/>
                    <a:pt x="10604" y="3733"/>
                  </a:cubicBezTo>
                  <a:cubicBezTo>
                    <a:pt x="10604" y="3733"/>
                    <a:pt x="10591" y="3718"/>
                    <a:pt x="10575" y="3697"/>
                  </a:cubicBezTo>
                  <a:cubicBezTo>
                    <a:pt x="10559" y="3675"/>
                    <a:pt x="10548" y="3668"/>
                    <a:pt x="10532" y="3677"/>
                  </a:cubicBezTo>
                  <a:cubicBezTo>
                    <a:pt x="10531" y="3700"/>
                    <a:pt x="10531" y="3700"/>
                    <a:pt x="10531" y="3700"/>
                  </a:cubicBezTo>
                  <a:cubicBezTo>
                    <a:pt x="10518" y="3700"/>
                    <a:pt x="10518" y="3700"/>
                    <a:pt x="10518" y="3700"/>
                  </a:cubicBezTo>
                  <a:cubicBezTo>
                    <a:pt x="10538" y="3727"/>
                    <a:pt x="10538" y="3727"/>
                    <a:pt x="10538" y="3727"/>
                  </a:cubicBezTo>
                  <a:cubicBezTo>
                    <a:pt x="10538" y="3727"/>
                    <a:pt x="10534" y="3759"/>
                    <a:pt x="10523" y="3767"/>
                  </a:cubicBezTo>
                  <a:cubicBezTo>
                    <a:pt x="10513" y="3774"/>
                    <a:pt x="10514" y="3828"/>
                    <a:pt x="10532" y="3862"/>
                  </a:cubicBezTo>
                  <a:cubicBezTo>
                    <a:pt x="10550" y="3896"/>
                    <a:pt x="10588" y="3872"/>
                    <a:pt x="10618" y="3858"/>
                  </a:cubicBezTo>
                  <a:cubicBezTo>
                    <a:pt x="10649" y="3844"/>
                    <a:pt x="10618" y="3788"/>
                    <a:pt x="10618" y="3788"/>
                  </a:cubicBezTo>
                  <a:lnTo>
                    <a:pt x="10617" y="3750"/>
                  </a:lnTo>
                  <a:close/>
                  <a:moveTo>
                    <a:pt x="11119" y="3612"/>
                  </a:moveTo>
                  <a:cubicBezTo>
                    <a:pt x="11104" y="3612"/>
                    <a:pt x="11120" y="3644"/>
                    <a:pt x="11120" y="3644"/>
                  </a:cubicBezTo>
                  <a:cubicBezTo>
                    <a:pt x="11120" y="3644"/>
                    <a:pt x="11133" y="3612"/>
                    <a:pt x="11119" y="3612"/>
                  </a:cubicBezTo>
                  <a:close/>
                  <a:moveTo>
                    <a:pt x="12017" y="3299"/>
                  </a:moveTo>
                  <a:cubicBezTo>
                    <a:pt x="12027" y="3305"/>
                    <a:pt x="12035" y="3294"/>
                    <a:pt x="12030" y="3289"/>
                  </a:cubicBezTo>
                  <a:cubicBezTo>
                    <a:pt x="12025" y="3283"/>
                    <a:pt x="12010" y="3295"/>
                    <a:pt x="12017" y="3299"/>
                  </a:cubicBezTo>
                  <a:close/>
                  <a:moveTo>
                    <a:pt x="11183" y="3798"/>
                  </a:moveTo>
                  <a:cubicBezTo>
                    <a:pt x="11175" y="3799"/>
                    <a:pt x="11179" y="3833"/>
                    <a:pt x="11194" y="3833"/>
                  </a:cubicBezTo>
                  <a:cubicBezTo>
                    <a:pt x="11194" y="3833"/>
                    <a:pt x="11191" y="3797"/>
                    <a:pt x="11183" y="3798"/>
                  </a:cubicBezTo>
                  <a:close/>
                  <a:moveTo>
                    <a:pt x="12264" y="1244"/>
                  </a:moveTo>
                  <a:cubicBezTo>
                    <a:pt x="12258" y="1252"/>
                    <a:pt x="12270" y="1280"/>
                    <a:pt x="12292" y="1282"/>
                  </a:cubicBezTo>
                  <a:cubicBezTo>
                    <a:pt x="12310" y="1284"/>
                    <a:pt x="12270" y="1236"/>
                    <a:pt x="12264" y="1244"/>
                  </a:cubicBezTo>
                  <a:close/>
                  <a:moveTo>
                    <a:pt x="11128" y="3451"/>
                  </a:moveTo>
                  <a:cubicBezTo>
                    <a:pt x="11108" y="3453"/>
                    <a:pt x="11112" y="3514"/>
                    <a:pt x="11112" y="3514"/>
                  </a:cubicBezTo>
                  <a:cubicBezTo>
                    <a:pt x="11115" y="3580"/>
                    <a:pt x="11115" y="3580"/>
                    <a:pt x="11115" y="3580"/>
                  </a:cubicBezTo>
                  <a:cubicBezTo>
                    <a:pt x="11126" y="3560"/>
                    <a:pt x="11126" y="3560"/>
                    <a:pt x="11126" y="3560"/>
                  </a:cubicBezTo>
                  <a:cubicBezTo>
                    <a:pt x="11126" y="3492"/>
                    <a:pt x="11126" y="3492"/>
                    <a:pt x="11126" y="3492"/>
                  </a:cubicBezTo>
                  <a:cubicBezTo>
                    <a:pt x="11126" y="3492"/>
                    <a:pt x="11144" y="3449"/>
                    <a:pt x="11128" y="3451"/>
                  </a:cubicBezTo>
                  <a:close/>
                  <a:moveTo>
                    <a:pt x="13079" y="1781"/>
                  </a:moveTo>
                  <a:cubicBezTo>
                    <a:pt x="13112" y="1763"/>
                    <a:pt x="13112" y="1763"/>
                    <a:pt x="13112" y="1763"/>
                  </a:cubicBezTo>
                  <a:cubicBezTo>
                    <a:pt x="13103" y="1747"/>
                    <a:pt x="13103" y="1747"/>
                    <a:pt x="13103" y="1747"/>
                  </a:cubicBezTo>
                  <a:cubicBezTo>
                    <a:pt x="13100" y="1760"/>
                    <a:pt x="13100" y="1760"/>
                    <a:pt x="13100" y="1760"/>
                  </a:cubicBezTo>
                  <a:cubicBezTo>
                    <a:pt x="13073" y="1756"/>
                    <a:pt x="13073" y="1756"/>
                    <a:pt x="13073" y="1756"/>
                  </a:cubicBezTo>
                  <a:cubicBezTo>
                    <a:pt x="13060" y="1803"/>
                    <a:pt x="13060" y="1803"/>
                    <a:pt x="13060" y="1803"/>
                  </a:cubicBezTo>
                  <a:cubicBezTo>
                    <a:pt x="13067" y="1805"/>
                    <a:pt x="13067" y="1805"/>
                    <a:pt x="13067" y="1805"/>
                  </a:cubicBezTo>
                  <a:lnTo>
                    <a:pt x="13079" y="1781"/>
                  </a:lnTo>
                  <a:close/>
                  <a:moveTo>
                    <a:pt x="12541" y="1334"/>
                  </a:moveTo>
                  <a:cubicBezTo>
                    <a:pt x="12536" y="1336"/>
                    <a:pt x="12523" y="1321"/>
                    <a:pt x="12521" y="1336"/>
                  </a:cubicBezTo>
                  <a:cubicBezTo>
                    <a:pt x="12518" y="1352"/>
                    <a:pt x="12547" y="1381"/>
                    <a:pt x="12547" y="1381"/>
                  </a:cubicBezTo>
                  <a:cubicBezTo>
                    <a:pt x="12547" y="1381"/>
                    <a:pt x="12554" y="1399"/>
                    <a:pt x="12561" y="1406"/>
                  </a:cubicBezTo>
                  <a:cubicBezTo>
                    <a:pt x="12568" y="1413"/>
                    <a:pt x="12615" y="1443"/>
                    <a:pt x="12626" y="1457"/>
                  </a:cubicBezTo>
                  <a:cubicBezTo>
                    <a:pt x="12637" y="1471"/>
                    <a:pt x="12636" y="1493"/>
                    <a:pt x="12649" y="1504"/>
                  </a:cubicBezTo>
                  <a:cubicBezTo>
                    <a:pt x="12663" y="1515"/>
                    <a:pt x="12695" y="1571"/>
                    <a:pt x="12695" y="1571"/>
                  </a:cubicBezTo>
                  <a:cubicBezTo>
                    <a:pt x="12695" y="1571"/>
                    <a:pt x="12701" y="1594"/>
                    <a:pt x="12708" y="1594"/>
                  </a:cubicBezTo>
                  <a:cubicBezTo>
                    <a:pt x="12715" y="1594"/>
                    <a:pt x="12728" y="1604"/>
                    <a:pt x="12735" y="1614"/>
                  </a:cubicBezTo>
                  <a:cubicBezTo>
                    <a:pt x="12742" y="1623"/>
                    <a:pt x="12742" y="1643"/>
                    <a:pt x="12742" y="1643"/>
                  </a:cubicBezTo>
                  <a:cubicBezTo>
                    <a:pt x="12770" y="1666"/>
                    <a:pt x="12770" y="1666"/>
                    <a:pt x="12770" y="1666"/>
                  </a:cubicBezTo>
                  <a:cubicBezTo>
                    <a:pt x="12780" y="1702"/>
                    <a:pt x="12780" y="1702"/>
                    <a:pt x="12780" y="1702"/>
                  </a:cubicBezTo>
                  <a:cubicBezTo>
                    <a:pt x="12806" y="1730"/>
                    <a:pt x="12806" y="1730"/>
                    <a:pt x="12806" y="1730"/>
                  </a:cubicBezTo>
                  <a:cubicBezTo>
                    <a:pt x="12806" y="1730"/>
                    <a:pt x="12792" y="1691"/>
                    <a:pt x="12801" y="1688"/>
                  </a:cubicBezTo>
                  <a:cubicBezTo>
                    <a:pt x="12809" y="1686"/>
                    <a:pt x="12813" y="1695"/>
                    <a:pt x="12813" y="1695"/>
                  </a:cubicBezTo>
                  <a:cubicBezTo>
                    <a:pt x="12834" y="1695"/>
                    <a:pt x="12834" y="1695"/>
                    <a:pt x="12834" y="1695"/>
                  </a:cubicBezTo>
                  <a:cubicBezTo>
                    <a:pt x="12856" y="1722"/>
                    <a:pt x="12856" y="1722"/>
                    <a:pt x="12856" y="1722"/>
                  </a:cubicBezTo>
                  <a:cubicBezTo>
                    <a:pt x="12857" y="1705"/>
                    <a:pt x="12857" y="1705"/>
                    <a:pt x="12857" y="1705"/>
                  </a:cubicBezTo>
                  <a:cubicBezTo>
                    <a:pt x="12837" y="1680"/>
                    <a:pt x="12837" y="1680"/>
                    <a:pt x="12837" y="1680"/>
                  </a:cubicBezTo>
                  <a:cubicBezTo>
                    <a:pt x="12821" y="1681"/>
                    <a:pt x="12821" y="1681"/>
                    <a:pt x="12821" y="1681"/>
                  </a:cubicBezTo>
                  <a:cubicBezTo>
                    <a:pt x="12799" y="1658"/>
                    <a:pt x="12799" y="1658"/>
                    <a:pt x="12799" y="1658"/>
                  </a:cubicBezTo>
                  <a:cubicBezTo>
                    <a:pt x="12799" y="1658"/>
                    <a:pt x="12777" y="1652"/>
                    <a:pt x="12764" y="1634"/>
                  </a:cubicBezTo>
                  <a:cubicBezTo>
                    <a:pt x="12752" y="1616"/>
                    <a:pt x="12744" y="1575"/>
                    <a:pt x="12744" y="1575"/>
                  </a:cubicBezTo>
                  <a:cubicBezTo>
                    <a:pt x="12744" y="1575"/>
                    <a:pt x="12720" y="1561"/>
                    <a:pt x="12733" y="1554"/>
                  </a:cubicBezTo>
                  <a:cubicBezTo>
                    <a:pt x="12745" y="1547"/>
                    <a:pt x="12821" y="1585"/>
                    <a:pt x="12821" y="1585"/>
                  </a:cubicBezTo>
                  <a:cubicBezTo>
                    <a:pt x="12771" y="1548"/>
                    <a:pt x="12771" y="1548"/>
                    <a:pt x="12771" y="1548"/>
                  </a:cubicBezTo>
                  <a:cubicBezTo>
                    <a:pt x="12771" y="1548"/>
                    <a:pt x="12752" y="1518"/>
                    <a:pt x="12742" y="1511"/>
                  </a:cubicBezTo>
                  <a:cubicBezTo>
                    <a:pt x="12733" y="1504"/>
                    <a:pt x="12717" y="1494"/>
                    <a:pt x="12717" y="1494"/>
                  </a:cubicBezTo>
                  <a:cubicBezTo>
                    <a:pt x="12665" y="1438"/>
                    <a:pt x="12665" y="1438"/>
                    <a:pt x="12665" y="1438"/>
                  </a:cubicBezTo>
                  <a:cubicBezTo>
                    <a:pt x="12648" y="1439"/>
                    <a:pt x="12648" y="1439"/>
                    <a:pt x="12648" y="1439"/>
                  </a:cubicBezTo>
                  <a:cubicBezTo>
                    <a:pt x="12641" y="1420"/>
                    <a:pt x="12641" y="1420"/>
                    <a:pt x="12641" y="1420"/>
                  </a:cubicBezTo>
                  <a:cubicBezTo>
                    <a:pt x="12641" y="1420"/>
                    <a:pt x="12631" y="1422"/>
                    <a:pt x="12619" y="1410"/>
                  </a:cubicBezTo>
                  <a:cubicBezTo>
                    <a:pt x="12607" y="1397"/>
                    <a:pt x="12611" y="1381"/>
                    <a:pt x="12611" y="1381"/>
                  </a:cubicBezTo>
                  <a:cubicBezTo>
                    <a:pt x="12591" y="1356"/>
                    <a:pt x="12591" y="1356"/>
                    <a:pt x="12591" y="1356"/>
                  </a:cubicBezTo>
                  <a:cubicBezTo>
                    <a:pt x="12577" y="1357"/>
                    <a:pt x="12577" y="1357"/>
                    <a:pt x="12577" y="1357"/>
                  </a:cubicBezTo>
                  <a:cubicBezTo>
                    <a:pt x="12568" y="1338"/>
                    <a:pt x="12568" y="1338"/>
                    <a:pt x="12568" y="1338"/>
                  </a:cubicBezTo>
                  <a:cubicBezTo>
                    <a:pt x="12541" y="1318"/>
                    <a:pt x="12541" y="1318"/>
                    <a:pt x="12541" y="1318"/>
                  </a:cubicBezTo>
                  <a:cubicBezTo>
                    <a:pt x="12533" y="1302"/>
                    <a:pt x="12533" y="1302"/>
                    <a:pt x="12533" y="1302"/>
                  </a:cubicBezTo>
                  <a:cubicBezTo>
                    <a:pt x="12533" y="1302"/>
                    <a:pt x="12515" y="1289"/>
                    <a:pt x="12508" y="1294"/>
                  </a:cubicBezTo>
                  <a:cubicBezTo>
                    <a:pt x="12501" y="1298"/>
                    <a:pt x="12547" y="1331"/>
                    <a:pt x="12541" y="1334"/>
                  </a:cubicBezTo>
                  <a:close/>
                  <a:moveTo>
                    <a:pt x="12478" y="2891"/>
                  </a:moveTo>
                  <a:cubicBezTo>
                    <a:pt x="12490" y="2894"/>
                    <a:pt x="12501" y="2877"/>
                    <a:pt x="12485" y="2875"/>
                  </a:cubicBezTo>
                  <a:cubicBezTo>
                    <a:pt x="12469" y="2874"/>
                    <a:pt x="12478" y="2891"/>
                    <a:pt x="12478" y="2891"/>
                  </a:cubicBezTo>
                  <a:close/>
                  <a:moveTo>
                    <a:pt x="12587" y="2774"/>
                  </a:moveTo>
                  <a:cubicBezTo>
                    <a:pt x="12587" y="2782"/>
                    <a:pt x="12598" y="2782"/>
                    <a:pt x="12598" y="2782"/>
                  </a:cubicBezTo>
                  <a:cubicBezTo>
                    <a:pt x="12605" y="2770"/>
                    <a:pt x="12587" y="2766"/>
                    <a:pt x="12587" y="2774"/>
                  </a:cubicBezTo>
                  <a:close/>
                  <a:moveTo>
                    <a:pt x="12559" y="2866"/>
                  </a:moveTo>
                  <a:cubicBezTo>
                    <a:pt x="12565" y="2858"/>
                    <a:pt x="12550" y="2858"/>
                    <a:pt x="12550" y="2858"/>
                  </a:cubicBezTo>
                  <a:cubicBezTo>
                    <a:pt x="12541" y="2841"/>
                    <a:pt x="12541" y="2841"/>
                    <a:pt x="12541" y="2841"/>
                  </a:cubicBezTo>
                  <a:cubicBezTo>
                    <a:pt x="12541" y="2851"/>
                    <a:pt x="12541" y="2851"/>
                    <a:pt x="12541" y="2851"/>
                  </a:cubicBezTo>
                  <a:cubicBezTo>
                    <a:pt x="12539" y="2867"/>
                    <a:pt x="12554" y="2874"/>
                    <a:pt x="12559" y="2866"/>
                  </a:cubicBezTo>
                  <a:close/>
                  <a:moveTo>
                    <a:pt x="12523" y="2879"/>
                  </a:moveTo>
                  <a:cubicBezTo>
                    <a:pt x="12505" y="2870"/>
                    <a:pt x="12505" y="2870"/>
                    <a:pt x="12505" y="2870"/>
                  </a:cubicBezTo>
                  <a:cubicBezTo>
                    <a:pt x="12505" y="2870"/>
                    <a:pt x="12497" y="2885"/>
                    <a:pt x="12501" y="2885"/>
                  </a:cubicBezTo>
                  <a:cubicBezTo>
                    <a:pt x="12505" y="2885"/>
                    <a:pt x="12523" y="2879"/>
                    <a:pt x="12523" y="2879"/>
                  </a:cubicBezTo>
                  <a:close/>
                  <a:moveTo>
                    <a:pt x="12471" y="2390"/>
                  </a:moveTo>
                  <a:cubicBezTo>
                    <a:pt x="12447" y="2398"/>
                    <a:pt x="12457" y="2407"/>
                    <a:pt x="12472" y="2407"/>
                  </a:cubicBezTo>
                  <a:cubicBezTo>
                    <a:pt x="12491" y="2407"/>
                    <a:pt x="12495" y="2382"/>
                    <a:pt x="12471" y="2390"/>
                  </a:cubicBezTo>
                  <a:close/>
                  <a:moveTo>
                    <a:pt x="11286" y="3255"/>
                  </a:moveTo>
                  <a:cubicBezTo>
                    <a:pt x="11294" y="3249"/>
                    <a:pt x="11309" y="3276"/>
                    <a:pt x="11309" y="3276"/>
                  </a:cubicBezTo>
                  <a:cubicBezTo>
                    <a:pt x="11308" y="3297"/>
                    <a:pt x="11308" y="3297"/>
                    <a:pt x="11308" y="3297"/>
                  </a:cubicBezTo>
                  <a:cubicBezTo>
                    <a:pt x="11308" y="3297"/>
                    <a:pt x="11329" y="3298"/>
                    <a:pt x="11330" y="3315"/>
                  </a:cubicBezTo>
                  <a:cubicBezTo>
                    <a:pt x="11330" y="3332"/>
                    <a:pt x="11337" y="3344"/>
                    <a:pt x="11339" y="3357"/>
                  </a:cubicBezTo>
                  <a:cubicBezTo>
                    <a:pt x="11341" y="3371"/>
                    <a:pt x="11344" y="3404"/>
                    <a:pt x="11344" y="3404"/>
                  </a:cubicBezTo>
                  <a:cubicBezTo>
                    <a:pt x="11344" y="3404"/>
                    <a:pt x="11345" y="3416"/>
                    <a:pt x="11352" y="3425"/>
                  </a:cubicBezTo>
                  <a:cubicBezTo>
                    <a:pt x="11360" y="3434"/>
                    <a:pt x="11363" y="3447"/>
                    <a:pt x="11363" y="3447"/>
                  </a:cubicBezTo>
                  <a:cubicBezTo>
                    <a:pt x="11391" y="3508"/>
                    <a:pt x="11391" y="3508"/>
                    <a:pt x="11391" y="3508"/>
                  </a:cubicBezTo>
                  <a:cubicBezTo>
                    <a:pt x="11401" y="3538"/>
                    <a:pt x="11401" y="3538"/>
                    <a:pt x="11401" y="3538"/>
                  </a:cubicBezTo>
                  <a:cubicBezTo>
                    <a:pt x="11401" y="3538"/>
                    <a:pt x="11387" y="3535"/>
                    <a:pt x="11386" y="3543"/>
                  </a:cubicBezTo>
                  <a:cubicBezTo>
                    <a:pt x="11384" y="3552"/>
                    <a:pt x="11378" y="3577"/>
                    <a:pt x="11378" y="3577"/>
                  </a:cubicBezTo>
                  <a:cubicBezTo>
                    <a:pt x="11407" y="3567"/>
                    <a:pt x="11407" y="3567"/>
                    <a:pt x="11407" y="3567"/>
                  </a:cubicBezTo>
                  <a:cubicBezTo>
                    <a:pt x="11399" y="3604"/>
                    <a:pt x="11399" y="3604"/>
                    <a:pt x="11399" y="3604"/>
                  </a:cubicBezTo>
                  <a:cubicBezTo>
                    <a:pt x="11399" y="3604"/>
                    <a:pt x="11395" y="3616"/>
                    <a:pt x="11396" y="3629"/>
                  </a:cubicBezTo>
                  <a:cubicBezTo>
                    <a:pt x="11397" y="3641"/>
                    <a:pt x="11404" y="3660"/>
                    <a:pt x="11404" y="3660"/>
                  </a:cubicBezTo>
                  <a:cubicBezTo>
                    <a:pt x="11404" y="3660"/>
                    <a:pt x="11392" y="3692"/>
                    <a:pt x="11390" y="3708"/>
                  </a:cubicBezTo>
                  <a:cubicBezTo>
                    <a:pt x="11388" y="3724"/>
                    <a:pt x="11390" y="3769"/>
                    <a:pt x="11390" y="3769"/>
                  </a:cubicBezTo>
                  <a:cubicBezTo>
                    <a:pt x="11390" y="3769"/>
                    <a:pt x="11400" y="3779"/>
                    <a:pt x="11402" y="3769"/>
                  </a:cubicBezTo>
                  <a:cubicBezTo>
                    <a:pt x="11403" y="3759"/>
                    <a:pt x="11403" y="3735"/>
                    <a:pt x="11407" y="3746"/>
                  </a:cubicBezTo>
                  <a:cubicBezTo>
                    <a:pt x="11410" y="3758"/>
                    <a:pt x="11402" y="3758"/>
                    <a:pt x="11416" y="3760"/>
                  </a:cubicBezTo>
                  <a:cubicBezTo>
                    <a:pt x="11430" y="3761"/>
                    <a:pt x="11438" y="3791"/>
                    <a:pt x="11438" y="3791"/>
                  </a:cubicBezTo>
                  <a:cubicBezTo>
                    <a:pt x="11461" y="3811"/>
                    <a:pt x="11461" y="3811"/>
                    <a:pt x="11461" y="3811"/>
                  </a:cubicBezTo>
                  <a:cubicBezTo>
                    <a:pt x="11461" y="3811"/>
                    <a:pt x="11456" y="3822"/>
                    <a:pt x="11465" y="3836"/>
                  </a:cubicBezTo>
                  <a:cubicBezTo>
                    <a:pt x="11471" y="3847"/>
                    <a:pt x="11479" y="3855"/>
                    <a:pt x="11483" y="3859"/>
                  </a:cubicBezTo>
                  <a:cubicBezTo>
                    <a:pt x="11484" y="3859"/>
                    <a:pt x="11484" y="3860"/>
                    <a:pt x="11484" y="3860"/>
                  </a:cubicBezTo>
                  <a:cubicBezTo>
                    <a:pt x="11489" y="3921"/>
                    <a:pt x="11489" y="3921"/>
                    <a:pt x="11489" y="3921"/>
                  </a:cubicBezTo>
                  <a:cubicBezTo>
                    <a:pt x="11489" y="3921"/>
                    <a:pt x="11521" y="3909"/>
                    <a:pt x="11521" y="3929"/>
                  </a:cubicBezTo>
                  <a:cubicBezTo>
                    <a:pt x="11520" y="3949"/>
                    <a:pt x="11511" y="3971"/>
                    <a:pt x="11522" y="3983"/>
                  </a:cubicBezTo>
                  <a:cubicBezTo>
                    <a:pt x="11533" y="3996"/>
                    <a:pt x="11545" y="3983"/>
                    <a:pt x="11545" y="3983"/>
                  </a:cubicBezTo>
                  <a:cubicBezTo>
                    <a:pt x="11545" y="3983"/>
                    <a:pt x="11538" y="4024"/>
                    <a:pt x="11548" y="4033"/>
                  </a:cubicBezTo>
                  <a:cubicBezTo>
                    <a:pt x="11558" y="4042"/>
                    <a:pt x="11597" y="4066"/>
                    <a:pt x="11597" y="4066"/>
                  </a:cubicBezTo>
                  <a:cubicBezTo>
                    <a:pt x="11597" y="4066"/>
                    <a:pt x="11599" y="4086"/>
                    <a:pt x="11604" y="4088"/>
                  </a:cubicBezTo>
                  <a:cubicBezTo>
                    <a:pt x="11609" y="4089"/>
                    <a:pt x="11636" y="4101"/>
                    <a:pt x="11636" y="4101"/>
                  </a:cubicBezTo>
                  <a:cubicBezTo>
                    <a:pt x="11652" y="4123"/>
                    <a:pt x="11652" y="4123"/>
                    <a:pt x="11652" y="4123"/>
                  </a:cubicBezTo>
                  <a:cubicBezTo>
                    <a:pt x="11685" y="4120"/>
                    <a:pt x="11685" y="4120"/>
                    <a:pt x="11685" y="4120"/>
                  </a:cubicBezTo>
                  <a:cubicBezTo>
                    <a:pt x="11685" y="4120"/>
                    <a:pt x="11690" y="4100"/>
                    <a:pt x="11688" y="4082"/>
                  </a:cubicBezTo>
                  <a:cubicBezTo>
                    <a:pt x="11686" y="4065"/>
                    <a:pt x="11656" y="4045"/>
                    <a:pt x="11655" y="4040"/>
                  </a:cubicBezTo>
                  <a:cubicBezTo>
                    <a:pt x="11654" y="4035"/>
                    <a:pt x="11660" y="4023"/>
                    <a:pt x="11653" y="4014"/>
                  </a:cubicBezTo>
                  <a:cubicBezTo>
                    <a:pt x="11645" y="4005"/>
                    <a:pt x="11651" y="4003"/>
                    <a:pt x="11651" y="3990"/>
                  </a:cubicBezTo>
                  <a:cubicBezTo>
                    <a:pt x="11652" y="3978"/>
                    <a:pt x="11655" y="3939"/>
                    <a:pt x="11650" y="3917"/>
                  </a:cubicBezTo>
                  <a:cubicBezTo>
                    <a:pt x="11646" y="3895"/>
                    <a:pt x="11604" y="3880"/>
                    <a:pt x="11598" y="3871"/>
                  </a:cubicBezTo>
                  <a:cubicBezTo>
                    <a:pt x="11596" y="3868"/>
                    <a:pt x="11591" y="3864"/>
                    <a:pt x="11586" y="3861"/>
                  </a:cubicBezTo>
                  <a:cubicBezTo>
                    <a:pt x="11586" y="3861"/>
                    <a:pt x="11586" y="3861"/>
                    <a:pt x="11586" y="3861"/>
                  </a:cubicBezTo>
                  <a:cubicBezTo>
                    <a:pt x="11577" y="3854"/>
                    <a:pt x="11567" y="3848"/>
                    <a:pt x="11567" y="3848"/>
                  </a:cubicBezTo>
                  <a:cubicBezTo>
                    <a:pt x="11567" y="3848"/>
                    <a:pt x="11562" y="3824"/>
                    <a:pt x="11559" y="3814"/>
                  </a:cubicBezTo>
                  <a:cubicBezTo>
                    <a:pt x="11556" y="3804"/>
                    <a:pt x="11529" y="3824"/>
                    <a:pt x="11521" y="3820"/>
                  </a:cubicBezTo>
                  <a:cubicBezTo>
                    <a:pt x="11514" y="3816"/>
                    <a:pt x="11507" y="3779"/>
                    <a:pt x="11502" y="3782"/>
                  </a:cubicBezTo>
                  <a:cubicBezTo>
                    <a:pt x="11497" y="3786"/>
                    <a:pt x="11502" y="3797"/>
                    <a:pt x="11496" y="3798"/>
                  </a:cubicBezTo>
                  <a:cubicBezTo>
                    <a:pt x="11490" y="3799"/>
                    <a:pt x="11475" y="3776"/>
                    <a:pt x="11483" y="3768"/>
                  </a:cubicBezTo>
                  <a:cubicBezTo>
                    <a:pt x="11491" y="3760"/>
                    <a:pt x="11488" y="3775"/>
                    <a:pt x="11496" y="3772"/>
                  </a:cubicBezTo>
                  <a:cubicBezTo>
                    <a:pt x="11504" y="3769"/>
                    <a:pt x="11486" y="3738"/>
                    <a:pt x="11484" y="3732"/>
                  </a:cubicBezTo>
                  <a:cubicBezTo>
                    <a:pt x="11482" y="3726"/>
                    <a:pt x="11471" y="3728"/>
                    <a:pt x="11471" y="3728"/>
                  </a:cubicBezTo>
                  <a:cubicBezTo>
                    <a:pt x="11472" y="3691"/>
                    <a:pt x="11472" y="3691"/>
                    <a:pt x="11472" y="3691"/>
                  </a:cubicBezTo>
                  <a:cubicBezTo>
                    <a:pt x="11437" y="3701"/>
                    <a:pt x="11437" y="3701"/>
                    <a:pt x="11437" y="3701"/>
                  </a:cubicBezTo>
                  <a:cubicBezTo>
                    <a:pt x="11437" y="3701"/>
                    <a:pt x="11433" y="3642"/>
                    <a:pt x="11432" y="3635"/>
                  </a:cubicBezTo>
                  <a:cubicBezTo>
                    <a:pt x="11431" y="3627"/>
                    <a:pt x="11426" y="3617"/>
                    <a:pt x="11426" y="3617"/>
                  </a:cubicBezTo>
                  <a:cubicBezTo>
                    <a:pt x="11426" y="3617"/>
                    <a:pt x="11442" y="3609"/>
                    <a:pt x="11443" y="3591"/>
                  </a:cubicBezTo>
                  <a:cubicBezTo>
                    <a:pt x="11444" y="3572"/>
                    <a:pt x="11444" y="3549"/>
                    <a:pt x="11444" y="3549"/>
                  </a:cubicBezTo>
                  <a:cubicBezTo>
                    <a:pt x="11444" y="3549"/>
                    <a:pt x="11458" y="3542"/>
                    <a:pt x="11459" y="3518"/>
                  </a:cubicBezTo>
                  <a:cubicBezTo>
                    <a:pt x="11460" y="3493"/>
                    <a:pt x="11453" y="3489"/>
                    <a:pt x="11453" y="3489"/>
                  </a:cubicBezTo>
                  <a:cubicBezTo>
                    <a:pt x="11457" y="3467"/>
                    <a:pt x="11457" y="3467"/>
                    <a:pt x="11457" y="3467"/>
                  </a:cubicBezTo>
                  <a:cubicBezTo>
                    <a:pt x="11464" y="3467"/>
                    <a:pt x="11464" y="3467"/>
                    <a:pt x="11464" y="3467"/>
                  </a:cubicBezTo>
                  <a:cubicBezTo>
                    <a:pt x="11464" y="3467"/>
                    <a:pt x="11465" y="3459"/>
                    <a:pt x="11477" y="3460"/>
                  </a:cubicBezTo>
                  <a:cubicBezTo>
                    <a:pt x="11488" y="3460"/>
                    <a:pt x="11507" y="3474"/>
                    <a:pt x="11507" y="3474"/>
                  </a:cubicBezTo>
                  <a:cubicBezTo>
                    <a:pt x="11499" y="3480"/>
                    <a:pt x="11499" y="3480"/>
                    <a:pt x="11499" y="3480"/>
                  </a:cubicBezTo>
                  <a:cubicBezTo>
                    <a:pt x="11499" y="3480"/>
                    <a:pt x="11494" y="3512"/>
                    <a:pt x="11505" y="3512"/>
                  </a:cubicBezTo>
                  <a:cubicBezTo>
                    <a:pt x="11517" y="3513"/>
                    <a:pt x="11553" y="3496"/>
                    <a:pt x="11553" y="3496"/>
                  </a:cubicBezTo>
                  <a:cubicBezTo>
                    <a:pt x="11571" y="3550"/>
                    <a:pt x="11571" y="3550"/>
                    <a:pt x="11571" y="3550"/>
                  </a:cubicBezTo>
                  <a:cubicBezTo>
                    <a:pt x="11571" y="3550"/>
                    <a:pt x="11579" y="3538"/>
                    <a:pt x="11590" y="3543"/>
                  </a:cubicBezTo>
                  <a:cubicBezTo>
                    <a:pt x="11593" y="3544"/>
                    <a:pt x="11596" y="3546"/>
                    <a:pt x="11599" y="3549"/>
                  </a:cubicBezTo>
                  <a:cubicBezTo>
                    <a:pt x="11614" y="3566"/>
                    <a:pt x="11600" y="3578"/>
                    <a:pt x="11600" y="3578"/>
                  </a:cubicBezTo>
                  <a:cubicBezTo>
                    <a:pt x="11600" y="3578"/>
                    <a:pt x="11609" y="3600"/>
                    <a:pt x="11619" y="3601"/>
                  </a:cubicBezTo>
                  <a:cubicBezTo>
                    <a:pt x="11629" y="3601"/>
                    <a:pt x="11632" y="3588"/>
                    <a:pt x="11632" y="3588"/>
                  </a:cubicBezTo>
                  <a:cubicBezTo>
                    <a:pt x="11632" y="3588"/>
                    <a:pt x="11631" y="3612"/>
                    <a:pt x="11641" y="3614"/>
                  </a:cubicBezTo>
                  <a:cubicBezTo>
                    <a:pt x="11652" y="3616"/>
                    <a:pt x="11662" y="3608"/>
                    <a:pt x="11664" y="3618"/>
                  </a:cubicBezTo>
                  <a:cubicBezTo>
                    <a:pt x="11665" y="3622"/>
                    <a:pt x="11668" y="3628"/>
                    <a:pt x="11670" y="3633"/>
                  </a:cubicBezTo>
                  <a:cubicBezTo>
                    <a:pt x="11683" y="3634"/>
                    <a:pt x="11683" y="3634"/>
                    <a:pt x="11683" y="3634"/>
                  </a:cubicBezTo>
                  <a:cubicBezTo>
                    <a:pt x="11682" y="3636"/>
                    <a:pt x="11683" y="3638"/>
                    <a:pt x="11684" y="3640"/>
                  </a:cubicBezTo>
                  <a:cubicBezTo>
                    <a:pt x="11690" y="3648"/>
                    <a:pt x="11713" y="3660"/>
                    <a:pt x="11713" y="3660"/>
                  </a:cubicBezTo>
                  <a:cubicBezTo>
                    <a:pt x="11700" y="3671"/>
                    <a:pt x="11700" y="3671"/>
                    <a:pt x="11700" y="3671"/>
                  </a:cubicBezTo>
                  <a:cubicBezTo>
                    <a:pt x="11700" y="3671"/>
                    <a:pt x="11714" y="3706"/>
                    <a:pt x="11707" y="3712"/>
                  </a:cubicBezTo>
                  <a:cubicBezTo>
                    <a:pt x="11703" y="3715"/>
                    <a:pt x="11700" y="3721"/>
                    <a:pt x="11698" y="3726"/>
                  </a:cubicBezTo>
                  <a:cubicBezTo>
                    <a:pt x="11699" y="3726"/>
                    <a:pt x="11699" y="3726"/>
                    <a:pt x="11699" y="3726"/>
                  </a:cubicBezTo>
                  <a:cubicBezTo>
                    <a:pt x="11708" y="3732"/>
                    <a:pt x="11722" y="3732"/>
                    <a:pt x="11732" y="3720"/>
                  </a:cubicBezTo>
                  <a:cubicBezTo>
                    <a:pt x="11743" y="3709"/>
                    <a:pt x="11756" y="3705"/>
                    <a:pt x="11756" y="3705"/>
                  </a:cubicBezTo>
                  <a:cubicBezTo>
                    <a:pt x="11759" y="3689"/>
                    <a:pt x="11759" y="3689"/>
                    <a:pt x="11759" y="3689"/>
                  </a:cubicBezTo>
                  <a:cubicBezTo>
                    <a:pt x="11759" y="3673"/>
                    <a:pt x="11759" y="3673"/>
                    <a:pt x="11759" y="3673"/>
                  </a:cubicBezTo>
                  <a:cubicBezTo>
                    <a:pt x="11759" y="3673"/>
                    <a:pt x="11784" y="3684"/>
                    <a:pt x="11789" y="3672"/>
                  </a:cubicBezTo>
                  <a:cubicBezTo>
                    <a:pt x="11793" y="3660"/>
                    <a:pt x="11773" y="3648"/>
                    <a:pt x="11777" y="3645"/>
                  </a:cubicBezTo>
                  <a:cubicBezTo>
                    <a:pt x="11781" y="3641"/>
                    <a:pt x="11804" y="3630"/>
                    <a:pt x="11804" y="3630"/>
                  </a:cubicBezTo>
                  <a:cubicBezTo>
                    <a:pt x="11804" y="3630"/>
                    <a:pt x="11815" y="3639"/>
                    <a:pt x="11838" y="3627"/>
                  </a:cubicBezTo>
                  <a:cubicBezTo>
                    <a:pt x="11860" y="3616"/>
                    <a:pt x="11891" y="3593"/>
                    <a:pt x="11895" y="3576"/>
                  </a:cubicBezTo>
                  <a:cubicBezTo>
                    <a:pt x="11898" y="3559"/>
                    <a:pt x="11911" y="3514"/>
                    <a:pt x="11909" y="3504"/>
                  </a:cubicBezTo>
                  <a:cubicBezTo>
                    <a:pt x="11907" y="3494"/>
                    <a:pt x="11889" y="3476"/>
                    <a:pt x="11889" y="3476"/>
                  </a:cubicBezTo>
                  <a:cubicBezTo>
                    <a:pt x="11899" y="3472"/>
                    <a:pt x="11899" y="3472"/>
                    <a:pt x="11899" y="3472"/>
                  </a:cubicBezTo>
                  <a:cubicBezTo>
                    <a:pt x="11899" y="3472"/>
                    <a:pt x="11899" y="3435"/>
                    <a:pt x="11894" y="3422"/>
                  </a:cubicBezTo>
                  <a:cubicBezTo>
                    <a:pt x="11888" y="3408"/>
                    <a:pt x="11872" y="3385"/>
                    <a:pt x="11872" y="3385"/>
                  </a:cubicBezTo>
                  <a:cubicBezTo>
                    <a:pt x="11872" y="3385"/>
                    <a:pt x="11883" y="3371"/>
                    <a:pt x="11867" y="3355"/>
                  </a:cubicBezTo>
                  <a:cubicBezTo>
                    <a:pt x="11851" y="3340"/>
                    <a:pt x="11806" y="3298"/>
                    <a:pt x="11792" y="3291"/>
                  </a:cubicBezTo>
                  <a:cubicBezTo>
                    <a:pt x="11778" y="3285"/>
                    <a:pt x="11763" y="3277"/>
                    <a:pt x="11760" y="3269"/>
                  </a:cubicBezTo>
                  <a:cubicBezTo>
                    <a:pt x="11756" y="3262"/>
                    <a:pt x="11764" y="3256"/>
                    <a:pt x="11758" y="3246"/>
                  </a:cubicBezTo>
                  <a:cubicBezTo>
                    <a:pt x="11752" y="3236"/>
                    <a:pt x="11704" y="3195"/>
                    <a:pt x="11697" y="3172"/>
                  </a:cubicBezTo>
                  <a:cubicBezTo>
                    <a:pt x="11691" y="3148"/>
                    <a:pt x="11686" y="3122"/>
                    <a:pt x="11692" y="3117"/>
                  </a:cubicBezTo>
                  <a:cubicBezTo>
                    <a:pt x="11699" y="3113"/>
                    <a:pt x="11701" y="3097"/>
                    <a:pt x="11701" y="3097"/>
                  </a:cubicBezTo>
                  <a:cubicBezTo>
                    <a:pt x="11701" y="3097"/>
                    <a:pt x="11719" y="3084"/>
                    <a:pt x="11724" y="3080"/>
                  </a:cubicBezTo>
                  <a:cubicBezTo>
                    <a:pt x="11730" y="3077"/>
                    <a:pt x="11733" y="3066"/>
                    <a:pt x="11733" y="3066"/>
                  </a:cubicBezTo>
                  <a:cubicBezTo>
                    <a:pt x="11733" y="3066"/>
                    <a:pt x="11752" y="3069"/>
                    <a:pt x="11758" y="3064"/>
                  </a:cubicBezTo>
                  <a:cubicBezTo>
                    <a:pt x="11763" y="3059"/>
                    <a:pt x="11763" y="3037"/>
                    <a:pt x="11763" y="3037"/>
                  </a:cubicBezTo>
                  <a:cubicBezTo>
                    <a:pt x="11770" y="3032"/>
                    <a:pt x="11770" y="3032"/>
                    <a:pt x="11770" y="3032"/>
                  </a:cubicBezTo>
                  <a:cubicBezTo>
                    <a:pt x="11799" y="3013"/>
                    <a:pt x="11799" y="3013"/>
                    <a:pt x="11799" y="3013"/>
                  </a:cubicBezTo>
                  <a:cubicBezTo>
                    <a:pt x="11811" y="3021"/>
                    <a:pt x="11811" y="3021"/>
                    <a:pt x="11811" y="3021"/>
                  </a:cubicBezTo>
                  <a:cubicBezTo>
                    <a:pt x="11811" y="3021"/>
                    <a:pt x="11856" y="3021"/>
                    <a:pt x="11862" y="3032"/>
                  </a:cubicBezTo>
                  <a:cubicBezTo>
                    <a:pt x="11867" y="3044"/>
                    <a:pt x="11852" y="3066"/>
                    <a:pt x="11859" y="3077"/>
                  </a:cubicBezTo>
                  <a:cubicBezTo>
                    <a:pt x="11867" y="3088"/>
                    <a:pt x="11888" y="3103"/>
                    <a:pt x="11888" y="3103"/>
                  </a:cubicBezTo>
                  <a:cubicBezTo>
                    <a:pt x="11902" y="3101"/>
                    <a:pt x="11902" y="3101"/>
                    <a:pt x="11902" y="3101"/>
                  </a:cubicBezTo>
                  <a:cubicBezTo>
                    <a:pt x="11902" y="3089"/>
                    <a:pt x="11902" y="3089"/>
                    <a:pt x="11902" y="3089"/>
                  </a:cubicBezTo>
                  <a:cubicBezTo>
                    <a:pt x="11902" y="3089"/>
                    <a:pt x="11893" y="3057"/>
                    <a:pt x="11905" y="3040"/>
                  </a:cubicBezTo>
                  <a:cubicBezTo>
                    <a:pt x="11917" y="3024"/>
                    <a:pt x="11944" y="3026"/>
                    <a:pt x="11958" y="3023"/>
                  </a:cubicBezTo>
                  <a:cubicBezTo>
                    <a:pt x="11971" y="3020"/>
                    <a:pt x="12014" y="3011"/>
                    <a:pt x="12014" y="3001"/>
                  </a:cubicBezTo>
                  <a:cubicBezTo>
                    <a:pt x="12015" y="2991"/>
                    <a:pt x="12015" y="2961"/>
                    <a:pt x="12024" y="2959"/>
                  </a:cubicBezTo>
                  <a:cubicBezTo>
                    <a:pt x="12033" y="2957"/>
                    <a:pt x="12040" y="2991"/>
                    <a:pt x="12049" y="2987"/>
                  </a:cubicBezTo>
                  <a:cubicBezTo>
                    <a:pt x="12059" y="2984"/>
                    <a:pt x="12079" y="2953"/>
                    <a:pt x="12079" y="2953"/>
                  </a:cubicBezTo>
                  <a:cubicBezTo>
                    <a:pt x="12090" y="2963"/>
                    <a:pt x="12090" y="2963"/>
                    <a:pt x="12090" y="2963"/>
                  </a:cubicBezTo>
                  <a:cubicBezTo>
                    <a:pt x="12112" y="2956"/>
                    <a:pt x="12112" y="2956"/>
                    <a:pt x="12112" y="2956"/>
                  </a:cubicBezTo>
                  <a:cubicBezTo>
                    <a:pt x="12112" y="2956"/>
                    <a:pt x="12137" y="2963"/>
                    <a:pt x="12149" y="2956"/>
                  </a:cubicBezTo>
                  <a:cubicBezTo>
                    <a:pt x="12162" y="2949"/>
                    <a:pt x="12167" y="2946"/>
                    <a:pt x="12174" y="2941"/>
                  </a:cubicBezTo>
                  <a:cubicBezTo>
                    <a:pt x="12180" y="2936"/>
                    <a:pt x="12209" y="2911"/>
                    <a:pt x="12214" y="2901"/>
                  </a:cubicBezTo>
                  <a:cubicBezTo>
                    <a:pt x="12218" y="2891"/>
                    <a:pt x="12205" y="2871"/>
                    <a:pt x="12205" y="2871"/>
                  </a:cubicBezTo>
                  <a:cubicBezTo>
                    <a:pt x="12218" y="2871"/>
                    <a:pt x="12218" y="2871"/>
                    <a:pt x="12218" y="2871"/>
                  </a:cubicBezTo>
                  <a:cubicBezTo>
                    <a:pt x="12224" y="2851"/>
                    <a:pt x="12224" y="2851"/>
                    <a:pt x="12224" y="2851"/>
                  </a:cubicBezTo>
                  <a:cubicBezTo>
                    <a:pt x="12239" y="2852"/>
                    <a:pt x="12239" y="2852"/>
                    <a:pt x="12239" y="2852"/>
                  </a:cubicBezTo>
                  <a:cubicBezTo>
                    <a:pt x="12246" y="2827"/>
                    <a:pt x="12246" y="2827"/>
                    <a:pt x="12246" y="2827"/>
                  </a:cubicBezTo>
                  <a:cubicBezTo>
                    <a:pt x="12254" y="2827"/>
                    <a:pt x="12254" y="2827"/>
                    <a:pt x="12254" y="2827"/>
                  </a:cubicBezTo>
                  <a:cubicBezTo>
                    <a:pt x="12258" y="2800"/>
                    <a:pt x="12258" y="2800"/>
                    <a:pt x="12258" y="2800"/>
                  </a:cubicBezTo>
                  <a:cubicBezTo>
                    <a:pt x="12258" y="2800"/>
                    <a:pt x="12272" y="2805"/>
                    <a:pt x="12272" y="2783"/>
                  </a:cubicBezTo>
                  <a:cubicBezTo>
                    <a:pt x="12272" y="2761"/>
                    <a:pt x="12259" y="2764"/>
                    <a:pt x="12264" y="2756"/>
                  </a:cubicBezTo>
                  <a:cubicBezTo>
                    <a:pt x="12268" y="2747"/>
                    <a:pt x="12287" y="2750"/>
                    <a:pt x="12287" y="2732"/>
                  </a:cubicBezTo>
                  <a:cubicBezTo>
                    <a:pt x="12288" y="2715"/>
                    <a:pt x="12276" y="2715"/>
                    <a:pt x="12277" y="2708"/>
                  </a:cubicBezTo>
                  <a:cubicBezTo>
                    <a:pt x="12277" y="2700"/>
                    <a:pt x="12288" y="2697"/>
                    <a:pt x="12288" y="2697"/>
                  </a:cubicBezTo>
                  <a:cubicBezTo>
                    <a:pt x="12289" y="2671"/>
                    <a:pt x="12289" y="2671"/>
                    <a:pt x="12289" y="2671"/>
                  </a:cubicBezTo>
                  <a:cubicBezTo>
                    <a:pt x="12289" y="2671"/>
                    <a:pt x="12316" y="2663"/>
                    <a:pt x="12323" y="2647"/>
                  </a:cubicBezTo>
                  <a:cubicBezTo>
                    <a:pt x="12330" y="2631"/>
                    <a:pt x="12313" y="2630"/>
                    <a:pt x="12313" y="2630"/>
                  </a:cubicBezTo>
                  <a:cubicBezTo>
                    <a:pt x="12313" y="2630"/>
                    <a:pt x="12345" y="2625"/>
                    <a:pt x="12345" y="2616"/>
                  </a:cubicBezTo>
                  <a:cubicBezTo>
                    <a:pt x="12346" y="2607"/>
                    <a:pt x="12327" y="2602"/>
                    <a:pt x="12327" y="2602"/>
                  </a:cubicBezTo>
                  <a:cubicBezTo>
                    <a:pt x="12327" y="2602"/>
                    <a:pt x="12365" y="2568"/>
                    <a:pt x="12348" y="2558"/>
                  </a:cubicBezTo>
                  <a:cubicBezTo>
                    <a:pt x="12331" y="2549"/>
                    <a:pt x="12251" y="2571"/>
                    <a:pt x="12251" y="2571"/>
                  </a:cubicBezTo>
                  <a:cubicBezTo>
                    <a:pt x="12241" y="2560"/>
                    <a:pt x="12241" y="2560"/>
                    <a:pt x="12241" y="2560"/>
                  </a:cubicBezTo>
                  <a:cubicBezTo>
                    <a:pt x="12266" y="2559"/>
                    <a:pt x="12266" y="2559"/>
                    <a:pt x="12266" y="2559"/>
                  </a:cubicBezTo>
                  <a:cubicBezTo>
                    <a:pt x="12266" y="2559"/>
                    <a:pt x="12266" y="2544"/>
                    <a:pt x="12276" y="2540"/>
                  </a:cubicBezTo>
                  <a:cubicBezTo>
                    <a:pt x="12286" y="2536"/>
                    <a:pt x="12305" y="2534"/>
                    <a:pt x="12305" y="2534"/>
                  </a:cubicBezTo>
                  <a:cubicBezTo>
                    <a:pt x="12305" y="2534"/>
                    <a:pt x="12292" y="2510"/>
                    <a:pt x="12288" y="2509"/>
                  </a:cubicBezTo>
                  <a:cubicBezTo>
                    <a:pt x="12284" y="2508"/>
                    <a:pt x="12261" y="2502"/>
                    <a:pt x="12261" y="2502"/>
                  </a:cubicBezTo>
                  <a:cubicBezTo>
                    <a:pt x="12253" y="2491"/>
                    <a:pt x="12253" y="2491"/>
                    <a:pt x="12253" y="2491"/>
                  </a:cubicBezTo>
                  <a:cubicBezTo>
                    <a:pt x="12244" y="2492"/>
                    <a:pt x="12244" y="2492"/>
                    <a:pt x="12244" y="2492"/>
                  </a:cubicBezTo>
                  <a:cubicBezTo>
                    <a:pt x="12244" y="2492"/>
                    <a:pt x="12235" y="2480"/>
                    <a:pt x="12228" y="2479"/>
                  </a:cubicBezTo>
                  <a:cubicBezTo>
                    <a:pt x="12221" y="2478"/>
                    <a:pt x="12203" y="2484"/>
                    <a:pt x="12203" y="2484"/>
                  </a:cubicBezTo>
                  <a:cubicBezTo>
                    <a:pt x="12180" y="2453"/>
                    <a:pt x="12180" y="2453"/>
                    <a:pt x="12180" y="2453"/>
                  </a:cubicBezTo>
                  <a:cubicBezTo>
                    <a:pt x="12180" y="2453"/>
                    <a:pt x="12201" y="2474"/>
                    <a:pt x="12207" y="2472"/>
                  </a:cubicBezTo>
                  <a:cubicBezTo>
                    <a:pt x="12213" y="2470"/>
                    <a:pt x="12220" y="2466"/>
                    <a:pt x="12220" y="2466"/>
                  </a:cubicBezTo>
                  <a:cubicBezTo>
                    <a:pt x="12239" y="2471"/>
                    <a:pt x="12239" y="2471"/>
                    <a:pt x="12239" y="2471"/>
                  </a:cubicBezTo>
                  <a:cubicBezTo>
                    <a:pt x="12249" y="2482"/>
                    <a:pt x="12249" y="2482"/>
                    <a:pt x="12249" y="2482"/>
                  </a:cubicBezTo>
                  <a:cubicBezTo>
                    <a:pt x="12258" y="2478"/>
                    <a:pt x="12258" y="2478"/>
                    <a:pt x="12258" y="2478"/>
                  </a:cubicBezTo>
                  <a:cubicBezTo>
                    <a:pt x="12289" y="2488"/>
                    <a:pt x="12289" y="2488"/>
                    <a:pt x="12289" y="2488"/>
                  </a:cubicBezTo>
                  <a:cubicBezTo>
                    <a:pt x="12276" y="2471"/>
                    <a:pt x="12276" y="2471"/>
                    <a:pt x="12276" y="2471"/>
                  </a:cubicBezTo>
                  <a:cubicBezTo>
                    <a:pt x="12265" y="2469"/>
                    <a:pt x="12265" y="2469"/>
                    <a:pt x="12265" y="2469"/>
                  </a:cubicBezTo>
                  <a:cubicBezTo>
                    <a:pt x="12265" y="2469"/>
                    <a:pt x="12264" y="2447"/>
                    <a:pt x="12256" y="2446"/>
                  </a:cubicBezTo>
                  <a:cubicBezTo>
                    <a:pt x="12248" y="2445"/>
                    <a:pt x="12236" y="2442"/>
                    <a:pt x="12231" y="2438"/>
                  </a:cubicBezTo>
                  <a:cubicBezTo>
                    <a:pt x="12226" y="2434"/>
                    <a:pt x="12224" y="2415"/>
                    <a:pt x="12224" y="2415"/>
                  </a:cubicBezTo>
                  <a:cubicBezTo>
                    <a:pt x="12170" y="2349"/>
                    <a:pt x="12170" y="2349"/>
                    <a:pt x="12170" y="2349"/>
                  </a:cubicBezTo>
                  <a:cubicBezTo>
                    <a:pt x="12148" y="2343"/>
                    <a:pt x="12148" y="2343"/>
                    <a:pt x="12148" y="2343"/>
                  </a:cubicBezTo>
                  <a:cubicBezTo>
                    <a:pt x="12125" y="2325"/>
                    <a:pt x="12125" y="2325"/>
                    <a:pt x="12125" y="2325"/>
                  </a:cubicBezTo>
                  <a:cubicBezTo>
                    <a:pt x="12110" y="2327"/>
                    <a:pt x="12110" y="2327"/>
                    <a:pt x="12110" y="2327"/>
                  </a:cubicBezTo>
                  <a:cubicBezTo>
                    <a:pt x="12110" y="2327"/>
                    <a:pt x="12097" y="2302"/>
                    <a:pt x="12103" y="2298"/>
                  </a:cubicBezTo>
                  <a:cubicBezTo>
                    <a:pt x="12109" y="2294"/>
                    <a:pt x="12127" y="2282"/>
                    <a:pt x="12127" y="2273"/>
                  </a:cubicBezTo>
                  <a:cubicBezTo>
                    <a:pt x="12127" y="2264"/>
                    <a:pt x="12120" y="2246"/>
                    <a:pt x="12120" y="2246"/>
                  </a:cubicBezTo>
                  <a:cubicBezTo>
                    <a:pt x="12120" y="2246"/>
                    <a:pt x="12137" y="2263"/>
                    <a:pt x="12145" y="2257"/>
                  </a:cubicBezTo>
                  <a:cubicBezTo>
                    <a:pt x="12153" y="2251"/>
                    <a:pt x="12144" y="2224"/>
                    <a:pt x="12144" y="2224"/>
                  </a:cubicBezTo>
                  <a:cubicBezTo>
                    <a:pt x="12159" y="2225"/>
                    <a:pt x="12159" y="2225"/>
                    <a:pt x="12159" y="2225"/>
                  </a:cubicBezTo>
                  <a:cubicBezTo>
                    <a:pt x="12184" y="2206"/>
                    <a:pt x="12184" y="2206"/>
                    <a:pt x="12184" y="2206"/>
                  </a:cubicBezTo>
                  <a:cubicBezTo>
                    <a:pt x="12184" y="2206"/>
                    <a:pt x="12204" y="2212"/>
                    <a:pt x="12209" y="2211"/>
                  </a:cubicBezTo>
                  <a:cubicBezTo>
                    <a:pt x="12214" y="2210"/>
                    <a:pt x="12205" y="2196"/>
                    <a:pt x="12205" y="2196"/>
                  </a:cubicBezTo>
                  <a:cubicBezTo>
                    <a:pt x="12209" y="2180"/>
                    <a:pt x="12209" y="2180"/>
                    <a:pt x="12209" y="2180"/>
                  </a:cubicBezTo>
                  <a:cubicBezTo>
                    <a:pt x="12187" y="2180"/>
                    <a:pt x="12187" y="2180"/>
                    <a:pt x="12187" y="2180"/>
                  </a:cubicBezTo>
                  <a:cubicBezTo>
                    <a:pt x="12179" y="2173"/>
                    <a:pt x="12179" y="2173"/>
                    <a:pt x="12179" y="2173"/>
                  </a:cubicBezTo>
                  <a:cubicBezTo>
                    <a:pt x="12174" y="2181"/>
                    <a:pt x="12174" y="2181"/>
                    <a:pt x="12174" y="2181"/>
                  </a:cubicBezTo>
                  <a:cubicBezTo>
                    <a:pt x="12153" y="2178"/>
                    <a:pt x="12153" y="2178"/>
                    <a:pt x="12153" y="2178"/>
                  </a:cubicBezTo>
                  <a:cubicBezTo>
                    <a:pt x="12153" y="2178"/>
                    <a:pt x="12137" y="2160"/>
                    <a:pt x="12124" y="2160"/>
                  </a:cubicBezTo>
                  <a:cubicBezTo>
                    <a:pt x="12111" y="2160"/>
                    <a:pt x="12093" y="2183"/>
                    <a:pt x="12092" y="2188"/>
                  </a:cubicBezTo>
                  <a:cubicBezTo>
                    <a:pt x="12091" y="2193"/>
                    <a:pt x="12087" y="2202"/>
                    <a:pt x="12077" y="2200"/>
                  </a:cubicBezTo>
                  <a:cubicBezTo>
                    <a:pt x="12067" y="2198"/>
                    <a:pt x="12045" y="2192"/>
                    <a:pt x="12043" y="2178"/>
                  </a:cubicBezTo>
                  <a:cubicBezTo>
                    <a:pt x="12041" y="2164"/>
                    <a:pt x="12033" y="2147"/>
                    <a:pt x="12027" y="2143"/>
                  </a:cubicBezTo>
                  <a:cubicBezTo>
                    <a:pt x="12021" y="2139"/>
                    <a:pt x="12017" y="2146"/>
                    <a:pt x="12017" y="2146"/>
                  </a:cubicBezTo>
                  <a:cubicBezTo>
                    <a:pt x="12017" y="2155"/>
                    <a:pt x="12017" y="2155"/>
                    <a:pt x="12017" y="2155"/>
                  </a:cubicBezTo>
                  <a:cubicBezTo>
                    <a:pt x="12009" y="2143"/>
                    <a:pt x="12009" y="2143"/>
                    <a:pt x="12009" y="2143"/>
                  </a:cubicBezTo>
                  <a:cubicBezTo>
                    <a:pt x="12009" y="2143"/>
                    <a:pt x="11981" y="2146"/>
                    <a:pt x="11972" y="2137"/>
                  </a:cubicBezTo>
                  <a:cubicBezTo>
                    <a:pt x="11963" y="2128"/>
                    <a:pt x="11952" y="2109"/>
                    <a:pt x="11955" y="2103"/>
                  </a:cubicBezTo>
                  <a:cubicBezTo>
                    <a:pt x="11958" y="2097"/>
                    <a:pt x="11957" y="2087"/>
                    <a:pt x="11957" y="2087"/>
                  </a:cubicBezTo>
                  <a:cubicBezTo>
                    <a:pt x="11968" y="2086"/>
                    <a:pt x="11968" y="2086"/>
                    <a:pt x="11968" y="2086"/>
                  </a:cubicBezTo>
                  <a:cubicBezTo>
                    <a:pt x="11968" y="2086"/>
                    <a:pt x="11974" y="2095"/>
                    <a:pt x="11978" y="2094"/>
                  </a:cubicBezTo>
                  <a:cubicBezTo>
                    <a:pt x="11982" y="2093"/>
                    <a:pt x="11988" y="2085"/>
                    <a:pt x="11988" y="2085"/>
                  </a:cubicBezTo>
                  <a:cubicBezTo>
                    <a:pt x="11988" y="2085"/>
                    <a:pt x="12001" y="2093"/>
                    <a:pt x="12010" y="2085"/>
                  </a:cubicBezTo>
                  <a:cubicBezTo>
                    <a:pt x="12019" y="2077"/>
                    <a:pt x="12011" y="2069"/>
                    <a:pt x="12011" y="2069"/>
                  </a:cubicBezTo>
                  <a:cubicBezTo>
                    <a:pt x="12011" y="2069"/>
                    <a:pt x="12010" y="2045"/>
                    <a:pt x="12016" y="2041"/>
                  </a:cubicBezTo>
                  <a:cubicBezTo>
                    <a:pt x="12022" y="2037"/>
                    <a:pt x="12041" y="2045"/>
                    <a:pt x="12045" y="2034"/>
                  </a:cubicBezTo>
                  <a:cubicBezTo>
                    <a:pt x="12049" y="2023"/>
                    <a:pt x="12050" y="2010"/>
                    <a:pt x="12050" y="2010"/>
                  </a:cubicBezTo>
                  <a:cubicBezTo>
                    <a:pt x="12062" y="2003"/>
                    <a:pt x="12062" y="2003"/>
                    <a:pt x="12062" y="2003"/>
                  </a:cubicBezTo>
                  <a:cubicBezTo>
                    <a:pt x="12056" y="1995"/>
                    <a:pt x="12056" y="1995"/>
                    <a:pt x="12056" y="1995"/>
                  </a:cubicBezTo>
                  <a:cubicBezTo>
                    <a:pt x="12081" y="2002"/>
                    <a:pt x="12081" y="2002"/>
                    <a:pt x="12081" y="2002"/>
                  </a:cubicBezTo>
                  <a:cubicBezTo>
                    <a:pt x="12092" y="1992"/>
                    <a:pt x="12092" y="1992"/>
                    <a:pt x="12092" y="1992"/>
                  </a:cubicBezTo>
                  <a:cubicBezTo>
                    <a:pt x="12092" y="1992"/>
                    <a:pt x="12123" y="2015"/>
                    <a:pt x="12121" y="2029"/>
                  </a:cubicBezTo>
                  <a:cubicBezTo>
                    <a:pt x="12119" y="2043"/>
                    <a:pt x="12101" y="2046"/>
                    <a:pt x="12100" y="2055"/>
                  </a:cubicBezTo>
                  <a:cubicBezTo>
                    <a:pt x="12099" y="2064"/>
                    <a:pt x="12104" y="2079"/>
                    <a:pt x="12111" y="2079"/>
                  </a:cubicBezTo>
                  <a:cubicBezTo>
                    <a:pt x="12118" y="2079"/>
                    <a:pt x="12127" y="2076"/>
                    <a:pt x="12127" y="2076"/>
                  </a:cubicBezTo>
                  <a:cubicBezTo>
                    <a:pt x="12122" y="2094"/>
                    <a:pt x="12122" y="2094"/>
                    <a:pt x="12122" y="2094"/>
                  </a:cubicBezTo>
                  <a:cubicBezTo>
                    <a:pt x="12122" y="2094"/>
                    <a:pt x="12103" y="2111"/>
                    <a:pt x="12112" y="2113"/>
                  </a:cubicBezTo>
                  <a:cubicBezTo>
                    <a:pt x="12121" y="2115"/>
                    <a:pt x="12135" y="2101"/>
                    <a:pt x="12135" y="2101"/>
                  </a:cubicBezTo>
                  <a:cubicBezTo>
                    <a:pt x="12135" y="2101"/>
                    <a:pt x="12139" y="2102"/>
                    <a:pt x="12144" y="2097"/>
                  </a:cubicBezTo>
                  <a:cubicBezTo>
                    <a:pt x="12149" y="2092"/>
                    <a:pt x="12148" y="2077"/>
                    <a:pt x="12148" y="2077"/>
                  </a:cubicBezTo>
                  <a:cubicBezTo>
                    <a:pt x="12148" y="2077"/>
                    <a:pt x="12189" y="2056"/>
                    <a:pt x="12193" y="2053"/>
                  </a:cubicBezTo>
                  <a:cubicBezTo>
                    <a:pt x="12197" y="2050"/>
                    <a:pt x="12218" y="2052"/>
                    <a:pt x="12218" y="2052"/>
                  </a:cubicBezTo>
                  <a:cubicBezTo>
                    <a:pt x="12226" y="2039"/>
                    <a:pt x="12226" y="2039"/>
                    <a:pt x="12226" y="2039"/>
                  </a:cubicBezTo>
                  <a:cubicBezTo>
                    <a:pt x="12232" y="2053"/>
                    <a:pt x="12232" y="2053"/>
                    <a:pt x="12232" y="2053"/>
                  </a:cubicBezTo>
                  <a:cubicBezTo>
                    <a:pt x="12244" y="2067"/>
                    <a:pt x="12244" y="2067"/>
                    <a:pt x="12244" y="2067"/>
                  </a:cubicBezTo>
                  <a:cubicBezTo>
                    <a:pt x="12251" y="2055"/>
                    <a:pt x="12251" y="2055"/>
                    <a:pt x="12251" y="2055"/>
                  </a:cubicBezTo>
                  <a:cubicBezTo>
                    <a:pt x="12251" y="2055"/>
                    <a:pt x="12260" y="2068"/>
                    <a:pt x="12265" y="2068"/>
                  </a:cubicBezTo>
                  <a:cubicBezTo>
                    <a:pt x="12270" y="2068"/>
                    <a:pt x="12278" y="2062"/>
                    <a:pt x="12282" y="2069"/>
                  </a:cubicBezTo>
                  <a:cubicBezTo>
                    <a:pt x="12286" y="2076"/>
                    <a:pt x="12286" y="2110"/>
                    <a:pt x="12286" y="2110"/>
                  </a:cubicBezTo>
                  <a:cubicBezTo>
                    <a:pt x="12311" y="2110"/>
                    <a:pt x="12311" y="2110"/>
                    <a:pt x="12311" y="2110"/>
                  </a:cubicBezTo>
                  <a:cubicBezTo>
                    <a:pt x="12314" y="2120"/>
                    <a:pt x="12314" y="2120"/>
                    <a:pt x="12314" y="2120"/>
                  </a:cubicBezTo>
                  <a:cubicBezTo>
                    <a:pt x="12314" y="2120"/>
                    <a:pt x="12291" y="2108"/>
                    <a:pt x="12287" y="2121"/>
                  </a:cubicBezTo>
                  <a:cubicBezTo>
                    <a:pt x="12283" y="2134"/>
                    <a:pt x="12298" y="2150"/>
                    <a:pt x="12298" y="2150"/>
                  </a:cubicBezTo>
                  <a:cubicBezTo>
                    <a:pt x="12305" y="2161"/>
                    <a:pt x="12305" y="2161"/>
                    <a:pt x="12305" y="2161"/>
                  </a:cubicBezTo>
                  <a:cubicBezTo>
                    <a:pt x="12324" y="2153"/>
                    <a:pt x="12324" y="2153"/>
                    <a:pt x="12324" y="2153"/>
                  </a:cubicBezTo>
                  <a:cubicBezTo>
                    <a:pt x="12324" y="2153"/>
                    <a:pt x="12344" y="2167"/>
                    <a:pt x="12353" y="2166"/>
                  </a:cubicBezTo>
                  <a:cubicBezTo>
                    <a:pt x="12362" y="2165"/>
                    <a:pt x="12371" y="2162"/>
                    <a:pt x="12371" y="2162"/>
                  </a:cubicBezTo>
                  <a:cubicBezTo>
                    <a:pt x="12371" y="2162"/>
                    <a:pt x="12372" y="2173"/>
                    <a:pt x="12379" y="2179"/>
                  </a:cubicBezTo>
                  <a:cubicBezTo>
                    <a:pt x="12386" y="2185"/>
                    <a:pt x="12401" y="2187"/>
                    <a:pt x="12401" y="2187"/>
                  </a:cubicBezTo>
                  <a:cubicBezTo>
                    <a:pt x="12412" y="2212"/>
                    <a:pt x="12412" y="2212"/>
                    <a:pt x="12412" y="2212"/>
                  </a:cubicBezTo>
                  <a:cubicBezTo>
                    <a:pt x="12412" y="2212"/>
                    <a:pt x="12378" y="2198"/>
                    <a:pt x="12377" y="2205"/>
                  </a:cubicBezTo>
                  <a:cubicBezTo>
                    <a:pt x="12376" y="2212"/>
                    <a:pt x="12398" y="2225"/>
                    <a:pt x="12398" y="2225"/>
                  </a:cubicBezTo>
                  <a:cubicBezTo>
                    <a:pt x="12408" y="2253"/>
                    <a:pt x="12408" y="2253"/>
                    <a:pt x="12408" y="2253"/>
                  </a:cubicBezTo>
                  <a:cubicBezTo>
                    <a:pt x="12431" y="2257"/>
                    <a:pt x="12431" y="2257"/>
                    <a:pt x="12431" y="2257"/>
                  </a:cubicBezTo>
                  <a:cubicBezTo>
                    <a:pt x="12431" y="2276"/>
                    <a:pt x="12431" y="2276"/>
                    <a:pt x="12431" y="2276"/>
                  </a:cubicBezTo>
                  <a:cubicBezTo>
                    <a:pt x="12431" y="2276"/>
                    <a:pt x="12420" y="2284"/>
                    <a:pt x="12425" y="2303"/>
                  </a:cubicBezTo>
                  <a:cubicBezTo>
                    <a:pt x="12430" y="2322"/>
                    <a:pt x="12445" y="2322"/>
                    <a:pt x="12445" y="2322"/>
                  </a:cubicBezTo>
                  <a:cubicBezTo>
                    <a:pt x="12445" y="2322"/>
                    <a:pt x="12432" y="2348"/>
                    <a:pt x="12451" y="2345"/>
                  </a:cubicBezTo>
                  <a:cubicBezTo>
                    <a:pt x="12470" y="2342"/>
                    <a:pt x="12471" y="2326"/>
                    <a:pt x="12471" y="2326"/>
                  </a:cubicBezTo>
                  <a:cubicBezTo>
                    <a:pt x="12504" y="2311"/>
                    <a:pt x="12504" y="2311"/>
                    <a:pt x="12504" y="2311"/>
                  </a:cubicBezTo>
                  <a:cubicBezTo>
                    <a:pt x="12521" y="2316"/>
                    <a:pt x="12521" y="2316"/>
                    <a:pt x="12521" y="2316"/>
                  </a:cubicBezTo>
                  <a:cubicBezTo>
                    <a:pt x="12526" y="2304"/>
                    <a:pt x="12526" y="2304"/>
                    <a:pt x="12526" y="2304"/>
                  </a:cubicBezTo>
                  <a:cubicBezTo>
                    <a:pt x="12526" y="2304"/>
                    <a:pt x="12562" y="2307"/>
                    <a:pt x="12556" y="2288"/>
                  </a:cubicBezTo>
                  <a:cubicBezTo>
                    <a:pt x="12550" y="2269"/>
                    <a:pt x="12537" y="2255"/>
                    <a:pt x="12537" y="2255"/>
                  </a:cubicBezTo>
                  <a:cubicBezTo>
                    <a:pt x="12537" y="2255"/>
                    <a:pt x="12542" y="2238"/>
                    <a:pt x="12533" y="2224"/>
                  </a:cubicBezTo>
                  <a:cubicBezTo>
                    <a:pt x="12524" y="2210"/>
                    <a:pt x="12482" y="2173"/>
                    <a:pt x="12482" y="2173"/>
                  </a:cubicBezTo>
                  <a:cubicBezTo>
                    <a:pt x="12469" y="2168"/>
                    <a:pt x="12469" y="2168"/>
                    <a:pt x="12469" y="2168"/>
                  </a:cubicBezTo>
                  <a:cubicBezTo>
                    <a:pt x="12469" y="2168"/>
                    <a:pt x="12465" y="2157"/>
                    <a:pt x="12453" y="2144"/>
                  </a:cubicBezTo>
                  <a:cubicBezTo>
                    <a:pt x="12447" y="2137"/>
                    <a:pt x="12440" y="2129"/>
                    <a:pt x="12435" y="2123"/>
                  </a:cubicBezTo>
                  <a:cubicBezTo>
                    <a:pt x="12430" y="2116"/>
                    <a:pt x="12426" y="2111"/>
                    <a:pt x="12426" y="2111"/>
                  </a:cubicBezTo>
                  <a:cubicBezTo>
                    <a:pt x="12395" y="2094"/>
                    <a:pt x="12395" y="2094"/>
                    <a:pt x="12395" y="2094"/>
                  </a:cubicBezTo>
                  <a:cubicBezTo>
                    <a:pt x="12395" y="2094"/>
                    <a:pt x="12373" y="2102"/>
                    <a:pt x="12380" y="2089"/>
                  </a:cubicBezTo>
                  <a:cubicBezTo>
                    <a:pt x="12387" y="2076"/>
                    <a:pt x="12387" y="2076"/>
                    <a:pt x="12387" y="2076"/>
                  </a:cubicBezTo>
                  <a:cubicBezTo>
                    <a:pt x="12387" y="2076"/>
                    <a:pt x="12362" y="2065"/>
                    <a:pt x="12372" y="2054"/>
                  </a:cubicBezTo>
                  <a:cubicBezTo>
                    <a:pt x="12382" y="2043"/>
                    <a:pt x="12403" y="2047"/>
                    <a:pt x="12408" y="2033"/>
                  </a:cubicBezTo>
                  <a:cubicBezTo>
                    <a:pt x="12413" y="2019"/>
                    <a:pt x="12418" y="2004"/>
                    <a:pt x="12418" y="2004"/>
                  </a:cubicBezTo>
                  <a:cubicBezTo>
                    <a:pt x="12434" y="1996"/>
                    <a:pt x="12434" y="1996"/>
                    <a:pt x="12434" y="1996"/>
                  </a:cubicBezTo>
                  <a:cubicBezTo>
                    <a:pt x="12429" y="1975"/>
                    <a:pt x="12429" y="1975"/>
                    <a:pt x="12429" y="1975"/>
                  </a:cubicBezTo>
                  <a:cubicBezTo>
                    <a:pt x="12429" y="1975"/>
                    <a:pt x="12413" y="1964"/>
                    <a:pt x="12414" y="1947"/>
                  </a:cubicBezTo>
                  <a:cubicBezTo>
                    <a:pt x="12415" y="1930"/>
                    <a:pt x="12438" y="1925"/>
                    <a:pt x="12438" y="1925"/>
                  </a:cubicBezTo>
                  <a:cubicBezTo>
                    <a:pt x="12429" y="1910"/>
                    <a:pt x="12429" y="1910"/>
                    <a:pt x="12429" y="1910"/>
                  </a:cubicBezTo>
                  <a:cubicBezTo>
                    <a:pt x="12452" y="1911"/>
                    <a:pt x="12452" y="1911"/>
                    <a:pt x="12452" y="1911"/>
                  </a:cubicBezTo>
                  <a:cubicBezTo>
                    <a:pt x="12452" y="1911"/>
                    <a:pt x="12446" y="1870"/>
                    <a:pt x="12455" y="1866"/>
                  </a:cubicBezTo>
                  <a:cubicBezTo>
                    <a:pt x="12464" y="1862"/>
                    <a:pt x="12471" y="1875"/>
                    <a:pt x="12471" y="1875"/>
                  </a:cubicBezTo>
                  <a:cubicBezTo>
                    <a:pt x="12480" y="1867"/>
                    <a:pt x="12480" y="1867"/>
                    <a:pt x="12480" y="1867"/>
                  </a:cubicBezTo>
                  <a:cubicBezTo>
                    <a:pt x="12480" y="1867"/>
                    <a:pt x="12496" y="1899"/>
                    <a:pt x="12504" y="1897"/>
                  </a:cubicBezTo>
                  <a:cubicBezTo>
                    <a:pt x="12512" y="1895"/>
                    <a:pt x="12531" y="1889"/>
                    <a:pt x="12531" y="1889"/>
                  </a:cubicBezTo>
                  <a:cubicBezTo>
                    <a:pt x="12531" y="1901"/>
                    <a:pt x="12531" y="1901"/>
                    <a:pt x="12531" y="1901"/>
                  </a:cubicBezTo>
                  <a:cubicBezTo>
                    <a:pt x="12531" y="1901"/>
                    <a:pt x="12586" y="1881"/>
                    <a:pt x="12588" y="1861"/>
                  </a:cubicBezTo>
                  <a:cubicBezTo>
                    <a:pt x="12590" y="1841"/>
                    <a:pt x="12593" y="1813"/>
                    <a:pt x="12593" y="1813"/>
                  </a:cubicBezTo>
                  <a:cubicBezTo>
                    <a:pt x="12607" y="1806"/>
                    <a:pt x="12607" y="1806"/>
                    <a:pt x="12607" y="1806"/>
                  </a:cubicBezTo>
                  <a:cubicBezTo>
                    <a:pt x="12607" y="1806"/>
                    <a:pt x="12605" y="1763"/>
                    <a:pt x="12614" y="1756"/>
                  </a:cubicBezTo>
                  <a:cubicBezTo>
                    <a:pt x="12623" y="1749"/>
                    <a:pt x="12625" y="1725"/>
                    <a:pt x="12627" y="1709"/>
                  </a:cubicBezTo>
                  <a:cubicBezTo>
                    <a:pt x="12629" y="1693"/>
                    <a:pt x="12618" y="1666"/>
                    <a:pt x="12618" y="1666"/>
                  </a:cubicBezTo>
                  <a:cubicBezTo>
                    <a:pt x="12618" y="1666"/>
                    <a:pt x="12632" y="1644"/>
                    <a:pt x="12632" y="1639"/>
                  </a:cubicBezTo>
                  <a:cubicBezTo>
                    <a:pt x="12632" y="1634"/>
                    <a:pt x="12624" y="1624"/>
                    <a:pt x="12624" y="1624"/>
                  </a:cubicBezTo>
                  <a:cubicBezTo>
                    <a:pt x="12624" y="1624"/>
                    <a:pt x="12641" y="1600"/>
                    <a:pt x="12637" y="1591"/>
                  </a:cubicBezTo>
                  <a:cubicBezTo>
                    <a:pt x="12633" y="1582"/>
                    <a:pt x="12621" y="1555"/>
                    <a:pt x="12621" y="1555"/>
                  </a:cubicBezTo>
                  <a:cubicBezTo>
                    <a:pt x="12621" y="1555"/>
                    <a:pt x="12613" y="1527"/>
                    <a:pt x="12606" y="1524"/>
                  </a:cubicBezTo>
                  <a:cubicBezTo>
                    <a:pt x="12599" y="1521"/>
                    <a:pt x="12594" y="1517"/>
                    <a:pt x="12594" y="1517"/>
                  </a:cubicBezTo>
                  <a:cubicBezTo>
                    <a:pt x="12598" y="1510"/>
                    <a:pt x="12598" y="1510"/>
                    <a:pt x="12598" y="1510"/>
                  </a:cubicBezTo>
                  <a:cubicBezTo>
                    <a:pt x="12598" y="1510"/>
                    <a:pt x="12579" y="1502"/>
                    <a:pt x="12573" y="1487"/>
                  </a:cubicBezTo>
                  <a:cubicBezTo>
                    <a:pt x="12567" y="1472"/>
                    <a:pt x="12565" y="1460"/>
                    <a:pt x="12565" y="1460"/>
                  </a:cubicBezTo>
                  <a:cubicBezTo>
                    <a:pt x="12556" y="1454"/>
                    <a:pt x="12556" y="1454"/>
                    <a:pt x="12556" y="1454"/>
                  </a:cubicBezTo>
                  <a:cubicBezTo>
                    <a:pt x="12556" y="1454"/>
                    <a:pt x="12563" y="1424"/>
                    <a:pt x="12556" y="1415"/>
                  </a:cubicBezTo>
                  <a:cubicBezTo>
                    <a:pt x="12549" y="1406"/>
                    <a:pt x="12544" y="1399"/>
                    <a:pt x="12544" y="1399"/>
                  </a:cubicBezTo>
                  <a:cubicBezTo>
                    <a:pt x="12532" y="1395"/>
                    <a:pt x="12532" y="1395"/>
                    <a:pt x="12532" y="1395"/>
                  </a:cubicBezTo>
                  <a:cubicBezTo>
                    <a:pt x="12532" y="1395"/>
                    <a:pt x="12528" y="1381"/>
                    <a:pt x="12521" y="1376"/>
                  </a:cubicBezTo>
                  <a:cubicBezTo>
                    <a:pt x="12514" y="1371"/>
                    <a:pt x="12497" y="1363"/>
                    <a:pt x="12497" y="1363"/>
                  </a:cubicBezTo>
                  <a:cubicBezTo>
                    <a:pt x="12483" y="1359"/>
                    <a:pt x="12483" y="1359"/>
                    <a:pt x="12483" y="1359"/>
                  </a:cubicBezTo>
                  <a:cubicBezTo>
                    <a:pt x="12480" y="1350"/>
                    <a:pt x="12480" y="1350"/>
                    <a:pt x="12480" y="1350"/>
                  </a:cubicBezTo>
                  <a:cubicBezTo>
                    <a:pt x="12480" y="1350"/>
                    <a:pt x="12508" y="1363"/>
                    <a:pt x="12511" y="1357"/>
                  </a:cubicBezTo>
                  <a:cubicBezTo>
                    <a:pt x="12514" y="1351"/>
                    <a:pt x="12493" y="1345"/>
                    <a:pt x="12493" y="1345"/>
                  </a:cubicBezTo>
                  <a:cubicBezTo>
                    <a:pt x="12438" y="1319"/>
                    <a:pt x="12438" y="1319"/>
                    <a:pt x="12438" y="1319"/>
                  </a:cubicBezTo>
                  <a:cubicBezTo>
                    <a:pt x="12438" y="1319"/>
                    <a:pt x="12410" y="1302"/>
                    <a:pt x="12402" y="1297"/>
                  </a:cubicBezTo>
                  <a:cubicBezTo>
                    <a:pt x="12394" y="1292"/>
                    <a:pt x="12380" y="1302"/>
                    <a:pt x="12380" y="1302"/>
                  </a:cubicBezTo>
                  <a:cubicBezTo>
                    <a:pt x="12354" y="1295"/>
                    <a:pt x="12354" y="1295"/>
                    <a:pt x="12354" y="1295"/>
                  </a:cubicBezTo>
                  <a:cubicBezTo>
                    <a:pt x="12379" y="1323"/>
                    <a:pt x="12379" y="1323"/>
                    <a:pt x="12379" y="1323"/>
                  </a:cubicBezTo>
                  <a:cubicBezTo>
                    <a:pt x="12375" y="1340"/>
                    <a:pt x="12375" y="1340"/>
                    <a:pt x="12375" y="1340"/>
                  </a:cubicBezTo>
                  <a:cubicBezTo>
                    <a:pt x="12367" y="1338"/>
                    <a:pt x="12367" y="1338"/>
                    <a:pt x="12367" y="1338"/>
                  </a:cubicBezTo>
                  <a:cubicBezTo>
                    <a:pt x="12366" y="1318"/>
                    <a:pt x="12366" y="1318"/>
                    <a:pt x="12366" y="1318"/>
                  </a:cubicBezTo>
                  <a:cubicBezTo>
                    <a:pt x="12356" y="1311"/>
                    <a:pt x="12356" y="1311"/>
                    <a:pt x="12356" y="1311"/>
                  </a:cubicBezTo>
                  <a:cubicBezTo>
                    <a:pt x="12354" y="1330"/>
                    <a:pt x="12354" y="1330"/>
                    <a:pt x="12354" y="1330"/>
                  </a:cubicBezTo>
                  <a:cubicBezTo>
                    <a:pt x="12325" y="1332"/>
                    <a:pt x="12325" y="1332"/>
                    <a:pt x="12325" y="1332"/>
                  </a:cubicBezTo>
                  <a:cubicBezTo>
                    <a:pt x="12325" y="1332"/>
                    <a:pt x="12332" y="1322"/>
                    <a:pt x="12327" y="1316"/>
                  </a:cubicBezTo>
                  <a:cubicBezTo>
                    <a:pt x="12322" y="1310"/>
                    <a:pt x="12309" y="1312"/>
                    <a:pt x="12309" y="1312"/>
                  </a:cubicBezTo>
                  <a:cubicBezTo>
                    <a:pt x="12304" y="1319"/>
                    <a:pt x="12304" y="1319"/>
                    <a:pt x="12304" y="1319"/>
                  </a:cubicBezTo>
                  <a:cubicBezTo>
                    <a:pt x="12289" y="1320"/>
                    <a:pt x="12289" y="1320"/>
                    <a:pt x="12289" y="1320"/>
                  </a:cubicBezTo>
                  <a:cubicBezTo>
                    <a:pt x="12280" y="1295"/>
                    <a:pt x="12280" y="1295"/>
                    <a:pt x="12280" y="1295"/>
                  </a:cubicBezTo>
                  <a:cubicBezTo>
                    <a:pt x="12276" y="1294"/>
                    <a:pt x="12276" y="1294"/>
                    <a:pt x="12276" y="1294"/>
                  </a:cubicBezTo>
                  <a:cubicBezTo>
                    <a:pt x="12268" y="1281"/>
                    <a:pt x="12268" y="1281"/>
                    <a:pt x="12268" y="1281"/>
                  </a:cubicBezTo>
                  <a:cubicBezTo>
                    <a:pt x="12220" y="1283"/>
                    <a:pt x="12220" y="1283"/>
                    <a:pt x="12220" y="1283"/>
                  </a:cubicBezTo>
                  <a:cubicBezTo>
                    <a:pt x="12214" y="1277"/>
                    <a:pt x="12214" y="1277"/>
                    <a:pt x="12214" y="1277"/>
                  </a:cubicBezTo>
                  <a:cubicBezTo>
                    <a:pt x="12214" y="1277"/>
                    <a:pt x="12188" y="1281"/>
                    <a:pt x="12188" y="1264"/>
                  </a:cubicBezTo>
                  <a:cubicBezTo>
                    <a:pt x="12188" y="1247"/>
                    <a:pt x="12210" y="1245"/>
                    <a:pt x="12210" y="1245"/>
                  </a:cubicBezTo>
                  <a:cubicBezTo>
                    <a:pt x="12210" y="1229"/>
                    <a:pt x="12210" y="1229"/>
                    <a:pt x="12210" y="1229"/>
                  </a:cubicBezTo>
                  <a:cubicBezTo>
                    <a:pt x="12210" y="1229"/>
                    <a:pt x="12229" y="1228"/>
                    <a:pt x="12230" y="1217"/>
                  </a:cubicBezTo>
                  <a:cubicBezTo>
                    <a:pt x="12231" y="1206"/>
                    <a:pt x="12241" y="1191"/>
                    <a:pt x="12241" y="1191"/>
                  </a:cubicBezTo>
                  <a:cubicBezTo>
                    <a:pt x="12231" y="1182"/>
                    <a:pt x="12231" y="1182"/>
                    <a:pt x="12231" y="1182"/>
                  </a:cubicBezTo>
                  <a:cubicBezTo>
                    <a:pt x="12238" y="1169"/>
                    <a:pt x="12238" y="1169"/>
                    <a:pt x="12238" y="1169"/>
                  </a:cubicBezTo>
                  <a:cubicBezTo>
                    <a:pt x="12231" y="1159"/>
                    <a:pt x="12231" y="1159"/>
                    <a:pt x="12231" y="1159"/>
                  </a:cubicBezTo>
                  <a:cubicBezTo>
                    <a:pt x="12245" y="1148"/>
                    <a:pt x="12245" y="1148"/>
                    <a:pt x="12245" y="1148"/>
                  </a:cubicBezTo>
                  <a:cubicBezTo>
                    <a:pt x="12259" y="1145"/>
                    <a:pt x="12259" y="1145"/>
                    <a:pt x="12259" y="1145"/>
                  </a:cubicBezTo>
                  <a:cubicBezTo>
                    <a:pt x="12253" y="1123"/>
                    <a:pt x="12253" y="1123"/>
                    <a:pt x="12253" y="1123"/>
                  </a:cubicBezTo>
                  <a:cubicBezTo>
                    <a:pt x="12268" y="1118"/>
                    <a:pt x="12268" y="1118"/>
                    <a:pt x="12268" y="1118"/>
                  </a:cubicBezTo>
                  <a:cubicBezTo>
                    <a:pt x="12250" y="1095"/>
                    <a:pt x="12250" y="1095"/>
                    <a:pt x="12250" y="1095"/>
                  </a:cubicBezTo>
                  <a:cubicBezTo>
                    <a:pt x="12272" y="1086"/>
                    <a:pt x="12272" y="1086"/>
                    <a:pt x="12272" y="1086"/>
                  </a:cubicBezTo>
                  <a:cubicBezTo>
                    <a:pt x="12272" y="1086"/>
                    <a:pt x="12265" y="1056"/>
                    <a:pt x="12281" y="1046"/>
                  </a:cubicBezTo>
                  <a:cubicBezTo>
                    <a:pt x="12297" y="1036"/>
                    <a:pt x="12303" y="1035"/>
                    <a:pt x="12303" y="1035"/>
                  </a:cubicBezTo>
                  <a:cubicBezTo>
                    <a:pt x="12303" y="1035"/>
                    <a:pt x="12328" y="1039"/>
                    <a:pt x="12340" y="1038"/>
                  </a:cubicBezTo>
                  <a:cubicBezTo>
                    <a:pt x="12352" y="1037"/>
                    <a:pt x="12404" y="1041"/>
                    <a:pt x="12404" y="1041"/>
                  </a:cubicBezTo>
                  <a:cubicBezTo>
                    <a:pt x="12415" y="1052"/>
                    <a:pt x="12415" y="1052"/>
                    <a:pt x="12415" y="1052"/>
                  </a:cubicBezTo>
                  <a:cubicBezTo>
                    <a:pt x="12428" y="1047"/>
                    <a:pt x="12428" y="1047"/>
                    <a:pt x="12428" y="1047"/>
                  </a:cubicBezTo>
                  <a:cubicBezTo>
                    <a:pt x="12423" y="1035"/>
                    <a:pt x="12423" y="1035"/>
                    <a:pt x="12423" y="1035"/>
                  </a:cubicBezTo>
                  <a:cubicBezTo>
                    <a:pt x="12473" y="1048"/>
                    <a:pt x="12473" y="1048"/>
                    <a:pt x="12473" y="1048"/>
                  </a:cubicBezTo>
                  <a:cubicBezTo>
                    <a:pt x="12493" y="1036"/>
                    <a:pt x="12493" y="1036"/>
                    <a:pt x="12493" y="1036"/>
                  </a:cubicBezTo>
                  <a:cubicBezTo>
                    <a:pt x="12512" y="1051"/>
                    <a:pt x="12512" y="1051"/>
                    <a:pt x="12512" y="1051"/>
                  </a:cubicBezTo>
                  <a:cubicBezTo>
                    <a:pt x="12517" y="1027"/>
                    <a:pt x="12517" y="1027"/>
                    <a:pt x="12517" y="1027"/>
                  </a:cubicBezTo>
                  <a:cubicBezTo>
                    <a:pt x="12517" y="1027"/>
                    <a:pt x="12540" y="1025"/>
                    <a:pt x="12556" y="1026"/>
                  </a:cubicBezTo>
                  <a:cubicBezTo>
                    <a:pt x="12572" y="1027"/>
                    <a:pt x="12578" y="1041"/>
                    <a:pt x="12584" y="1039"/>
                  </a:cubicBezTo>
                  <a:cubicBezTo>
                    <a:pt x="12590" y="1037"/>
                    <a:pt x="12608" y="1026"/>
                    <a:pt x="12608" y="1026"/>
                  </a:cubicBezTo>
                  <a:cubicBezTo>
                    <a:pt x="12624" y="1040"/>
                    <a:pt x="12624" y="1040"/>
                    <a:pt x="12624" y="1040"/>
                  </a:cubicBezTo>
                  <a:cubicBezTo>
                    <a:pt x="12652" y="1045"/>
                    <a:pt x="12652" y="1045"/>
                    <a:pt x="12652" y="1045"/>
                  </a:cubicBezTo>
                  <a:cubicBezTo>
                    <a:pt x="12616" y="1052"/>
                    <a:pt x="12616" y="1052"/>
                    <a:pt x="12616" y="1052"/>
                  </a:cubicBezTo>
                  <a:cubicBezTo>
                    <a:pt x="12616" y="1052"/>
                    <a:pt x="12627" y="1073"/>
                    <a:pt x="12638" y="1068"/>
                  </a:cubicBezTo>
                  <a:cubicBezTo>
                    <a:pt x="12649" y="1063"/>
                    <a:pt x="12669" y="1055"/>
                    <a:pt x="12669" y="1055"/>
                  </a:cubicBezTo>
                  <a:cubicBezTo>
                    <a:pt x="12687" y="1064"/>
                    <a:pt x="12687" y="1064"/>
                    <a:pt x="12687" y="1064"/>
                  </a:cubicBezTo>
                  <a:cubicBezTo>
                    <a:pt x="12702" y="1052"/>
                    <a:pt x="12702" y="1052"/>
                    <a:pt x="12702" y="1052"/>
                  </a:cubicBezTo>
                  <a:cubicBezTo>
                    <a:pt x="12702" y="1052"/>
                    <a:pt x="12729" y="1061"/>
                    <a:pt x="12737" y="1057"/>
                  </a:cubicBezTo>
                  <a:cubicBezTo>
                    <a:pt x="12745" y="1053"/>
                    <a:pt x="12739" y="1045"/>
                    <a:pt x="12739" y="1045"/>
                  </a:cubicBezTo>
                  <a:cubicBezTo>
                    <a:pt x="12763" y="1047"/>
                    <a:pt x="12763" y="1047"/>
                    <a:pt x="12763" y="1047"/>
                  </a:cubicBezTo>
                  <a:cubicBezTo>
                    <a:pt x="12730" y="1029"/>
                    <a:pt x="12730" y="1029"/>
                    <a:pt x="12730" y="1029"/>
                  </a:cubicBezTo>
                  <a:cubicBezTo>
                    <a:pt x="12712" y="1036"/>
                    <a:pt x="12712" y="1036"/>
                    <a:pt x="12712" y="1036"/>
                  </a:cubicBezTo>
                  <a:cubicBezTo>
                    <a:pt x="12707" y="1024"/>
                    <a:pt x="12707" y="1024"/>
                    <a:pt x="12707" y="1024"/>
                  </a:cubicBezTo>
                  <a:cubicBezTo>
                    <a:pt x="12707" y="1024"/>
                    <a:pt x="12692" y="1001"/>
                    <a:pt x="12694" y="996"/>
                  </a:cubicBezTo>
                  <a:cubicBezTo>
                    <a:pt x="12696" y="991"/>
                    <a:pt x="12713" y="977"/>
                    <a:pt x="12713" y="977"/>
                  </a:cubicBezTo>
                  <a:cubicBezTo>
                    <a:pt x="12709" y="957"/>
                    <a:pt x="12709" y="957"/>
                    <a:pt x="12709" y="957"/>
                  </a:cubicBezTo>
                  <a:cubicBezTo>
                    <a:pt x="12718" y="949"/>
                    <a:pt x="12718" y="949"/>
                    <a:pt x="12718" y="949"/>
                  </a:cubicBezTo>
                  <a:cubicBezTo>
                    <a:pt x="12718" y="949"/>
                    <a:pt x="12692" y="936"/>
                    <a:pt x="12709" y="925"/>
                  </a:cubicBezTo>
                  <a:cubicBezTo>
                    <a:pt x="12726" y="914"/>
                    <a:pt x="12762" y="925"/>
                    <a:pt x="12762" y="925"/>
                  </a:cubicBezTo>
                  <a:cubicBezTo>
                    <a:pt x="12776" y="911"/>
                    <a:pt x="12776" y="911"/>
                    <a:pt x="12776" y="911"/>
                  </a:cubicBezTo>
                  <a:cubicBezTo>
                    <a:pt x="12798" y="930"/>
                    <a:pt x="12798" y="930"/>
                    <a:pt x="12798" y="930"/>
                  </a:cubicBezTo>
                  <a:cubicBezTo>
                    <a:pt x="12817" y="919"/>
                    <a:pt x="12817" y="919"/>
                    <a:pt x="12817" y="919"/>
                  </a:cubicBezTo>
                  <a:cubicBezTo>
                    <a:pt x="12817" y="919"/>
                    <a:pt x="12830" y="952"/>
                    <a:pt x="12837" y="955"/>
                  </a:cubicBezTo>
                  <a:cubicBezTo>
                    <a:pt x="12844" y="958"/>
                    <a:pt x="12865" y="954"/>
                    <a:pt x="12865" y="954"/>
                  </a:cubicBezTo>
                  <a:cubicBezTo>
                    <a:pt x="12865" y="954"/>
                    <a:pt x="12865" y="985"/>
                    <a:pt x="12876" y="981"/>
                  </a:cubicBezTo>
                  <a:cubicBezTo>
                    <a:pt x="12887" y="977"/>
                    <a:pt x="12902" y="937"/>
                    <a:pt x="12902" y="937"/>
                  </a:cubicBezTo>
                  <a:cubicBezTo>
                    <a:pt x="12918" y="928"/>
                    <a:pt x="12918" y="928"/>
                    <a:pt x="12918" y="928"/>
                  </a:cubicBezTo>
                  <a:cubicBezTo>
                    <a:pt x="12938" y="935"/>
                    <a:pt x="12938" y="935"/>
                    <a:pt x="12938" y="935"/>
                  </a:cubicBezTo>
                  <a:cubicBezTo>
                    <a:pt x="12937" y="926"/>
                    <a:pt x="12937" y="926"/>
                    <a:pt x="12937" y="926"/>
                  </a:cubicBezTo>
                  <a:cubicBezTo>
                    <a:pt x="12918" y="916"/>
                    <a:pt x="12918" y="916"/>
                    <a:pt x="12918" y="916"/>
                  </a:cubicBezTo>
                  <a:cubicBezTo>
                    <a:pt x="12918" y="916"/>
                    <a:pt x="12871" y="882"/>
                    <a:pt x="12882" y="881"/>
                  </a:cubicBezTo>
                  <a:cubicBezTo>
                    <a:pt x="12893" y="880"/>
                    <a:pt x="12947" y="882"/>
                    <a:pt x="12947" y="882"/>
                  </a:cubicBezTo>
                  <a:cubicBezTo>
                    <a:pt x="12981" y="882"/>
                    <a:pt x="12981" y="882"/>
                    <a:pt x="12981" y="882"/>
                  </a:cubicBezTo>
                  <a:cubicBezTo>
                    <a:pt x="12981" y="882"/>
                    <a:pt x="12984" y="896"/>
                    <a:pt x="12980" y="895"/>
                  </a:cubicBezTo>
                  <a:cubicBezTo>
                    <a:pt x="12976" y="894"/>
                    <a:pt x="12937" y="882"/>
                    <a:pt x="12939" y="896"/>
                  </a:cubicBezTo>
                  <a:cubicBezTo>
                    <a:pt x="12941" y="910"/>
                    <a:pt x="12964" y="923"/>
                    <a:pt x="12964" y="923"/>
                  </a:cubicBezTo>
                  <a:cubicBezTo>
                    <a:pt x="12966" y="940"/>
                    <a:pt x="12966" y="940"/>
                    <a:pt x="12966" y="940"/>
                  </a:cubicBezTo>
                  <a:cubicBezTo>
                    <a:pt x="12986" y="943"/>
                    <a:pt x="12986" y="943"/>
                    <a:pt x="12986" y="943"/>
                  </a:cubicBezTo>
                  <a:cubicBezTo>
                    <a:pt x="12982" y="956"/>
                    <a:pt x="12982" y="956"/>
                    <a:pt x="12982" y="956"/>
                  </a:cubicBezTo>
                  <a:cubicBezTo>
                    <a:pt x="12995" y="967"/>
                    <a:pt x="12995" y="967"/>
                    <a:pt x="12995" y="967"/>
                  </a:cubicBezTo>
                  <a:cubicBezTo>
                    <a:pt x="12977" y="970"/>
                    <a:pt x="12977" y="970"/>
                    <a:pt x="12977" y="970"/>
                  </a:cubicBezTo>
                  <a:cubicBezTo>
                    <a:pt x="12972" y="981"/>
                    <a:pt x="12972" y="981"/>
                    <a:pt x="12972" y="981"/>
                  </a:cubicBezTo>
                  <a:cubicBezTo>
                    <a:pt x="12960" y="985"/>
                    <a:pt x="12960" y="985"/>
                    <a:pt x="12960" y="985"/>
                  </a:cubicBezTo>
                  <a:cubicBezTo>
                    <a:pt x="12960" y="985"/>
                    <a:pt x="12973" y="1007"/>
                    <a:pt x="12966" y="1019"/>
                  </a:cubicBezTo>
                  <a:cubicBezTo>
                    <a:pt x="12959" y="1031"/>
                    <a:pt x="12948" y="1051"/>
                    <a:pt x="12948" y="1058"/>
                  </a:cubicBezTo>
                  <a:cubicBezTo>
                    <a:pt x="12948" y="1065"/>
                    <a:pt x="12966" y="1071"/>
                    <a:pt x="12953" y="1088"/>
                  </a:cubicBezTo>
                  <a:cubicBezTo>
                    <a:pt x="12940" y="1105"/>
                    <a:pt x="12918" y="1110"/>
                    <a:pt x="12918" y="1110"/>
                  </a:cubicBezTo>
                  <a:cubicBezTo>
                    <a:pt x="12921" y="1122"/>
                    <a:pt x="12921" y="1122"/>
                    <a:pt x="12921" y="1122"/>
                  </a:cubicBezTo>
                  <a:cubicBezTo>
                    <a:pt x="12908" y="1122"/>
                    <a:pt x="12908" y="1122"/>
                    <a:pt x="12908" y="1122"/>
                  </a:cubicBezTo>
                  <a:cubicBezTo>
                    <a:pt x="12908" y="1122"/>
                    <a:pt x="12932" y="1132"/>
                    <a:pt x="12930" y="1149"/>
                  </a:cubicBezTo>
                  <a:cubicBezTo>
                    <a:pt x="12928" y="1166"/>
                    <a:pt x="12921" y="1177"/>
                    <a:pt x="12928" y="1194"/>
                  </a:cubicBezTo>
                  <a:cubicBezTo>
                    <a:pt x="12935" y="1211"/>
                    <a:pt x="13000" y="1265"/>
                    <a:pt x="13000" y="1265"/>
                  </a:cubicBezTo>
                  <a:cubicBezTo>
                    <a:pt x="13040" y="1306"/>
                    <a:pt x="13040" y="1306"/>
                    <a:pt x="13040" y="1306"/>
                  </a:cubicBezTo>
                  <a:cubicBezTo>
                    <a:pt x="13049" y="1303"/>
                    <a:pt x="13049" y="1303"/>
                    <a:pt x="13049" y="1303"/>
                  </a:cubicBezTo>
                  <a:cubicBezTo>
                    <a:pt x="13102" y="1367"/>
                    <a:pt x="13102" y="1367"/>
                    <a:pt x="13102" y="1367"/>
                  </a:cubicBezTo>
                  <a:cubicBezTo>
                    <a:pt x="13137" y="1378"/>
                    <a:pt x="13137" y="1378"/>
                    <a:pt x="13137" y="1378"/>
                  </a:cubicBezTo>
                  <a:cubicBezTo>
                    <a:pt x="13152" y="1396"/>
                    <a:pt x="13152" y="1396"/>
                    <a:pt x="13152" y="1396"/>
                  </a:cubicBezTo>
                  <a:cubicBezTo>
                    <a:pt x="13152" y="1396"/>
                    <a:pt x="13191" y="1444"/>
                    <a:pt x="13198" y="1448"/>
                  </a:cubicBezTo>
                  <a:cubicBezTo>
                    <a:pt x="13205" y="1452"/>
                    <a:pt x="13216" y="1452"/>
                    <a:pt x="13216" y="1452"/>
                  </a:cubicBezTo>
                  <a:cubicBezTo>
                    <a:pt x="13216" y="1452"/>
                    <a:pt x="13210" y="1470"/>
                    <a:pt x="13225" y="1464"/>
                  </a:cubicBezTo>
                  <a:cubicBezTo>
                    <a:pt x="13240" y="1458"/>
                    <a:pt x="13238" y="1445"/>
                    <a:pt x="13238" y="1445"/>
                  </a:cubicBezTo>
                  <a:cubicBezTo>
                    <a:pt x="13231" y="1437"/>
                    <a:pt x="13231" y="1437"/>
                    <a:pt x="13231" y="1437"/>
                  </a:cubicBezTo>
                  <a:cubicBezTo>
                    <a:pt x="13231" y="1437"/>
                    <a:pt x="13246" y="1417"/>
                    <a:pt x="13243" y="1408"/>
                  </a:cubicBezTo>
                  <a:cubicBezTo>
                    <a:pt x="13240" y="1399"/>
                    <a:pt x="13209" y="1382"/>
                    <a:pt x="13216" y="1369"/>
                  </a:cubicBezTo>
                  <a:cubicBezTo>
                    <a:pt x="13223" y="1356"/>
                    <a:pt x="13232" y="1348"/>
                    <a:pt x="13235" y="1347"/>
                  </a:cubicBezTo>
                  <a:cubicBezTo>
                    <a:pt x="13238" y="1346"/>
                    <a:pt x="13258" y="1354"/>
                    <a:pt x="13258" y="1354"/>
                  </a:cubicBezTo>
                  <a:cubicBezTo>
                    <a:pt x="13258" y="1354"/>
                    <a:pt x="13236" y="1328"/>
                    <a:pt x="13230" y="1324"/>
                  </a:cubicBezTo>
                  <a:cubicBezTo>
                    <a:pt x="13224" y="1320"/>
                    <a:pt x="13209" y="1314"/>
                    <a:pt x="13212" y="1299"/>
                  </a:cubicBezTo>
                  <a:cubicBezTo>
                    <a:pt x="13215" y="1284"/>
                    <a:pt x="13233" y="1279"/>
                    <a:pt x="13233" y="1279"/>
                  </a:cubicBezTo>
                  <a:cubicBezTo>
                    <a:pt x="13233" y="1279"/>
                    <a:pt x="13262" y="1291"/>
                    <a:pt x="13260" y="1276"/>
                  </a:cubicBezTo>
                  <a:cubicBezTo>
                    <a:pt x="13258" y="1261"/>
                    <a:pt x="13245" y="1257"/>
                    <a:pt x="13229" y="1249"/>
                  </a:cubicBezTo>
                  <a:cubicBezTo>
                    <a:pt x="13213" y="1241"/>
                    <a:pt x="13199" y="1222"/>
                    <a:pt x="13198" y="1211"/>
                  </a:cubicBezTo>
                  <a:cubicBezTo>
                    <a:pt x="13197" y="1200"/>
                    <a:pt x="13191" y="1188"/>
                    <a:pt x="13191" y="1188"/>
                  </a:cubicBezTo>
                  <a:cubicBezTo>
                    <a:pt x="13198" y="1185"/>
                    <a:pt x="13198" y="1185"/>
                    <a:pt x="13198" y="1185"/>
                  </a:cubicBezTo>
                  <a:cubicBezTo>
                    <a:pt x="13198" y="1185"/>
                    <a:pt x="13224" y="1210"/>
                    <a:pt x="13230" y="1205"/>
                  </a:cubicBezTo>
                  <a:cubicBezTo>
                    <a:pt x="13236" y="1200"/>
                    <a:pt x="13212" y="1173"/>
                    <a:pt x="13212" y="1173"/>
                  </a:cubicBezTo>
                  <a:cubicBezTo>
                    <a:pt x="13189" y="1170"/>
                    <a:pt x="13189" y="1170"/>
                    <a:pt x="13189" y="1170"/>
                  </a:cubicBezTo>
                  <a:cubicBezTo>
                    <a:pt x="13156" y="1142"/>
                    <a:pt x="13156" y="1142"/>
                    <a:pt x="13156" y="1142"/>
                  </a:cubicBezTo>
                  <a:cubicBezTo>
                    <a:pt x="13156" y="1142"/>
                    <a:pt x="13160" y="1121"/>
                    <a:pt x="13144" y="1114"/>
                  </a:cubicBezTo>
                  <a:cubicBezTo>
                    <a:pt x="13128" y="1107"/>
                    <a:pt x="13116" y="1107"/>
                    <a:pt x="13116" y="1107"/>
                  </a:cubicBezTo>
                  <a:cubicBezTo>
                    <a:pt x="13117" y="1119"/>
                    <a:pt x="13117" y="1119"/>
                    <a:pt x="13117" y="1119"/>
                  </a:cubicBezTo>
                  <a:cubicBezTo>
                    <a:pt x="13117" y="1119"/>
                    <a:pt x="13073" y="1109"/>
                    <a:pt x="13072" y="1093"/>
                  </a:cubicBezTo>
                  <a:cubicBezTo>
                    <a:pt x="13071" y="1077"/>
                    <a:pt x="13079" y="1066"/>
                    <a:pt x="13071" y="1051"/>
                  </a:cubicBezTo>
                  <a:cubicBezTo>
                    <a:pt x="13063" y="1036"/>
                    <a:pt x="13047" y="1028"/>
                    <a:pt x="13047" y="1028"/>
                  </a:cubicBezTo>
                  <a:cubicBezTo>
                    <a:pt x="13047" y="1028"/>
                    <a:pt x="13049" y="1012"/>
                    <a:pt x="13053" y="1010"/>
                  </a:cubicBezTo>
                  <a:cubicBezTo>
                    <a:pt x="13057" y="1008"/>
                    <a:pt x="13066" y="1015"/>
                    <a:pt x="13066" y="1015"/>
                  </a:cubicBezTo>
                  <a:cubicBezTo>
                    <a:pt x="13075" y="1004"/>
                    <a:pt x="13075" y="1004"/>
                    <a:pt x="13075" y="1004"/>
                  </a:cubicBezTo>
                  <a:cubicBezTo>
                    <a:pt x="13100" y="1023"/>
                    <a:pt x="13100" y="1023"/>
                    <a:pt x="13100" y="1023"/>
                  </a:cubicBezTo>
                  <a:cubicBezTo>
                    <a:pt x="13105" y="1018"/>
                    <a:pt x="13105" y="1018"/>
                    <a:pt x="13105" y="1018"/>
                  </a:cubicBezTo>
                  <a:cubicBezTo>
                    <a:pt x="13097" y="1010"/>
                    <a:pt x="13097" y="1010"/>
                    <a:pt x="13097" y="1010"/>
                  </a:cubicBezTo>
                  <a:cubicBezTo>
                    <a:pt x="13097" y="1010"/>
                    <a:pt x="13103" y="978"/>
                    <a:pt x="13114" y="984"/>
                  </a:cubicBezTo>
                  <a:cubicBezTo>
                    <a:pt x="13125" y="990"/>
                    <a:pt x="13152" y="1023"/>
                    <a:pt x="13152" y="1023"/>
                  </a:cubicBezTo>
                  <a:cubicBezTo>
                    <a:pt x="13159" y="990"/>
                    <a:pt x="13159" y="990"/>
                    <a:pt x="13159" y="990"/>
                  </a:cubicBezTo>
                  <a:cubicBezTo>
                    <a:pt x="13159" y="990"/>
                    <a:pt x="13216" y="983"/>
                    <a:pt x="13225" y="983"/>
                  </a:cubicBezTo>
                  <a:cubicBezTo>
                    <a:pt x="13234" y="983"/>
                    <a:pt x="13271" y="1003"/>
                    <a:pt x="13271" y="1003"/>
                  </a:cubicBezTo>
                  <a:cubicBezTo>
                    <a:pt x="13299" y="1014"/>
                    <a:pt x="13299" y="1014"/>
                    <a:pt x="13299" y="1014"/>
                  </a:cubicBezTo>
                  <a:cubicBezTo>
                    <a:pt x="13279" y="974"/>
                    <a:pt x="13279" y="974"/>
                    <a:pt x="13279" y="974"/>
                  </a:cubicBezTo>
                  <a:cubicBezTo>
                    <a:pt x="13279" y="974"/>
                    <a:pt x="13311" y="975"/>
                    <a:pt x="13313" y="964"/>
                  </a:cubicBezTo>
                  <a:cubicBezTo>
                    <a:pt x="13315" y="953"/>
                    <a:pt x="13305" y="935"/>
                    <a:pt x="13305" y="935"/>
                  </a:cubicBezTo>
                  <a:cubicBezTo>
                    <a:pt x="13318" y="936"/>
                    <a:pt x="13318" y="936"/>
                    <a:pt x="13318" y="936"/>
                  </a:cubicBezTo>
                  <a:cubicBezTo>
                    <a:pt x="13321" y="920"/>
                    <a:pt x="13321" y="920"/>
                    <a:pt x="13321" y="920"/>
                  </a:cubicBezTo>
                  <a:cubicBezTo>
                    <a:pt x="13321" y="920"/>
                    <a:pt x="13360" y="929"/>
                    <a:pt x="13366" y="914"/>
                  </a:cubicBezTo>
                  <a:cubicBezTo>
                    <a:pt x="13372" y="899"/>
                    <a:pt x="13392" y="887"/>
                    <a:pt x="13392" y="887"/>
                  </a:cubicBezTo>
                  <a:cubicBezTo>
                    <a:pt x="13378" y="870"/>
                    <a:pt x="13378" y="870"/>
                    <a:pt x="13378" y="870"/>
                  </a:cubicBezTo>
                  <a:cubicBezTo>
                    <a:pt x="13399" y="872"/>
                    <a:pt x="13399" y="872"/>
                    <a:pt x="13399" y="872"/>
                  </a:cubicBezTo>
                  <a:cubicBezTo>
                    <a:pt x="13402" y="884"/>
                    <a:pt x="13402" y="884"/>
                    <a:pt x="13402" y="884"/>
                  </a:cubicBezTo>
                  <a:cubicBezTo>
                    <a:pt x="13443" y="887"/>
                    <a:pt x="13443" y="887"/>
                    <a:pt x="13443" y="887"/>
                  </a:cubicBezTo>
                  <a:cubicBezTo>
                    <a:pt x="13443" y="887"/>
                    <a:pt x="13485" y="897"/>
                    <a:pt x="13485" y="891"/>
                  </a:cubicBezTo>
                  <a:cubicBezTo>
                    <a:pt x="13485" y="885"/>
                    <a:pt x="13481" y="873"/>
                    <a:pt x="13481" y="873"/>
                  </a:cubicBezTo>
                  <a:cubicBezTo>
                    <a:pt x="13456" y="870"/>
                    <a:pt x="13456" y="870"/>
                    <a:pt x="13456" y="870"/>
                  </a:cubicBezTo>
                  <a:cubicBezTo>
                    <a:pt x="13452" y="856"/>
                    <a:pt x="13452" y="856"/>
                    <a:pt x="13452" y="856"/>
                  </a:cubicBezTo>
                  <a:cubicBezTo>
                    <a:pt x="13452" y="856"/>
                    <a:pt x="13415" y="843"/>
                    <a:pt x="13403" y="839"/>
                  </a:cubicBezTo>
                  <a:cubicBezTo>
                    <a:pt x="13391" y="835"/>
                    <a:pt x="13382" y="841"/>
                    <a:pt x="13382" y="841"/>
                  </a:cubicBezTo>
                  <a:cubicBezTo>
                    <a:pt x="13386" y="829"/>
                    <a:pt x="13386" y="829"/>
                    <a:pt x="13386" y="829"/>
                  </a:cubicBezTo>
                  <a:cubicBezTo>
                    <a:pt x="13338" y="795"/>
                    <a:pt x="13338" y="795"/>
                    <a:pt x="13338" y="795"/>
                  </a:cubicBezTo>
                  <a:cubicBezTo>
                    <a:pt x="13327" y="806"/>
                    <a:pt x="13327" y="806"/>
                    <a:pt x="13327" y="806"/>
                  </a:cubicBezTo>
                  <a:cubicBezTo>
                    <a:pt x="13327" y="806"/>
                    <a:pt x="13307" y="801"/>
                    <a:pt x="13299" y="798"/>
                  </a:cubicBezTo>
                  <a:cubicBezTo>
                    <a:pt x="13291" y="795"/>
                    <a:pt x="13280" y="786"/>
                    <a:pt x="13280" y="786"/>
                  </a:cubicBezTo>
                  <a:cubicBezTo>
                    <a:pt x="13257" y="791"/>
                    <a:pt x="13257" y="791"/>
                    <a:pt x="13257" y="791"/>
                  </a:cubicBezTo>
                  <a:cubicBezTo>
                    <a:pt x="13238" y="789"/>
                    <a:pt x="13238" y="789"/>
                    <a:pt x="13238" y="789"/>
                  </a:cubicBezTo>
                  <a:cubicBezTo>
                    <a:pt x="13238" y="789"/>
                    <a:pt x="13207" y="771"/>
                    <a:pt x="13219" y="768"/>
                  </a:cubicBezTo>
                  <a:cubicBezTo>
                    <a:pt x="13231" y="765"/>
                    <a:pt x="13243" y="772"/>
                    <a:pt x="13252" y="774"/>
                  </a:cubicBezTo>
                  <a:cubicBezTo>
                    <a:pt x="13261" y="776"/>
                    <a:pt x="13305" y="783"/>
                    <a:pt x="13305" y="783"/>
                  </a:cubicBezTo>
                  <a:cubicBezTo>
                    <a:pt x="13305" y="783"/>
                    <a:pt x="13357" y="768"/>
                    <a:pt x="13357" y="761"/>
                  </a:cubicBezTo>
                  <a:cubicBezTo>
                    <a:pt x="13357" y="754"/>
                    <a:pt x="13327" y="738"/>
                    <a:pt x="13324" y="736"/>
                  </a:cubicBezTo>
                  <a:cubicBezTo>
                    <a:pt x="13321" y="734"/>
                    <a:pt x="13272" y="717"/>
                    <a:pt x="13287" y="708"/>
                  </a:cubicBezTo>
                  <a:cubicBezTo>
                    <a:pt x="13302" y="699"/>
                    <a:pt x="13327" y="719"/>
                    <a:pt x="13327" y="719"/>
                  </a:cubicBezTo>
                  <a:cubicBezTo>
                    <a:pt x="13327" y="719"/>
                    <a:pt x="13374" y="748"/>
                    <a:pt x="13388" y="746"/>
                  </a:cubicBezTo>
                  <a:cubicBezTo>
                    <a:pt x="13402" y="744"/>
                    <a:pt x="13407" y="730"/>
                    <a:pt x="13446" y="743"/>
                  </a:cubicBezTo>
                  <a:cubicBezTo>
                    <a:pt x="13485" y="756"/>
                    <a:pt x="13519" y="770"/>
                    <a:pt x="13530" y="772"/>
                  </a:cubicBezTo>
                  <a:cubicBezTo>
                    <a:pt x="13541" y="774"/>
                    <a:pt x="13584" y="786"/>
                    <a:pt x="13584" y="786"/>
                  </a:cubicBezTo>
                  <a:cubicBezTo>
                    <a:pt x="13584" y="786"/>
                    <a:pt x="13643" y="821"/>
                    <a:pt x="13639" y="803"/>
                  </a:cubicBezTo>
                  <a:cubicBezTo>
                    <a:pt x="13635" y="785"/>
                    <a:pt x="13615" y="774"/>
                    <a:pt x="13615" y="774"/>
                  </a:cubicBezTo>
                  <a:cubicBezTo>
                    <a:pt x="13627" y="765"/>
                    <a:pt x="13627" y="765"/>
                    <a:pt x="13627" y="765"/>
                  </a:cubicBezTo>
                  <a:cubicBezTo>
                    <a:pt x="13597" y="752"/>
                    <a:pt x="13597" y="752"/>
                    <a:pt x="13597" y="752"/>
                  </a:cubicBezTo>
                  <a:cubicBezTo>
                    <a:pt x="13603" y="748"/>
                    <a:pt x="13603" y="748"/>
                    <a:pt x="13603" y="748"/>
                  </a:cubicBezTo>
                  <a:cubicBezTo>
                    <a:pt x="13570" y="731"/>
                    <a:pt x="13570" y="731"/>
                    <a:pt x="13570" y="731"/>
                  </a:cubicBezTo>
                  <a:cubicBezTo>
                    <a:pt x="13606" y="738"/>
                    <a:pt x="13606" y="738"/>
                    <a:pt x="13606" y="738"/>
                  </a:cubicBezTo>
                  <a:cubicBezTo>
                    <a:pt x="13602" y="725"/>
                    <a:pt x="13602" y="725"/>
                    <a:pt x="13602" y="725"/>
                  </a:cubicBezTo>
                  <a:cubicBezTo>
                    <a:pt x="13602" y="725"/>
                    <a:pt x="13653" y="737"/>
                    <a:pt x="13642" y="723"/>
                  </a:cubicBezTo>
                  <a:cubicBezTo>
                    <a:pt x="13631" y="709"/>
                    <a:pt x="13601" y="704"/>
                    <a:pt x="13601" y="704"/>
                  </a:cubicBezTo>
                  <a:cubicBezTo>
                    <a:pt x="13570" y="690"/>
                    <a:pt x="13570" y="690"/>
                    <a:pt x="13570" y="690"/>
                  </a:cubicBezTo>
                  <a:cubicBezTo>
                    <a:pt x="13543" y="691"/>
                    <a:pt x="13543" y="691"/>
                    <a:pt x="13543" y="691"/>
                  </a:cubicBezTo>
                  <a:cubicBezTo>
                    <a:pt x="13523" y="678"/>
                    <a:pt x="13523" y="678"/>
                    <a:pt x="13523" y="678"/>
                  </a:cubicBezTo>
                  <a:cubicBezTo>
                    <a:pt x="13462" y="674"/>
                    <a:pt x="13462" y="674"/>
                    <a:pt x="13462" y="674"/>
                  </a:cubicBezTo>
                  <a:cubicBezTo>
                    <a:pt x="13437" y="662"/>
                    <a:pt x="13437" y="662"/>
                    <a:pt x="13437" y="662"/>
                  </a:cubicBezTo>
                  <a:cubicBezTo>
                    <a:pt x="13413" y="664"/>
                    <a:pt x="13413" y="664"/>
                    <a:pt x="13413" y="664"/>
                  </a:cubicBezTo>
                  <a:cubicBezTo>
                    <a:pt x="13446" y="689"/>
                    <a:pt x="13446" y="689"/>
                    <a:pt x="13446" y="689"/>
                  </a:cubicBezTo>
                  <a:cubicBezTo>
                    <a:pt x="13482" y="705"/>
                    <a:pt x="13482" y="705"/>
                    <a:pt x="13482" y="705"/>
                  </a:cubicBezTo>
                  <a:cubicBezTo>
                    <a:pt x="13482" y="705"/>
                    <a:pt x="13442" y="711"/>
                    <a:pt x="13430" y="701"/>
                  </a:cubicBezTo>
                  <a:cubicBezTo>
                    <a:pt x="13418" y="691"/>
                    <a:pt x="13417" y="669"/>
                    <a:pt x="13364" y="651"/>
                  </a:cubicBezTo>
                  <a:cubicBezTo>
                    <a:pt x="13311" y="633"/>
                    <a:pt x="13295" y="626"/>
                    <a:pt x="13241" y="617"/>
                  </a:cubicBezTo>
                  <a:cubicBezTo>
                    <a:pt x="13187" y="608"/>
                    <a:pt x="13074" y="582"/>
                    <a:pt x="13020" y="569"/>
                  </a:cubicBezTo>
                  <a:cubicBezTo>
                    <a:pt x="12966" y="556"/>
                    <a:pt x="12905" y="547"/>
                    <a:pt x="12905" y="547"/>
                  </a:cubicBezTo>
                  <a:cubicBezTo>
                    <a:pt x="12783" y="549"/>
                    <a:pt x="12783" y="549"/>
                    <a:pt x="12783" y="549"/>
                  </a:cubicBezTo>
                  <a:cubicBezTo>
                    <a:pt x="12774" y="537"/>
                    <a:pt x="12774" y="537"/>
                    <a:pt x="12774" y="537"/>
                  </a:cubicBezTo>
                  <a:cubicBezTo>
                    <a:pt x="12743" y="539"/>
                    <a:pt x="12743" y="539"/>
                    <a:pt x="12743" y="539"/>
                  </a:cubicBezTo>
                  <a:cubicBezTo>
                    <a:pt x="12732" y="531"/>
                    <a:pt x="12732" y="531"/>
                    <a:pt x="12732" y="531"/>
                  </a:cubicBezTo>
                  <a:cubicBezTo>
                    <a:pt x="12696" y="530"/>
                    <a:pt x="12696" y="530"/>
                    <a:pt x="12696" y="530"/>
                  </a:cubicBezTo>
                  <a:cubicBezTo>
                    <a:pt x="12713" y="542"/>
                    <a:pt x="12713" y="542"/>
                    <a:pt x="12713" y="542"/>
                  </a:cubicBezTo>
                  <a:cubicBezTo>
                    <a:pt x="12708" y="556"/>
                    <a:pt x="12708" y="556"/>
                    <a:pt x="12708" y="556"/>
                  </a:cubicBezTo>
                  <a:cubicBezTo>
                    <a:pt x="12708" y="556"/>
                    <a:pt x="12807" y="579"/>
                    <a:pt x="12778" y="592"/>
                  </a:cubicBezTo>
                  <a:cubicBezTo>
                    <a:pt x="12749" y="605"/>
                    <a:pt x="12731" y="588"/>
                    <a:pt x="12731" y="588"/>
                  </a:cubicBezTo>
                  <a:cubicBezTo>
                    <a:pt x="12714" y="574"/>
                    <a:pt x="12714" y="574"/>
                    <a:pt x="12714" y="574"/>
                  </a:cubicBezTo>
                  <a:cubicBezTo>
                    <a:pt x="12669" y="574"/>
                    <a:pt x="12669" y="574"/>
                    <a:pt x="12669" y="574"/>
                  </a:cubicBezTo>
                  <a:cubicBezTo>
                    <a:pt x="12632" y="551"/>
                    <a:pt x="12632" y="551"/>
                    <a:pt x="12632" y="551"/>
                  </a:cubicBezTo>
                  <a:cubicBezTo>
                    <a:pt x="12632" y="551"/>
                    <a:pt x="12614" y="555"/>
                    <a:pt x="12610" y="558"/>
                  </a:cubicBezTo>
                  <a:cubicBezTo>
                    <a:pt x="12606" y="561"/>
                    <a:pt x="12574" y="560"/>
                    <a:pt x="12574" y="560"/>
                  </a:cubicBezTo>
                  <a:cubicBezTo>
                    <a:pt x="12570" y="552"/>
                    <a:pt x="12570" y="552"/>
                    <a:pt x="12570" y="552"/>
                  </a:cubicBezTo>
                  <a:cubicBezTo>
                    <a:pt x="12508" y="555"/>
                    <a:pt x="12508" y="555"/>
                    <a:pt x="12508" y="555"/>
                  </a:cubicBezTo>
                  <a:cubicBezTo>
                    <a:pt x="12492" y="543"/>
                    <a:pt x="12492" y="543"/>
                    <a:pt x="12492" y="543"/>
                  </a:cubicBezTo>
                  <a:cubicBezTo>
                    <a:pt x="12487" y="549"/>
                    <a:pt x="12487" y="549"/>
                    <a:pt x="12487" y="549"/>
                  </a:cubicBezTo>
                  <a:cubicBezTo>
                    <a:pt x="12487" y="549"/>
                    <a:pt x="12409" y="542"/>
                    <a:pt x="12414" y="552"/>
                  </a:cubicBezTo>
                  <a:cubicBezTo>
                    <a:pt x="12419" y="562"/>
                    <a:pt x="12448" y="586"/>
                    <a:pt x="12448" y="586"/>
                  </a:cubicBezTo>
                  <a:cubicBezTo>
                    <a:pt x="12448" y="586"/>
                    <a:pt x="12412" y="565"/>
                    <a:pt x="12407" y="560"/>
                  </a:cubicBezTo>
                  <a:cubicBezTo>
                    <a:pt x="12402" y="555"/>
                    <a:pt x="12336" y="547"/>
                    <a:pt x="12336" y="547"/>
                  </a:cubicBezTo>
                  <a:cubicBezTo>
                    <a:pt x="12336" y="547"/>
                    <a:pt x="12326" y="529"/>
                    <a:pt x="12301" y="516"/>
                  </a:cubicBezTo>
                  <a:cubicBezTo>
                    <a:pt x="12276" y="503"/>
                    <a:pt x="12238" y="497"/>
                    <a:pt x="12221" y="496"/>
                  </a:cubicBezTo>
                  <a:cubicBezTo>
                    <a:pt x="12204" y="495"/>
                    <a:pt x="12169" y="491"/>
                    <a:pt x="12169" y="491"/>
                  </a:cubicBezTo>
                  <a:cubicBezTo>
                    <a:pt x="12135" y="484"/>
                    <a:pt x="12135" y="484"/>
                    <a:pt x="12135" y="484"/>
                  </a:cubicBezTo>
                  <a:cubicBezTo>
                    <a:pt x="12126" y="488"/>
                    <a:pt x="12126" y="488"/>
                    <a:pt x="12126" y="488"/>
                  </a:cubicBezTo>
                  <a:cubicBezTo>
                    <a:pt x="12086" y="486"/>
                    <a:pt x="12086" y="486"/>
                    <a:pt x="12086" y="486"/>
                  </a:cubicBezTo>
                  <a:cubicBezTo>
                    <a:pt x="12086" y="486"/>
                    <a:pt x="12081" y="506"/>
                    <a:pt x="12059" y="503"/>
                  </a:cubicBezTo>
                  <a:cubicBezTo>
                    <a:pt x="12037" y="500"/>
                    <a:pt x="12008" y="498"/>
                    <a:pt x="12008" y="498"/>
                  </a:cubicBezTo>
                  <a:cubicBezTo>
                    <a:pt x="12008" y="498"/>
                    <a:pt x="11978" y="478"/>
                    <a:pt x="11961" y="477"/>
                  </a:cubicBezTo>
                  <a:cubicBezTo>
                    <a:pt x="11944" y="476"/>
                    <a:pt x="11935" y="479"/>
                    <a:pt x="11935" y="479"/>
                  </a:cubicBezTo>
                  <a:cubicBezTo>
                    <a:pt x="11929" y="468"/>
                    <a:pt x="11929" y="468"/>
                    <a:pt x="11929" y="468"/>
                  </a:cubicBezTo>
                  <a:cubicBezTo>
                    <a:pt x="11904" y="466"/>
                    <a:pt x="11904" y="466"/>
                    <a:pt x="11904" y="466"/>
                  </a:cubicBezTo>
                  <a:cubicBezTo>
                    <a:pt x="11861" y="462"/>
                    <a:pt x="11861" y="462"/>
                    <a:pt x="11861" y="462"/>
                  </a:cubicBezTo>
                  <a:cubicBezTo>
                    <a:pt x="11885" y="454"/>
                    <a:pt x="11885" y="454"/>
                    <a:pt x="11885" y="454"/>
                  </a:cubicBezTo>
                  <a:cubicBezTo>
                    <a:pt x="11859" y="441"/>
                    <a:pt x="11859" y="441"/>
                    <a:pt x="11859" y="441"/>
                  </a:cubicBezTo>
                  <a:cubicBezTo>
                    <a:pt x="11859" y="441"/>
                    <a:pt x="11766" y="428"/>
                    <a:pt x="11763" y="434"/>
                  </a:cubicBezTo>
                  <a:cubicBezTo>
                    <a:pt x="11760" y="440"/>
                    <a:pt x="11772" y="459"/>
                    <a:pt x="11757" y="460"/>
                  </a:cubicBezTo>
                  <a:cubicBezTo>
                    <a:pt x="11742" y="461"/>
                    <a:pt x="11722" y="457"/>
                    <a:pt x="11722" y="457"/>
                  </a:cubicBezTo>
                  <a:cubicBezTo>
                    <a:pt x="11734" y="449"/>
                    <a:pt x="11734" y="449"/>
                    <a:pt x="11734" y="449"/>
                  </a:cubicBezTo>
                  <a:cubicBezTo>
                    <a:pt x="11724" y="439"/>
                    <a:pt x="11724" y="439"/>
                    <a:pt x="11724" y="439"/>
                  </a:cubicBezTo>
                  <a:cubicBezTo>
                    <a:pt x="11724" y="439"/>
                    <a:pt x="11718" y="439"/>
                    <a:pt x="11704" y="441"/>
                  </a:cubicBezTo>
                  <a:cubicBezTo>
                    <a:pt x="11690" y="443"/>
                    <a:pt x="11676" y="438"/>
                    <a:pt x="11676" y="438"/>
                  </a:cubicBezTo>
                  <a:cubicBezTo>
                    <a:pt x="11687" y="433"/>
                    <a:pt x="11687" y="433"/>
                    <a:pt x="11687" y="433"/>
                  </a:cubicBezTo>
                  <a:cubicBezTo>
                    <a:pt x="11717" y="430"/>
                    <a:pt x="11717" y="430"/>
                    <a:pt x="11717" y="430"/>
                  </a:cubicBezTo>
                  <a:cubicBezTo>
                    <a:pt x="11755" y="453"/>
                    <a:pt x="11755" y="453"/>
                    <a:pt x="11755" y="453"/>
                  </a:cubicBezTo>
                  <a:cubicBezTo>
                    <a:pt x="11757" y="434"/>
                    <a:pt x="11757" y="434"/>
                    <a:pt x="11757" y="434"/>
                  </a:cubicBezTo>
                  <a:cubicBezTo>
                    <a:pt x="11718" y="421"/>
                    <a:pt x="11718" y="421"/>
                    <a:pt x="11718" y="421"/>
                  </a:cubicBezTo>
                  <a:cubicBezTo>
                    <a:pt x="11645" y="425"/>
                    <a:pt x="11645" y="425"/>
                    <a:pt x="11645" y="425"/>
                  </a:cubicBezTo>
                  <a:cubicBezTo>
                    <a:pt x="11644" y="416"/>
                    <a:pt x="11644" y="416"/>
                    <a:pt x="11644" y="416"/>
                  </a:cubicBezTo>
                  <a:cubicBezTo>
                    <a:pt x="11563" y="421"/>
                    <a:pt x="11563" y="421"/>
                    <a:pt x="11563" y="421"/>
                  </a:cubicBezTo>
                  <a:cubicBezTo>
                    <a:pt x="11532" y="408"/>
                    <a:pt x="11532" y="408"/>
                    <a:pt x="11532" y="408"/>
                  </a:cubicBezTo>
                  <a:cubicBezTo>
                    <a:pt x="11519" y="408"/>
                    <a:pt x="11519" y="408"/>
                    <a:pt x="11519" y="408"/>
                  </a:cubicBezTo>
                  <a:cubicBezTo>
                    <a:pt x="11544" y="424"/>
                    <a:pt x="11544" y="424"/>
                    <a:pt x="11544" y="424"/>
                  </a:cubicBezTo>
                  <a:cubicBezTo>
                    <a:pt x="11544" y="424"/>
                    <a:pt x="11492" y="423"/>
                    <a:pt x="11500" y="431"/>
                  </a:cubicBezTo>
                  <a:cubicBezTo>
                    <a:pt x="11508" y="439"/>
                    <a:pt x="11518" y="444"/>
                    <a:pt x="11518" y="444"/>
                  </a:cubicBezTo>
                  <a:cubicBezTo>
                    <a:pt x="11539" y="442"/>
                    <a:pt x="11539" y="442"/>
                    <a:pt x="11539" y="442"/>
                  </a:cubicBezTo>
                  <a:cubicBezTo>
                    <a:pt x="11539" y="447"/>
                    <a:pt x="11539" y="447"/>
                    <a:pt x="11539" y="447"/>
                  </a:cubicBezTo>
                  <a:cubicBezTo>
                    <a:pt x="11578" y="473"/>
                    <a:pt x="11578" y="473"/>
                    <a:pt x="11578" y="473"/>
                  </a:cubicBezTo>
                  <a:cubicBezTo>
                    <a:pt x="11578" y="473"/>
                    <a:pt x="11572" y="474"/>
                    <a:pt x="11557" y="473"/>
                  </a:cubicBezTo>
                  <a:cubicBezTo>
                    <a:pt x="11542" y="472"/>
                    <a:pt x="11522" y="457"/>
                    <a:pt x="11517" y="462"/>
                  </a:cubicBezTo>
                  <a:cubicBezTo>
                    <a:pt x="11512" y="467"/>
                    <a:pt x="11508" y="470"/>
                    <a:pt x="11508" y="470"/>
                  </a:cubicBezTo>
                  <a:cubicBezTo>
                    <a:pt x="11525" y="484"/>
                    <a:pt x="11525" y="484"/>
                    <a:pt x="11525" y="484"/>
                  </a:cubicBezTo>
                  <a:cubicBezTo>
                    <a:pt x="11489" y="479"/>
                    <a:pt x="11489" y="479"/>
                    <a:pt x="11489" y="479"/>
                  </a:cubicBezTo>
                  <a:cubicBezTo>
                    <a:pt x="11489" y="479"/>
                    <a:pt x="11440" y="463"/>
                    <a:pt x="11432" y="464"/>
                  </a:cubicBezTo>
                  <a:cubicBezTo>
                    <a:pt x="11424" y="465"/>
                    <a:pt x="11396" y="477"/>
                    <a:pt x="11396" y="477"/>
                  </a:cubicBezTo>
                  <a:cubicBezTo>
                    <a:pt x="11351" y="473"/>
                    <a:pt x="11351" y="473"/>
                    <a:pt x="11351" y="473"/>
                  </a:cubicBezTo>
                  <a:cubicBezTo>
                    <a:pt x="11351" y="473"/>
                    <a:pt x="11313" y="455"/>
                    <a:pt x="11310" y="451"/>
                  </a:cubicBezTo>
                  <a:cubicBezTo>
                    <a:pt x="11307" y="447"/>
                    <a:pt x="11300" y="457"/>
                    <a:pt x="11303" y="465"/>
                  </a:cubicBezTo>
                  <a:cubicBezTo>
                    <a:pt x="11306" y="473"/>
                    <a:pt x="11333" y="501"/>
                    <a:pt x="11317" y="502"/>
                  </a:cubicBezTo>
                  <a:cubicBezTo>
                    <a:pt x="11301" y="503"/>
                    <a:pt x="11222" y="474"/>
                    <a:pt x="11219" y="472"/>
                  </a:cubicBezTo>
                  <a:cubicBezTo>
                    <a:pt x="11216" y="470"/>
                    <a:pt x="11197" y="453"/>
                    <a:pt x="11197" y="453"/>
                  </a:cubicBezTo>
                  <a:cubicBezTo>
                    <a:pt x="11195" y="463"/>
                    <a:pt x="11195" y="463"/>
                    <a:pt x="11195" y="463"/>
                  </a:cubicBezTo>
                  <a:cubicBezTo>
                    <a:pt x="11158" y="452"/>
                    <a:pt x="11158" y="452"/>
                    <a:pt x="11158" y="452"/>
                  </a:cubicBezTo>
                  <a:cubicBezTo>
                    <a:pt x="11141" y="440"/>
                    <a:pt x="11141" y="440"/>
                    <a:pt x="11141" y="440"/>
                  </a:cubicBezTo>
                  <a:cubicBezTo>
                    <a:pt x="11141" y="440"/>
                    <a:pt x="11179" y="450"/>
                    <a:pt x="11185" y="445"/>
                  </a:cubicBezTo>
                  <a:cubicBezTo>
                    <a:pt x="11191" y="440"/>
                    <a:pt x="11162" y="426"/>
                    <a:pt x="11162" y="426"/>
                  </a:cubicBezTo>
                  <a:cubicBezTo>
                    <a:pt x="11139" y="426"/>
                    <a:pt x="11139" y="426"/>
                    <a:pt x="11139" y="426"/>
                  </a:cubicBezTo>
                  <a:cubicBezTo>
                    <a:pt x="11139" y="426"/>
                    <a:pt x="11150" y="420"/>
                    <a:pt x="11143" y="415"/>
                  </a:cubicBezTo>
                  <a:cubicBezTo>
                    <a:pt x="11136" y="410"/>
                    <a:pt x="11116" y="410"/>
                    <a:pt x="11116" y="410"/>
                  </a:cubicBezTo>
                  <a:cubicBezTo>
                    <a:pt x="11124" y="401"/>
                    <a:pt x="11124" y="401"/>
                    <a:pt x="11124" y="401"/>
                  </a:cubicBezTo>
                  <a:cubicBezTo>
                    <a:pt x="11124" y="401"/>
                    <a:pt x="11092" y="392"/>
                    <a:pt x="11088" y="392"/>
                  </a:cubicBezTo>
                  <a:cubicBezTo>
                    <a:pt x="11084" y="392"/>
                    <a:pt x="11069" y="382"/>
                    <a:pt x="11069" y="382"/>
                  </a:cubicBezTo>
                  <a:cubicBezTo>
                    <a:pt x="11038" y="382"/>
                    <a:pt x="11038" y="382"/>
                    <a:pt x="11038" y="382"/>
                  </a:cubicBezTo>
                  <a:cubicBezTo>
                    <a:pt x="11038" y="382"/>
                    <a:pt x="11047" y="385"/>
                    <a:pt x="11024" y="386"/>
                  </a:cubicBezTo>
                  <a:cubicBezTo>
                    <a:pt x="11001" y="387"/>
                    <a:pt x="10986" y="379"/>
                    <a:pt x="10986" y="379"/>
                  </a:cubicBezTo>
                  <a:cubicBezTo>
                    <a:pt x="10972" y="385"/>
                    <a:pt x="10972" y="385"/>
                    <a:pt x="10972" y="385"/>
                  </a:cubicBezTo>
                  <a:cubicBezTo>
                    <a:pt x="10970" y="376"/>
                    <a:pt x="10970" y="376"/>
                    <a:pt x="10970" y="376"/>
                  </a:cubicBezTo>
                  <a:cubicBezTo>
                    <a:pt x="10938" y="370"/>
                    <a:pt x="10938" y="370"/>
                    <a:pt x="10938" y="370"/>
                  </a:cubicBezTo>
                  <a:cubicBezTo>
                    <a:pt x="10931" y="364"/>
                    <a:pt x="10931" y="364"/>
                    <a:pt x="10931" y="364"/>
                  </a:cubicBezTo>
                  <a:cubicBezTo>
                    <a:pt x="10926" y="377"/>
                    <a:pt x="10926" y="377"/>
                    <a:pt x="10926" y="377"/>
                  </a:cubicBezTo>
                  <a:cubicBezTo>
                    <a:pt x="10917" y="378"/>
                    <a:pt x="10917" y="378"/>
                    <a:pt x="10917" y="378"/>
                  </a:cubicBezTo>
                  <a:cubicBezTo>
                    <a:pt x="10935" y="393"/>
                    <a:pt x="10935" y="393"/>
                    <a:pt x="10935" y="393"/>
                  </a:cubicBezTo>
                  <a:cubicBezTo>
                    <a:pt x="10952" y="413"/>
                    <a:pt x="10952" y="413"/>
                    <a:pt x="10952" y="413"/>
                  </a:cubicBezTo>
                  <a:cubicBezTo>
                    <a:pt x="10918" y="409"/>
                    <a:pt x="10918" y="409"/>
                    <a:pt x="10918" y="409"/>
                  </a:cubicBezTo>
                  <a:cubicBezTo>
                    <a:pt x="10914" y="403"/>
                    <a:pt x="10914" y="403"/>
                    <a:pt x="10914" y="403"/>
                  </a:cubicBezTo>
                  <a:cubicBezTo>
                    <a:pt x="10870" y="406"/>
                    <a:pt x="10870" y="406"/>
                    <a:pt x="10870" y="406"/>
                  </a:cubicBezTo>
                  <a:cubicBezTo>
                    <a:pt x="10859" y="410"/>
                    <a:pt x="10859" y="410"/>
                    <a:pt x="10859" y="410"/>
                  </a:cubicBezTo>
                  <a:cubicBezTo>
                    <a:pt x="10858" y="402"/>
                    <a:pt x="10858" y="402"/>
                    <a:pt x="10858" y="402"/>
                  </a:cubicBezTo>
                  <a:cubicBezTo>
                    <a:pt x="10829" y="408"/>
                    <a:pt x="10829" y="408"/>
                    <a:pt x="10829" y="408"/>
                  </a:cubicBezTo>
                  <a:cubicBezTo>
                    <a:pt x="10824" y="400"/>
                    <a:pt x="10824" y="400"/>
                    <a:pt x="10824" y="400"/>
                  </a:cubicBezTo>
                  <a:cubicBezTo>
                    <a:pt x="10786" y="401"/>
                    <a:pt x="10786" y="401"/>
                    <a:pt x="10786" y="401"/>
                  </a:cubicBezTo>
                  <a:cubicBezTo>
                    <a:pt x="10764" y="394"/>
                    <a:pt x="10764" y="394"/>
                    <a:pt x="10764" y="394"/>
                  </a:cubicBezTo>
                  <a:cubicBezTo>
                    <a:pt x="10775" y="380"/>
                    <a:pt x="10775" y="380"/>
                    <a:pt x="10775" y="380"/>
                  </a:cubicBezTo>
                  <a:cubicBezTo>
                    <a:pt x="10690" y="379"/>
                    <a:pt x="10690" y="379"/>
                    <a:pt x="10690" y="379"/>
                  </a:cubicBezTo>
                  <a:cubicBezTo>
                    <a:pt x="10685" y="373"/>
                    <a:pt x="10685" y="373"/>
                    <a:pt x="10685" y="373"/>
                  </a:cubicBezTo>
                  <a:cubicBezTo>
                    <a:pt x="10679" y="376"/>
                    <a:pt x="10679" y="376"/>
                    <a:pt x="10679" y="376"/>
                  </a:cubicBezTo>
                  <a:cubicBezTo>
                    <a:pt x="10673" y="372"/>
                    <a:pt x="10673" y="372"/>
                    <a:pt x="10673" y="372"/>
                  </a:cubicBezTo>
                  <a:cubicBezTo>
                    <a:pt x="10638" y="374"/>
                    <a:pt x="10638" y="374"/>
                    <a:pt x="10638" y="374"/>
                  </a:cubicBezTo>
                  <a:cubicBezTo>
                    <a:pt x="10642" y="382"/>
                    <a:pt x="10642" y="382"/>
                    <a:pt x="10642" y="382"/>
                  </a:cubicBezTo>
                  <a:cubicBezTo>
                    <a:pt x="10605" y="378"/>
                    <a:pt x="10605" y="378"/>
                    <a:pt x="10605" y="378"/>
                  </a:cubicBezTo>
                  <a:cubicBezTo>
                    <a:pt x="10595" y="383"/>
                    <a:pt x="10595" y="383"/>
                    <a:pt x="10595" y="383"/>
                  </a:cubicBezTo>
                  <a:cubicBezTo>
                    <a:pt x="10616" y="390"/>
                    <a:pt x="10616" y="390"/>
                    <a:pt x="10616" y="390"/>
                  </a:cubicBezTo>
                  <a:cubicBezTo>
                    <a:pt x="10589" y="389"/>
                    <a:pt x="10589" y="389"/>
                    <a:pt x="10589" y="389"/>
                  </a:cubicBezTo>
                  <a:cubicBezTo>
                    <a:pt x="10586" y="377"/>
                    <a:pt x="10586" y="377"/>
                    <a:pt x="10586" y="377"/>
                  </a:cubicBezTo>
                  <a:cubicBezTo>
                    <a:pt x="10569" y="362"/>
                    <a:pt x="10569" y="362"/>
                    <a:pt x="10569" y="362"/>
                  </a:cubicBezTo>
                  <a:cubicBezTo>
                    <a:pt x="10555" y="362"/>
                    <a:pt x="10555" y="362"/>
                    <a:pt x="10555" y="362"/>
                  </a:cubicBezTo>
                  <a:cubicBezTo>
                    <a:pt x="10562" y="377"/>
                    <a:pt x="10562" y="377"/>
                    <a:pt x="10562" y="377"/>
                  </a:cubicBezTo>
                  <a:cubicBezTo>
                    <a:pt x="10527" y="377"/>
                    <a:pt x="10527" y="377"/>
                    <a:pt x="10527" y="377"/>
                  </a:cubicBezTo>
                  <a:cubicBezTo>
                    <a:pt x="10523" y="372"/>
                    <a:pt x="10523" y="372"/>
                    <a:pt x="10523" y="372"/>
                  </a:cubicBezTo>
                  <a:cubicBezTo>
                    <a:pt x="10514" y="372"/>
                    <a:pt x="10514" y="372"/>
                    <a:pt x="10514" y="372"/>
                  </a:cubicBezTo>
                  <a:cubicBezTo>
                    <a:pt x="10510" y="362"/>
                    <a:pt x="10510" y="362"/>
                    <a:pt x="10510" y="362"/>
                  </a:cubicBezTo>
                  <a:cubicBezTo>
                    <a:pt x="10501" y="362"/>
                    <a:pt x="10501" y="362"/>
                    <a:pt x="10501" y="362"/>
                  </a:cubicBezTo>
                  <a:cubicBezTo>
                    <a:pt x="10490" y="365"/>
                    <a:pt x="10490" y="365"/>
                    <a:pt x="10490" y="365"/>
                  </a:cubicBezTo>
                  <a:cubicBezTo>
                    <a:pt x="10474" y="357"/>
                    <a:pt x="10474" y="357"/>
                    <a:pt x="10474" y="357"/>
                  </a:cubicBezTo>
                  <a:cubicBezTo>
                    <a:pt x="10454" y="371"/>
                    <a:pt x="10454" y="371"/>
                    <a:pt x="10454" y="371"/>
                  </a:cubicBezTo>
                  <a:cubicBezTo>
                    <a:pt x="10490" y="375"/>
                    <a:pt x="10490" y="375"/>
                    <a:pt x="10490" y="375"/>
                  </a:cubicBezTo>
                  <a:cubicBezTo>
                    <a:pt x="10498" y="376"/>
                    <a:pt x="10498" y="376"/>
                    <a:pt x="10498" y="376"/>
                  </a:cubicBezTo>
                  <a:cubicBezTo>
                    <a:pt x="10498" y="376"/>
                    <a:pt x="10485" y="387"/>
                    <a:pt x="10478" y="387"/>
                  </a:cubicBezTo>
                  <a:cubicBezTo>
                    <a:pt x="10471" y="387"/>
                    <a:pt x="10466" y="386"/>
                    <a:pt x="10460" y="388"/>
                  </a:cubicBezTo>
                  <a:cubicBezTo>
                    <a:pt x="10454" y="390"/>
                    <a:pt x="10452" y="396"/>
                    <a:pt x="10447" y="396"/>
                  </a:cubicBezTo>
                  <a:cubicBezTo>
                    <a:pt x="10442" y="396"/>
                    <a:pt x="10398" y="397"/>
                    <a:pt x="10398" y="397"/>
                  </a:cubicBezTo>
                  <a:cubicBezTo>
                    <a:pt x="10376" y="400"/>
                    <a:pt x="10376" y="400"/>
                    <a:pt x="10376" y="400"/>
                  </a:cubicBezTo>
                  <a:cubicBezTo>
                    <a:pt x="10366" y="417"/>
                    <a:pt x="10366" y="417"/>
                    <a:pt x="10366" y="417"/>
                  </a:cubicBezTo>
                  <a:cubicBezTo>
                    <a:pt x="10350" y="413"/>
                    <a:pt x="10350" y="413"/>
                    <a:pt x="10350" y="413"/>
                  </a:cubicBezTo>
                  <a:cubicBezTo>
                    <a:pt x="10350" y="413"/>
                    <a:pt x="10353" y="397"/>
                    <a:pt x="10361" y="393"/>
                  </a:cubicBezTo>
                  <a:cubicBezTo>
                    <a:pt x="10369" y="389"/>
                    <a:pt x="10381" y="389"/>
                    <a:pt x="10381" y="389"/>
                  </a:cubicBezTo>
                  <a:cubicBezTo>
                    <a:pt x="10386" y="378"/>
                    <a:pt x="10386" y="378"/>
                    <a:pt x="10386" y="378"/>
                  </a:cubicBezTo>
                  <a:cubicBezTo>
                    <a:pt x="10414" y="375"/>
                    <a:pt x="10414" y="375"/>
                    <a:pt x="10414" y="375"/>
                  </a:cubicBezTo>
                  <a:cubicBezTo>
                    <a:pt x="10444" y="353"/>
                    <a:pt x="10444" y="353"/>
                    <a:pt x="10444" y="353"/>
                  </a:cubicBezTo>
                  <a:cubicBezTo>
                    <a:pt x="10444" y="353"/>
                    <a:pt x="10443" y="340"/>
                    <a:pt x="10455" y="335"/>
                  </a:cubicBezTo>
                  <a:cubicBezTo>
                    <a:pt x="10467" y="330"/>
                    <a:pt x="10516" y="331"/>
                    <a:pt x="10514" y="313"/>
                  </a:cubicBezTo>
                  <a:cubicBezTo>
                    <a:pt x="10512" y="295"/>
                    <a:pt x="10497" y="291"/>
                    <a:pt x="10497" y="291"/>
                  </a:cubicBezTo>
                  <a:cubicBezTo>
                    <a:pt x="10470" y="293"/>
                    <a:pt x="10470" y="293"/>
                    <a:pt x="10470" y="293"/>
                  </a:cubicBezTo>
                  <a:cubicBezTo>
                    <a:pt x="10493" y="283"/>
                    <a:pt x="10493" y="283"/>
                    <a:pt x="10493" y="283"/>
                  </a:cubicBezTo>
                  <a:cubicBezTo>
                    <a:pt x="10493" y="283"/>
                    <a:pt x="10473" y="268"/>
                    <a:pt x="10468" y="269"/>
                  </a:cubicBezTo>
                  <a:cubicBezTo>
                    <a:pt x="10463" y="270"/>
                    <a:pt x="10446" y="271"/>
                    <a:pt x="10446" y="271"/>
                  </a:cubicBezTo>
                  <a:cubicBezTo>
                    <a:pt x="10446" y="271"/>
                    <a:pt x="10440" y="255"/>
                    <a:pt x="10427" y="255"/>
                  </a:cubicBezTo>
                  <a:cubicBezTo>
                    <a:pt x="10414" y="255"/>
                    <a:pt x="10400" y="260"/>
                    <a:pt x="10400" y="260"/>
                  </a:cubicBezTo>
                  <a:cubicBezTo>
                    <a:pt x="10364" y="251"/>
                    <a:pt x="10364" y="251"/>
                    <a:pt x="10364" y="251"/>
                  </a:cubicBezTo>
                  <a:cubicBezTo>
                    <a:pt x="10270" y="248"/>
                    <a:pt x="10270" y="248"/>
                    <a:pt x="10270" y="248"/>
                  </a:cubicBezTo>
                  <a:cubicBezTo>
                    <a:pt x="10273" y="260"/>
                    <a:pt x="10273" y="260"/>
                    <a:pt x="10273" y="260"/>
                  </a:cubicBezTo>
                  <a:cubicBezTo>
                    <a:pt x="10228" y="260"/>
                    <a:pt x="10228" y="260"/>
                    <a:pt x="10228" y="260"/>
                  </a:cubicBezTo>
                  <a:cubicBezTo>
                    <a:pt x="10228" y="260"/>
                    <a:pt x="10247" y="243"/>
                    <a:pt x="10235" y="238"/>
                  </a:cubicBezTo>
                  <a:cubicBezTo>
                    <a:pt x="10223" y="233"/>
                    <a:pt x="10172" y="239"/>
                    <a:pt x="10172" y="239"/>
                  </a:cubicBezTo>
                  <a:cubicBezTo>
                    <a:pt x="10131" y="235"/>
                    <a:pt x="10131" y="235"/>
                    <a:pt x="10131" y="235"/>
                  </a:cubicBezTo>
                  <a:cubicBezTo>
                    <a:pt x="10131" y="235"/>
                    <a:pt x="10178" y="233"/>
                    <a:pt x="10172" y="224"/>
                  </a:cubicBezTo>
                  <a:cubicBezTo>
                    <a:pt x="10166" y="215"/>
                    <a:pt x="10119" y="214"/>
                    <a:pt x="10119" y="214"/>
                  </a:cubicBezTo>
                  <a:cubicBezTo>
                    <a:pt x="10091" y="210"/>
                    <a:pt x="10091" y="210"/>
                    <a:pt x="10091" y="210"/>
                  </a:cubicBezTo>
                  <a:cubicBezTo>
                    <a:pt x="10088" y="220"/>
                    <a:pt x="10088" y="220"/>
                    <a:pt x="10088" y="220"/>
                  </a:cubicBezTo>
                  <a:cubicBezTo>
                    <a:pt x="10088" y="220"/>
                    <a:pt x="10039" y="218"/>
                    <a:pt x="10043" y="232"/>
                  </a:cubicBezTo>
                  <a:cubicBezTo>
                    <a:pt x="10047" y="246"/>
                    <a:pt x="10093" y="261"/>
                    <a:pt x="10093" y="261"/>
                  </a:cubicBezTo>
                  <a:cubicBezTo>
                    <a:pt x="9997" y="255"/>
                    <a:pt x="9997" y="255"/>
                    <a:pt x="9997" y="255"/>
                  </a:cubicBezTo>
                  <a:cubicBezTo>
                    <a:pt x="10031" y="269"/>
                    <a:pt x="10031" y="269"/>
                    <a:pt x="10031" y="269"/>
                  </a:cubicBezTo>
                  <a:cubicBezTo>
                    <a:pt x="9996" y="274"/>
                    <a:pt x="9996" y="274"/>
                    <a:pt x="9996" y="274"/>
                  </a:cubicBezTo>
                  <a:cubicBezTo>
                    <a:pt x="9996" y="274"/>
                    <a:pt x="9939" y="292"/>
                    <a:pt x="9929" y="286"/>
                  </a:cubicBezTo>
                  <a:cubicBezTo>
                    <a:pt x="9919" y="280"/>
                    <a:pt x="9934" y="268"/>
                    <a:pt x="9934" y="268"/>
                  </a:cubicBezTo>
                  <a:cubicBezTo>
                    <a:pt x="9934" y="268"/>
                    <a:pt x="9886" y="268"/>
                    <a:pt x="9877" y="270"/>
                  </a:cubicBezTo>
                  <a:cubicBezTo>
                    <a:pt x="9868" y="272"/>
                    <a:pt x="9854" y="284"/>
                    <a:pt x="9854" y="284"/>
                  </a:cubicBezTo>
                  <a:cubicBezTo>
                    <a:pt x="9854" y="284"/>
                    <a:pt x="9791" y="289"/>
                    <a:pt x="9776" y="292"/>
                  </a:cubicBezTo>
                  <a:cubicBezTo>
                    <a:pt x="9761" y="295"/>
                    <a:pt x="9728" y="302"/>
                    <a:pt x="9728" y="302"/>
                  </a:cubicBezTo>
                  <a:cubicBezTo>
                    <a:pt x="9699" y="325"/>
                    <a:pt x="9699" y="325"/>
                    <a:pt x="9699" y="325"/>
                  </a:cubicBezTo>
                  <a:cubicBezTo>
                    <a:pt x="9699" y="325"/>
                    <a:pt x="9667" y="323"/>
                    <a:pt x="9681" y="337"/>
                  </a:cubicBezTo>
                  <a:cubicBezTo>
                    <a:pt x="9695" y="351"/>
                    <a:pt x="9720" y="361"/>
                    <a:pt x="9720" y="361"/>
                  </a:cubicBezTo>
                  <a:cubicBezTo>
                    <a:pt x="9690" y="367"/>
                    <a:pt x="9690" y="367"/>
                    <a:pt x="9690" y="367"/>
                  </a:cubicBezTo>
                  <a:cubicBezTo>
                    <a:pt x="9676" y="376"/>
                    <a:pt x="9676" y="376"/>
                    <a:pt x="9676" y="376"/>
                  </a:cubicBezTo>
                  <a:cubicBezTo>
                    <a:pt x="9609" y="374"/>
                    <a:pt x="9609" y="374"/>
                    <a:pt x="9609" y="374"/>
                  </a:cubicBezTo>
                  <a:cubicBezTo>
                    <a:pt x="9604" y="379"/>
                    <a:pt x="9604" y="379"/>
                    <a:pt x="9604" y="379"/>
                  </a:cubicBezTo>
                  <a:cubicBezTo>
                    <a:pt x="9579" y="370"/>
                    <a:pt x="9579" y="370"/>
                    <a:pt x="9579" y="370"/>
                  </a:cubicBezTo>
                  <a:cubicBezTo>
                    <a:pt x="9568" y="377"/>
                    <a:pt x="9568" y="377"/>
                    <a:pt x="9568" y="377"/>
                  </a:cubicBezTo>
                  <a:cubicBezTo>
                    <a:pt x="9568" y="377"/>
                    <a:pt x="9530" y="373"/>
                    <a:pt x="9528" y="381"/>
                  </a:cubicBezTo>
                  <a:cubicBezTo>
                    <a:pt x="9526" y="389"/>
                    <a:pt x="9527" y="404"/>
                    <a:pt x="9538" y="406"/>
                  </a:cubicBezTo>
                  <a:cubicBezTo>
                    <a:pt x="9549" y="408"/>
                    <a:pt x="9555" y="424"/>
                    <a:pt x="9555" y="424"/>
                  </a:cubicBezTo>
                  <a:cubicBezTo>
                    <a:pt x="9555" y="424"/>
                    <a:pt x="9590" y="434"/>
                    <a:pt x="9599" y="434"/>
                  </a:cubicBezTo>
                  <a:cubicBezTo>
                    <a:pt x="9608" y="434"/>
                    <a:pt x="9627" y="439"/>
                    <a:pt x="9634" y="442"/>
                  </a:cubicBezTo>
                  <a:cubicBezTo>
                    <a:pt x="9641" y="445"/>
                    <a:pt x="9657" y="461"/>
                    <a:pt x="9646" y="461"/>
                  </a:cubicBezTo>
                  <a:cubicBezTo>
                    <a:pt x="9635" y="461"/>
                    <a:pt x="9611" y="463"/>
                    <a:pt x="9611" y="463"/>
                  </a:cubicBezTo>
                  <a:cubicBezTo>
                    <a:pt x="9611" y="463"/>
                    <a:pt x="9565" y="443"/>
                    <a:pt x="9549" y="439"/>
                  </a:cubicBezTo>
                  <a:cubicBezTo>
                    <a:pt x="9533" y="435"/>
                    <a:pt x="9509" y="432"/>
                    <a:pt x="9501" y="432"/>
                  </a:cubicBezTo>
                  <a:cubicBezTo>
                    <a:pt x="9493" y="432"/>
                    <a:pt x="9472" y="430"/>
                    <a:pt x="9474" y="438"/>
                  </a:cubicBezTo>
                  <a:cubicBezTo>
                    <a:pt x="9476" y="446"/>
                    <a:pt x="9502" y="456"/>
                    <a:pt x="9485" y="457"/>
                  </a:cubicBezTo>
                  <a:cubicBezTo>
                    <a:pt x="9468" y="458"/>
                    <a:pt x="9462" y="446"/>
                    <a:pt x="9452" y="446"/>
                  </a:cubicBezTo>
                  <a:cubicBezTo>
                    <a:pt x="9442" y="446"/>
                    <a:pt x="9428" y="436"/>
                    <a:pt x="9427" y="449"/>
                  </a:cubicBezTo>
                  <a:cubicBezTo>
                    <a:pt x="9426" y="462"/>
                    <a:pt x="9440" y="475"/>
                    <a:pt x="9455" y="474"/>
                  </a:cubicBezTo>
                  <a:cubicBezTo>
                    <a:pt x="9470" y="473"/>
                    <a:pt x="9493" y="480"/>
                    <a:pt x="9503" y="480"/>
                  </a:cubicBezTo>
                  <a:cubicBezTo>
                    <a:pt x="9513" y="480"/>
                    <a:pt x="9529" y="496"/>
                    <a:pt x="9529" y="496"/>
                  </a:cubicBezTo>
                  <a:cubicBezTo>
                    <a:pt x="9508" y="496"/>
                    <a:pt x="9508" y="496"/>
                    <a:pt x="9508" y="496"/>
                  </a:cubicBezTo>
                  <a:cubicBezTo>
                    <a:pt x="9508" y="496"/>
                    <a:pt x="9502" y="486"/>
                    <a:pt x="9488" y="486"/>
                  </a:cubicBezTo>
                  <a:cubicBezTo>
                    <a:pt x="9474" y="486"/>
                    <a:pt x="9431" y="484"/>
                    <a:pt x="9431" y="484"/>
                  </a:cubicBezTo>
                  <a:cubicBezTo>
                    <a:pt x="9428" y="476"/>
                    <a:pt x="9428" y="476"/>
                    <a:pt x="9428" y="476"/>
                  </a:cubicBezTo>
                  <a:cubicBezTo>
                    <a:pt x="9411" y="476"/>
                    <a:pt x="9411" y="476"/>
                    <a:pt x="9411" y="476"/>
                  </a:cubicBezTo>
                  <a:cubicBezTo>
                    <a:pt x="9408" y="465"/>
                    <a:pt x="9408" y="465"/>
                    <a:pt x="9408" y="465"/>
                  </a:cubicBezTo>
                  <a:cubicBezTo>
                    <a:pt x="9386" y="454"/>
                    <a:pt x="9386" y="454"/>
                    <a:pt x="9386" y="454"/>
                  </a:cubicBezTo>
                  <a:cubicBezTo>
                    <a:pt x="9386" y="454"/>
                    <a:pt x="9411" y="442"/>
                    <a:pt x="9401" y="433"/>
                  </a:cubicBezTo>
                  <a:cubicBezTo>
                    <a:pt x="9391" y="424"/>
                    <a:pt x="9377" y="413"/>
                    <a:pt x="9377" y="413"/>
                  </a:cubicBezTo>
                  <a:cubicBezTo>
                    <a:pt x="9356" y="412"/>
                    <a:pt x="9356" y="412"/>
                    <a:pt x="9356" y="412"/>
                  </a:cubicBezTo>
                  <a:cubicBezTo>
                    <a:pt x="9356" y="412"/>
                    <a:pt x="9386" y="429"/>
                    <a:pt x="9377" y="437"/>
                  </a:cubicBezTo>
                  <a:cubicBezTo>
                    <a:pt x="9368" y="445"/>
                    <a:pt x="9348" y="448"/>
                    <a:pt x="9348" y="448"/>
                  </a:cubicBezTo>
                  <a:cubicBezTo>
                    <a:pt x="9335" y="475"/>
                    <a:pt x="9335" y="475"/>
                    <a:pt x="9335" y="475"/>
                  </a:cubicBezTo>
                  <a:cubicBezTo>
                    <a:pt x="9384" y="500"/>
                    <a:pt x="9384" y="500"/>
                    <a:pt x="9384" y="500"/>
                  </a:cubicBezTo>
                  <a:cubicBezTo>
                    <a:pt x="9384" y="500"/>
                    <a:pt x="9397" y="495"/>
                    <a:pt x="9397" y="501"/>
                  </a:cubicBezTo>
                  <a:cubicBezTo>
                    <a:pt x="9397" y="507"/>
                    <a:pt x="9390" y="538"/>
                    <a:pt x="9390" y="538"/>
                  </a:cubicBezTo>
                  <a:cubicBezTo>
                    <a:pt x="9397" y="551"/>
                    <a:pt x="9397" y="551"/>
                    <a:pt x="9397" y="551"/>
                  </a:cubicBezTo>
                  <a:cubicBezTo>
                    <a:pt x="9421" y="555"/>
                    <a:pt x="9421" y="555"/>
                    <a:pt x="9421" y="555"/>
                  </a:cubicBezTo>
                  <a:cubicBezTo>
                    <a:pt x="9420" y="573"/>
                    <a:pt x="9420" y="573"/>
                    <a:pt x="9420" y="573"/>
                  </a:cubicBezTo>
                  <a:cubicBezTo>
                    <a:pt x="9460" y="581"/>
                    <a:pt x="9460" y="581"/>
                    <a:pt x="9460" y="581"/>
                  </a:cubicBezTo>
                  <a:cubicBezTo>
                    <a:pt x="9460" y="581"/>
                    <a:pt x="9490" y="569"/>
                    <a:pt x="9504" y="570"/>
                  </a:cubicBezTo>
                  <a:cubicBezTo>
                    <a:pt x="9518" y="571"/>
                    <a:pt x="9536" y="583"/>
                    <a:pt x="9536" y="583"/>
                  </a:cubicBezTo>
                  <a:cubicBezTo>
                    <a:pt x="9536" y="583"/>
                    <a:pt x="9565" y="587"/>
                    <a:pt x="9578" y="596"/>
                  </a:cubicBezTo>
                  <a:cubicBezTo>
                    <a:pt x="9591" y="605"/>
                    <a:pt x="9594" y="616"/>
                    <a:pt x="9594" y="616"/>
                  </a:cubicBezTo>
                  <a:cubicBezTo>
                    <a:pt x="9594" y="616"/>
                    <a:pt x="9561" y="620"/>
                    <a:pt x="9574" y="628"/>
                  </a:cubicBezTo>
                  <a:cubicBezTo>
                    <a:pt x="9587" y="636"/>
                    <a:pt x="9601" y="643"/>
                    <a:pt x="9601" y="643"/>
                  </a:cubicBezTo>
                  <a:cubicBezTo>
                    <a:pt x="9629" y="642"/>
                    <a:pt x="9629" y="642"/>
                    <a:pt x="9629" y="642"/>
                  </a:cubicBezTo>
                  <a:cubicBezTo>
                    <a:pt x="9629" y="642"/>
                    <a:pt x="9613" y="650"/>
                    <a:pt x="9600" y="650"/>
                  </a:cubicBezTo>
                  <a:cubicBezTo>
                    <a:pt x="9587" y="650"/>
                    <a:pt x="9571" y="641"/>
                    <a:pt x="9571" y="641"/>
                  </a:cubicBezTo>
                  <a:cubicBezTo>
                    <a:pt x="9571" y="641"/>
                    <a:pt x="9572" y="618"/>
                    <a:pt x="9557" y="609"/>
                  </a:cubicBezTo>
                  <a:cubicBezTo>
                    <a:pt x="9542" y="600"/>
                    <a:pt x="9530" y="595"/>
                    <a:pt x="9530" y="595"/>
                  </a:cubicBezTo>
                  <a:cubicBezTo>
                    <a:pt x="9530" y="595"/>
                    <a:pt x="9526" y="580"/>
                    <a:pt x="9514" y="581"/>
                  </a:cubicBezTo>
                  <a:cubicBezTo>
                    <a:pt x="9502" y="582"/>
                    <a:pt x="9470" y="588"/>
                    <a:pt x="9470" y="588"/>
                  </a:cubicBezTo>
                  <a:cubicBezTo>
                    <a:pt x="9470" y="588"/>
                    <a:pt x="9452" y="590"/>
                    <a:pt x="9453" y="601"/>
                  </a:cubicBezTo>
                  <a:cubicBezTo>
                    <a:pt x="9454" y="612"/>
                    <a:pt x="9486" y="630"/>
                    <a:pt x="9486" y="634"/>
                  </a:cubicBezTo>
                  <a:cubicBezTo>
                    <a:pt x="9486" y="638"/>
                    <a:pt x="9467" y="650"/>
                    <a:pt x="9467" y="650"/>
                  </a:cubicBezTo>
                  <a:cubicBezTo>
                    <a:pt x="9465" y="679"/>
                    <a:pt x="9465" y="679"/>
                    <a:pt x="9465" y="679"/>
                  </a:cubicBezTo>
                  <a:cubicBezTo>
                    <a:pt x="9437" y="693"/>
                    <a:pt x="9437" y="693"/>
                    <a:pt x="9437" y="693"/>
                  </a:cubicBezTo>
                  <a:cubicBezTo>
                    <a:pt x="9437" y="693"/>
                    <a:pt x="9431" y="714"/>
                    <a:pt x="9418" y="708"/>
                  </a:cubicBezTo>
                  <a:cubicBezTo>
                    <a:pt x="9405" y="702"/>
                    <a:pt x="9379" y="704"/>
                    <a:pt x="9379" y="704"/>
                  </a:cubicBezTo>
                  <a:cubicBezTo>
                    <a:pt x="9341" y="700"/>
                    <a:pt x="9341" y="700"/>
                    <a:pt x="9341" y="700"/>
                  </a:cubicBezTo>
                  <a:cubicBezTo>
                    <a:pt x="9341" y="700"/>
                    <a:pt x="9298" y="685"/>
                    <a:pt x="9309" y="684"/>
                  </a:cubicBezTo>
                  <a:cubicBezTo>
                    <a:pt x="9320" y="683"/>
                    <a:pt x="9343" y="682"/>
                    <a:pt x="9343" y="682"/>
                  </a:cubicBezTo>
                  <a:cubicBezTo>
                    <a:pt x="9356" y="686"/>
                    <a:pt x="9356" y="686"/>
                    <a:pt x="9356" y="686"/>
                  </a:cubicBezTo>
                  <a:cubicBezTo>
                    <a:pt x="9371" y="675"/>
                    <a:pt x="9371" y="675"/>
                    <a:pt x="9371" y="675"/>
                  </a:cubicBezTo>
                  <a:cubicBezTo>
                    <a:pt x="9371" y="675"/>
                    <a:pt x="9409" y="684"/>
                    <a:pt x="9409" y="673"/>
                  </a:cubicBezTo>
                  <a:cubicBezTo>
                    <a:pt x="9409" y="662"/>
                    <a:pt x="9411" y="647"/>
                    <a:pt x="9411" y="647"/>
                  </a:cubicBezTo>
                  <a:cubicBezTo>
                    <a:pt x="9427" y="642"/>
                    <a:pt x="9427" y="642"/>
                    <a:pt x="9427" y="642"/>
                  </a:cubicBezTo>
                  <a:cubicBezTo>
                    <a:pt x="9429" y="628"/>
                    <a:pt x="9429" y="628"/>
                    <a:pt x="9429" y="628"/>
                  </a:cubicBezTo>
                  <a:cubicBezTo>
                    <a:pt x="9418" y="626"/>
                    <a:pt x="9418" y="626"/>
                    <a:pt x="9418" y="626"/>
                  </a:cubicBezTo>
                  <a:cubicBezTo>
                    <a:pt x="9418" y="626"/>
                    <a:pt x="9434" y="606"/>
                    <a:pt x="9424" y="602"/>
                  </a:cubicBezTo>
                  <a:cubicBezTo>
                    <a:pt x="9414" y="598"/>
                    <a:pt x="9371" y="600"/>
                    <a:pt x="9369" y="584"/>
                  </a:cubicBezTo>
                  <a:cubicBezTo>
                    <a:pt x="9367" y="568"/>
                    <a:pt x="9369" y="549"/>
                    <a:pt x="9360" y="544"/>
                  </a:cubicBezTo>
                  <a:cubicBezTo>
                    <a:pt x="9351" y="539"/>
                    <a:pt x="9338" y="523"/>
                    <a:pt x="9338" y="523"/>
                  </a:cubicBezTo>
                  <a:cubicBezTo>
                    <a:pt x="9334" y="499"/>
                    <a:pt x="9334" y="499"/>
                    <a:pt x="9334" y="499"/>
                  </a:cubicBezTo>
                  <a:cubicBezTo>
                    <a:pt x="9292" y="476"/>
                    <a:pt x="9292" y="476"/>
                    <a:pt x="9292" y="476"/>
                  </a:cubicBezTo>
                  <a:cubicBezTo>
                    <a:pt x="9292" y="476"/>
                    <a:pt x="9319" y="455"/>
                    <a:pt x="9305" y="435"/>
                  </a:cubicBezTo>
                  <a:cubicBezTo>
                    <a:pt x="9291" y="415"/>
                    <a:pt x="9259" y="415"/>
                    <a:pt x="9259" y="415"/>
                  </a:cubicBezTo>
                  <a:cubicBezTo>
                    <a:pt x="9170" y="407"/>
                    <a:pt x="9170" y="407"/>
                    <a:pt x="9170" y="407"/>
                  </a:cubicBezTo>
                  <a:cubicBezTo>
                    <a:pt x="9163" y="427"/>
                    <a:pt x="9163" y="427"/>
                    <a:pt x="9163" y="427"/>
                  </a:cubicBezTo>
                  <a:cubicBezTo>
                    <a:pt x="9174" y="438"/>
                    <a:pt x="9174" y="438"/>
                    <a:pt x="9174" y="438"/>
                  </a:cubicBezTo>
                  <a:cubicBezTo>
                    <a:pt x="9169" y="461"/>
                    <a:pt x="9169" y="461"/>
                    <a:pt x="9169" y="461"/>
                  </a:cubicBezTo>
                  <a:cubicBezTo>
                    <a:pt x="9131" y="477"/>
                    <a:pt x="9131" y="477"/>
                    <a:pt x="9131" y="477"/>
                  </a:cubicBezTo>
                  <a:cubicBezTo>
                    <a:pt x="9125" y="496"/>
                    <a:pt x="9125" y="496"/>
                    <a:pt x="9125" y="496"/>
                  </a:cubicBezTo>
                  <a:cubicBezTo>
                    <a:pt x="9146" y="498"/>
                    <a:pt x="9146" y="498"/>
                    <a:pt x="9146" y="498"/>
                  </a:cubicBezTo>
                  <a:cubicBezTo>
                    <a:pt x="9169" y="533"/>
                    <a:pt x="9169" y="533"/>
                    <a:pt x="9169" y="533"/>
                  </a:cubicBezTo>
                  <a:cubicBezTo>
                    <a:pt x="9160" y="545"/>
                    <a:pt x="9160" y="545"/>
                    <a:pt x="9160" y="545"/>
                  </a:cubicBezTo>
                  <a:cubicBezTo>
                    <a:pt x="9179" y="560"/>
                    <a:pt x="9179" y="560"/>
                    <a:pt x="9179" y="560"/>
                  </a:cubicBezTo>
                  <a:cubicBezTo>
                    <a:pt x="9202" y="554"/>
                    <a:pt x="9202" y="554"/>
                    <a:pt x="9202" y="554"/>
                  </a:cubicBezTo>
                  <a:cubicBezTo>
                    <a:pt x="9202" y="554"/>
                    <a:pt x="9220" y="575"/>
                    <a:pt x="9233" y="578"/>
                  </a:cubicBezTo>
                  <a:cubicBezTo>
                    <a:pt x="9246" y="581"/>
                    <a:pt x="9259" y="581"/>
                    <a:pt x="9259" y="581"/>
                  </a:cubicBezTo>
                  <a:cubicBezTo>
                    <a:pt x="9256" y="618"/>
                    <a:pt x="9256" y="618"/>
                    <a:pt x="9256" y="618"/>
                  </a:cubicBezTo>
                  <a:cubicBezTo>
                    <a:pt x="9243" y="604"/>
                    <a:pt x="9243" y="604"/>
                    <a:pt x="9243" y="604"/>
                  </a:cubicBezTo>
                  <a:cubicBezTo>
                    <a:pt x="9233" y="610"/>
                    <a:pt x="9233" y="610"/>
                    <a:pt x="9233" y="610"/>
                  </a:cubicBezTo>
                  <a:cubicBezTo>
                    <a:pt x="9233" y="610"/>
                    <a:pt x="9216" y="601"/>
                    <a:pt x="9198" y="593"/>
                  </a:cubicBezTo>
                  <a:cubicBezTo>
                    <a:pt x="9185" y="587"/>
                    <a:pt x="9171" y="581"/>
                    <a:pt x="9164" y="580"/>
                  </a:cubicBezTo>
                  <a:cubicBezTo>
                    <a:pt x="9148" y="577"/>
                    <a:pt x="9124" y="579"/>
                    <a:pt x="9124" y="579"/>
                  </a:cubicBezTo>
                  <a:cubicBezTo>
                    <a:pt x="9113" y="567"/>
                    <a:pt x="9113" y="567"/>
                    <a:pt x="9113" y="567"/>
                  </a:cubicBezTo>
                  <a:cubicBezTo>
                    <a:pt x="9107" y="581"/>
                    <a:pt x="9107" y="581"/>
                    <a:pt x="9107" y="581"/>
                  </a:cubicBezTo>
                  <a:cubicBezTo>
                    <a:pt x="9091" y="563"/>
                    <a:pt x="9091" y="563"/>
                    <a:pt x="9091" y="563"/>
                  </a:cubicBezTo>
                  <a:cubicBezTo>
                    <a:pt x="9091" y="563"/>
                    <a:pt x="9049" y="549"/>
                    <a:pt x="9042" y="549"/>
                  </a:cubicBezTo>
                  <a:cubicBezTo>
                    <a:pt x="9035" y="549"/>
                    <a:pt x="9014" y="550"/>
                    <a:pt x="9014" y="550"/>
                  </a:cubicBezTo>
                  <a:cubicBezTo>
                    <a:pt x="9014" y="550"/>
                    <a:pt x="8965" y="544"/>
                    <a:pt x="8961" y="547"/>
                  </a:cubicBezTo>
                  <a:cubicBezTo>
                    <a:pt x="8957" y="550"/>
                    <a:pt x="8948" y="550"/>
                    <a:pt x="8948" y="558"/>
                  </a:cubicBezTo>
                  <a:cubicBezTo>
                    <a:pt x="8948" y="566"/>
                    <a:pt x="8974" y="580"/>
                    <a:pt x="8974" y="580"/>
                  </a:cubicBezTo>
                  <a:cubicBezTo>
                    <a:pt x="8961" y="600"/>
                    <a:pt x="8961" y="600"/>
                    <a:pt x="8961" y="600"/>
                  </a:cubicBezTo>
                  <a:cubicBezTo>
                    <a:pt x="8952" y="593"/>
                    <a:pt x="8952" y="593"/>
                    <a:pt x="8952" y="593"/>
                  </a:cubicBezTo>
                  <a:cubicBezTo>
                    <a:pt x="8952" y="610"/>
                    <a:pt x="8952" y="610"/>
                    <a:pt x="8952" y="610"/>
                  </a:cubicBezTo>
                  <a:cubicBezTo>
                    <a:pt x="8952" y="610"/>
                    <a:pt x="8928" y="609"/>
                    <a:pt x="8928" y="604"/>
                  </a:cubicBezTo>
                  <a:cubicBezTo>
                    <a:pt x="8928" y="599"/>
                    <a:pt x="8933" y="577"/>
                    <a:pt x="8919" y="578"/>
                  </a:cubicBezTo>
                  <a:cubicBezTo>
                    <a:pt x="8905" y="579"/>
                    <a:pt x="8869" y="602"/>
                    <a:pt x="8864" y="605"/>
                  </a:cubicBezTo>
                  <a:cubicBezTo>
                    <a:pt x="8859" y="608"/>
                    <a:pt x="8848" y="594"/>
                    <a:pt x="8827" y="596"/>
                  </a:cubicBezTo>
                  <a:cubicBezTo>
                    <a:pt x="8806" y="598"/>
                    <a:pt x="8782" y="609"/>
                    <a:pt x="8780" y="617"/>
                  </a:cubicBezTo>
                  <a:cubicBezTo>
                    <a:pt x="8778" y="625"/>
                    <a:pt x="8731" y="621"/>
                    <a:pt x="8731" y="621"/>
                  </a:cubicBezTo>
                  <a:cubicBezTo>
                    <a:pt x="8739" y="604"/>
                    <a:pt x="8739" y="604"/>
                    <a:pt x="8739" y="604"/>
                  </a:cubicBezTo>
                  <a:cubicBezTo>
                    <a:pt x="8738" y="580"/>
                    <a:pt x="8738" y="580"/>
                    <a:pt x="8738" y="580"/>
                  </a:cubicBezTo>
                  <a:cubicBezTo>
                    <a:pt x="8738" y="580"/>
                    <a:pt x="8694" y="588"/>
                    <a:pt x="8694" y="597"/>
                  </a:cubicBezTo>
                  <a:cubicBezTo>
                    <a:pt x="8694" y="606"/>
                    <a:pt x="8700" y="613"/>
                    <a:pt x="8700" y="613"/>
                  </a:cubicBezTo>
                  <a:cubicBezTo>
                    <a:pt x="8682" y="614"/>
                    <a:pt x="8682" y="614"/>
                    <a:pt x="8682" y="614"/>
                  </a:cubicBezTo>
                  <a:cubicBezTo>
                    <a:pt x="8682" y="599"/>
                    <a:pt x="8682" y="599"/>
                    <a:pt x="8682" y="599"/>
                  </a:cubicBezTo>
                  <a:cubicBezTo>
                    <a:pt x="8668" y="604"/>
                    <a:pt x="8668" y="604"/>
                    <a:pt x="8668" y="604"/>
                  </a:cubicBezTo>
                  <a:cubicBezTo>
                    <a:pt x="8633" y="607"/>
                    <a:pt x="8633" y="607"/>
                    <a:pt x="8633" y="607"/>
                  </a:cubicBezTo>
                  <a:cubicBezTo>
                    <a:pt x="8604" y="627"/>
                    <a:pt x="8604" y="627"/>
                    <a:pt x="8604" y="627"/>
                  </a:cubicBezTo>
                  <a:cubicBezTo>
                    <a:pt x="8571" y="630"/>
                    <a:pt x="8571" y="630"/>
                    <a:pt x="8571" y="630"/>
                  </a:cubicBezTo>
                  <a:cubicBezTo>
                    <a:pt x="8578" y="643"/>
                    <a:pt x="8578" y="643"/>
                    <a:pt x="8578" y="643"/>
                  </a:cubicBezTo>
                  <a:cubicBezTo>
                    <a:pt x="8578" y="643"/>
                    <a:pt x="8552" y="637"/>
                    <a:pt x="8549" y="648"/>
                  </a:cubicBezTo>
                  <a:cubicBezTo>
                    <a:pt x="8546" y="659"/>
                    <a:pt x="8549" y="674"/>
                    <a:pt x="8549" y="674"/>
                  </a:cubicBezTo>
                  <a:cubicBezTo>
                    <a:pt x="8498" y="680"/>
                    <a:pt x="8498" y="680"/>
                    <a:pt x="8498" y="680"/>
                  </a:cubicBezTo>
                  <a:cubicBezTo>
                    <a:pt x="8498" y="680"/>
                    <a:pt x="8483" y="669"/>
                    <a:pt x="8478" y="668"/>
                  </a:cubicBezTo>
                  <a:cubicBezTo>
                    <a:pt x="8473" y="667"/>
                    <a:pt x="8451" y="673"/>
                    <a:pt x="8451" y="659"/>
                  </a:cubicBezTo>
                  <a:cubicBezTo>
                    <a:pt x="8451" y="645"/>
                    <a:pt x="8451" y="628"/>
                    <a:pt x="8468" y="634"/>
                  </a:cubicBezTo>
                  <a:cubicBezTo>
                    <a:pt x="8485" y="640"/>
                    <a:pt x="8506" y="634"/>
                    <a:pt x="8506" y="634"/>
                  </a:cubicBezTo>
                  <a:cubicBezTo>
                    <a:pt x="8506" y="634"/>
                    <a:pt x="8468" y="603"/>
                    <a:pt x="8462" y="600"/>
                  </a:cubicBezTo>
                  <a:cubicBezTo>
                    <a:pt x="8456" y="597"/>
                    <a:pt x="8381" y="598"/>
                    <a:pt x="8381" y="598"/>
                  </a:cubicBezTo>
                  <a:cubicBezTo>
                    <a:pt x="8387" y="607"/>
                    <a:pt x="8387" y="607"/>
                    <a:pt x="8387" y="607"/>
                  </a:cubicBezTo>
                  <a:cubicBezTo>
                    <a:pt x="8387" y="607"/>
                    <a:pt x="8418" y="602"/>
                    <a:pt x="8413" y="622"/>
                  </a:cubicBezTo>
                  <a:cubicBezTo>
                    <a:pt x="8408" y="642"/>
                    <a:pt x="8398" y="671"/>
                    <a:pt x="8405" y="671"/>
                  </a:cubicBezTo>
                  <a:cubicBezTo>
                    <a:pt x="8412" y="671"/>
                    <a:pt x="8438" y="679"/>
                    <a:pt x="8438" y="679"/>
                  </a:cubicBezTo>
                  <a:cubicBezTo>
                    <a:pt x="8436" y="704"/>
                    <a:pt x="8436" y="704"/>
                    <a:pt x="8436" y="704"/>
                  </a:cubicBezTo>
                  <a:cubicBezTo>
                    <a:pt x="8442" y="723"/>
                    <a:pt x="8442" y="723"/>
                    <a:pt x="8442" y="723"/>
                  </a:cubicBezTo>
                  <a:cubicBezTo>
                    <a:pt x="8421" y="709"/>
                    <a:pt x="8421" y="709"/>
                    <a:pt x="8421" y="709"/>
                  </a:cubicBezTo>
                  <a:cubicBezTo>
                    <a:pt x="8406" y="725"/>
                    <a:pt x="8406" y="725"/>
                    <a:pt x="8406" y="725"/>
                  </a:cubicBezTo>
                  <a:cubicBezTo>
                    <a:pt x="8403" y="703"/>
                    <a:pt x="8403" y="703"/>
                    <a:pt x="8403" y="703"/>
                  </a:cubicBezTo>
                  <a:cubicBezTo>
                    <a:pt x="8357" y="691"/>
                    <a:pt x="8357" y="691"/>
                    <a:pt x="8357" y="691"/>
                  </a:cubicBezTo>
                  <a:cubicBezTo>
                    <a:pt x="8337" y="716"/>
                    <a:pt x="8337" y="716"/>
                    <a:pt x="8337" y="716"/>
                  </a:cubicBezTo>
                  <a:cubicBezTo>
                    <a:pt x="8319" y="717"/>
                    <a:pt x="8319" y="717"/>
                    <a:pt x="8319" y="717"/>
                  </a:cubicBezTo>
                  <a:cubicBezTo>
                    <a:pt x="8319" y="717"/>
                    <a:pt x="8313" y="728"/>
                    <a:pt x="8303" y="732"/>
                  </a:cubicBezTo>
                  <a:cubicBezTo>
                    <a:pt x="8293" y="736"/>
                    <a:pt x="8273" y="740"/>
                    <a:pt x="8281" y="747"/>
                  </a:cubicBezTo>
                  <a:cubicBezTo>
                    <a:pt x="8289" y="754"/>
                    <a:pt x="8321" y="777"/>
                    <a:pt x="8321" y="777"/>
                  </a:cubicBezTo>
                  <a:cubicBezTo>
                    <a:pt x="8333" y="794"/>
                    <a:pt x="8333" y="794"/>
                    <a:pt x="8333" y="794"/>
                  </a:cubicBezTo>
                  <a:cubicBezTo>
                    <a:pt x="8313" y="785"/>
                    <a:pt x="8313" y="785"/>
                    <a:pt x="8313" y="785"/>
                  </a:cubicBezTo>
                  <a:cubicBezTo>
                    <a:pt x="8313" y="785"/>
                    <a:pt x="8295" y="795"/>
                    <a:pt x="8282" y="789"/>
                  </a:cubicBezTo>
                  <a:cubicBezTo>
                    <a:pt x="8269" y="783"/>
                    <a:pt x="8226" y="776"/>
                    <a:pt x="8226" y="776"/>
                  </a:cubicBezTo>
                  <a:cubicBezTo>
                    <a:pt x="8226" y="776"/>
                    <a:pt x="8220" y="752"/>
                    <a:pt x="8205" y="758"/>
                  </a:cubicBezTo>
                  <a:cubicBezTo>
                    <a:pt x="8190" y="764"/>
                    <a:pt x="8182" y="770"/>
                    <a:pt x="8182" y="770"/>
                  </a:cubicBezTo>
                  <a:cubicBezTo>
                    <a:pt x="8170" y="771"/>
                    <a:pt x="8170" y="771"/>
                    <a:pt x="8170" y="771"/>
                  </a:cubicBezTo>
                  <a:cubicBezTo>
                    <a:pt x="8200" y="797"/>
                    <a:pt x="8200" y="797"/>
                    <a:pt x="8200" y="797"/>
                  </a:cubicBezTo>
                  <a:cubicBezTo>
                    <a:pt x="8200" y="797"/>
                    <a:pt x="8240" y="798"/>
                    <a:pt x="8240" y="805"/>
                  </a:cubicBezTo>
                  <a:cubicBezTo>
                    <a:pt x="8240" y="812"/>
                    <a:pt x="8222" y="823"/>
                    <a:pt x="8222" y="823"/>
                  </a:cubicBezTo>
                  <a:cubicBezTo>
                    <a:pt x="8180" y="813"/>
                    <a:pt x="8180" y="813"/>
                    <a:pt x="8180" y="813"/>
                  </a:cubicBezTo>
                  <a:cubicBezTo>
                    <a:pt x="8180" y="813"/>
                    <a:pt x="8165" y="799"/>
                    <a:pt x="8155" y="798"/>
                  </a:cubicBezTo>
                  <a:cubicBezTo>
                    <a:pt x="8145" y="797"/>
                    <a:pt x="8119" y="808"/>
                    <a:pt x="8117" y="794"/>
                  </a:cubicBezTo>
                  <a:cubicBezTo>
                    <a:pt x="8115" y="780"/>
                    <a:pt x="8116" y="764"/>
                    <a:pt x="8116" y="764"/>
                  </a:cubicBezTo>
                  <a:cubicBezTo>
                    <a:pt x="8103" y="756"/>
                    <a:pt x="8103" y="756"/>
                    <a:pt x="8103" y="756"/>
                  </a:cubicBezTo>
                  <a:cubicBezTo>
                    <a:pt x="8103" y="756"/>
                    <a:pt x="8124" y="738"/>
                    <a:pt x="8116" y="729"/>
                  </a:cubicBezTo>
                  <a:cubicBezTo>
                    <a:pt x="8108" y="720"/>
                    <a:pt x="8052" y="705"/>
                    <a:pt x="8052" y="705"/>
                  </a:cubicBezTo>
                  <a:cubicBezTo>
                    <a:pt x="8032" y="690"/>
                    <a:pt x="8032" y="690"/>
                    <a:pt x="8032" y="690"/>
                  </a:cubicBezTo>
                  <a:cubicBezTo>
                    <a:pt x="8016" y="679"/>
                    <a:pt x="8016" y="679"/>
                    <a:pt x="8016" y="679"/>
                  </a:cubicBezTo>
                  <a:cubicBezTo>
                    <a:pt x="8006" y="669"/>
                    <a:pt x="8006" y="669"/>
                    <a:pt x="8006" y="669"/>
                  </a:cubicBezTo>
                  <a:cubicBezTo>
                    <a:pt x="8032" y="668"/>
                    <a:pt x="8032" y="668"/>
                    <a:pt x="8032" y="668"/>
                  </a:cubicBezTo>
                  <a:cubicBezTo>
                    <a:pt x="8032" y="668"/>
                    <a:pt x="8027" y="677"/>
                    <a:pt x="8046" y="681"/>
                  </a:cubicBezTo>
                  <a:cubicBezTo>
                    <a:pt x="8065" y="685"/>
                    <a:pt x="8090" y="682"/>
                    <a:pt x="8090" y="682"/>
                  </a:cubicBezTo>
                  <a:cubicBezTo>
                    <a:pt x="8090" y="682"/>
                    <a:pt x="8106" y="700"/>
                    <a:pt x="8118" y="702"/>
                  </a:cubicBezTo>
                  <a:cubicBezTo>
                    <a:pt x="8130" y="704"/>
                    <a:pt x="8184" y="709"/>
                    <a:pt x="8184" y="709"/>
                  </a:cubicBezTo>
                  <a:cubicBezTo>
                    <a:pt x="8184" y="709"/>
                    <a:pt x="8221" y="725"/>
                    <a:pt x="8264" y="714"/>
                  </a:cubicBezTo>
                  <a:cubicBezTo>
                    <a:pt x="8307" y="703"/>
                    <a:pt x="8349" y="688"/>
                    <a:pt x="8327" y="668"/>
                  </a:cubicBezTo>
                  <a:cubicBezTo>
                    <a:pt x="8305" y="648"/>
                    <a:pt x="8304" y="635"/>
                    <a:pt x="8275" y="629"/>
                  </a:cubicBezTo>
                  <a:cubicBezTo>
                    <a:pt x="8246" y="623"/>
                    <a:pt x="8206" y="608"/>
                    <a:pt x="8187" y="601"/>
                  </a:cubicBezTo>
                  <a:cubicBezTo>
                    <a:pt x="8168" y="594"/>
                    <a:pt x="8134" y="577"/>
                    <a:pt x="8114" y="576"/>
                  </a:cubicBezTo>
                  <a:cubicBezTo>
                    <a:pt x="8094" y="575"/>
                    <a:pt x="8075" y="575"/>
                    <a:pt x="8063" y="575"/>
                  </a:cubicBezTo>
                  <a:cubicBezTo>
                    <a:pt x="8051" y="575"/>
                    <a:pt x="8029" y="575"/>
                    <a:pt x="8029" y="575"/>
                  </a:cubicBezTo>
                  <a:cubicBezTo>
                    <a:pt x="8021" y="565"/>
                    <a:pt x="8021" y="565"/>
                    <a:pt x="8021" y="565"/>
                  </a:cubicBezTo>
                  <a:cubicBezTo>
                    <a:pt x="8002" y="566"/>
                    <a:pt x="8002" y="566"/>
                    <a:pt x="8002" y="566"/>
                  </a:cubicBezTo>
                  <a:cubicBezTo>
                    <a:pt x="7981" y="557"/>
                    <a:pt x="7981" y="557"/>
                    <a:pt x="7981" y="557"/>
                  </a:cubicBezTo>
                  <a:cubicBezTo>
                    <a:pt x="8002" y="552"/>
                    <a:pt x="8002" y="552"/>
                    <a:pt x="8002" y="552"/>
                  </a:cubicBezTo>
                  <a:cubicBezTo>
                    <a:pt x="8014" y="544"/>
                    <a:pt x="8014" y="544"/>
                    <a:pt x="8014" y="544"/>
                  </a:cubicBezTo>
                  <a:cubicBezTo>
                    <a:pt x="8014" y="544"/>
                    <a:pt x="7971" y="528"/>
                    <a:pt x="7965" y="534"/>
                  </a:cubicBezTo>
                  <a:cubicBezTo>
                    <a:pt x="7959" y="540"/>
                    <a:pt x="7956" y="549"/>
                    <a:pt x="7956" y="549"/>
                  </a:cubicBezTo>
                  <a:cubicBezTo>
                    <a:pt x="7939" y="549"/>
                    <a:pt x="7939" y="549"/>
                    <a:pt x="7939" y="549"/>
                  </a:cubicBezTo>
                  <a:cubicBezTo>
                    <a:pt x="7922" y="552"/>
                    <a:pt x="7922" y="552"/>
                    <a:pt x="7922" y="552"/>
                  </a:cubicBezTo>
                  <a:cubicBezTo>
                    <a:pt x="7894" y="545"/>
                    <a:pt x="7894" y="545"/>
                    <a:pt x="7894" y="545"/>
                  </a:cubicBezTo>
                  <a:cubicBezTo>
                    <a:pt x="7874" y="534"/>
                    <a:pt x="7874" y="534"/>
                    <a:pt x="7874" y="534"/>
                  </a:cubicBezTo>
                  <a:cubicBezTo>
                    <a:pt x="7874" y="534"/>
                    <a:pt x="7900" y="538"/>
                    <a:pt x="7911" y="533"/>
                  </a:cubicBezTo>
                  <a:cubicBezTo>
                    <a:pt x="7922" y="528"/>
                    <a:pt x="7940" y="522"/>
                    <a:pt x="7940" y="522"/>
                  </a:cubicBezTo>
                  <a:cubicBezTo>
                    <a:pt x="7940" y="522"/>
                    <a:pt x="7914" y="507"/>
                    <a:pt x="7900" y="507"/>
                  </a:cubicBezTo>
                  <a:cubicBezTo>
                    <a:pt x="7886" y="507"/>
                    <a:pt x="7865" y="496"/>
                    <a:pt x="7865" y="496"/>
                  </a:cubicBezTo>
                  <a:cubicBezTo>
                    <a:pt x="7865" y="496"/>
                    <a:pt x="7857" y="522"/>
                    <a:pt x="7841" y="519"/>
                  </a:cubicBezTo>
                  <a:cubicBezTo>
                    <a:pt x="7825" y="516"/>
                    <a:pt x="7853" y="498"/>
                    <a:pt x="7853" y="498"/>
                  </a:cubicBezTo>
                  <a:cubicBezTo>
                    <a:pt x="7809" y="483"/>
                    <a:pt x="7809" y="483"/>
                    <a:pt x="7809" y="483"/>
                  </a:cubicBezTo>
                  <a:cubicBezTo>
                    <a:pt x="7809" y="483"/>
                    <a:pt x="7801" y="532"/>
                    <a:pt x="7787" y="526"/>
                  </a:cubicBezTo>
                  <a:cubicBezTo>
                    <a:pt x="7773" y="520"/>
                    <a:pt x="7784" y="494"/>
                    <a:pt x="7784" y="494"/>
                  </a:cubicBezTo>
                  <a:cubicBezTo>
                    <a:pt x="7784" y="494"/>
                    <a:pt x="7746" y="538"/>
                    <a:pt x="7736" y="531"/>
                  </a:cubicBezTo>
                  <a:cubicBezTo>
                    <a:pt x="7726" y="524"/>
                    <a:pt x="7772" y="488"/>
                    <a:pt x="7772" y="488"/>
                  </a:cubicBezTo>
                  <a:cubicBezTo>
                    <a:pt x="7749" y="486"/>
                    <a:pt x="7749" y="486"/>
                    <a:pt x="7749" y="486"/>
                  </a:cubicBezTo>
                  <a:cubicBezTo>
                    <a:pt x="7737" y="496"/>
                    <a:pt x="7737" y="496"/>
                    <a:pt x="7737" y="496"/>
                  </a:cubicBezTo>
                  <a:cubicBezTo>
                    <a:pt x="7721" y="494"/>
                    <a:pt x="7721" y="494"/>
                    <a:pt x="7721" y="494"/>
                  </a:cubicBezTo>
                  <a:cubicBezTo>
                    <a:pt x="7691" y="512"/>
                    <a:pt x="7691" y="512"/>
                    <a:pt x="7691" y="512"/>
                  </a:cubicBezTo>
                  <a:cubicBezTo>
                    <a:pt x="7675" y="513"/>
                    <a:pt x="7675" y="513"/>
                    <a:pt x="7675" y="513"/>
                  </a:cubicBezTo>
                  <a:cubicBezTo>
                    <a:pt x="7673" y="533"/>
                    <a:pt x="7673" y="533"/>
                    <a:pt x="7673" y="533"/>
                  </a:cubicBezTo>
                  <a:cubicBezTo>
                    <a:pt x="7649" y="524"/>
                    <a:pt x="7649" y="524"/>
                    <a:pt x="7649" y="524"/>
                  </a:cubicBezTo>
                  <a:cubicBezTo>
                    <a:pt x="7623" y="529"/>
                    <a:pt x="7623" y="529"/>
                    <a:pt x="7623" y="529"/>
                  </a:cubicBezTo>
                  <a:cubicBezTo>
                    <a:pt x="7631" y="547"/>
                    <a:pt x="7631" y="547"/>
                    <a:pt x="7631" y="547"/>
                  </a:cubicBezTo>
                  <a:cubicBezTo>
                    <a:pt x="7600" y="538"/>
                    <a:pt x="7600" y="538"/>
                    <a:pt x="7600" y="538"/>
                  </a:cubicBezTo>
                  <a:cubicBezTo>
                    <a:pt x="7589" y="544"/>
                    <a:pt x="7589" y="544"/>
                    <a:pt x="7589" y="544"/>
                  </a:cubicBezTo>
                  <a:cubicBezTo>
                    <a:pt x="7592" y="560"/>
                    <a:pt x="7592" y="560"/>
                    <a:pt x="7592" y="560"/>
                  </a:cubicBezTo>
                  <a:cubicBezTo>
                    <a:pt x="7562" y="566"/>
                    <a:pt x="7562" y="566"/>
                    <a:pt x="7562" y="566"/>
                  </a:cubicBezTo>
                  <a:cubicBezTo>
                    <a:pt x="7565" y="545"/>
                    <a:pt x="7565" y="545"/>
                    <a:pt x="7565" y="545"/>
                  </a:cubicBezTo>
                  <a:cubicBezTo>
                    <a:pt x="7545" y="545"/>
                    <a:pt x="7545" y="545"/>
                    <a:pt x="7545" y="545"/>
                  </a:cubicBezTo>
                  <a:cubicBezTo>
                    <a:pt x="7551" y="558"/>
                    <a:pt x="7551" y="558"/>
                    <a:pt x="7551" y="558"/>
                  </a:cubicBezTo>
                  <a:cubicBezTo>
                    <a:pt x="7535" y="548"/>
                    <a:pt x="7535" y="548"/>
                    <a:pt x="7535" y="548"/>
                  </a:cubicBezTo>
                  <a:cubicBezTo>
                    <a:pt x="7537" y="568"/>
                    <a:pt x="7537" y="568"/>
                    <a:pt x="7537" y="568"/>
                  </a:cubicBezTo>
                  <a:cubicBezTo>
                    <a:pt x="7520" y="567"/>
                    <a:pt x="7520" y="567"/>
                    <a:pt x="7520" y="567"/>
                  </a:cubicBezTo>
                  <a:cubicBezTo>
                    <a:pt x="7520" y="567"/>
                    <a:pt x="7517" y="554"/>
                    <a:pt x="7519" y="551"/>
                  </a:cubicBezTo>
                  <a:cubicBezTo>
                    <a:pt x="7521" y="548"/>
                    <a:pt x="7532" y="538"/>
                    <a:pt x="7532" y="538"/>
                  </a:cubicBezTo>
                  <a:cubicBezTo>
                    <a:pt x="7509" y="535"/>
                    <a:pt x="7509" y="535"/>
                    <a:pt x="7509" y="535"/>
                  </a:cubicBezTo>
                  <a:cubicBezTo>
                    <a:pt x="7506" y="564"/>
                    <a:pt x="7506" y="564"/>
                    <a:pt x="7506" y="564"/>
                  </a:cubicBezTo>
                  <a:cubicBezTo>
                    <a:pt x="7488" y="573"/>
                    <a:pt x="7488" y="573"/>
                    <a:pt x="7488" y="573"/>
                  </a:cubicBezTo>
                  <a:cubicBezTo>
                    <a:pt x="7498" y="581"/>
                    <a:pt x="7498" y="581"/>
                    <a:pt x="7498" y="581"/>
                  </a:cubicBezTo>
                  <a:cubicBezTo>
                    <a:pt x="7476" y="584"/>
                    <a:pt x="7476" y="584"/>
                    <a:pt x="7476" y="584"/>
                  </a:cubicBezTo>
                  <a:cubicBezTo>
                    <a:pt x="7484" y="592"/>
                    <a:pt x="7484" y="592"/>
                    <a:pt x="7484" y="592"/>
                  </a:cubicBezTo>
                  <a:cubicBezTo>
                    <a:pt x="7456" y="593"/>
                    <a:pt x="7456" y="593"/>
                    <a:pt x="7456" y="593"/>
                  </a:cubicBezTo>
                  <a:cubicBezTo>
                    <a:pt x="7456" y="601"/>
                    <a:pt x="7456" y="601"/>
                    <a:pt x="7456" y="601"/>
                  </a:cubicBezTo>
                  <a:cubicBezTo>
                    <a:pt x="7477" y="606"/>
                    <a:pt x="7477" y="606"/>
                    <a:pt x="7477" y="606"/>
                  </a:cubicBezTo>
                  <a:cubicBezTo>
                    <a:pt x="7470" y="615"/>
                    <a:pt x="7470" y="615"/>
                    <a:pt x="7470" y="615"/>
                  </a:cubicBezTo>
                  <a:cubicBezTo>
                    <a:pt x="7446" y="605"/>
                    <a:pt x="7446" y="605"/>
                    <a:pt x="7446" y="605"/>
                  </a:cubicBezTo>
                  <a:cubicBezTo>
                    <a:pt x="7437" y="606"/>
                    <a:pt x="7437" y="606"/>
                    <a:pt x="7437" y="606"/>
                  </a:cubicBezTo>
                  <a:cubicBezTo>
                    <a:pt x="7453" y="617"/>
                    <a:pt x="7453" y="617"/>
                    <a:pt x="7453" y="617"/>
                  </a:cubicBezTo>
                  <a:cubicBezTo>
                    <a:pt x="7438" y="628"/>
                    <a:pt x="7438" y="628"/>
                    <a:pt x="7438" y="628"/>
                  </a:cubicBezTo>
                  <a:cubicBezTo>
                    <a:pt x="7430" y="615"/>
                    <a:pt x="7430" y="615"/>
                    <a:pt x="7430" y="615"/>
                  </a:cubicBezTo>
                  <a:cubicBezTo>
                    <a:pt x="7420" y="621"/>
                    <a:pt x="7420" y="621"/>
                    <a:pt x="7420" y="621"/>
                  </a:cubicBezTo>
                  <a:cubicBezTo>
                    <a:pt x="7421" y="626"/>
                    <a:pt x="7421" y="626"/>
                    <a:pt x="7421" y="626"/>
                  </a:cubicBezTo>
                  <a:cubicBezTo>
                    <a:pt x="7398" y="627"/>
                    <a:pt x="7398" y="627"/>
                    <a:pt x="7398" y="627"/>
                  </a:cubicBezTo>
                  <a:cubicBezTo>
                    <a:pt x="7395" y="636"/>
                    <a:pt x="7395" y="636"/>
                    <a:pt x="7395" y="636"/>
                  </a:cubicBezTo>
                  <a:cubicBezTo>
                    <a:pt x="7412" y="645"/>
                    <a:pt x="7412" y="645"/>
                    <a:pt x="7412" y="645"/>
                  </a:cubicBezTo>
                  <a:cubicBezTo>
                    <a:pt x="7410" y="655"/>
                    <a:pt x="7410" y="655"/>
                    <a:pt x="7410" y="655"/>
                  </a:cubicBezTo>
                  <a:cubicBezTo>
                    <a:pt x="7388" y="647"/>
                    <a:pt x="7388" y="647"/>
                    <a:pt x="7388" y="647"/>
                  </a:cubicBezTo>
                  <a:cubicBezTo>
                    <a:pt x="7385" y="657"/>
                    <a:pt x="7385" y="657"/>
                    <a:pt x="7385" y="657"/>
                  </a:cubicBezTo>
                  <a:cubicBezTo>
                    <a:pt x="7403" y="662"/>
                    <a:pt x="7403" y="662"/>
                    <a:pt x="7403" y="662"/>
                  </a:cubicBezTo>
                  <a:cubicBezTo>
                    <a:pt x="7403" y="662"/>
                    <a:pt x="7382" y="663"/>
                    <a:pt x="7375" y="664"/>
                  </a:cubicBezTo>
                  <a:cubicBezTo>
                    <a:pt x="7368" y="665"/>
                    <a:pt x="7372" y="675"/>
                    <a:pt x="7372" y="675"/>
                  </a:cubicBezTo>
                  <a:cubicBezTo>
                    <a:pt x="7372" y="675"/>
                    <a:pt x="7359" y="668"/>
                    <a:pt x="7351" y="674"/>
                  </a:cubicBezTo>
                  <a:cubicBezTo>
                    <a:pt x="7343" y="680"/>
                    <a:pt x="7336" y="685"/>
                    <a:pt x="7341" y="688"/>
                  </a:cubicBezTo>
                  <a:cubicBezTo>
                    <a:pt x="7346" y="691"/>
                    <a:pt x="7335" y="697"/>
                    <a:pt x="7335" y="697"/>
                  </a:cubicBezTo>
                  <a:cubicBezTo>
                    <a:pt x="7335" y="697"/>
                    <a:pt x="7328" y="706"/>
                    <a:pt x="7331" y="707"/>
                  </a:cubicBezTo>
                  <a:cubicBezTo>
                    <a:pt x="7334" y="708"/>
                    <a:pt x="7354" y="709"/>
                    <a:pt x="7354" y="709"/>
                  </a:cubicBezTo>
                  <a:cubicBezTo>
                    <a:pt x="7347" y="717"/>
                    <a:pt x="7347" y="717"/>
                    <a:pt x="7347" y="717"/>
                  </a:cubicBezTo>
                  <a:cubicBezTo>
                    <a:pt x="7324" y="713"/>
                    <a:pt x="7324" y="713"/>
                    <a:pt x="7324" y="713"/>
                  </a:cubicBezTo>
                  <a:cubicBezTo>
                    <a:pt x="7324" y="713"/>
                    <a:pt x="7311" y="715"/>
                    <a:pt x="7311" y="723"/>
                  </a:cubicBezTo>
                  <a:cubicBezTo>
                    <a:pt x="7311" y="731"/>
                    <a:pt x="7321" y="737"/>
                    <a:pt x="7317" y="740"/>
                  </a:cubicBezTo>
                  <a:cubicBezTo>
                    <a:pt x="7313" y="743"/>
                    <a:pt x="7309" y="743"/>
                    <a:pt x="7304" y="743"/>
                  </a:cubicBezTo>
                  <a:cubicBezTo>
                    <a:pt x="7299" y="743"/>
                    <a:pt x="7293" y="744"/>
                    <a:pt x="7295" y="751"/>
                  </a:cubicBezTo>
                  <a:cubicBezTo>
                    <a:pt x="7297" y="758"/>
                    <a:pt x="7305" y="762"/>
                    <a:pt x="7305" y="762"/>
                  </a:cubicBezTo>
                  <a:cubicBezTo>
                    <a:pt x="7305" y="762"/>
                    <a:pt x="7311" y="773"/>
                    <a:pt x="7304" y="774"/>
                  </a:cubicBezTo>
                  <a:cubicBezTo>
                    <a:pt x="7297" y="775"/>
                    <a:pt x="7290" y="774"/>
                    <a:pt x="7287" y="774"/>
                  </a:cubicBezTo>
                  <a:cubicBezTo>
                    <a:pt x="7284" y="774"/>
                    <a:pt x="7281" y="775"/>
                    <a:pt x="7278" y="779"/>
                  </a:cubicBezTo>
                  <a:cubicBezTo>
                    <a:pt x="7275" y="783"/>
                    <a:pt x="7275" y="790"/>
                    <a:pt x="7275" y="790"/>
                  </a:cubicBezTo>
                  <a:cubicBezTo>
                    <a:pt x="7275" y="790"/>
                    <a:pt x="7277" y="797"/>
                    <a:pt x="7270" y="797"/>
                  </a:cubicBezTo>
                  <a:cubicBezTo>
                    <a:pt x="7263" y="797"/>
                    <a:pt x="7260" y="790"/>
                    <a:pt x="7254" y="791"/>
                  </a:cubicBezTo>
                  <a:cubicBezTo>
                    <a:pt x="7248" y="792"/>
                    <a:pt x="7250" y="792"/>
                    <a:pt x="7245" y="796"/>
                  </a:cubicBezTo>
                  <a:cubicBezTo>
                    <a:pt x="7240" y="800"/>
                    <a:pt x="7240" y="801"/>
                    <a:pt x="7237" y="805"/>
                  </a:cubicBezTo>
                  <a:cubicBezTo>
                    <a:pt x="7234" y="809"/>
                    <a:pt x="7225" y="809"/>
                    <a:pt x="7225" y="809"/>
                  </a:cubicBezTo>
                  <a:cubicBezTo>
                    <a:pt x="7225" y="809"/>
                    <a:pt x="7221" y="810"/>
                    <a:pt x="7218" y="816"/>
                  </a:cubicBezTo>
                  <a:cubicBezTo>
                    <a:pt x="7215" y="822"/>
                    <a:pt x="7224" y="826"/>
                    <a:pt x="7219" y="829"/>
                  </a:cubicBezTo>
                  <a:cubicBezTo>
                    <a:pt x="7214" y="832"/>
                    <a:pt x="7213" y="834"/>
                    <a:pt x="7208" y="834"/>
                  </a:cubicBezTo>
                  <a:cubicBezTo>
                    <a:pt x="7203" y="834"/>
                    <a:pt x="7194" y="829"/>
                    <a:pt x="7191" y="829"/>
                  </a:cubicBezTo>
                  <a:cubicBezTo>
                    <a:pt x="7188" y="829"/>
                    <a:pt x="7195" y="821"/>
                    <a:pt x="7182" y="828"/>
                  </a:cubicBezTo>
                  <a:cubicBezTo>
                    <a:pt x="7169" y="835"/>
                    <a:pt x="7168" y="836"/>
                    <a:pt x="7164" y="835"/>
                  </a:cubicBezTo>
                  <a:cubicBezTo>
                    <a:pt x="7160" y="834"/>
                    <a:pt x="7155" y="832"/>
                    <a:pt x="7156" y="842"/>
                  </a:cubicBezTo>
                  <a:cubicBezTo>
                    <a:pt x="7157" y="852"/>
                    <a:pt x="7163" y="851"/>
                    <a:pt x="7164" y="854"/>
                  </a:cubicBezTo>
                  <a:cubicBezTo>
                    <a:pt x="7165" y="857"/>
                    <a:pt x="7168" y="865"/>
                    <a:pt x="7160" y="861"/>
                  </a:cubicBezTo>
                  <a:cubicBezTo>
                    <a:pt x="7152" y="857"/>
                    <a:pt x="7151" y="848"/>
                    <a:pt x="7146" y="851"/>
                  </a:cubicBezTo>
                  <a:cubicBezTo>
                    <a:pt x="7141" y="854"/>
                    <a:pt x="7135" y="861"/>
                    <a:pt x="7140" y="864"/>
                  </a:cubicBezTo>
                  <a:cubicBezTo>
                    <a:pt x="7145" y="867"/>
                    <a:pt x="7160" y="863"/>
                    <a:pt x="7157" y="869"/>
                  </a:cubicBezTo>
                  <a:cubicBezTo>
                    <a:pt x="7154" y="875"/>
                    <a:pt x="7164" y="878"/>
                    <a:pt x="7149" y="876"/>
                  </a:cubicBezTo>
                  <a:cubicBezTo>
                    <a:pt x="7134" y="874"/>
                    <a:pt x="7130" y="874"/>
                    <a:pt x="7130" y="874"/>
                  </a:cubicBezTo>
                  <a:cubicBezTo>
                    <a:pt x="7130" y="874"/>
                    <a:pt x="7132" y="868"/>
                    <a:pt x="7126" y="873"/>
                  </a:cubicBezTo>
                  <a:cubicBezTo>
                    <a:pt x="7120" y="878"/>
                    <a:pt x="7122" y="887"/>
                    <a:pt x="7122" y="887"/>
                  </a:cubicBezTo>
                  <a:cubicBezTo>
                    <a:pt x="7122" y="887"/>
                    <a:pt x="7093" y="874"/>
                    <a:pt x="7097" y="882"/>
                  </a:cubicBezTo>
                  <a:cubicBezTo>
                    <a:pt x="7101" y="890"/>
                    <a:pt x="7123" y="895"/>
                    <a:pt x="7123" y="895"/>
                  </a:cubicBezTo>
                  <a:cubicBezTo>
                    <a:pt x="7110" y="909"/>
                    <a:pt x="7110" y="909"/>
                    <a:pt x="7110" y="909"/>
                  </a:cubicBezTo>
                  <a:cubicBezTo>
                    <a:pt x="7110" y="909"/>
                    <a:pt x="7111" y="899"/>
                    <a:pt x="7104" y="898"/>
                  </a:cubicBezTo>
                  <a:cubicBezTo>
                    <a:pt x="7097" y="897"/>
                    <a:pt x="7091" y="905"/>
                    <a:pt x="7091" y="905"/>
                  </a:cubicBezTo>
                  <a:cubicBezTo>
                    <a:pt x="7078" y="894"/>
                    <a:pt x="7078" y="894"/>
                    <a:pt x="7078" y="894"/>
                  </a:cubicBezTo>
                  <a:cubicBezTo>
                    <a:pt x="7072" y="903"/>
                    <a:pt x="7072" y="903"/>
                    <a:pt x="7072" y="903"/>
                  </a:cubicBezTo>
                  <a:cubicBezTo>
                    <a:pt x="7081" y="906"/>
                    <a:pt x="7081" y="906"/>
                    <a:pt x="7081" y="906"/>
                  </a:cubicBezTo>
                  <a:cubicBezTo>
                    <a:pt x="7058" y="905"/>
                    <a:pt x="7058" y="905"/>
                    <a:pt x="7058" y="905"/>
                  </a:cubicBezTo>
                  <a:cubicBezTo>
                    <a:pt x="7057" y="914"/>
                    <a:pt x="7057" y="914"/>
                    <a:pt x="7057" y="914"/>
                  </a:cubicBezTo>
                  <a:cubicBezTo>
                    <a:pt x="7090" y="916"/>
                    <a:pt x="7090" y="916"/>
                    <a:pt x="7090" y="916"/>
                  </a:cubicBezTo>
                  <a:cubicBezTo>
                    <a:pt x="7073" y="921"/>
                    <a:pt x="7073" y="921"/>
                    <a:pt x="7073" y="921"/>
                  </a:cubicBezTo>
                  <a:cubicBezTo>
                    <a:pt x="7049" y="915"/>
                    <a:pt x="7049" y="915"/>
                    <a:pt x="7049" y="915"/>
                  </a:cubicBezTo>
                  <a:cubicBezTo>
                    <a:pt x="7049" y="915"/>
                    <a:pt x="7041" y="922"/>
                    <a:pt x="7041" y="928"/>
                  </a:cubicBezTo>
                  <a:cubicBezTo>
                    <a:pt x="7041" y="934"/>
                    <a:pt x="7059" y="935"/>
                    <a:pt x="7059" y="935"/>
                  </a:cubicBezTo>
                  <a:cubicBezTo>
                    <a:pt x="7048" y="940"/>
                    <a:pt x="7048" y="940"/>
                    <a:pt x="7048" y="940"/>
                  </a:cubicBezTo>
                  <a:cubicBezTo>
                    <a:pt x="7048" y="940"/>
                    <a:pt x="7039" y="947"/>
                    <a:pt x="7048" y="948"/>
                  </a:cubicBezTo>
                  <a:cubicBezTo>
                    <a:pt x="7057" y="949"/>
                    <a:pt x="7080" y="949"/>
                    <a:pt x="7080" y="949"/>
                  </a:cubicBezTo>
                  <a:cubicBezTo>
                    <a:pt x="7090" y="955"/>
                    <a:pt x="7090" y="955"/>
                    <a:pt x="7090" y="955"/>
                  </a:cubicBezTo>
                  <a:cubicBezTo>
                    <a:pt x="7101" y="947"/>
                    <a:pt x="7101" y="947"/>
                    <a:pt x="7101" y="947"/>
                  </a:cubicBezTo>
                  <a:cubicBezTo>
                    <a:pt x="7109" y="955"/>
                    <a:pt x="7109" y="955"/>
                    <a:pt x="7109" y="955"/>
                  </a:cubicBezTo>
                  <a:cubicBezTo>
                    <a:pt x="7127" y="946"/>
                    <a:pt x="7127" y="946"/>
                    <a:pt x="7127" y="946"/>
                  </a:cubicBezTo>
                  <a:cubicBezTo>
                    <a:pt x="7127" y="946"/>
                    <a:pt x="7124" y="959"/>
                    <a:pt x="7118" y="959"/>
                  </a:cubicBezTo>
                  <a:cubicBezTo>
                    <a:pt x="7112" y="959"/>
                    <a:pt x="7100" y="958"/>
                    <a:pt x="7100" y="958"/>
                  </a:cubicBezTo>
                  <a:cubicBezTo>
                    <a:pt x="7082" y="959"/>
                    <a:pt x="7082" y="959"/>
                    <a:pt x="7082" y="959"/>
                  </a:cubicBezTo>
                  <a:cubicBezTo>
                    <a:pt x="7082" y="959"/>
                    <a:pt x="7066" y="957"/>
                    <a:pt x="7063" y="957"/>
                  </a:cubicBezTo>
                  <a:cubicBezTo>
                    <a:pt x="7060" y="957"/>
                    <a:pt x="7038" y="959"/>
                    <a:pt x="7038" y="959"/>
                  </a:cubicBezTo>
                  <a:cubicBezTo>
                    <a:pt x="7038" y="959"/>
                    <a:pt x="7040" y="971"/>
                    <a:pt x="7045" y="973"/>
                  </a:cubicBezTo>
                  <a:cubicBezTo>
                    <a:pt x="7050" y="975"/>
                    <a:pt x="7058" y="975"/>
                    <a:pt x="7058" y="975"/>
                  </a:cubicBezTo>
                  <a:cubicBezTo>
                    <a:pt x="7058" y="975"/>
                    <a:pt x="7045" y="985"/>
                    <a:pt x="7051" y="992"/>
                  </a:cubicBezTo>
                  <a:cubicBezTo>
                    <a:pt x="7057" y="999"/>
                    <a:pt x="7067" y="1000"/>
                    <a:pt x="7067" y="1000"/>
                  </a:cubicBezTo>
                  <a:cubicBezTo>
                    <a:pt x="7085" y="989"/>
                    <a:pt x="7085" y="989"/>
                    <a:pt x="7085" y="989"/>
                  </a:cubicBezTo>
                  <a:cubicBezTo>
                    <a:pt x="7103" y="985"/>
                    <a:pt x="7103" y="985"/>
                    <a:pt x="7103" y="985"/>
                  </a:cubicBezTo>
                  <a:cubicBezTo>
                    <a:pt x="7097" y="999"/>
                    <a:pt x="7097" y="999"/>
                    <a:pt x="7097" y="999"/>
                  </a:cubicBezTo>
                  <a:cubicBezTo>
                    <a:pt x="7087" y="996"/>
                    <a:pt x="7087" y="996"/>
                    <a:pt x="7087" y="996"/>
                  </a:cubicBezTo>
                  <a:cubicBezTo>
                    <a:pt x="7081" y="1008"/>
                    <a:pt x="7081" y="1008"/>
                    <a:pt x="7081" y="1008"/>
                  </a:cubicBezTo>
                  <a:cubicBezTo>
                    <a:pt x="7081" y="1008"/>
                    <a:pt x="7051" y="1002"/>
                    <a:pt x="7055" y="1009"/>
                  </a:cubicBezTo>
                  <a:cubicBezTo>
                    <a:pt x="7059" y="1016"/>
                    <a:pt x="7068" y="1019"/>
                    <a:pt x="7068" y="1019"/>
                  </a:cubicBezTo>
                  <a:cubicBezTo>
                    <a:pt x="7052" y="1027"/>
                    <a:pt x="7052" y="1027"/>
                    <a:pt x="7052" y="1027"/>
                  </a:cubicBezTo>
                  <a:cubicBezTo>
                    <a:pt x="7040" y="1027"/>
                    <a:pt x="7040" y="1027"/>
                    <a:pt x="7040" y="1027"/>
                  </a:cubicBezTo>
                  <a:cubicBezTo>
                    <a:pt x="7040" y="1027"/>
                    <a:pt x="7042" y="1039"/>
                    <a:pt x="7045" y="1039"/>
                  </a:cubicBezTo>
                  <a:cubicBezTo>
                    <a:pt x="7048" y="1039"/>
                    <a:pt x="7080" y="1040"/>
                    <a:pt x="7080" y="1040"/>
                  </a:cubicBezTo>
                  <a:cubicBezTo>
                    <a:pt x="7071" y="1054"/>
                    <a:pt x="7071" y="1054"/>
                    <a:pt x="7071" y="1054"/>
                  </a:cubicBezTo>
                  <a:cubicBezTo>
                    <a:pt x="7079" y="1056"/>
                    <a:pt x="7079" y="1056"/>
                    <a:pt x="7079" y="1056"/>
                  </a:cubicBezTo>
                  <a:cubicBezTo>
                    <a:pt x="7074" y="1068"/>
                    <a:pt x="7074" y="1068"/>
                    <a:pt x="7074" y="1068"/>
                  </a:cubicBezTo>
                  <a:cubicBezTo>
                    <a:pt x="7074" y="1068"/>
                    <a:pt x="7048" y="1055"/>
                    <a:pt x="7049" y="1063"/>
                  </a:cubicBezTo>
                  <a:cubicBezTo>
                    <a:pt x="7050" y="1071"/>
                    <a:pt x="7061" y="1082"/>
                    <a:pt x="7061" y="1082"/>
                  </a:cubicBezTo>
                  <a:cubicBezTo>
                    <a:pt x="7093" y="1096"/>
                    <a:pt x="7093" y="1096"/>
                    <a:pt x="7093" y="1096"/>
                  </a:cubicBezTo>
                  <a:cubicBezTo>
                    <a:pt x="7093" y="1096"/>
                    <a:pt x="7086" y="1101"/>
                    <a:pt x="7093" y="1104"/>
                  </a:cubicBezTo>
                  <a:cubicBezTo>
                    <a:pt x="7100" y="1107"/>
                    <a:pt x="7121" y="1102"/>
                    <a:pt x="7121" y="1102"/>
                  </a:cubicBezTo>
                  <a:cubicBezTo>
                    <a:pt x="7121" y="1102"/>
                    <a:pt x="7124" y="1111"/>
                    <a:pt x="7141" y="1105"/>
                  </a:cubicBezTo>
                  <a:cubicBezTo>
                    <a:pt x="7158" y="1099"/>
                    <a:pt x="7186" y="1074"/>
                    <a:pt x="7186" y="1074"/>
                  </a:cubicBezTo>
                  <a:cubicBezTo>
                    <a:pt x="7210" y="1055"/>
                    <a:pt x="7210" y="1055"/>
                    <a:pt x="7210" y="1055"/>
                  </a:cubicBezTo>
                  <a:cubicBezTo>
                    <a:pt x="7210" y="1055"/>
                    <a:pt x="7221" y="1060"/>
                    <a:pt x="7231" y="1051"/>
                  </a:cubicBezTo>
                  <a:cubicBezTo>
                    <a:pt x="7241" y="1042"/>
                    <a:pt x="7231" y="1023"/>
                    <a:pt x="7231" y="1023"/>
                  </a:cubicBezTo>
                  <a:cubicBezTo>
                    <a:pt x="7243" y="1021"/>
                    <a:pt x="7243" y="1021"/>
                    <a:pt x="7243" y="1021"/>
                  </a:cubicBezTo>
                  <a:cubicBezTo>
                    <a:pt x="7243" y="1021"/>
                    <a:pt x="7230" y="1038"/>
                    <a:pt x="7245" y="1043"/>
                  </a:cubicBezTo>
                  <a:cubicBezTo>
                    <a:pt x="7260" y="1048"/>
                    <a:pt x="7271" y="1050"/>
                    <a:pt x="7271" y="1050"/>
                  </a:cubicBezTo>
                  <a:cubicBezTo>
                    <a:pt x="7273" y="1091"/>
                    <a:pt x="7273" y="1091"/>
                    <a:pt x="7273" y="1091"/>
                  </a:cubicBezTo>
                  <a:cubicBezTo>
                    <a:pt x="7273" y="1091"/>
                    <a:pt x="7287" y="1080"/>
                    <a:pt x="7294" y="1092"/>
                  </a:cubicBezTo>
                  <a:cubicBezTo>
                    <a:pt x="7301" y="1104"/>
                    <a:pt x="7290" y="1096"/>
                    <a:pt x="7290" y="1096"/>
                  </a:cubicBezTo>
                  <a:cubicBezTo>
                    <a:pt x="7290" y="1096"/>
                    <a:pt x="7285" y="1130"/>
                    <a:pt x="7289" y="1134"/>
                  </a:cubicBezTo>
                  <a:cubicBezTo>
                    <a:pt x="7293" y="1138"/>
                    <a:pt x="7305" y="1143"/>
                    <a:pt x="7305" y="1143"/>
                  </a:cubicBezTo>
                  <a:cubicBezTo>
                    <a:pt x="7305" y="1143"/>
                    <a:pt x="7314" y="1160"/>
                    <a:pt x="7320" y="1167"/>
                  </a:cubicBezTo>
                  <a:cubicBezTo>
                    <a:pt x="7326" y="1174"/>
                    <a:pt x="7337" y="1178"/>
                    <a:pt x="7337" y="1178"/>
                  </a:cubicBezTo>
                  <a:cubicBezTo>
                    <a:pt x="7336" y="1186"/>
                    <a:pt x="7336" y="1186"/>
                    <a:pt x="7336" y="1186"/>
                  </a:cubicBezTo>
                  <a:cubicBezTo>
                    <a:pt x="7324" y="1188"/>
                    <a:pt x="7324" y="1188"/>
                    <a:pt x="7324" y="1188"/>
                  </a:cubicBezTo>
                  <a:cubicBezTo>
                    <a:pt x="7324" y="1188"/>
                    <a:pt x="7322" y="1196"/>
                    <a:pt x="7323" y="1202"/>
                  </a:cubicBezTo>
                  <a:cubicBezTo>
                    <a:pt x="7324" y="1208"/>
                    <a:pt x="7339" y="1221"/>
                    <a:pt x="7339" y="1221"/>
                  </a:cubicBezTo>
                  <a:cubicBezTo>
                    <a:pt x="7339" y="1221"/>
                    <a:pt x="7335" y="1234"/>
                    <a:pt x="7340" y="1237"/>
                  </a:cubicBezTo>
                  <a:cubicBezTo>
                    <a:pt x="7345" y="1240"/>
                    <a:pt x="7365" y="1238"/>
                    <a:pt x="7365" y="1238"/>
                  </a:cubicBezTo>
                  <a:cubicBezTo>
                    <a:pt x="7365" y="1238"/>
                    <a:pt x="7393" y="1245"/>
                    <a:pt x="7392" y="1236"/>
                  </a:cubicBezTo>
                  <a:cubicBezTo>
                    <a:pt x="7391" y="1227"/>
                    <a:pt x="7391" y="1212"/>
                    <a:pt x="7391" y="1212"/>
                  </a:cubicBezTo>
                  <a:cubicBezTo>
                    <a:pt x="7403" y="1206"/>
                    <a:pt x="7403" y="1206"/>
                    <a:pt x="7403" y="1206"/>
                  </a:cubicBezTo>
                  <a:cubicBezTo>
                    <a:pt x="7404" y="1196"/>
                    <a:pt x="7404" y="1196"/>
                    <a:pt x="7404" y="1196"/>
                  </a:cubicBezTo>
                  <a:cubicBezTo>
                    <a:pt x="7447" y="1199"/>
                    <a:pt x="7447" y="1199"/>
                    <a:pt x="7447" y="1199"/>
                  </a:cubicBezTo>
                  <a:cubicBezTo>
                    <a:pt x="7456" y="1204"/>
                    <a:pt x="7456" y="1204"/>
                    <a:pt x="7456" y="1204"/>
                  </a:cubicBezTo>
                  <a:cubicBezTo>
                    <a:pt x="7470" y="1162"/>
                    <a:pt x="7470" y="1162"/>
                    <a:pt x="7470" y="1162"/>
                  </a:cubicBezTo>
                  <a:cubicBezTo>
                    <a:pt x="7470" y="1162"/>
                    <a:pt x="7479" y="1136"/>
                    <a:pt x="7477" y="1130"/>
                  </a:cubicBezTo>
                  <a:cubicBezTo>
                    <a:pt x="7475" y="1124"/>
                    <a:pt x="7469" y="1113"/>
                    <a:pt x="7469" y="1113"/>
                  </a:cubicBezTo>
                  <a:cubicBezTo>
                    <a:pt x="7469" y="1113"/>
                    <a:pt x="7490" y="1110"/>
                    <a:pt x="7488" y="1099"/>
                  </a:cubicBezTo>
                  <a:cubicBezTo>
                    <a:pt x="7486" y="1088"/>
                    <a:pt x="7467" y="1088"/>
                    <a:pt x="7467" y="1088"/>
                  </a:cubicBezTo>
                  <a:cubicBezTo>
                    <a:pt x="7480" y="1083"/>
                    <a:pt x="7480" y="1083"/>
                    <a:pt x="7480" y="1083"/>
                  </a:cubicBezTo>
                  <a:cubicBezTo>
                    <a:pt x="7471" y="1079"/>
                    <a:pt x="7471" y="1079"/>
                    <a:pt x="7471" y="1079"/>
                  </a:cubicBezTo>
                  <a:cubicBezTo>
                    <a:pt x="7471" y="1079"/>
                    <a:pt x="7505" y="1081"/>
                    <a:pt x="7508" y="1070"/>
                  </a:cubicBezTo>
                  <a:cubicBezTo>
                    <a:pt x="7511" y="1059"/>
                    <a:pt x="7516" y="1053"/>
                    <a:pt x="7516" y="1053"/>
                  </a:cubicBezTo>
                  <a:cubicBezTo>
                    <a:pt x="7516" y="1053"/>
                    <a:pt x="7527" y="1071"/>
                    <a:pt x="7537" y="1059"/>
                  </a:cubicBezTo>
                  <a:cubicBezTo>
                    <a:pt x="7547" y="1047"/>
                    <a:pt x="7541" y="1037"/>
                    <a:pt x="7541" y="1037"/>
                  </a:cubicBezTo>
                  <a:cubicBezTo>
                    <a:pt x="7541" y="1037"/>
                    <a:pt x="7568" y="1032"/>
                    <a:pt x="7561" y="1018"/>
                  </a:cubicBezTo>
                  <a:cubicBezTo>
                    <a:pt x="7554" y="1004"/>
                    <a:pt x="7542" y="1001"/>
                    <a:pt x="7542" y="1001"/>
                  </a:cubicBezTo>
                  <a:cubicBezTo>
                    <a:pt x="7542" y="990"/>
                    <a:pt x="7542" y="990"/>
                    <a:pt x="7542" y="990"/>
                  </a:cubicBezTo>
                  <a:cubicBezTo>
                    <a:pt x="7518" y="980"/>
                    <a:pt x="7518" y="980"/>
                    <a:pt x="7518" y="980"/>
                  </a:cubicBezTo>
                  <a:cubicBezTo>
                    <a:pt x="7518" y="980"/>
                    <a:pt x="7507" y="987"/>
                    <a:pt x="7499" y="980"/>
                  </a:cubicBezTo>
                  <a:cubicBezTo>
                    <a:pt x="7491" y="973"/>
                    <a:pt x="7488" y="931"/>
                    <a:pt x="7488" y="931"/>
                  </a:cubicBezTo>
                  <a:cubicBezTo>
                    <a:pt x="7488" y="931"/>
                    <a:pt x="7499" y="921"/>
                    <a:pt x="7500" y="910"/>
                  </a:cubicBezTo>
                  <a:cubicBezTo>
                    <a:pt x="7501" y="899"/>
                    <a:pt x="7490" y="889"/>
                    <a:pt x="7490" y="889"/>
                  </a:cubicBezTo>
                  <a:cubicBezTo>
                    <a:pt x="7490" y="889"/>
                    <a:pt x="7504" y="892"/>
                    <a:pt x="7508" y="884"/>
                  </a:cubicBezTo>
                  <a:cubicBezTo>
                    <a:pt x="7512" y="876"/>
                    <a:pt x="7503" y="864"/>
                    <a:pt x="7503" y="864"/>
                  </a:cubicBezTo>
                  <a:cubicBezTo>
                    <a:pt x="7503" y="864"/>
                    <a:pt x="7520" y="873"/>
                    <a:pt x="7525" y="868"/>
                  </a:cubicBezTo>
                  <a:cubicBezTo>
                    <a:pt x="7530" y="863"/>
                    <a:pt x="7542" y="851"/>
                    <a:pt x="7542" y="851"/>
                  </a:cubicBezTo>
                  <a:cubicBezTo>
                    <a:pt x="7562" y="854"/>
                    <a:pt x="7562" y="854"/>
                    <a:pt x="7562" y="854"/>
                  </a:cubicBezTo>
                  <a:cubicBezTo>
                    <a:pt x="7570" y="839"/>
                    <a:pt x="7570" y="839"/>
                    <a:pt x="7570" y="839"/>
                  </a:cubicBezTo>
                  <a:cubicBezTo>
                    <a:pt x="7570" y="839"/>
                    <a:pt x="7601" y="840"/>
                    <a:pt x="7611" y="830"/>
                  </a:cubicBezTo>
                  <a:cubicBezTo>
                    <a:pt x="7621" y="820"/>
                    <a:pt x="7635" y="794"/>
                    <a:pt x="7635" y="794"/>
                  </a:cubicBezTo>
                  <a:cubicBezTo>
                    <a:pt x="7623" y="779"/>
                    <a:pt x="7623" y="779"/>
                    <a:pt x="7623" y="779"/>
                  </a:cubicBezTo>
                  <a:cubicBezTo>
                    <a:pt x="7643" y="756"/>
                    <a:pt x="7643" y="756"/>
                    <a:pt x="7643" y="756"/>
                  </a:cubicBezTo>
                  <a:cubicBezTo>
                    <a:pt x="7632" y="743"/>
                    <a:pt x="7632" y="743"/>
                    <a:pt x="7632" y="743"/>
                  </a:cubicBezTo>
                  <a:cubicBezTo>
                    <a:pt x="7657" y="737"/>
                    <a:pt x="7657" y="737"/>
                    <a:pt x="7657" y="737"/>
                  </a:cubicBezTo>
                  <a:cubicBezTo>
                    <a:pt x="7667" y="725"/>
                    <a:pt x="7667" y="725"/>
                    <a:pt x="7667" y="725"/>
                  </a:cubicBezTo>
                  <a:cubicBezTo>
                    <a:pt x="7720" y="727"/>
                    <a:pt x="7720" y="727"/>
                    <a:pt x="7720" y="727"/>
                  </a:cubicBezTo>
                  <a:cubicBezTo>
                    <a:pt x="7728" y="740"/>
                    <a:pt x="7728" y="740"/>
                    <a:pt x="7728" y="740"/>
                  </a:cubicBezTo>
                  <a:cubicBezTo>
                    <a:pt x="7730" y="738"/>
                    <a:pt x="7730" y="738"/>
                    <a:pt x="7730" y="738"/>
                  </a:cubicBezTo>
                  <a:cubicBezTo>
                    <a:pt x="7740" y="732"/>
                    <a:pt x="7740" y="732"/>
                    <a:pt x="7740" y="732"/>
                  </a:cubicBezTo>
                  <a:cubicBezTo>
                    <a:pt x="7740" y="732"/>
                    <a:pt x="7769" y="739"/>
                    <a:pt x="7771" y="751"/>
                  </a:cubicBezTo>
                  <a:cubicBezTo>
                    <a:pt x="7773" y="763"/>
                    <a:pt x="7774" y="773"/>
                    <a:pt x="7774" y="773"/>
                  </a:cubicBezTo>
                  <a:cubicBezTo>
                    <a:pt x="7774" y="773"/>
                    <a:pt x="7762" y="767"/>
                    <a:pt x="7759" y="768"/>
                  </a:cubicBezTo>
                  <a:cubicBezTo>
                    <a:pt x="7756" y="769"/>
                    <a:pt x="7734" y="794"/>
                    <a:pt x="7734" y="794"/>
                  </a:cubicBezTo>
                  <a:cubicBezTo>
                    <a:pt x="7711" y="817"/>
                    <a:pt x="7711" y="817"/>
                    <a:pt x="7711" y="817"/>
                  </a:cubicBezTo>
                  <a:cubicBezTo>
                    <a:pt x="7688" y="822"/>
                    <a:pt x="7688" y="822"/>
                    <a:pt x="7688" y="822"/>
                  </a:cubicBezTo>
                  <a:cubicBezTo>
                    <a:pt x="7688" y="822"/>
                    <a:pt x="7673" y="834"/>
                    <a:pt x="7673" y="843"/>
                  </a:cubicBezTo>
                  <a:cubicBezTo>
                    <a:pt x="7673" y="852"/>
                    <a:pt x="7653" y="852"/>
                    <a:pt x="7653" y="852"/>
                  </a:cubicBezTo>
                  <a:cubicBezTo>
                    <a:pt x="7637" y="870"/>
                    <a:pt x="7637" y="870"/>
                    <a:pt x="7637" y="870"/>
                  </a:cubicBezTo>
                  <a:cubicBezTo>
                    <a:pt x="7637" y="870"/>
                    <a:pt x="7633" y="882"/>
                    <a:pt x="7635" y="886"/>
                  </a:cubicBezTo>
                  <a:cubicBezTo>
                    <a:pt x="7637" y="890"/>
                    <a:pt x="7641" y="898"/>
                    <a:pt x="7641" y="898"/>
                  </a:cubicBezTo>
                  <a:cubicBezTo>
                    <a:pt x="7639" y="914"/>
                    <a:pt x="7639" y="914"/>
                    <a:pt x="7639" y="914"/>
                  </a:cubicBezTo>
                  <a:cubicBezTo>
                    <a:pt x="7654" y="927"/>
                    <a:pt x="7654" y="927"/>
                    <a:pt x="7654" y="927"/>
                  </a:cubicBezTo>
                  <a:cubicBezTo>
                    <a:pt x="7654" y="927"/>
                    <a:pt x="7644" y="959"/>
                    <a:pt x="7648" y="968"/>
                  </a:cubicBezTo>
                  <a:cubicBezTo>
                    <a:pt x="7652" y="977"/>
                    <a:pt x="7663" y="986"/>
                    <a:pt x="7663" y="986"/>
                  </a:cubicBezTo>
                  <a:cubicBezTo>
                    <a:pt x="7678" y="997"/>
                    <a:pt x="7678" y="997"/>
                    <a:pt x="7678" y="997"/>
                  </a:cubicBezTo>
                  <a:cubicBezTo>
                    <a:pt x="7706" y="994"/>
                    <a:pt x="7706" y="994"/>
                    <a:pt x="7706" y="994"/>
                  </a:cubicBezTo>
                  <a:cubicBezTo>
                    <a:pt x="7706" y="994"/>
                    <a:pt x="7697" y="1010"/>
                    <a:pt x="7717" y="1012"/>
                  </a:cubicBezTo>
                  <a:cubicBezTo>
                    <a:pt x="7737" y="1014"/>
                    <a:pt x="7772" y="1009"/>
                    <a:pt x="7772" y="1009"/>
                  </a:cubicBezTo>
                  <a:cubicBezTo>
                    <a:pt x="7791" y="999"/>
                    <a:pt x="7791" y="999"/>
                    <a:pt x="7791" y="999"/>
                  </a:cubicBezTo>
                  <a:cubicBezTo>
                    <a:pt x="7814" y="999"/>
                    <a:pt x="7814" y="999"/>
                    <a:pt x="7814" y="999"/>
                  </a:cubicBezTo>
                  <a:cubicBezTo>
                    <a:pt x="7847" y="982"/>
                    <a:pt x="7847" y="982"/>
                    <a:pt x="7847" y="982"/>
                  </a:cubicBezTo>
                  <a:cubicBezTo>
                    <a:pt x="7896" y="985"/>
                    <a:pt x="7896" y="985"/>
                    <a:pt x="7896" y="985"/>
                  </a:cubicBezTo>
                  <a:cubicBezTo>
                    <a:pt x="7901" y="982"/>
                    <a:pt x="7901" y="982"/>
                    <a:pt x="7901" y="982"/>
                  </a:cubicBezTo>
                  <a:cubicBezTo>
                    <a:pt x="7921" y="971"/>
                    <a:pt x="7921" y="971"/>
                    <a:pt x="7921" y="971"/>
                  </a:cubicBezTo>
                  <a:cubicBezTo>
                    <a:pt x="7923" y="982"/>
                    <a:pt x="7923" y="982"/>
                    <a:pt x="7923" y="982"/>
                  </a:cubicBezTo>
                  <a:cubicBezTo>
                    <a:pt x="7923" y="982"/>
                    <a:pt x="7936" y="995"/>
                    <a:pt x="7942" y="998"/>
                  </a:cubicBezTo>
                  <a:cubicBezTo>
                    <a:pt x="7948" y="1001"/>
                    <a:pt x="7975" y="1001"/>
                    <a:pt x="7975" y="1001"/>
                  </a:cubicBezTo>
                  <a:cubicBezTo>
                    <a:pt x="7984" y="1013"/>
                    <a:pt x="7984" y="1013"/>
                    <a:pt x="7984" y="1013"/>
                  </a:cubicBezTo>
                  <a:cubicBezTo>
                    <a:pt x="7984" y="1013"/>
                    <a:pt x="7945" y="1004"/>
                    <a:pt x="7943" y="1010"/>
                  </a:cubicBezTo>
                  <a:cubicBezTo>
                    <a:pt x="7941" y="1016"/>
                    <a:pt x="7941" y="1020"/>
                    <a:pt x="7941" y="1020"/>
                  </a:cubicBezTo>
                  <a:cubicBezTo>
                    <a:pt x="7915" y="1021"/>
                    <a:pt x="7915" y="1021"/>
                    <a:pt x="7915" y="1021"/>
                  </a:cubicBezTo>
                  <a:cubicBezTo>
                    <a:pt x="7911" y="1039"/>
                    <a:pt x="7911" y="1039"/>
                    <a:pt x="7911" y="1039"/>
                  </a:cubicBezTo>
                  <a:cubicBezTo>
                    <a:pt x="7911" y="1039"/>
                    <a:pt x="7908" y="1038"/>
                    <a:pt x="7903" y="1037"/>
                  </a:cubicBezTo>
                  <a:cubicBezTo>
                    <a:pt x="7887" y="1034"/>
                    <a:pt x="7852" y="1028"/>
                    <a:pt x="7842" y="1027"/>
                  </a:cubicBezTo>
                  <a:cubicBezTo>
                    <a:pt x="7829" y="1026"/>
                    <a:pt x="7782" y="1032"/>
                    <a:pt x="7782" y="1032"/>
                  </a:cubicBezTo>
                  <a:cubicBezTo>
                    <a:pt x="7782" y="1032"/>
                    <a:pt x="7732" y="1050"/>
                    <a:pt x="7732" y="1057"/>
                  </a:cubicBezTo>
                  <a:cubicBezTo>
                    <a:pt x="7732" y="1064"/>
                    <a:pt x="7738" y="1082"/>
                    <a:pt x="7738" y="1082"/>
                  </a:cubicBezTo>
                  <a:cubicBezTo>
                    <a:pt x="7777" y="1087"/>
                    <a:pt x="7777" y="1087"/>
                    <a:pt x="7777" y="1087"/>
                  </a:cubicBezTo>
                  <a:cubicBezTo>
                    <a:pt x="7769" y="1113"/>
                    <a:pt x="7769" y="1113"/>
                    <a:pt x="7769" y="1113"/>
                  </a:cubicBezTo>
                  <a:cubicBezTo>
                    <a:pt x="7769" y="1113"/>
                    <a:pt x="7786" y="1156"/>
                    <a:pt x="7773" y="1156"/>
                  </a:cubicBezTo>
                  <a:cubicBezTo>
                    <a:pt x="7760" y="1156"/>
                    <a:pt x="7736" y="1153"/>
                    <a:pt x="7736" y="1153"/>
                  </a:cubicBezTo>
                  <a:cubicBezTo>
                    <a:pt x="7729" y="1138"/>
                    <a:pt x="7729" y="1138"/>
                    <a:pt x="7729" y="1138"/>
                  </a:cubicBezTo>
                  <a:cubicBezTo>
                    <a:pt x="7706" y="1119"/>
                    <a:pt x="7706" y="1119"/>
                    <a:pt x="7706" y="1119"/>
                  </a:cubicBezTo>
                  <a:cubicBezTo>
                    <a:pt x="7706" y="1119"/>
                    <a:pt x="7674" y="1124"/>
                    <a:pt x="7671" y="1131"/>
                  </a:cubicBezTo>
                  <a:cubicBezTo>
                    <a:pt x="7668" y="1138"/>
                    <a:pt x="7666" y="1147"/>
                    <a:pt x="7666" y="1147"/>
                  </a:cubicBezTo>
                  <a:cubicBezTo>
                    <a:pt x="7666" y="1147"/>
                    <a:pt x="7650" y="1165"/>
                    <a:pt x="7650" y="1170"/>
                  </a:cubicBezTo>
                  <a:cubicBezTo>
                    <a:pt x="7650" y="1175"/>
                    <a:pt x="7656" y="1205"/>
                    <a:pt x="7656" y="1205"/>
                  </a:cubicBezTo>
                  <a:cubicBezTo>
                    <a:pt x="7656" y="1205"/>
                    <a:pt x="7657" y="1240"/>
                    <a:pt x="7666" y="1242"/>
                  </a:cubicBezTo>
                  <a:cubicBezTo>
                    <a:pt x="7668" y="1242"/>
                    <a:pt x="7669" y="1244"/>
                    <a:pt x="7669" y="1246"/>
                  </a:cubicBezTo>
                  <a:cubicBezTo>
                    <a:pt x="7669" y="1251"/>
                    <a:pt x="7661" y="1260"/>
                    <a:pt x="7661" y="1260"/>
                  </a:cubicBezTo>
                  <a:cubicBezTo>
                    <a:pt x="7661" y="1260"/>
                    <a:pt x="7620" y="1255"/>
                    <a:pt x="7614" y="1262"/>
                  </a:cubicBezTo>
                  <a:cubicBezTo>
                    <a:pt x="7608" y="1269"/>
                    <a:pt x="7621" y="1278"/>
                    <a:pt x="7621" y="1278"/>
                  </a:cubicBezTo>
                  <a:cubicBezTo>
                    <a:pt x="7616" y="1287"/>
                    <a:pt x="7616" y="1287"/>
                    <a:pt x="7616" y="1287"/>
                  </a:cubicBezTo>
                  <a:cubicBezTo>
                    <a:pt x="7616" y="1287"/>
                    <a:pt x="7580" y="1291"/>
                    <a:pt x="7574" y="1290"/>
                  </a:cubicBezTo>
                  <a:cubicBezTo>
                    <a:pt x="7568" y="1289"/>
                    <a:pt x="7563" y="1272"/>
                    <a:pt x="7563" y="1272"/>
                  </a:cubicBezTo>
                  <a:cubicBezTo>
                    <a:pt x="7563" y="1272"/>
                    <a:pt x="7549" y="1268"/>
                    <a:pt x="7534" y="1268"/>
                  </a:cubicBezTo>
                  <a:cubicBezTo>
                    <a:pt x="7519" y="1268"/>
                    <a:pt x="7479" y="1285"/>
                    <a:pt x="7479" y="1285"/>
                  </a:cubicBezTo>
                  <a:cubicBezTo>
                    <a:pt x="7466" y="1296"/>
                    <a:pt x="7466" y="1296"/>
                    <a:pt x="7466" y="1296"/>
                  </a:cubicBezTo>
                  <a:cubicBezTo>
                    <a:pt x="7426" y="1301"/>
                    <a:pt x="7426" y="1301"/>
                    <a:pt x="7426" y="1301"/>
                  </a:cubicBezTo>
                  <a:cubicBezTo>
                    <a:pt x="7426" y="1301"/>
                    <a:pt x="7395" y="1312"/>
                    <a:pt x="7397" y="1316"/>
                  </a:cubicBezTo>
                  <a:cubicBezTo>
                    <a:pt x="7399" y="1320"/>
                    <a:pt x="7399" y="1330"/>
                    <a:pt x="7399" y="1330"/>
                  </a:cubicBezTo>
                  <a:cubicBezTo>
                    <a:pt x="7392" y="1326"/>
                    <a:pt x="7392" y="1326"/>
                    <a:pt x="7392" y="1326"/>
                  </a:cubicBezTo>
                  <a:cubicBezTo>
                    <a:pt x="7388" y="1324"/>
                    <a:pt x="7388" y="1324"/>
                    <a:pt x="7388" y="1324"/>
                  </a:cubicBezTo>
                  <a:cubicBezTo>
                    <a:pt x="7375" y="1319"/>
                    <a:pt x="7375" y="1319"/>
                    <a:pt x="7375" y="1319"/>
                  </a:cubicBezTo>
                  <a:cubicBezTo>
                    <a:pt x="7375" y="1319"/>
                    <a:pt x="7377" y="1314"/>
                    <a:pt x="7372" y="1308"/>
                  </a:cubicBezTo>
                  <a:cubicBezTo>
                    <a:pt x="7367" y="1302"/>
                    <a:pt x="7355" y="1305"/>
                    <a:pt x="7355" y="1305"/>
                  </a:cubicBezTo>
                  <a:cubicBezTo>
                    <a:pt x="7350" y="1299"/>
                    <a:pt x="7350" y="1299"/>
                    <a:pt x="7350" y="1299"/>
                  </a:cubicBezTo>
                  <a:cubicBezTo>
                    <a:pt x="7350" y="1299"/>
                    <a:pt x="7324" y="1287"/>
                    <a:pt x="7319" y="1290"/>
                  </a:cubicBezTo>
                  <a:cubicBezTo>
                    <a:pt x="7314" y="1293"/>
                    <a:pt x="7307" y="1300"/>
                    <a:pt x="7307" y="1300"/>
                  </a:cubicBezTo>
                  <a:cubicBezTo>
                    <a:pt x="7280" y="1299"/>
                    <a:pt x="7280" y="1299"/>
                    <a:pt x="7280" y="1299"/>
                  </a:cubicBezTo>
                  <a:cubicBezTo>
                    <a:pt x="7280" y="1311"/>
                    <a:pt x="7280" y="1311"/>
                    <a:pt x="7280" y="1311"/>
                  </a:cubicBezTo>
                  <a:cubicBezTo>
                    <a:pt x="7254" y="1310"/>
                    <a:pt x="7254" y="1310"/>
                    <a:pt x="7254" y="1310"/>
                  </a:cubicBezTo>
                  <a:cubicBezTo>
                    <a:pt x="7254" y="1310"/>
                    <a:pt x="7252" y="1302"/>
                    <a:pt x="7256" y="1299"/>
                  </a:cubicBezTo>
                  <a:cubicBezTo>
                    <a:pt x="7260" y="1296"/>
                    <a:pt x="7263" y="1284"/>
                    <a:pt x="7263" y="1284"/>
                  </a:cubicBezTo>
                  <a:cubicBezTo>
                    <a:pt x="7250" y="1291"/>
                    <a:pt x="7250" y="1291"/>
                    <a:pt x="7250" y="1291"/>
                  </a:cubicBezTo>
                  <a:cubicBezTo>
                    <a:pt x="7222" y="1286"/>
                    <a:pt x="7222" y="1286"/>
                    <a:pt x="7222" y="1286"/>
                  </a:cubicBezTo>
                  <a:cubicBezTo>
                    <a:pt x="7222" y="1286"/>
                    <a:pt x="7214" y="1278"/>
                    <a:pt x="7210" y="1268"/>
                  </a:cubicBezTo>
                  <a:cubicBezTo>
                    <a:pt x="7210" y="1268"/>
                    <a:pt x="7210" y="1268"/>
                    <a:pt x="7210" y="1268"/>
                  </a:cubicBezTo>
                  <a:cubicBezTo>
                    <a:pt x="7206" y="1258"/>
                    <a:pt x="7203" y="1252"/>
                    <a:pt x="7203" y="1252"/>
                  </a:cubicBezTo>
                  <a:cubicBezTo>
                    <a:pt x="7214" y="1239"/>
                    <a:pt x="7214" y="1239"/>
                    <a:pt x="7214" y="1239"/>
                  </a:cubicBezTo>
                  <a:cubicBezTo>
                    <a:pt x="7214" y="1239"/>
                    <a:pt x="7196" y="1224"/>
                    <a:pt x="7206" y="1222"/>
                  </a:cubicBezTo>
                  <a:cubicBezTo>
                    <a:pt x="7216" y="1220"/>
                    <a:pt x="7224" y="1213"/>
                    <a:pt x="7224" y="1213"/>
                  </a:cubicBezTo>
                  <a:cubicBezTo>
                    <a:pt x="7228" y="1194"/>
                    <a:pt x="7228" y="1194"/>
                    <a:pt x="7228" y="1194"/>
                  </a:cubicBezTo>
                  <a:cubicBezTo>
                    <a:pt x="7242" y="1194"/>
                    <a:pt x="7242" y="1194"/>
                    <a:pt x="7242" y="1194"/>
                  </a:cubicBezTo>
                  <a:cubicBezTo>
                    <a:pt x="7247" y="1179"/>
                    <a:pt x="7247" y="1179"/>
                    <a:pt x="7247" y="1179"/>
                  </a:cubicBezTo>
                  <a:cubicBezTo>
                    <a:pt x="7224" y="1179"/>
                    <a:pt x="7224" y="1179"/>
                    <a:pt x="7224" y="1179"/>
                  </a:cubicBezTo>
                  <a:cubicBezTo>
                    <a:pt x="7224" y="1179"/>
                    <a:pt x="7220" y="1163"/>
                    <a:pt x="7224" y="1160"/>
                  </a:cubicBezTo>
                  <a:cubicBezTo>
                    <a:pt x="7228" y="1157"/>
                    <a:pt x="7241" y="1143"/>
                    <a:pt x="7238" y="1138"/>
                  </a:cubicBezTo>
                  <a:cubicBezTo>
                    <a:pt x="7235" y="1133"/>
                    <a:pt x="7231" y="1126"/>
                    <a:pt x="7231" y="1126"/>
                  </a:cubicBezTo>
                  <a:cubicBezTo>
                    <a:pt x="7231" y="1126"/>
                    <a:pt x="7213" y="1124"/>
                    <a:pt x="7212" y="1127"/>
                  </a:cubicBezTo>
                  <a:cubicBezTo>
                    <a:pt x="7211" y="1130"/>
                    <a:pt x="7191" y="1155"/>
                    <a:pt x="7191" y="1160"/>
                  </a:cubicBezTo>
                  <a:cubicBezTo>
                    <a:pt x="7191" y="1165"/>
                    <a:pt x="7194" y="1177"/>
                    <a:pt x="7194" y="1177"/>
                  </a:cubicBezTo>
                  <a:cubicBezTo>
                    <a:pt x="7181" y="1166"/>
                    <a:pt x="7181" y="1166"/>
                    <a:pt x="7181" y="1166"/>
                  </a:cubicBezTo>
                  <a:cubicBezTo>
                    <a:pt x="7175" y="1145"/>
                    <a:pt x="7175" y="1145"/>
                    <a:pt x="7175" y="1145"/>
                  </a:cubicBezTo>
                  <a:cubicBezTo>
                    <a:pt x="7175" y="1145"/>
                    <a:pt x="7150" y="1161"/>
                    <a:pt x="7151" y="1164"/>
                  </a:cubicBezTo>
                  <a:cubicBezTo>
                    <a:pt x="7152" y="1167"/>
                    <a:pt x="7165" y="1165"/>
                    <a:pt x="7166" y="1168"/>
                  </a:cubicBezTo>
                  <a:cubicBezTo>
                    <a:pt x="7167" y="1171"/>
                    <a:pt x="7176" y="1185"/>
                    <a:pt x="7176" y="1185"/>
                  </a:cubicBezTo>
                  <a:cubicBezTo>
                    <a:pt x="7153" y="1181"/>
                    <a:pt x="7153" y="1181"/>
                    <a:pt x="7153" y="1181"/>
                  </a:cubicBezTo>
                  <a:cubicBezTo>
                    <a:pt x="7153" y="1181"/>
                    <a:pt x="7141" y="1196"/>
                    <a:pt x="7142" y="1204"/>
                  </a:cubicBezTo>
                  <a:cubicBezTo>
                    <a:pt x="7143" y="1212"/>
                    <a:pt x="7159" y="1214"/>
                    <a:pt x="7159" y="1214"/>
                  </a:cubicBezTo>
                  <a:cubicBezTo>
                    <a:pt x="7159" y="1214"/>
                    <a:pt x="7145" y="1230"/>
                    <a:pt x="7148" y="1232"/>
                  </a:cubicBezTo>
                  <a:cubicBezTo>
                    <a:pt x="7151" y="1234"/>
                    <a:pt x="7165" y="1234"/>
                    <a:pt x="7165" y="1234"/>
                  </a:cubicBezTo>
                  <a:cubicBezTo>
                    <a:pt x="7164" y="1249"/>
                    <a:pt x="7164" y="1249"/>
                    <a:pt x="7164" y="1249"/>
                  </a:cubicBezTo>
                  <a:cubicBezTo>
                    <a:pt x="7156" y="1259"/>
                    <a:pt x="7156" y="1259"/>
                    <a:pt x="7156" y="1259"/>
                  </a:cubicBezTo>
                  <a:cubicBezTo>
                    <a:pt x="7166" y="1264"/>
                    <a:pt x="7166" y="1264"/>
                    <a:pt x="7166" y="1264"/>
                  </a:cubicBezTo>
                  <a:cubicBezTo>
                    <a:pt x="7180" y="1287"/>
                    <a:pt x="7180" y="1287"/>
                    <a:pt x="7180" y="1287"/>
                  </a:cubicBezTo>
                  <a:cubicBezTo>
                    <a:pt x="7171" y="1295"/>
                    <a:pt x="7171" y="1295"/>
                    <a:pt x="7171" y="1295"/>
                  </a:cubicBezTo>
                  <a:cubicBezTo>
                    <a:pt x="7184" y="1313"/>
                    <a:pt x="7184" y="1313"/>
                    <a:pt x="7184" y="1313"/>
                  </a:cubicBezTo>
                  <a:cubicBezTo>
                    <a:pt x="7196" y="1322"/>
                    <a:pt x="7196" y="1322"/>
                    <a:pt x="7196" y="1322"/>
                  </a:cubicBezTo>
                  <a:cubicBezTo>
                    <a:pt x="7177" y="1315"/>
                    <a:pt x="7177" y="1315"/>
                    <a:pt x="7177" y="1315"/>
                  </a:cubicBezTo>
                  <a:cubicBezTo>
                    <a:pt x="7159" y="1319"/>
                    <a:pt x="7159" y="1319"/>
                    <a:pt x="7159" y="1319"/>
                  </a:cubicBezTo>
                  <a:cubicBezTo>
                    <a:pt x="7159" y="1319"/>
                    <a:pt x="7164" y="1334"/>
                    <a:pt x="7158" y="1336"/>
                  </a:cubicBezTo>
                  <a:cubicBezTo>
                    <a:pt x="7152" y="1338"/>
                    <a:pt x="7142" y="1336"/>
                    <a:pt x="7142" y="1336"/>
                  </a:cubicBezTo>
                  <a:cubicBezTo>
                    <a:pt x="7136" y="1326"/>
                    <a:pt x="7136" y="1326"/>
                    <a:pt x="7136" y="1326"/>
                  </a:cubicBezTo>
                  <a:cubicBezTo>
                    <a:pt x="7136" y="1326"/>
                    <a:pt x="7109" y="1323"/>
                    <a:pt x="7108" y="1328"/>
                  </a:cubicBezTo>
                  <a:cubicBezTo>
                    <a:pt x="7107" y="1333"/>
                    <a:pt x="7107" y="1346"/>
                    <a:pt x="7107" y="1346"/>
                  </a:cubicBezTo>
                  <a:cubicBezTo>
                    <a:pt x="7107" y="1346"/>
                    <a:pt x="7091" y="1340"/>
                    <a:pt x="7085" y="1340"/>
                  </a:cubicBezTo>
                  <a:cubicBezTo>
                    <a:pt x="7079" y="1340"/>
                    <a:pt x="7056" y="1339"/>
                    <a:pt x="7056" y="1339"/>
                  </a:cubicBezTo>
                  <a:cubicBezTo>
                    <a:pt x="7056" y="1339"/>
                    <a:pt x="7042" y="1344"/>
                    <a:pt x="7034" y="1349"/>
                  </a:cubicBezTo>
                  <a:cubicBezTo>
                    <a:pt x="7035" y="1353"/>
                    <a:pt x="7038" y="1358"/>
                    <a:pt x="7038" y="1360"/>
                  </a:cubicBezTo>
                  <a:cubicBezTo>
                    <a:pt x="7039" y="1363"/>
                    <a:pt x="7042" y="1373"/>
                    <a:pt x="7042" y="1373"/>
                  </a:cubicBezTo>
                  <a:cubicBezTo>
                    <a:pt x="7042" y="1373"/>
                    <a:pt x="7045" y="1379"/>
                    <a:pt x="7047" y="1379"/>
                  </a:cubicBezTo>
                  <a:cubicBezTo>
                    <a:pt x="7050" y="1379"/>
                    <a:pt x="7053" y="1382"/>
                    <a:pt x="7053" y="1387"/>
                  </a:cubicBezTo>
                  <a:cubicBezTo>
                    <a:pt x="7054" y="1391"/>
                    <a:pt x="7042" y="1398"/>
                    <a:pt x="7035" y="1399"/>
                  </a:cubicBezTo>
                  <a:cubicBezTo>
                    <a:pt x="7029" y="1399"/>
                    <a:pt x="7026" y="1394"/>
                    <a:pt x="7023" y="1391"/>
                  </a:cubicBezTo>
                  <a:cubicBezTo>
                    <a:pt x="7019" y="1387"/>
                    <a:pt x="7025" y="1384"/>
                    <a:pt x="7031" y="1376"/>
                  </a:cubicBezTo>
                  <a:cubicBezTo>
                    <a:pt x="7037" y="1368"/>
                    <a:pt x="7033" y="1363"/>
                    <a:pt x="7033" y="1363"/>
                  </a:cubicBezTo>
                  <a:cubicBezTo>
                    <a:pt x="7033" y="1363"/>
                    <a:pt x="7030" y="1360"/>
                    <a:pt x="7028" y="1355"/>
                  </a:cubicBezTo>
                  <a:cubicBezTo>
                    <a:pt x="7023" y="1362"/>
                    <a:pt x="7012" y="1369"/>
                    <a:pt x="7012" y="1369"/>
                  </a:cubicBezTo>
                  <a:cubicBezTo>
                    <a:pt x="7012" y="1369"/>
                    <a:pt x="6995" y="1381"/>
                    <a:pt x="6995" y="1388"/>
                  </a:cubicBezTo>
                  <a:cubicBezTo>
                    <a:pt x="6995" y="1395"/>
                    <a:pt x="6991" y="1408"/>
                    <a:pt x="6991" y="1408"/>
                  </a:cubicBezTo>
                  <a:cubicBezTo>
                    <a:pt x="6973" y="1428"/>
                    <a:pt x="6973" y="1428"/>
                    <a:pt x="6973" y="1428"/>
                  </a:cubicBezTo>
                  <a:cubicBezTo>
                    <a:pt x="6979" y="1436"/>
                    <a:pt x="6979" y="1436"/>
                    <a:pt x="6979" y="1436"/>
                  </a:cubicBezTo>
                  <a:cubicBezTo>
                    <a:pt x="6962" y="1437"/>
                    <a:pt x="6962" y="1437"/>
                    <a:pt x="6962" y="1437"/>
                  </a:cubicBezTo>
                  <a:cubicBezTo>
                    <a:pt x="6945" y="1443"/>
                    <a:pt x="6945" y="1443"/>
                    <a:pt x="6945" y="1443"/>
                  </a:cubicBezTo>
                  <a:cubicBezTo>
                    <a:pt x="6934" y="1453"/>
                    <a:pt x="6934" y="1453"/>
                    <a:pt x="6934" y="1453"/>
                  </a:cubicBezTo>
                  <a:cubicBezTo>
                    <a:pt x="6924" y="1461"/>
                    <a:pt x="6924" y="1461"/>
                    <a:pt x="6924" y="1461"/>
                  </a:cubicBezTo>
                  <a:cubicBezTo>
                    <a:pt x="6924" y="1461"/>
                    <a:pt x="6908" y="1458"/>
                    <a:pt x="6898" y="1462"/>
                  </a:cubicBezTo>
                  <a:cubicBezTo>
                    <a:pt x="6888" y="1466"/>
                    <a:pt x="6863" y="1462"/>
                    <a:pt x="6867" y="1470"/>
                  </a:cubicBezTo>
                  <a:cubicBezTo>
                    <a:pt x="6871" y="1478"/>
                    <a:pt x="6874" y="1485"/>
                    <a:pt x="6874" y="1485"/>
                  </a:cubicBezTo>
                  <a:cubicBezTo>
                    <a:pt x="6874" y="1485"/>
                    <a:pt x="6882" y="1502"/>
                    <a:pt x="6871" y="1510"/>
                  </a:cubicBezTo>
                  <a:cubicBezTo>
                    <a:pt x="6860" y="1518"/>
                    <a:pt x="6838" y="1518"/>
                    <a:pt x="6838" y="1518"/>
                  </a:cubicBezTo>
                  <a:cubicBezTo>
                    <a:pt x="6813" y="1538"/>
                    <a:pt x="6813" y="1538"/>
                    <a:pt x="6813" y="1538"/>
                  </a:cubicBezTo>
                  <a:cubicBezTo>
                    <a:pt x="6822" y="1544"/>
                    <a:pt x="6822" y="1544"/>
                    <a:pt x="6822" y="1544"/>
                  </a:cubicBezTo>
                  <a:cubicBezTo>
                    <a:pt x="6822" y="1544"/>
                    <a:pt x="6802" y="1556"/>
                    <a:pt x="6787" y="1555"/>
                  </a:cubicBezTo>
                  <a:cubicBezTo>
                    <a:pt x="6772" y="1554"/>
                    <a:pt x="6763" y="1549"/>
                    <a:pt x="6763" y="1549"/>
                  </a:cubicBezTo>
                  <a:cubicBezTo>
                    <a:pt x="6752" y="1534"/>
                    <a:pt x="6752" y="1534"/>
                    <a:pt x="6752" y="1534"/>
                  </a:cubicBezTo>
                  <a:cubicBezTo>
                    <a:pt x="6752" y="1534"/>
                    <a:pt x="6731" y="1526"/>
                    <a:pt x="6732" y="1533"/>
                  </a:cubicBezTo>
                  <a:cubicBezTo>
                    <a:pt x="6733" y="1540"/>
                    <a:pt x="6744" y="1554"/>
                    <a:pt x="6744" y="1554"/>
                  </a:cubicBezTo>
                  <a:cubicBezTo>
                    <a:pt x="6744" y="1554"/>
                    <a:pt x="6757" y="1578"/>
                    <a:pt x="6739" y="1581"/>
                  </a:cubicBezTo>
                  <a:cubicBezTo>
                    <a:pt x="6721" y="1584"/>
                    <a:pt x="6702" y="1583"/>
                    <a:pt x="6702" y="1583"/>
                  </a:cubicBezTo>
                  <a:cubicBezTo>
                    <a:pt x="6695" y="1594"/>
                    <a:pt x="6695" y="1594"/>
                    <a:pt x="6695" y="1594"/>
                  </a:cubicBezTo>
                  <a:cubicBezTo>
                    <a:pt x="6695" y="1594"/>
                    <a:pt x="6679" y="1574"/>
                    <a:pt x="6673" y="1575"/>
                  </a:cubicBezTo>
                  <a:cubicBezTo>
                    <a:pt x="6667" y="1576"/>
                    <a:pt x="6647" y="1582"/>
                    <a:pt x="6647" y="1582"/>
                  </a:cubicBezTo>
                  <a:cubicBezTo>
                    <a:pt x="6647" y="1582"/>
                    <a:pt x="6611" y="1587"/>
                    <a:pt x="6608" y="1594"/>
                  </a:cubicBezTo>
                  <a:cubicBezTo>
                    <a:pt x="6605" y="1601"/>
                    <a:pt x="6627" y="1607"/>
                    <a:pt x="6626" y="1610"/>
                  </a:cubicBezTo>
                  <a:cubicBezTo>
                    <a:pt x="6625" y="1613"/>
                    <a:pt x="6596" y="1611"/>
                    <a:pt x="6602" y="1619"/>
                  </a:cubicBezTo>
                  <a:cubicBezTo>
                    <a:pt x="6608" y="1627"/>
                    <a:pt x="6627" y="1628"/>
                    <a:pt x="6627" y="1628"/>
                  </a:cubicBezTo>
                  <a:cubicBezTo>
                    <a:pt x="6634" y="1624"/>
                    <a:pt x="6634" y="1624"/>
                    <a:pt x="6634" y="1624"/>
                  </a:cubicBezTo>
                  <a:cubicBezTo>
                    <a:pt x="6666" y="1642"/>
                    <a:pt x="6666" y="1642"/>
                    <a:pt x="6666" y="1642"/>
                  </a:cubicBezTo>
                  <a:cubicBezTo>
                    <a:pt x="6686" y="1642"/>
                    <a:pt x="6686" y="1642"/>
                    <a:pt x="6686" y="1642"/>
                  </a:cubicBezTo>
                  <a:cubicBezTo>
                    <a:pt x="6698" y="1654"/>
                    <a:pt x="6698" y="1654"/>
                    <a:pt x="6698" y="1654"/>
                  </a:cubicBezTo>
                  <a:cubicBezTo>
                    <a:pt x="6724" y="1657"/>
                    <a:pt x="6724" y="1657"/>
                    <a:pt x="6724" y="1657"/>
                  </a:cubicBezTo>
                  <a:cubicBezTo>
                    <a:pt x="6705" y="1667"/>
                    <a:pt x="6705" y="1667"/>
                    <a:pt x="6705" y="1667"/>
                  </a:cubicBezTo>
                  <a:cubicBezTo>
                    <a:pt x="6705" y="1667"/>
                    <a:pt x="6724" y="1698"/>
                    <a:pt x="6728" y="1702"/>
                  </a:cubicBezTo>
                  <a:cubicBezTo>
                    <a:pt x="6732" y="1706"/>
                    <a:pt x="6749" y="1706"/>
                    <a:pt x="6749" y="1706"/>
                  </a:cubicBezTo>
                  <a:cubicBezTo>
                    <a:pt x="6747" y="1735"/>
                    <a:pt x="6747" y="1735"/>
                    <a:pt x="6747" y="1735"/>
                  </a:cubicBezTo>
                  <a:cubicBezTo>
                    <a:pt x="6760" y="1755"/>
                    <a:pt x="6760" y="1755"/>
                    <a:pt x="6760" y="1755"/>
                  </a:cubicBezTo>
                  <a:cubicBezTo>
                    <a:pt x="6769" y="1778"/>
                    <a:pt x="6769" y="1778"/>
                    <a:pt x="6769" y="1778"/>
                  </a:cubicBezTo>
                  <a:cubicBezTo>
                    <a:pt x="6748" y="1752"/>
                    <a:pt x="6748" y="1752"/>
                    <a:pt x="6748" y="1752"/>
                  </a:cubicBezTo>
                  <a:cubicBezTo>
                    <a:pt x="6748" y="1752"/>
                    <a:pt x="6746" y="1781"/>
                    <a:pt x="6745" y="1791"/>
                  </a:cubicBezTo>
                  <a:cubicBezTo>
                    <a:pt x="6744" y="1801"/>
                    <a:pt x="6733" y="1841"/>
                    <a:pt x="6728" y="1849"/>
                  </a:cubicBezTo>
                  <a:cubicBezTo>
                    <a:pt x="6724" y="1856"/>
                    <a:pt x="6726" y="1865"/>
                    <a:pt x="6714" y="1867"/>
                  </a:cubicBezTo>
                  <a:cubicBezTo>
                    <a:pt x="6712" y="1867"/>
                    <a:pt x="6710" y="1867"/>
                    <a:pt x="6708" y="1867"/>
                  </a:cubicBezTo>
                  <a:cubicBezTo>
                    <a:pt x="6689" y="1867"/>
                    <a:pt x="6642" y="1858"/>
                    <a:pt x="6642" y="1858"/>
                  </a:cubicBezTo>
                  <a:cubicBezTo>
                    <a:pt x="6622" y="1866"/>
                    <a:pt x="6622" y="1866"/>
                    <a:pt x="6622" y="1866"/>
                  </a:cubicBezTo>
                  <a:cubicBezTo>
                    <a:pt x="6584" y="1862"/>
                    <a:pt x="6584" y="1862"/>
                    <a:pt x="6584" y="1862"/>
                  </a:cubicBezTo>
                  <a:cubicBezTo>
                    <a:pt x="6584" y="1862"/>
                    <a:pt x="6559" y="1848"/>
                    <a:pt x="6544" y="1851"/>
                  </a:cubicBezTo>
                  <a:cubicBezTo>
                    <a:pt x="6529" y="1854"/>
                    <a:pt x="6508" y="1855"/>
                    <a:pt x="6503" y="1855"/>
                  </a:cubicBezTo>
                  <a:cubicBezTo>
                    <a:pt x="6498" y="1855"/>
                    <a:pt x="6479" y="1852"/>
                    <a:pt x="6479" y="1852"/>
                  </a:cubicBezTo>
                  <a:cubicBezTo>
                    <a:pt x="6479" y="1852"/>
                    <a:pt x="6469" y="1844"/>
                    <a:pt x="6463" y="1844"/>
                  </a:cubicBezTo>
                  <a:cubicBezTo>
                    <a:pt x="6457" y="1844"/>
                    <a:pt x="6437" y="1862"/>
                    <a:pt x="6437" y="1862"/>
                  </a:cubicBezTo>
                  <a:cubicBezTo>
                    <a:pt x="6437" y="1862"/>
                    <a:pt x="6392" y="1869"/>
                    <a:pt x="6390" y="1882"/>
                  </a:cubicBezTo>
                  <a:cubicBezTo>
                    <a:pt x="6388" y="1895"/>
                    <a:pt x="6409" y="1911"/>
                    <a:pt x="6409" y="1911"/>
                  </a:cubicBezTo>
                  <a:cubicBezTo>
                    <a:pt x="6401" y="1934"/>
                    <a:pt x="6401" y="1934"/>
                    <a:pt x="6401" y="1934"/>
                  </a:cubicBezTo>
                  <a:cubicBezTo>
                    <a:pt x="6401" y="1934"/>
                    <a:pt x="6402" y="1938"/>
                    <a:pt x="6403" y="1945"/>
                  </a:cubicBezTo>
                  <a:cubicBezTo>
                    <a:pt x="6406" y="1955"/>
                    <a:pt x="6409" y="1972"/>
                    <a:pt x="6408" y="1985"/>
                  </a:cubicBezTo>
                  <a:cubicBezTo>
                    <a:pt x="6407" y="2006"/>
                    <a:pt x="6385" y="2046"/>
                    <a:pt x="6385" y="2046"/>
                  </a:cubicBezTo>
                  <a:cubicBezTo>
                    <a:pt x="6371" y="2078"/>
                    <a:pt x="6371" y="2078"/>
                    <a:pt x="6371" y="2078"/>
                  </a:cubicBezTo>
                  <a:cubicBezTo>
                    <a:pt x="6371" y="2078"/>
                    <a:pt x="6362" y="2105"/>
                    <a:pt x="6368" y="2112"/>
                  </a:cubicBezTo>
                  <a:cubicBezTo>
                    <a:pt x="6374" y="2119"/>
                    <a:pt x="6385" y="2123"/>
                    <a:pt x="6385" y="2123"/>
                  </a:cubicBezTo>
                  <a:cubicBezTo>
                    <a:pt x="6392" y="2160"/>
                    <a:pt x="6392" y="2160"/>
                    <a:pt x="6392" y="2160"/>
                  </a:cubicBezTo>
                  <a:cubicBezTo>
                    <a:pt x="6392" y="2160"/>
                    <a:pt x="6376" y="2202"/>
                    <a:pt x="6382" y="2203"/>
                  </a:cubicBezTo>
                  <a:cubicBezTo>
                    <a:pt x="6388" y="2204"/>
                    <a:pt x="6414" y="2200"/>
                    <a:pt x="6414" y="2200"/>
                  </a:cubicBezTo>
                  <a:cubicBezTo>
                    <a:pt x="6414" y="2200"/>
                    <a:pt x="6418" y="2209"/>
                    <a:pt x="6424" y="2208"/>
                  </a:cubicBezTo>
                  <a:cubicBezTo>
                    <a:pt x="6429" y="2207"/>
                    <a:pt x="6446" y="2197"/>
                    <a:pt x="6449" y="2195"/>
                  </a:cubicBezTo>
                  <a:cubicBezTo>
                    <a:pt x="6450" y="2195"/>
                    <a:pt x="6450" y="2195"/>
                    <a:pt x="6450" y="2195"/>
                  </a:cubicBezTo>
                  <a:cubicBezTo>
                    <a:pt x="6469" y="2194"/>
                    <a:pt x="6469" y="2194"/>
                    <a:pt x="6469" y="2194"/>
                  </a:cubicBezTo>
                  <a:cubicBezTo>
                    <a:pt x="6485" y="2209"/>
                    <a:pt x="6485" y="2209"/>
                    <a:pt x="6485" y="2209"/>
                  </a:cubicBezTo>
                  <a:cubicBezTo>
                    <a:pt x="6497" y="2209"/>
                    <a:pt x="6497" y="2209"/>
                    <a:pt x="6497" y="2209"/>
                  </a:cubicBezTo>
                  <a:cubicBezTo>
                    <a:pt x="6491" y="2226"/>
                    <a:pt x="6491" y="2226"/>
                    <a:pt x="6491" y="2226"/>
                  </a:cubicBezTo>
                  <a:cubicBezTo>
                    <a:pt x="6498" y="2227"/>
                    <a:pt x="6498" y="2227"/>
                    <a:pt x="6498" y="2227"/>
                  </a:cubicBezTo>
                  <a:cubicBezTo>
                    <a:pt x="6498" y="2227"/>
                    <a:pt x="6498" y="2247"/>
                    <a:pt x="6505" y="2250"/>
                  </a:cubicBezTo>
                  <a:cubicBezTo>
                    <a:pt x="6512" y="2253"/>
                    <a:pt x="6524" y="2257"/>
                    <a:pt x="6524" y="2257"/>
                  </a:cubicBezTo>
                  <a:cubicBezTo>
                    <a:pt x="6524" y="2257"/>
                    <a:pt x="6541" y="2245"/>
                    <a:pt x="6544" y="2239"/>
                  </a:cubicBezTo>
                  <a:cubicBezTo>
                    <a:pt x="6547" y="2233"/>
                    <a:pt x="6565" y="2233"/>
                    <a:pt x="6565" y="2233"/>
                  </a:cubicBezTo>
                  <a:cubicBezTo>
                    <a:pt x="6584" y="2221"/>
                    <a:pt x="6584" y="2221"/>
                    <a:pt x="6584" y="2221"/>
                  </a:cubicBezTo>
                  <a:cubicBezTo>
                    <a:pt x="6584" y="2221"/>
                    <a:pt x="6617" y="2223"/>
                    <a:pt x="6623" y="2221"/>
                  </a:cubicBezTo>
                  <a:cubicBezTo>
                    <a:pt x="6629" y="2219"/>
                    <a:pt x="6639" y="2215"/>
                    <a:pt x="6639" y="2215"/>
                  </a:cubicBezTo>
                  <a:cubicBezTo>
                    <a:pt x="6639" y="2215"/>
                    <a:pt x="6647" y="2223"/>
                    <a:pt x="6653" y="2222"/>
                  </a:cubicBezTo>
                  <a:cubicBezTo>
                    <a:pt x="6659" y="2221"/>
                    <a:pt x="6675" y="2214"/>
                    <a:pt x="6675" y="2214"/>
                  </a:cubicBezTo>
                  <a:cubicBezTo>
                    <a:pt x="6675" y="2214"/>
                    <a:pt x="6674" y="2226"/>
                    <a:pt x="6685" y="2218"/>
                  </a:cubicBezTo>
                  <a:cubicBezTo>
                    <a:pt x="6696" y="2210"/>
                    <a:pt x="6698" y="2191"/>
                    <a:pt x="6698" y="2191"/>
                  </a:cubicBezTo>
                  <a:cubicBezTo>
                    <a:pt x="6719" y="2173"/>
                    <a:pt x="6719" y="2173"/>
                    <a:pt x="6719" y="2173"/>
                  </a:cubicBezTo>
                  <a:cubicBezTo>
                    <a:pt x="6742" y="2172"/>
                    <a:pt x="6742" y="2172"/>
                    <a:pt x="6742" y="2172"/>
                  </a:cubicBezTo>
                  <a:cubicBezTo>
                    <a:pt x="6744" y="2159"/>
                    <a:pt x="6744" y="2159"/>
                    <a:pt x="6744" y="2159"/>
                  </a:cubicBezTo>
                  <a:cubicBezTo>
                    <a:pt x="6744" y="2159"/>
                    <a:pt x="6755" y="2130"/>
                    <a:pt x="6758" y="2128"/>
                  </a:cubicBezTo>
                  <a:cubicBezTo>
                    <a:pt x="6761" y="2126"/>
                    <a:pt x="6788" y="2123"/>
                    <a:pt x="6789" y="2114"/>
                  </a:cubicBezTo>
                  <a:cubicBezTo>
                    <a:pt x="6790" y="2105"/>
                    <a:pt x="6767" y="2093"/>
                    <a:pt x="6767" y="2093"/>
                  </a:cubicBezTo>
                  <a:cubicBezTo>
                    <a:pt x="6767" y="2093"/>
                    <a:pt x="6765" y="2070"/>
                    <a:pt x="6773" y="2059"/>
                  </a:cubicBezTo>
                  <a:cubicBezTo>
                    <a:pt x="6781" y="2048"/>
                    <a:pt x="6792" y="2035"/>
                    <a:pt x="6792" y="2035"/>
                  </a:cubicBezTo>
                  <a:cubicBezTo>
                    <a:pt x="6792" y="2035"/>
                    <a:pt x="6809" y="2017"/>
                    <a:pt x="6812" y="2016"/>
                  </a:cubicBezTo>
                  <a:cubicBezTo>
                    <a:pt x="6815" y="2015"/>
                    <a:pt x="6827" y="2007"/>
                    <a:pt x="6824" y="2005"/>
                  </a:cubicBezTo>
                  <a:cubicBezTo>
                    <a:pt x="6821" y="2003"/>
                    <a:pt x="6816" y="1995"/>
                    <a:pt x="6826" y="1990"/>
                  </a:cubicBezTo>
                  <a:cubicBezTo>
                    <a:pt x="6836" y="1985"/>
                    <a:pt x="6860" y="1980"/>
                    <a:pt x="6873" y="1975"/>
                  </a:cubicBezTo>
                  <a:cubicBezTo>
                    <a:pt x="6886" y="1970"/>
                    <a:pt x="6902" y="1957"/>
                    <a:pt x="6902" y="1957"/>
                  </a:cubicBezTo>
                  <a:cubicBezTo>
                    <a:pt x="6902" y="1957"/>
                    <a:pt x="6922" y="1948"/>
                    <a:pt x="6923" y="1945"/>
                  </a:cubicBezTo>
                  <a:cubicBezTo>
                    <a:pt x="6924" y="1942"/>
                    <a:pt x="6922" y="1930"/>
                    <a:pt x="6922" y="1930"/>
                  </a:cubicBezTo>
                  <a:cubicBezTo>
                    <a:pt x="6930" y="1925"/>
                    <a:pt x="6930" y="1925"/>
                    <a:pt x="6930" y="1925"/>
                  </a:cubicBezTo>
                  <a:cubicBezTo>
                    <a:pt x="6930" y="1925"/>
                    <a:pt x="6918" y="1919"/>
                    <a:pt x="6915" y="1911"/>
                  </a:cubicBezTo>
                  <a:cubicBezTo>
                    <a:pt x="6915" y="1910"/>
                    <a:pt x="6915" y="1909"/>
                    <a:pt x="6915" y="1908"/>
                  </a:cubicBezTo>
                  <a:cubicBezTo>
                    <a:pt x="6915" y="1898"/>
                    <a:pt x="6930" y="1875"/>
                    <a:pt x="6937" y="1871"/>
                  </a:cubicBezTo>
                  <a:cubicBezTo>
                    <a:pt x="6944" y="1867"/>
                    <a:pt x="6965" y="1850"/>
                    <a:pt x="6974" y="1855"/>
                  </a:cubicBezTo>
                  <a:cubicBezTo>
                    <a:pt x="6983" y="1860"/>
                    <a:pt x="6991" y="1865"/>
                    <a:pt x="6991" y="1865"/>
                  </a:cubicBezTo>
                  <a:cubicBezTo>
                    <a:pt x="6991" y="1865"/>
                    <a:pt x="7014" y="1859"/>
                    <a:pt x="7019" y="1864"/>
                  </a:cubicBezTo>
                  <a:cubicBezTo>
                    <a:pt x="7024" y="1869"/>
                    <a:pt x="7031" y="1877"/>
                    <a:pt x="7034" y="1879"/>
                  </a:cubicBezTo>
                  <a:cubicBezTo>
                    <a:pt x="7034" y="1879"/>
                    <a:pt x="7059" y="1889"/>
                    <a:pt x="7072" y="1879"/>
                  </a:cubicBezTo>
                  <a:cubicBezTo>
                    <a:pt x="7085" y="1869"/>
                    <a:pt x="7089" y="1850"/>
                    <a:pt x="7095" y="1848"/>
                  </a:cubicBezTo>
                  <a:cubicBezTo>
                    <a:pt x="7097" y="1847"/>
                    <a:pt x="7103" y="1847"/>
                    <a:pt x="7109" y="1846"/>
                  </a:cubicBezTo>
                  <a:cubicBezTo>
                    <a:pt x="7118" y="1845"/>
                    <a:pt x="7128" y="1844"/>
                    <a:pt x="7132" y="1840"/>
                  </a:cubicBezTo>
                  <a:cubicBezTo>
                    <a:pt x="7139" y="1833"/>
                    <a:pt x="7157" y="1812"/>
                    <a:pt x="7167" y="1812"/>
                  </a:cubicBezTo>
                  <a:cubicBezTo>
                    <a:pt x="7177" y="1812"/>
                    <a:pt x="7206" y="1819"/>
                    <a:pt x="7218" y="1829"/>
                  </a:cubicBezTo>
                  <a:cubicBezTo>
                    <a:pt x="7230" y="1839"/>
                    <a:pt x="7234" y="1859"/>
                    <a:pt x="7234" y="1859"/>
                  </a:cubicBezTo>
                  <a:cubicBezTo>
                    <a:pt x="7242" y="1867"/>
                    <a:pt x="7242" y="1867"/>
                    <a:pt x="7242" y="1867"/>
                  </a:cubicBezTo>
                  <a:cubicBezTo>
                    <a:pt x="7242" y="1867"/>
                    <a:pt x="7234" y="1888"/>
                    <a:pt x="7243" y="1893"/>
                  </a:cubicBezTo>
                  <a:cubicBezTo>
                    <a:pt x="7252" y="1898"/>
                    <a:pt x="7267" y="1903"/>
                    <a:pt x="7267" y="1903"/>
                  </a:cubicBezTo>
                  <a:cubicBezTo>
                    <a:pt x="7271" y="1916"/>
                    <a:pt x="7271" y="1916"/>
                    <a:pt x="7271" y="1916"/>
                  </a:cubicBezTo>
                  <a:cubicBezTo>
                    <a:pt x="7291" y="1917"/>
                    <a:pt x="7291" y="1917"/>
                    <a:pt x="7291" y="1917"/>
                  </a:cubicBezTo>
                  <a:cubicBezTo>
                    <a:pt x="7291" y="1917"/>
                    <a:pt x="7324" y="1951"/>
                    <a:pt x="7333" y="1961"/>
                  </a:cubicBezTo>
                  <a:cubicBezTo>
                    <a:pt x="7342" y="1971"/>
                    <a:pt x="7350" y="1980"/>
                    <a:pt x="7350" y="1980"/>
                  </a:cubicBezTo>
                  <a:cubicBezTo>
                    <a:pt x="7377" y="1981"/>
                    <a:pt x="7377" y="1981"/>
                    <a:pt x="7377" y="1981"/>
                  </a:cubicBezTo>
                  <a:cubicBezTo>
                    <a:pt x="7377" y="1981"/>
                    <a:pt x="7384" y="1996"/>
                    <a:pt x="7399" y="2001"/>
                  </a:cubicBezTo>
                  <a:cubicBezTo>
                    <a:pt x="7414" y="2006"/>
                    <a:pt x="7433" y="2002"/>
                    <a:pt x="7436" y="2009"/>
                  </a:cubicBezTo>
                  <a:cubicBezTo>
                    <a:pt x="7439" y="2016"/>
                    <a:pt x="7440" y="2039"/>
                    <a:pt x="7453" y="2042"/>
                  </a:cubicBezTo>
                  <a:cubicBezTo>
                    <a:pt x="7466" y="2045"/>
                    <a:pt x="7471" y="2040"/>
                    <a:pt x="7471" y="2040"/>
                  </a:cubicBezTo>
                  <a:cubicBezTo>
                    <a:pt x="7471" y="2040"/>
                    <a:pt x="7474" y="2059"/>
                    <a:pt x="7476" y="2073"/>
                  </a:cubicBezTo>
                  <a:cubicBezTo>
                    <a:pt x="7478" y="2087"/>
                    <a:pt x="7491" y="2086"/>
                    <a:pt x="7491" y="2096"/>
                  </a:cubicBezTo>
                  <a:cubicBezTo>
                    <a:pt x="7491" y="2106"/>
                    <a:pt x="7492" y="2113"/>
                    <a:pt x="7492" y="2113"/>
                  </a:cubicBezTo>
                  <a:cubicBezTo>
                    <a:pt x="7479" y="2112"/>
                    <a:pt x="7479" y="2112"/>
                    <a:pt x="7479" y="2112"/>
                  </a:cubicBezTo>
                  <a:cubicBezTo>
                    <a:pt x="7478" y="2127"/>
                    <a:pt x="7478" y="2127"/>
                    <a:pt x="7478" y="2127"/>
                  </a:cubicBezTo>
                  <a:cubicBezTo>
                    <a:pt x="7478" y="2127"/>
                    <a:pt x="7458" y="2156"/>
                    <a:pt x="7469" y="2156"/>
                  </a:cubicBezTo>
                  <a:cubicBezTo>
                    <a:pt x="7480" y="2156"/>
                    <a:pt x="7488" y="2150"/>
                    <a:pt x="7488" y="2150"/>
                  </a:cubicBezTo>
                  <a:cubicBezTo>
                    <a:pt x="7496" y="2135"/>
                    <a:pt x="7496" y="2135"/>
                    <a:pt x="7496" y="2135"/>
                  </a:cubicBezTo>
                  <a:cubicBezTo>
                    <a:pt x="7509" y="2133"/>
                    <a:pt x="7509" y="2133"/>
                    <a:pt x="7509" y="2133"/>
                  </a:cubicBezTo>
                  <a:cubicBezTo>
                    <a:pt x="7509" y="2133"/>
                    <a:pt x="7506" y="2111"/>
                    <a:pt x="7510" y="2108"/>
                  </a:cubicBezTo>
                  <a:cubicBezTo>
                    <a:pt x="7514" y="2105"/>
                    <a:pt x="7535" y="2099"/>
                    <a:pt x="7535" y="2099"/>
                  </a:cubicBezTo>
                  <a:cubicBezTo>
                    <a:pt x="7535" y="2099"/>
                    <a:pt x="7530" y="2079"/>
                    <a:pt x="7526" y="2075"/>
                  </a:cubicBezTo>
                  <a:cubicBezTo>
                    <a:pt x="7522" y="2071"/>
                    <a:pt x="7504" y="2066"/>
                    <a:pt x="7505" y="2059"/>
                  </a:cubicBezTo>
                  <a:cubicBezTo>
                    <a:pt x="7506" y="2052"/>
                    <a:pt x="7519" y="2018"/>
                    <a:pt x="7527" y="2021"/>
                  </a:cubicBezTo>
                  <a:cubicBezTo>
                    <a:pt x="7535" y="2024"/>
                    <a:pt x="7542" y="2028"/>
                    <a:pt x="7542" y="2028"/>
                  </a:cubicBezTo>
                  <a:cubicBezTo>
                    <a:pt x="7562" y="2028"/>
                    <a:pt x="7562" y="2028"/>
                    <a:pt x="7562" y="2028"/>
                  </a:cubicBezTo>
                  <a:cubicBezTo>
                    <a:pt x="7562" y="2028"/>
                    <a:pt x="7565" y="2051"/>
                    <a:pt x="7579" y="2052"/>
                  </a:cubicBezTo>
                  <a:cubicBezTo>
                    <a:pt x="7593" y="2053"/>
                    <a:pt x="7597" y="2039"/>
                    <a:pt x="7589" y="2030"/>
                  </a:cubicBezTo>
                  <a:cubicBezTo>
                    <a:pt x="7581" y="2021"/>
                    <a:pt x="7555" y="2004"/>
                    <a:pt x="7555" y="2004"/>
                  </a:cubicBezTo>
                  <a:cubicBezTo>
                    <a:pt x="7525" y="1988"/>
                    <a:pt x="7525" y="1988"/>
                    <a:pt x="7525" y="1988"/>
                  </a:cubicBezTo>
                  <a:cubicBezTo>
                    <a:pt x="7525" y="1988"/>
                    <a:pt x="7472" y="1975"/>
                    <a:pt x="7476" y="1966"/>
                  </a:cubicBezTo>
                  <a:cubicBezTo>
                    <a:pt x="7480" y="1957"/>
                    <a:pt x="7489" y="1956"/>
                    <a:pt x="7488" y="1948"/>
                  </a:cubicBezTo>
                  <a:cubicBezTo>
                    <a:pt x="7487" y="1940"/>
                    <a:pt x="7439" y="1938"/>
                    <a:pt x="7439" y="1938"/>
                  </a:cubicBezTo>
                  <a:cubicBezTo>
                    <a:pt x="7439" y="1938"/>
                    <a:pt x="7425" y="1933"/>
                    <a:pt x="7408" y="1916"/>
                  </a:cubicBezTo>
                  <a:cubicBezTo>
                    <a:pt x="7391" y="1899"/>
                    <a:pt x="7385" y="1883"/>
                    <a:pt x="7385" y="1883"/>
                  </a:cubicBezTo>
                  <a:cubicBezTo>
                    <a:pt x="7385" y="1883"/>
                    <a:pt x="7380" y="1859"/>
                    <a:pt x="7370" y="1853"/>
                  </a:cubicBezTo>
                  <a:cubicBezTo>
                    <a:pt x="7360" y="1847"/>
                    <a:pt x="7349" y="1837"/>
                    <a:pt x="7349" y="1837"/>
                  </a:cubicBezTo>
                  <a:cubicBezTo>
                    <a:pt x="7323" y="1815"/>
                    <a:pt x="7323" y="1815"/>
                    <a:pt x="7323" y="1815"/>
                  </a:cubicBezTo>
                  <a:cubicBezTo>
                    <a:pt x="7323" y="1815"/>
                    <a:pt x="7309" y="1793"/>
                    <a:pt x="7314" y="1791"/>
                  </a:cubicBezTo>
                  <a:cubicBezTo>
                    <a:pt x="7319" y="1789"/>
                    <a:pt x="7327" y="1787"/>
                    <a:pt x="7327" y="1782"/>
                  </a:cubicBezTo>
                  <a:cubicBezTo>
                    <a:pt x="7327" y="1777"/>
                    <a:pt x="7310" y="1768"/>
                    <a:pt x="7318" y="1759"/>
                  </a:cubicBezTo>
                  <a:cubicBezTo>
                    <a:pt x="7326" y="1750"/>
                    <a:pt x="7349" y="1744"/>
                    <a:pt x="7349" y="1744"/>
                  </a:cubicBezTo>
                  <a:cubicBezTo>
                    <a:pt x="7363" y="1738"/>
                    <a:pt x="7363" y="1738"/>
                    <a:pt x="7363" y="1738"/>
                  </a:cubicBezTo>
                  <a:cubicBezTo>
                    <a:pt x="7363" y="1738"/>
                    <a:pt x="7386" y="1742"/>
                    <a:pt x="7383" y="1746"/>
                  </a:cubicBezTo>
                  <a:cubicBezTo>
                    <a:pt x="7382" y="1748"/>
                    <a:pt x="7380" y="1752"/>
                    <a:pt x="7378" y="1756"/>
                  </a:cubicBezTo>
                  <a:cubicBezTo>
                    <a:pt x="7376" y="1760"/>
                    <a:pt x="7374" y="1765"/>
                    <a:pt x="7374" y="1765"/>
                  </a:cubicBezTo>
                  <a:cubicBezTo>
                    <a:pt x="7374" y="1765"/>
                    <a:pt x="7373" y="1795"/>
                    <a:pt x="7381" y="1786"/>
                  </a:cubicBezTo>
                  <a:cubicBezTo>
                    <a:pt x="7389" y="1777"/>
                    <a:pt x="7400" y="1762"/>
                    <a:pt x="7404" y="1768"/>
                  </a:cubicBezTo>
                  <a:cubicBezTo>
                    <a:pt x="7408" y="1774"/>
                    <a:pt x="7408" y="1789"/>
                    <a:pt x="7408" y="1789"/>
                  </a:cubicBezTo>
                  <a:cubicBezTo>
                    <a:pt x="7427" y="1785"/>
                    <a:pt x="7427" y="1785"/>
                    <a:pt x="7427" y="1785"/>
                  </a:cubicBezTo>
                  <a:cubicBezTo>
                    <a:pt x="7427" y="1785"/>
                    <a:pt x="7421" y="1805"/>
                    <a:pt x="7433" y="1809"/>
                  </a:cubicBezTo>
                  <a:cubicBezTo>
                    <a:pt x="7445" y="1813"/>
                    <a:pt x="7441" y="1821"/>
                    <a:pt x="7441" y="1821"/>
                  </a:cubicBezTo>
                  <a:cubicBezTo>
                    <a:pt x="7470" y="1842"/>
                    <a:pt x="7470" y="1842"/>
                    <a:pt x="7470" y="1842"/>
                  </a:cubicBezTo>
                  <a:cubicBezTo>
                    <a:pt x="7471" y="1859"/>
                    <a:pt x="7471" y="1859"/>
                    <a:pt x="7471" y="1859"/>
                  </a:cubicBezTo>
                  <a:cubicBezTo>
                    <a:pt x="7498" y="1860"/>
                    <a:pt x="7498" y="1860"/>
                    <a:pt x="7498" y="1860"/>
                  </a:cubicBezTo>
                  <a:cubicBezTo>
                    <a:pt x="7498" y="1860"/>
                    <a:pt x="7515" y="1861"/>
                    <a:pt x="7519" y="1869"/>
                  </a:cubicBezTo>
                  <a:cubicBezTo>
                    <a:pt x="7519" y="1869"/>
                    <a:pt x="7515" y="1878"/>
                    <a:pt x="7521" y="1882"/>
                  </a:cubicBezTo>
                  <a:cubicBezTo>
                    <a:pt x="7538" y="1884"/>
                    <a:pt x="7538" y="1884"/>
                    <a:pt x="7538" y="1884"/>
                  </a:cubicBezTo>
                  <a:cubicBezTo>
                    <a:pt x="7546" y="1885"/>
                    <a:pt x="7546" y="1885"/>
                    <a:pt x="7546" y="1885"/>
                  </a:cubicBezTo>
                  <a:cubicBezTo>
                    <a:pt x="7546" y="1885"/>
                    <a:pt x="7573" y="1912"/>
                    <a:pt x="7582" y="1917"/>
                  </a:cubicBezTo>
                  <a:cubicBezTo>
                    <a:pt x="7583" y="1918"/>
                    <a:pt x="7584" y="1918"/>
                    <a:pt x="7584" y="1918"/>
                  </a:cubicBezTo>
                  <a:cubicBezTo>
                    <a:pt x="7591" y="1920"/>
                    <a:pt x="7602" y="1915"/>
                    <a:pt x="7602" y="1915"/>
                  </a:cubicBezTo>
                  <a:cubicBezTo>
                    <a:pt x="7602" y="1927"/>
                    <a:pt x="7602" y="1927"/>
                    <a:pt x="7602" y="1927"/>
                  </a:cubicBezTo>
                  <a:cubicBezTo>
                    <a:pt x="7619" y="1943"/>
                    <a:pt x="7619" y="1943"/>
                    <a:pt x="7619" y="1943"/>
                  </a:cubicBezTo>
                  <a:cubicBezTo>
                    <a:pt x="7623" y="1947"/>
                    <a:pt x="7623" y="1947"/>
                    <a:pt x="7623" y="1947"/>
                  </a:cubicBezTo>
                  <a:cubicBezTo>
                    <a:pt x="7639" y="1947"/>
                    <a:pt x="7639" y="1947"/>
                    <a:pt x="7639" y="1947"/>
                  </a:cubicBezTo>
                  <a:cubicBezTo>
                    <a:pt x="7639" y="1947"/>
                    <a:pt x="7634" y="1986"/>
                    <a:pt x="7633" y="1998"/>
                  </a:cubicBezTo>
                  <a:cubicBezTo>
                    <a:pt x="7632" y="2010"/>
                    <a:pt x="7621" y="2026"/>
                    <a:pt x="7626" y="2031"/>
                  </a:cubicBezTo>
                  <a:cubicBezTo>
                    <a:pt x="7631" y="2036"/>
                    <a:pt x="7649" y="2046"/>
                    <a:pt x="7649" y="2046"/>
                  </a:cubicBezTo>
                  <a:cubicBezTo>
                    <a:pt x="7649" y="2046"/>
                    <a:pt x="7646" y="2066"/>
                    <a:pt x="7650" y="2065"/>
                  </a:cubicBezTo>
                  <a:cubicBezTo>
                    <a:pt x="7654" y="2064"/>
                    <a:pt x="7673" y="2067"/>
                    <a:pt x="7673" y="2067"/>
                  </a:cubicBezTo>
                  <a:cubicBezTo>
                    <a:pt x="7673" y="2067"/>
                    <a:pt x="7668" y="2084"/>
                    <a:pt x="7677" y="2087"/>
                  </a:cubicBezTo>
                  <a:cubicBezTo>
                    <a:pt x="7686" y="2090"/>
                    <a:pt x="7697" y="2107"/>
                    <a:pt x="7697" y="2107"/>
                  </a:cubicBezTo>
                  <a:cubicBezTo>
                    <a:pt x="7697" y="2107"/>
                    <a:pt x="7707" y="2130"/>
                    <a:pt x="7715" y="2130"/>
                  </a:cubicBezTo>
                  <a:cubicBezTo>
                    <a:pt x="7723" y="2130"/>
                    <a:pt x="7744" y="2129"/>
                    <a:pt x="7744" y="2129"/>
                  </a:cubicBezTo>
                  <a:cubicBezTo>
                    <a:pt x="7744" y="2129"/>
                    <a:pt x="7758" y="2124"/>
                    <a:pt x="7765" y="2127"/>
                  </a:cubicBezTo>
                  <a:cubicBezTo>
                    <a:pt x="7772" y="2130"/>
                    <a:pt x="7809" y="2144"/>
                    <a:pt x="7809" y="2144"/>
                  </a:cubicBezTo>
                  <a:cubicBezTo>
                    <a:pt x="7809" y="2144"/>
                    <a:pt x="7831" y="2167"/>
                    <a:pt x="7836" y="2161"/>
                  </a:cubicBezTo>
                  <a:cubicBezTo>
                    <a:pt x="7841" y="2155"/>
                    <a:pt x="7842" y="2146"/>
                    <a:pt x="7834" y="2139"/>
                  </a:cubicBezTo>
                  <a:cubicBezTo>
                    <a:pt x="7826" y="2132"/>
                    <a:pt x="7810" y="2119"/>
                    <a:pt x="7807" y="2118"/>
                  </a:cubicBezTo>
                  <a:cubicBezTo>
                    <a:pt x="7804" y="2117"/>
                    <a:pt x="7785" y="2108"/>
                    <a:pt x="7785" y="2108"/>
                  </a:cubicBezTo>
                  <a:cubicBezTo>
                    <a:pt x="7785" y="2108"/>
                    <a:pt x="7792" y="2102"/>
                    <a:pt x="7796" y="2103"/>
                  </a:cubicBezTo>
                  <a:cubicBezTo>
                    <a:pt x="7800" y="2104"/>
                    <a:pt x="7823" y="2127"/>
                    <a:pt x="7837" y="2129"/>
                  </a:cubicBezTo>
                  <a:cubicBezTo>
                    <a:pt x="7851" y="2131"/>
                    <a:pt x="7857" y="2115"/>
                    <a:pt x="7844" y="2113"/>
                  </a:cubicBezTo>
                  <a:cubicBezTo>
                    <a:pt x="7831" y="2111"/>
                    <a:pt x="7821" y="2107"/>
                    <a:pt x="7821" y="2107"/>
                  </a:cubicBezTo>
                  <a:cubicBezTo>
                    <a:pt x="7821" y="2107"/>
                    <a:pt x="7807" y="2099"/>
                    <a:pt x="7805" y="2092"/>
                  </a:cubicBezTo>
                  <a:cubicBezTo>
                    <a:pt x="7803" y="2085"/>
                    <a:pt x="7791" y="2068"/>
                    <a:pt x="7791" y="2068"/>
                  </a:cubicBezTo>
                  <a:cubicBezTo>
                    <a:pt x="7791" y="2068"/>
                    <a:pt x="7780" y="2051"/>
                    <a:pt x="7775" y="2045"/>
                  </a:cubicBezTo>
                  <a:cubicBezTo>
                    <a:pt x="7770" y="2039"/>
                    <a:pt x="7765" y="2018"/>
                    <a:pt x="7772" y="2015"/>
                  </a:cubicBezTo>
                  <a:cubicBezTo>
                    <a:pt x="7779" y="2012"/>
                    <a:pt x="7781" y="2029"/>
                    <a:pt x="7789" y="2029"/>
                  </a:cubicBezTo>
                  <a:cubicBezTo>
                    <a:pt x="7791" y="2029"/>
                    <a:pt x="7794" y="2029"/>
                    <a:pt x="7797" y="2029"/>
                  </a:cubicBezTo>
                  <a:cubicBezTo>
                    <a:pt x="7801" y="2037"/>
                    <a:pt x="7805" y="2046"/>
                    <a:pt x="7807" y="2047"/>
                  </a:cubicBezTo>
                  <a:cubicBezTo>
                    <a:pt x="7810" y="2049"/>
                    <a:pt x="7816" y="2045"/>
                    <a:pt x="7816" y="2045"/>
                  </a:cubicBezTo>
                  <a:cubicBezTo>
                    <a:pt x="7808" y="2030"/>
                    <a:pt x="7808" y="2030"/>
                    <a:pt x="7808" y="2030"/>
                  </a:cubicBezTo>
                  <a:cubicBezTo>
                    <a:pt x="7809" y="2030"/>
                    <a:pt x="7810" y="2030"/>
                    <a:pt x="7811" y="2030"/>
                  </a:cubicBezTo>
                  <a:cubicBezTo>
                    <a:pt x="7829" y="2041"/>
                    <a:pt x="7829" y="2041"/>
                    <a:pt x="7829" y="2041"/>
                  </a:cubicBezTo>
                  <a:cubicBezTo>
                    <a:pt x="7820" y="2028"/>
                    <a:pt x="7820" y="2028"/>
                    <a:pt x="7820" y="2028"/>
                  </a:cubicBezTo>
                  <a:cubicBezTo>
                    <a:pt x="7820" y="2028"/>
                    <a:pt x="7821" y="2028"/>
                    <a:pt x="7821" y="2028"/>
                  </a:cubicBezTo>
                  <a:cubicBezTo>
                    <a:pt x="7824" y="2025"/>
                    <a:pt x="7825" y="2017"/>
                    <a:pt x="7824" y="2009"/>
                  </a:cubicBezTo>
                  <a:cubicBezTo>
                    <a:pt x="7823" y="2001"/>
                    <a:pt x="7841" y="1997"/>
                    <a:pt x="7850" y="2000"/>
                  </a:cubicBezTo>
                  <a:cubicBezTo>
                    <a:pt x="7859" y="2003"/>
                    <a:pt x="7852" y="2016"/>
                    <a:pt x="7861" y="2013"/>
                  </a:cubicBezTo>
                  <a:cubicBezTo>
                    <a:pt x="7870" y="2010"/>
                    <a:pt x="7873" y="1995"/>
                    <a:pt x="7878" y="1994"/>
                  </a:cubicBezTo>
                  <a:cubicBezTo>
                    <a:pt x="7883" y="1993"/>
                    <a:pt x="7926" y="2003"/>
                    <a:pt x="7926" y="2003"/>
                  </a:cubicBezTo>
                  <a:cubicBezTo>
                    <a:pt x="7926" y="2003"/>
                    <a:pt x="7914" y="2015"/>
                    <a:pt x="7929" y="2014"/>
                  </a:cubicBezTo>
                  <a:cubicBezTo>
                    <a:pt x="7944" y="2013"/>
                    <a:pt x="7955" y="2008"/>
                    <a:pt x="7955" y="2008"/>
                  </a:cubicBezTo>
                  <a:cubicBezTo>
                    <a:pt x="7955" y="2008"/>
                    <a:pt x="7951" y="2018"/>
                    <a:pt x="7959" y="2015"/>
                  </a:cubicBezTo>
                  <a:cubicBezTo>
                    <a:pt x="7967" y="2012"/>
                    <a:pt x="7986" y="1993"/>
                    <a:pt x="7986" y="1993"/>
                  </a:cubicBezTo>
                  <a:cubicBezTo>
                    <a:pt x="7986" y="1993"/>
                    <a:pt x="8020" y="1981"/>
                    <a:pt x="8031" y="1989"/>
                  </a:cubicBezTo>
                  <a:cubicBezTo>
                    <a:pt x="8042" y="1997"/>
                    <a:pt x="8076" y="2002"/>
                    <a:pt x="8076" y="2002"/>
                  </a:cubicBezTo>
                  <a:cubicBezTo>
                    <a:pt x="8076" y="2002"/>
                    <a:pt x="8045" y="2006"/>
                    <a:pt x="8044" y="2009"/>
                  </a:cubicBezTo>
                  <a:cubicBezTo>
                    <a:pt x="8043" y="2012"/>
                    <a:pt x="8038" y="2021"/>
                    <a:pt x="8038" y="2021"/>
                  </a:cubicBezTo>
                  <a:cubicBezTo>
                    <a:pt x="8005" y="2022"/>
                    <a:pt x="8005" y="2022"/>
                    <a:pt x="8005" y="2022"/>
                  </a:cubicBezTo>
                  <a:cubicBezTo>
                    <a:pt x="7971" y="2019"/>
                    <a:pt x="7971" y="2019"/>
                    <a:pt x="7971" y="2019"/>
                  </a:cubicBezTo>
                  <a:cubicBezTo>
                    <a:pt x="7971" y="2019"/>
                    <a:pt x="7945" y="2025"/>
                    <a:pt x="7941" y="2033"/>
                  </a:cubicBezTo>
                  <a:cubicBezTo>
                    <a:pt x="7937" y="2041"/>
                    <a:pt x="7928" y="2071"/>
                    <a:pt x="7928" y="2071"/>
                  </a:cubicBezTo>
                  <a:cubicBezTo>
                    <a:pt x="7955" y="2070"/>
                    <a:pt x="7955" y="2070"/>
                    <a:pt x="7955" y="2070"/>
                  </a:cubicBezTo>
                  <a:cubicBezTo>
                    <a:pt x="7955" y="2070"/>
                    <a:pt x="7951" y="2079"/>
                    <a:pt x="7956" y="2087"/>
                  </a:cubicBezTo>
                  <a:cubicBezTo>
                    <a:pt x="7961" y="2095"/>
                    <a:pt x="7967" y="2103"/>
                    <a:pt x="7967" y="2103"/>
                  </a:cubicBezTo>
                  <a:cubicBezTo>
                    <a:pt x="7962" y="2114"/>
                    <a:pt x="7962" y="2114"/>
                    <a:pt x="7962" y="2114"/>
                  </a:cubicBezTo>
                  <a:cubicBezTo>
                    <a:pt x="7972" y="2129"/>
                    <a:pt x="7972" y="2129"/>
                    <a:pt x="7972" y="2129"/>
                  </a:cubicBezTo>
                  <a:cubicBezTo>
                    <a:pt x="7963" y="2140"/>
                    <a:pt x="7963" y="2140"/>
                    <a:pt x="7963" y="2140"/>
                  </a:cubicBezTo>
                  <a:cubicBezTo>
                    <a:pt x="7987" y="2162"/>
                    <a:pt x="7987" y="2162"/>
                    <a:pt x="7987" y="2162"/>
                  </a:cubicBezTo>
                  <a:cubicBezTo>
                    <a:pt x="7985" y="2186"/>
                    <a:pt x="7985" y="2186"/>
                    <a:pt x="7985" y="2186"/>
                  </a:cubicBezTo>
                  <a:cubicBezTo>
                    <a:pt x="8019" y="2203"/>
                    <a:pt x="8019" y="2203"/>
                    <a:pt x="8019" y="2203"/>
                  </a:cubicBezTo>
                  <a:cubicBezTo>
                    <a:pt x="8025" y="2225"/>
                    <a:pt x="8025" y="2225"/>
                    <a:pt x="8025" y="2225"/>
                  </a:cubicBezTo>
                  <a:cubicBezTo>
                    <a:pt x="8025" y="2225"/>
                    <a:pt x="8022" y="2213"/>
                    <a:pt x="8041" y="2218"/>
                  </a:cubicBezTo>
                  <a:cubicBezTo>
                    <a:pt x="8060" y="2223"/>
                    <a:pt x="8057" y="2240"/>
                    <a:pt x="8087" y="2243"/>
                  </a:cubicBezTo>
                  <a:cubicBezTo>
                    <a:pt x="8117" y="2246"/>
                    <a:pt x="8129" y="2245"/>
                    <a:pt x="8129" y="2238"/>
                  </a:cubicBezTo>
                  <a:cubicBezTo>
                    <a:pt x="8129" y="2231"/>
                    <a:pt x="8131" y="2212"/>
                    <a:pt x="8141" y="2211"/>
                  </a:cubicBezTo>
                  <a:cubicBezTo>
                    <a:pt x="8151" y="2210"/>
                    <a:pt x="8178" y="2217"/>
                    <a:pt x="8192" y="2222"/>
                  </a:cubicBezTo>
                  <a:cubicBezTo>
                    <a:pt x="8206" y="2227"/>
                    <a:pt x="8192" y="2254"/>
                    <a:pt x="8238" y="2253"/>
                  </a:cubicBezTo>
                  <a:cubicBezTo>
                    <a:pt x="8284" y="2252"/>
                    <a:pt x="8285" y="2227"/>
                    <a:pt x="8301" y="2222"/>
                  </a:cubicBezTo>
                  <a:cubicBezTo>
                    <a:pt x="8317" y="2217"/>
                    <a:pt x="8329" y="2213"/>
                    <a:pt x="8336" y="2219"/>
                  </a:cubicBezTo>
                  <a:cubicBezTo>
                    <a:pt x="8343" y="2225"/>
                    <a:pt x="8345" y="2231"/>
                    <a:pt x="8356" y="2226"/>
                  </a:cubicBezTo>
                  <a:cubicBezTo>
                    <a:pt x="8367" y="2221"/>
                    <a:pt x="8374" y="2205"/>
                    <a:pt x="8381" y="2212"/>
                  </a:cubicBezTo>
                  <a:cubicBezTo>
                    <a:pt x="8388" y="2219"/>
                    <a:pt x="8380" y="2228"/>
                    <a:pt x="8377" y="2234"/>
                  </a:cubicBezTo>
                  <a:cubicBezTo>
                    <a:pt x="8374" y="2240"/>
                    <a:pt x="8367" y="2252"/>
                    <a:pt x="8374" y="2257"/>
                  </a:cubicBezTo>
                  <a:cubicBezTo>
                    <a:pt x="8375" y="2258"/>
                    <a:pt x="8376" y="2259"/>
                    <a:pt x="8375" y="2261"/>
                  </a:cubicBezTo>
                  <a:cubicBezTo>
                    <a:pt x="8373" y="2266"/>
                    <a:pt x="8363" y="2274"/>
                    <a:pt x="8366" y="2281"/>
                  </a:cubicBezTo>
                  <a:cubicBezTo>
                    <a:pt x="8362" y="2282"/>
                    <a:pt x="8362" y="2282"/>
                    <a:pt x="8362" y="2282"/>
                  </a:cubicBezTo>
                  <a:cubicBezTo>
                    <a:pt x="8361" y="2314"/>
                    <a:pt x="8361" y="2314"/>
                    <a:pt x="8361" y="2314"/>
                  </a:cubicBezTo>
                  <a:cubicBezTo>
                    <a:pt x="8361" y="2314"/>
                    <a:pt x="8375" y="2322"/>
                    <a:pt x="8378" y="2330"/>
                  </a:cubicBezTo>
                  <a:cubicBezTo>
                    <a:pt x="8378" y="2332"/>
                    <a:pt x="8378" y="2334"/>
                    <a:pt x="8377" y="2335"/>
                  </a:cubicBezTo>
                  <a:cubicBezTo>
                    <a:pt x="8370" y="2345"/>
                    <a:pt x="8361" y="2351"/>
                    <a:pt x="8361" y="2351"/>
                  </a:cubicBezTo>
                  <a:cubicBezTo>
                    <a:pt x="8352" y="2375"/>
                    <a:pt x="8352" y="2375"/>
                    <a:pt x="8352" y="2375"/>
                  </a:cubicBezTo>
                  <a:cubicBezTo>
                    <a:pt x="8352" y="2375"/>
                    <a:pt x="8342" y="2399"/>
                    <a:pt x="8341" y="2419"/>
                  </a:cubicBezTo>
                  <a:cubicBezTo>
                    <a:pt x="8341" y="2424"/>
                    <a:pt x="8341" y="2430"/>
                    <a:pt x="8342" y="2435"/>
                  </a:cubicBezTo>
                  <a:cubicBezTo>
                    <a:pt x="8343" y="2448"/>
                    <a:pt x="8347" y="2459"/>
                    <a:pt x="8347" y="2459"/>
                  </a:cubicBezTo>
                  <a:cubicBezTo>
                    <a:pt x="8333" y="2485"/>
                    <a:pt x="8333" y="2485"/>
                    <a:pt x="8333" y="2485"/>
                  </a:cubicBezTo>
                  <a:cubicBezTo>
                    <a:pt x="8331" y="2501"/>
                    <a:pt x="8331" y="2501"/>
                    <a:pt x="8331" y="2501"/>
                  </a:cubicBezTo>
                  <a:cubicBezTo>
                    <a:pt x="8320" y="2509"/>
                    <a:pt x="8320" y="2509"/>
                    <a:pt x="8320" y="2509"/>
                  </a:cubicBezTo>
                  <a:cubicBezTo>
                    <a:pt x="8320" y="2509"/>
                    <a:pt x="8282" y="2524"/>
                    <a:pt x="8273" y="2520"/>
                  </a:cubicBezTo>
                  <a:cubicBezTo>
                    <a:pt x="8264" y="2516"/>
                    <a:pt x="8258" y="2512"/>
                    <a:pt x="8258" y="2512"/>
                  </a:cubicBezTo>
                  <a:cubicBezTo>
                    <a:pt x="8258" y="2512"/>
                    <a:pt x="8249" y="2523"/>
                    <a:pt x="8235" y="2516"/>
                  </a:cubicBezTo>
                  <a:cubicBezTo>
                    <a:pt x="8221" y="2509"/>
                    <a:pt x="8226" y="2500"/>
                    <a:pt x="8210" y="2497"/>
                  </a:cubicBezTo>
                  <a:cubicBezTo>
                    <a:pt x="8194" y="2494"/>
                    <a:pt x="8173" y="2504"/>
                    <a:pt x="8173" y="2504"/>
                  </a:cubicBezTo>
                  <a:cubicBezTo>
                    <a:pt x="8173" y="2504"/>
                    <a:pt x="8158" y="2497"/>
                    <a:pt x="8147" y="2501"/>
                  </a:cubicBezTo>
                  <a:cubicBezTo>
                    <a:pt x="8136" y="2505"/>
                    <a:pt x="8128" y="2520"/>
                    <a:pt x="8128" y="2520"/>
                  </a:cubicBezTo>
                  <a:cubicBezTo>
                    <a:pt x="8128" y="2520"/>
                    <a:pt x="8116" y="2518"/>
                    <a:pt x="8112" y="2520"/>
                  </a:cubicBezTo>
                  <a:cubicBezTo>
                    <a:pt x="8108" y="2522"/>
                    <a:pt x="8095" y="2533"/>
                    <a:pt x="8095" y="2533"/>
                  </a:cubicBezTo>
                  <a:cubicBezTo>
                    <a:pt x="8095" y="2533"/>
                    <a:pt x="8061" y="2519"/>
                    <a:pt x="8055" y="2519"/>
                  </a:cubicBezTo>
                  <a:cubicBezTo>
                    <a:pt x="8049" y="2519"/>
                    <a:pt x="8038" y="2522"/>
                    <a:pt x="8025" y="2519"/>
                  </a:cubicBezTo>
                  <a:cubicBezTo>
                    <a:pt x="8012" y="2516"/>
                    <a:pt x="8010" y="2504"/>
                    <a:pt x="7997" y="2503"/>
                  </a:cubicBezTo>
                  <a:cubicBezTo>
                    <a:pt x="7984" y="2502"/>
                    <a:pt x="7974" y="2502"/>
                    <a:pt x="7974" y="2502"/>
                  </a:cubicBezTo>
                  <a:cubicBezTo>
                    <a:pt x="7974" y="2502"/>
                    <a:pt x="7954" y="2491"/>
                    <a:pt x="7945" y="2491"/>
                  </a:cubicBezTo>
                  <a:cubicBezTo>
                    <a:pt x="7936" y="2491"/>
                    <a:pt x="7931" y="2505"/>
                    <a:pt x="7916" y="2496"/>
                  </a:cubicBezTo>
                  <a:cubicBezTo>
                    <a:pt x="7913" y="2494"/>
                    <a:pt x="7911" y="2492"/>
                    <a:pt x="7909" y="2490"/>
                  </a:cubicBezTo>
                  <a:cubicBezTo>
                    <a:pt x="7903" y="2481"/>
                    <a:pt x="7905" y="2472"/>
                    <a:pt x="7905" y="2472"/>
                  </a:cubicBezTo>
                  <a:cubicBezTo>
                    <a:pt x="7890" y="2477"/>
                    <a:pt x="7890" y="2477"/>
                    <a:pt x="7890" y="2477"/>
                  </a:cubicBezTo>
                  <a:cubicBezTo>
                    <a:pt x="7883" y="2468"/>
                    <a:pt x="7883" y="2468"/>
                    <a:pt x="7883" y="2468"/>
                  </a:cubicBezTo>
                  <a:cubicBezTo>
                    <a:pt x="7883" y="2468"/>
                    <a:pt x="7878" y="2476"/>
                    <a:pt x="7871" y="2476"/>
                  </a:cubicBezTo>
                  <a:cubicBezTo>
                    <a:pt x="7864" y="2476"/>
                    <a:pt x="7856" y="2459"/>
                    <a:pt x="7847" y="2459"/>
                  </a:cubicBezTo>
                  <a:cubicBezTo>
                    <a:pt x="7838" y="2459"/>
                    <a:pt x="7828" y="2466"/>
                    <a:pt x="7817" y="2458"/>
                  </a:cubicBezTo>
                  <a:cubicBezTo>
                    <a:pt x="7806" y="2450"/>
                    <a:pt x="7815" y="2441"/>
                    <a:pt x="7806" y="2437"/>
                  </a:cubicBezTo>
                  <a:cubicBezTo>
                    <a:pt x="7797" y="2433"/>
                    <a:pt x="7779" y="2432"/>
                    <a:pt x="7779" y="2432"/>
                  </a:cubicBezTo>
                  <a:cubicBezTo>
                    <a:pt x="7779" y="2432"/>
                    <a:pt x="7758" y="2424"/>
                    <a:pt x="7750" y="2424"/>
                  </a:cubicBezTo>
                  <a:cubicBezTo>
                    <a:pt x="7742" y="2424"/>
                    <a:pt x="7742" y="2432"/>
                    <a:pt x="7742" y="2432"/>
                  </a:cubicBezTo>
                  <a:cubicBezTo>
                    <a:pt x="7742" y="2432"/>
                    <a:pt x="7712" y="2430"/>
                    <a:pt x="7699" y="2440"/>
                  </a:cubicBezTo>
                  <a:cubicBezTo>
                    <a:pt x="7686" y="2450"/>
                    <a:pt x="7669" y="2463"/>
                    <a:pt x="7669" y="2479"/>
                  </a:cubicBezTo>
                  <a:cubicBezTo>
                    <a:pt x="7669" y="2495"/>
                    <a:pt x="7685" y="2514"/>
                    <a:pt x="7685" y="2523"/>
                  </a:cubicBezTo>
                  <a:cubicBezTo>
                    <a:pt x="7685" y="2532"/>
                    <a:pt x="7664" y="2561"/>
                    <a:pt x="7652" y="2563"/>
                  </a:cubicBezTo>
                  <a:cubicBezTo>
                    <a:pt x="7640" y="2565"/>
                    <a:pt x="7622" y="2568"/>
                    <a:pt x="7608" y="2553"/>
                  </a:cubicBezTo>
                  <a:cubicBezTo>
                    <a:pt x="7594" y="2538"/>
                    <a:pt x="7555" y="2515"/>
                    <a:pt x="7540" y="2514"/>
                  </a:cubicBezTo>
                  <a:cubicBezTo>
                    <a:pt x="7525" y="2513"/>
                    <a:pt x="7491" y="2522"/>
                    <a:pt x="7478" y="2506"/>
                  </a:cubicBezTo>
                  <a:cubicBezTo>
                    <a:pt x="7465" y="2490"/>
                    <a:pt x="7469" y="2478"/>
                    <a:pt x="7460" y="2462"/>
                  </a:cubicBezTo>
                  <a:cubicBezTo>
                    <a:pt x="7451" y="2446"/>
                    <a:pt x="7433" y="2449"/>
                    <a:pt x="7433" y="2449"/>
                  </a:cubicBezTo>
                  <a:cubicBezTo>
                    <a:pt x="7433" y="2449"/>
                    <a:pt x="7409" y="2431"/>
                    <a:pt x="7401" y="2430"/>
                  </a:cubicBezTo>
                  <a:cubicBezTo>
                    <a:pt x="7393" y="2429"/>
                    <a:pt x="7369" y="2428"/>
                    <a:pt x="7362" y="2429"/>
                  </a:cubicBezTo>
                  <a:cubicBezTo>
                    <a:pt x="7355" y="2430"/>
                    <a:pt x="7343" y="2437"/>
                    <a:pt x="7332" y="2433"/>
                  </a:cubicBezTo>
                  <a:cubicBezTo>
                    <a:pt x="7321" y="2429"/>
                    <a:pt x="7301" y="2413"/>
                    <a:pt x="7296" y="2412"/>
                  </a:cubicBezTo>
                  <a:cubicBezTo>
                    <a:pt x="7293" y="2411"/>
                    <a:pt x="7289" y="2410"/>
                    <a:pt x="7285" y="2409"/>
                  </a:cubicBezTo>
                  <a:cubicBezTo>
                    <a:pt x="7280" y="2408"/>
                    <a:pt x="7277" y="2407"/>
                    <a:pt x="7277" y="2407"/>
                  </a:cubicBezTo>
                  <a:cubicBezTo>
                    <a:pt x="7270" y="2388"/>
                    <a:pt x="7270" y="2388"/>
                    <a:pt x="7270" y="2388"/>
                  </a:cubicBezTo>
                  <a:cubicBezTo>
                    <a:pt x="7260" y="2382"/>
                    <a:pt x="7260" y="2382"/>
                    <a:pt x="7260" y="2382"/>
                  </a:cubicBezTo>
                  <a:cubicBezTo>
                    <a:pt x="7258" y="2393"/>
                    <a:pt x="7258" y="2393"/>
                    <a:pt x="7258" y="2393"/>
                  </a:cubicBezTo>
                  <a:cubicBezTo>
                    <a:pt x="7252" y="2384"/>
                    <a:pt x="7252" y="2384"/>
                    <a:pt x="7252" y="2384"/>
                  </a:cubicBezTo>
                  <a:cubicBezTo>
                    <a:pt x="7252" y="2384"/>
                    <a:pt x="7221" y="2383"/>
                    <a:pt x="7221" y="2364"/>
                  </a:cubicBezTo>
                  <a:cubicBezTo>
                    <a:pt x="7221" y="2345"/>
                    <a:pt x="7219" y="2355"/>
                    <a:pt x="7242" y="2335"/>
                  </a:cubicBezTo>
                  <a:cubicBezTo>
                    <a:pt x="7265" y="2315"/>
                    <a:pt x="7279" y="2299"/>
                    <a:pt x="7266" y="2283"/>
                  </a:cubicBezTo>
                  <a:cubicBezTo>
                    <a:pt x="7253" y="2267"/>
                    <a:pt x="7238" y="2270"/>
                    <a:pt x="7242" y="2254"/>
                  </a:cubicBezTo>
                  <a:cubicBezTo>
                    <a:pt x="7246" y="2238"/>
                    <a:pt x="7245" y="2240"/>
                    <a:pt x="7255" y="2231"/>
                  </a:cubicBezTo>
                  <a:cubicBezTo>
                    <a:pt x="7265" y="2222"/>
                    <a:pt x="7273" y="2200"/>
                    <a:pt x="7266" y="2199"/>
                  </a:cubicBezTo>
                  <a:cubicBezTo>
                    <a:pt x="7259" y="2198"/>
                    <a:pt x="7240" y="2224"/>
                    <a:pt x="7235" y="2226"/>
                  </a:cubicBezTo>
                  <a:cubicBezTo>
                    <a:pt x="7230" y="2228"/>
                    <a:pt x="7218" y="2214"/>
                    <a:pt x="7218" y="2214"/>
                  </a:cubicBezTo>
                  <a:cubicBezTo>
                    <a:pt x="7218" y="2214"/>
                    <a:pt x="7237" y="2197"/>
                    <a:pt x="7220" y="2189"/>
                  </a:cubicBezTo>
                  <a:cubicBezTo>
                    <a:pt x="7203" y="2181"/>
                    <a:pt x="7176" y="2200"/>
                    <a:pt x="7170" y="2204"/>
                  </a:cubicBezTo>
                  <a:cubicBezTo>
                    <a:pt x="7168" y="2205"/>
                    <a:pt x="7166" y="2206"/>
                    <a:pt x="7163" y="2206"/>
                  </a:cubicBezTo>
                  <a:cubicBezTo>
                    <a:pt x="7163" y="2216"/>
                    <a:pt x="7163" y="2216"/>
                    <a:pt x="7163" y="2216"/>
                  </a:cubicBezTo>
                  <a:cubicBezTo>
                    <a:pt x="7163" y="2206"/>
                    <a:pt x="7163" y="2206"/>
                    <a:pt x="7163" y="2206"/>
                  </a:cubicBezTo>
                  <a:cubicBezTo>
                    <a:pt x="7154" y="2206"/>
                    <a:pt x="7143" y="2205"/>
                    <a:pt x="7143" y="2205"/>
                  </a:cubicBezTo>
                  <a:cubicBezTo>
                    <a:pt x="7134" y="2210"/>
                    <a:pt x="7134" y="2210"/>
                    <a:pt x="7134" y="2210"/>
                  </a:cubicBezTo>
                  <a:cubicBezTo>
                    <a:pt x="7107" y="2198"/>
                    <a:pt x="7107" y="2198"/>
                    <a:pt x="7107" y="2198"/>
                  </a:cubicBezTo>
                  <a:cubicBezTo>
                    <a:pt x="7097" y="2200"/>
                    <a:pt x="7097" y="2200"/>
                    <a:pt x="7097" y="2200"/>
                  </a:cubicBezTo>
                  <a:cubicBezTo>
                    <a:pt x="7097" y="2209"/>
                    <a:pt x="7097" y="2209"/>
                    <a:pt x="7097" y="2209"/>
                  </a:cubicBezTo>
                  <a:cubicBezTo>
                    <a:pt x="7072" y="2207"/>
                    <a:pt x="7072" y="2207"/>
                    <a:pt x="7072" y="2207"/>
                  </a:cubicBezTo>
                  <a:cubicBezTo>
                    <a:pt x="7056" y="2195"/>
                    <a:pt x="7056" y="2195"/>
                    <a:pt x="7056" y="2195"/>
                  </a:cubicBezTo>
                  <a:cubicBezTo>
                    <a:pt x="7052" y="2214"/>
                    <a:pt x="7052" y="2214"/>
                    <a:pt x="7052" y="2214"/>
                  </a:cubicBezTo>
                  <a:cubicBezTo>
                    <a:pt x="7032" y="2209"/>
                    <a:pt x="7032" y="2209"/>
                    <a:pt x="7032" y="2209"/>
                  </a:cubicBezTo>
                  <a:cubicBezTo>
                    <a:pt x="7014" y="2224"/>
                    <a:pt x="7014" y="2224"/>
                    <a:pt x="7014" y="2224"/>
                  </a:cubicBezTo>
                  <a:cubicBezTo>
                    <a:pt x="7014" y="2224"/>
                    <a:pt x="6990" y="2212"/>
                    <a:pt x="6959" y="2213"/>
                  </a:cubicBezTo>
                  <a:cubicBezTo>
                    <a:pt x="6928" y="2214"/>
                    <a:pt x="6927" y="2221"/>
                    <a:pt x="6913" y="2222"/>
                  </a:cubicBezTo>
                  <a:cubicBezTo>
                    <a:pt x="6899" y="2223"/>
                    <a:pt x="6873" y="2222"/>
                    <a:pt x="6873" y="2222"/>
                  </a:cubicBezTo>
                  <a:cubicBezTo>
                    <a:pt x="6870" y="2229"/>
                    <a:pt x="6870" y="2229"/>
                    <a:pt x="6870" y="2229"/>
                  </a:cubicBezTo>
                  <a:cubicBezTo>
                    <a:pt x="6831" y="2228"/>
                    <a:pt x="6831" y="2228"/>
                    <a:pt x="6831" y="2228"/>
                  </a:cubicBezTo>
                  <a:cubicBezTo>
                    <a:pt x="6831" y="2228"/>
                    <a:pt x="6784" y="2238"/>
                    <a:pt x="6783" y="2246"/>
                  </a:cubicBezTo>
                  <a:cubicBezTo>
                    <a:pt x="6782" y="2254"/>
                    <a:pt x="6774" y="2267"/>
                    <a:pt x="6774" y="2267"/>
                  </a:cubicBezTo>
                  <a:cubicBezTo>
                    <a:pt x="6774" y="2267"/>
                    <a:pt x="6724" y="2269"/>
                    <a:pt x="6722" y="2278"/>
                  </a:cubicBezTo>
                  <a:cubicBezTo>
                    <a:pt x="6720" y="2287"/>
                    <a:pt x="6698" y="2308"/>
                    <a:pt x="6683" y="2308"/>
                  </a:cubicBezTo>
                  <a:cubicBezTo>
                    <a:pt x="6681" y="2308"/>
                    <a:pt x="6679" y="2308"/>
                    <a:pt x="6677" y="2307"/>
                  </a:cubicBezTo>
                  <a:cubicBezTo>
                    <a:pt x="6677" y="2307"/>
                    <a:pt x="6677" y="2307"/>
                    <a:pt x="6677" y="2307"/>
                  </a:cubicBezTo>
                  <a:cubicBezTo>
                    <a:pt x="6664" y="2304"/>
                    <a:pt x="6652" y="2294"/>
                    <a:pt x="6643" y="2294"/>
                  </a:cubicBezTo>
                  <a:cubicBezTo>
                    <a:pt x="6633" y="2294"/>
                    <a:pt x="6626" y="2302"/>
                    <a:pt x="6626" y="2302"/>
                  </a:cubicBezTo>
                  <a:cubicBezTo>
                    <a:pt x="6626" y="2302"/>
                    <a:pt x="6603" y="2297"/>
                    <a:pt x="6595" y="2297"/>
                  </a:cubicBezTo>
                  <a:cubicBezTo>
                    <a:pt x="6587" y="2297"/>
                    <a:pt x="6579" y="2306"/>
                    <a:pt x="6564" y="2301"/>
                  </a:cubicBezTo>
                  <a:cubicBezTo>
                    <a:pt x="6549" y="2296"/>
                    <a:pt x="6534" y="2272"/>
                    <a:pt x="6530" y="2270"/>
                  </a:cubicBezTo>
                  <a:cubicBezTo>
                    <a:pt x="6526" y="2268"/>
                    <a:pt x="6510" y="2268"/>
                    <a:pt x="6510" y="2268"/>
                  </a:cubicBezTo>
                  <a:cubicBezTo>
                    <a:pt x="6510" y="2268"/>
                    <a:pt x="6499" y="2303"/>
                    <a:pt x="6493" y="2316"/>
                  </a:cubicBezTo>
                  <a:cubicBezTo>
                    <a:pt x="6487" y="2329"/>
                    <a:pt x="6468" y="2366"/>
                    <a:pt x="6456" y="2375"/>
                  </a:cubicBezTo>
                  <a:cubicBezTo>
                    <a:pt x="6444" y="2384"/>
                    <a:pt x="6428" y="2380"/>
                    <a:pt x="6423" y="2384"/>
                  </a:cubicBezTo>
                  <a:cubicBezTo>
                    <a:pt x="6418" y="2388"/>
                    <a:pt x="6407" y="2399"/>
                    <a:pt x="6407" y="2399"/>
                  </a:cubicBezTo>
                  <a:cubicBezTo>
                    <a:pt x="6395" y="2396"/>
                    <a:pt x="6395" y="2396"/>
                    <a:pt x="6395" y="2396"/>
                  </a:cubicBezTo>
                  <a:cubicBezTo>
                    <a:pt x="6378" y="2405"/>
                    <a:pt x="6378" y="2405"/>
                    <a:pt x="6378" y="2405"/>
                  </a:cubicBezTo>
                  <a:cubicBezTo>
                    <a:pt x="6378" y="2405"/>
                    <a:pt x="6373" y="2418"/>
                    <a:pt x="6367" y="2426"/>
                  </a:cubicBezTo>
                  <a:cubicBezTo>
                    <a:pt x="6367" y="2426"/>
                    <a:pt x="6347" y="2438"/>
                    <a:pt x="6347" y="2442"/>
                  </a:cubicBezTo>
                  <a:cubicBezTo>
                    <a:pt x="6347" y="2446"/>
                    <a:pt x="6351" y="2460"/>
                    <a:pt x="6344" y="2467"/>
                  </a:cubicBezTo>
                  <a:cubicBezTo>
                    <a:pt x="6337" y="2474"/>
                    <a:pt x="6320" y="2498"/>
                    <a:pt x="6321" y="2512"/>
                  </a:cubicBezTo>
                  <a:cubicBezTo>
                    <a:pt x="6322" y="2526"/>
                    <a:pt x="6322" y="2537"/>
                    <a:pt x="6322" y="2537"/>
                  </a:cubicBezTo>
                  <a:cubicBezTo>
                    <a:pt x="6322" y="2537"/>
                    <a:pt x="6314" y="2541"/>
                    <a:pt x="6314" y="2544"/>
                  </a:cubicBezTo>
                  <a:cubicBezTo>
                    <a:pt x="6314" y="2547"/>
                    <a:pt x="6329" y="2545"/>
                    <a:pt x="6326" y="2560"/>
                  </a:cubicBezTo>
                  <a:cubicBezTo>
                    <a:pt x="6323" y="2575"/>
                    <a:pt x="6325" y="2584"/>
                    <a:pt x="6325" y="2584"/>
                  </a:cubicBezTo>
                  <a:cubicBezTo>
                    <a:pt x="6325" y="2584"/>
                    <a:pt x="6319" y="2578"/>
                    <a:pt x="6310" y="2589"/>
                  </a:cubicBezTo>
                  <a:cubicBezTo>
                    <a:pt x="6301" y="2600"/>
                    <a:pt x="6294" y="2616"/>
                    <a:pt x="6286" y="2627"/>
                  </a:cubicBezTo>
                  <a:cubicBezTo>
                    <a:pt x="6278" y="2638"/>
                    <a:pt x="6264" y="2634"/>
                    <a:pt x="6257" y="2644"/>
                  </a:cubicBezTo>
                  <a:cubicBezTo>
                    <a:pt x="6250" y="2654"/>
                    <a:pt x="6242" y="2666"/>
                    <a:pt x="6236" y="2672"/>
                  </a:cubicBezTo>
                  <a:cubicBezTo>
                    <a:pt x="6230" y="2678"/>
                    <a:pt x="6192" y="2688"/>
                    <a:pt x="6188" y="2689"/>
                  </a:cubicBezTo>
                  <a:cubicBezTo>
                    <a:pt x="6184" y="2690"/>
                    <a:pt x="6165" y="2691"/>
                    <a:pt x="6165" y="2691"/>
                  </a:cubicBezTo>
                  <a:cubicBezTo>
                    <a:pt x="6165" y="2691"/>
                    <a:pt x="6160" y="2697"/>
                    <a:pt x="6156" y="2706"/>
                  </a:cubicBezTo>
                  <a:cubicBezTo>
                    <a:pt x="6154" y="2709"/>
                    <a:pt x="6152" y="2714"/>
                    <a:pt x="6150" y="2718"/>
                  </a:cubicBezTo>
                  <a:cubicBezTo>
                    <a:pt x="6145" y="2731"/>
                    <a:pt x="6140" y="2753"/>
                    <a:pt x="6140" y="2753"/>
                  </a:cubicBezTo>
                  <a:cubicBezTo>
                    <a:pt x="6140" y="2753"/>
                    <a:pt x="6128" y="2763"/>
                    <a:pt x="6124" y="2767"/>
                  </a:cubicBezTo>
                  <a:cubicBezTo>
                    <a:pt x="6120" y="2771"/>
                    <a:pt x="6104" y="2772"/>
                    <a:pt x="6104" y="2772"/>
                  </a:cubicBezTo>
                  <a:cubicBezTo>
                    <a:pt x="6104" y="2772"/>
                    <a:pt x="6093" y="2769"/>
                    <a:pt x="6089" y="2778"/>
                  </a:cubicBezTo>
                  <a:cubicBezTo>
                    <a:pt x="6085" y="2787"/>
                    <a:pt x="6087" y="2803"/>
                    <a:pt x="6087" y="2803"/>
                  </a:cubicBezTo>
                  <a:cubicBezTo>
                    <a:pt x="6087" y="2803"/>
                    <a:pt x="6068" y="2822"/>
                    <a:pt x="6068" y="2828"/>
                  </a:cubicBezTo>
                  <a:cubicBezTo>
                    <a:pt x="6068" y="2834"/>
                    <a:pt x="6079" y="2851"/>
                    <a:pt x="6072" y="2864"/>
                  </a:cubicBezTo>
                  <a:cubicBezTo>
                    <a:pt x="6065" y="2877"/>
                    <a:pt x="6056" y="2877"/>
                    <a:pt x="6056" y="2877"/>
                  </a:cubicBezTo>
                  <a:cubicBezTo>
                    <a:pt x="6056" y="2877"/>
                    <a:pt x="6047" y="2891"/>
                    <a:pt x="6042" y="2896"/>
                  </a:cubicBezTo>
                  <a:cubicBezTo>
                    <a:pt x="6037" y="2901"/>
                    <a:pt x="6026" y="2903"/>
                    <a:pt x="6022" y="2907"/>
                  </a:cubicBezTo>
                  <a:cubicBezTo>
                    <a:pt x="6018" y="2911"/>
                    <a:pt x="6016" y="2918"/>
                    <a:pt x="6016" y="2918"/>
                  </a:cubicBezTo>
                  <a:cubicBezTo>
                    <a:pt x="6024" y="2922"/>
                    <a:pt x="6024" y="2922"/>
                    <a:pt x="6024" y="2922"/>
                  </a:cubicBezTo>
                  <a:cubicBezTo>
                    <a:pt x="6024" y="2922"/>
                    <a:pt x="6013" y="2933"/>
                    <a:pt x="6009" y="2943"/>
                  </a:cubicBezTo>
                  <a:cubicBezTo>
                    <a:pt x="6005" y="2953"/>
                    <a:pt x="6005" y="2965"/>
                    <a:pt x="6005" y="2965"/>
                  </a:cubicBezTo>
                  <a:cubicBezTo>
                    <a:pt x="5996" y="2965"/>
                    <a:pt x="5996" y="2965"/>
                    <a:pt x="5996" y="2965"/>
                  </a:cubicBezTo>
                  <a:cubicBezTo>
                    <a:pt x="5996" y="2965"/>
                    <a:pt x="6006" y="2977"/>
                    <a:pt x="5995" y="2987"/>
                  </a:cubicBezTo>
                  <a:cubicBezTo>
                    <a:pt x="5984" y="2997"/>
                    <a:pt x="5982" y="2992"/>
                    <a:pt x="5982" y="2992"/>
                  </a:cubicBezTo>
                  <a:cubicBezTo>
                    <a:pt x="5982" y="2992"/>
                    <a:pt x="5965" y="3010"/>
                    <a:pt x="5965" y="3024"/>
                  </a:cubicBezTo>
                  <a:cubicBezTo>
                    <a:pt x="5965" y="3031"/>
                    <a:pt x="5965" y="3041"/>
                    <a:pt x="5964" y="3049"/>
                  </a:cubicBezTo>
                  <a:cubicBezTo>
                    <a:pt x="5964" y="3049"/>
                    <a:pt x="5964" y="3049"/>
                    <a:pt x="5964" y="3049"/>
                  </a:cubicBezTo>
                  <a:cubicBezTo>
                    <a:pt x="5964" y="3056"/>
                    <a:pt x="5964" y="3062"/>
                    <a:pt x="5964" y="3062"/>
                  </a:cubicBezTo>
                  <a:cubicBezTo>
                    <a:pt x="5964" y="3062"/>
                    <a:pt x="5975" y="3061"/>
                    <a:pt x="5975" y="3066"/>
                  </a:cubicBezTo>
                  <a:cubicBezTo>
                    <a:pt x="5975" y="3071"/>
                    <a:pt x="5975" y="3084"/>
                    <a:pt x="5979" y="3087"/>
                  </a:cubicBezTo>
                  <a:cubicBezTo>
                    <a:pt x="5983" y="3090"/>
                    <a:pt x="5988" y="3079"/>
                    <a:pt x="5988" y="3079"/>
                  </a:cubicBezTo>
                  <a:cubicBezTo>
                    <a:pt x="5996" y="3102"/>
                    <a:pt x="5996" y="3102"/>
                    <a:pt x="5996" y="3102"/>
                  </a:cubicBezTo>
                  <a:cubicBezTo>
                    <a:pt x="5994" y="3133"/>
                    <a:pt x="5994" y="3133"/>
                    <a:pt x="5994" y="3133"/>
                  </a:cubicBezTo>
                  <a:cubicBezTo>
                    <a:pt x="5985" y="3133"/>
                    <a:pt x="5985" y="3133"/>
                    <a:pt x="5985" y="3133"/>
                  </a:cubicBezTo>
                  <a:cubicBezTo>
                    <a:pt x="5988" y="3147"/>
                    <a:pt x="5988" y="3147"/>
                    <a:pt x="5988" y="3147"/>
                  </a:cubicBezTo>
                  <a:cubicBezTo>
                    <a:pt x="5980" y="3153"/>
                    <a:pt x="5980" y="3153"/>
                    <a:pt x="5980" y="3153"/>
                  </a:cubicBezTo>
                  <a:cubicBezTo>
                    <a:pt x="5980" y="3153"/>
                    <a:pt x="6003" y="3182"/>
                    <a:pt x="6003" y="3200"/>
                  </a:cubicBezTo>
                  <a:cubicBezTo>
                    <a:pt x="6003" y="3218"/>
                    <a:pt x="5997" y="3239"/>
                    <a:pt x="5997" y="3239"/>
                  </a:cubicBezTo>
                  <a:cubicBezTo>
                    <a:pt x="5995" y="3268"/>
                    <a:pt x="5995" y="3268"/>
                    <a:pt x="5995" y="3268"/>
                  </a:cubicBezTo>
                  <a:cubicBezTo>
                    <a:pt x="5995" y="3268"/>
                    <a:pt x="5979" y="3285"/>
                    <a:pt x="5976" y="3300"/>
                  </a:cubicBezTo>
                  <a:cubicBezTo>
                    <a:pt x="5974" y="3309"/>
                    <a:pt x="5974" y="3324"/>
                    <a:pt x="5974" y="3335"/>
                  </a:cubicBezTo>
                  <a:cubicBezTo>
                    <a:pt x="5973" y="3342"/>
                    <a:pt x="5973" y="3348"/>
                    <a:pt x="5973" y="3349"/>
                  </a:cubicBezTo>
                  <a:cubicBezTo>
                    <a:pt x="5972" y="3352"/>
                    <a:pt x="5962" y="3359"/>
                    <a:pt x="5955" y="3372"/>
                  </a:cubicBezTo>
                  <a:cubicBezTo>
                    <a:pt x="5948" y="3385"/>
                    <a:pt x="5933" y="3398"/>
                    <a:pt x="5933" y="3398"/>
                  </a:cubicBezTo>
                  <a:cubicBezTo>
                    <a:pt x="5935" y="3405"/>
                    <a:pt x="5935" y="3405"/>
                    <a:pt x="5935" y="3405"/>
                  </a:cubicBezTo>
                  <a:cubicBezTo>
                    <a:pt x="5941" y="3404"/>
                    <a:pt x="5941" y="3404"/>
                    <a:pt x="5941" y="3404"/>
                  </a:cubicBezTo>
                  <a:cubicBezTo>
                    <a:pt x="5941" y="3404"/>
                    <a:pt x="5950" y="3413"/>
                    <a:pt x="5950" y="3420"/>
                  </a:cubicBezTo>
                  <a:cubicBezTo>
                    <a:pt x="5950" y="3427"/>
                    <a:pt x="5953" y="3433"/>
                    <a:pt x="5953" y="3433"/>
                  </a:cubicBezTo>
                  <a:cubicBezTo>
                    <a:pt x="5962" y="3441"/>
                    <a:pt x="5962" y="3441"/>
                    <a:pt x="5962" y="3441"/>
                  </a:cubicBezTo>
                  <a:cubicBezTo>
                    <a:pt x="5962" y="3441"/>
                    <a:pt x="5961" y="3442"/>
                    <a:pt x="5961" y="3449"/>
                  </a:cubicBezTo>
                  <a:cubicBezTo>
                    <a:pt x="5961" y="3454"/>
                    <a:pt x="5965" y="3458"/>
                    <a:pt x="5967" y="3461"/>
                  </a:cubicBezTo>
                  <a:cubicBezTo>
                    <a:pt x="5968" y="3462"/>
                    <a:pt x="5969" y="3463"/>
                    <a:pt x="5969" y="3463"/>
                  </a:cubicBezTo>
                  <a:cubicBezTo>
                    <a:pt x="5969" y="3463"/>
                    <a:pt x="5959" y="3478"/>
                    <a:pt x="5958" y="3485"/>
                  </a:cubicBezTo>
                  <a:cubicBezTo>
                    <a:pt x="5958" y="3486"/>
                    <a:pt x="5958" y="3486"/>
                    <a:pt x="5958" y="3487"/>
                  </a:cubicBezTo>
                  <a:cubicBezTo>
                    <a:pt x="5957" y="3494"/>
                    <a:pt x="5957" y="3504"/>
                    <a:pt x="5957" y="3504"/>
                  </a:cubicBezTo>
                  <a:cubicBezTo>
                    <a:pt x="5951" y="3507"/>
                    <a:pt x="5951" y="3507"/>
                    <a:pt x="5951" y="3507"/>
                  </a:cubicBezTo>
                  <a:cubicBezTo>
                    <a:pt x="5951" y="3507"/>
                    <a:pt x="5955" y="3528"/>
                    <a:pt x="5964" y="3533"/>
                  </a:cubicBezTo>
                  <a:cubicBezTo>
                    <a:pt x="5973" y="3538"/>
                    <a:pt x="5983" y="3533"/>
                    <a:pt x="5983" y="3533"/>
                  </a:cubicBezTo>
                  <a:cubicBezTo>
                    <a:pt x="5979" y="3556"/>
                    <a:pt x="5979" y="3556"/>
                    <a:pt x="5979" y="3556"/>
                  </a:cubicBezTo>
                  <a:cubicBezTo>
                    <a:pt x="5979" y="3556"/>
                    <a:pt x="5987" y="3564"/>
                    <a:pt x="5994" y="3558"/>
                  </a:cubicBezTo>
                  <a:cubicBezTo>
                    <a:pt x="6001" y="3552"/>
                    <a:pt x="6025" y="3553"/>
                    <a:pt x="6025" y="3553"/>
                  </a:cubicBezTo>
                  <a:cubicBezTo>
                    <a:pt x="6042" y="3547"/>
                    <a:pt x="6042" y="3547"/>
                    <a:pt x="6042" y="3547"/>
                  </a:cubicBezTo>
                  <a:cubicBezTo>
                    <a:pt x="6042" y="3562"/>
                    <a:pt x="6042" y="3562"/>
                    <a:pt x="6042" y="3562"/>
                  </a:cubicBezTo>
                  <a:cubicBezTo>
                    <a:pt x="6042" y="3562"/>
                    <a:pt x="6018" y="3550"/>
                    <a:pt x="6016" y="3560"/>
                  </a:cubicBezTo>
                  <a:cubicBezTo>
                    <a:pt x="6014" y="3570"/>
                    <a:pt x="6021" y="3576"/>
                    <a:pt x="6021" y="3576"/>
                  </a:cubicBezTo>
                  <a:cubicBezTo>
                    <a:pt x="6042" y="3571"/>
                    <a:pt x="6042" y="3571"/>
                    <a:pt x="6042" y="3571"/>
                  </a:cubicBezTo>
                  <a:cubicBezTo>
                    <a:pt x="6018" y="3583"/>
                    <a:pt x="6018" y="3583"/>
                    <a:pt x="6018" y="3583"/>
                  </a:cubicBezTo>
                  <a:cubicBezTo>
                    <a:pt x="6037" y="3611"/>
                    <a:pt x="6037" y="3611"/>
                    <a:pt x="6037" y="3611"/>
                  </a:cubicBezTo>
                  <a:cubicBezTo>
                    <a:pt x="6042" y="3596"/>
                    <a:pt x="6042" y="3596"/>
                    <a:pt x="6042" y="3596"/>
                  </a:cubicBezTo>
                  <a:cubicBezTo>
                    <a:pt x="6042" y="3596"/>
                    <a:pt x="6046" y="3610"/>
                    <a:pt x="6051" y="3612"/>
                  </a:cubicBezTo>
                  <a:cubicBezTo>
                    <a:pt x="6056" y="3614"/>
                    <a:pt x="6061" y="3613"/>
                    <a:pt x="6061" y="3613"/>
                  </a:cubicBezTo>
                  <a:cubicBezTo>
                    <a:pt x="6061" y="3613"/>
                    <a:pt x="6052" y="3637"/>
                    <a:pt x="6067" y="3644"/>
                  </a:cubicBezTo>
                  <a:cubicBezTo>
                    <a:pt x="6082" y="3651"/>
                    <a:pt x="6087" y="3648"/>
                    <a:pt x="6087" y="3648"/>
                  </a:cubicBezTo>
                  <a:cubicBezTo>
                    <a:pt x="6087" y="3648"/>
                    <a:pt x="6084" y="3660"/>
                    <a:pt x="6088" y="3664"/>
                  </a:cubicBezTo>
                  <a:cubicBezTo>
                    <a:pt x="6092" y="3668"/>
                    <a:pt x="6101" y="3659"/>
                    <a:pt x="6101" y="3659"/>
                  </a:cubicBezTo>
                  <a:cubicBezTo>
                    <a:pt x="6101" y="3659"/>
                    <a:pt x="6105" y="3679"/>
                    <a:pt x="6109" y="3686"/>
                  </a:cubicBezTo>
                  <a:cubicBezTo>
                    <a:pt x="6113" y="3693"/>
                    <a:pt x="6128" y="3704"/>
                    <a:pt x="6128" y="3704"/>
                  </a:cubicBezTo>
                  <a:cubicBezTo>
                    <a:pt x="6119" y="3709"/>
                    <a:pt x="6119" y="3709"/>
                    <a:pt x="6119" y="3709"/>
                  </a:cubicBezTo>
                  <a:cubicBezTo>
                    <a:pt x="6128" y="3716"/>
                    <a:pt x="6128" y="3716"/>
                    <a:pt x="6128" y="3716"/>
                  </a:cubicBezTo>
                  <a:cubicBezTo>
                    <a:pt x="6128" y="3716"/>
                    <a:pt x="6120" y="3725"/>
                    <a:pt x="6120" y="3734"/>
                  </a:cubicBezTo>
                  <a:cubicBezTo>
                    <a:pt x="6120" y="3743"/>
                    <a:pt x="6135" y="3753"/>
                    <a:pt x="6135" y="3753"/>
                  </a:cubicBezTo>
                  <a:cubicBezTo>
                    <a:pt x="6134" y="3771"/>
                    <a:pt x="6134" y="3771"/>
                    <a:pt x="6134" y="3771"/>
                  </a:cubicBezTo>
                  <a:cubicBezTo>
                    <a:pt x="6148" y="3782"/>
                    <a:pt x="6148" y="3782"/>
                    <a:pt x="6148" y="3782"/>
                  </a:cubicBezTo>
                  <a:cubicBezTo>
                    <a:pt x="6148" y="3782"/>
                    <a:pt x="6147" y="3789"/>
                    <a:pt x="6156" y="3798"/>
                  </a:cubicBezTo>
                  <a:cubicBezTo>
                    <a:pt x="6165" y="3807"/>
                    <a:pt x="6184" y="3807"/>
                    <a:pt x="6184" y="3807"/>
                  </a:cubicBezTo>
                  <a:cubicBezTo>
                    <a:pt x="6204" y="3829"/>
                    <a:pt x="6204" y="3829"/>
                    <a:pt x="6204" y="3829"/>
                  </a:cubicBezTo>
                  <a:cubicBezTo>
                    <a:pt x="6190" y="3813"/>
                    <a:pt x="6190" y="3813"/>
                    <a:pt x="6190" y="3813"/>
                  </a:cubicBezTo>
                  <a:cubicBezTo>
                    <a:pt x="6213" y="3839"/>
                    <a:pt x="6213" y="3839"/>
                    <a:pt x="6213" y="3839"/>
                  </a:cubicBezTo>
                  <a:cubicBezTo>
                    <a:pt x="6230" y="3841"/>
                    <a:pt x="6230" y="3841"/>
                    <a:pt x="6230" y="3841"/>
                  </a:cubicBezTo>
                  <a:cubicBezTo>
                    <a:pt x="6238" y="3859"/>
                    <a:pt x="6238" y="3859"/>
                    <a:pt x="6238" y="3859"/>
                  </a:cubicBezTo>
                  <a:cubicBezTo>
                    <a:pt x="6238" y="3859"/>
                    <a:pt x="6256" y="3855"/>
                    <a:pt x="6260" y="3863"/>
                  </a:cubicBezTo>
                  <a:cubicBezTo>
                    <a:pt x="6264" y="3871"/>
                    <a:pt x="6279" y="3897"/>
                    <a:pt x="6295" y="3911"/>
                  </a:cubicBezTo>
                  <a:cubicBezTo>
                    <a:pt x="6311" y="3925"/>
                    <a:pt x="6339" y="3932"/>
                    <a:pt x="6346" y="3937"/>
                  </a:cubicBezTo>
                  <a:cubicBezTo>
                    <a:pt x="6353" y="3942"/>
                    <a:pt x="6370" y="3960"/>
                    <a:pt x="6385" y="3960"/>
                  </a:cubicBezTo>
                  <a:cubicBezTo>
                    <a:pt x="6386" y="3960"/>
                    <a:pt x="6387" y="3960"/>
                    <a:pt x="6388" y="3960"/>
                  </a:cubicBezTo>
                  <a:cubicBezTo>
                    <a:pt x="6400" y="3958"/>
                    <a:pt x="6403" y="3948"/>
                    <a:pt x="6403" y="3948"/>
                  </a:cubicBezTo>
                  <a:cubicBezTo>
                    <a:pt x="6412" y="3948"/>
                    <a:pt x="6412" y="3948"/>
                    <a:pt x="6412" y="3948"/>
                  </a:cubicBezTo>
                  <a:cubicBezTo>
                    <a:pt x="6422" y="3940"/>
                    <a:pt x="6422" y="3940"/>
                    <a:pt x="6422" y="3940"/>
                  </a:cubicBezTo>
                  <a:cubicBezTo>
                    <a:pt x="6422" y="3940"/>
                    <a:pt x="6468" y="3915"/>
                    <a:pt x="6488" y="3917"/>
                  </a:cubicBezTo>
                  <a:cubicBezTo>
                    <a:pt x="6508" y="3919"/>
                    <a:pt x="6515" y="3913"/>
                    <a:pt x="6515" y="3913"/>
                  </a:cubicBezTo>
                  <a:cubicBezTo>
                    <a:pt x="6515" y="3913"/>
                    <a:pt x="6546" y="3902"/>
                    <a:pt x="6555" y="3907"/>
                  </a:cubicBezTo>
                  <a:cubicBezTo>
                    <a:pt x="6564" y="3912"/>
                    <a:pt x="6566" y="3917"/>
                    <a:pt x="6573" y="3916"/>
                  </a:cubicBezTo>
                  <a:cubicBezTo>
                    <a:pt x="6580" y="3915"/>
                    <a:pt x="6593" y="3906"/>
                    <a:pt x="6593" y="3906"/>
                  </a:cubicBezTo>
                  <a:cubicBezTo>
                    <a:pt x="6593" y="3906"/>
                    <a:pt x="6594" y="3916"/>
                    <a:pt x="6610" y="3923"/>
                  </a:cubicBezTo>
                  <a:cubicBezTo>
                    <a:pt x="6614" y="3925"/>
                    <a:pt x="6618" y="3926"/>
                    <a:pt x="6622" y="3927"/>
                  </a:cubicBezTo>
                  <a:cubicBezTo>
                    <a:pt x="6631" y="3929"/>
                    <a:pt x="6637" y="3929"/>
                    <a:pt x="6637" y="3929"/>
                  </a:cubicBezTo>
                  <a:cubicBezTo>
                    <a:pt x="6637" y="3929"/>
                    <a:pt x="6641" y="3944"/>
                    <a:pt x="6651" y="3940"/>
                  </a:cubicBezTo>
                  <a:cubicBezTo>
                    <a:pt x="6661" y="3936"/>
                    <a:pt x="6682" y="3918"/>
                    <a:pt x="6689" y="3916"/>
                  </a:cubicBezTo>
                  <a:cubicBezTo>
                    <a:pt x="6696" y="3914"/>
                    <a:pt x="6707" y="3916"/>
                    <a:pt x="6707" y="3916"/>
                  </a:cubicBezTo>
                  <a:cubicBezTo>
                    <a:pt x="6707" y="3916"/>
                    <a:pt x="6728" y="3898"/>
                    <a:pt x="6731" y="3897"/>
                  </a:cubicBezTo>
                  <a:cubicBezTo>
                    <a:pt x="6734" y="3896"/>
                    <a:pt x="6749" y="3893"/>
                    <a:pt x="6749" y="3893"/>
                  </a:cubicBezTo>
                  <a:cubicBezTo>
                    <a:pt x="6749" y="3893"/>
                    <a:pt x="6755" y="3877"/>
                    <a:pt x="6763" y="3878"/>
                  </a:cubicBezTo>
                  <a:cubicBezTo>
                    <a:pt x="6771" y="3879"/>
                    <a:pt x="6777" y="3887"/>
                    <a:pt x="6786" y="3882"/>
                  </a:cubicBezTo>
                  <a:cubicBezTo>
                    <a:pt x="6791" y="3879"/>
                    <a:pt x="6797" y="3873"/>
                    <a:pt x="6803" y="3868"/>
                  </a:cubicBezTo>
                  <a:cubicBezTo>
                    <a:pt x="6808" y="3862"/>
                    <a:pt x="6814" y="3858"/>
                    <a:pt x="6820" y="3857"/>
                  </a:cubicBezTo>
                  <a:cubicBezTo>
                    <a:pt x="6824" y="3856"/>
                    <a:pt x="6828" y="3856"/>
                    <a:pt x="6833" y="3856"/>
                  </a:cubicBezTo>
                  <a:cubicBezTo>
                    <a:pt x="6833" y="3856"/>
                    <a:pt x="6833" y="3856"/>
                    <a:pt x="6833" y="3856"/>
                  </a:cubicBezTo>
                  <a:cubicBezTo>
                    <a:pt x="6844" y="3857"/>
                    <a:pt x="6856" y="3859"/>
                    <a:pt x="6856" y="3859"/>
                  </a:cubicBezTo>
                  <a:cubicBezTo>
                    <a:pt x="6864" y="3845"/>
                    <a:pt x="6864" y="3845"/>
                    <a:pt x="6864" y="3845"/>
                  </a:cubicBezTo>
                  <a:cubicBezTo>
                    <a:pt x="6864" y="3845"/>
                    <a:pt x="6868" y="3847"/>
                    <a:pt x="6874" y="3850"/>
                  </a:cubicBezTo>
                  <a:cubicBezTo>
                    <a:pt x="6881" y="3853"/>
                    <a:pt x="6891" y="3856"/>
                    <a:pt x="6897" y="3854"/>
                  </a:cubicBezTo>
                  <a:cubicBezTo>
                    <a:pt x="6908" y="3850"/>
                    <a:pt x="6918" y="3842"/>
                    <a:pt x="6918" y="3842"/>
                  </a:cubicBezTo>
                  <a:cubicBezTo>
                    <a:pt x="6921" y="3849"/>
                    <a:pt x="6921" y="3849"/>
                    <a:pt x="6921" y="3849"/>
                  </a:cubicBezTo>
                  <a:cubicBezTo>
                    <a:pt x="6921" y="3849"/>
                    <a:pt x="6954" y="3842"/>
                    <a:pt x="6970" y="3861"/>
                  </a:cubicBezTo>
                  <a:cubicBezTo>
                    <a:pt x="6986" y="3880"/>
                    <a:pt x="6987" y="3889"/>
                    <a:pt x="6987" y="3889"/>
                  </a:cubicBezTo>
                  <a:cubicBezTo>
                    <a:pt x="7001" y="3888"/>
                    <a:pt x="7001" y="3888"/>
                    <a:pt x="7001" y="3888"/>
                  </a:cubicBezTo>
                  <a:cubicBezTo>
                    <a:pt x="7001" y="3888"/>
                    <a:pt x="6991" y="3903"/>
                    <a:pt x="6994" y="3904"/>
                  </a:cubicBezTo>
                  <a:cubicBezTo>
                    <a:pt x="6997" y="3905"/>
                    <a:pt x="7007" y="3898"/>
                    <a:pt x="7007" y="3901"/>
                  </a:cubicBezTo>
                  <a:cubicBezTo>
                    <a:pt x="7007" y="3904"/>
                    <a:pt x="7002" y="3912"/>
                    <a:pt x="7002" y="3920"/>
                  </a:cubicBezTo>
                  <a:cubicBezTo>
                    <a:pt x="7002" y="3928"/>
                    <a:pt x="7010" y="3957"/>
                    <a:pt x="7031" y="3958"/>
                  </a:cubicBezTo>
                  <a:cubicBezTo>
                    <a:pt x="7052" y="3959"/>
                    <a:pt x="7065" y="3957"/>
                    <a:pt x="7065" y="3957"/>
                  </a:cubicBezTo>
                  <a:cubicBezTo>
                    <a:pt x="7068" y="3939"/>
                    <a:pt x="7068" y="3939"/>
                    <a:pt x="7068" y="3939"/>
                  </a:cubicBezTo>
                  <a:cubicBezTo>
                    <a:pt x="7086" y="3949"/>
                    <a:pt x="7086" y="3949"/>
                    <a:pt x="7086" y="3949"/>
                  </a:cubicBezTo>
                  <a:cubicBezTo>
                    <a:pt x="7102" y="3944"/>
                    <a:pt x="7102" y="3944"/>
                    <a:pt x="7102" y="3944"/>
                  </a:cubicBezTo>
                  <a:cubicBezTo>
                    <a:pt x="7111" y="3953"/>
                    <a:pt x="7111" y="3953"/>
                    <a:pt x="7111" y="3953"/>
                  </a:cubicBezTo>
                  <a:cubicBezTo>
                    <a:pt x="7139" y="3952"/>
                    <a:pt x="7139" y="3952"/>
                    <a:pt x="7139" y="3952"/>
                  </a:cubicBezTo>
                  <a:cubicBezTo>
                    <a:pt x="7139" y="3936"/>
                    <a:pt x="7139" y="3936"/>
                    <a:pt x="7139" y="3936"/>
                  </a:cubicBezTo>
                  <a:cubicBezTo>
                    <a:pt x="7156" y="3935"/>
                    <a:pt x="7156" y="3935"/>
                    <a:pt x="7156" y="3935"/>
                  </a:cubicBezTo>
                  <a:cubicBezTo>
                    <a:pt x="7155" y="3938"/>
                    <a:pt x="7155" y="3938"/>
                    <a:pt x="7155" y="3938"/>
                  </a:cubicBezTo>
                  <a:cubicBezTo>
                    <a:pt x="7151" y="3947"/>
                    <a:pt x="7151" y="3947"/>
                    <a:pt x="7151" y="3947"/>
                  </a:cubicBezTo>
                  <a:cubicBezTo>
                    <a:pt x="7169" y="3944"/>
                    <a:pt x="7169" y="3944"/>
                    <a:pt x="7169" y="3944"/>
                  </a:cubicBezTo>
                  <a:cubicBezTo>
                    <a:pt x="7169" y="3944"/>
                    <a:pt x="7168" y="3966"/>
                    <a:pt x="7178" y="3975"/>
                  </a:cubicBezTo>
                  <a:cubicBezTo>
                    <a:pt x="7188" y="3984"/>
                    <a:pt x="7195" y="3986"/>
                    <a:pt x="7195" y="3986"/>
                  </a:cubicBezTo>
                  <a:cubicBezTo>
                    <a:pt x="7209" y="3973"/>
                    <a:pt x="7209" y="3973"/>
                    <a:pt x="7209" y="3973"/>
                  </a:cubicBezTo>
                  <a:cubicBezTo>
                    <a:pt x="7196" y="3993"/>
                    <a:pt x="7196" y="3993"/>
                    <a:pt x="7196" y="3993"/>
                  </a:cubicBezTo>
                  <a:cubicBezTo>
                    <a:pt x="7208" y="4011"/>
                    <a:pt x="7208" y="4011"/>
                    <a:pt x="7208" y="4011"/>
                  </a:cubicBezTo>
                  <a:cubicBezTo>
                    <a:pt x="7221" y="4016"/>
                    <a:pt x="7221" y="4016"/>
                    <a:pt x="7221" y="4016"/>
                  </a:cubicBezTo>
                  <a:cubicBezTo>
                    <a:pt x="7219" y="4046"/>
                    <a:pt x="7219" y="4046"/>
                    <a:pt x="7219" y="4046"/>
                  </a:cubicBezTo>
                  <a:cubicBezTo>
                    <a:pt x="7212" y="4048"/>
                    <a:pt x="7212" y="4048"/>
                    <a:pt x="7212" y="4048"/>
                  </a:cubicBezTo>
                  <a:cubicBezTo>
                    <a:pt x="7213" y="4069"/>
                    <a:pt x="7213" y="4069"/>
                    <a:pt x="7213" y="4069"/>
                  </a:cubicBezTo>
                  <a:cubicBezTo>
                    <a:pt x="7207" y="4072"/>
                    <a:pt x="7207" y="4072"/>
                    <a:pt x="7207" y="4072"/>
                  </a:cubicBezTo>
                  <a:cubicBezTo>
                    <a:pt x="7207" y="4072"/>
                    <a:pt x="7211" y="4090"/>
                    <a:pt x="7206" y="4098"/>
                  </a:cubicBezTo>
                  <a:cubicBezTo>
                    <a:pt x="7201" y="4106"/>
                    <a:pt x="7183" y="4119"/>
                    <a:pt x="7187" y="4126"/>
                  </a:cubicBezTo>
                  <a:cubicBezTo>
                    <a:pt x="7190" y="4132"/>
                    <a:pt x="7200" y="4135"/>
                    <a:pt x="7204" y="4136"/>
                  </a:cubicBezTo>
                  <a:cubicBezTo>
                    <a:pt x="7212" y="4134"/>
                    <a:pt x="7212" y="4134"/>
                    <a:pt x="7212" y="4134"/>
                  </a:cubicBezTo>
                  <a:cubicBezTo>
                    <a:pt x="7204" y="4136"/>
                    <a:pt x="7204" y="4136"/>
                    <a:pt x="7204" y="4136"/>
                  </a:cubicBezTo>
                  <a:cubicBezTo>
                    <a:pt x="7205" y="4137"/>
                    <a:pt x="7206" y="4137"/>
                    <a:pt x="7206" y="4137"/>
                  </a:cubicBezTo>
                  <a:cubicBezTo>
                    <a:pt x="7198" y="4142"/>
                    <a:pt x="7198" y="4142"/>
                    <a:pt x="7198" y="4142"/>
                  </a:cubicBezTo>
                  <a:cubicBezTo>
                    <a:pt x="7198" y="4142"/>
                    <a:pt x="7207" y="4170"/>
                    <a:pt x="7203" y="4172"/>
                  </a:cubicBezTo>
                  <a:cubicBezTo>
                    <a:pt x="7199" y="4174"/>
                    <a:pt x="7188" y="4172"/>
                    <a:pt x="7188" y="4172"/>
                  </a:cubicBezTo>
                  <a:cubicBezTo>
                    <a:pt x="7188" y="4172"/>
                    <a:pt x="7191" y="4213"/>
                    <a:pt x="7181" y="4224"/>
                  </a:cubicBezTo>
                  <a:cubicBezTo>
                    <a:pt x="7171" y="4235"/>
                    <a:pt x="7158" y="4231"/>
                    <a:pt x="7158" y="4231"/>
                  </a:cubicBezTo>
                  <a:cubicBezTo>
                    <a:pt x="7175" y="4268"/>
                    <a:pt x="7175" y="4268"/>
                    <a:pt x="7175" y="4268"/>
                  </a:cubicBezTo>
                  <a:cubicBezTo>
                    <a:pt x="7186" y="4260"/>
                    <a:pt x="7186" y="4260"/>
                    <a:pt x="7186" y="4260"/>
                  </a:cubicBezTo>
                  <a:cubicBezTo>
                    <a:pt x="7192" y="4273"/>
                    <a:pt x="7192" y="4273"/>
                    <a:pt x="7192" y="4273"/>
                  </a:cubicBezTo>
                  <a:cubicBezTo>
                    <a:pt x="7192" y="4273"/>
                    <a:pt x="7183" y="4286"/>
                    <a:pt x="7185" y="4293"/>
                  </a:cubicBezTo>
                  <a:cubicBezTo>
                    <a:pt x="7187" y="4300"/>
                    <a:pt x="7200" y="4297"/>
                    <a:pt x="7200" y="4297"/>
                  </a:cubicBezTo>
                  <a:cubicBezTo>
                    <a:pt x="7204" y="4324"/>
                    <a:pt x="7204" y="4324"/>
                    <a:pt x="7204" y="4324"/>
                  </a:cubicBezTo>
                  <a:cubicBezTo>
                    <a:pt x="7224" y="4328"/>
                    <a:pt x="7224" y="4328"/>
                    <a:pt x="7224" y="4328"/>
                  </a:cubicBezTo>
                  <a:cubicBezTo>
                    <a:pt x="7219" y="4336"/>
                    <a:pt x="7219" y="4336"/>
                    <a:pt x="7219" y="4336"/>
                  </a:cubicBezTo>
                  <a:cubicBezTo>
                    <a:pt x="7252" y="4371"/>
                    <a:pt x="7252" y="4371"/>
                    <a:pt x="7252" y="4371"/>
                  </a:cubicBezTo>
                  <a:cubicBezTo>
                    <a:pt x="7249" y="4376"/>
                    <a:pt x="7249" y="4376"/>
                    <a:pt x="7249" y="4376"/>
                  </a:cubicBezTo>
                  <a:cubicBezTo>
                    <a:pt x="7271" y="4403"/>
                    <a:pt x="7271" y="4403"/>
                    <a:pt x="7271" y="4403"/>
                  </a:cubicBezTo>
                  <a:cubicBezTo>
                    <a:pt x="7272" y="4404"/>
                    <a:pt x="7272" y="4404"/>
                    <a:pt x="7272" y="4404"/>
                  </a:cubicBezTo>
                  <a:cubicBezTo>
                    <a:pt x="7308" y="4435"/>
                    <a:pt x="7308" y="4435"/>
                    <a:pt x="7308" y="4435"/>
                  </a:cubicBezTo>
                  <a:cubicBezTo>
                    <a:pt x="7309" y="4447"/>
                    <a:pt x="7309" y="4447"/>
                    <a:pt x="7309" y="4447"/>
                  </a:cubicBezTo>
                  <a:cubicBezTo>
                    <a:pt x="7321" y="4463"/>
                    <a:pt x="7321" y="4463"/>
                    <a:pt x="7321" y="4463"/>
                  </a:cubicBezTo>
                  <a:cubicBezTo>
                    <a:pt x="7325" y="4501"/>
                    <a:pt x="7325" y="4501"/>
                    <a:pt x="7325" y="4501"/>
                  </a:cubicBezTo>
                  <a:cubicBezTo>
                    <a:pt x="7325" y="4501"/>
                    <a:pt x="7326" y="4502"/>
                    <a:pt x="7327" y="4503"/>
                  </a:cubicBezTo>
                  <a:cubicBezTo>
                    <a:pt x="7331" y="4501"/>
                    <a:pt x="7334" y="4499"/>
                    <a:pt x="7337" y="4497"/>
                  </a:cubicBezTo>
                  <a:cubicBezTo>
                    <a:pt x="7334" y="4499"/>
                    <a:pt x="7331" y="4501"/>
                    <a:pt x="7327" y="4503"/>
                  </a:cubicBezTo>
                  <a:cubicBezTo>
                    <a:pt x="7331" y="4506"/>
                    <a:pt x="7338" y="4513"/>
                    <a:pt x="7339" y="4518"/>
                  </a:cubicBezTo>
                  <a:cubicBezTo>
                    <a:pt x="7339" y="4519"/>
                    <a:pt x="7339" y="4520"/>
                    <a:pt x="7338" y="4521"/>
                  </a:cubicBezTo>
                  <a:cubicBezTo>
                    <a:pt x="7332" y="4525"/>
                    <a:pt x="7327" y="4526"/>
                    <a:pt x="7327" y="4526"/>
                  </a:cubicBezTo>
                  <a:cubicBezTo>
                    <a:pt x="7327" y="4526"/>
                    <a:pt x="7340" y="4545"/>
                    <a:pt x="7343" y="4552"/>
                  </a:cubicBezTo>
                  <a:cubicBezTo>
                    <a:pt x="7346" y="4559"/>
                    <a:pt x="7355" y="4562"/>
                    <a:pt x="7355" y="4562"/>
                  </a:cubicBezTo>
                  <a:cubicBezTo>
                    <a:pt x="7351" y="4581"/>
                    <a:pt x="7351" y="4581"/>
                    <a:pt x="7351" y="4581"/>
                  </a:cubicBezTo>
                  <a:cubicBezTo>
                    <a:pt x="7351" y="4581"/>
                    <a:pt x="7383" y="4618"/>
                    <a:pt x="7380" y="4645"/>
                  </a:cubicBezTo>
                  <a:cubicBezTo>
                    <a:pt x="7377" y="4672"/>
                    <a:pt x="7364" y="4678"/>
                    <a:pt x="7364" y="4678"/>
                  </a:cubicBezTo>
                  <a:cubicBezTo>
                    <a:pt x="7363" y="4695"/>
                    <a:pt x="7363" y="4695"/>
                    <a:pt x="7363" y="4695"/>
                  </a:cubicBezTo>
                  <a:cubicBezTo>
                    <a:pt x="7370" y="4694"/>
                    <a:pt x="7370" y="4694"/>
                    <a:pt x="7370" y="4694"/>
                  </a:cubicBezTo>
                  <a:cubicBezTo>
                    <a:pt x="7370" y="4694"/>
                    <a:pt x="7366" y="4717"/>
                    <a:pt x="7380" y="4738"/>
                  </a:cubicBezTo>
                  <a:cubicBezTo>
                    <a:pt x="7394" y="4759"/>
                    <a:pt x="7406" y="4797"/>
                    <a:pt x="7403" y="4812"/>
                  </a:cubicBezTo>
                  <a:cubicBezTo>
                    <a:pt x="7400" y="4827"/>
                    <a:pt x="7389" y="4844"/>
                    <a:pt x="7389" y="4844"/>
                  </a:cubicBezTo>
                  <a:cubicBezTo>
                    <a:pt x="7389" y="4844"/>
                    <a:pt x="7396" y="4860"/>
                    <a:pt x="7388" y="4866"/>
                  </a:cubicBezTo>
                  <a:cubicBezTo>
                    <a:pt x="7380" y="4872"/>
                    <a:pt x="7367" y="4870"/>
                    <a:pt x="7367" y="4870"/>
                  </a:cubicBezTo>
                  <a:cubicBezTo>
                    <a:pt x="7361" y="4884"/>
                    <a:pt x="7361" y="4884"/>
                    <a:pt x="7361" y="4884"/>
                  </a:cubicBezTo>
                  <a:cubicBezTo>
                    <a:pt x="7363" y="4899"/>
                    <a:pt x="7363" y="4899"/>
                    <a:pt x="7363" y="4899"/>
                  </a:cubicBezTo>
                  <a:cubicBezTo>
                    <a:pt x="7363" y="4899"/>
                    <a:pt x="7338" y="4896"/>
                    <a:pt x="7339" y="4908"/>
                  </a:cubicBezTo>
                  <a:cubicBezTo>
                    <a:pt x="7340" y="4920"/>
                    <a:pt x="7336" y="4938"/>
                    <a:pt x="7336" y="4938"/>
                  </a:cubicBezTo>
                  <a:cubicBezTo>
                    <a:pt x="7329" y="4948"/>
                    <a:pt x="7329" y="4948"/>
                    <a:pt x="7329" y="4948"/>
                  </a:cubicBezTo>
                  <a:cubicBezTo>
                    <a:pt x="7329" y="4948"/>
                    <a:pt x="7333" y="4980"/>
                    <a:pt x="7330" y="4990"/>
                  </a:cubicBezTo>
                  <a:cubicBezTo>
                    <a:pt x="7327" y="5000"/>
                    <a:pt x="7316" y="5003"/>
                    <a:pt x="7316" y="5003"/>
                  </a:cubicBezTo>
                  <a:cubicBezTo>
                    <a:pt x="7316" y="5030"/>
                    <a:pt x="7316" y="5030"/>
                    <a:pt x="7316" y="5030"/>
                  </a:cubicBezTo>
                  <a:cubicBezTo>
                    <a:pt x="7301" y="5042"/>
                    <a:pt x="7301" y="5042"/>
                    <a:pt x="7301" y="5042"/>
                  </a:cubicBezTo>
                  <a:cubicBezTo>
                    <a:pt x="7301" y="5069"/>
                    <a:pt x="7301" y="5069"/>
                    <a:pt x="7301" y="5069"/>
                  </a:cubicBezTo>
                  <a:cubicBezTo>
                    <a:pt x="7308" y="5078"/>
                    <a:pt x="7308" y="5078"/>
                    <a:pt x="7308" y="5078"/>
                  </a:cubicBezTo>
                  <a:cubicBezTo>
                    <a:pt x="7295" y="5093"/>
                    <a:pt x="7295" y="5093"/>
                    <a:pt x="7295" y="5093"/>
                  </a:cubicBezTo>
                  <a:cubicBezTo>
                    <a:pt x="7298" y="5120"/>
                    <a:pt x="7298" y="5120"/>
                    <a:pt x="7298" y="5120"/>
                  </a:cubicBezTo>
                  <a:cubicBezTo>
                    <a:pt x="7302" y="5166"/>
                    <a:pt x="7302" y="5166"/>
                    <a:pt x="7302" y="5166"/>
                  </a:cubicBezTo>
                  <a:cubicBezTo>
                    <a:pt x="7302" y="5166"/>
                    <a:pt x="7311" y="5183"/>
                    <a:pt x="7320" y="5196"/>
                  </a:cubicBezTo>
                  <a:cubicBezTo>
                    <a:pt x="7329" y="5209"/>
                    <a:pt x="7362" y="5257"/>
                    <a:pt x="7363" y="5274"/>
                  </a:cubicBezTo>
                  <a:cubicBezTo>
                    <a:pt x="7364" y="5291"/>
                    <a:pt x="7377" y="5308"/>
                    <a:pt x="7381" y="5321"/>
                  </a:cubicBezTo>
                  <a:cubicBezTo>
                    <a:pt x="7385" y="5334"/>
                    <a:pt x="7400" y="5349"/>
                    <a:pt x="7400" y="5349"/>
                  </a:cubicBezTo>
                  <a:cubicBezTo>
                    <a:pt x="7400" y="5363"/>
                    <a:pt x="7400" y="5363"/>
                    <a:pt x="7400" y="5363"/>
                  </a:cubicBezTo>
                  <a:cubicBezTo>
                    <a:pt x="7400" y="5363"/>
                    <a:pt x="7429" y="5384"/>
                    <a:pt x="7429" y="5400"/>
                  </a:cubicBezTo>
                  <a:cubicBezTo>
                    <a:pt x="7429" y="5416"/>
                    <a:pt x="7427" y="5490"/>
                    <a:pt x="7427" y="5490"/>
                  </a:cubicBezTo>
                  <a:cubicBezTo>
                    <a:pt x="7427" y="5490"/>
                    <a:pt x="7442" y="5515"/>
                    <a:pt x="7444" y="5535"/>
                  </a:cubicBezTo>
                  <a:cubicBezTo>
                    <a:pt x="7446" y="5555"/>
                    <a:pt x="7438" y="5555"/>
                    <a:pt x="7438" y="5555"/>
                  </a:cubicBezTo>
                  <a:cubicBezTo>
                    <a:pt x="7447" y="5588"/>
                    <a:pt x="7447" y="5588"/>
                    <a:pt x="7447" y="5588"/>
                  </a:cubicBezTo>
                  <a:cubicBezTo>
                    <a:pt x="7449" y="5612"/>
                    <a:pt x="7449" y="5612"/>
                    <a:pt x="7449" y="5612"/>
                  </a:cubicBezTo>
                  <a:cubicBezTo>
                    <a:pt x="7457" y="5612"/>
                    <a:pt x="7457" y="5612"/>
                    <a:pt x="7457" y="5612"/>
                  </a:cubicBezTo>
                  <a:cubicBezTo>
                    <a:pt x="7457" y="5612"/>
                    <a:pt x="7454" y="5632"/>
                    <a:pt x="7455" y="5636"/>
                  </a:cubicBezTo>
                  <a:cubicBezTo>
                    <a:pt x="7456" y="5640"/>
                    <a:pt x="7466" y="5648"/>
                    <a:pt x="7466" y="5648"/>
                  </a:cubicBezTo>
                  <a:cubicBezTo>
                    <a:pt x="7467" y="5667"/>
                    <a:pt x="7467" y="5667"/>
                    <a:pt x="7467" y="5667"/>
                  </a:cubicBezTo>
                  <a:cubicBezTo>
                    <a:pt x="7467" y="5667"/>
                    <a:pt x="7482" y="5699"/>
                    <a:pt x="7488" y="5710"/>
                  </a:cubicBezTo>
                  <a:cubicBezTo>
                    <a:pt x="7494" y="5721"/>
                    <a:pt x="7514" y="5728"/>
                    <a:pt x="7514" y="5728"/>
                  </a:cubicBezTo>
                  <a:cubicBezTo>
                    <a:pt x="7514" y="5728"/>
                    <a:pt x="7521" y="5751"/>
                    <a:pt x="7525" y="5755"/>
                  </a:cubicBezTo>
                  <a:cubicBezTo>
                    <a:pt x="7529" y="5759"/>
                    <a:pt x="7545" y="5777"/>
                    <a:pt x="7545" y="5790"/>
                  </a:cubicBezTo>
                  <a:cubicBezTo>
                    <a:pt x="7545" y="5803"/>
                    <a:pt x="7542" y="5829"/>
                    <a:pt x="7552" y="5844"/>
                  </a:cubicBezTo>
                  <a:cubicBezTo>
                    <a:pt x="7562" y="5859"/>
                    <a:pt x="7597" y="5892"/>
                    <a:pt x="7597" y="5906"/>
                  </a:cubicBezTo>
                  <a:cubicBezTo>
                    <a:pt x="7597" y="5920"/>
                    <a:pt x="7596" y="5947"/>
                    <a:pt x="7592" y="5951"/>
                  </a:cubicBezTo>
                  <a:cubicBezTo>
                    <a:pt x="7588" y="5955"/>
                    <a:pt x="7576" y="5947"/>
                    <a:pt x="7575" y="5955"/>
                  </a:cubicBezTo>
                  <a:cubicBezTo>
                    <a:pt x="7574" y="5963"/>
                    <a:pt x="7577" y="5971"/>
                    <a:pt x="7587" y="5988"/>
                  </a:cubicBezTo>
                  <a:cubicBezTo>
                    <a:pt x="7597" y="6005"/>
                    <a:pt x="7589" y="6024"/>
                    <a:pt x="7595" y="6032"/>
                  </a:cubicBezTo>
                  <a:cubicBezTo>
                    <a:pt x="7601" y="6040"/>
                    <a:pt x="7598" y="6029"/>
                    <a:pt x="7604" y="6026"/>
                  </a:cubicBezTo>
                  <a:cubicBezTo>
                    <a:pt x="7610" y="6023"/>
                    <a:pt x="7617" y="6033"/>
                    <a:pt x="7617" y="6033"/>
                  </a:cubicBezTo>
                  <a:cubicBezTo>
                    <a:pt x="7635" y="6039"/>
                    <a:pt x="7635" y="6039"/>
                    <a:pt x="7635" y="6039"/>
                  </a:cubicBezTo>
                  <a:cubicBezTo>
                    <a:pt x="7635" y="6039"/>
                    <a:pt x="7640" y="6065"/>
                    <a:pt x="7659" y="6062"/>
                  </a:cubicBezTo>
                  <a:cubicBezTo>
                    <a:pt x="7678" y="6059"/>
                    <a:pt x="7679" y="6045"/>
                    <a:pt x="7691" y="6041"/>
                  </a:cubicBezTo>
                  <a:cubicBezTo>
                    <a:pt x="7703" y="6037"/>
                    <a:pt x="7738" y="6048"/>
                    <a:pt x="7747" y="6045"/>
                  </a:cubicBezTo>
                  <a:cubicBezTo>
                    <a:pt x="7756" y="6042"/>
                    <a:pt x="7752" y="6021"/>
                    <a:pt x="7775" y="6021"/>
                  </a:cubicBezTo>
                  <a:cubicBezTo>
                    <a:pt x="7798" y="6021"/>
                    <a:pt x="7806" y="6029"/>
                    <a:pt x="7806" y="6029"/>
                  </a:cubicBezTo>
                  <a:cubicBezTo>
                    <a:pt x="7806" y="6029"/>
                    <a:pt x="7817" y="6018"/>
                    <a:pt x="7840" y="6019"/>
                  </a:cubicBezTo>
                  <a:cubicBezTo>
                    <a:pt x="7863" y="6020"/>
                    <a:pt x="7875" y="6030"/>
                    <a:pt x="7880" y="6029"/>
                  </a:cubicBezTo>
                  <a:cubicBezTo>
                    <a:pt x="7885" y="6028"/>
                    <a:pt x="7897" y="6018"/>
                    <a:pt x="7897" y="6018"/>
                  </a:cubicBezTo>
                  <a:cubicBezTo>
                    <a:pt x="7897" y="6018"/>
                    <a:pt x="7911" y="6025"/>
                    <a:pt x="7920" y="6020"/>
                  </a:cubicBezTo>
                  <a:cubicBezTo>
                    <a:pt x="7929" y="6015"/>
                    <a:pt x="7941" y="6007"/>
                    <a:pt x="7941" y="6007"/>
                  </a:cubicBezTo>
                  <a:cubicBezTo>
                    <a:pt x="7941" y="6007"/>
                    <a:pt x="7965" y="6015"/>
                    <a:pt x="7987" y="6000"/>
                  </a:cubicBezTo>
                  <a:cubicBezTo>
                    <a:pt x="8009" y="5985"/>
                    <a:pt x="8039" y="5956"/>
                    <a:pt x="8039" y="5956"/>
                  </a:cubicBezTo>
                  <a:cubicBezTo>
                    <a:pt x="8052" y="5948"/>
                    <a:pt x="8052" y="5948"/>
                    <a:pt x="8052" y="5948"/>
                  </a:cubicBezTo>
                  <a:cubicBezTo>
                    <a:pt x="8114" y="5882"/>
                    <a:pt x="8114" y="5882"/>
                    <a:pt x="8114" y="5882"/>
                  </a:cubicBezTo>
                  <a:cubicBezTo>
                    <a:pt x="8129" y="5883"/>
                    <a:pt x="8129" y="5883"/>
                    <a:pt x="8129" y="5883"/>
                  </a:cubicBezTo>
                  <a:cubicBezTo>
                    <a:pt x="8129" y="5883"/>
                    <a:pt x="8166" y="5832"/>
                    <a:pt x="8170" y="5818"/>
                  </a:cubicBezTo>
                  <a:cubicBezTo>
                    <a:pt x="8174" y="5804"/>
                    <a:pt x="8191" y="5768"/>
                    <a:pt x="8200" y="5762"/>
                  </a:cubicBezTo>
                  <a:cubicBezTo>
                    <a:pt x="8209" y="5756"/>
                    <a:pt x="8240" y="5743"/>
                    <a:pt x="8243" y="5732"/>
                  </a:cubicBezTo>
                  <a:cubicBezTo>
                    <a:pt x="8246" y="5721"/>
                    <a:pt x="8262" y="5680"/>
                    <a:pt x="8262" y="5680"/>
                  </a:cubicBezTo>
                  <a:cubicBezTo>
                    <a:pt x="8262" y="5680"/>
                    <a:pt x="8268" y="5663"/>
                    <a:pt x="8273" y="5647"/>
                  </a:cubicBezTo>
                  <a:cubicBezTo>
                    <a:pt x="8275" y="5639"/>
                    <a:pt x="8277" y="5632"/>
                    <a:pt x="8277" y="5627"/>
                  </a:cubicBezTo>
                  <a:cubicBezTo>
                    <a:pt x="8278" y="5612"/>
                    <a:pt x="8269" y="5601"/>
                    <a:pt x="8269" y="5601"/>
                  </a:cubicBezTo>
                  <a:cubicBezTo>
                    <a:pt x="8269" y="5601"/>
                    <a:pt x="8250" y="5595"/>
                    <a:pt x="8271" y="5575"/>
                  </a:cubicBezTo>
                  <a:cubicBezTo>
                    <a:pt x="8292" y="5555"/>
                    <a:pt x="8327" y="5541"/>
                    <a:pt x="8348" y="5529"/>
                  </a:cubicBezTo>
                  <a:cubicBezTo>
                    <a:pt x="8369" y="5517"/>
                    <a:pt x="8404" y="5500"/>
                    <a:pt x="8404" y="5491"/>
                  </a:cubicBezTo>
                  <a:cubicBezTo>
                    <a:pt x="8404" y="5482"/>
                    <a:pt x="8404" y="5474"/>
                    <a:pt x="8404" y="5474"/>
                  </a:cubicBezTo>
                  <a:cubicBezTo>
                    <a:pt x="8404" y="5474"/>
                    <a:pt x="8393" y="5483"/>
                    <a:pt x="8392" y="5469"/>
                  </a:cubicBezTo>
                  <a:cubicBezTo>
                    <a:pt x="8391" y="5455"/>
                    <a:pt x="8411" y="5440"/>
                    <a:pt x="8409" y="5430"/>
                  </a:cubicBezTo>
                  <a:cubicBezTo>
                    <a:pt x="8407" y="5420"/>
                    <a:pt x="8403" y="5406"/>
                    <a:pt x="8403" y="5406"/>
                  </a:cubicBezTo>
                  <a:cubicBezTo>
                    <a:pt x="8410" y="5387"/>
                    <a:pt x="8410" y="5387"/>
                    <a:pt x="8410" y="5387"/>
                  </a:cubicBezTo>
                  <a:cubicBezTo>
                    <a:pt x="8408" y="5382"/>
                    <a:pt x="8408" y="5382"/>
                    <a:pt x="8408" y="5382"/>
                  </a:cubicBezTo>
                  <a:cubicBezTo>
                    <a:pt x="8397" y="5395"/>
                    <a:pt x="8397" y="5395"/>
                    <a:pt x="8397" y="5395"/>
                  </a:cubicBezTo>
                  <a:cubicBezTo>
                    <a:pt x="8400" y="5368"/>
                    <a:pt x="8400" y="5368"/>
                    <a:pt x="8400" y="5368"/>
                  </a:cubicBezTo>
                  <a:cubicBezTo>
                    <a:pt x="8400" y="5368"/>
                    <a:pt x="8385" y="5353"/>
                    <a:pt x="8384" y="5343"/>
                  </a:cubicBezTo>
                  <a:cubicBezTo>
                    <a:pt x="8383" y="5333"/>
                    <a:pt x="8392" y="5323"/>
                    <a:pt x="8387" y="5311"/>
                  </a:cubicBezTo>
                  <a:cubicBezTo>
                    <a:pt x="8382" y="5299"/>
                    <a:pt x="8370" y="5310"/>
                    <a:pt x="8370" y="5297"/>
                  </a:cubicBezTo>
                  <a:cubicBezTo>
                    <a:pt x="8370" y="5284"/>
                    <a:pt x="8381" y="5263"/>
                    <a:pt x="8384" y="5259"/>
                  </a:cubicBezTo>
                  <a:cubicBezTo>
                    <a:pt x="8387" y="5255"/>
                    <a:pt x="8411" y="5249"/>
                    <a:pt x="8414" y="5240"/>
                  </a:cubicBezTo>
                  <a:cubicBezTo>
                    <a:pt x="8417" y="5231"/>
                    <a:pt x="8422" y="5216"/>
                    <a:pt x="8429" y="5211"/>
                  </a:cubicBezTo>
                  <a:cubicBezTo>
                    <a:pt x="8436" y="5206"/>
                    <a:pt x="8441" y="5211"/>
                    <a:pt x="8449" y="5205"/>
                  </a:cubicBezTo>
                  <a:cubicBezTo>
                    <a:pt x="8457" y="5199"/>
                    <a:pt x="8472" y="5191"/>
                    <a:pt x="8474" y="5175"/>
                  </a:cubicBezTo>
                  <a:cubicBezTo>
                    <a:pt x="8476" y="5159"/>
                    <a:pt x="8493" y="5141"/>
                    <a:pt x="8510" y="5133"/>
                  </a:cubicBezTo>
                  <a:cubicBezTo>
                    <a:pt x="8527" y="5125"/>
                    <a:pt x="8571" y="5111"/>
                    <a:pt x="8579" y="5104"/>
                  </a:cubicBezTo>
                  <a:cubicBezTo>
                    <a:pt x="8587" y="5097"/>
                    <a:pt x="8620" y="5080"/>
                    <a:pt x="8620" y="5080"/>
                  </a:cubicBezTo>
                  <a:cubicBezTo>
                    <a:pt x="8620" y="5070"/>
                    <a:pt x="8620" y="5070"/>
                    <a:pt x="8620" y="5070"/>
                  </a:cubicBezTo>
                  <a:cubicBezTo>
                    <a:pt x="8620" y="5070"/>
                    <a:pt x="8638" y="5051"/>
                    <a:pt x="8638" y="5046"/>
                  </a:cubicBezTo>
                  <a:cubicBezTo>
                    <a:pt x="8638" y="5041"/>
                    <a:pt x="8660" y="5019"/>
                    <a:pt x="8660" y="5019"/>
                  </a:cubicBezTo>
                  <a:cubicBezTo>
                    <a:pt x="8658" y="5010"/>
                    <a:pt x="8658" y="5010"/>
                    <a:pt x="8658" y="5010"/>
                  </a:cubicBezTo>
                  <a:cubicBezTo>
                    <a:pt x="8658" y="5010"/>
                    <a:pt x="8670" y="4993"/>
                    <a:pt x="8670" y="4985"/>
                  </a:cubicBezTo>
                  <a:cubicBezTo>
                    <a:pt x="8670" y="4977"/>
                    <a:pt x="8669" y="4966"/>
                    <a:pt x="8669" y="4966"/>
                  </a:cubicBezTo>
                  <a:cubicBezTo>
                    <a:pt x="8661" y="4967"/>
                    <a:pt x="8661" y="4967"/>
                    <a:pt x="8661" y="4967"/>
                  </a:cubicBezTo>
                  <a:cubicBezTo>
                    <a:pt x="8661" y="4926"/>
                    <a:pt x="8661" y="4926"/>
                    <a:pt x="8661" y="4926"/>
                  </a:cubicBezTo>
                  <a:cubicBezTo>
                    <a:pt x="8653" y="4918"/>
                    <a:pt x="8653" y="4918"/>
                    <a:pt x="8653" y="4918"/>
                  </a:cubicBezTo>
                  <a:cubicBezTo>
                    <a:pt x="8664" y="4911"/>
                    <a:pt x="8664" y="4911"/>
                    <a:pt x="8664" y="4911"/>
                  </a:cubicBezTo>
                  <a:cubicBezTo>
                    <a:pt x="8657" y="4880"/>
                    <a:pt x="8657" y="4880"/>
                    <a:pt x="8657" y="4880"/>
                  </a:cubicBezTo>
                  <a:cubicBezTo>
                    <a:pt x="8665" y="4860"/>
                    <a:pt x="8665" y="4860"/>
                    <a:pt x="8665" y="4860"/>
                  </a:cubicBezTo>
                  <a:cubicBezTo>
                    <a:pt x="8655" y="4834"/>
                    <a:pt x="8655" y="4834"/>
                    <a:pt x="8655" y="4834"/>
                  </a:cubicBezTo>
                  <a:cubicBezTo>
                    <a:pt x="8655" y="4834"/>
                    <a:pt x="8667" y="4777"/>
                    <a:pt x="8667" y="4769"/>
                  </a:cubicBezTo>
                  <a:cubicBezTo>
                    <a:pt x="8667" y="4761"/>
                    <a:pt x="8659" y="4756"/>
                    <a:pt x="8659" y="4756"/>
                  </a:cubicBezTo>
                  <a:cubicBezTo>
                    <a:pt x="8659" y="4756"/>
                    <a:pt x="8659" y="4756"/>
                    <a:pt x="8659" y="4756"/>
                  </a:cubicBezTo>
                  <a:cubicBezTo>
                    <a:pt x="8656" y="4745"/>
                    <a:pt x="8656" y="4745"/>
                    <a:pt x="8656" y="4745"/>
                  </a:cubicBezTo>
                  <a:cubicBezTo>
                    <a:pt x="8656" y="4745"/>
                    <a:pt x="8628" y="4738"/>
                    <a:pt x="8626" y="4727"/>
                  </a:cubicBezTo>
                  <a:cubicBezTo>
                    <a:pt x="8624" y="4716"/>
                    <a:pt x="8622" y="4685"/>
                    <a:pt x="8622" y="4685"/>
                  </a:cubicBezTo>
                  <a:cubicBezTo>
                    <a:pt x="8607" y="4654"/>
                    <a:pt x="8607" y="4654"/>
                    <a:pt x="8607" y="4654"/>
                  </a:cubicBezTo>
                  <a:cubicBezTo>
                    <a:pt x="8616" y="4623"/>
                    <a:pt x="8616" y="4623"/>
                    <a:pt x="8616" y="4623"/>
                  </a:cubicBezTo>
                  <a:cubicBezTo>
                    <a:pt x="8605" y="4609"/>
                    <a:pt x="8605" y="4609"/>
                    <a:pt x="8605" y="4609"/>
                  </a:cubicBezTo>
                  <a:cubicBezTo>
                    <a:pt x="8605" y="4609"/>
                    <a:pt x="8625" y="4574"/>
                    <a:pt x="8620" y="4566"/>
                  </a:cubicBezTo>
                  <a:cubicBezTo>
                    <a:pt x="8615" y="4558"/>
                    <a:pt x="8588" y="4551"/>
                    <a:pt x="8585" y="4539"/>
                  </a:cubicBezTo>
                  <a:cubicBezTo>
                    <a:pt x="8582" y="4527"/>
                    <a:pt x="8599" y="4488"/>
                    <a:pt x="8600" y="4481"/>
                  </a:cubicBezTo>
                  <a:cubicBezTo>
                    <a:pt x="8601" y="4475"/>
                    <a:pt x="8603" y="4452"/>
                    <a:pt x="8604" y="4447"/>
                  </a:cubicBezTo>
                  <a:cubicBezTo>
                    <a:pt x="8604" y="4446"/>
                    <a:pt x="8604" y="4446"/>
                    <a:pt x="8604" y="4446"/>
                  </a:cubicBezTo>
                  <a:cubicBezTo>
                    <a:pt x="8617" y="4443"/>
                    <a:pt x="8617" y="4443"/>
                    <a:pt x="8617" y="4443"/>
                  </a:cubicBezTo>
                  <a:cubicBezTo>
                    <a:pt x="8637" y="4401"/>
                    <a:pt x="8637" y="4401"/>
                    <a:pt x="8637" y="4401"/>
                  </a:cubicBezTo>
                  <a:cubicBezTo>
                    <a:pt x="8637" y="4401"/>
                    <a:pt x="8635" y="4386"/>
                    <a:pt x="8635" y="4379"/>
                  </a:cubicBezTo>
                  <a:cubicBezTo>
                    <a:pt x="8635" y="4372"/>
                    <a:pt x="8656" y="4372"/>
                    <a:pt x="8655" y="4362"/>
                  </a:cubicBezTo>
                  <a:cubicBezTo>
                    <a:pt x="8654" y="4352"/>
                    <a:pt x="8649" y="4339"/>
                    <a:pt x="8657" y="4336"/>
                  </a:cubicBezTo>
                  <a:cubicBezTo>
                    <a:pt x="8665" y="4333"/>
                    <a:pt x="8680" y="4326"/>
                    <a:pt x="8680" y="4326"/>
                  </a:cubicBezTo>
                  <a:cubicBezTo>
                    <a:pt x="8684" y="4299"/>
                    <a:pt x="8684" y="4299"/>
                    <a:pt x="8684" y="4299"/>
                  </a:cubicBezTo>
                  <a:cubicBezTo>
                    <a:pt x="8684" y="4299"/>
                    <a:pt x="8708" y="4304"/>
                    <a:pt x="8716" y="4289"/>
                  </a:cubicBezTo>
                  <a:cubicBezTo>
                    <a:pt x="8717" y="4287"/>
                    <a:pt x="8718" y="4284"/>
                    <a:pt x="8720" y="4281"/>
                  </a:cubicBezTo>
                  <a:cubicBezTo>
                    <a:pt x="8719" y="4283"/>
                    <a:pt x="8719" y="4284"/>
                    <a:pt x="8718" y="4285"/>
                  </a:cubicBezTo>
                  <a:cubicBezTo>
                    <a:pt x="8727" y="4268"/>
                    <a:pt x="8744" y="4236"/>
                    <a:pt x="8750" y="4226"/>
                  </a:cubicBezTo>
                  <a:cubicBezTo>
                    <a:pt x="8757" y="4215"/>
                    <a:pt x="8789" y="4200"/>
                    <a:pt x="8792" y="4185"/>
                  </a:cubicBezTo>
                  <a:cubicBezTo>
                    <a:pt x="8795" y="4170"/>
                    <a:pt x="8838" y="4132"/>
                    <a:pt x="8849" y="4119"/>
                  </a:cubicBezTo>
                  <a:cubicBezTo>
                    <a:pt x="8860" y="4106"/>
                    <a:pt x="8894" y="4087"/>
                    <a:pt x="8902" y="4082"/>
                  </a:cubicBezTo>
                  <a:cubicBezTo>
                    <a:pt x="8910" y="4077"/>
                    <a:pt x="8967" y="4030"/>
                    <a:pt x="8973" y="4019"/>
                  </a:cubicBezTo>
                  <a:cubicBezTo>
                    <a:pt x="8979" y="4008"/>
                    <a:pt x="9023" y="3959"/>
                    <a:pt x="9027" y="3945"/>
                  </a:cubicBezTo>
                  <a:cubicBezTo>
                    <a:pt x="9031" y="3931"/>
                    <a:pt x="9056" y="3885"/>
                    <a:pt x="9062" y="3880"/>
                  </a:cubicBezTo>
                  <a:cubicBezTo>
                    <a:pt x="9068" y="3875"/>
                    <a:pt x="9076" y="3862"/>
                    <a:pt x="9076" y="3854"/>
                  </a:cubicBezTo>
                  <a:cubicBezTo>
                    <a:pt x="9076" y="3846"/>
                    <a:pt x="9082" y="3817"/>
                    <a:pt x="9089" y="3808"/>
                  </a:cubicBezTo>
                  <a:cubicBezTo>
                    <a:pt x="9096" y="3799"/>
                    <a:pt x="9109" y="3787"/>
                    <a:pt x="9109" y="3774"/>
                  </a:cubicBezTo>
                  <a:cubicBezTo>
                    <a:pt x="9109" y="3761"/>
                    <a:pt x="9119" y="3751"/>
                    <a:pt x="9119" y="3751"/>
                  </a:cubicBezTo>
                  <a:cubicBezTo>
                    <a:pt x="9132" y="3715"/>
                    <a:pt x="9132" y="3715"/>
                    <a:pt x="9132" y="3715"/>
                  </a:cubicBezTo>
                  <a:cubicBezTo>
                    <a:pt x="9132" y="3715"/>
                    <a:pt x="9149" y="3719"/>
                    <a:pt x="9149" y="3693"/>
                  </a:cubicBezTo>
                  <a:cubicBezTo>
                    <a:pt x="9149" y="3667"/>
                    <a:pt x="9149" y="3639"/>
                    <a:pt x="9149" y="3639"/>
                  </a:cubicBezTo>
                  <a:cubicBezTo>
                    <a:pt x="9163" y="3630"/>
                    <a:pt x="9163" y="3630"/>
                    <a:pt x="9163" y="3630"/>
                  </a:cubicBezTo>
                  <a:cubicBezTo>
                    <a:pt x="9159" y="3584"/>
                    <a:pt x="9159" y="3584"/>
                    <a:pt x="9159" y="3584"/>
                  </a:cubicBezTo>
                  <a:cubicBezTo>
                    <a:pt x="9159" y="3584"/>
                    <a:pt x="9172" y="3560"/>
                    <a:pt x="9166" y="3554"/>
                  </a:cubicBezTo>
                  <a:cubicBezTo>
                    <a:pt x="9160" y="3548"/>
                    <a:pt x="9139" y="3546"/>
                    <a:pt x="9139" y="3546"/>
                  </a:cubicBezTo>
                  <a:cubicBezTo>
                    <a:pt x="9139" y="3546"/>
                    <a:pt x="9131" y="3560"/>
                    <a:pt x="9124" y="3567"/>
                  </a:cubicBezTo>
                  <a:cubicBezTo>
                    <a:pt x="9117" y="3574"/>
                    <a:pt x="9080" y="3583"/>
                    <a:pt x="9074" y="3583"/>
                  </a:cubicBezTo>
                  <a:cubicBezTo>
                    <a:pt x="9068" y="3583"/>
                    <a:pt x="9047" y="3577"/>
                    <a:pt x="9037" y="3581"/>
                  </a:cubicBezTo>
                  <a:cubicBezTo>
                    <a:pt x="9027" y="3585"/>
                    <a:pt x="9014" y="3600"/>
                    <a:pt x="9010" y="3600"/>
                  </a:cubicBezTo>
                  <a:cubicBezTo>
                    <a:pt x="9006" y="3600"/>
                    <a:pt x="8996" y="3588"/>
                    <a:pt x="8988" y="3589"/>
                  </a:cubicBezTo>
                  <a:cubicBezTo>
                    <a:pt x="8980" y="3590"/>
                    <a:pt x="8953" y="3618"/>
                    <a:pt x="8944" y="3619"/>
                  </a:cubicBezTo>
                  <a:cubicBezTo>
                    <a:pt x="8935" y="3620"/>
                    <a:pt x="8927" y="3604"/>
                    <a:pt x="8913" y="3608"/>
                  </a:cubicBezTo>
                  <a:cubicBezTo>
                    <a:pt x="8899" y="3612"/>
                    <a:pt x="8881" y="3629"/>
                    <a:pt x="8873" y="3630"/>
                  </a:cubicBezTo>
                  <a:cubicBezTo>
                    <a:pt x="8865" y="3631"/>
                    <a:pt x="8833" y="3631"/>
                    <a:pt x="8833" y="3631"/>
                  </a:cubicBezTo>
                  <a:cubicBezTo>
                    <a:pt x="8833" y="3631"/>
                    <a:pt x="8803" y="3604"/>
                    <a:pt x="8803" y="3594"/>
                  </a:cubicBezTo>
                  <a:cubicBezTo>
                    <a:pt x="8803" y="3586"/>
                    <a:pt x="8794" y="3582"/>
                    <a:pt x="8791" y="3581"/>
                  </a:cubicBezTo>
                  <a:cubicBezTo>
                    <a:pt x="8790" y="3581"/>
                    <a:pt x="8790" y="3581"/>
                    <a:pt x="8790" y="3581"/>
                  </a:cubicBezTo>
                  <a:cubicBezTo>
                    <a:pt x="8783" y="3571"/>
                    <a:pt x="8783" y="3571"/>
                    <a:pt x="8783" y="3571"/>
                  </a:cubicBezTo>
                  <a:cubicBezTo>
                    <a:pt x="8760" y="3573"/>
                    <a:pt x="8760" y="3573"/>
                    <a:pt x="8760" y="3573"/>
                  </a:cubicBezTo>
                  <a:cubicBezTo>
                    <a:pt x="8760" y="3573"/>
                    <a:pt x="8801" y="3540"/>
                    <a:pt x="8792" y="3527"/>
                  </a:cubicBezTo>
                  <a:cubicBezTo>
                    <a:pt x="8789" y="3522"/>
                    <a:pt x="8784" y="3516"/>
                    <a:pt x="8779" y="3510"/>
                  </a:cubicBezTo>
                  <a:cubicBezTo>
                    <a:pt x="8771" y="3500"/>
                    <a:pt x="8763" y="3491"/>
                    <a:pt x="8763" y="3491"/>
                  </a:cubicBezTo>
                  <a:cubicBezTo>
                    <a:pt x="8763" y="3491"/>
                    <a:pt x="8746" y="3494"/>
                    <a:pt x="8744" y="3487"/>
                  </a:cubicBezTo>
                  <a:cubicBezTo>
                    <a:pt x="8742" y="3480"/>
                    <a:pt x="8742" y="3462"/>
                    <a:pt x="8742" y="3462"/>
                  </a:cubicBezTo>
                  <a:cubicBezTo>
                    <a:pt x="8742" y="3462"/>
                    <a:pt x="8703" y="3448"/>
                    <a:pt x="8700" y="3439"/>
                  </a:cubicBezTo>
                  <a:cubicBezTo>
                    <a:pt x="8697" y="3430"/>
                    <a:pt x="8697" y="3408"/>
                    <a:pt x="8690" y="3404"/>
                  </a:cubicBezTo>
                  <a:cubicBezTo>
                    <a:pt x="8683" y="3400"/>
                    <a:pt x="8666" y="3404"/>
                    <a:pt x="8663" y="3400"/>
                  </a:cubicBezTo>
                  <a:cubicBezTo>
                    <a:pt x="8660" y="3396"/>
                    <a:pt x="8649" y="3382"/>
                    <a:pt x="8649" y="3382"/>
                  </a:cubicBezTo>
                  <a:cubicBezTo>
                    <a:pt x="8636" y="3388"/>
                    <a:pt x="8636" y="3388"/>
                    <a:pt x="8636" y="3388"/>
                  </a:cubicBezTo>
                  <a:cubicBezTo>
                    <a:pt x="8628" y="3375"/>
                    <a:pt x="8628" y="3375"/>
                    <a:pt x="8628" y="3375"/>
                  </a:cubicBezTo>
                  <a:cubicBezTo>
                    <a:pt x="8616" y="3372"/>
                    <a:pt x="8616" y="3372"/>
                    <a:pt x="8616" y="3372"/>
                  </a:cubicBezTo>
                  <a:cubicBezTo>
                    <a:pt x="8616" y="3372"/>
                    <a:pt x="8596" y="3352"/>
                    <a:pt x="8593" y="3340"/>
                  </a:cubicBezTo>
                  <a:cubicBezTo>
                    <a:pt x="8590" y="3328"/>
                    <a:pt x="8594" y="3308"/>
                    <a:pt x="8587" y="3285"/>
                  </a:cubicBezTo>
                  <a:cubicBezTo>
                    <a:pt x="8580" y="3262"/>
                    <a:pt x="8559" y="3224"/>
                    <a:pt x="8559" y="3224"/>
                  </a:cubicBezTo>
                  <a:cubicBezTo>
                    <a:pt x="8557" y="3223"/>
                    <a:pt x="8557" y="3223"/>
                    <a:pt x="8557" y="3223"/>
                  </a:cubicBezTo>
                  <a:cubicBezTo>
                    <a:pt x="8532" y="3208"/>
                    <a:pt x="8532" y="3208"/>
                    <a:pt x="8532" y="3208"/>
                  </a:cubicBezTo>
                  <a:cubicBezTo>
                    <a:pt x="8532" y="3208"/>
                    <a:pt x="8529" y="3192"/>
                    <a:pt x="8523" y="3188"/>
                  </a:cubicBezTo>
                  <a:cubicBezTo>
                    <a:pt x="8517" y="3184"/>
                    <a:pt x="8502" y="3194"/>
                    <a:pt x="8498" y="3180"/>
                  </a:cubicBezTo>
                  <a:cubicBezTo>
                    <a:pt x="8494" y="3166"/>
                    <a:pt x="8493" y="3128"/>
                    <a:pt x="8493" y="3128"/>
                  </a:cubicBezTo>
                  <a:cubicBezTo>
                    <a:pt x="8486" y="3126"/>
                    <a:pt x="8486" y="3126"/>
                    <a:pt x="8486" y="3126"/>
                  </a:cubicBezTo>
                  <a:cubicBezTo>
                    <a:pt x="8486" y="3126"/>
                    <a:pt x="8484" y="3084"/>
                    <a:pt x="8484" y="3079"/>
                  </a:cubicBezTo>
                  <a:cubicBezTo>
                    <a:pt x="8484" y="3074"/>
                    <a:pt x="8479" y="3063"/>
                    <a:pt x="8479" y="3063"/>
                  </a:cubicBezTo>
                  <a:cubicBezTo>
                    <a:pt x="8491" y="3060"/>
                    <a:pt x="8491" y="3060"/>
                    <a:pt x="8491" y="3060"/>
                  </a:cubicBezTo>
                  <a:cubicBezTo>
                    <a:pt x="8491" y="3060"/>
                    <a:pt x="8473" y="3045"/>
                    <a:pt x="8472" y="3036"/>
                  </a:cubicBezTo>
                  <a:cubicBezTo>
                    <a:pt x="8471" y="3027"/>
                    <a:pt x="8477" y="3011"/>
                    <a:pt x="8469" y="3005"/>
                  </a:cubicBezTo>
                  <a:cubicBezTo>
                    <a:pt x="8461" y="2999"/>
                    <a:pt x="8450" y="2991"/>
                    <a:pt x="8450" y="2991"/>
                  </a:cubicBezTo>
                  <a:cubicBezTo>
                    <a:pt x="8450" y="2991"/>
                    <a:pt x="8441" y="2979"/>
                    <a:pt x="8437" y="2975"/>
                  </a:cubicBezTo>
                  <a:cubicBezTo>
                    <a:pt x="8433" y="2971"/>
                    <a:pt x="8432" y="2978"/>
                    <a:pt x="8426" y="2974"/>
                  </a:cubicBezTo>
                  <a:cubicBezTo>
                    <a:pt x="8422" y="2971"/>
                    <a:pt x="8415" y="2962"/>
                    <a:pt x="8410" y="2952"/>
                  </a:cubicBezTo>
                  <a:cubicBezTo>
                    <a:pt x="8407" y="2946"/>
                    <a:pt x="8405" y="2940"/>
                    <a:pt x="8405" y="2935"/>
                  </a:cubicBezTo>
                  <a:cubicBezTo>
                    <a:pt x="8404" y="2920"/>
                    <a:pt x="8403" y="2906"/>
                    <a:pt x="8403" y="2906"/>
                  </a:cubicBezTo>
                  <a:cubicBezTo>
                    <a:pt x="8415" y="2905"/>
                    <a:pt x="8415" y="2905"/>
                    <a:pt x="8415" y="2905"/>
                  </a:cubicBezTo>
                  <a:cubicBezTo>
                    <a:pt x="8415" y="2905"/>
                    <a:pt x="8388" y="2887"/>
                    <a:pt x="8375" y="2859"/>
                  </a:cubicBezTo>
                  <a:cubicBezTo>
                    <a:pt x="8362" y="2831"/>
                    <a:pt x="8363" y="2816"/>
                    <a:pt x="8354" y="2805"/>
                  </a:cubicBezTo>
                  <a:cubicBezTo>
                    <a:pt x="8345" y="2794"/>
                    <a:pt x="8341" y="2792"/>
                    <a:pt x="8333" y="2778"/>
                  </a:cubicBezTo>
                  <a:cubicBezTo>
                    <a:pt x="8325" y="2764"/>
                    <a:pt x="8325" y="2742"/>
                    <a:pt x="8325" y="2742"/>
                  </a:cubicBezTo>
                  <a:cubicBezTo>
                    <a:pt x="8300" y="2715"/>
                    <a:pt x="8300" y="2715"/>
                    <a:pt x="8300" y="2715"/>
                  </a:cubicBezTo>
                  <a:cubicBezTo>
                    <a:pt x="8300" y="2715"/>
                    <a:pt x="8303" y="2706"/>
                    <a:pt x="8297" y="2694"/>
                  </a:cubicBezTo>
                  <a:cubicBezTo>
                    <a:pt x="8291" y="2682"/>
                    <a:pt x="8265" y="2660"/>
                    <a:pt x="8263" y="2651"/>
                  </a:cubicBezTo>
                  <a:cubicBezTo>
                    <a:pt x="8261" y="2642"/>
                    <a:pt x="8253" y="2637"/>
                    <a:pt x="8253" y="2637"/>
                  </a:cubicBezTo>
                  <a:cubicBezTo>
                    <a:pt x="8253" y="2637"/>
                    <a:pt x="8261" y="2627"/>
                    <a:pt x="8253" y="2616"/>
                  </a:cubicBezTo>
                  <a:cubicBezTo>
                    <a:pt x="8245" y="2605"/>
                    <a:pt x="8235" y="2602"/>
                    <a:pt x="8235" y="2602"/>
                  </a:cubicBezTo>
                  <a:cubicBezTo>
                    <a:pt x="8246" y="2589"/>
                    <a:pt x="8246" y="2589"/>
                    <a:pt x="8246" y="2589"/>
                  </a:cubicBezTo>
                  <a:cubicBezTo>
                    <a:pt x="8258" y="2597"/>
                    <a:pt x="8258" y="2597"/>
                    <a:pt x="8258" y="2597"/>
                  </a:cubicBezTo>
                  <a:cubicBezTo>
                    <a:pt x="8258" y="2597"/>
                    <a:pt x="8257" y="2614"/>
                    <a:pt x="8266" y="2620"/>
                  </a:cubicBezTo>
                  <a:cubicBezTo>
                    <a:pt x="8275" y="2626"/>
                    <a:pt x="8280" y="2635"/>
                    <a:pt x="8280" y="2635"/>
                  </a:cubicBezTo>
                  <a:cubicBezTo>
                    <a:pt x="8279" y="2652"/>
                    <a:pt x="8279" y="2652"/>
                    <a:pt x="8279" y="2652"/>
                  </a:cubicBezTo>
                  <a:cubicBezTo>
                    <a:pt x="8279" y="2652"/>
                    <a:pt x="8311" y="2704"/>
                    <a:pt x="8323" y="2697"/>
                  </a:cubicBezTo>
                  <a:cubicBezTo>
                    <a:pt x="8335" y="2690"/>
                    <a:pt x="8341" y="2685"/>
                    <a:pt x="8341" y="2685"/>
                  </a:cubicBezTo>
                  <a:cubicBezTo>
                    <a:pt x="8334" y="2673"/>
                    <a:pt x="8334" y="2673"/>
                    <a:pt x="8334" y="2673"/>
                  </a:cubicBezTo>
                  <a:cubicBezTo>
                    <a:pt x="8334" y="2673"/>
                    <a:pt x="8347" y="2647"/>
                    <a:pt x="8347" y="2633"/>
                  </a:cubicBezTo>
                  <a:cubicBezTo>
                    <a:pt x="8347" y="2619"/>
                    <a:pt x="8356" y="2602"/>
                    <a:pt x="8356" y="2602"/>
                  </a:cubicBezTo>
                  <a:cubicBezTo>
                    <a:pt x="8361" y="2612"/>
                    <a:pt x="8361" y="2612"/>
                    <a:pt x="8361" y="2612"/>
                  </a:cubicBezTo>
                  <a:cubicBezTo>
                    <a:pt x="8363" y="2618"/>
                    <a:pt x="8363" y="2618"/>
                    <a:pt x="8363" y="2618"/>
                  </a:cubicBezTo>
                  <a:cubicBezTo>
                    <a:pt x="8363" y="2618"/>
                    <a:pt x="8364" y="2618"/>
                    <a:pt x="8364" y="2618"/>
                  </a:cubicBezTo>
                  <a:cubicBezTo>
                    <a:pt x="8358" y="2619"/>
                    <a:pt x="8358" y="2623"/>
                    <a:pt x="8358" y="2624"/>
                  </a:cubicBezTo>
                  <a:cubicBezTo>
                    <a:pt x="8358" y="2624"/>
                    <a:pt x="8358" y="2624"/>
                    <a:pt x="8358" y="2624"/>
                  </a:cubicBezTo>
                  <a:cubicBezTo>
                    <a:pt x="8358" y="2633"/>
                    <a:pt x="8346" y="2700"/>
                    <a:pt x="8358" y="2712"/>
                  </a:cubicBezTo>
                  <a:cubicBezTo>
                    <a:pt x="8370" y="2723"/>
                    <a:pt x="8395" y="2723"/>
                    <a:pt x="8400" y="2737"/>
                  </a:cubicBezTo>
                  <a:cubicBezTo>
                    <a:pt x="8406" y="2751"/>
                    <a:pt x="8422" y="2788"/>
                    <a:pt x="8431" y="2797"/>
                  </a:cubicBezTo>
                  <a:cubicBezTo>
                    <a:pt x="8440" y="2806"/>
                    <a:pt x="8459" y="2821"/>
                    <a:pt x="8466" y="2833"/>
                  </a:cubicBezTo>
                  <a:cubicBezTo>
                    <a:pt x="8474" y="2846"/>
                    <a:pt x="8478" y="2884"/>
                    <a:pt x="8491" y="2896"/>
                  </a:cubicBezTo>
                  <a:cubicBezTo>
                    <a:pt x="8503" y="2908"/>
                    <a:pt x="8530" y="2897"/>
                    <a:pt x="8547" y="2916"/>
                  </a:cubicBezTo>
                  <a:cubicBezTo>
                    <a:pt x="8564" y="2935"/>
                    <a:pt x="8578" y="2994"/>
                    <a:pt x="8578" y="3023"/>
                  </a:cubicBezTo>
                  <a:cubicBezTo>
                    <a:pt x="8578" y="3053"/>
                    <a:pt x="8613" y="3089"/>
                    <a:pt x="8613" y="3089"/>
                  </a:cubicBezTo>
                  <a:cubicBezTo>
                    <a:pt x="8613" y="3089"/>
                    <a:pt x="8637" y="3086"/>
                    <a:pt x="8646" y="3094"/>
                  </a:cubicBezTo>
                  <a:cubicBezTo>
                    <a:pt x="8654" y="3102"/>
                    <a:pt x="8690" y="3167"/>
                    <a:pt x="8704" y="3191"/>
                  </a:cubicBezTo>
                  <a:cubicBezTo>
                    <a:pt x="8718" y="3215"/>
                    <a:pt x="8766" y="3273"/>
                    <a:pt x="8765" y="3289"/>
                  </a:cubicBezTo>
                  <a:cubicBezTo>
                    <a:pt x="8765" y="3296"/>
                    <a:pt x="8763" y="3305"/>
                    <a:pt x="8760" y="3314"/>
                  </a:cubicBezTo>
                  <a:cubicBezTo>
                    <a:pt x="8758" y="3323"/>
                    <a:pt x="8755" y="3332"/>
                    <a:pt x="8754" y="3337"/>
                  </a:cubicBezTo>
                  <a:cubicBezTo>
                    <a:pt x="8752" y="3347"/>
                    <a:pt x="8776" y="3366"/>
                    <a:pt x="8776" y="3366"/>
                  </a:cubicBezTo>
                  <a:cubicBezTo>
                    <a:pt x="8767" y="3443"/>
                    <a:pt x="8767" y="3443"/>
                    <a:pt x="8767" y="3443"/>
                  </a:cubicBezTo>
                  <a:cubicBezTo>
                    <a:pt x="8788" y="3465"/>
                    <a:pt x="8788" y="3465"/>
                    <a:pt x="8788" y="3465"/>
                  </a:cubicBezTo>
                  <a:cubicBezTo>
                    <a:pt x="8788" y="3465"/>
                    <a:pt x="8793" y="3494"/>
                    <a:pt x="8812" y="3498"/>
                  </a:cubicBezTo>
                  <a:cubicBezTo>
                    <a:pt x="8831" y="3503"/>
                    <a:pt x="8846" y="3502"/>
                    <a:pt x="8858" y="3494"/>
                  </a:cubicBezTo>
                  <a:cubicBezTo>
                    <a:pt x="8870" y="3486"/>
                    <a:pt x="8874" y="3460"/>
                    <a:pt x="8885" y="3460"/>
                  </a:cubicBezTo>
                  <a:cubicBezTo>
                    <a:pt x="8897" y="3459"/>
                    <a:pt x="8912" y="3466"/>
                    <a:pt x="8934" y="3463"/>
                  </a:cubicBezTo>
                  <a:cubicBezTo>
                    <a:pt x="8956" y="3460"/>
                    <a:pt x="8982" y="3455"/>
                    <a:pt x="8995" y="3455"/>
                  </a:cubicBezTo>
                  <a:cubicBezTo>
                    <a:pt x="9008" y="3456"/>
                    <a:pt x="9029" y="3422"/>
                    <a:pt x="9044" y="3416"/>
                  </a:cubicBezTo>
                  <a:cubicBezTo>
                    <a:pt x="9060" y="3411"/>
                    <a:pt x="9068" y="3391"/>
                    <a:pt x="9086" y="3386"/>
                  </a:cubicBezTo>
                  <a:cubicBezTo>
                    <a:pt x="9104" y="3380"/>
                    <a:pt x="9149" y="3354"/>
                    <a:pt x="9149" y="3354"/>
                  </a:cubicBezTo>
                  <a:cubicBezTo>
                    <a:pt x="9198" y="3353"/>
                    <a:pt x="9198" y="3353"/>
                    <a:pt x="9198" y="3353"/>
                  </a:cubicBezTo>
                  <a:cubicBezTo>
                    <a:pt x="9198" y="3353"/>
                    <a:pt x="9218" y="3308"/>
                    <a:pt x="9231" y="3298"/>
                  </a:cubicBezTo>
                  <a:cubicBezTo>
                    <a:pt x="9232" y="3296"/>
                    <a:pt x="9235" y="3295"/>
                    <a:pt x="9239" y="3293"/>
                  </a:cubicBezTo>
                  <a:cubicBezTo>
                    <a:pt x="9266" y="3282"/>
                    <a:pt x="9344" y="3263"/>
                    <a:pt x="9347" y="3258"/>
                  </a:cubicBezTo>
                  <a:cubicBezTo>
                    <a:pt x="9352" y="3252"/>
                    <a:pt x="9354" y="3223"/>
                    <a:pt x="9354" y="3223"/>
                  </a:cubicBezTo>
                  <a:cubicBezTo>
                    <a:pt x="9354" y="3223"/>
                    <a:pt x="9396" y="3217"/>
                    <a:pt x="9405" y="3206"/>
                  </a:cubicBezTo>
                  <a:cubicBezTo>
                    <a:pt x="9413" y="3196"/>
                    <a:pt x="9413" y="3178"/>
                    <a:pt x="9413" y="3178"/>
                  </a:cubicBezTo>
                  <a:cubicBezTo>
                    <a:pt x="9413" y="3178"/>
                    <a:pt x="9445" y="3167"/>
                    <a:pt x="9454" y="3152"/>
                  </a:cubicBezTo>
                  <a:cubicBezTo>
                    <a:pt x="9464" y="3136"/>
                    <a:pt x="9459" y="3098"/>
                    <a:pt x="9468" y="3097"/>
                  </a:cubicBezTo>
                  <a:cubicBezTo>
                    <a:pt x="9477" y="3096"/>
                    <a:pt x="9487" y="3108"/>
                    <a:pt x="9497" y="3097"/>
                  </a:cubicBezTo>
                  <a:cubicBezTo>
                    <a:pt x="9508" y="3086"/>
                    <a:pt x="9503" y="3066"/>
                    <a:pt x="9503" y="3066"/>
                  </a:cubicBezTo>
                  <a:cubicBezTo>
                    <a:pt x="9540" y="3032"/>
                    <a:pt x="9540" y="3032"/>
                    <a:pt x="9540" y="3032"/>
                  </a:cubicBezTo>
                  <a:cubicBezTo>
                    <a:pt x="9540" y="3032"/>
                    <a:pt x="9549" y="2992"/>
                    <a:pt x="9544" y="2982"/>
                  </a:cubicBezTo>
                  <a:cubicBezTo>
                    <a:pt x="9540" y="2972"/>
                    <a:pt x="9524" y="2975"/>
                    <a:pt x="9524" y="2975"/>
                  </a:cubicBezTo>
                  <a:cubicBezTo>
                    <a:pt x="9524" y="2975"/>
                    <a:pt x="9502" y="2935"/>
                    <a:pt x="9487" y="2922"/>
                  </a:cubicBezTo>
                  <a:cubicBezTo>
                    <a:pt x="9472" y="2909"/>
                    <a:pt x="9422" y="2900"/>
                    <a:pt x="9422" y="2900"/>
                  </a:cubicBezTo>
                  <a:cubicBezTo>
                    <a:pt x="9422" y="2900"/>
                    <a:pt x="9379" y="2886"/>
                    <a:pt x="9376" y="2871"/>
                  </a:cubicBezTo>
                  <a:cubicBezTo>
                    <a:pt x="9375" y="2866"/>
                    <a:pt x="9372" y="2861"/>
                    <a:pt x="9369" y="2855"/>
                  </a:cubicBezTo>
                  <a:cubicBezTo>
                    <a:pt x="9364" y="2842"/>
                    <a:pt x="9357" y="2827"/>
                    <a:pt x="9359" y="2815"/>
                  </a:cubicBezTo>
                  <a:cubicBezTo>
                    <a:pt x="9362" y="2798"/>
                    <a:pt x="9367" y="2770"/>
                    <a:pt x="9360" y="2767"/>
                  </a:cubicBezTo>
                  <a:cubicBezTo>
                    <a:pt x="9352" y="2764"/>
                    <a:pt x="9331" y="2815"/>
                    <a:pt x="9331" y="2815"/>
                  </a:cubicBezTo>
                  <a:cubicBezTo>
                    <a:pt x="9331" y="2815"/>
                    <a:pt x="9317" y="2817"/>
                    <a:pt x="9311" y="2825"/>
                  </a:cubicBezTo>
                  <a:cubicBezTo>
                    <a:pt x="9306" y="2834"/>
                    <a:pt x="9276" y="2866"/>
                    <a:pt x="9276" y="2866"/>
                  </a:cubicBezTo>
                  <a:cubicBezTo>
                    <a:pt x="9276" y="2866"/>
                    <a:pt x="9276" y="2894"/>
                    <a:pt x="9267" y="2895"/>
                  </a:cubicBezTo>
                  <a:cubicBezTo>
                    <a:pt x="9258" y="2896"/>
                    <a:pt x="9214" y="2891"/>
                    <a:pt x="9207" y="2891"/>
                  </a:cubicBezTo>
                  <a:cubicBezTo>
                    <a:pt x="9201" y="2891"/>
                    <a:pt x="9170" y="2908"/>
                    <a:pt x="9161" y="2904"/>
                  </a:cubicBezTo>
                  <a:cubicBezTo>
                    <a:pt x="9156" y="2902"/>
                    <a:pt x="9150" y="2896"/>
                    <a:pt x="9146" y="2891"/>
                  </a:cubicBezTo>
                  <a:cubicBezTo>
                    <a:pt x="9146" y="2891"/>
                    <a:pt x="9146" y="2891"/>
                    <a:pt x="9146" y="2891"/>
                  </a:cubicBezTo>
                  <a:cubicBezTo>
                    <a:pt x="9142" y="2886"/>
                    <a:pt x="9139" y="2880"/>
                    <a:pt x="9140" y="2876"/>
                  </a:cubicBezTo>
                  <a:cubicBezTo>
                    <a:pt x="9140" y="2876"/>
                    <a:pt x="9140" y="2875"/>
                    <a:pt x="9140" y="2875"/>
                  </a:cubicBezTo>
                  <a:cubicBezTo>
                    <a:pt x="9145" y="2866"/>
                    <a:pt x="9159" y="2836"/>
                    <a:pt x="9157" y="2815"/>
                  </a:cubicBezTo>
                  <a:cubicBezTo>
                    <a:pt x="9155" y="2794"/>
                    <a:pt x="9141" y="2780"/>
                    <a:pt x="9132" y="2783"/>
                  </a:cubicBezTo>
                  <a:cubicBezTo>
                    <a:pt x="9122" y="2786"/>
                    <a:pt x="9120" y="2812"/>
                    <a:pt x="9119" y="2827"/>
                  </a:cubicBezTo>
                  <a:cubicBezTo>
                    <a:pt x="9119" y="2842"/>
                    <a:pt x="9119" y="2863"/>
                    <a:pt x="9111" y="2864"/>
                  </a:cubicBezTo>
                  <a:cubicBezTo>
                    <a:pt x="9111" y="2864"/>
                    <a:pt x="9111" y="2864"/>
                    <a:pt x="9110" y="2863"/>
                  </a:cubicBezTo>
                  <a:cubicBezTo>
                    <a:pt x="9103" y="2861"/>
                    <a:pt x="9096" y="2822"/>
                    <a:pt x="9090" y="2817"/>
                  </a:cubicBezTo>
                  <a:cubicBezTo>
                    <a:pt x="9084" y="2812"/>
                    <a:pt x="9068" y="2809"/>
                    <a:pt x="9065" y="2795"/>
                  </a:cubicBezTo>
                  <a:cubicBezTo>
                    <a:pt x="9061" y="2781"/>
                    <a:pt x="9066" y="2759"/>
                    <a:pt x="9053" y="2749"/>
                  </a:cubicBezTo>
                  <a:cubicBezTo>
                    <a:pt x="9039" y="2738"/>
                    <a:pt x="9021" y="2740"/>
                    <a:pt x="9015" y="2728"/>
                  </a:cubicBezTo>
                  <a:cubicBezTo>
                    <a:pt x="9009" y="2715"/>
                    <a:pt x="9016" y="2702"/>
                    <a:pt x="9010" y="2698"/>
                  </a:cubicBezTo>
                  <a:cubicBezTo>
                    <a:pt x="9004" y="2694"/>
                    <a:pt x="8992" y="2681"/>
                    <a:pt x="8992" y="2681"/>
                  </a:cubicBezTo>
                  <a:cubicBezTo>
                    <a:pt x="8991" y="2664"/>
                    <a:pt x="8991" y="2664"/>
                    <a:pt x="8991" y="2664"/>
                  </a:cubicBezTo>
                  <a:cubicBezTo>
                    <a:pt x="8991" y="2664"/>
                    <a:pt x="8988" y="2661"/>
                    <a:pt x="8983" y="2658"/>
                  </a:cubicBezTo>
                  <a:cubicBezTo>
                    <a:pt x="8973" y="2650"/>
                    <a:pt x="8957" y="2636"/>
                    <a:pt x="8958" y="2625"/>
                  </a:cubicBezTo>
                  <a:cubicBezTo>
                    <a:pt x="8958" y="2625"/>
                    <a:pt x="8958" y="2625"/>
                    <a:pt x="8958" y="2624"/>
                  </a:cubicBezTo>
                  <a:cubicBezTo>
                    <a:pt x="8950" y="2619"/>
                    <a:pt x="8950" y="2619"/>
                    <a:pt x="8950" y="2619"/>
                  </a:cubicBezTo>
                  <a:cubicBezTo>
                    <a:pt x="8949" y="2605"/>
                    <a:pt x="8949" y="2605"/>
                    <a:pt x="8949" y="2605"/>
                  </a:cubicBezTo>
                  <a:cubicBezTo>
                    <a:pt x="8949" y="2605"/>
                    <a:pt x="8963" y="2603"/>
                    <a:pt x="8967" y="2603"/>
                  </a:cubicBezTo>
                  <a:cubicBezTo>
                    <a:pt x="8971" y="2603"/>
                    <a:pt x="8971" y="2594"/>
                    <a:pt x="8971" y="2594"/>
                  </a:cubicBezTo>
                  <a:cubicBezTo>
                    <a:pt x="8971" y="2594"/>
                    <a:pt x="8971" y="2586"/>
                    <a:pt x="8962" y="2586"/>
                  </a:cubicBezTo>
                  <a:cubicBezTo>
                    <a:pt x="8953" y="2586"/>
                    <a:pt x="8953" y="2591"/>
                    <a:pt x="8953" y="2591"/>
                  </a:cubicBezTo>
                  <a:cubicBezTo>
                    <a:pt x="8949" y="2578"/>
                    <a:pt x="8949" y="2578"/>
                    <a:pt x="8949" y="2578"/>
                  </a:cubicBezTo>
                  <a:cubicBezTo>
                    <a:pt x="8951" y="2583"/>
                    <a:pt x="8951" y="2583"/>
                    <a:pt x="8951" y="2583"/>
                  </a:cubicBezTo>
                  <a:cubicBezTo>
                    <a:pt x="8969" y="2577"/>
                    <a:pt x="8969" y="2577"/>
                    <a:pt x="8969" y="2577"/>
                  </a:cubicBezTo>
                  <a:cubicBezTo>
                    <a:pt x="8972" y="2572"/>
                    <a:pt x="8972" y="2572"/>
                    <a:pt x="8972" y="2572"/>
                  </a:cubicBezTo>
                  <a:cubicBezTo>
                    <a:pt x="8972" y="2572"/>
                    <a:pt x="8972" y="2572"/>
                    <a:pt x="8972" y="2572"/>
                  </a:cubicBezTo>
                  <a:cubicBezTo>
                    <a:pt x="8979" y="2579"/>
                    <a:pt x="8990" y="2584"/>
                    <a:pt x="8995" y="2581"/>
                  </a:cubicBezTo>
                  <a:cubicBezTo>
                    <a:pt x="9002" y="2576"/>
                    <a:pt x="8980" y="2565"/>
                    <a:pt x="8996" y="2558"/>
                  </a:cubicBezTo>
                  <a:cubicBezTo>
                    <a:pt x="9012" y="2551"/>
                    <a:pt x="9011" y="2569"/>
                    <a:pt x="9011" y="2569"/>
                  </a:cubicBezTo>
                  <a:cubicBezTo>
                    <a:pt x="9018" y="2575"/>
                    <a:pt x="9018" y="2575"/>
                    <a:pt x="9018" y="2575"/>
                  </a:cubicBezTo>
                  <a:cubicBezTo>
                    <a:pt x="9019" y="2574"/>
                    <a:pt x="9021" y="2574"/>
                    <a:pt x="9024" y="2575"/>
                  </a:cubicBezTo>
                  <a:cubicBezTo>
                    <a:pt x="9026" y="2576"/>
                    <a:pt x="9027" y="2576"/>
                    <a:pt x="9029" y="2577"/>
                  </a:cubicBezTo>
                  <a:cubicBezTo>
                    <a:pt x="9030" y="2576"/>
                    <a:pt x="9031" y="2574"/>
                    <a:pt x="9031" y="2573"/>
                  </a:cubicBezTo>
                  <a:cubicBezTo>
                    <a:pt x="9032" y="2569"/>
                    <a:pt x="9043" y="2566"/>
                    <a:pt x="9046" y="2568"/>
                  </a:cubicBezTo>
                  <a:cubicBezTo>
                    <a:pt x="9049" y="2570"/>
                    <a:pt x="9044" y="2591"/>
                    <a:pt x="9051" y="2594"/>
                  </a:cubicBezTo>
                  <a:cubicBezTo>
                    <a:pt x="9058" y="2597"/>
                    <a:pt x="9073" y="2608"/>
                    <a:pt x="9073" y="2608"/>
                  </a:cubicBezTo>
                  <a:cubicBezTo>
                    <a:pt x="9073" y="2608"/>
                    <a:pt x="9071" y="2613"/>
                    <a:pt x="9071" y="2618"/>
                  </a:cubicBezTo>
                  <a:cubicBezTo>
                    <a:pt x="9076" y="2624"/>
                    <a:pt x="9081" y="2630"/>
                    <a:pt x="9084" y="2636"/>
                  </a:cubicBezTo>
                  <a:cubicBezTo>
                    <a:pt x="9084" y="2636"/>
                    <a:pt x="9084" y="2636"/>
                    <a:pt x="9084" y="2636"/>
                  </a:cubicBezTo>
                  <a:cubicBezTo>
                    <a:pt x="9088" y="2638"/>
                    <a:pt x="9091" y="2640"/>
                    <a:pt x="9091" y="2640"/>
                  </a:cubicBezTo>
                  <a:cubicBezTo>
                    <a:pt x="9100" y="2653"/>
                    <a:pt x="9100" y="2653"/>
                    <a:pt x="9100" y="2653"/>
                  </a:cubicBezTo>
                  <a:cubicBezTo>
                    <a:pt x="9100" y="2653"/>
                    <a:pt x="9102" y="2677"/>
                    <a:pt x="9112" y="2679"/>
                  </a:cubicBezTo>
                  <a:cubicBezTo>
                    <a:pt x="9122" y="2681"/>
                    <a:pt x="9122" y="2697"/>
                    <a:pt x="9122" y="2697"/>
                  </a:cubicBezTo>
                  <a:cubicBezTo>
                    <a:pt x="9144" y="2697"/>
                    <a:pt x="9144" y="2697"/>
                    <a:pt x="9144" y="2697"/>
                  </a:cubicBezTo>
                  <a:cubicBezTo>
                    <a:pt x="9156" y="2709"/>
                    <a:pt x="9156" y="2709"/>
                    <a:pt x="9156" y="2709"/>
                  </a:cubicBezTo>
                  <a:cubicBezTo>
                    <a:pt x="9164" y="2707"/>
                    <a:pt x="9171" y="2705"/>
                    <a:pt x="9178" y="2709"/>
                  </a:cubicBezTo>
                  <a:cubicBezTo>
                    <a:pt x="9188" y="2714"/>
                    <a:pt x="9217" y="2739"/>
                    <a:pt x="9239" y="2756"/>
                  </a:cubicBezTo>
                  <a:cubicBezTo>
                    <a:pt x="9240" y="2757"/>
                    <a:pt x="9241" y="2757"/>
                    <a:pt x="9242" y="2757"/>
                  </a:cubicBezTo>
                  <a:cubicBezTo>
                    <a:pt x="9248" y="2757"/>
                    <a:pt x="9259" y="2759"/>
                    <a:pt x="9259" y="2759"/>
                  </a:cubicBezTo>
                  <a:cubicBezTo>
                    <a:pt x="9259" y="2759"/>
                    <a:pt x="9262" y="2773"/>
                    <a:pt x="9278" y="2768"/>
                  </a:cubicBezTo>
                  <a:cubicBezTo>
                    <a:pt x="9294" y="2763"/>
                    <a:pt x="9297" y="2756"/>
                    <a:pt x="9297" y="2756"/>
                  </a:cubicBezTo>
                  <a:cubicBezTo>
                    <a:pt x="9313" y="2758"/>
                    <a:pt x="9313" y="2758"/>
                    <a:pt x="9313" y="2758"/>
                  </a:cubicBezTo>
                  <a:cubicBezTo>
                    <a:pt x="9319" y="2744"/>
                    <a:pt x="9319" y="2744"/>
                    <a:pt x="9319" y="2744"/>
                  </a:cubicBezTo>
                  <a:cubicBezTo>
                    <a:pt x="9333" y="2742"/>
                    <a:pt x="9333" y="2742"/>
                    <a:pt x="9333" y="2742"/>
                  </a:cubicBezTo>
                  <a:cubicBezTo>
                    <a:pt x="9349" y="2727"/>
                    <a:pt x="9349" y="2727"/>
                    <a:pt x="9349" y="2727"/>
                  </a:cubicBezTo>
                  <a:cubicBezTo>
                    <a:pt x="9354" y="2735"/>
                    <a:pt x="9354" y="2735"/>
                    <a:pt x="9354" y="2735"/>
                  </a:cubicBezTo>
                  <a:cubicBezTo>
                    <a:pt x="9362" y="2733"/>
                    <a:pt x="9369" y="2732"/>
                    <a:pt x="9372" y="2736"/>
                  </a:cubicBezTo>
                  <a:cubicBezTo>
                    <a:pt x="9385" y="2747"/>
                    <a:pt x="9399" y="2770"/>
                    <a:pt x="9401" y="2788"/>
                  </a:cubicBezTo>
                  <a:cubicBezTo>
                    <a:pt x="9403" y="2807"/>
                    <a:pt x="9431" y="2805"/>
                    <a:pt x="9431" y="2805"/>
                  </a:cubicBezTo>
                  <a:cubicBezTo>
                    <a:pt x="9431" y="2805"/>
                    <a:pt x="9430" y="2812"/>
                    <a:pt x="9443" y="2815"/>
                  </a:cubicBezTo>
                  <a:cubicBezTo>
                    <a:pt x="9456" y="2818"/>
                    <a:pt x="9487" y="2814"/>
                    <a:pt x="9487" y="2814"/>
                  </a:cubicBezTo>
                  <a:cubicBezTo>
                    <a:pt x="9487" y="2814"/>
                    <a:pt x="9513" y="2834"/>
                    <a:pt x="9518" y="2834"/>
                  </a:cubicBezTo>
                  <a:cubicBezTo>
                    <a:pt x="9523" y="2834"/>
                    <a:pt x="9541" y="2825"/>
                    <a:pt x="9541" y="2825"/>
                  </a:cubicBezTo>
                  <a:cubicBezTo>
                    <a:pt x="9541" y="2825"/>
                    <a:pt x="9567" y="2841"/>
                    <a:pt x="9585" y="2842"/>
                  </a:cubicBezTo>
                  <a:cubicBezTo>
                    <a:pt x="9591" y="2842"/>
                    <a:pt x="9597" y="2841"/>
                    <a:pt x="9602" y="2839"/>
                  </a:cubicBezTo>
                  <a:cubicBezTo>
                    <a:pt x="9603" y="2839"/>
                    <a:pt x="9603" y="2839"/>
                    <a:pt x="9603" y="2839"/>
                  </a:cubicBezTo>
                  <a:cubicBezTo>
                    <a:pt x="9613" y="2835"/>
                    <a:pt x="9621" y="2830"/>
                    <a:pt x="9621" y="2830"/>
                  </a:cubicBezTo>
                  <a:cubicBezTo>
                    <a:pt x="9621" y="2830"/>
                    <a:pt x="9643" y="2837"/>
                    <a:pt x="9653" y="2837"/>
                  </a:cubicBezTo>
                  <a:cubicBezTo>
                    <a:pt x="9663" y="2838"/>
                    <a:pt x="9692" y="2822"/>
                    <a:pt x="9692" y="2822"/>
                  </a:cubicBezTo>
                  <a:cubicBezTo>
                    <a:pt x="9692" y="2822"/>
                    <a:pt x="9708" y="2830"/>
                    <a:pt x="9718" y="2828"/>
                  </a:cubicBezTo>
                  <a:cubicBezTo>
                    <a:pt x="9729" y="2826"/>
                    <a:pt x="9751" y="2817"/>
                    <a:pt x="9751" y="2817"/>
                  </a:cubicBezTo>
                  <a:cubicBezTo>
                    <a:pt x="9777" y="2824"/>
                    <a:pt x="9777" y="2824"/>
                    <a:pt x="9777" y="2824"/>
                  </a:cubicBezTo>
                  <a:cubicBezTo>
                    <a:pt x="9777" y="2824"/>
                    <a:pt x="9792" y="2803"/>
                    <a:pt x="9810" y="2815"/>
                  </a:cubicBezTo>
                  <a:cubicBezTo>
                    <a:pt x="9827" y="2826"/>
                    <a:pt x="9828" y="2861"/>
                    <a:pt x="9842" y="2864"/>
                  </a:cubicBezTo>
                  <a:cubicBezTo>
                    <a:pt x="9856" y="2867"/>
                    <a:pt x="9882" y="2867"/>
                    <a:pt x="9891" y="2876"/>
                  </a:cubicBezTo>
                  <a:cubicBezTo>
                    <a:pt x="9901" y="2885"/>
                    <a:pt x="9902" y="2906"/>
                    <a:pt x="9913" y="2907"/>
                  </a:cubicBezTo>
                  <a:cubicBezTo>
                    <a:pt x="9916" y="2907"/>
                    <a:pt x="9920" y="2907"/>
                    <a:pt x="9924" y="2907"/>
                  </a:cubicBezTo>
                  <a:cubicBezTo>
                    <a:pt x="9935" y="2908"/>
                    <a:pt x="9947" y="2908"/>
                    <a:pt x="9947" y="2908"/>
                  </a:cubicBezTo>
                  <a:cubicBezTo>
                    <a:pt x="9947" y="2908"/>
                    <a:pt x="9937" y="2932"/>
                    <a:pt x="9950" y="2941"/>
                  </a:cubicBezTo>
                  <a:cubicBezTo>
                    <a:pt x="9962" y="2951"/>
                    <a:pt x="9995" y="2954"/>
                    <a:pt x="10002" y="2952"/>
                  </a:cubicBezTo>
                  <a:cubicBezTo>
                    <a:pt x="10008" y="2950"/>
                    <a:pt x="10032" y="2933"/>
                    <a:pt x="10032" y="2933"/>
                  </a:cubicBezTo>
                  <a:cubicBezTo>
                    <a:pt x="10032" y="2933"/>
                    <a:pt x="10042" y="2945"/>
                    <a:pt x="10030" y="2956"/>
                  </a:cubicBezTo>
                  <a:cubicBezTo>
                    <a:pt x="10018" y="2967"/>
                    <a:pt x="9994" y="2974"/>
                    <a:pt x="9994" y="2974"/>
                  </a:cubicBezTo>
                  <a:cubicBezTo>
                    <a:pt x="9994" y="2974"/>
                    <a:pt x="9956" y="2979"/>
                    <a:pt x="9954" y="2990"/>
                  </a:cubicBezTo>
                  <a:cubicBezTo>
                    <a:pt x="9952" y="3001"/>
                    <a:pt x="9982" y="3025"/>
                    <a:pt x="9994" y="3034"/>
                  </a:cubicBezTo>
                  <a:cubicBezTo>
                    <a:pt x="10007" y="3043"/>
                    <a:pt x="10030" y="3071"/>
                    <a:pt x="10060" y="3073"/>
                  </a:cubicBezTo>
                  <a:cubicBezTo>
                    <a:pt x="10091" y="3076"/>
                    <a:pt x="10129" y="3049"/>
                    <a:pt x="10125" y="3030"/>
                  </a:cubicBezTo>
                  <a:cubicBezTo>
                    <a:pt x="10121" y="3012"/>
                    <a:pt x="10131" y="2997"/>
                    <a:pt x="10141" y="2988"/>
                  </a:cubicBezTo>
                  <a:cubicBezTo>
                    <a:pt x="10150" y="2978"/>
                    <a:pt x="10172" y="2973"/>
                    <a:pt x="10162" y="2990"/>
                  </a:cubicBezTo>
                  <a:cubicBezTo>
                    <a:pt x="10153" y="3007"/>
                    <a:pt x="10130" y="3022"/>
                    <a:pt x="10137" y="3036"/>
                  </a:cubicBezTo>
                  <a:cubicBezTo>
                    <a:pt x="10144" y="3050"/>
                    <a:pt x="10162" y="3048"/>
                    <a:pt x="10162" y="3063"/>
                  </a:cubicBezTo>
                  <a:cubicBezTo>
                    <a:pt x="10161" y="3077"/>
                    <a:pt x="10157" y="3093"/>
                    <a:pt x="10151" y="3116"/>
                  </a:cubicBezTo>
                  <a:cubicBezTo>
                    <a:pt x="10144" y="3140"/>
                    <a:pt x="10144" y="3162"/>
                    <a:pt x="10151" y="3191"/>
                  </a:cubicBezTo>
                  <a:cubicBezTo>
                    <a:pt x="10159" y="3219"/>
                    <a:pt x="10171" y="3269"/>
                    <a:pt x="10182" y="3284"/>
                  </a:cubicBezTo>
                  <a:cubicBezTo>
                    <a:pt x="10193" y="3300"/>
                    <a:pt x="10196" y="3294"/>
                    <a:pt x="10191" y="3317"/>
                  </a:cubicBezTo>
                  <a:cubicBezTo>
                    <a:pt x="10186" y="3340"/>
                    <a:pt x="10223" y="3347"/>
                    <a:pt x="10223" y="3347"/>
                  </a:cubicBezTo>
                  <a:cubicBezTo>
                    <a:pt x="10223" y="3347"/>
                    <a:pt x="10228" y="3379"/>
                    <a:pt x="10236" y="3390"/>
                  </a:cubicBezTo>
                  <a:cubicBezTo>
                    <a:pt x="10245" y="3402"/>
                    <a:pt x="10263" y="3411"/>
                    <a:pt x="10263" y="3411"/>
                  </a:cubicBezTo>
                  <a:cubicBezTo>
                    <a:pt x="10263" y="3411"/>
                    <a:pt x="10268" y="3477"/>
                    <a:pt x="10278" y="3507"/>
                  </a:cubicBezTo>
                  <a:cubicBezTo>
                    <a:pt x="10289" y="3537"/>
                    <a:pt x="10326" y="3578"/>
                    <a:pt x="10331" y="3590"/>
                  </a:cubicBezTo>
                  <a:cubicBezTo>
                    <a:pt x="10336" y="3603"/>
                    <a:pt x="10338" y="3629"/>
                    <a:pt x="10337" y="3641"/>
                  </a:cubicBezTo>
                  <a:cubicBezTo>
                    <a:pt x="10335" y="3653"/>
                    <a:pt x="10403" y="3757"/>
                    <a:pt x="10403" y="3757"/>
                  </a:cubicBezTo>
                  <a:cubicBezTo>
                    <a:pt x="10403" y="3757"/>
                    <a:pt x="10436" y="3748"/>
                    <a:pt x="10442" y="3739"/>
                  </a:cubicBezTo>
                  <a:cubicBezTo>
                    <a:pt x="10447" y="3729"/>
                    <a:pt x="10439" y="3707"/>
                    <a:pt x="10450" y="3700"/>
                  </a:cubicBezTo>
                  <a:cubicBezTo>
                    <a:pt x="10460" y="3693"/>
                    <a:pt x="10464" y="3701"/>
                    <a:pt x="10474" y="3698"/>
                  </a:cubicBezTo>
                  <a:cubicBezTo>
                    <a:pt x="10485" y="3695"/>
                    <a:pt x="10502" y="3682"/>
                    <a:pt x="10502" y="3682"/>
                  </a:cubicBezTo>
                  <a:cubicBezTo>
                    <a:pt x="10502" y="3682"/>
                    <a:pt x="10487" y="3686"/>
                    <a:pt x="10490" y="3669"/>
                  </a:cubicBezTo>
                  <a:cubicBezTo>
                    <a:pt x="10492" y="3652"/>
                    <a:pt x="10499" y="3649"/>
                    <a:pt x="10511" y="3643"/>
                  </a:cubicBezTo>
                  <a:cubicBezTo>
                    <a:pt x="10523" y="3637"/>
                    <a:pt x="10537" y="3634"/>
                    <a:pt x="10537" y="3626"/>
                  </a:cubicBezTo>
                  <a:cubicBezTo>
                    <a:pt x="10538" y="3617"/>
                    <a:pt x="10525" y="3585"/>
                    <a:pt x="10525" y="3566"/>
                  </a:cubicBezTo>
                  <a:cubicBezTo>
                    <a:pt x="10524" y="3548"/>
                    <a:pt x="10523" y="3519"/>
                    <a:pt x="10529" y="3516"/>
                  </a:cubicBezTo>
                  <a:cubicBezTo>
                    <a:pt x="10536" y="3512"/>
                    <a:pt x="10533" y="3504"/>
                    <a:pt x="10534" y="3472"/>
                  </a:cubicBezTo>
                  <a:cubicBezTo>
                    <a:pt x="10536" y="3440"/>
                    <a:pt x="10516" y="3440"/>
                    <a:pt x="10514" y="3427"/>
                  </a:cubicBezTo>
                  <a:cubicBezTo>
                    <a:pt x="10512" y="3415"/>
                    <a:pt x="10522" y="3409"/>
                    <a:pt x="10523" y="3397"/>
                  </a:cubicBezTo>
                  <a:cubicBezTo>
                    <a:pt x="10525" y="3385"/>
                    <a:pt x="10518" y="3378"/>
                    <a:pt x="10518" y="3362"/>
                  </a:cubicBezTo>
                  <a:cubicBezTo>
                    <a:pt x="10519" y="3346"/>
                    <a:pt x="10555" y="3344"/>
                    <a:pt x="10555" y="3337"/>
                  </a:cubicBezTo>
                  <a:cubicBezTo>
                    <a:pt x="10555" y="3330"/>
                    <a:pt x="10555" y="3314"/>
                    <a:pt x="10562" y="3309"/>
                  </a:cubicBezTo>
                  <a:cubicBezTo>
                    <a:pt x="10570" y="3304"/>
                    <a:pt x="10584" y="3305"/>
                    <a:pt x="10584" y="3305"/>
                  </a:cubicBezTo>
                  <a:cubicBezTo>
                    <a:pt x="10587" y="3299"/>
                    <a:pt x="10587" y="3299"/>
                    <a:pt x="10587" y="3299"/>
                  </a:cubicBezTo>
                  <a:cubicBezTo>
                    <a:pt x="10587" y="3299"/>
                    <a:pt x="10610" y="3310"/>
                    <a:pt x="10612" y="3299"/>
                  </a:cubicBezTo>
                  <a:cubicBezTo>
                    <a:pt x="10614" y="3288"/>
                    <a:pt x="10633" y="3253"/>
                    <a:pt x="10639" y="3243"/>
                  </a:cubicBezTo>
                  <a:cubicBezTo>
                    <a:pt x="10646" y="3234"/>
                    <a:pt x="10668" y="3235"/>
                    <a:pt x="10675" y="3221"/>
                  </a:cubicBezTo>
                  <a:cubicBezTo>
                    <a:pt x="10682" y="3208"/>
                    <a:pt x="10693" y="3180"/>
                    <a:pt x="10703" y="3171"/>
                  </a:cubicBezTo>
                  <a:cubicBezTo>
                    <a:pt x="10712" y="3161"/>
                    <a:pt x="10751" y="3141"/>
                    <a:pt x="10751" y="3141"/>
                  </a:cubicBezTo>
                  <a:cubicBezTo>
                    <a:pt x="10744" y="3121"/>
                    <a:pt x="10744" y="3121"/>
                    <a:pt x="10744" y="3121"/>
                  </a:cubicBezTo>
                  <a:cubicBezTo>
                    <a:pt x="10750" y="3116"/>
                    <a:pt x="10750" y="3116"/>
                    <a:pt x="10750" y="3116"/>
                  </a:cubicBezTo>
                  <a:cubicBezTo>
                    <a:pt x="10763" y="3135"/>
                    <a:pt x="10763" y="3135"/>
                    <a:pt x="10763" y="3135"/>
                  </a:cubicBezTo>
                  <a:cubicBezTo>
                    <a:pt x="10804" y="3096"/>
                    <a:pt x="10804" y="3096"/>
                    <a:pt x="10804" y="3096"/>
                  </a:cubicBezTo>
                  <a:cubicBezTo>
                    <a:pt x="10811" y="3078"/>
                    <a:pt x="10811" y="3078"/>
                    <a:pt x="10811" y="3078"/>
                  </a:cubicBezTo>
                  <a:cubicBezTo>
                    <a:pt x="10811" y="3078"/>
                    <a:pt x="10797" y="3061"/>
                    <a:pt x="10797" y="3050"/>
                  </a:cubicBezTo>
                  <a:cubicBezTo>
                    <a:pt x="10798" y="3039"/>
                    <a:pt x="10821" y="3043"/>
                    <a:pt x="10833" y="3028"/>
                  </a:cubicBezTo>
                  <a:cubicBezTo>
                    <a:pt x="10845" y="3012"/>
                    <a:pt x="10841" y="2999"/>
                    <a:pt x="10841" y="2999"/>
                  </a:cubicBezTo>
                  <a:cubicBezTo>
                    <a:pt x="10852" y="3004"/>
                    <a:pt x="10852" y="3004"/>
                    <a:pt x="10852" y="3004"/>
                  </a:cubicBezTo>
                  <a:cubicBezTo>
                    <a:pt x="10858" y="3022"/>
                    <a:pt x="10858" y="3022"/>
                    <a:pt x="10858" y="3022"/>
                  </a:cubicBezTo>
                  <a:cubicBezTo>
                    <a:pt x="10866" y="2999"/>
                    <a:pt x="10866" y="2999"/>
                    <a:pt x="10866" y="2999"/>
                  </a:cubicBezTo>
                  <a:cubicBezTo>
                    <a:pt x="10866" y="2999"/>
                    <a:pt x="10874" y="3041"/>
                    <a:pt x="10881" y="3044"/>
                  </a:cubicBezTo>
                  <a:cubicBezTo>
                    <a:pt x="10889" y="3046"/>
                    <a:pt x="10892" y="3018"/>
                    <a:pt x="10892" y="3018"/>
                  </a:cubicBezTo>
                  <a:cubicBezTo>
                    <a:pt x="10909" y="3041"/>
                    <a:pt x="10909" y="3041"/>
                    <a:pt x="10909" y="3041"/>
                  </a:cubicBezTo>
                  <a:cubicBezTo>
                    <a:pt x="10911" y="3002"/>
                    <a:pt x="10911" y="3002"/>
                    <a:pt x="10911" y="3002"/>
                  </a:cubicBezTo>
                  <a:cubicBezTo>
                    <a:pt x="10911" y="3002"/>
                    <a:pt x="10953" y="3018"/>
                    <a:pt x="10961" y="3016"/>
                  </a:cubicBezTo>
                  <a:cubicBezTo>
                    <a:pt x="10969" y="3013"/>
                    <a:pt x="10953" y="2995"/>
                    <a:pt x="10962" y="2993"/>
                  </a:cubicBezTo>
                  <a:cubicBezTo>
                    <a:pt x="10971" y="2991"/>
                    <a:pt x="10988" y="3011"/>
                    <a:pt x="11001" y="3006"/>
                  </a:cubicBezTo>
                  <a:cubicBezTo>
                    <a:pt x="11014" y="3002"/>
                    <a:pt x="11009" y="2989"/>
                    <a:pt x="11009" y="2989"/>
                  </a:cubicBezTo>
                  <a:cubicBezTo>
                    <a:pt x="11001" y="2968"/>
                    <a:pt x="11001" y="2968"/>
                    <a:pt x="11001" y="2968"/>
                  </a:cubicBezTo>
                  <a:cubicBezTo>
                    <a:pt x="11032" y="3001"/>
                    <a:pt x="11032" y="3001"/>
                    <a:pt x="11032" y="3001"/>
                  </a:cubicBezTo>
                  <a:cubicBezTo>
                    <a:pt x="11032" y="3001"/>
                    <a:pt x="11020" y="3040"/>
                    <a:pt x="11029" y="3046"/>
                  </a:cubicBezTo>
                  <a:cubicBezTo>
                    <a:pt x="11032" y="3048"/>
                    <a:pt x="11037" y="3049"/>
                    <a:pt x="11041" y="3050"/>
                  </a:cubicBezTo>
                  <a:cubicBezTo>
                    <a:pt x="11041" y="3050"/>
                    <a:pt x="11041" y="3050"/>
                    <a:pt x="11041" y="3050"/>
                  </a:cubicBezTo>
                  <a:cubicBezTo>
                    <a:pt x="11046" y="3050"/>
                    <a:pt x="11050" y="3050"/>
                    <a:pt x="11050" y="3050"/>
                  </a:cubicBezTo>
                  <a:cubicBezTo>
                    <a:pt x="11050" y="3081"/>
                    <a:pt x="11050" y="3081"/>
                    <a:pt x="11050" y="3081"/>
                  </a:cubicBezTo>
                  <a:cubicBezTo>
                    <a:pt x="11050" y="3081"/>
                    <a:pt x="11073" y="3087"/>
                    <a:pt x="11082" y="3097"/>
                  </a:cubicBezTo>
                  <a:cubicBezTo>
                    <a:pt x="11092" y="3107"/>
                    <a:pt x="11100" y="3129"/>
                    <a:pt x="11100" y="3129"/>
                  </a:cubicBezTo>
                  <a:cubicBezTo>
                    <a:pt x="11122" y="3124"/>
                    <a:pt x="11122" y="3124"/>
                    <a:pt x="11122" y="3124"/>
                  </a:cubicBezTo>
                  <a:cubicBezTo>
                    <a:pt x="11108" y="3153"/>
                    <a:pt x="11108" y="3153"/>
                    <a:pt x="11108" y="3153"/>
                  </a:cubicBezTo>
                  <a:cubicBezTo>
                    <a:pt x="11108" y="3153"/>
                    <a:pt x="11139" y="3160"/>
                    <a:pt x="11151" y="3169"/>
                  </a:cubicBezTo>
                  <a:cubicBezTo>
                    <a:pt x="11163" y="3178"/>
                    <a:pt x="11171" y="3214"/>
                    <a:pt x="11173" y="3221"/>
                  </a:cubicBezTo>
                  <a:cubicBezTo>
                    <a:pt x="11175" y="3227"/>
                    <a:pt x="11189" y="3240"/>
                    <a:pt x="11189" y="3240"/>
                  </a:cubicBezTo>
                  <a:cubicBezTo>
                    <a:pt x="11178" y="3252"/>
                    <a:pt x="11178" y="3252"/>
                    <a:pt x="11178" y="3252"/>
                  </a:cubicBezTo>
                  <a:cubicBezTo>
                    <a:pt x="11186" y="3313"/>
                    <a:pt x="11186" y="3313"/>
                    <a:pt x="11186" y="3313"/>
                  </a:cubicBezTo>
                  <a:cubicBezTo>
                    <a:pt x="11175" y="3321"/>
                    <a:pt x="11175" y="3321"/>
                    <a:pt x="11175" y="3321"/>
                  </a:cubicBezTo>
                  <a:cubicBezTo>
                    <a:pt x="11175" y="3321"/>
                    <a:pt x="11181" y="3340"/>
                    <a:pt x="11190" y="3339"/>
                  </a:cubicBezTo>
                  <a:cubicBezTo>
                    <a:pt x="11199" y="3338"/>
                    <a:pt x="11209" y="3330"/>
                    <a:pt x="11209" y="3330"/>
                  </a:cubicBezTo>
                  <a:cubicBezTo>
                    <a:pt x="11209" y="3330"/>
                    <a:pt x="11213" y="3345"/>
                    <a:pt x="11224" y="3340"/>
                  </a:cubicBezTo>
                  <a:cubicBezTo>
                    <a:pt x="11236" y="3336"/>
                    <a:pt x="11247" y="3313"/>
                    <a:pt x="11247" y="3313"/>
                  </a:cubicBezTo>
                  <a:cubicBezTo>
                    <a:pt x="11247" y="3313"/>
                    <a:pt x="11269" y="3309"/>
                    <a:pt x="11281" y="3300"/>
                  </a:cubicBezTo>
                  <a:cubicBezTo>
                    <a:pt x="11293" y="3290"/>
                    <a:pt x="11279" y="3261"/>
                    <a:pt x="11286" y="3255"/>
                  </a:cubicBezTo>
                  <a:close/>
                  <a:moveTo>
                    <a:pt x="8218" y="4658"/>
                  </a:moveTo>
                  <a:cubicBezTo>
                    <a:pt x="8216" y="4663"/>
                    <a:pt x="8213" y="4668"/>
                    <a:pt x="8210" y="4670"/>
                  </a:cubicBezTo>
                  <a:cubicBezTo>
                    <a:pt x="8202" y="4674"/>
                    <a:pt x="8201" y="4657"/>
                    <a:pt x="8201" y="4657"/>
                  </a:cubicBezTo>
                  <a:cubicBezTo>
                    <a:pt x="8201" y="4657"/>
                    <a:pt x="8193" y="4652"/>
                    <a:pt x="8182" y="4648"/>
                  </a:cubicBezTo>
                  <a:cubicBezTo>
                    <a:pt x="8175" y="4645"/>
                    <a:pt x="8180" y="4638"/>
                    <a:pt x="8184" y="4632"/>
                  </a:cubicBezTo>
                  <a:cubicBezTo>
                    <a:pt x="8187" y="4629"/>
                    <a:pt x="8189" y="4627"/>
                    <a:pt x="8189" y="4627"/>
                  </a:cubicBezTo>
                  <a:cubicBezTo>
                    <a:pt x="8189" y="4627"/>
                    <a:pt x="8182" y="4615"/>
                    <a:pt x="8177" y="4611"/>
                  </a:cubicBezTo>
                  <a:cubicBezTo>
                    <a:pt x="8173" y="4607"/>
                    <a:pt x="8176" y="4589"/>
                    <a:pt x="8176" y="4582"/>
                  </a:cubicBezTo>
                  <a:cubicBezTo>
                    <a:pt x="8176" y="4575"/>
                    <a:pt x="8164" y="4579"/>
                    <a:pt x="8161" y="4578"/>
                  </a:cubicBezTo>
                  <a:cubicBezTo>
                    <a:pt x="8158" y="4577"/>
                    <a:pt x="8155" y="4567"/>
                    <a:pt x="8155" y="4559"/>
                  </a:cubicBezTo>
                  <a:cubicBezTo>
                    <a:pt x="8155" y="4551"/>
                    <a:pt x="8146" y="4550"/>
                    <a:pt x="8139" y="4543"/>
                  </a:cubicBezTo>
                  <a:cubicBezTo>
                    <a:pt x="8132" y="4536"/>
                    <a:pt x="8130" y="4519"/>
                    <a:pt x="8131" y="4513"/>
                  </a:cubicBezTo>
                  <a:cubicBezTo>
                    <a:pt x="8132" y="4507"/>
                    <a:pt x="8137" y="4497"/>
                    <a:pt x="8137" y="4490"/>
                  </a:cubicBezTo>
                  <a:cubicBezTo>
                    <a:pt x="8137" y="4483"/>
                    <a:pt x="8127" y="4483"/>
                    <a:pt x="8123" y="4473"/>
                  </a:cubicBezTo>
                  <a:cubicBezTo>
                    <a:pt x="8119" y="4463"/>
                    <a:pt x="8123" y="4451"/>
                    <a:pt x="8124" y="4439"/>
                  </a:cubicBezTo>
                  <a:cubicBezTo>
                    <a:pt x="8125" y="4427"/>
                    <a:pt x="8126" y="4416"/>
                    <a:pt x="8129" y="4403"/>
                  </a:cubicBezTo>
                  <a:cubicBezTo>
                    <a:pt x="8131" y="4395"/>
                    <a:pt x="8137" y="4396"/>
                    <a:pt x="8141" y="4399"/>
                  </a:cubicBezTo>
                  <a:cubicBezTo>
                    <a:pt x="8141" y="4406"/>
                    <a:pt x="8142" y="4425"/>
                    <a:pt x="8147" y="4435"/>
                  </a:cubicBezTo>
                  <a:cubicBezTo>
                    <a:pt x="8148" y="4435"/>
                    <a:pt x="8150" y="4434"/>
                    <a:pt x="8152" y="4434"/>
                  </a:cubicBezTo>
                  <a:cubicBezTo>
                    <a:pt x="8152" y="4434"/>
                    <a:pt x="8151" y="4434"/>
                    <a:pt x="8151" y="4434"/>
                  </a:cubicBezTo>
                  <a:cubicBezTo>
                    <a:pt x="8149" y="4443"/>
                    <a:pt x="8149" y="4443"/>
                    <a:pt x="8149" y="4443"/>
                  </a:cubicBezTo>
                  <a:cubicBezTo>
                    <a:pt x="8149" y="4443"/>
                    <a:pt x="8155" y="4454"/>
                    <a:pt x="8158" y="4458"/>
                  </a:cubicBezTo>
                  <a:cubicBezTo>
                    <a:pt x="8161" y="4462"/>
                    <a:pt x="8157" y="4475"/>
                    <a:pt x="8157" y="4475"/>
                  </a:cubicBezTo>
                  <a:cubicBezTo>
                    <a:pt x="8157" y="4475"/>
                    <a:pt x="8168" y="4505"/>
                    <a:pt x="8164" y="4510"/>
                  </a:cubicBezTo>
                  <a:cubicBezTo>
                    <a:pt x="8160" y="4515"/>
                    <a:pt x="8157" y="4518"/>
                    <a:pt x="8158" y="4528"/>
                  </a:cubicBezTo>
                  <a:cubicBezTo>
                    <a:pt x="8159" y="4538"/>
                    <a:pt x="8167" y="4543"/>
                    <a:pt x="8173" y="4545"/>
                  </a:cubicBezTo>
                  <a:cubicBezTo>
                    <a:pt x="8179" y="4547"/>
                    <a:pt x="8196" y="4565"/>
                    <a:pt x="8200" y="4571"/>
                  </a:cubicBezTo>
                  <a:cubicBezTo>
                    <a:pt x="8204" y="4577"/>
                    <a:pt x="8200" y="4586"/>
                    <a:pt x="8198" y="4594"/>
                  </a:cubicBezTo>
                  <a:cubicBezTo>
                    <a:pt x="8196" y="4602"/>
                    <a:pt x="8205" y="4619"/>
                    <a:pt x="8205" y="4619"/>
                  </a:cubicBezTo>
                  <a:cubicBezTo>
                    <a:pt x="8223" y="4643"/>
                    <a:pt x="8223" y="4643"/>
                    <a:pt x="8223" y="4643"/>
                  </a:cubicBezTo>
                  <a:cubicBezTo>
                    <a:pt x="8223" y="4643"/>
                    <a:pt x="8221" y="4650"/>
                    <a:pt x="8218" y="4658"/>
                  </a:cubicBezTo>
                  <a:close/>
                  <a:moveTo>
                    <a:pt x="8429" y="4817"/>
                  </a:moveTo>
                  <a:cubicBezTo>
                    <a:pt x="8429" y="4817"/>
                    <a:pt x="8429" y="4817"/>
                    <a:pt x="8428" y="4817"/>
                  </a:cubicBezTo>
                  <a:cubicBezTo>
                    <a:pt x="8429" y="4817"/>
                    <a:pt x="8429" y="4817"/>
                    <a:pt x="8429" y="4817"/>
                  </a:cubicBezTo>
                  <a:close/>
                  <a:moveTo>
                    <a:pt x="8428" y="4817"/>
                  </a:moveTo>
                  <a:cubicBezTo>
                    <a:pt x="8425" y="4817"/>
                    <a:pt x="8417" y="4818"/>
                    <a:pt x="8408" y="4818"/>
                  </a:cubicBezTo>
                  <a:cubicBezTo>
                    <a:pt x="8417" y="4818"/>
                    <a:pt x="8425" y="4817"/>
                    <a:pt x="8428" y="4817"/>
                  </a:cubicBezTo>
                  <a:close/>
                  <a:moveTo>
                    <a:pt x="8400" y="4818"/>
                  </a:moveTo>
                  <a:cubicBezTo>
                    <a:pt x="8400" y="4818"/>
                    <a:pt x="8400" y="4818"/>
                    <a:pt x="8399" y="4818"/>
                  </a:cubicBezTo>
                  <a:cubicBezTo>
                    <a:pt x="8398" y="4822"/>
                    <a:pt x="8398" y="4826"/>
                    <a:pt x="8398" y="4828"/>
                  </a:cubicBezTo>
                  <a:cubicBezTo>
                    <a:pt x="8398" y="4831"/>
                    <a:pt x="8395" y="4837"/>
                    <a:pt x="8386" y="4845"/>
                  </a:cubicBezTo>
                  <a:cubicBezTo>
                    <a:pt x="8377" y="4853"/>
                    <a:pt x="8387" y="4860"/>
                    <a:pt x="8391" y="4865"/>
                  </a:cubicBezTo>
                  <a:cubicBezTo>
                    <a:pt x="8395" y="4870"/>
                    <a:pt x="8395" y="4888"/>
                    <a:pt x="8390" y="4900"/>
                  </a:cubicBezTo>
                  <a:cubicBezTo>
                    <a:pt x="8387" y="4907"/>
                    <a:pt x="8387" y="4915"/>
                    <a:pt x="8388" y="4920"/>
                  </a:cubicBezTo>
                  <a:cubicBezTo>
                    <a:pt x="8388" y="4925"/>
                    <a:pt x="8390" y="4928"/>
                    <a:pt x="8392" y="4929"/>
                  </a:cubicBezTo>
                  <a:cubicBezTo>
                    <a:pt x="8397" y="4931"/>
                    <a:pt x="8401" y="4937"/>
                    <a:pt x="8401" y="4937"/>
                  </a:cubicBezTo>
                  <a:cubicBezTo>
                    <a:pt x="8401" y="4937"/>
                    <a:pt x="8406" y="4962"/>
                    <a:pt x="8400" y="4964"/>
                  </a:cubicBezTo>
                  <a:cubicBezTo>
                    <a:pt x="8394" y="4966"/>
                    <a:pt x="8392" y="4953"/>
                    <a:pt x="8392" y="4953"/>
                  </a:cubicBezTo>
                  <a:cubicBezTo>
                    <a:pt x="8392" y="4953"/>
                    <a:pt x="8380" y="4959"/>
                    <a:pt x="8377" y="4957"/>
                  </a:cubicBezTo>
                  <a:cubicBezTo>
                    <a:pt x="8374" y="4955"/>
                    <a:pt x="8374" y="4941"/>
                    <a:pt x="8373" y="4934"/>
                  </a:cubicBezTo>
                  <a:cubicBezTo>
                    <a:pt x="8372" y="4927"/>
                    <a:pt x="8370" y="4924"/>
                    <a:pt x="8368" y="4920"/>
                  </a:cubicBezTo>
                  <a:cubicBezTo>
                    <a:pt x="8366" y="4916"/>
                    <a:pt x="8368" y="4903"/>
                    <a:pt x="8368" y="4895"/>
                  </a:cubicBezTo>
                  <a:cubicBezTo>
                    <a:pt x="8368" y="4887"/>
                    <a:pt x="8363" y="4881"/>
                    <a:pt x="8351" y="4871"/>
                  </a:cubicBezTo>
                  <a:cubicBezTo>
                    <a:pt x="8339" y="4861"/>
                    <a:pt x="8348" y="4863"/>
                    <a:pt x="8346" y="4854"/>
                  </a:cubicBezTo>
                  <a:cubicBezTo>
                    <a:pt x="8344" y="4845"/>
                    <a:pt x="8354" y="4837"/>
                    <a:pt x="8364" y="4826"/>
                  </a:cubicBezTo>
                  <a:cubicBezTo>
                    <a:pt x="8374" y="4815"/>
                    <a:pt x="8370" y="4813"/>
                    <a:pt x="8371" y="4808"/>
                  </a:cubicBezTo>
                  <a:cubicBezTo>
                    <a:pt x="8372" y="4803"/>
                    <a:pt x="8368" y="4798"/>
                    <a:pt x="8368" y="4790"/>
                  </a:cubicBezTo>
                  <a:cubicBezTo>
                    <a:pt x="8368" y="4782"/>
                    <a:pt x="8366" y="4767"/>
                    <a:pt x="8365" y="4751"/>
                  </a:cubicBezTo>
                  <a:cubicBezTo>
                    <a:pt x="8364" y="4735"/>
                    <a:pt x="8362" y="4744"/>
                    <a:pt x="8351" y="4737"/>
                  </a:cubicBezTo>
                  <a:cubicBezTo>
                    <a:pt x="8340" y="4730"/>
                    <a:pt x="8348" y="4721"/>
                    <a:pt x="8347" y="4710"/>
                  </a:cubicBezTo>
                  <a:cubicBezTo>
                    <a:pt x="8347" y="4710"/>
                    <a:pt x="8351" y="4697"/>
                    <a:pt x="8361" y="4702"/>
                  </a:cubicBezTo>
                  <a:cubicBezTo>
                    <a:pt x="8371" y="4707"/>
                    <a:pt x="8379" y="4728"/>
                    <a:pt x="8379" y="4728"/>
                  </a:cubicBezTo>
                  <a:cubicBezTo>
                    <a:pt x="8381" y="4763"/>
                    <a:pt x="8381" y="4763"/>
                    <a:pt x="8381" y="4763"/>
                  </a:cubicBezTo>
                  <a:cubicBezTo>
                    <a:pt x="8381" y="4763"/>
                    <a:pt x="8386" y="4764"/>
                    <a:pt x="8386" y="4771"/>
                  </a:cubicBezTo>
                  <a:cubicBezTo>
                    <a:pt x="8386" y="4778"/>
                    <a:pt x="8383" y="4780"/>
                    <a:pt x="8380" y="4788"/>
                  </a:cubicBezTo>
                  <a:cubicBezTo>
                    <a:pt x="8377" y="4796"/>
                    <a:pt x="8399" y="4806"/>
                    <a:pt x="8399" y="4806"/>
                  </a:cubicBezTo>
                  <a:cubicBezTo>
                    <a:pt x="8398" y="4818"/>
                    <a:pt x="8398" y="4818"/>
                    <a:pt x="8398" y="4818"/>
                  </a:cubicBezTo>
                  <a:cubicBezTo>
                    <a:pt x="8399" y="4818"/>
                    <a:pt x="8399" y="4818"/>
                    <a:pt x="8400" y="4818"/>
                  </a:cubicBezTo>
                  <a:close/>
                  <a:moveTo>
                    <a:pt x="8250" y="4289"/>
                  </a:moveTo>
                  <a:cubicBezTo>
                    <a:pt x="8252" y="4275"/>
                    <a:pt x="8260" y="4257"/>
                    <a:pt x="8261" y="4251"/>
                  </a:cubicBezTo>
                  <a:cubicBezTo>
                    <a:pt x="8261" y="4250"/>
                    <a:pt x="8261" y="4250"/>
                    <a:pt x="8261" y="4249"/>
                  </a:cubicBezTo>
                  <a:cubicBezTo>
                    <a:pt x="8261" y="4244"/>
                    <a:pt x="8255" y="4238"/>
                    <a:pt x="8253" y="4232"/>
                  </a:cubicBezTo>
                  <a:cubicBezTo>
                    <a:pt x="8251" y="4225"/>
                    <a:pt x="8258" y="4217"/>
                    <a:pt x="8262" y="4213"/>
                  </a:cubicBezTo>
                  <a:cubicBezTo>
                    <a:pt x="8266" y="4209"/>
                    <a:pt x="8260" y="4197"/>
                    <a:pt x="8269" y="4190"/>
                  </a:cubicBezTo>
                  <a:cubicBezTo>
                    <a:pt x="8278" y="4183"/>
                    <a:pt x="8308" y="4185"/>
                    <a:pt x="8311" y="4183"/>
                  </a:cubicBezTo>
                  <a:cubicBezTo>
                    <a:pt x="8314" y="4181"/>
                    <a:pt x="8321" y="4169"/>
                    <a:pt x="8327" y="4169"/>
                  </a:cubicBezTo>
                  <a:cubicBezTo>
                    <a:pt x="8333" y="4169"/>
                    <a:pt x="8333" y="4186"/>
                    <a:pt x="8333" y="4186"/>
                  </a:cubicBezTo>
                  <a:cubicBezTo>
                    <a:pt x="8333" y="4186"/>
                    <a:pt x="8340" y="4179"/>
                    <a:pt x="8351" y="4182"/>
                  </a:cubicBezTo>
                  <a:cubicBezTo>
                    <a:pt x="8353" y="4182"/>
                    <a:pt x="8355" y="4183"/>
                    <a:pt x="8358" y="4184"/>
                  </a:cubicBezTo>
                  <a:cubicBezTo>
                    <a:pt x="8358" y="4185"/>
                    <a:pt x="8358" y="4185"/>
                    <a:pt x="8358" y="4186"/>
                  </a:cubicBezTo>
                  <a:cubicBezTo>
                    <a:pt x="8358" y="4197"/>
                    <a:pt x="8367" y="4207"/>
                    <a:pt x="8374" y="4208"/>
                  </a:cubicBezTo>
                  <a:cubicBezTo>
                    <a:pt x="8381" y="4209"/>
                    <a:pt x="8381" y="4200"/>
                    <a:pt x="8381" y="4200"/>
                  </a:cubicBezTo>
                  <a:cubicBezTo>
                    <a:pt x="8395" y="4199"/>
                    <a:pt x="8395" y="4199"/>
                    <a:pt x="8395" y="4199"/>
                  </a:cubicBezTo>
                  <a:cubicBezTo>
                    <a:pt x="8398" y="4211"/>
                    <a:pt x="8398" y="4211"/>
                    <a:pt x="8398" y="4211"/>
                  </a:cubicBezTo>
                  <a:cubicBezTo>
                    <a:pt x="8389" y="4213"/>
                    <a:pt x="8389" y="4213"/>
                    <a:pt x="8389" y="4213"/>
                  </a:cubicBezTo>
                  <a:cubicBezTo>
                    <a:pt x="8379" y="4221"/>
                    <a:pt x="8379" y="4221"/>
                    <a:pt x="8379" y="4221"/>
                  </a:cubicBezTo>
                  <a:cubicBezTo>
                    <a:pt x="8379" y="4221"/>
                    <a:pt x="8374" y="4211"/>
                    <a:pt x="8365" y="4221"/>
                  </a:cubicBezTo>
                  <a:cubicBezTo>
                    <a:pt x="8356" y="4231"/>
                    <a:pt x="8369" y="4240"/>
                    <a:pt x="8369" y="4240"/>
                  </a:cubicBezTo>
                  <a:cubicBezTo>
                    <a:pt x="8366" y="4249"/>
                    <a:pt x="8366" y="4249"/>
                    <a:pt x="8366" y="4249"/>
                  </a:cubicBezTo>
                  <a:cubicBezTo>
                    <a:pt x="8360" y="4249"/>
                    <a:pt x="8355" y="4249"/>
                    <a:pt x="8355" y="4250"/>
                  </a:cubicBezTo>
                  <a:cubicBezTo>
                    <a:pt x="8355" y="4250"/>
                    <a:pt x="8355" y="4250"/>
                    <a:pt x="8355" y="4250"/>
                  </a:cubicBezTo>
                  <a:cubicBezTo>
                    <a:pt x="8355" y="4259"/>
                    <a:pt x="8358" y="4273"/>
                    <a:pt x="8358" y="4273"/>
                  </a:cubicBezTo>
                  <a:cubicBezTo>
                    <a:pt x="8343" y="4280"/>
                    <a:pt x="8343" y="4280"/>
                    <a:pt x="8343" y="4280"/>
                  </a:cubicBezTo>
                  <a:cubicBezTo>
                    <a:pt x="8343" y="4280"/>
                    <a:pt x="8330" y="4289"/>
                    <a:pt x="8325" y="4304"/>
                  </a:cubicBezTo>
                  <a:cubicBezTo>
                    <a:pt x="8320" y="4319"/>
                    <a:pt x="8355" y="4308"/>
                    <a:pt x="8355" y="4308"/>
                  </a:cubicBezTo>
                  <a:cubicBezTo>
                    <a:pt x="8355" y="4308"/>
                    <a:pt x="8336" y="4324"/>
                    <a:pt x="8330" y="4327"/>
                  </a:cubicBezTo>
                  <a:cubicBezTo>
                    <a:pt x="8324" y="4330"/>
                    <a:pt x="8320" y="4321"/>
                    <a:pt x="8311" y="4320"/>
                  </a:cubicBezTo>
                  <a:cubicBezTo>
                    <a:pt x="8302" y="4319"/>
                    <a:pt x="8303" y="4338"/>
                    <a:pt x="8303" y="4338"/>
                  </a:cubicBezTo>
                  <a:cubicBezTo>
                    <a:pt x="8310" y="4348"/>
                    <a:pt x="8310" y="4348"/>
                    <a:pt x="8310" y="4348"/>
                  </a:cubicBezTo>
                  <a:cubicBezTo>
                    <a:pt x="8310" y="4348"/>
                    <a:pt x="8307" y="4349"/>
                    <a:pt x="8297" y="4348"/>
                  </a:cubicBezTo>
                  <a:cubicBezTo>
                    <a:pt x="8287" y="4347"/>
                    <a:pt x="8299" y="4322"/>
                    <a:pt x="8299" y="4322"/>
                  </a:cubicBezTo>
                  <a:cubicBezTo>
                    <a:pt x="8287" y="4327"/>
                    <a:pt x="8287" y="4327"/>
                    <a:pt x="8287" y="4327"/>
                  </a:cubicBezTo>
                  <a:cubicBezTo>
                    <a:pt x="8287" y="4327"/>
                    <a:pt x="8279" y="4315"/>
                    <a:pt x="8272" y="4315"/>
                  </a:cubicBezTo>
                  <a:cubicBezTo>
                    <a:pt x="8262" y="4315"/>
                    <a:pt x="8263" y="4341"/>
                    <a:pt x="8258" y="4341"/>
                  </a:cubicBezTo>
                  <a:cubicBezTo>
                    <a:pt x="8253" y="4341"/>
                    <a:pt x="8253" y="4329"/>
                    <a:pt x="8253" y="4329"/>
                  </a:cubicBezTo>
                  <a:cubicBezTo>
                    <a:pt x="8253" y="4329"/>
                    <a:pt x="8248" y="4303"/>
                    <a:pt x="8250" y="4289"/>
                  </a:cubicBezTo>
                  <a:close/>
                  <a:moveTo>
                    <a:pt x="8586" y="1964"/>
                  </a:moveTo>
                  <a:cubicBezTo>
                    <a:pt x="8578" y="1973"/>
                    <a:pt x="8560" y="1988"/>
                    <a:pt x="8550" y="1992"/>
                  </a:cubicBezTo>
                  <a:cubicBezTo>
                    <a:pt x="8536" y="1997"/>
                    <a:pt x="8492" y="1991"/>
                    <a:pt x="8492" y="1991"/>
                  </a:cubicBezTo>
                  <a:cubicBezTo>
                    <a:pt x="8456" y="2002"/>
                    <a:pt x="8456" y="2002"/>
                    <a:pt x="8456" y="2002"/>
                  </a:cubicBezTo>
                  <a:cubicBezTo>
                    <a:pt x="8413" y="1986"/>
                    <a:pt x="8413" y="1986"/>
                    <a:pt x="8413" y="1986"/>
                  </a:cubicBezTo>
                  <a:cubicBezTo>
                    <a:pt x="8395" y="1992"/>
                    <a:pt x="8395" y="1992"/>
                    <a:pt x="8395" y="1992"/>
                  </a:cubicBezTo>
                  <a:cubicBezTo>
                    <a:pt x="8395" y="1992"/>
                    <a:pt x="8386" y="1970"/>
                    <a:pt x="8378" y="1972"/>
                  </a:cubicBezTo>
                  <a:cubicBezTo>
                    <a:pt x="8370" y="1973"/>
                    <a:pt x="8361" y="1980"/>
                    <a:pt x="8361" y="1980"/>
                  </a:cubicBezTo>
                  <a:cubicBezTo>
                    <a:pt x="8345" y="1970"/>
                    <a:pt x="8345" y="1970"/>
                    <a:pt x="8345" y="1970"/>
                  </a:cubicBezTo>
                  <a:cubicBezTo>
                    <a:pt x="8342" y="1955"/>
                    <a:pt x="8342" y="1955"/>
                    <a:pt x="8342" y="1955"/>
                  </a:cubicBezTo>
                  <a:cubicBezTo>
                    <a:pt x="8312" y="1960"/>
                    <a:pt x="8312" y="1960"/>
                    <a:pt x="8312" y="1960"/>
                  </a:cubicBezTo>
                  <a:cubicBezTo>
                    <a:pt x="8293" y="1950"/>
                    <a:pt x="8293" y="1950"/>
                    <a:pt x="8293" y="1950"/>
                  </a:cubicBezTo>
                  <a:cubicBezTo>
                    <a:pt x="8290" y="1935"/>
                    <a:pt x="8290" y="1935"/>
                    <a:pt x="8290" y="1935"/>
                  </a:cubicBezTo>
                  <a:cubicBezTo>
                    <a:pt x="8290" y="1935"/>
                    <a:pt x="8268" y="1946"/>
                    <a:pt x="8255" y="1946"/>
                  </a:cubicBezTo>
                  <a:cubicBezTo>
                    <a:pt x="8242" y="1946"/>
                    <a:pt x="8224" y="1940"/>
                    <a:pt x="8212" y="1941"/>
                  </a:cubicBezTo>
                  <a:cubicBezTo>
                    <a:pt x="8201" y="1942"/>
                    <a:pt x="8166" y="1956"/>
                    <a:pt x="8160" y="1962"/>
                  </a:cubicBezTo>
                  <a:cubicBezTo>
                    <a:pt x="8155" y="1969"/>
                    <a:pt x="8140" y="1972"/>
                    <a:pt x="8140" y="1972"/>
                  </a:cubicBezTo>
                  <a:cubicBezTo>
                    <a:pt x="8134" y="1987"/>
                    <a:pt x="8134" y="1987"/>
                    <a:pt x="8134" y="1987"/>
                  </a:cubicBezTo>
                  <a:cubicBezTo>
                    <a:pt x="8134" y="1987"/>
                    <a:pt x="8134" y="1991"/>
                    <a:pt x="8120" y="1988"/>
                  </a:cubicBezTo>
                  <a:cubicBezTo>
                    <a:pt x="8108" y="1985"/>
                    <a:pt x="8084" y="1982"/>
                    <a:pt x="8071" y="1982"/>
                  </a:cubicBezTo>
                  <a:cubicBezTo>
                    <a:pt x="8059" y="1982"/>
                    <a:pt x="8019" y="1973"/>
                    <a:pt x="8019" y="1973"/>
                  </a:cubicBezTo>
                  <a:cubicBezTo>
                    <a:pt x="8019" y="1973"/>
                    <a:pt x="7994" y="1976"/>
                    <a:pt x="7991" y="1963"/>
                  </a:cubicBezTo>
                  <a:cubicBezTo>
                    <a:pt x="7989" y="1956"/>
                    <a:pt x="7988" y="1949"/>
                    <a:pt x="7987" y="1944"/>
                  </a:cubicBezTo>
                  <a:cubicBezTo>
                    <a:pt x="7978" y="1945"/>
                    <a:pt x="7964" y="1943"/>
                    <a:pt x="7964" y="1943"/>
                  </a:cubicBezTo>
                  <a:cubicBezTo>
                    <a:pt x="7962" y="1940"/>
                    <a:pt x="7961" y="1938"/>
                    <a:pt x="7960" y="1936"/>
                  </a:cubicBezTo>
                  <a:cubicBezTo>
                    <a:pt x="7966" y="1928"/>
                    <a:pt x="7966" y="1928"/>
                    <a:pt x="7966" y="1928"/>
                  </a:cubicBezTo>
                  <a:cubicBezTo>
                    <a:pt x="7976" y="1941"/>
                    <a:pt x="7976" y="1941"/>
                    <a:pt x="7976" y="1941"/>
                  </a:cubicBezTo>
                  <a:cubicBezTo>
                    <a:pt x="7976" y="1941"/>
                    <a:pt x="7990" y="1943"/>
                    <a:pt x="7999" y="1942"/>
                  </a:cubicBezTo>
                  <a:cubicBezTo>
                    <a:pt x="7998" y="1939"/>
                    <a:pt x="7998" y="1937"/>
                    <a:pt x="7998" y="1937"/>
                  </a:cubicBezTo>
                  <a:cubicBezTo>
                    <a:pt x="7975" y="1909"/>
                    <a:pt x="7975" y="1909"/>
                    <a:pt x="7975" y="1909"/>
                  </a:cubicBezTo>
                  <a:cubicBezTo>
                    <a:pt x="7975" y="1909"/>
                    <a:pt x="7985" y="1904"/>
                    <a:pt x="7989" y="1897"/>
                  </a:cubicBezTo>
                  <a:cubicBezTo>
                    <a:pt x="7993" y="1890"/>
                    <a:pt x="7982" y="1876"/>
                    <a:pt x="7991" y="1869"/>
                  </a:cubicBezTo>
                  <a:cubicBezTo>
                    <a:pt x="8000" y="1862"/>
                    <a:pt x="8017" y="1866"/>
                    <a:pt x="8017" y="1866"/>
                  </a:cubicBezTo>
                  <a:cubicBezTo>
                    <a:pt x="8017" y="1866"/>
                    <a:pt x="8015" y="1857"/>
                    <a:pt x="8014" y="1845"/>
                  </a:cubicBezTo>
                  <a:cubicBezTo>
                    <a:pt x="8012" y="1834"/>
                    <a:pt x="8013" y="1820"/>
                    <a:pt x="8018" y="1813"/>
                  </a:cubicBezTo>
                  <a:cubicBezTo>
                    <a:pt x="8027" y="1801"/>
                    <a:pt x="8033" y="1791"/>
                    <a:pt x="8033" y="1791"/>
                  </a:cubicBezTo>
                  <a:cubicBezTo>
                    <a:pt x="8033" y="1791"/>
                    <a:pt x="8065" y="1801"/>
                    <a:pt x="8061" y="1778"/>
                  </a:cubicBezTo>
                  <a:cubicBezTo>
                    <a:pt x="8058" y="1762"/>
                    <a:pt x="8053" y="1753"/>
                    <a:pt x="8050" y="1750"/>
                  </a:cubicBezTo>
                  <a:cubicBezTo>
                    <a:pt x="8050" y="1748"/>
                    <a:pt x="8049" y="1748"/>
                    <a:pt x="8049" y="1748"/>
                  </a:cubicBezTo>
                  <a:cubicBezTo>
                    <a:pt x="8049" y="1748"/>
                    <a:pt x="8066" y="1741"/>
                    <a:pt x="8074" y="1735"/>
                  </a:cubicBezTo>
                  <a:cubicBezTo>
                    <a:pt x="8083" y="1729"/>
                    <a:pt x="8096" y="1705"/>
                    <a:pt x="8096" y="1705"/>
                  </a:cubicBezTo>
                  <a:cubicBezTo>
                    <a:pt x="8117" y="1696"/>
                    <a:pt x="8117" y="1696"/>
                    <a:pt x="8117" y="1696"/>
                  </a:cubicBezTo>
                  <a:cubicBezTo>
                    <a:pt x="8126" y="1685"/>
                    <a:pt x="8126" y="1685"/>
                    <a:pt x="8126" y="1685"/>
                  </a:cubicBezTo>
                  <a:cubicBezTo>
                    <a:pt x="8137" y="1690"/>
                    <a:pt x="8137" y="1690"/>
                    <a:pt x="8137" y="1690"/>
                  </a:cubicBezTo>
                  <a:cubicBezTo>
                    <a:pt x="8137" y="1690"/>
                    <a:pt x="8159" y="1694"/>
                    <a:pt x="8162" y="1694"/>
                  </a:cubicBezTo>
                  <a:cubicBezTo>
                    <a:pt x="8165" y="1694"/>
                    <a:pt x="8173" y="1688"/>
                    <a:pt x="8173" y="1688"/>
                  </a:cubicBezTo>
                  <a:cubicBezTo>
                    <a:pt x="8161" y="1704"/>
                    <a:pt x="8161" y="1704"/>
                    <a:pt x="8161" y="1704"/>
                  </a:cubicBezTo>
                  <a:cubicBezTo>
                    <a:pt x="8161" y="1704"/>
                    <a:pt x="8143" y="1698"/>
                    <a:pt x="8146" y="1705"/>
                  </a:cubicBezTo>
                  <a:cubicBezTo>
                    <a:pt x="8149" y="1712"/>
                    <a:pt x="8169" y="1717"/>
                    <a:pt x="8169" y="1717"/>
                  </a:cubicBezTo>
                  <a:cubicBezTo>
                    <a:pt x="8201" y="1718"/>
                    <a:pt x="8201" y="1718"/>
                    <a:pt x="8201" y="1718"/>
                  </a:cubicBezTo>
                  <a:cubicBezTo>
                    <a:pt x="8214" y="1719"/>
                    <a:pt x="8214" y="1719"/>
                    <a:pt x="8214" y="1719"/>
                  </a:cubicBezTo>
                  <a:cubicBezTo>
                    <a:pt x="8221" y="1730"/>
                    <a:pt x="8221" y="1730"/>
                    <a:pt x="8221" y="1730"/>
                  </a:cubicBezTo>
                  <a:cubicBezTo>
                    <a:pt x="8221" y="1730"/>
                    <a:pt x="8175" y="1756"/>
                    <a:pt x="8178" y="1759"/>
                  </a:cubicBezTo>
                  <a:cubicBezTo>
                    <a:pt x="8181" y="1762"/>
                    <a:pt x="8223" y="1763"/>
                    <a:pt x="8225" y="1776"/>
                  </a:cubicBezTo>
                  <a:cubicBezTo>
                    <a:pt x="8227" y="1790"/>
                    <a:pt x="8215" y="1804"/>
                    <a:pt x="8220" y="1806"/>
                  </a:cubicBezTo>
                  <a:cubicBezTo>
                    <a:pt x="8226" y="1808"/>
                    <a:pt x="8247" y="1810"/>
                    <a:pt x="8247" y="1810"/>
                  </a:cubicBezTo>
                  <a:cubicBezTo>
                    <a:pt x="8247" y="1810"/>
                    <a:pt x="8261" y="1791"/>
                    <a:pt x="8268" y="1791"/>
                  </a:cubicBezTo>
                  <a:cubicBezTo>
                    <a:pt x="8276" y="1791"/>
                    <a:pt x="8279" y="1797"/>
                    <a:pt x="8289" y="1791"/>
                  </a:cubicBezTo>
                  <a:cubicBezTo>
                    <a:pt x="8299" y="1785"/>
                    <a:pt x="8297" y="1773"/>
                    <a:pt x="8304" y="1772"/>
                  </a:cubicBezTo>
                  <a:cubicBezTo>
                    <a:pt x="8311" y="1771"/>
                    <a:pt x="8317" y="1780"/>
                    <a:pt x="8317" y="1780"/>
                  </a:cubicBezTo>
                  <a:cubicBezTo>
                    <a:pt x="8340" y="1776"/>
                    <a:pt x="8340" y="1776"/>
                    <a:pt x="8340" y="1776"/>
                  </a:cubicBezTo>
                  <a:cubicBezTo>
                    <a:pt x="8342" y="1765"/>
                    <a:pt x="8342" y="1765"/>
                    <a:pt x="8342" y="1765"/>
                  </a:cubicBezTo>
                  <a:cubicBezTo>
                    <a:pt x="8348" y="1756"/>
                    <a:pt x="8348" y="1756"/>
                    <a:pt x="8348" y="1756"/>
                  </a:cubicBezTo>
                  <a:cubicBezTo>
                    <a:pt x="8348" y="1756"/>
                    <a:pt x="8334" y="1750"/>
                    <a:pt x="8328" y="1756"/>
                  </a:cubicBezTo>
                  <a:cubicBezTo>
                    <a:pt x="8322" y="1762"/>
                    <a:pt x="8298" y="1763"/>
                    <a:pt x="8298" y="1763"/>
                  </a:cubicBezTo>
                  <a:cubicBezTo>
                    <a:pt x="8298" y="1763"/>
                    <a:pt x="8280" y="1757"/>
                    <a:pt x="8279" y="1747"/>
                  </a:cubicBezTo>
                  <a:cubicBezTo>
                    <a:pt x="8278" y="1737"/>
                    <a:pt x="8266" y="1738"/>
                    <a:pt x="8266" y="1738"/>
                  </a:cubicBezTo>
                  <a:cubicBezTo>
                    <a:pt x="8254" y="1725"/>
                    <a:pt x="8254" y="1725"/>
                    <a:pt x="8254" y="1725"/>
                  </a:cubicBezTo>
                  <a:cubicBezTo>
                    <a:pt x="8229" y="1723"/>
                    <a:pt x="8229" y="1723"/>
                    <a:pt x="8229" y="1723"/>
                  </a:cubicBezTo>
                  <a:cubicBezTo>
                    <a:pt x="8222" y="1715"/>
                    <a:pt x="8222" y="1715"/>
                    <a:pt x="8222" y="1715"/>
                  </a:cubicBezTo>
                  <a:cubicBezTo>
                    <a:pt x="8238" y="1714"/>
                    <a:pt x="8238" y="1714"/>
                    <a:pt x="8238" y="1714"/>
                  </a:cubicBezTo>
                  <a:cubicBezTo>
                    <a:pt x="8238" y="1714"/>
                    <a:pt x="8257" y="1718"/>
                    <a:pt x="8263" y="1717"/>
                  </a:cubicBezTo>
                  <a:cubicBezTo>
                    <a:pt x="8270" y="1715"/>
                    <a:pt x="8285" y="1703"/>
                    <a:pt x="8285" y="1703"/>
                  </a:cubicBezTo>
                  <a:cubicBezTo>
                    <a:pt x="8291" y="1708"/>
                    <a:pt x="8291" y="1708"/>
                    <a:pt x="8291" y="1708"/>
                  </a:cubicBezTo>
                  <a:cubicBezTo>
                    <a:pt x="8291" y="1708"/>
                    <a:pt x="8305" y="1695"/>
                    <a:pt x="8314" y="1692"/>
                  </a:cubicBezTo>
                  <a:cubicBezTo>
                    <a:pt x="8324" y="1689"/>
                    <a:pt x="8350" y="1688"/>
                    <a:pt x="8350" y="1688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8" y="1666"/>
                    <a:pt x="8378" y="1666"/>
                  </a:cubicBezTo>
                  <a:cubicBezTo>
                    <a:pt x="8378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79" y="1666"/>
                  </a:cubicBezTo>
                  <a:cubicBezTo>
                    <a:pt x="8379" y="1666"/>
                    <a:pt x="8379" y="1666"/>
                    <a:pt x="8380" y="1666"/>
                  </a:cubicBezTo>
                  <a:cubicBezTo>
                    <a:pt x="8380" y="1666"/>
                    <a:pt x="8380" y="1666"/>
                    <a:pt x="8380" y="1666"/>
                  </a:cubicBezTo>
                  <a:cubicBezTo>
                    <a:pt x="8381" y="1667"/>
                    <a:pt x="8381" y="1667"/>
                    <a:pt x="8382" y="1667"/>
                  </a:cubicBezTo>
                  <a:cubicBezTo>
                    <a:pt x="8387" y="1669"/>
                    <a:pt x="8397" y="1671"/>
                    <a:pt x="8405" y="1668"/>
                  </a:cubicBezTo>
                  <a:cubicBezTo>
                    <a:pt x="8404" y="1669"/>
                    <a:pt x="8403" y="1669"/>
                    <a:pt x="8403" y="1669"/>
                  </a:cubicBezTo>
                  <a:cubicBezTo>
                    <a:pt x="8404" y="1669"/>
                    <a:pt x="8405" y="1668"/>
                    <a:pt x="8407" y="1668"/>
                  </a:cubicBezTo>
                  <a:cubicBezTo>
                    <a:pt x="8418" y="1662"/>
                    <a:pt x="8447" y="1653"/>
                    <a:pt x="8448" y="1662"/>
                  </a:cubicBezTo>
                  <a:cubicBezTo>
                    <a:pt x="8449" y="1670"/>
                    <a:pt x="8427" y="1686"/>
                    <a:pt x="8427" y="1686"/>
                  </a:cubicBezTo>
                  <a:cubicBezTo>
                    <a:pt x="8394" y="1696"/>
                    <a:pt x="8394" y="1696"/>
                    <a:pt x="8394" y="1696"/>
                  </a:cubicBezTo>
                  <a:cubicBezTo>
                    <a:pt x="8424" y="1719"/>
                    <a:pt x="8424" y="1719"/>
                    <a:pt x="8424" y="1719"/>
                  </a:cubicBezTo>
                  <a:cubicBezTo>
                    <a:pt x="8424" y="1719"/>
                    <a:pt x="8400" y="1724"/>
                    <a:pt x="8399" y="1734"/>
                  </a:cubicBezTo>
                  <a:cubicBezTo>
                    <a:pt x="8398" y="1744"/>
                    <a:pt x="8398" y="1755"/>
                    <a:pt x="8398" y="1755"/>
                  </a:cubicBezTo>
                  <a:cubicBezTo>
                    <a:pt x="8398" y="1755"/>
                    <a:pt x="8385" y="1764"/>
                    <a:pt x="8380" y="1764"/>
                  </a:cubicBezTo>
                  <a:cubicBezTo>
                    <a:pt x="8375" y="1764"/>
                    <a:pt x="8360" y="1753"/>
                    <a:pt x="8360" y="1753"/>
                  </a:cubicBezTo>
                  <a:cubicBezTo>
                    <a:pt x="8356" y="1764"/>
                    <a:pt x="8356" y="1764"/>
                    <a:pt x="8356" y="1764"/>
                  </a:cubicBezTo>
                  <a:cubicBezTo>
                    <a:pt x="8356" y="1764"/>
                    <a:pt x="8368" y="1777"/>
                    <a:pt x="8371" y="1777"/>
                  </a:cubicBezTo>
                  <a:cubicBezTo>
                    <a:pt x="8374" y="1777"/>
                    <a:pt x="8383" y="1796"/>
                    <a:pt x="8383" y="1796"/>
                  </a:cubicBezTo>
                  <a:cubicBezTo>
                    <a:pt x="8408" y="1794"/>
                    <a:pt x="8408" y="1794"/>
                    <a:pt x="8408" y="1794"/>
                  </a:cubicBezTo>
                  <a:cubicBezTo>
                    <a:pt x="8408" y="1794"/>
                    <a:pt x="8426" y="1813"/>
                    <a:pt x="8432" y="1813"/>
                  </a:cubicBezTo>
                  <a:cubicBezTo>
                    <a:pt x="8438" y="1813"/>
                    <a:pt x="8450" y="1814"/>
                    <a:pt x="8450" y="1814"/>
                  </a:cubicBezTo>
                  <a:cubicBezTo>
                    <a:pt x="8450" y="1814"/>
                    <a:pt x="8481" y="1851"/>
                    <a:pt x="8489" y="1854"/>
                  </a:cubicBezTo>
                  <a:cubicBezTo>
                    <a:pt x="8493" y="1855"/>
                    <a:pt x="8500" y="1858"/>
                    <a:pt x="8505" y="1861"/>
                  </a:cubicBezTo>
                  <a:cubicBezTo>
                    <a:pt x="8504" y="1861"/>
                    <a:pt x="8503" y="1862"/>
                    <a:pt x="8503" y="1863"/>
                  </a:cubicBezTo>
                  <a:cubicBezTo>
                    <a:pt x="8504" y="1864"/>
                    <a:pt x="8505" y="1865"/>
                    <a:pt x="8505" y="1865"/>
                  </a:cubicBezTo>
                  <a:cubicBezTo>
                    <a:pt x="8505" y="1865"/>
                    <a:pt x="8545" y="1888"/>
                    <a:pt x="8554" y="1891"/>
                  </a:cubicBezTo>
                  <a:cubicBezTo>
                    <a:pt x="8562" y="1894"/>
                    <a:pt x="8577" y="1907"/>
                    <a:pt x="8577" y="1907"/>
                  </a:cubicBezTo>
                  <a:cubicBezTo>
                    <a:pt x="8577" y="1907"/>
                    <a:pt x="8581" y="1935"/>
                    <a:pt x="8581" y="1938"/>
                  </a:cubicBezTo>
                  <a:cubicBezTo>
                    <a:pt x="8581" y="1942"/>
                    <a:pt x="8593" y="1957"/>
                    <a:pt x="8593" y="1957"/>
                  </a:cubicBezTo>
                  <a:cubicBezTo>
                    <a:pt x="8593" y="1957"/>
                    <a:pt x="8591" y="1959"/>
                    <a:pt x="8586" y="1964"/>
                  </a:cubicBezTo>
                  <a:close/>
                  <a:moveTo>
                    <a:pt x="8770" y="1610"/>
                  </a:moveTo>
                  <a:cubicBezTo>
                    <a:pt x="8770" y="1610"/>
                    <a:pt x="8770" y="1610"/>
                    <a:pt x="8770" y="1610"/>
                  </a:cubicBezTo>
                  <a:cubicBezTo>
                    <a:pt x="8770" y="1610"/>
                    <a:pt x="8770" y="1610"/>
                    <a:pt x="8770" y="1610"/>
                  </a:cubicBezTo>
                  <a:cubicBezTo>
                    <a:pt x="8770" y="1610"/>
                    <a:pt x="8770" y="1610"/>
                    <a:pt x="8770" y="1610"/>
                  </a:cubicBezTo>
                  <a:close/>
                  <a:moveTo>
                    <a:pt x="8771" y="1494"/>
                  </a:moveTo>
                  <a:cubicBezTo>
                    <a:pt x="8770" y="1493"/>
                    <a:pt x="8769" y="1492"/>
                    <a:pt x="8768" y="1492"/>
                  </a:cubicBezTo>
                  <a:cubicBezTo>
                    <a:pt x="8769" y="1492"/>
                    <a:pt x="8770" y="1493"/>
                    <a:pt x="8771" y="1494"/>
                  </a:cubicBezTo>
                  <a:cubicBezTo>
                    <a:pt x="8771" y="1494"/>
                    <a:pt x="8771" y="1494"/>
                    <a:pt x="8771" y="1494"/>
                  </a:cubicBezTo>
                  <a:close/>
                  <a:moveTo>
                    <a:pt x="9119" y="1937"/>
                  </a:moveTo>
                  <a:cubicBezTo>
                    <a:pt x="9119" y="1941"/>
                    <a:pt x="9122" y="1941"/>
                    <a:pt x="9129" y="1953"/>
                  </a:cubicBezTo>
                  <a:cubicBezTo>
                    <a:pt x="9135" y="1965"/>
                    <a:pt x="9171" y="1974"/>
                    <a:pt x="9169" y="1985"/>
                  </a:cubicBezTo>
                  <a:cubicBezTo>
                    <a:pt x="9166" y="1995"/>
                    <a:pt x="9166" y="2001"/>
                    <a:pt x="9159" y="1999"/>
                  </a:cubicBezTo>
                  <a:cubicBezTo>
                    <a:pt x="9153" y="1998"/>
                    <a:pt x="9138" y="1985"/>
                    <a:pt x="9141" y="1989"/>
                  </a:cubicBezTo>
                  <a:cubicBezTo>
                    <a:pt x="9143" y="1993"/>
                    <a:pt x="9138" y="2002"/>
                    <a:pt x="9138" y="2002"/>
                  </a:cubicBezTo>
                  <a:cubicBezTo>
                    <a:pt x="9111" y="2003"/>
                    <a:pt x="9111" y="2003"/>
                    <a:pt x="9111" y="2003"/>
                  </a:cubicBezTo>
                  <a:cubicBezTo>
                    <a:pt x="9103" y="1990"/>
                    <a:pt x="9103" y="1990"/>
                    <a:pt x="9103" y="1990"/>
                  </a:cubicBezTo>
                  <a:cubicBezTo>
                    <a:pt x="9099" y="1995"/>
                    <a:pt x="9099" y="1995"/>
                    <a:pt x="9099" y="1995"/>
                  </a:cubicBezTo>
                  <a:cubicBezTo>
                    <a:pt x="9099" y="1995"/>
                    <a:pt x="9089" y="1985"/>
                    <a:pt x="9083" y="1975"/>
                  </a:cubicBezTo>
                  <a:cubicBezTo>
                    <a:pt x="9078" y="1966"/>
                    <a:pt x="9082" y="1951"/>
                    <a:pt x="9078" y="1950"/>
                  </a:cubicBezTo>
                  <a:cubicBezTo>
                    <a:pt x="9077" y="1950"/>
                    <a:pt x="9075" y="1949"/>
                    <a:pt x="9073" y="1948"/>
                  </a:cubicBezTo>
                  <a:cubicBezTo>
                    <a:pt x="9073" y="1948"/>
                    <a:pt x="9073" y="1948"/>
                    <a:pt x="9073" y="1948"/>
                  </a:cubicBezTo>
                  <a:cubicBezTo>
                    <a:pt x="9075" y="1942"/>
                    <a:pt x="9081" y="1922"/>
                    <a:pt x="9089" y="1921"/>
                  </a:cubicBezTo>
                  <a:cubicBezTo>
                    <a:pt x="9094" y="1920"/>
                    <a:pt x="9102" y="1921"/>
                    <a:pt x="9108" y="1922"/>
                  </a:cubicBezTo>
                  <a:cubicBezTo>
                    <a:pt x="9108" y="1925"/>
                    <a:pt x="9109" y="1927"/>
                    <a:pt x="9109" y="1927"/>
                  </a:cubicBezTo>
                  <a:cubicBezTo>
                    <a:pt x="9109" y="1927"/>
                    <a:pt x="9119" y="1933"/>
                    <a:pt x="9119" y="1937"/>
                  </a:cubicBezTo>
                  <a:close/>
                  <a:moveTo>
                    <a:pt x="8999" y="1443"/>
                  </a:moveTo>
                  <a:cubicBezTo>
                    <a:pt x="8998" y="1442"/>
                    <a:pt x="8997" y="1441"/>
                    <a:pt x="8997" y="1441"/>
                  </a:cubicBezTo>
                  <a:cubicBezTo>
                    <a:pt x="8997" y="1441"/>
                    <a:pt x="8998" y="1442"/>
                    <a:pt x="8999" y="1443"/>
                  </a:cubicBezTo>
                  <a:close/>
                  <a:moveTo>
                    <a:pt x="8994" y="1439"/>
                  </a:moveTo>
                  <a:cubicBezTo>
                    <a:pt x="8993" y="1439"/>
                    <a:pt x="8991" y="1439"/>
                    <a:pt x="8990" y="1439"/>
                  </a:cubicBezTo>
                  <a:cubicBezTo>
                    <a:pt x="8991" y="1439"/>
                    <a:pt x="8993" y="1439"/>
                    <a:pt x="8994" y="1439"/>
                  </a:cubicBezTo>
                  <a:close/>
                  <a:moveTo>
                    <a:pt x="8852" y="1687"/>
                  </a:moveTo>
                  <a:cubicBezTo>
                    <a:pt x="8851" y="1687"/>
                    <a:pt x="8851" y="1687"/>
                    <a:pt x="8851" y="1687"/>
                  </a:cubicBezTo>
                  <a:cubicBezTo>
                    <a:pt x="8850" y="1687"/>
                    <a:pt x="8850" y="1687"/>
                    <a:pt x="8849" y="1686"/>
                  </a:cubicBezTo>
                  <a:cubicBezTo>
                    <a:pt x="8850" y="1687"/>
                    <a:pt x="8851" y="1687"/>
                    <a:pt x="8852" y="1687"/>
                  </a:cubicBezTo>
                  <a:close/>
                  <a:moveTo>
                    <a:pt x="8846" y="1660"/>
                  </a:moveTo>
                  <a:cubicBezTo>
                    <a:pt x="8846" y="1660"/>
                    <a:pt x="8846" y="1660"/>
                    <a:pt x="8846" y="1660"/>
                  </a:cubicBezTo>
                  <a:cubicBezTo>
                    <a:pt x="8845" y="1683"/>
                    <a:pt x="8845" y="1683"/>
                    <a:pt x="8845" y="1683"/>
                  </a:cubicBezTo>
                  <a:lnTo>
                    <a:pt x="8846" y="1660"/>
                  </a:lnTo>
                  <a:close/>
                  <a:moveTo>
                    <a:pt x="8820" y="1496"/>
                  </a:moveTo>
                  <a:cubicBezTo>
                    <a:pt x="8820" y="1496"/>
                    <a:pt x="8820" y="1496"/>
                    <a:pt x="8820" y="1496"/>
                  </a:cubicBezTo>
                  <a:cubicBezTo>
                    <a:pt x="8820" y="1496"/>
                    <a:pt x="8819" y="1495"/>
                    <a:pt x="8819" y="1495"/>
                  </a:cubicBezTo>
                  <a:cubicBezTo>
                    <a:pt x="8819" y="1495"/>
                    <a:pt x="8820" y="1495"/>
                    <a:pt x="8820" y="1496"/>
                  </a:cubicBezTo>
                  <a:close/>
                  <a:moveTo>
                    <a:pt x="8818" y="1493"/>
                  </a:moveTo>
                  <a:cubicBezTo>
                    <a:pt x="8818" y="1493"/>
                    <a:pt x="8818" y="1493"/>
                    <a:pt x="8818" y="1494"/>
                  </a:cubicBezTo>
                  <a:cubicBezTo>
                    <a:pt x="8818" y="1494"/>
                    <a:pt x="8818" y="1494"/>
                    <a:pt x="8818" y="1494"/>
                  </a:cubicBezTo>
                  <a:cubicBezTo>
                    <a:pt x="8818" y="1493"/>
                    <a:pt x="8818" y="1493"/>
                    <a:pt x="8818" y="1492"/>
                  </a:cubicBezTo>
                  <a:cubicBezTo>
                    <a:pt x="8818" y="1493"/>
                    <a:pt x="8818" y="1493"/>
                    <a:pt x="8818" y="1493"/>
                  </a:cubicBezTo>
                  <a:close/>
                  <a:moveTo>
                    <a:pt x="8817" y="1491"/>
                  </a:moveTo>
                  <a:cubicBezTo>
                    <a:pt x="8817" y="1491"/>
                    <a:pt x="8817" y="1491"/>
                    <a:pt x="8817" y="1491"/>
                  </a:cubicBezTo>
                  <a:cubicBezTo>
                    <a:pt x="8817" y="1491"/>
                    <a:pt x="8816" y="1491"/>
                    <a:pt x="8816" y="1490"/>
                  </a:cubicBezTo>
                  <a:cubicBezTo>
                    <a:pt x="8816" y="1491"/>
                    <a:pt x="8816" y="1491"/>
                    <a:pt x="8817" y="1491"/>
                  </a:cubicBezTo>
                  <a:close/>
                  <a:moveTo>
                    <a:pt x="8814" y="1488"/>
                  </a:moveTo>
                  <a:cubicBezTo>
                    <a:pt x="8814" y="1488"/>
                    <a:pt x="8814" y="1489"/>
                    <a:pt x="8814" y="1489"/>
                  </a:cubicBezTo>
                  <a:cubicBezTo>
                    <a:pt x="8814" y="1489"/>
                    <a:pt x="8815" y="1489"/>
                    <a:pt x="8815" y="1490"/>
                  </a:cubicBezTo>
                  <a:cubicBezTo>
                    <a:pt x="8815" y="1489"/>
                    <a:pt x="8815" y="1489"/>
                    <a:pt x="8814" y="1489"/>
                  </a:cubicBezTo>
                  <a:cubicBezTo>
                    <a:pt x="8815" y="1489"/>
                    <a:pt x="8815" y="1489"/>
                    <a:pt x="8815" y="1490"/>
                  </a:cubicBezTo>
                  <a:cubicBezTo>
                    <a:pt x="8815" y="1490"/>
                    <a:pt x="8815" y="1490"/>
                    <a:pt x="8815" y="1490"/>
                  </a:cubicBezTo>
                  <a:cubicBezTo>
                    <a:pt x="8815" y="1489"/>
                    <a:pt x="8814" y="1489"/>
                    <a:pt x="8814" y="1488"/>
                  </a:cubicBezTo>
                  <a:cubicBezTo>
                    <a:pt x="8814" y="1488"/>
                    <a:pt x="8814" y="1488"/>
                    <a:pt x="8814" y="1488"/>
                  </a:cubicBezTo>
                  <a:close/>
                  <a:moveTo>
                    <a:pt x="8931" y="2133"/>
                  </a:moveTo>
                  <a:cubicBezTo>
                    <a:pt x="8931" y="2133"/>
                    <a:pt x="8931" y="2134"/>
                    <a:pt x="8932" y="2136"/>
                  </a:cubicBezTo>
                  <a:cubicBezTo>
                    <a:pt x="8931" y="2134"/>
                    <a:pt x="8931" y="2133"/>
                    <a:pt x="8931" y="2133"/>
                  </a:cubicBezTo>
                  <a:close/>
                  <a:moveTo>
                    <a:pt x="9173" y="2214"/>
                  </a:moveTo>
                  <a:cubicBezTo>
                    <a:pt x="9161" y="2216"/>
                    <a:pt x="9150" y="2209"/>
                    <a:pt x="9150" y="2209"/>
                  </a:cubicBezTo>
                  <a:cubicBezTo>
                    <a:pt x="9150" y="2209"/>
                    <a:pt x="9125" y="2214"/>
                    <a:pt x="9112" y="2217"/>
                  </a:cubicBezTo>
                  <a:cubicBezTo>
                    <a:pt x="9099" y="2220"/>
                    <a:pt x="9092" y="2229"/>
                    <a:pt x="9084" y="2228"/>
                  </a:cubicBezTo>
                  <a:cubicBezTo>
                    <a:pt x="9076" y="2227"/>
                    <a:pt x="9068" y="2218"/>
                    <a:pt x="9058" y="2218"/>
                  </a:cubicBezTo>
                  <a:cubicBezTo>
                    <a:pt x="9048" y="2218"/>
                    <a:pt x="9036" y="2218"/>
                    <a:pt x="9022" y="2208"/>
                  </a:cubicBezTo>
                  <a:cubicBezTo>
                    <a:pt x="9008" y="2198"/>
                    <a:pt x="9000" y="2181"/>
                    <a:pt x="9000" y="2181"/>
                  </a:cubicBezTo>
                  <a:cubicBezTo>
                    <a:pt x="9000" y="2181"/>
                    <a:pt x="8971" y="2178"/>
                    <a:pt x="8968" y="2178"/>
                  </a:cubicBezTo>
                  <a:cubicBezTo>
                    <a:pt x="8965" y="2178"/>
                    <a:pt x="8953" y="2171"/>
                    <a:pt x="8946" y="2163"/>
                  </a:cubicBezTo>
                  <a:cubicBezTo>
                    <a:pt x="8941" y="2157"/>
                    <a:pt x="8935" y="2143"/>
                    <a:pt x="8932" y="2136"/>
                  </a:cubicBezTo>
                  <a:cubicBezTo>
                    <a:pt x="8934" y="2129"/>
                    <a:pt x="8936" y="2120"/>
                    <a:pt x="8935" y="2116"/>
                  </a:cubicBezTo>
                  <a:cubicBezTo>
                    <a:pt x="8933" y="2110"/>
                    <a:pt x="8923" y="2107"/>
                    <a:pt x="8923" y="2107"/>
                  </a:cubicBezTo>
                  <a:cubicBezTo>
                    <a:pt x="8934" y="2103"/>
                    <a:pt x="8934" y="2103"/>
                    <a:pt x="8934" y="2103"/>
                  </a:cubicBezTo>
                  <a:cubicBezTo>
                    <a:pt x="8934" y="2084"/>
                    <a:pt x="8934" y="2084"/>
                    <a:pt x="8934" y="2084"/>
                  </a:cubicBezTo>
                  <a:cubicBezTo>
                    <a:pt x="8934" y="2084"/>
                    <a:pt x="8946" y="2097"/>
                    <a:pt x="8952" y="2089"/>
                  </a:cubicBezTo>
                  <a:cubicBezTo>
                    <a:pt x="8958" y="2081"/>
                    <a:pt x="8942" y="2071"/>
                    <a:pt x="8942" y="2071"/>
                  </a:cubicBezTo>
                  <a:cubicBezTo>
                    <a:pt x="8945" y="2058"/>
                    <a:pt x="8945" y="2058"/>
                    <a:pt x="8945" y="2058"/>
                  </a:cubicBezTo>
                  <a:cubicBezTo>
                    <a:pt x="8944" y="2035"/>
                    <a:pt x="8944" y="2035"/>
                    <a:pt x="8944" y="2035"/>
                  </a:cubicBezTo>
                  <a:cubicBezTo>
                    <a:pt x="8954" y="2037"/>
                    <a:pt x="8954" y="2037"/>
                    <a:pt x="8954" y="2037"/>
                  </a:cubicBezTo>
                  <a:cubicBezTo>
                    <a:pt x="8962" y="2028"/>
                    <a:pt x="8962" y="2028"/>
                    <a:pt x="8962" y="2028"/>
                  </a:cubicBezTo>
                  <a:cubicBezTo>
                    <a:pt x="8984" y="2030"/>
                    <a:pt x="8984" y="2030"/>
                    <a:pt x="8984" y="2030"/>
                  </a:cubicBezTo>
                  <a:cubicBezTo>
                    <a:pt x="8984" y="2030"/>
                    <a:pt x="8983" y="2025"/>
                    <a:pt x="8979" y="2017"/>
                  </a:cubicBezTo>
                  <a:cubicBezTo>
                    <a:pt x="8975" y="2009"/>
                    <a:pt x="8959" y="2016"/>
                    <a:pt x="8949" y="2016"/>
                  </a:cubicBezTo>
                  <a:cubicBezTo>
                    <a:pt x="8939" y="2016"/>
                    <a:pt x="8937" y="1998"/>
                    <a:pt x="8937" y="1998"/>
                  </a:cubicBezTo>
                  <a:cubicBezTo>
                    <a:pt x="8920" y="1980"/>
                    <a:pt x="8920" y="1980"/>
                    <a:pt x="8920" y="1980"/>
                  </a:cubicBezTo>
                  <a:cubicBezTo>
                    <a:pt x="8921" y="1971"/>
                    <a:pt x="8921" y="1971"/>
                    <a:pt x="8921" y="1971"/>
                  </a:cubicBezTo>
                  <a:cubicBezTo>
                    <a:pt x="8889" y="1944"/>
                    <a:pt x="8889" y="1944"/>
                    <a:pt x="8889" y="1944"/>
                  </a:cubicBezTo>
                  <a:cubicBezTo>
                    <a:pt x="8882" y="1941"/>
                    <a:pt x="8882" y="1941"/>
                    <a:pt x="8882" y="1941"/>
                  </a:cubicBezTo>
                  <a:cubicBezTo>
                    <a:pt x="8882" y="1941"/>
                    <a:pt x="8877" y="1927"/>
                    <a:pt x="8872" y="1919"/>
                  </a:cubicBezTo>
                  <a:cubicBezTo>
                    <a:pt x="8867" y="1911"/>
                    <a:pt x="8848" y="1907"/>
                    <a:pt x="8848" y="1907"/>
                  </a:cubicBezTo>
                  <a:cubicBezTo>
                    <a:pt x="8848" y="1892"/>
                    <a:pt x="8848" y="1892"/>
                    <a:pt x="8848" y="1892"/>
                  </a:cubicBezTo>
                  <a:cubicBezTo>
                    <a:pt x="8848" y="1892"/>
                    <a:pt x="8840" y="1888"/>
                    <a:pt x="8831" y="1877"/>
                  </a:cubicBezTo>
                  <a:cubicBezTo>
                    <a:pt x="8822" y="1866"/>
                    <a:pt x="8834" y="1852"/>
                    <a:pt x="8829" y="1839"/>
                  </a:cubicBezTo>
                  <a:cubicBezTo>
                    <a:pt x="8824" y="1826"/>
                    <a:pt x="8803" y="1812"/>
                    <a:pt x="8803" y="1812"/>
                  </a:cubicBezTo>
                  <a:cubicBezTo>
                    <a:pt x="8803" y="1812"/>
                    <a:pt x="8794" y="1811"/>
                    <a:pt x="8785" y="1806"/>
                  </a:cubicBezTo>
                  <a:cubicBezTo>
                    <a:pt x="8776" y="1801"/>
                    <a:pt x="8798" y="1780"/>
                    <a:pt x="8798" y="1780"/>
                  </a:cubicBezTo>
                  <a:cubicBezTo>
                    <a:pt x="8798" y="1780"/>
                    <a:pt x="8813" y="1767"/>
                    <a:pt x="8816" y="1760"/>
                  </a:cubicBezTo>
                  <a:cubicBezTo>
                    <a:pt x="8819" y="1753"/>
                    <a:pt x="8805" y="1738"/>
                    <a:pt x="8805" y="1738"/>
                  </a:cubicBezTo>
                  <a:cubicBezTo>
                    <a:pt x="8805" y="1738"/>
                    <a:pt x="8819" y="1744"/>
                    <a:pt x="8822" y="1744"/>
                  </a:cubicBezTo>
                  <a:cubicBezTo>
                    <a:pt x="8825" y="1744"/>
                    <a:pt x="8837" y="1743"/>
                    <a:pt x="8840" y="1737"/>
                  </a:cubicBezTo>
                  <a:cubicBezTo>
                    <a:pt x="8843" y="1731"/>
                    <a:pt x="8846" y="1737"/>
                    <a:pt x="8858" y="1735"/>
                  </a:cubicBezTo>
                  <a:cubicBezTo>
                    <a:pt x="8870" y="1733"/>
                    <a:pt x="8853" y="1720"/>
                    <a:pt x="8853" y="1720"/>
                  </a:cubicBezTo>
                  <a:cubicBezTo>
                    <a:pt x="8853" y="1720"/>
                    <a:pt x="8869" y="1721"/>
                    <a:pt x="8872" y="1721"/>
                  </a:cubicBezTo>
                  <a:cubicBezTo>
                    <a:pt x="8874" y="1721"/>
                    <a:pt x="8873" y="1711"/>
                    <a:pt x="8872" y="1708"/>
                  </a:cubicBezTo>
                  <a:cubicBezTo>
                    <a:pt x="8873" y="1708"/>
                    <a:pt x="8874" y="1709"/>
                    <a:pt x="8874" y="1709"/>
                  </a:cubicBezTo>
                  <a:cubicBezTo>
                    <a:pt x="8881" y="1699"/>
                    <a:pt x="8881" y="1699"/>
                    <a:pt x="8881" y="1699"/>
                  </a:cubicBezTo>
                  <a:cubicBezTo>
                    <a:pt x="8881" y="1699"/>
                    <a:pt x="8890" y="1701"/>
                    <a:pt x="8897" y="1694"/>
                  </a:cubicBezTo>
                  <a:cubicBezTo>
                    <a:pt x="8903" y="1687"/>
                    <a:pt x="8953" y="1666"/>
                    <a:pt x="8959" y="1669"/>
                  </a:cubicBezTo>
                  <a:cubicBezTo>
                    <a:pt x="8966" y="1671"/>
                    <a:pt x="8987" y="1687"/>
                    <a:pt x="8997" y="1687"/>
                  </a:cubicBezTo>
                  <a:cubicBezTo>
                    <a:pt x="9006" y="1687"/>
                    <a:pt x="9014" y="1669"/>
                    <a:pt x="9034" y="1694"/>
                  </a:cubicBezTo>
                  <a:cubicBezTo>
                    <a:pt x="9054" y="1719"/>
                    <a:pt x="9038" y="1727"/>
                    <a:pt x="9035" y="1735"/>
                  </a:cubicBezTo>
                  <a:cubicBezTo>
                    <a:pt x="9033" y="1743"/>
                    <a:pt x="9054" y="1759"/>
                    <a:pt x="9061" y="1762"/>
                  </a:cubicBezTo>
                  <a:cubicBezTo>
                    <a:pt x="9067" y="1765"/>
                    <a:pt x="9078" y="1750"/>
                    <a:pt x="9086" y="1746"/>
                  </a:cubicBezTo>
                  <a:cubicBezTo>
                    <a:pt x="9094" y="1742"/>
                    <a:pt x="9097" y="1755"/>
                    <a:pt x="9097" y="1763"/>
                  </a:cubicBezTo>
                  <a:cubicBezTo>
                    <a:pt x="9097" y="1771"/>
                    <a:pt x="9109" y="1781"/>
                    <a:pt x="9109" y="1781"/>
                  </a:cubicBezTo>
                  <a:cubicBezTo>
                    <a:pt x="9082" y="1782"/>
                    <a:pt x="9082" y="1782"/>
                    <a:pt x="9082" y="1782"/>
                  </a:cubicBezTo>
                  <a:cubicBezTo>
                    <a:pt x="9082" y="1782"/>
                    <a:pt x="9083" y="1802"/>
                    <a:pt x="9070" y="1793"/>
                  </a:cubicBezTo>
                  <a:cubicBezTo>
                    <a:pt x="9057" y="1783"/>
                    <a:pt x="9083" y="1770"/>
                    <a:pt x="9083" y="1770"/>
                  </a:cubicBezTo>
                  <a:cubicBezTo>
                    <a:pt x="9083" y="1770"/>
                    <a:pt x="9035" y="1767"/>
                    <a:pt x="9027" y="1765"/>
                  </a:cubicBezTo>
                  <a:cubicBezTo>
                    <a:pt x="9019" y="1762"/>
                    <a:pt x="8977" y="1754"/>
                    <a:pt x="8977" y="1754"/>
                  </a:cubicBezTo>
                  <a:cubicBezTo>
                    <a:pt x="8985" y="1777"/>
                    <a:pt x="8985" y="1777"/>
                    <a:pt x="8985" y="1777"/>
                  </a:cubicBezTo>
                  <a:cubicBezTo>
                    <a:pt x="8985" y="1777"/>
                    <a:pt x="8969" y="1770"/>
                    <a:pt x="8963" y="1783"/>
                  </a:cubicBezTo>
                  <a:cubicBezTo>
                    <a:pt x="8958" y="1797"/>
                    <a:pt x="8994" y="1798"/>
                    <a:pt x="8993" y="1806"/>
                  </a:cubicBezTo>
                  <a:cubicBezTo>
                    <a:pt x="8991" y="1814"/>
                    <a:pt x="8943" y="1789"/>
                    <a:pt x="8938" y="1801"/>
                  </a:cubicBezTo>
                  <a:cubicBezTo>
                    <a:pt x="8933" y="1813"/>
                    <a:pt x="8966" y="1821"/>
                    <a:pt x="8966" y="1821"/>
                  </a:cubicBezTo>
                  <a:cubicBezTo>
                    <a:pt x="8966" y="1821"/>
                    <a:pt x="8966" y="1829"/>
                    <a:pt x="8973" y="1837"/>
                  </a:cubicBezTo>
                  <a:cubicBezTo>
                    <a:pt x="8979" y="1845"/>
                    <a:pt x="8993" y="1861"/>
                    <a:pt x="8993" y="1861"/>
                  </a:cubicBezTo>
                  <a:cubicBezTo>
                    <a:pt x="8991" y="1875"/>
                    <a:pt x="8991" y="1875"/>
                    <a:pt x="8991" y="1875"/>
                  </a:cubicBezTo>
                  <a:cubicBezTo>
                    <a:pt x="9014" y="1878"/>
                    <a:pt x="9014" y="1878"/>
                    <a:pt x="9014" y="1878"/>
                  </a:cubicBezTo>
                  <a:cubicBezTo>
                    <a:pt x="9019" y="1893"/>
                    <a:pt x="9019" y="1893"/>
                    <a:pt x="9019" y="1893"/>
                  </a:cubicBezTo>
                  <a:cubicBezTo>
                    <a:pt x="9019" y="1893"/>
                    <a:pt x="9054" y="1893"/>
                    <a:pt x="9065" y="1903"/>
                  </a:cubicBezTo>
                  <a:cubicBezTo>
                    <a:pt x="9075" y="1914"/>
                    <a:pt x="9053" y="1925"/>
                    <a:pt x="9051" y="1935"/>
                  </a:cubicBezTo>
                  <a:cubicBezTo>
                    <a:pt x="9050" y="1946"/>
                    <a:pt x="9061" y="1947"/>
                    <a:pt x="9061" y="1947"/>
                  </a:cubicBezTo>
                  <a:cubicBezTo>
                    <a:pt x="9059" y="1953"/>
                    <a:pt x="9073" y="1967"/>
                    <a:pt x="9073" y="1967"/>
                  </a:cubicBezTo>
                  <a:cubicBezTo>
                    <a:pt x="9073" y="1967"/>
                    <a:pt x="9093" y="1991"/>
                    <a:pt x="9093" y="1995"/>
                  </a:cubicBezTo>
                  <a:cubicBezTo>
                    <a:pt x="9093" y="1999"/>
                    <a:pt x="9083" y="2010"/>
                    <a:pt x="9083" y="2015"/>
                  </a:cubicBezTo>
                  <a:cubicBezTo>
                    <a:pt x="9083" y="2021"/>
                    <a:pt x="9099" y="2046"/>
                    <a:pt x="9099" y="2046"/>
                  </a:cubicBezTo>
                  <a:cubicBezTo>
                    <a:pt x="9119" y="2043"/>
                    <a:pt x="9119" y="2043"/>
                    <a:pt x="9119" y="2043"/>
                  </a:cubicBezTo>
                  <a:cubicBezTo>
                    <a:pt x="9121" y="2061"/>
                    <a:pt x="9121" y="2061"/>
                    <a:pt x="9121" y="2061"/>
                  </a:cubicBezTo>
                  <a:cubicBezTo>
                    <a:pt x="9134" y="2067"/>
                    <a:pt x="9134" y="2067"/>
                    <a:pt x="9134" y="2067"/>
                  </a:cubicBezTo>
                  <a:cubicBezTo>
                    <a:pt x="9134" y="2067"/>
                    <a:pt x="9105" y="2066"/>
                    <a:pt x="9109" y="2075"/>
                  </a:cubicBezTo>
                  <a:cubicBezTo>
                    <a:pt x="9113" y="2085"/>
                    <a:pt x="9123" y="2079"/>
                    <a:pt x="9130" y="2082"/>
                  </a:cubicBezTo>
                  <a:cubicBezTo>
                    <a:pt x="9137" y="2085"/>
                    <a:pt x="9149" y="2098"/>
                    <a:pt x="9149" y="2098"/>
                  </a:cubicBezTo>
                  <a:cubicBezTo>
                    <a:pt x="9153" y="2133"/>
                    <a:pt x="9153" y="2133"/>
                    <a:pt x="9153" y="2133"/>
                  </a:cubicBezTo>
                  <a:cubicBezTo>
                    <a:pt x="9158" y="2135"/>
                    <a:pt x="9158" y="2135"/>
                    <a:pt x="9158" y="2135"/>
                  </a:cubicBezTo>
                  <a:cubicBezTo>
                    <a:pt x="9158" y="2135"/>
                    <a:pt x="9155" y="2149"/>
                    <a:pt x="9155" y="2157"/>
                  </a:cubicBezTo>
                  <a:cubicBezTo>
                    <a:pt x="9155" y="2165"/>
                    <a:pt x="9165" y="2186"/>
                    <a:pt x="9165" y="2186"/>
                  </a:cubicBezTo>
                  <a:cubicBezTo>
                    <a:pt x="9165" y="2186"/>
                    <a:pt x="9185" y="2212"/>
                    <a:pt x="9173" y="2214"/>
                  </a:cubicBezTo>
                  <a:close/>
                  <a:moveTo>
                    <a:pt x="9387" y="1710"/>
                  </a:moveTo>
                  <a:cubicBezTo>
                    <a:pt x="9384" y="1716"/>
                    <a:pt x="9370" y="1720"/>
                    <a:pt x="9370" y="1720"/>
                  </a:cubicBezTo>
                  <a:cubicBezTo>
                    <a:pt x="9370" y="1720"/>
                    <a:pt x="9362" y="1727"/>
                    <a:pt x="9358" y="1731"/>
                  </a:cubicBezTo>
                  <a:cubicBezTo>
                    <a:pt x="9354" y="1735"/>
                    <a:pt x="9338" y="1730"/>
                    <a:pt x="9335" y="1732"/>
                  </a:cubicBezTo>
                  <a:cubicBezTo>
                    <a:pt x="9332" y="1734"/>
                    <a:pt x="9332" y="1745"/>
                    <a:pt x="9332" y="1745"/>
                  </a:cubicBezTo>
                  <a:cubicBezTo>
                    <a:pt x="9332" y="1745"/>
                    <a:pt x="9347" y="1751"/>
                    <a:pt x="9351" y="1752"/>
                  </a:cubicBezTo>
                  <a:cubicBezTo>
                    <a:pt x="9355" y="1753"/>
                    <a:pt x="9358" y="1762"/>
                    <a:pt x="9352" y="1771"/>
                  </a:cubicBezTo>
                  <a:cubicBezTo>
                    <a:pt x="9349" y="1775"/>
                    <a:pt x="9352" y="1781"/>
                    <a:pt x="9355" y="1788"/>
                  </a:cubicBezTo>
                  <a:cubicBezTo>
                    <a:pt x="9359" y="1797"/>
                    <a:pt x="9364" y="1806"/>
                    <a:pt x="9361" y="1811"/>
                  </a:cubicBezTo>
                  <a:cubicBezTo>
                    <a:pt x="9356" y="1820"/>
                    <a:pt x="9352" y="1825"/>
                    <a:pt x="9352" y="1825"/>
                  </a:cubicBezTo>
                  <a:cubicBezTo>
                    <a:pt x="9352" y="1825"/>
                    <a:pt x="9340" y="1826"/>
                    <a:pt x="9332" y="1820"/>
                  </a:cubicBezTo>
                  <a:cubicBezTo>
                    <a:pt x="9324" y="1814"/>
                    <a:pt x="9327" y="1805"/>
                    <a:pt x="9327" y="1805"/>
                  </a:cubicBezTo>
                  <a:cubicBezTo>
                    <a:pt x="9320" y="1786"/>
                    <a:pt x="9320" y="1786"/>
                    <a:pt x="9320" y="1786"/>
                  </a:cubicBezTo>
                  <a:cubicBezTo>
                    <a:pt x="9323" y="1773"/>
                    <a:pt x="9323" y="1773"/>
                    <a:pt x="9323" y="1773"/>
                  </a:cubicBezTo>
                  <a:cubicBezTo>
                    <a:pt x="9325" y="1764"/>
                    <a:pt x="9325" y="1764"/>
                    <a:pt x="9325" y="1764"/>
                  </a:cubicBezTo>
                  <a:cubicBezTo>
                    <a:pt x="9325" y="1764"/>
                    <a:pt x="9317" y="1749"/>
                    <a:pt x="9310" y="1744"/>
                  </a:cubicBezTo>
                  <a:cubicBezTo>
                    <a:pt x="9303" y="1739"/>
                    <a:pt x="9302" y="1736"/>
                    <a:pt x="9302" y="1736"/>
                  </a:cubicBezTo>
                  <a:cubicBezTo>
                    <a:pt x="9293" y="1750"/>
                    <a:pt x="9293" y="1750"/>
                    <a:pt x="9293" y="1750"/>
                  </a:cubicBezTo>
                  <a:cubicBezTo>
                    <a:pt x="9290" y="1757"/>
                    <a:pt x="9290" y="1757"/>
                    <a:pt x="9290" y="1757"/>
                  </a:cubicBezTo>
                  <a:cubicBezTo>
                    <a:pt x="9284" y="1770"/>
                    <a:pt x="9284" y="1770"/>
                    <a:pt x="9284" y="1770"/>
                  </a:cubicBezTo>
                  <a:cubicBezTo>
                    <a:pt x="9284" y="1770"/>
                    <a:pt x="9297" y="1778"/>
                    <a:pt x="9297" y="1787"/>
                  </a:cubicBezTo>
                  <a:cubicBezTo>
                    <a:pt x="9297" y="1796"/>
                    <a:pt x="9294" y="1795"/>
                    <a:pt x="9294" y="1795"/>
                  </a:cubicBezTo>
                  <a:cubicBezTo>
                    <a:pt x="9294" y="1795"/>
                    <a:pt x="9295" y="1805"/>
                    <a:pt x="9284" y="1807"/>
                  </a:cubicBezTo>
                  <a:cubicBezTo>
                    <a:pt x="9273" y="1809"/>
                    <a:pt x="9276" y="1789"/>
                    <a:pt x="9270" y="1787"/>
                  </a:cubicBezTo>
                  <a:cubicBezTo>
                    <a:pt x="9264" y="1785"/>
                    <a:pt x="9277" y="1771"/>
                    <a:pt x="9277" y="1771"/>
                  </a:cubicBezTo>
                  <a:cubicBezTo>
                    <a:pt x="9281" y="1753"/>
                    <a:pt x="9281" y="1753"/>
                    <a:pt x="9281" y="1753"/>
                  </a:cubicBezTo>
                  <a:cubicBezTo>
                    <a:pt x="9281" y="1752"/>
                    <a:pt x="9281" y="1752"/>
                    <a:pt x="9281" y="1752"/>
                  </a:cubicBezTo>
                  <a:cubicBezTo>
                    <a:pt x="9281" y="1752"/>
                    <a:pt x="9285" y="1740"/>
                    <a:pt x="9286" y="1730"/>
                  </a:cubicBezTo>
                  <a:cubicBezTo>
                    <a:pt x="9287" y="1720"/>
                    <a:pt x="9306" y="1725"/>
                    <a:pt x="9306" y="1725"/>
                  </a:cubicBezTo>
                  <a:cubicBezTo>
                    <a:pt x="9311" y="1740"/>
                    <a:pt x="9311" y="1740"/>
                    <a:pt x="9311" y="1740"/>
                  </a:cubicBezTo>
                  <a:cubicBezTo>
                    <a:pt x="9311" y="1740"/>
                    <a:pt x="9325" y="1734"/>
                    <a:pt x="9327" y="1731"/>
                  </a:cubicBezTo>
                  <a:cubicBezTo>
                    <a:pt x="9329" y="1728"/>
                    <a:pt x="9313" y="1710"/>
                    <a:pt x="9313" y="1710"/>
                  </a:cubicBezTo>
                  <a:cubicBezTo>
                    <a:pt x="9323" y="1710"/>
                    <a:pt x="9323" y="1710"/>
                    <a:pt x="9323" y="1710"/>
                  </a:cubicBezTo>
                  <a:cubicBezTo>
                    <a:pt x="9332" y="1719"/>
                    <a:pt x="9332" y="1719"/>
                    <a:pt x="9332" y="1719"/>
                  </a:cubicBezTo>
                  <a:cubicBezTo>
                    <a:pt x="9349" y="1718"/>
                    <a:pt x="9349" y="1718"/>
                    <a:pt x="9349" y="1718"/>
                  </a:cubicBezTo>
                  <a:cubicBezTo>
                    <a:pt x="9349" y="1718"/>
                    <a:pt x="9363" y="1722"/>
                    <a:pt x="9366" y="1718"/>
                  </a:cubicBezTo>
                  <a:cubicBezTo>
                    <a:pt x="9369" y="1714"/>
                    <a:pt x="9364" y="1710"/>
                    <a:pt x="9360" y="1710"/>
                  </a:cubicBezTo>
                  <a:cubicBezTo>
                    <a:pt x="9356" y="1710"/>
                    <a:pt x="9348" y="1705"/>
                    <a:pt x="9348" y="1705"/>
                  </a:cubicBezTo>
                  <a:cubicBezTo>
                    <a:pt x="9348" y="1705"/>
                    <a:pt x="9332" y="1709"/>
                    <a:pt x="9329" y="1699"/>
                  </a:cubicBezTo>
                  <a:cubicBezTo>
                    <a:pt x="9326" y="1689"/>
                    <a:pt x="9349" y="1691"/>
                    <a:pt x="9349" y="1691"/>
                  </a:cubicBezTo>
                  <a:cubicBezTo>
                    <a:pt x="9358" y="1683"/>
                    <a:pt x="9358" y="1683"/>
                    <a:pt x="9358" y="1683"/>
                  </a:cubicBezTo>
                  <a:cubicBezTo>
                    <a:pt x="9358" y="1683"/>
                    <a:pt x="9370" y="1700"/>
                    <a:pt x="9373" y="1700"/>
                  </a:cubicBezTo>
                  <a:cubicBezTo>
                    <a:pt x="9376" y="1700"/>
                    <a:pt x="9381" y="1694"/>
                    <a:pt x="9381" y="1694"/>
                  </a:cubicBezTo>
                  <a:cubicBezTo>
                    <a:pt x="9381" y="1694"/>
                    <a:pt x="9390" y="1704"/>
                    <a:pt x="9387" y="1710"/>
                  </a:cubicBezTo>
                  <a:close/>
                  <a:moveTo>
                    <a:pt x="10130" y="1704"/>
                  </a:moveTo>
                  <a:cubicBezTo>
                    <a:pt x="10125" y="1709"/>
                    <a:pt x="10108" y="1705"/>
                    <a:pt x="10108" y="1705"/>
                  </a:cubicBezTo>
                  <a:cubicBezTo>
                    <a:pt x="10108" y="1705"/>
                    <a:pt x="10106" y="1711"/>
                    <a:pt x="10101" y="1712"/>
                  </a:cubicBezTo>
                  <a:cubicBezTo>
                    <a:pt x="10096" y="1713"/>
                    <a:pt x="10085" y="1703"/>
                    <a:pt x="10085" y="1703"/>
                  </a:cubicBezTo>
                  <a:cubicBezTo>
                    <a:pt x="10065" y="1706"/>
                    <a:pt x="10065" y="1706"/>
                    <a:pt x="10065" y="1706"/>
                  </a:cubicBezTo>
                  <a:cubicBezTo>
                    <a:pt x="10044" y="1702"/>
                    <a:pt x="10044" y="1702"/>
                    <a:pt x="10044" y="1702"/>
                  </a:cubicBezTo>
                  <a:cubicBezTo>
                    <a:pt x="10032" y="1703"/>
                    <a:pt x="10032" y="1703"/>
                    <a:pt x="10032" y="1703"/>
                  </a:cubicBezTo>
                  <a:cubicBezTo>
                    <a:pt x="10015" y="1698"/>
                    <a:pt x="10015" y="1698"/>
                    <a:pt x="10015" y="1698"/>
                  </a:cubicBezTo>
                  <a:cubicBezTo>
                    <a:pt x="10015" y="1698"/>
                    <a:pt x="10004" y="1699"/>
                    <a:pt x="9991" y="1699"/>
                  </a:cubicBezTo>
                  <a:cubicBezTo>
                    <a:pt x="9978" y="1699"/>
                    <a:pt x="9981" y="1693"/>
                    <a:pt x="9981" y="1693"/>
                  </a:cubicBezTo>
                  <a:cubicBezTo>
                    <a:pt x="9981" y="1693"/>
                    <a:pt x="9973" y="1701"/>
                    <a:pt x="9967" y="1703"/>
                  </a:cubicBezTo>
                  <a:cubicBezTo>
                    <a:pt x="9961" y="1705"/>
                    <a:pt x="9960" y="1715"/>
                    <a:pt x="9954" y="1723"/>
                  </a:cubicBezTo>
                  <a:cubicBezTo>
                    <a:pt x="9948" y="1731"/>
                    <a:pt x="9940" y="1728"/>
                    <a:pt x="9940" y="1728"/>
                  </a:cubicBezTo>
                  <a:cubicBezTo>
                    <a:pt x="9944" y="1746"/>
                    <a:pt x="9944" y="1746"/>
                    <a:pt x="9944" y="1746"/>
                  </a:cubicBezTo>
                  <a:cubicBezTo>
                    <a:pt x="9936" y="1753"/>
                    <a:pt x="9936" y="1753"/>
                    <a:pt x="9936" y="1753"/>
                  </a:cubicBezTo>
                  <a:cubicBezTo>
                    <a:pt x="9946" y="1764"/>
                    <a:pt x="9946" y="1764"/>
                    <a:pt x="9946" y="1764"/>
                  </a:cubicBezTo>
                  <a:cubicBezTo>
                    <a:pt x="9945" y="1781"/>
                    <a:pt x="9945" y="1781"/>
                    <a:pt x="9945" y="1781"/>
                  </a:cubicBezTo>
                  <a:cubicBezTo>
                    <a:pt x="9941" y="1780"/>
                    <a:pt x="9912" y="1746"/>
                    <a:pt x="9912" y="1746"/>
                  </a:cubicBezTo>
                  <a:cubicBezTo>
                    <a:pt x="9912" y="1746"/>
                    <a:pt x="9908" y="1731"/>
                    <a:pt x="9908" y="1720"/>
                  </a:cubicBezTo>
                  <a:cubicBezTo>
                    <a:pt x="9908" y="1709"/>
                    <a:pt x="9926" y="1706"/>
                    <a:pt x="9930" y="1705"/>
                  </a:cubicBezTo>
                  <a:cubicBezTo>
                    <a:pt x="9934" y="1704"/>
                    <a:pt x="9932" y="1693"/>
                    <a:pt x="9938" y="1687"/>
                  </a:cubicBezTo>
                  <a:cubicBezTo>
                    <a:pt x="9944" y="1681"/>
                    <a:pt x="9969" y="1687"/>
                    <a:pt x="9973" y="1687"/>
                  </a:cubicBezTo>
                  <a:cubicBezTo>
                    <a:pt x="9977" y="1687"/>
                    <a:pt x="9985" y="1681"/>
                    <a:pt x="9998" y="1682"/>
                  </a:cubicBezTo>
                  <a:cubicBezTo>
                    <a:pt x="10011" y="1683"/>
                    <a:pt x="10019" y="1690"/>
                    <a:pt x="10026" y="1691"/>
                  </a:cubicBezTo>
                  <a:cubicBezTo>
                    <a:pt x="10033" y="1692"/>
                    <a:pt x="10038" y="1695"/>
                    <a:pt x="10051" y="1697"/>
                  </a:cubicBezTo>
                  <a:cubicBezTo>
                    <a:pt x="10064" y="1699"/>
                    <a:pt x="10060" y="1688"/>
                    <a:pt x="10073" y="1688"/>
                  </a:cubicBezTo>
                  <a:cubicBezTo>
                    <a:pt x="10086" y="1688"/>
                    <a:pt x="10105" y="1693"/>
                    <a:pt x="10105" y="1693"/>
                  </a:cubicBezTo>
                  <a:cubicBezTo>
                    <a:pt x="10105" y="1693"/>
                    <a:pt x="10115" y="1684"/>
                    <a:pt x="10129" y="1682"/>
                  </a:cubicBezTo>
                  <a:cubicBezTo>
                    <a:pt x="10143" y="1680"/>
                    <a:pt x="10135" y="1699"/>
                    <a:pt x="10130" y="1704"/>
                  </a:cubicBezTo>
                  <a:close/>
                  <a:moveTo>
                    <a:pt x="11182" y="1348"/>
                  </a:moveTo>
                  <a:cubicBezTo>
                    <a:pt x="11182" y="1348"/>
                    <a:pt x="11179" y="1362"/>
                    <a:pt x="11178" y="1365"/>
                  </a:cubicBezTo>
                  <a:cubicBezTo>
                    <a:pt x="11177" y="1368"/>
                    <a:pt x="11164" y="1375"/>
                    <a:pt x="11164" y="1375"/>
                  </a:cubicBezTo>
                  <a:cubicBezTo>
                    <a:pt x="11164" y="1375"/>
                    <a:pt x="11152" y="1381"/>
                    <a:pt x="11148" y="1381"/>
                  </a:cubicBezTo>
                  <a:cubicBezTo>
                    <a:pt x="11143" y="1381"/>
                    <a:pt x="11144" y="1393"/>
                    <a:pt x="11144" y="1393"/>
                  </a:cubicBezTo>
                  <a:cubicBezTo>
                    <a:pt x="11144" y="1393"/>
                    <a:pt x="11142" y="1386"/>
                    <a:pt x="11122" y="1393"/>
                  </a:cubicBezTo>
                  <a:cubicBezTo>
                    <a:pt x="11101" y="1399"/>
                    <a:pt x="11130" y="1409"/>
                    <a:pt x="11130" y="1409"/>
                  </a:cubicBezTo>
                  <a:cubicBezTo>
                    <a:pt x="11130" y="1409"/>
                    <a:pt x="11120" y="1417"/>
                    <a:pt x="11118" y="1426"/>
                  </a:cubicBezTo>
                  <a:cubicBezTo>
                    <a:pt x="11117" y="1436"/>
                    <a:pt x="11102" y="1427"/>
                    <a:pt x="11102" y="1427"/>
                  </a:cubicBezTo>
                  <a:cubicBezTo>
                    <a:pt x="11102" y="1427"/>
                    <a:pt x="11099" y="1441"/>
                    <a:pt x="11079" y="1441"/>
                  </a:cubicBezTo>
                  <a:cubicBezTo>
                    <a:pt x="11058" y="1441"/>
                    <a:pt x="11059" y="1436"/>
                    <a:pt x="11059" y="1436"/>
                  </a:cubicBezTo>
                  <a:cubicBezTo>
                    <a:pt x="11036" y="1430"/>
                    <a:pt x="11036" y="1430"/>
                    <a:pt x="11036" y="1430"/>
                  </a:cubicBezTo>
                  <a:cubicBezTo>
                    <a:pt x="11047" y="1424"/>
                    <a:pt x="11047" y="1424"/>
                    <a:pt x="11047" y="1424"/>
                  </a:cubicBezTo>
                  <a:cubicBezTo>
                    <a:pt x="11069" y="1424"/>
                    <a:pt x="11069" y="1424"/>
                    <a:pt x="11069" y="1424"/>
                  </a:cubicBezTo>
                  <a:cubicBezTo>
                    <a:pt x="11070" y="1419"/>
                    <a:pt x="11070" y="1419"/>
                    <a:pt x="11070" y="1419"/>
                  </a:cubicBezTo>
                  <a:cubicBezTo>
                    <a:pt x="11070" y="1419"/>
                    <a:pt x="11086" y="1419"/>
                    <a:pt x="11093" y="1412"/>
                  </a:cubicBezTo>
                  <a:cubicBezTo>
                    <a:pt x="11099" y="1406"/>
                    <a:pt x="11100" y="1387"/>
                    <a:pt x="11100" y="1387"/>
                  </a:cubicBezTo>
                  <a:cubicBezTo>
                    <a:pt x="11100" y="1387"/>
                    <a:pt x="11104" y="1386"/>
                    <a:pt x="11113" y="1384"/>
                  </a:cubicBezTo>
                  <a:cubicBezTo>
                    <a:pt x="11122" y="1382"/>
                    <a:pt x="11122" y="1366"/>
                    <a:pt x="11122" y="1366"/>
                  </a:cubicBezTo>
                  <a:cubicBezTo>
                    <a:pt x="11122" y="1366"/>
                    <a:pt x="11115" y="1362"/>
                    <a:pt x="11116" y="1356"/>
                  </a:cubicBezTo>
                  <a:cubicBezTo>
                    <a:pt x="11117" y="1351"/>
                    <a:pt x="11136" y="1334"/>
                    <a:pt x="11136" y="1334"/>
                  </a:cubicBezTo>
                  <a:cubicBezTo>
                    <a:pt x="11136" y="1323"/>
                    <a:pt x="11136" y="1323"/>
                    <a:pt x="11136" y="1323"/>
                  </a:cubicBezTo>
                  <a:cubicBezTo>
                    <a:pt x="11150" y="1310"/>
                    <a:pt x="11150" y="1310"/>
                    <a:pt x="11150" y="1310"/>
                  </a:cubicBezTo>
                  <a:cubicBezTo>
                    <a:pt x="11142" y="1299"/>
                    <a:pt x="11142" y="1299"/>
                    <a:pt x="11142" y="1299"/>
                  </a:cubicBezTo>
                  <a:cubicBezTo>
                    <a:pt x="11141" y="1246"/>
                    <a:pt x="11141" y="1246"/>
                    <a:pt x="11141" y="1246"/>
                  </a:cubicBezTo>
                  <a:cubicBezTo>
                    <a:pt x="11141" y="1246"/>
                    <a:pt x="11126" y="1224"/>
                    <a:pt x="11144" y="1219"/>
                  </a:cubicBezTo>
                  <a:cubicBezTo>
                    <a:pt x="11163" y="1215"/>
                    <a:pt x="11159" y="1240"/>
                    <a:pt x="11159" y="1240"/>
                  </a:cubicBezTo>
                  <a:cubicBezTo>
                    <a:pt x="11159" y="1240"/>
                    <a:pt x="11168" y="1247"/>
                    <a:pt x="11172" y="1262"/>
                  </a:cubicBezTo>
                  <a:cubicBezTo>
                    <a:pt x="11177" y="1278"/>
                    <a:pt x="11179" y="1288"/>
                    <a:pt x="11179" y="1288"/>
                  </a:cubicBezTo>
                  <a:cubicBezTo>
                    <a:pt x="11193" y="1307"/>
                    <a:pt x="11193" y="1307"/>
                    <a:pt x="11193" y="1307"/>
                  </a:cubicBezTo>
                  <a:cubicBezTo>
                    <a:pt x="11187" y="1318"/>
                    <a:pt x="11187" y="1318"/>
                    <a:pt x="11187" y="1318"/>
                  </a:cubicBezTo>
                  <a:cubicBezTo>
                    <a:pt x="11187" y="1318"/>
                    <a:pt x="11174" y="1324"/>
                    <a:pt x="11176" y="1331"/>
                  </a:cubicBezTo>
                  <a:cubicBezTo>
                    <a:pt x="11177" y="1339"/>
                    <a:pt x="11193" y="1330"/>
                    <a:pt x="11193" y="1330"/>
                  </a:cubicBezTo>
                  <a:cubicBezTo>
                    <a:pt x="11195" y="1341"/>
                    <a:pt x="11195" y="1341"/>
                    <a:pt x="11195" y="1341"/>
                  </a:cubicBezTo>
                  <a:lnTo>
                    <a:pt x="11182" y="1348"/>
                  </a:lnTo>
                  <a:close/>
                  <a:moveTo>
                    <a:pt x="13036" y="1803"/>
                  </a:moveTo>
                  <a:cubicBezTo>
                    <a:pt x="13024" y="1842"/>
                    <a:pt x="13024" y="1842"/>
                    <a:pt x="13024" y="1842"/>
                  </a:cubicBezTo>
                  <a:cubicBezTo>
                    <a:pt x="13033" y="1839"/>
                    <a:pt x="13033" y="1839"/>
                    <a:pt x="13033" y="1839"/>
                  </a:cubicBezTo>
                  <a:cubicBezTo>
                    <a:pt x="13049" y="1812"/>
                    <a:pt x="13049" y="1812"/>
                    <a:pt x="13049" y="1812"/>
                  </a:cubicBezTo>
                  <a:lnTo>
                    <a:pt x="13036" y="1803"/>
                  </a:lnTo>
                  <a:close/>
                  <a:moveTo>
                    <a:pt x="12612" y="2401"/>
                  </a:moveTo>
                  <a:cubicBezTo>
                    <a:pt x="12631" y="2434"/>
                    <a:pt x="12631" y="2434"/>
                    <a:pt x="12631" y="2434"/>
                  </a:cubicBezTo>
                  <a:cubicBezTo>
                    <a:pt x="12643" y="2428"/>
                    <a:pt x="12643" y="2428"/>
                    <a:pt x="12643" y="2428"/>
                  </a:cubicBezTo>
                  <a:cubicBezTo>
                    <a:pt x="12643" y="2428"/>
                    <a:pt x="12636" y="2409"/>
                    <a:pt x="12644" y="2413"/>
                  </a:cubicBezTo>
                  <a:cubicBezTo>
                    <a:pt x="12652" y="2417"/>
                    <a:pt x="12664" y="2438"/>
                    <a:pt x="12664" y="2438"/>
                  </a:cubicBezTo>
                  <a:cubicBezTo>
                    <a:pt x="12663" y="2463"/>
                    <a:pt x="12663" y="2463"/>
                    <a:pt x="12663" y="2463"/>
                  </a:cubicBezTo>
                  <a:cubicBezTo>
                    <a:pt x="12651" y="2468"/>
                    <a:pt x="12651" y="2468"/>
                    <a:pt x="12651" y="2468"/>
                  </a:cubicBezTo>
                  <a:cubicBezTo>
                    <a:pt x="12651" y="2468"/>
                    <a:pt x="12662" y="2515"/>
                    <a:pt x="12672" y="2517"/>
                  </a:cubicBezTo>
                  <a:cubicBezTo>
                    <a:pt x="12682" y="2519"/>
                    <a:pt x="12680" y="2487"/>
                    <a:pt x="12680" y="2487"/>
                  </a:cubicBezTo>
                  <a:cubicBezTo>
                    <a:pt x="12701" y="2494"/>
                    <a:pt x="12701" y="2494"/>
                    <a:pt x="12701" y="2494"/>
                  </a:cubicBezTo>
                  <a:cubicBezTo>
                    <a:pt x="12701" y="2494"/>
                    <a:pt x="12698" y="2521"/>
                    <a:pt x="12702" y="2521"/>
                  </a:cubicBezTo>
                  <a:cubicBezTo>
                    <a:pt x="12706" y="2521"/>
                    <a:pt x="12720" y="2497"/>
                    <a:pt x="12720" y="2497"/>
                  </a:cubicBezTo>
                  <a:cubicBezTo>
                    <a:pt x="12720" y="2497"/>
                    <a:pt x="12710" y="2461"/>
                    <a:pt x="12710" y="2450"/>
                  </a:cubicBezTo>
                  <a:cubicBezTo>
                    <a:pt x="12710" y="2439"/>
                    <a:pt x="12725" y="2430"/>
                    <a:pt x="12725" y="2430"/>
                  </a:cubicBezTo>
                  <a:cubicBezTo>
                    <a:pt x="12724" y="2418"/>
                    <a:pt x="12701" y="2403"/>
                    <a:pt x="12701" y="2403"/>
                  </a:cubicBezTo>
                  <a:cubicBezTo>
                    <a:pt x="12701" y="2403"/>
                    <a:pt x="12700" y="2393"/>
                    <a:pt x="12693" y="2390"/>
                  </a:cubicBezTo>
                  <a:cubicBezTo>
                    <a:pt x="12686" y="2387"/>
                    <a:pt x="12681" y="2389"/>
                    <a:pt x="12681" y="2389"/>
                  </a:cubicBezTo>
                  <a:cubicBezTo>
                    <a:pt x="12681" y="2389"/>
                    <a:pt x="12660" y="2375"/>
                    <a:pt x="12653" y="2375"/>
                  </a:cubicBezTo>
                  <a:cubicBezTo>
                    <a:pt x="12646" y="2375"/>
                    <a:pt x="12637" y="2387"/>
                    <a:pt x="12637" y="2387"/>
                  </a:cubicBezTo>
                  <a:lnTo>
                    <a:pt x="12612" y="2401"/>
                  </a:lnTo>
                  <a:close/>
                  <a:moveTo>
                    <a:pt x="12893" y="2165"/>
                  </a:moveTo>
                  <a:cubicBezTo>
                    <a:pt x="12901" y="2164"/>
                    <a:pt x="12901" y="2164"/>
                    <a:pt x="12901" y="2164"/>
                  </a:cubicBezTo>
                  <a:cubicBezTo>
                    <a:pt x="12900" y="2148"/>
                    <a:pt x="12900" y="2148"/>
                    <a:pt x="12900" y="2148"/>
                  </a:cubicBezTo>
                  <a:cubicBezTo>
                    <a:pt x="12894" y="2146"/>
                    <a:pt x="12894" y="2146"/>
                    <a:pt x="12894" y="2146"/>
                  </a:cubicBezTo>
                  <a:cubicBezTo>
                    <a:pt x="12884" y="2133"/>
                    <a:pt x="12884" y="2133"/>
                    <a:pt x="12884" y="2133"/>
                  </a:cubicBezTo>
                  <a:cubicBezTo>
                    <a:pt x="12880" y="2141"/>
                    <a:pt x="12880" y="2141"/>
                    <a:pt x="12880" y="2141"/>
                  </a:cubicBezTo>
                  <a:cubicBezTo>
                    <a:pt x="12888" y="2150"/>
                    <a:pt x="12888" y="2150"/>
                    <a:pt x="12888" y="2150"/>
                  </a:cubicBezTo>
                  <a:lnTo>
                    <a:pt x="12893" y="2165"/>
                  </a:lnTo>
                  <a:close/>
                  <a:moveTo>
                    <a:pt x="12653" y="2749"/>
                  </a:moveTo>
                  <a:cubicBezTo>
                    <a:pt x="12643" y="2759"/>
                    <a:pt x="12634" y="2791"/>
                    <a:pt x="12634" y="2791"/>
                  </a:cubicBezTo>
                  <a:cubicBezTo>
                    <a:pt x="12647" y="2794"/>
                    <a:pt x="12647" y="2794"/>
                    <a:pt x="12647" y="2794"/>
                  </a:cubicBezTo>
                  <a:cubicBezTo>
                    <a:pt x="12647" y="2794"/>
                    <a:pt x="12659" y="2773"/>
                    <a:pt x="12655" y="2773"/>
                  </a:cubicBezTo>
                  <a:cubicBezTo>
                    <a:pt x="12651" y="2773"/>
                    <a:pt x="12667" y="2755"/>
                    <a:pt x="12667" y="2755"/>
                  </a:cubicBezTo>
                  <a:cubicBezTo>
                    <a:pt x="12667" y="2755"/>
                    <a:pt x="12662" y="2738"/>
                    <a:pt x="12653" y="2749"/>
                  </a:cubicBezTo>
                  <a:close/>
                  <a:moveTo>
                    <a:pt x="12661" y="2713"/>
                  </a:moveTo>
                  <a:cubicBezTo>
                    <a:pt x="12663" y="2725"/>
                    <a:pt x="12663" y="2725"/>
                    <a:pt x="12663" y="2725"/>
                  </a:cubicBezTo>
                  <a:cubicBezTo>
                    <a:pt x="12678" y="2725"/>
                    <a:pt x="12678" y="2725"/>
                    <a:pt x="12678" y="2725"/>
                  </a:cubicBezTo>
                  <a:lnTo>
                    <a:pt x="12661" y="2713"/>
                  </a:lnTo>
                  <a:close/>
                  <a:moveTo>
                    <a:pt x="13004" y="1819"/>
                  </a:moveTo>
                  <a:cubicBezTo>
                    <a:pt x="12997" y="1813"/>
                    <a:pt x="12992" y="1837"/>
                    <a:pt x="12992" y="1837"/>
                  </a:cubicBezTo>
                  <a:cubicBezTo>
                    <a:pt x="12992" y="1837"/>
                    <a:pt x="12924" y="1821"/>
                    <a:pt x="12909" y="1810"/>
                  </a:cubicBezTo>
                  <a:cubicBezTo>
                    <a:pt x="12893" y="1799"/>
                    <a:pt x="12819" y="1741"/>
                    <a:pt x="12809" y="1752"/>
                  </a:cubicBezTo>
                  <a:cubicBezTo>
                    <a:pt x="12799" y="1763"/>
                    <a:pt x="12841" y="1798"/>
                    <a:pt x="12841" y="1798"/>
                  </a:cubicBezTo>
                  <a:cubicBezTo>
                    <a:pt x="12843" y="1813"/>
                    <a:pt x="12843" y="1813"/>
                    <a:pt x="12843" y="1813"/>
                  </a:cubicBezTo>
                  <a:cubicBezTo>
                    <a:pt x="12843" y="1813"/>
                    <a:pt x="12860" y="1824"/>
                    <a:pt x="12860" y="1831"/>
                  </a:cubicBezTo>
                  <a:cubicBezTo>
                    <a:pt x="12860" y="1838"/>
                    <a:pt x="12853" y="1851"/>
                    <a:pt x="12853" y="1851"/>
                  </a:cubicBezTo>
                  <a:cubicBezTo>
                    <a:pt x="12853" y="1851"/>
                    <a:pt x="12871" y="1873"/>
                    <a:pt x="12866" y="1874"/>
                  </a:cubicBezTo>
                  <a:cubicBezTo>
                    <a:pt x="12860" y="1875"/>
                    <a:pt x="12828" y="1866"/>
                    <a:pt x="12823" y="1864"/>
                  </a:cubicBezTo>
                  <a:cubicBezTo>
                    <a:pt x="12817" y="1863"/>
                    <a:pt x="12838" y="1884"/>
                    <a:pt x="12838" y="1884"/>
                  </a:cubicBezTo>
                  <a:cubicBezTo>
                    <a:pt x="12821" y="1902"/>
                    <a:pt x="12821" y="1902"/>
                    <a:pt x="12821" y="1902"/>
                  </a:cubicBezTo>
                  <a:cubicBezTo>
                    <a:pt x="12821" y="1902"/>
                    <a:pt x="12827" y="1914"/>
                    <a:pt x="12830" y="1920"/>
                  </a:cubicBezTo>
                  <a:cubicBezTo>
                    <a:pt x="12832" y="1925"/>
                    <a:pt x="12859" y="1939"/>
                    <a:pt x="12859" y="1939"/>
                  </a:cubicBezTo>
                  <a:cubicBezTo>
                    <a:pt x="12859" y="1939"/>
                    <a:pt x="12850" y="1972"/>
                    <a:pt x="12873" y="1971"/>
                  </a:cubicBezTo>
                  <a:cubicBezTo>
                    <a:pt x="12883" y="1970"/>
                    <a:pt x="12867" y="1952"/>
                    <a:pt x="12879" y="1952"/>
                  </a:cubicBezTo>
                  <a:cubicBezTo>
                    <a:pt x="12892" y="1952"/>
                    <a:pt x="12902" y="1952"/>
                    <a:pt x="12902" y="1952"/>
                  </a:cubicBezTo>
                  <a:cubicBezTo>
                    <a:pt x="12906" y="1946"/>
                    <a:pt x="12906" y="1946"/>
                    <a:pt x="12906" y="1946"/>
                  </a:cubicBezTo>
                  <a:cubicBezTo>
                    <a:pt x="12881" y="1930"/>
                    <a:pt x="12881" y="1930"/>
                    <a:pt x="12881" y="1930"/>
                  </a:cubicBezTo>
                  <a:cubicBezTo>
                    <a:pt x="12868" y="1930"/>
                    <a:pt x="12868" y="1930"/>
                    <a:pt x="12868" y="1930"/>
                  </a:cubicBezTo>
                  <a:cubicBezTo>
                    <a:pt x="12868" y="1930"/>
                    <a:pt x="12834" y="1917"/>
                    <a:pt x="12850" y="1910"/>
                  </a:cubicBezTo>
                  <a:cubicBezTo>
                    <a:pt x="12867" y="1903"/>
                    <a:pt x="12878" y="1920"/>
                    <a:pt x="12878" y="1920"/>
                  </a:cubicBezTo>
                  <a:cubicBezTo>
                    <a:pt x="12878" y="1920"/>
                    <a:pt x="12892" y="1909"/>
                    <a:pt x="12902" y="1907"/>
                  </a:cubicBezTo>
                  <a:cubicBezTo>
                    <a:pt x="12911" y="1906"/>
                    <a:pt x="12982" y="1943"/>
                    <a:pt x="12988" y="1939"/>
                  </a:cubicBezTo>
                  <a:cubicBezTo>
                    <a:pt x="12993" y="1935"/>
                    <a:pt x="12974" y="1896"/>
                    <a:pt x="12992" y="1889"/>
                  </a:cubicBezTo>
                  <a:cubicBezTo>
                    <a:pt x="13010" y="1882"/>
                    <a:pt x="13008" y="1898"/>
                    <a:pt x="13026" y="1888"/>
                  </a:cubicBezTo>
                  <a:cubicBezTo>
                    <a:pt x="13044" y="1878"/>
                    <a:pt x="13047" y="1871"/>
                    <a:pt x="13047" y="1871"/>
                  </a:cubicBezTo>
                  <a:cubicBezTo>
                    <a:pt x="13011" y="1848"/>
                    <a:pt x="13011" y="1848"/>
                    <a:pt x="13011" y="1848"/>
                  </a:cubicBezTo>
                  <a:cubicBezTo>
                    <a:pt x="13011" y="1848"/>
                    <a:pt x="13011" y="1824"/>
                    <a:pt x="13004" y="1819"/>
                  </a:cubicBezTo>
                  <a:close/>
                  <a:moveTo>
                    <a:pt x="8625" y="4453"/>
                  </a:moveTo>
                  <a:cubicBezTo>
                    <a:pt x="8617" y="4461"/>
                    <a:pt x="8617" y="4488"/>
                    <a:pt x="8630" y="4486"/>
                  </a:cubicBezTo>
                  <a:cubicBezTo>
                    <a:pt x="8646" y="4484"/>
                    <a:pt x="8632" y="4445"/>
                    <a:pt x="8625" y="4453"/>
                  </a:cubicBezTo>
                  <a:close/>
                  <a:moveTo>
                    <a:pt x="8607" y="4500"/>
                  </a:moveTo>
                  <a:cubicBezTo>
                    <a:pt x="8591" y="4500"/>
                    <a:pt x="8601" y="4527"/>
                    <a:pt x="8601" y="4527"/>
                  </a:cubicBezTo>
                  <a:cubicBezTo>
                    <a:pt x="8601" y="4527"/>
                    <a:pt x="8617" y="4545"/>
                    <a:pt x="8627" y="4543"/>
                  </a:cubicBezTo>
                  <a:cubicBezTo>
                    <a:pt x="8636" y="4541"/>
                    <a:pt x="8619" y="4521"/>
                    <a:pt x="8619" y="4521"/>
                  </a:cubicBezTo>
                  <a:cubicBezTo>
                    <a:pt x="8619" y="4521"/>
                    <a:pt x="8623" y="4500"/>
                    <a:pt x="8607" y="4500"/>
                  </a:cubicBezTo>
                  <a:close/>
                  <a:moveTo>
                    <a:pt x="9132" y="4961"/>
                  </a:moveTo>
                  <a:cubicBezTo>
                    <a:pt x="9132" y="4961"/>
                    <a:pt x="9109" y="4913"/>
                    <a:pt x="9109" y="4907"/>
                  </a:cubicBezTo>
                  <a:cubicBezTo>
                    <a:pt x="9109" y="4902"/>
                    <a:pt x="9109" y="4892"/>
                    <a:pt x="9109" y="4892"/>
                  </a:cubicBezTo>
                  <a:cubicBezTo>
                    <a:pt x="9073" y="4851"/>
                    <a:pt x="9073" y="4851"/>
                    <a:pt x="9073" y="4851"/>
                  </a:cubicBezTo>
                  <a:cubicBezTo>
                    <a:pt x="9052" y="4877"/>
                    <a:pt x="9052" y="4877"/>
                    <a:pt x="9052" y="4877"/>
                  </a:cubicBezTo>
                  <a:cubicBezTo>
                    <a:pt x="9052" y="4877"/>
                    <a:pt x="9054" y="4900"/>
                    <a:pt x="9049" y="4913"/>
                  </a:cubicBezTo>
                  <a:cubicBezTo>
                    <a:pt x="9043" y="4925"/>
                    <a:pt x="9025" y="4939"/>
                    <a:pt x="9025" y="4939"/>
                  </a:cubicBezTo>
                  <a:cubicBezTo>
                    <a:pt x="9025" y="4939"/>
                    <a:pt x="9015" y="4932"/>
                    <a:pt x="9008" y="4939"/>
                  </a:cubicBezTo>
                  <a:cubicBezTo>
                    <a:pt x="9001" y="4946"/>
                    <a:pt x="9015" y="4966"/>
                    <a:pt x="9006" y="4977"/>
                  </a:cubicBezTo>
                  <a:cubicBezTo>
                    <a:pt x="8997" y="4987"/>
                    <a:pt x="8992" y="4989"/>
                    <a:pt x="8992" y="4989"/>
                  </a:cubicBezTo>
                  <a:cubicBezTo>
                    <a:pt x="8992" y="4989"/>
                    <a:pt x="8988" y="4969"/>
                    <a:pt x="8981" y="4975"/>
                  </a:cubicBezTo>
                  <a:cubicBezTo>
                    <a:pt x="8974" y="4980"/>
                    <a:pt x="8976" y="5010"/>
                    <a:pt x="8976" y="5010"/>
                  </a:cubicBezTo>
                  <a:cubicBezTo>
                    <a:pt x="8967" y="5037"/>
                    <a:pt x="8967" y="5037"/>
                    <a:pt x="8967" y="5037"/>
                  </a:cubicBezTo>
                  <a:cubicBezTo>
                    <a:pt x="8962" y="5023"/>
                    <a:pt x="8962" y="5023"/>
                    <a:pt x="8962" y="5023"/>
                  </a:cubicBezTo>
                  <a:cubicBezTo>
                    <a:pt x="8960" y="5001"/>
                    <a:pt x="8960" y="5001"/>
                    <a:pt x="8960" y="5001"/>
                  </a:cubicBezTo>
                  <a:cubicBezTo>
                    <a:pt x="8951" y="5023"/>
                    <a:pt x="8951" y="5023"/>
                    <a:pt x="8951" y="5023"/>
                  </a:cubicBezTo>
                  <a:cubicBezTo>
                    <a:pt x="8953" y="5044"/>
                    <a:pt x="8953" y="5044"/>
                    <a:pt x="8953" y="5044"/>
                  </a:cubicBezTo>
                  <a:cubicBezTo>
                    <a:pt x="8923" y="5039"/>
                    <a:pt x="8923" y="5039"/>
                    <a:pt x="8923" y="5039"/>
                  </a:cubicBezTo>
                  <a:cubicBezTo>
                    <a:pt x="8910" y="5058"/>
                    <a:pt x="8910" y="5058"/>
                    <a:pt x="8910" y="5058"/>
                  </a:cubicBezTo>
                  <a:cubicBezTo>
                    <a:pt x="8871" y="5053"/>
                    <a:pt x="8871" y="5053"/>
                    <a:pt x="8871" y="5053"/>
                  </a:cubicBezTo>
                  <a:cubicBezTo>
                    <a:pt x="8871" y="5069"/>
                    <a:pt x="8871" y="5069"/>
                    <a:pt x="8871" y="5069"/>
                  </a:cubicBezTo>
                  <a:cubicBezTo>
                    <a:pt x="8841" y="5065"/>
                    <a:pt x="8841" y="5065"/>
                    <a:pt x="8841" y="5065"/>
                  </a:cubicBezTo>
                  <a:cubicBezTo>
                    <a:pt x="8825" y="5070"/>
                    <a:pt x="8825" y="5070"/>
                    <a:pt x="8825" y="5070"/>
                  </a:cubicBezTo>
                  <a:cubicBezTo>
                    <a:pt x="8831" y="5090"/>
                    <a:pt x="8831" y="5090"/>
                    <a:pt x="8831" y="5090"/>
                  </a:cubicBezTo>
                  <a:cubicBezTo>
                    <a:pt x="8831" y="5090"/>
                    <a:pt x="8818" y="5110"/>
                    <a:pt x="8804" y="5122"/>
                  </a:cubicBezTo>
                  <a:cubicBezTo>
                    <a:pt x="8790" y="5134"/>
                    <a:pt x="8806" y="5178"/>
                    <a:pt x="8808" y="5200"/>
                  </a:cubicBezTo>
                  <a:cubicBezTo>
                    <a:pt x="8809" y="5221"/>
                    <a:pt x="8816" y="5287"/>
                    <a:pt x="8816" y="5287"/>
                  </a:cubicBezTo>
                  <a:cubicBezTo>
                    <a:pt x="8816" y="5287"/>
                    <a:pt x="8792" y="5304"/>
                    <a:pt x="8776" y="5324"/>
                  </a:cubicBezTo>
                  <a:cubicBezTo>
                    <a:pt x="8760" y="5343"/>
                    <a:pt x="8737" y="5341"/>
                    <a:pt x="8742" y="5407"/>
                  </a:cubicBezTo>
                  <a:cubicBezTo>
                    <a:pt x="8747" y="5473"/>
                    <a:pt x="8778" y="5510"/>
                    <a:pt x="8778" y="5510"/>
                  </a:cubicBezTo>
                  <a:cubicBezTo>
                    <a:pt x="8765" y="5526"/>
                    <a:pt x="8765" y="5526"/>
                    <a:pt x="8765" y="5526"/>
                  </a:cubicBezTo>
                  <a:cubicBezTo>
                    <a:pt x="8765" y="5526"/>
                    <a:pt x="8767" y="5540"/>
                    <a:pt x="8797" y="5568"/>
                  </a:cubicBezTo>
                  <a:cubicBezTo>
                    <a:pt x="8827" y="5597"/>
                    <a:pt x="8870" y="5561"/>
                    <a:pt x="8870" y="5561"/>
                  </a:cubicBezTo>
                  <a:cubicBezTo>
                    <a:pt x="8870" y="5561"/>
                    <a:pt x="8878" y="5566"/>
                    <a:pt x="8886" y="5563"/>
                  </a:cubicBezTo>
                  <a:cubicBezTo>
                    <a:pt x="8893" y="5559"/>
                    <a:pt x="8902" y="5550"/>
                    <a:pt x="8926" y="5527"/>
                  </a:cubicBezTo>
                  <a:cubicBezTo>
                    <a:pt x="8951" y="5504"/>
                    <a:pt x="8948" y="5460"/>
                    <a:pt x="8948" y="5460"/>
                  </a:cubicBezTo>
                  <a:cubicBezTo>
                    <a:pt x="8948" y="5460"/>
                    <a:pt x="8965" y="5398"/>
                    <a:pt x="9004" y="5329"/>
                  </a:cubicBezTo>
                  <a:cubicBezTo>
                    <a:pt x="9043" y="5260"/>
                    <a:pt x="9068" y="5187"/>
                    <a:pt x="9075" y="5163"/>
                  </a:cubicBezTo>
                  <a:cubicBezTo>
                    <a:pt x="9082" y="5138"/>
                    <a:pt x="9068" y="5124"/>
                    <a:pt x="9070" y="5110"/>
                  </a:cubicBezTo>
                  <a:cubicBezTo>
                    <a:pt x="9072" y="5096"/>
                    <a:pt x="9095" y="5072"/>
                    <a:pt x="9095" y="5072"/>
                  </a:cubicBezTo>
                  <a:cubicBezTo>
                    <a:pt x="9091" y="5044"/>
                    <a:pt x="9091" y="5044"/>
                    <a:pt x="9091" y="5044"/>
                  </a:cubicBezTo>
                  <a:cubicBezTo>
                    <a:pt x="9112" y="5039"/>
                    <a:pt x="9112" y="5039"/>
                    <a:pt x="9112" y="5039"/>
                  </a:cubicBezTo>
                  <a:cubicBezTo>
                    <a:pt x="9112" y="5039"/>
                    <a:pt x="9132" y="5049"/>
                    <a:pt x="9139" y="5044"/>
                  </a:cubicBezTo>
                  <a:cubicBezTo>
                    <a:pt x="9146" y="5039"/>
                    <a:pt x="9119" y="4994"/>
                    <a:pt x="9119" y="4994"/>
                  </a:cubicBezTo>
                  <a:lnTo>
                    <a:pt x="9132" y="496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3175">
              <a:solidFill>
                <a:srgbClr val="5F5F5F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perspectiveRelaxedModerately"/>
              <a:lightRig rig="balanced" dir="t"/>
            </a:scene3d>
            <a:sp3d/>
          </p:spPr>
          <p:txBody>
            <a:bodyPr/>
            <a:lstStyle/>
            <a:p>
              <a:endParaRPr lang="en-US" noProof="1"/>
            </a:p>
          </p:txBody>
        </p:sp>
        <p:grpSp>
          <p:nvGrpSpPr>
            <p:cNvPr id="4" name="Gruppieren 23"/>
            <p:cNvGrpSpPr/>
            <p:nvPr/>
          </p:nvGrpSpPr>
          <p:grpSpPr>
            <a:xfrm>
              <a:off x="324643" y="4357147"/>
              <a:ext cx="2710149" cy="1444371"/>
              <a:chOff x="5563518" y="1696597"/>
              <a:chExt cx="2710149" cy="1444371"/>
            </a:xfrm>
          </p:grpSpPr>
          <p:sp>
            <p:nvSpPr>
              <p:cNvPr id="20" name="Rechteck 19"/>
              <p:cNvSpPr/>
              <p:nvPr/>
            </p:nvSpPr>
            <p:spPr bwMode="gray">
              <a:xfrm>
                <a:off x="5563518" y="1696597"/>
                <a:ext cx="2710149" cy="3600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National Strategies </a:t>
                </a: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5563518" y="2090281"/>
                <a:ext cx="2710149" cy="1050687"/>
              </a:xfrm>
              <a:prstGeom prst="rect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Local marke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Regional marke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Cross regional marke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National market</a:t>
                </a:r>
              </a:p>
            </p:txBody>
          </p:sp>
        </p:grpSp>
        <p:grpSp>
          <p:nvGrpSpPr>
            <p:cNvPr id="5" name="Gruppieren 40"/>
            <p:cNvGrpSpPr/>
            <p:nvPr/>
          </p:nvGrpSpPr>
          <p:grpSpPr bwMode="gray">
            <a:xfrm>
              <a:off x="5067288" y="1550488"/>
              <a:ext cx="3752862" cy="1444371"/>
              <a:chOff x="323850" y="4367347"/>
              <a:chExt cx="3752862" cy="1444371"/>
            </a:xfrm>
          </p:grpSpPr>
          <p:sp>
            <p:nvSpPr>
              <p:cNvPr id="27" name="Rechteck 26"/>
              <p:cNvSpPr/>
              <p:nvPr/>
            </p:nvSpPr>
            <p:spPr bwMode="gray">
              <a:xfrm>
                <a:off x="323850" y="4367347"/>
                <a:ext cx="3752862" cy="360000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International Strategies </a:t>
                </a:r>
              </a:p>
            </p:txBody>
          </p:sp>
          <p:sp>
            <p:nvSpPr>
              <p:cNvPr id="28" name="Rechteck 27"/>
              <p:cNvSpPr/>
              <p:nvPr/>
            </p:nvSpPr>
            <p:spPr bwMode="gray">
              <a:xfrm>
                <a:off x="323850" y="4761031"/>
                <a:ext cx="3752862" cy="1050687"/>
              </a:xfrm>
              <a:prstGeom prst="rect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00" noProof="1" smtClean="0">
                    <a:solidFill>
                      <a:srgbClr val="000000"/>
                    </a:solidFill>
                    <a:cs typeface="Arial" charset="0"/>
                  </a:rPr>
                  <a:t>Multinational marke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00" noProof="1" smtClean="0">
                    <a:solidFill>
                      <a:srgbClr val="000000"/>
                    </a:solidFill>
                    <a:cs typeface="Arial" charset="0"/>
                  </a:rPr>
                  <a:t>International market</a:t>
                </a:r>
              </a:p>
              <a:p>
                <a:pPr marL="190500" indent="-19050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/>
                </a:pPr>
                <a:r>
                  <a:rPr lang="en-US" sz="1000" noProof="1" smtClean="0">
                    <a:solidFill>
                      <a:srgbClr val="000000"/>
                    </a:solidFill>
                    <a:cs typeface="Arial" charset="0"/>
                  </a:rPr>
                  <a:t>World market</a:t>
                </a:r>
              </a:p>
            </p:txBody>
          </p:sp>
          <p:pic>
            <p:nvPicPr>
              <p:cNvPr id="30" name="Picture 4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gray">
              <a:xfrm>
                <a:off x="404535" y="4375809"/>
                <a:ext cx="361609" cy="360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uppieren 37"/>
            <p:cNvGrpSpPr/>
            <p:nvPr/>
          </p:nvGrpSpPr>
          <p:grpSpPr bwMode="gray">
            <a:xfrm>
              <a:off x="574876" y="2292514"/>
              <a:ext cx="1876076" cy="1876056"/>
              <a:chOff x="3127972" y="2125447"/>
              <a:chExt cx="1876076" cy="1876056"/>
            </a:xfrm>
          </p:grpSpPr>
          <p:sp>
            <p:nvSpPr>
              <p:cNvPr id="8" name="Ellipse 7"/>
              <p:cNvSpPr/>
              <p:nvPr/>
            </p:nvSpPr>
            <p:spPr bwMode="gray">
              <a:xfrm>
                <a:off x="4000696" y="2998161"/>
                <a:ext cx="130629" cy="130629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0" name="Ellipse 9"/>
              <p:cNvSpPr/>
              <p:nvPr/>
            </p:nvSpPr>
            <p:spPr bwMode="gray">
              <a:xfrm>
                <a:off x="3944568" y="2942033"/>
                <a:ext cx="242885" cy="242885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1" name="Ellipse 10"/>
              <p:cNvSpPr/>
              <p:nvPr/>
            </p:nvSpPr>
            <p:spPr bwMode="gray">
              <a:xfrm>
                <a:off x="3856864" y="2854331"/>
                <a:ext cx="418292" cy="418288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2" name="Ellipse 11"/>
              <p:cNvSpPr/>
              <p:nvPr/>
            </p:nvSpPr>
            <p:spPr bwMode="gray">
              <a:xfrm>
                <a:off x="3755231" y="2752699"/>
                <a:ext cx="621558" cy="621552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3" name="Ellipse 12"/>
              <p:cNvSpPr/>
              <p:nvPr/>
            </p:nvSpPr>
            <p:spPr bwMode="gray">
              <a:xfrm>
                <a:off x="3611215" y="2608685"/>
                <a:ext cx="909590" cy="909580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4" name="Ellipse 13"/>
              <p:cNvSpPr/>
              <p:nvPr/>
            </p:nvSpPr>
            <p:spPr bwMode="gray">
              <a:xfrm>
                <a:off x="3411052" y="2408524"/>
                <a:ext cx="1309916" cy="1309902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6" name="Ellipse 15"/>
              <p:cNvSpPr/>
              <p:nvPr/>
            </p:nvSpPr>
            <p:spPr bwMode="gray">
              <a:xfrm>
                <a:off x="3127972" y="2125447"/>
                <a:ext cx="1876076" cy="1876056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cxnSp>
          <p:nvCxnSpPr>
            <p:cNvPr id="23" name="Gerade Verbindung 22"/>
            <p:cNvCxnSpPr/>
            <p:nvPr/>
          </p:nvCxnSpPr>
          <p:spPr bwMode="gray">
            <a:xfrm>
              <a:off x="1522417" y="3230542"/>
              <a:ext cx="0" cy="1126605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67169" y="4435095"/>
              <a:ext cx="273551" cy="184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el 4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STP-Strategie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rategies of market davelopment</a:t>
            </a:r>
            <a:endParaRPr lang="en-US" noProof="1"/>
          </a:p>
        </p:txBody>
      </p:sp>
      <p:grpSp>
        <p:nvGrpSpPr>
          <p:cNvPr id="43" name="Gruppieren 42"/>
          <p:cNvGrpSpPr/>
          <p:nvPr/>
        </p:nvGrpSpPr>
        <p:grpSpPr>
          <a:xfrm>
            <a:off x="367811" y="1578744"/>
            <a:ext cx="8547751" cy="4342801"/>
            <a:chOff x="367811" y="1578744"/>
            <a:chExt cx="8547751" cy="4342801"/>
          </a:xfrm>
        </p:grpSpPr>
        <p:sp>
          <p:nvSpPr>
            <p:cNvPr id="51" name="Textfeld 50"/>
            <p:cNvSpPr txBox="1"/>
            <p:nvPr/>
          </p:nvSpPr>
          <p:spPr bwMode="gray">
            <a:xfrm>
              <a:off x="3558289" y="3289349"/>
              <a:ext cx="14817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perspectiveRelaxedModerately"/>
                <a:lightRig rig="threePt" dir="t"/>
              </a:scene3d>
            </a:bodyPr>
            <a:lstStyle/>
            <a:p>
              <a:r>
                <a:rPr lang="en-US" noProof="1" smtClean="0">
                  <a:solidFill>
                    <a:srgbClr val="FFFFFF"/>
                  </a:solidFill>
                </a:rPr>
                <a:t>STP-Strategyn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grpSp>
          <p:nvGrpSpPr>
            <p:cNvPr id="4" name="Gruppieren 40"/>
            <p:cNvGrpSpPr/>
            <p:nvPr/>
          </p:nvGrpSpPr>
          <p:grpSpPr>
            <a:xfrm>
              <a:off x="367811" y="1578744"/>
              <a:ext cx="8547751" cy="4342801"/>
              <a:chOff x="367811" y="1578744"/>
              <a:chExt cx="8547751" cy="4342801"/>
            </a:xfrm>
          </p:grpSpPr>
          <p:sp>
            <p:nvSpPr>
              <p:cNvPr id="24" name="Textfeld 23"/>
              <p:cNvSpPr txBox="1"/>
              <p:nvPr/>
            </p:nvSpPr>
            <p:spPr bwMode="gray">
              <a:xfrm>
                <a:off x="514286" y="3887036"/>
                <a:ext cx="1693412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2400" b="1" noProof="1" smtClean="0"/>
                  <a:t>Segmenting</a:t>
                </a:r>
                <a:endParaRPr lang="en-US" sz="2400" b="1" noProof="1"/>
              </a:p>
            </p:txBody>
          </p:sp>
          <p:sp>
            <p:nvSpPr>
              <p:cNvPr id="25" name="Textfeld 24"/>
              <p:cNvSpPr txBox="1"/>
              <p:nvPr/>
            </p:nvSpPr>
            <p:spPr bwMode="gray">
              <a:xfrm>
                <a:off x="3419872" y="3887036"/>
                <a:ext cx="136101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400" b="1" noProof="1" smtClean="0"/>
                  <a:t>Targeting</a:t>
                </a:r>
                <a:endParaRPr lang="en-US" sz="2400" b="1" noProof="1"/>
              </a:p>
            </p:txBody>
          </p:sp>
          <p:sp>
            <p:nvSpPr>
              <p:cNvPr id="26" name="Textfeld 25"/>
              <p:cNvSpPr txBox="1"/>
              <p:nvPr/>
            </p:nvSpPr>
            <p:spPr bwMode="gray">
              <a:xfrm>
                <a:off x="6077025" y="3887036"/>
                <a:ext cx="1606402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400" b="1" noProof="1" smtClean="0"/>
                  <a:t>Positioning</a:t>
                </a:r>
                <a:endParaRPr lang="en-US" sz="2400" b="1" noProof="1"/>
              </a:p>
            </p:txBody>
          </p:sp>
          <p:sp>
            <p:nvSpPr>
              <p:cNvPr id="27" name="Textfeld 26"/>
              <p:cNvSpPr txBox="1"/>
              <p:nvPr/>
            </p:nvSpPr>
            <p:spPr bwMode="gray">
              <a:xfrm>
                <a:off x="537918" y="4536550"/>
                <a:ext cx="2859006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noProof="1" smtClean="0"/>
                  <a:t>Market segmetation, </a:t>
                </a:r>
                <a:br>
                  <a:rPr lang="en-US" sz="1400" noProof="1" smtClean="0"/>
                </a:br>
                <a:r>
                  <a:rPr lang="en-US" sz="1400" noProof="1" smtClean="0"/>
                  <a:t>segmentation </a:t>
                </a:r>
                <a:r>
                  <a:rPr lang="en-US" sz="1400" noProof="1"/>
                  <a:t>criteria to </a:t>
                </a:r>
              </a:p>
              <a:p>
                <a:r>
                  <a:rPr lang="en-US" sz="1400" noProof="1"/>
                  <a:t>divide the markets</a:t>
                </a:r>
              </a:p>
              <a:p>
                <a:r>
                  <a:rPr lang="en-US" sz="1400" noProof="1"/>
                  <a:t>into clearly defined </a:t>
                </a:r>
                <a:r>
                  <a:rPr lang="en-US" sz="1400" noProof="1" smtClean="0"/>
                  <a:t/>
                </a:r>
                <a:br>
                  <a:rPr lang="en-US" sz="1400" noProof="1" smtClean="0"/>
                </a:br>
                <a:r>
                  <a:rPr lang="en-US" sz="1400" noProof="1" smtClean="0"/>
                  <a:t>customer </a:t>
                </a:r>
                <a:r>
                  <a:rPr lang="en-US" sz="1400" noProof="1"/>
                  <a:t>groups</a:t>
                </a:r>
              </a:p>
            </p:txBody>
          </p:sp>
          <p:sp>
            <p:nvSpPr>
              <p:cNvPr id="28" name="Textfeld 27"/>
              <p:cNvSpPr txBox="1"/>
              <p:nvPr/>
            </p:nvSpPr>
            <p:spPr bwMode="gray">
              <a:xfrm>
                <a:off x="3419872" y="4536550"/>
                <a:ext cx="2311146" cy="13849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noProof="1"/>
                  <a:t>Segment evaluation, </a:t>
                </a:r>
                <a:r>
                  <a:rPr lang="en-US" sz="1400" noProof="1" smtClean="0"/>
                  <a:t/>
                </a:r>
                <a:br>
                  <a:rPr lang="en-US" sz="1400" noProof="1" smtClean="0"/>
                </a:br>
                <a:r>
                  <a:rPr lang="en-US" sz="1400" noProof="1" smtClean="0"/>
                  <a:t>target </a:t>
                </a:r>
                <a:r>
                  <a:rPr lang="en-US" sz="1400" noProof="1"/>
                  <a:t>market determination </a:t>
                </a:r>
                <a:r>
                  <a:rPr lang="en-US" sz="1400" noProof="1" smtClean="0"/>
                  <a:t/>
                </a:r>
                <a:br>
                  <a:rPr lang="en-US" sz="1400" noProof="1" smtClean="0"/>
                </a:br>
                <a:r>
                  <a:rPr lang="en-US" sz="1400" noProof="1" smtClean="0"/>
                  <a:t>and  </a:t>
                </a:r>
                <a:r>
                  <a:rPr lang="en-US" sz="1400" noProof="1"/>
                  <a:t>target group </a:t>
                </a:r>
                <a:br>
                  <a:rPr lang="en-US" sz="1400" noProof="1"/>
                </a:br>
                <a:r>
                  <a:rPr lang="en-US" sz="1400" noProof="1" smtClean="0"/>
                  <a:t>determination. Selection </a:t>
                </a:r>
                <a:r>
                  <a:rPr lang="en-US" sz="1400" noProof="1"/>
                  <a:t>of </a:t>
                </a:r>
                <a:r>
                  <a:rPr lang="en-US" sz="1400" noProof="1" smtClean="0"/>
                  <a:t/>
                </a:r>
                <a:br>
                  <a:rPr lang="en-US" sz="1400" noProof="1" smtClean="0"/>
                </a:br>
                <a:r>
                  <a:rPr lang="en-US" sz="1400" noProof="1" smtClean="0"/>
                  <a:t>the </a:t>
                </a:r>
                <a:r>
                  <a:rPr lang="en-US" sz="1400" noProof="1"/>
                  <a:t>most attractive market </a:t>
                </a:r>
                <a:r>
                  <a:rPr lang="en-US" sz="1400" noProof="1" smtClean="0"/>
                  <a:t/>
                </a:r>
                <a:br>
                  <a:rPr lang="en-US" sz="1400" noProof="1" smtClean="0"/>
                </a:br>
                <a:r>
                  <a:rPr lang="en-US" sz="1400" noProof="1" smtClean="0"/>
                  <a:t>segments</a:t>
                </a:r>
                <a:endParaRPr lang="en-US" sz="1400" noProof="1"/>
              </a:p>
            </p:txBody>
          </p:sp>
          <p:sp>
            <p:nvSpPr>
              <p:cNvPr id="47" name="Textfeld 46"/>
              <p:cNvSpPr txBox="1"/>
              <p:nvPr/>
            </p:nvSpPr>
            <p:spPr bwMode="gray">
              <a:xfrm>
                <a:off x="6179580" y="4536550"/>
                <a:ext cx="2735982" cy="11695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noProof="1"/>
                  <a:t>Positioning versus </a:t>
                </a:r>
                <a:r>
                  <a:rPr lang="en-US" sz="1400" noProof="1" smtClean="0"/>
                  <a:t>Differentiation.</a:t>
                </a:r>
                <a:endParaRPr lang="en-US" sz="1400" noProof="1"/>
              </a:p>
              <a:p>
                <a:r>
                  <a:rPr lang="en-US" sz="1400" noProof="1" smtClean="0"/>
                  <a:t>Establishment </a:t>
                </a:r>
                <a:r>
                  <a:rPr lang="en-US" sz="1400" noProof="1"/>
                  <a:t>of a </a:t>
                </a:r>
                <a:r>
                  <a:rPr lang="en-US" sz="1400" noProof="1" smtClean="0"/>
                  <a:t>competition </a:t>
                </a:r>
                <a:r>
                  <a:rPr lang="en-US" sz="1400" noProof="1"/>
                  <a:t>position in </a:t>
                </a:r>
                <a:r>
                  <a:rPr lang="en-US" sz="1400" noProof="1" smtClean="0"/>
                  <a:t>each target </a:t>
                </a:r>
                <a:r>
                  <a:rPr lang="en-US" sz="1400" noProof="1"/>
                  <a:t>segment. Selection </a:t>
                </a:r>
                <a:r>
                  <a:rPr lang="en-US" sz="1400" noProof="1" smtClean="0"/>
                  <a:t>and </a:t>
                </a:r>
                <a:r>
                  <a:rPr lang="en-US" sz="1400" noProof="1"/>
                  <a:t>communication of </a:t>
                </a:r>
              </a:p>
              <a:p>
                <a:r>
                  <a:rPr lang="en-US" sz="1400" noProof="1"/>
                  <a:t>a concept</a:t>
                </a:r>
              </a:p>
            </p:txBody>
          </p:sp>
          <p:sp>
            <p:nvSpPr>
              <p:cNvPr id="50" name="Pfeil nach rechts 49"/>
              <p:cNvSpPr/>
              <p:nvPr/>
            </p:nvSpPr>
            <p:spPr bwMode="gray">
              <a:xfrm>
                <a:off x="367811" y="3040736"/>
                <a:ext cx="7995650" cy="896997"/>
              </a:xfrm>
              <a:prstGeom prst="rightArrow">
                <a:avLst>
                  <a:gd name="adj1" fmla="val 50000"/>
                  <a:gd name="adj2" fmla="val 103009"/>
                </a:avLst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</a:gra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perspectiveRelaxedModerately">
                  <a:rot lat="19800000" lon="0" rev="0"/>
                </a:camera>
                <a:lightRig rig="balanced" dir="t"/>
              </a:scene3d>
            </p:spPr>
            <p:txBody>
              <a:bodyPr rtlCol="0" anchor="ctr"/>
              <a:lstStyle/>
              <a:p>
                <a:pPr algn="ctr"/>
                <a:endParaRPr lang="en-US" noProof="1" smtClean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" name="Gruppieren 39"/>
              <p:cNvGrpSpPr/>
              <p:nvPr/>
            </p:nvGrpSpPr>
            <p:grpSpPr>
              <a:xfrm>
                <a:off x="693646" y="1578744"/>
                <a:ext cx="6777030" cy="1461992"/>
                <a:chOff x="693646" y="1578744"/>
                <a:chExt cx="6777030" cy="1461992"/>
              </a:xfrm>
            </p:grpSpPr>
            <p:grpSp>
              <p:nvGrpSpPr>
                <p:cNvPr id="6" name="Gruppieren 66"/>
                <p:cNvGrpSpPr/>
                <p:nvPr/>
              </p:nvGrpSpPr>
              <p:grpSpPr bwMode="gray">
                <a:xfrm>
                  <a:off x="693646" y="1578744"/>
                  <a:ext cx="1428819" cy="1461992"/>
                  <a:chOff x="1017201" y="2335160"/>
                  <a:chExt cx="1428819" cy="1461992"/>
                </a:xfrm>
              </p:grpSpPr>
              <p:grpSp>
                <p:nvGrpSpPr>
                  <p:cNvPr id="7" name="Gruppieren 48"/>
                  <p:cNvGrpSpPr/>
                  <p:nvPr/>
                </p:nvGrpSpPr>
                <p:grpSpPr bwMode="gray">
                  <a:xfrm>
                    <a:off x="1017201" y="2335160"/>
                    <a:ext cx="1428819" cy="1461992"/>
                    <a:chOff x="-765175" y="2842577"/>
                    <a:chExt cx="957263" cy="979488"/>
                  </a:xfrm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70" name="AutoShape 62" descr="© INSCALE GmbH, 26.05.2010&#10;http://www.presentationload.com/"/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-765175" y="2842577"/>
                      <a:ext cx="957263" cy="979488"/>
                    </a:xfrm>
                    <a:prstGeom prst="rect">
                      <a:avLst/>
                    </a:prstGeom>
                    <a:noFill/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1" name="Freeform 63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54062" y="2850515"/>
                      <a:ext cx="927100" cy="96043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234"/>
                        </a:cxn>
                        <a:cxn ang="0">
                          <a:pos x="225" y="256"/>
                        </a:cxn>
                        <a:cxn ang="0">
                          <a:pos x="23" y="256"/>
                        </a:cxn>
                        <a:cxn ang="0">
                          <a:pos x="0" y="234"/>
                        </a:cxn>
                        <a:cxn ang="0">
                          <a:pos x="0" y="22"/>
                        </a:cxn>
                        <a:cxn ang="0">
                          <a:pos x="23" y="0"/>
                        </a:cxn>
                        <a:cxn ang="0">
                          <a:pos x="225" y="0"/>
                        </a:cxn>
                        <a:cxn ang="0">
                          <a:pos x="247" y="22"/>
                        </a:cxn>
                        <a:cxn ang="0">
                          <a:pos x="247" y="234"/>
                        </a:cxn>
                      </a:cxnLst>
                      <a:rect l="0" t="0" r="r" b="b"/>
                      <a:pathLst>
                        <a:path w="247" h="256">
                          <a:moveTo>
                            <a:pt x="247" y="234"/>
                          </a:moveTo>
                          <a:cubicBezTo>
                            <a:pt x="247" y="246"/>
                            <a:pt x="237" y="256"/>
                            <a:pt x="225" y="256"/>
                          </a:cubicBezTo>
                          <a:cubicBezTo>
                            <a:pt x="23" y="256"/>
                            <a:pt x="23" y="256"/>
                            <a:pt x="23" y="256"/>
                          </a:cubicBezTo>
                          <a:cubicBezTo>
                            <a:pt x="10" y="256"/>
                            <a:pt x="0" y="246"/>
                            <a:pt x="0" y="234"/>
                          </a:cubicBezTo>
                          <a:cubicBezTo>
                            <a:pt x="0" y="22"/>
                            <a:pt x="0" y="22"/>
                            <a:pt x="0" y="22"/>
                          </a:cubicBezTo>
                          <a:cubicBezTo>
                            <a:pt x="0" y="10"/>
                            <a:pt x="10" y="0"/>
                            <a:pt x="23" y="0"/>
                          </a:cubicBezTo>
                          <a:cubicBezTo>
                            <a:pt x="225" y="0"/>
                            <a:pt x="225" y="0"/>
                            <a:pt x="225" y="0"/>
                          </a:cubicBezTo>
                          <a:cubicBezTo>
                            <a:pt x="237" y="0"/>
                            <a:pt x="247" y="10"/>
                            <a:pt x="247" y="22"/>
                          </a:cubicBezTo>
                          <a:lnTo>
                            <a:pt x="247" y="234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C8C8C8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2" name="Freeform 66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46125" y="2858452"/>
                      <a:ext cx="919163" cy="952500"/>
                    </a:xfrm>
                    <a:custGeom>
                      <a:avLst/>
                      <a:gdLst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9102 w 10000"/>
                        <a:gd name="connsiteY6" fmla="*/ 7402 h 10000"/>
                        <a:gd name="connsiteX7" fmla="*/ 8204 w 10000"/>
                        <a:gd name="connsiteY7" fmla="*/ 8110 h 10000"/>
                        <a:gd name="connsiteX8" fmla="*/ 1837 w 10000"/>
                        <a:gd name="connsiteY8" fmla="*/ 8071 h 10000"/>
                        <a:gd name="connsiteX9" fmla="*/ 0 w 10000"/>
                        <a:gd name="connsiteY9" fmla="*/ 9449 h 10000"/>
                        <a:gd name="connsiteX10" fmla="*/ 857 w 10000"/>
                        <a:gd name="connsiteY10" fmla="*/ 10000 h 10000"/>
                        <a:gd name="connsiteX11" fmla="*/ 9102 w 10000"/>
                        <a:gd name="connsiteY11" fmla="*/ 10000 h 10000"/>
                        <a:gd name="connsiteX12" fmla="*/ 10000 w 10000"/>
                        <a:gd name="connsiteY12" fmla="*/ 9134 h 10000"/>
                        <a:gd name="connsiteX13" fmla="*/ 10000 w 10000"/>
                        <a:gd name="connsiteY13" fmla="*/ 787 h 10000"/>
                        <a:gd name="connsiteX14" fmla="*/ 9673 w 10000"/>
                        <a:gd name="connsiteY14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8204 w 10000"/>
                        <a:gd name="connsiteY6" fmla="*/ 8110 h 10000"/>
                        <a:gd name="connsiteX7" fmla="*/ 1837 w 10000"/>
                        <a:gd name="connsiteY7" fmla="*/ 8071 h 10000"/>
                        <a:gd name="connsiteX8" fmla="*/ 0 w 10000"/>
                        <a:gd name="connsiteY8" fmla="*/ 9449 h 10000"/>
                        <a:gd name="connsiteX9" fmla="*/ 857 w 10000"/>
                        <a:gd name="connsiteY9" fmla="*/ 10000 h 10000"/>
                        <a:gd name="connsiteX10" fmla="*/ 9102 w 10000"/>
                        <a:gd name="connsiteY10" fmla="*/ 10000 h 10000"/>
                        <a:gd name="connsiteX11" fmla="*/ 10000 w 10000"/>
                        <a:gd name="connsiteY11" fmla="*/ 9134 h 10000"/>
                        <a:gd name="connsiteX12" fmla="*/ 10000 w 10000"/>
                        <a:gd name="connsiteY12" fmla="*/ 787 h 10000"/>
                        <a:gd name="connsiteX13" fmla="*/ 9673 w 10000"/>
                        <a:gd name="connsiteY13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8204 w 10000"/>
                        <a:gd name="connsiteY5" fmla="*/ 8110 h 10000"/>
                        <a:gd name="connsiteX6" fmla="*/ 1837 w 10000"/>
                        <a:gd name="connsiteY6" fmla="*/ 8071 h 10000"/>
                        <a:gd name="connsiteX7" fmla="*/ 0 w 10000"/>
                        <a:gd name="connsiteY7" fmla="*/ 9449 h 10000"/>
                        <a:gd name="connsiteX8" fmla="*/ 857 w 10000"/>
                        <a:gd name="connsiteY8" fmla="*/ 10000 h 10000"/>
                        <a:gd name="connsiteX9" fmla="*/ 9102 w 10000"/>
                        <a:gd name="connsiteY9" fmla="*/ 10000 h 10000"/>
                        <a:gd name="connsiteX10" fmla="*/ 10000 w 10000"/>
                        <a:gd name="connsiteY10" fmla="*/ 9134 h 10000"/>
                        <a:gd name="connsiteX11" fmla="*/ 10000 w 10000"/>
                        <a:gd name="connsiteY11" fmla="*/ 787 h 10000"/>
                        <a:gd name="connsiteX12" fmla="*/ 9673 w 10000"/>
                        <a:gd name="connsiteY12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1837 w 10000"/>
                        <a:gd name="connsiteY5" fmla="*/ 8071 h 10000"/>
                        <a:gd name="connsiteX6" fmla="*/ 0 w 10000"/>
                        <a:gd name="connsiteY6" fmla="*/ 9449 h 10000"/>
                        <a:gd name="connsiteX7" fmla="*/ 857 w 10000"/>
                        <a:gd name="connsiteY7" fmla="*/ 10000 h 10000"/>
                        <a:gd name="connsiteX8" fmla="*/ 9102 w 10000"/>
                        <a:gd name="connsiteY8" fmla="*/ 10000 h 10000"/>
                        <a:gd name="connsiteX9" fmla="*/ 10000 w 10000"/>
                        <a:gd name="connsiteY9" fmla="*/ 9134 h 10000"/>
                        <a:gd name="connsiteX10" fmla="*/ 10000 w 10000"/>
                        <a:gd name="connsiteY10" fmla="*/ 787 h 10000"/>
                        <a:gd name="connsiteX11" fmla="*/ 9673 w 10000"/>
                        <a:gd name="connsiteY11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1837 w 10000"/>
                        <a:gd name="connsiteY4" fmla="*/ 8071 h 10000"/>
                        <a:gd name="connsiteX5" fmla="*/ 0 w 10000"/>
                        <a:gd name="connsiteY5" fmla="*/ 9449 h 10000"/>
                        <a:gd name="connsiteX6" fmla="*/ 857 w 10000"/>
                        <a:gd name="connsiteY6" fmla="*/ 10000 h 10000"/>
                        <a:gd name="connsiteX7" fmla="*/ 9102 w 10000"/>
                        <a:gd name="connsiteY7" fmla="*/ 10000 h 10000"/>
                        <a:gd name="connsiteX8" fmla="*/ 10000 w 10000"/>
                        <a:gd name="connsiteY8" fmla="*/ 9134 h 10000"/>
                        <a:gd name="connsiteX9" fmla="*/ 10000 w 10000"/>
                        <a:gd name="connsiteY9" fmla="*/ 787 h 10000"/>
                        <a:gd name="connsiteX10" fmla="*/ 9673 w 10000"/>
                        <a:gd name="connsiteY10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658 w 10000"/>
                        <a:gd name="connsiteY2" fmla="*/ 82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9673" y="118"/>
                          </a:moveTo>
                          <a:lnTo>
                            <a:pt x="9673" y="118"/>
                          </a:lnTo>
                          <a:cubicBezTo>
                            <a:pt x="8980" y="0"/>
                            <a:pt x="8658" y="505"/>
                            <a:pt x="8658" y="820"/>
                          </a:cubicBezTo>
                          <a:cubicBezTo>
                            <a:pt x="7352" y="2145"/>
                            <a:pt x="3313" y="6601"/>
                            <a:pt x="1837" y="8071"/>
                          </a:cubicBezTo>
                          <a:cubicBezTo>
                            <a:pt x="857" y="8071"/>
                            <a:pt x="204" y="8307"/>
                            <a:pt x="0" y="9449"/>
                          </a:cubicBezTo>
                          <a:cubicBezTo>
                            <a:pt x="122" y="9764"/>
                            <a:pt x="449" y="10000"/>
                            <a:pt x="857" y="10000"/>
                          </a:cubicBezTo>
                          <a:lnTo>
                            <a:pt x="9102" y="10000"/>
                          </a:lnTo>
                          <a:cubicBezTo>
                            <a:pt x="9592" y="10000"/>
                            <a:pt x="10000" y="9606"/>
                            <a:pt x="10000" y="9134"/>
                          </a:cubicBezTo>
                          <a:lnTo>
                            <a:pt x="10000" y="787"/>
                          </a:lnTo>
                          <a:cubicBezTo>
                            <a:pt x="10000" y="512"/>
                            <a:pt x="9878" y="276"/>
                            <a:pt x="9673" y="11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>
                            <a:shade val="30000"/>
                            <a:satMod val="115000"/>
                            <a:alpha val="50000"/>
                          </a:srgbClr>
                        </a:gs>
                        <a:gs pos="100000">
                          <a:srgbClr val="AFAFAF">
                            <a:shade val="100000"/>
                            <a:satMod val="115000"/>
                            <a:alpha val="50000"/>
                          </a:srgbClr>
                        </a:gs>
                      </a:gsLst>
                      <a:lin ang="13500000" scaled="1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3" name="Freeform 67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60400" y="2899727"/>
                      <a:ext cx="742950" cy="730250"/>
                    </a:xfrm>
                    <a:custGeom>
                      <a:avLst/>
                      <a:gdLst/>
                      <a:ahLst/>
                      <a:cxnLst>
                        <a:cxn ang="0">
                          <a:pos x="198" y="172"/>
                        </a:cxn>
                        <a:cxn ang="0">
                          <a:pos x="175" y="195"/>
                        </a:cxn>
                        <a:cxn ang="0">
                          <a:pos x="23" y="195"/>
                        </a:cxn>
                        <a:cxn ang="0">
                          <a:pos x="0" y="172"/>
                        </a:cxn>
                        <a:cxn ang="0">
                          <a:pos x="0" y="23"/>
                        </a:cxn>
                        <a:cxn ang="0">
                          <a:pos x="23" y="0"/>
                        </a:cxn>
                        <a:cxn ang="0">
                          <a:pos x="175" y="0"/>
                        </a:cxn>
                        <a:cxn ang="0">
                          <a:pos x="198" y="23"/>
                        </a:cxn>
                        <a:cxn ang="0">
                          <a:pos x="198" y="172"/>
                        </a:cxn>
                      </a:cxnLst>
                      <a:rect l="0" t="0" r="r" b="b"/>
                      <a:pathLst>
                        <a:path w="198" h="195">
                          <a:moveTo>
                            <a:pt x="198" y="172"/>
                          </a:moveTo>
                          <a:cubicBezTo>
                            <a:pt x="198" y="184"/>
                            <a:pt x="188" y="195"/>
                            <a:pt x="175" y="195"/>
                          </a:cubicBezTo>
                          <a:cubicBezTo>
                            <a:pt x="23" y="195"/>
                            <a:pt x="23" y="195"/>
                            <a:pt x="23" y="195"/>
                          </a:cubicBezTo>
                          <a:cubicBezTo>
                            <a:pt x="10" y="195"/>
                            <a:pt x="0" y="184"/>
                            <a:pt x="0" y="172"/>
                          </a:cubicBezTo>
                          <a:cubicBezTo>
                            <a:pt x="0" y="23"/>
                            <a:pt x="0" y="23"/>
                            <a:pt x="0" y="23"/>
                          </a:cubicBezTo>
                          <a:cubicBezTo>
                            <a:pt x="0" y="11"/>
                            <a:pt x="10" y="0"/>
                            <a:pt x="23" y="0"/>
                          </a:cubicBezTo>
                          <a:cubicBezTo>
                            <a:pt x="175" y="0"/>
                            <a:pt x="175" y="0"/>
                            <a:pt x="175" y="0"/>
                          </a:cubicBezTo>
                          <a:cubicBezTo>
                            <a:pt x="188" y="0"/>
                            <a:pt x="198" y="11"/>
                            <a:pt x="198" y="23"/>
                          </a:cubicBezTo>
                          <a:lnTo>
                            <a:pt x="198" y="17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FFF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4" name="Freeform 64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55637" y="2906077"/>
                      <a:ext cx="495300" cy="718344"/>
                    </a:xfrm>
                    <a:custGeom>
                      <a:avLst/>
                      <a:gdLst>
                        <a:gd name="connsiteX0" fmla="*/ 10000 w 10000"/>
                        <a:gd name="connsiteY0" fmla="*/ 3608 h 10277"/>
                        <a:gd name="connsiteX1" fmla="*/ 8561 w 10000"/>
                        <a:gd name="connsiteY1" fmla="*/ 0 h 10277"/>
                        <a:gd name="connsiteX2" fmla="*/ 1742 w 10000"/>
                        <a:gd name="connsiteY2" fmla="*/ 0 h 10277"/>
                        <a:gd name="connsiteX3" fmla="*/ 0 w 10000"/>
                        <a:gd name="connsiteY3" fmla="*/ 1186 h 10277"/>
                        <a:gd name="connsiteX4" fmla="*/ 0 w 10000"/>
                        <a:gd name="connsiteY4" fmla="*/ 8866 h 10277"/>
                        <a:gd name="connsiteX5" fmla="*/ 1439 w 10000"/>
                        <a:gd name="connsiteY5" fmla="*/ 10000 h 10277"/>
                        <a:gd name="connsiteX6" fmla="*/ 10000 w 10000"/>
                        <a:gd name="connsiteY6" fmla="*/ 3608 h 10277"/>
                        <a:gd name="connsiteX0" fmla="*/ 10000 w 10000"/>
                        <a:gd name="connsiteY0" fmla="*/ 3608 h 10000"/>
                        <a:gd name="connsiteX1" fmla="*/ 8561 w 10000"/>
                        <a:gd name="connsiteY1" fmla="*/ 0 h 10000"/>
                        <a:gd name="connsiteX2" fmla="*/ 1742 w 10000"/>
                        <a:gd name="connsiteY2" fmla="*/ 0 h 10000"/>
                        <a:gd name="connsiteX3" fmla="*/ 0 w 10000"/>
                        <a:gd name="connsiteY3" fmla="*/ 1186 h 10000"/>
                        <a:gd name="connsiteX4" fmla="*/ 0 w 10000"/>
                        <a:gd name="connsiteY4" fmla="*/ 8866 h 10000"/>
                        <a:gd name="connsiteX5" fmla="*/ 1439 w 10000"/>
                        <a:gd name="connsiteY5" fmla="*/ 10000 h 10000"/>
                        <a:gd name="connsiteX6" fmla="*/ 10000 w 10000"/>
                        <a:gd name="connsiteY6" fmla="*/ 360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10000" y="3608"/>
                          </a:moveTo>
                          <a:cubicBezTo>
                            <a:pt x="10000" y="2268"/>
                            <a:pt x="9470" y="1031"/>
                            <a:pt x="8561" y="0"/>
                          </a:cubicBezTo>
                          <a:lnTo>
                            <a:pt x="1742" y="0"/>
                          </a:lnTo>
                          <a:cubicBezTo>
                            <a:pt x="758" y="0"/>
                            <a:pt x="0" y="567"/>
                            <a:pt x="0" y="1186"/>
                          </a:cubicBezTo>
                          <a:lnTo>
                            <a:pt x="0" y="8866"/>
                          </a:lnTo>
                          <a:cubicBezTo>
                            <a:pt x="0" y="9433"/>
                            <a:pt x="606" y="9897"/>
                            <a:pt x="1439" y="10000"/>
                          </a:cubicBezTo>
                          <a:cubicBezTo>
                            <a:pt x="8925" y="9998"/>
                            <a:pt x="10000" y="7113"/>
                            <a:pt x="10000" y="3608"/>
                          </a:cubicBezTo>
                          <a:close/>
                        </a:path>
                      </a:pathLst>
                    </a:custGeom>
                    <a:solidFill>
                      <a:srgbClr val="D7D7D7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75" name="Freeform 65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497680" y="2906077"/>
                      <a:ext cx="577849" cy="718344"/>
                    </a:xfrm>
                    <a:custGeom>
                      <a:avLst/>
                      <a:gdLst/>
                      <a:ahLst/>
                      <a:cxnLst>
                        <a:cxn ang="0">
                          <a:pos x="131" y="0"/>
                        </a:cxn>
                        <a:cxn ang="0">
                          <a:pos x="44" y="0"/>
                        </a:cxn>
                        <a:cxn ang="0">
                          <a:pos x="83" y="64"/>
                        </a:cxn>
                        <a:cxn ang="0">
                          <a:pos x="0" y="194"/>
                        </a:cxn>
                        <a:cxn ang="0">
                          <a:pos x="131" y="194"/>
                        </a:cxn>
                        <a:cxn ang="0">
                          <a:pos x="155" y="171"/>
                        </a:cxn>
                        <a:cxn ang="0">
                          <a:pos x="155" y="22"/>
                        </a:cxn>
                        <a:cxn ang="0">
                          <a:pos x="131" y="0"/>
                        </a:cxn>
                      </a:cxnLst>
                      <a:rect l="0" t="0" r="r" b="b"/>
                      <a:pathLst>
                        <a:path w="155" h="194">
                          <a:moveTo>
                            <a:pt x="131" y="0"/>
                          </a:moveTo>
                          <a:cubicBezTo>
                            <a:pt x="44" y="0"/>
                            <a:pt x="44" y="0"/>
                            <a:pt x="44" y="0"/>
                          </a:cubicBezTo>
                          <a:cubicBezTo>
                            <a:pt x="44" y="0"/>
                            <a:pt x="80" y="19"/>
                            <a:pt x="83" y="64"/>
                          </a:cubicBezTo>
                          <a:cubicBezTo>
                            <a:pt x="87" y="108"/>
                            <a:pt x="57" y="178"/>
                            <a:pt x="0" y="194"/>
                          </a:cubicBezTo>
                          <a:cubicBezTo>
                            <a:pt x="131" y="194"/>
                            <a:pt x="131" y="194"/>
                            <a:pt x="131" y="194"/>
                          </a:cubicBezTo>
                          <a:cubicBezTo>
                            <a:pt x="144" y="194"/>
                            <a:pt x="155" y="183"/>
                            <a:pt x="155" y="171"/>
                          </a:cubicBezTo>
                          <a:cubicBezTo>
                            <a:pt x="155" y="22"/>
                            <a:pt x="155" y="22"/>
                            <a:pt x="155" y="22"/>
                          </a:cubicBezTo>
                          <a:cubicBezTo>
                            <a:pt x="155" y="10"/>
                            <a:pt x="144" y="0"/>
                            <a:pt x="131" y="0"/>
                          </a:cubicBezTo>
                          <a:close/>
                        </a:path>
                      </a:pathLst>
                    </a:custGeom>
                    <a:solidFill>
                      <a:srgbClr val="E6E6E6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69" name="Textfeld 68"/>
                  <p:cNvSpPr txBox="1"/>
                  <p:nvPr/>
                </p:nvSpPr>
                <p:spPr bwMode="gray">
                  <a:xfrm>
                    <a:off x="1497004" y="2373706"/>
                    <a:ext cx="485710" cy="123110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 anchorCtr="0">
                    <a:spAutoFit/>
                  </a:bodyPr>
                  <a:lstStyle/>
                  <a:p>
                    <a:pPr algn="ctr"/>
                    <a:r>
                      <a:rPr lang="en-US" sz="8000" b="1" noProof="1" smtClean="0">
                        <a:solidFill>
                          <a:srgbClr val="000000"/>
                        </a:solidFill>
                      </a:rPr>
                      <a:t>S</a:t>
                    </a:r>
                    <a:endParaRPr lang="en-US" sz="8000" b="1" noProof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" name="Gruppieren 75"/>
                <p:cNvGrpSpPr/>
                <p:nvPr/>
              </p:nvGrpSpPr>
              <p:grpSpPr bwMode="gray">
                <a:xfrm>
                  <a:off x="3523121" y="1578744"/>
                  <a:ext cx="1428819" cy="1461992"/>
                  <a:chOff x="1017201" y="2335160"/>
                  <a:chExt cx="1428819" cy="1461992"/>
                </a:xfrm>
              </p:grpSpPr>
              <p:grpSp>
                <p:nvGrpSpPr>
                  <p:cNvPr id="9" name="Gruppieren 48"/>
                  <p:cNvGrpSpPr/>
                  <p:nvPr/>
                </p:nvGrpSpPr>
                <p:grpSpPr bwMode="gray">
                  <a:xfrm>
                    <a:off x="1017201" y="2335160"/>
                    <a:ext cx="1428819" cy="1461992"/>
                    <a:chOff x="-765175" y="2842577"/>
                    <a:chExt cx="957263" cy="979488"/>
                  </a:xfrm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79" name="AutoShape 62" descr="© INSCALE GmbH, 26.05.2010&#10;http://www.presentationload.com/"/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-765175" y="2842577"/>
                      <a:ext cx="957263" cy="979488"/>
                    </a:xfrm>
                    <a:prstGeom prst="rect">
                      <a:avLst/>
                    </a:prstGeom>
                    <a:noFill/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0" name="Freeform 63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54062" y="2850515"/>
                      <a:ext cx="927100" cy="96043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234"/>
                        </a:cxn>
                        <a:cxn ang="0">
                          <a:pos x="225" y="256"/>
                        </a:cxn>
                        <a:cxn ang="0">
                          <a:pos x="23" y="256"/>
                        </a:cxn>
                        <a:cxn ang="0">
                          <a:pos x="0" y="234"/>
                        </a:cxn>
                        <a:cxn ang="0">
                          <a:pos x="0" y="22"/>
                        </a:cxn>
                        <a:cxn ang="0">
                          <a:pos x="23" y="0"/>
                        </a:cxn>
                        <a:cxn ang="0">
                          <a:pos x="225" y="0"/>
                        </a:cxn>
                        <a:cxn ang="0">
                          <a:pos x="247" y="22"/>
                        </a:cxn>
                        <a:cxn ang="0">
                          <a:pos x="247" y="234"/>
                        </a:cxn>
                      </a:cxnLst>
                      <a:rect l="0" t="0" r="r" b="b"/>
                      <a:pathLst>
                        <a:path w="247" h="256">
                          <a:moveTo>
                            <a:pt x="247" y="234"/>
                          </a:moveTo>
                          <a:cubicBezTo>
                            <a:pt x="247" y="246"/>
                            <a:pt x="237" y="256"/>
                            <a:pt x="225" y="256"/>
                          </a:cubicBezTo>
                          <a:cubicBezTo>
                            <a:pt x="23" y="256"/>
                            <a:pt x="23" y="256"/>
                            <a:pt x="23" y="256"/>
                          </a:cubicBezTo>
                          <a:cubicBezTo>
                            <a:pt x="10" y="256"/>
                            <a:pt x="0" y="246"/>
                            <a:pt x="0" y="234"/>
                          </a:cubicBezTo>
                          <a:cubicBezTo>
                            <a:pt x="0" y="22"/>
                            <a:pt x="0" y="22"/>
                            <a:pt x="0" y="22"/>
                          </a:cubicBezTo>
                          <a:cubicBezTo>
                            <a:pt x="0" y="10"/>
                            <a:pt x="10" y="0"/>
                            <a:pt x="23" y="0"/>
                          </a:cubicBezTo>
                          <a:cubicBezTo>
                            <a:pt x="225" y="0"/>
                            <a:pt x="225" y="0"/>
                            <a:pt x="225" y="0"/>
                          </a:cubicBezTo>
                          <a:cubicBezTo>
                            <a:pt x="237" y="0"/>
                            <a:pt x="247" y="10"/>
                            <a:pt x="247" y="22"/>
                          </a:cubicBezTo>
                          <a:lnTo>
                            <a:pt x="247" y="234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C8C8C8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1" name="Freeform 66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46125" y="2858452"/>
                      <a:ext cx="919163" cy="952500"/>
                    </a:xfrm>
                    <a:custGeom>
                      <a:avLst/>
                      <a:gdLst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9102 w 10000"/>
                        <a:gd name="connsiteY6" fmla="*/ 7402 h 10000"/>
                        <a:gd name="connsiteX7" fmla="*/ 8204 w 10000"/>
                        <a:gd name="connsiteY7" fmla="*/ 8110 h 10000"/>
                        <a:gd name="connsiteX8" fmla="*/ 1837 w 10000"/>
                        <a:gd name="connsiteY8" fmla="*/ 8071 h 10000"/>
                        <a:gd name="connsiteX9" fmla="*/ 0 w 10000"/>
                        <a:gd name="connsiteY9" fmla="*/ 9449 h 10000"/>
                        <a:gd name="connsiteX10" fmla="*/ 857 w 10000"/>
                        <a:gd name="connsiteY10" fmla="*/ 10000 h 10000"/>
                        <a:gd name="connsiteX11" fmla="*/ 9102 w 10000"/>
                        <a:gd name="connsiteY11" fmla="*/ 10000 h 10000"/>
                        <a:gd name="connsiteX12" fmla="*/ 10000 w 10000"/>
                        <a:gd name="connsiteY12" fmla="*/ 9134 h 10000"/>
                        <a:gd name="connsiteX13" fmla="*/ 10000 w 10000"/>
                        <a:gd name="connsiteY13" fmla="*/ 787 h 10000"/>
                        <a:gd name="connsiteX14" fmla="*/ 9673 w 10000"/>
                        <a:gd name="connsiteY14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8204 w 10000"/>
                        <a:gd name="connsiteY6" fmla="*/ 8110 h 10000"/>
                        <a:gd name="connsiteX7" fmla="*/ 1837 w 10000"/>
                        <a:gd name="connsiteY7" fmla="*/ 8071 h 10000"/>
                        <a:gd name="connsiteX8" fmla="*/ 0 w 10000"/>
                        <a:gd name="connsiteY8" fmla="*/ 9449 h 10000"/>
                        <a:gd name="connsiteX9" fmla="*/ 857 w 10000"/>
                        <a:gd name="connsiteY9" fmla="*/ 10000 h 10000"/>
                        <a:gd name="connsiteX10" fmla="*/ 9102 w 10000"/>
                        <a:gd name="connsiteY10" fmla="*/ 10000 h 10000"/>
                        <a:gd name="connsiteX11" fmla="*/ 10000 w 10000"/>
                        <a:gd name="connsiteY11" fmla="*/ 9134 h 10000"/>
                        <a:gd name="connsiteX12" fmla="*/ 10000 w 10000"/>
                        <a:gd name="connsiteY12" fmla="*/ 787 h 10000"/>
                        <a:gd name="connsiteX13" fmla="*/ 9673 w 10000"/>
                        <a:gd name="connsiteY13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8204 w 10000"/>
                        <a:gd name="connsiteY5" fmla="*/ 8110 h 10000"/>
                        <a:gd name="connsiteX6" fmla="*/ 1837 w 10000"/>
                        <a:gd name="connsiteY6" fmla="*/ 8071 h 10000"/>
                        <a:gd name="connsiteX7" fmla="*/ 0 w 10000"/>
                        <a:gd name="connsiteY7" fmla="*/ 9449 h 10000"/>
                        <a:gd name="connsiteX8" fmla="*/ 857 w 10000"/>
                        <a:gd name="connsiteY8" fmla="*/ 10000 h 10000"/>
                        <a:gd name="connsiteX9" fmla="*/ 9102 w 10000"/>
                        <a:gd name="connsiteY9" fmla="*/ 10000 h 10000"/>
                        <a:gd name="connsiteX10" fmla="*/ 10000 w 10000"/>
                        <a:gd name="connsiteY10" fmla="*/ 9134 h 10000"/>
                        <a:gd name="connsiteX11" fmla="*/ 10000 w 10000"/>
                        <a:gd name="connsiteY11" fmla="*/ 787 h 10000"/>
                        <a:gd name="connsiteX12" fmla="*/ 9673 w 10000"/>
                        <a:gd name="connsiteY12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1837 w 10000"/>
                        <a:gd name="connsiteY5" fmla="*/ 8071 h 10000"/>
                        <a:gd name="connsiteX6" fmla="*/ 0 w 10000"/>
                        <a:gd name="connsiteY6" fmla="*/ 9449 h 10000"/>
                        <a:gd name="connsiteX7" fmla="*/ 857 w 10000"/>
                        <a:gd name="connsiteY7" fmla="*/ 10000 h 10000"/>
                        <a:gd name="connsiteX8" fmla="*/ 9102 w 10000"/>
                        <a:gd name="connsiteY8" fmla="*/ 10000 h 10000"/>
                        <a:gd name="connsiteX9" fmla="*/ 10000 w 10000"/>
                        <a:gd name="connsiteY9" fmla="*/ 9134 h 10000"/>
                        <a:gd name="connsiteX10" fmla="*/ 10000 w 10000"/>
                        <a:gd name="connsiteY10" fmla="*/ 787 h 10000"/>
                        <a:gd name="connsiteX11" fmla="*/ 9673 w 10000"/>
                        <a:gd name="connsiteY11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1837 w 10000"/>
                        <a:gd name="connsiteY4" fmla="*/ 8071 h 10000"/>
                        <a:gd name="connsiteX5" fmla="*/ 0 w 10000"/>
                        <a:gd name="connsiteY5" fmla="*/ 9449 h 10000"/>
                        <a:gd name="connsiteX6" fmla="*/ 857 w 10000"/>
                        <a:gd name="connsiteY6" fmla="*/ 10000 h 10000"/>
                        <a:gd name="connsiteX7" fmla="*/ 9102 w 10000"/>
                        <a:gd name="connsiteY7" fmla="*/ 10000 h 10000"/>
                        <a:gd name="connsiteX8" fmla="*/ 10000 w 10000"/>
                        <a:gd name="connsiteY8" fmla="*/ 9134 h 10000"/>
                        <a:gd name="connsiteX9" fmla="*/ 10000 w 10000"/>
                        <a:gd name="connsiteY9" fmla="*/ 787 h 10000"/>
                        <a:gd name="connsiteX10" fmla="*/ 9673 w 10000"/>
                        <a:gd name="connsiteY10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658 w 10000"/>
                        <a:gd name="connsiteY2" fmla="*/ 82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9673" y="118"/>
                          </a:moveTo>
                          <a:lnTo>
                            <a:pt x="9673" y="118"/>
                          </a:lnTo>
                          <a:cubicBezTo>
                            <a:pt x="8980" y="0"/>
                            <a:pt x="8658" y="505"/>
                            <a:pt x="8658" y="820"/>
                          </a:cubicBezTo>
                          <a:cubicBezTo>
                            <a:pt x="7352" y="2145"/>
                            <a:pt x="3313" y="6601"/>
                            <a:pt x="1837" y="8071"/>
                          </a:cubicBezTo>
                          <a:cubicBezTo>
                            <a:pt x="857" y="8071"/>
                            <a:pt x="204" y="8307"/>
                            <a:pt x="0" y="9449"/>
                          </a:cubicBezTo>
                          <a:cubicBezTo>
                            <a:pt x="122" y="9764"/>
                            <a:pt x="449" y="10000"/>
                            <a:pt x="857" y="10000"/>
                          </a:cubicBezTo>
                          <a:lnTo>
                            <a:pt x="9102" y="10000"/>
                          </a:lnTo>
                          <a:cubicBezTo>
                            <a:pt x="9592" y="10000"/>
                            <a:pt x="10000" y="9606"/>
                            <a:pt x="10000" y="9134"/>
                          </a:cubicBezTo>
                          <a:lnTo>
                            <a:pt x="10000" y="787"/>
                          </a:lnTo>
                          <a:cubicBezTo>
                            <a:pt x="10000" y="512"/>
                            <a:pt x="9878" y="276"/>
                            <a:pt x="9673" y="11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>
                            <a:shade val="30000"/>
                            <a:satMod val="115000"/>
                            <a:alpha val="50000"/>
                          </a:srgbClr>
                        </a:gs>
                        <a:gs pos="100000">
                          <a:srgbClr val="AFAFAF">
                            <a:shade val="100000"/>
                            <a:satMod val="115000"/>
                            <a:alpha val="50000"/>
                          </a:srgbClr>
                        </a:gs>
                      </a:gsLst>
                      <a:lin ang="13500000" scaled="1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2" name="Freeform 67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60400" y="2899727"/>
                      <a:ext cx="742950" cy="730250"/>
                    </a:xfrm>
                    <a:custGeom>
                      <a:avLst/>
                      <a:gdLst/>
                      <a:ahLst/>
                      <a:cxnLst>
                        <a:cxn ang="0">
                          <a:pos x="198" y="172"/>
                        </a:cxn>
                        <a:cxn ang="0">
                          <a:pos x="175" y="195"/>
                        </a:cxn>
                        <a:cxn ang="0">
                          <a:pos x="23" y="195"/>
                        </a:cxn>
                        <a:cxn ang="0">
                          <a:pos x="0" y="172"/>
                        </a:cxn>
                        <a:cxn ang="0">
                          <a:pos x="0" y="23"/>
                        </a:cxn>
                        <a:cxn ang="0">
                          <a:pos x="23" y="0"/>
                        </a:cxn>
                        <a:cxn ang="0">
                          <a:pos x="175" y="0"/>
                        </a:cxn>
                        <a:cxn ang="0">
                          <a:pos x="198" y="23"/>
                        </a:cxn>
                        <a:cxn ang="0">
                          <a:pos x="198" y="172"/>
                        </a:cxn>
                      </a:cxnLst>
                      <a:rect l="0" t="0" r="r" b="b"/>
                      <a:pathLst>
                        <a:path w="198" h="195">
                          <a:moveTo>
                            <a:pt x="198" y="172"/>
                          </a:moveTo>
                          <a:cubicBezTo>
                            <a:pt x="198" y="184"/>
                            <a:pt x="188" y="195"/>
                            <a:pt x="175" y="195"/>
                          </a:cubicBezTo>
                          <a:cubicBezTo>
                            <a:pt x="23" y="195"/>
                            <a:pt x="23" y="195"/>
                            <a:pt x="23" y="195"/>
                          </a:cubicBezTo>
                          <a:cubicBezTo>
                            <a:pt x="10" y="195"/>
                            <a:pt x="0" y="184"/>
                            <a:pt x="0" y="172"/>
                          </a:cubicBezTo>
                          <a:cubicBezTo>
                            <a:pt x="0" y="23"/>
                            <a:pt x="0" y="23"/>
                            <a:pt x="0" y="23"/>
                          </a:cubicBezTo>
                          <a:cubicBezTo>
                            <a:pt x="0" y="11"/>
                            <a:pt x="10" y="0"/>
                            <a:pt x="23" y="0"/>
                          </a:cubicBezTo>
                          <a:cubicBezTo>
                            <a:pt x="175" y="0"/>
                            <a:pt x="175" y="0"/>
                            <a:pt x="175" y="0"/>
                          </a:cubicBezTo>
                          <a:cubicBezTo>
                            <a:pt x="188" y="0"/>
                            <a:pt x="198" y="11"/>
                            <a:pt x="198" y="23"/>
                          </a:cubicBezTo>
                          <a:lnTo>
                            <a:pt x="198" y="17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FFF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3" name="Freeform 64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55637" y="2906077"/>
                      <a:ext cx="495300" cy="718344"/>
                    </a:xfrm>
                    <a:custGeom>
                      <a:avLst/>
                      <a:gdLst>
                        <a:gd name="connsiteX0" fmla="*/ 10000 w 10000"/>
                        <a:gd name="connsiteY0" fmla="*/ 3608 h 10277"/>
                        <a:gd name="connsiteX1" fmla="*/ 8561 w 10000"/>
                        <a:gd name="connsiteY1" fmla="*/ 0 h 10277"/>
                        <a:gd name="connsiteX2" fmla="*/ 1742 w 10000"/>
                        <a:gd name="connsiteY2" fmla="*/ 0 h 10277"/>
                        <a:gd name="connsiteX3" fmla="*/ 0 w 10000"/>
                        <a:gd name="connsiteY3" fmla="*/ 1186 h 10277"/>
                        <a:gd name="connsiteX4" fmla="*/ 0 w 10000"/>
                        <a:gd name="connsiteY4" fmla="*/ 8866 h 10277"/>
                        <a:gd name="connsiteX5" fmla="*/ 1439 w 10000"/>
                        <a:gd name="connsiteY5" fmla="*/ 10000 h 10277"/>
                        <a:gd name="connsiteX6" fmla="*/ 10000 w 10000"/>
                        <a:gd name="connsiteY6" fmla="*/ 3608 h 10277"/>
                        <a:gd name="connsiteX0" fmla="*/ 10000 w 10000"/>
                        <a:gd name="connsiteY0" fmla="*/ 3608 h 10000"/>
                        <a:gd name="connsiteX1" fmla="*/ 8561 w 10000"/>
                        <a:gd name="connsiteY1" fmla="*/ 0 h 10000"/>
                        <a:gd name="connsiteX2" fmla="*/ 1742 w 10000"/>
                        <a:gd name="connsiteY2" fmla="*/ 0 h 10000"/>
                        <a:gd name="connsiteX3" fmla="*/ 0 w 10000"/>
                        <a:gd name="connsiteY3" fmla="*/ 1186 h 10000"/>
                        <a:gd name="connsiteX4" fmla="*/ 0 w 10000"/>
                        <a:gd name="connsiteY4" fmla="*/ 8866 h 10000"/>
                        <a:gd name="connsiteX5" fmla="*/ 1439 w 10000"/>
                        <a:gd name="connsiteY5" fmla="*/ 10000 h 10000"/>
                        <a:gd name="connsiteX6" fmla="*/ 10000 w 10000"/>
                        <a:gd name="connsiteY6" fmla="*/ 360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10000" y="3608"/>
                          </a:moveTo>
                          <a:cubicBezTo>
                            <a:pt x="10000" y="2268"/>
                            <a:pt x="9470" y="1031"/>
                            <a:pt x="8561" y="0"/>
                          </a:cubicBezTo>
                          <a:lnTo>
                            <a:pt x="1742" y="0"/>
                          </a:lnTo>
                          <a:cubicBezTo>
                            <a:pt x="758" y="0"/>
                            <a:pt x="0" y="567"/>
                            <a:pt x="0" y="1186"/>
                          </a:cubicBezTo>
                          <a:lnTo>
                            <a:pt x="0" y="8866"/>
                          </a:lnTo>
                          <a:cubicBezTo>
                            <a:pt x="0" y="9433"/>
                            <a:pt x="606" y="9897"/>
                            <a:pt x="1439" y="10000"/>
                          </a:cubicBezTo>
                          <a:cubicBezTo>
                            <a:pt x="8925" y="9998"/>
                            <a:pt x="10000" y="7113"/>
                            <a:pt x="10000" y="3608"/>
                          </a:cubicBezTo>
                          <a:close/>
                        </a:path>
                      </a:pathLst>
                    </a:custGeom>
                    <a:solidFill>
                      <a:srgbClr val="D7D7D7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4" name="Freeform 65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497680" y="2906077"/>
                      <a:ext cx="577849" cy="718344"/>
                    </a:xfrm>
                    <a:custGeom>
                      <a:avLst/>
                      <a:gdLst/>
                      <a:ahLst/>
                      <a:cxnLst>
                        <a:cxn ang="0">
                          <a:pos x="131" y="0"/>
                        </a:cxn>
                        <a:cxn ang="0">
                          <a:pos x="44" y="0"/>
                        </a:cxn>
                        <a:cxn ang="0">
                          <a:pos x="83" y="64"/>
                        </a:cxn>
                        <a:cxn ang="0">
                          <a:pos x="0" y="194"/>
                        </a:cxn>
                        <a:cxn ang="0">
                          <a:pos x="131" y="194"/>
                        </a:cxn>
                        <a:cxn ang="0">
                          <a:pos x="155" y="171"/>
                        </a:cxn>
                        <a:cxn ang="0">
                          <a:pos x="155" y="22"/>
                        </a:cxn>
                        <a:cxn ang="0">
                          <a:pos x="131" y="0"/>
                        </a:cxn>
                      </a:cxnLst>
                      <a:rect l="0" t="0" r="r" b="b"/>
                      <a:pathLst>
                        <a:path w="155" h="194">
                          <a:moveTo>
                            <a:pt x="131" y="0"/>
                          </a:moveTo>
                          <a:cubicBezTo>
                            <a:pt x="44" y="0"/>
                            <a:pt x="44" y="0"/>
                            <a:pt x="44" y="0"/>
                          </a:cubicBezTo>
                          <a:cubicBezTo>
                            <a:pt x="44" y="0"/>
                            <a:pt x="80" y="19"/>
                            <a:pt x="83" y="64"/>
                          </a:cubicBezTo>
                          <a:cubicBezTo>
                            <a:pt x="87" y="108"/>
                            <a:pt x="57" y="178"/>
                            <a:pt x="0" y="194"/>
                          </a:cubicBezTo>
                          <a:cubicBezTo>
                            <a:pt x="131" y="194"/>
                            <a:pt x="131" y="194"/>
                            <a:pt x="131" y="194"/>
                          </a:cubicBezTo>
                          <a:cubicBezTo>
                            <a:pt x="144" y="194"/>
                            <a:pt x="155" y="183"/>
                            <a:pt x="155" y="171"/>
                          </a:cubicBezTo>
                          <a:cubicBezTo>
                            <a:pt x="155" y="22"/>
                            <a:pt x="155" y="22"/>
                            <a:pt x="155" y="22"/>
                          </a:cubicBezTo>
                          <a:cubicBezTo>
                            <a:pt x="155" y="10"/>
                            <a:pt x="144" y="0"/>
                            <a:pt x="131" y="0"/>
                          </a:cubicBezTo>
                          <a:close/>
                        </a:path>
                      </a:pathLst>
                    </a:custGeom>
                    <a:solidFill>
                      <a:srgbClr val="E6E6E6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78" name="Textfeld 77"/>
                  <p:cNvSpPr txBox="1"/>
                  <p:nvPr/>
                </p:nvSpPr>
                <p:spPr bwMode="gray">
                  <a:xfrm>
                    <a:off x="1485783" y="2373706"/>
                    <a:ext cx="508152" cy="123110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 anchorCtr="0">
                    <a:spAutoFit/>
                  </a:bodyPr>
                  <a:lstStyle/>
                  <a:p>
                    <a:pPr algn="ctr"/>
                    <a:r>
                      <a:rPr lang="en-US" sz="8000" b="1" noProof="1" smtClean="0">
                        <a:solidFill>
                          <a:srgbClr val="000000"/>
                        </a:solidFill>
                      </a:rPr>
                      <a:t>T</a:t>
                    </a:r>
                    <a:endParaRPr lang="en-US" sz="8000" b="1" noProof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0" name="Gruppieren 84"/>
                <p:cNvGrpSpPr/>
                <p:nvPr/>
              </p:nvGrpSpPr>
              <p:grpSpPr bwMode="gray">
                <a:xfrm>
                  <a:off x="6041857" y="1578744"/>
                  <a:ext cx="1428819" cy="1461992"/>
                  <a:chOff x="1017201" y="2335160"/>
                  <a:chExt cx="1428819" cy="1461992"/>
                </a:xfrm>
              </p:grpSpPr>
              <p:grpSp>
                <p:nvGrpSpPr>
                  <p:cNvPr id="11" name="Gruppieren 48"/>
                  <p:cNvGrpSpPr/>
                  <p:nvPr/>
                </p:nvGrpSpPr>
                <p:grpSpPr bwMode="gray">
                  <a:xfrm>
                    <a:off x="1017201" y="2335160"/>
                    <a:ext cx="1428819" cy="1461992"/>
                    <a:chOff x="-765175" y="2842577"/>
                    <a:chExt cx="957263" cy="979488"/>
                  </a:xfrm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88" name="AutoShape 62" descr="© INSCALE GmbH, 26.05.2010&#10;http://www.presentationload.com/"/>
                    <p:cNvSpPr>
                      <a:spLocks noChangeAspect="1" noChangeArrowheads="1" noTextEdit="1"/>
                    </p:cNvSpPr>
                    <p:nvPr/>
                  </p:nvSpPr>
                  <p:spPr bwMode="gray">
                    <a:xfrm>
                      <a:off x="-765175" y="2842577"/>
                      <a:ext cx="957263" cy="979488"/>
                    </a:xfrm>
                    <a:prstGeom prst="rect">
                      <a:avLst/>
                    </a:prstGeom>
                    <a:noFill/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89" name="Freeform 63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54062" y="2850515"/>
                      <a:ext cx="927100" cy="960438"/>
                    </a:xfrm>
                    <a:custGeom>
                      <a:avLst/>
                      <a:gdLst/>
                      <a:ahLst/>
                      <a:cxnLst>
                        <a:cxn ang="0">
                          <a:pos x="247" y="234"/>
                        </a:cxn>
                        <a:cxn ang="0">
                          <a:pos x="225" y="256"/>
                        </a:cxn>
                        <a:cxn ang="0">
                          <a:pos x="23" y="256"/>
                        </a:cxn>
                        <a:cxn ang="0">
                          <a:pos x="0" y="234"/>
                        </a:cxn>
                        <a:cxn ang="0">
                          <a:pos x="0" y="22"/>
                        </a:cxn>
                        <a:cxn ang="0">
                          <a:pos x="23" y="0"/>
                        </a:cxn>
                        <a:cxn ang="0">
                          <a:pos x="225" y="0"/>
                        </a:cxn>
                        <a:cxn ang="0">
                          <a:pos x="247" y="22"/>
                        </a:cxn>
                        <a:cxn ang="0">
                          <a:pos x="247" y="234"/>
                        </a:cxn>
                      </a:cxnLst>
                      <a:rect l="0" t="0" r="r" b="b"/>
                      <a:pathLst>
                        <a:path w="247" h="256">
                          <a:moveTo>
                            <a:pt x="247" y="234"/>
                          </a:moveTo>
                          <a:cubicBezTo>
                            <a:pt x="247" y="246"/>
                            <a:pt x="237" y="256"/>
                            <a:pt x="225" y="256"/>
                          </a:cubicBezTo>
                          <a:cubicBezTo>
                            <a:pt x="23" y="256"/>
                            <a:pt x="23" y="256"/>
                            <a:pt x="23" y="256"/>
                          </a:cubicBezTo>
                          <a:cubicBezTo>
                            <a:pt x="10" y="256"/>
                            <a:pt x="0" y="246"/>
                            <a:pt x="0" y="234"/>
                          </a:cubicBezTo>
                          <a:cubicBezTo>
                            <a:pt x="0" y="22"/>
                            <a:pt x="0" y="22"/>
                            <a:pt x="0" y="22"/>
                          </a:cubicBezTo>
                          <a:cubicBezTo>
                            <a:pt x="0" y="10"/>
                            <a:pt x="10" y="0"/>
                            <a:pt x="23" y="0"/>
                          </a:cubicBezTo>
                          <a:cubicBezTo>
                            <a:pt x="225" y="0"/>
                            <a:pt x="225" y="0"/>
                            <a:pt x="225" y="0"/>
                          </a:cubicBezTo>
                          <a:cubicBezTo>
                            <a:pt x="237" y="0"/>
                            <a:pt x="247" y="10"/>
                            <a:pt x="247" y="22"/>
                          </a:cubicBezTo>
                          <a:lnTo>
                            <a:pt x="247" y="234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C8C8C8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0" name="Freeform 66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746125" y="2858452"/>
                      <a:ext cx="919163" cy="952500"/>
                    </a:xfrm>
                    <a:custGeom>
                      <a:avLst/>
                      <a:gdLst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9102 w 10000"/>
                        <a:gd name="connsiteY6" fmla="*/ 7402 h 10000"/>
                        <a:gd name="connsiteX7" fmla="*/ 8204 w 10000"/>
                        <a:gd name="connsiteY7" fmla="*/ 8110 h 10000"/>
                        <a:gd name="connsiteX8" fmla="*/ 1837 w 10000"/>
                        <a:gd name="connsiteY8" fmla="*/ 8071 h 10000"/>
                        <a:gd name="connsiteX9" fmla="*/ 0 w 10000"/>
                        <a:gd name="connsiteY9" fmla="*/ 9449 h 10000"/>
                        <a:gd name="connsiteX10" fmla="*/ 857 w 10000"/>
                        <a:gd name="connsiteY10" fmla="*/ 10000 h 10000"/>
                        <a:gd name="connsiteX11" fmla="*/ 9102 w 10000"/>
                        <a:gd name="connsiteY11" fmla="*/ 10000 h 10000"/>
                        <a:gd name="connsiteX12" fmla="*/ 10000 w 10000"/>
                        <a:gd name="connsiteY12" fmla="*/ 9134 h 10000"/>
                        <a:gd name="connsiteX13" fmla="*/ 10000 w 10000"/>
                        <a:gd name="connsiteY13" fmla="*/ 787 h 10000"/>
                        <a:gd name="connsiteX14" fmla="*/ 9673 w 10000"/>
                        <a:gd name="connsiteY14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9102 w 10000"/>
                        <a:gd name="connsiteY5" fmla="*/ 7205 h 10000"/>
                        <a:gd name="connsiteX6" fmla="*/ 8204 w 10000"/>
                        <a:gd name="connsiteY6" fmla="*/ 8110 h 10000"/>
                        <a:gd name="connsiteX7" fmla="*/ 1837 w 10000"/>
                        <a:gd name="connsiteY7" fmla="*/ 8071 h 10000"/>
                        <a:gd name="connsiteX8" fmla="*/ 0 w 10000"/>
                        <a:gd name="connsiteY8" fmla="*/ 9449 h 10000"/>
                        <a:gd name="connsiteX9" fmla="*/ 857 w 10000"/>
                        <a:gd name="connsiteY9" fmla="*/ 10000 h 10000"/>
                        <a:gd name="connsiteX10" fmla="*/ 9102 w 10000"/>
                        <a:gd name="connsiteY10" fmla="*/ 10000 h 10000"/>
                        <a:gd name="connsiteX11" fmla="*/ 10000 w 10000"/>
                        <a:gd name="connsiteY11" fmla="*/ 9134 h 10000"/>
                        <a:gd name="connsiteX12" fmla="*/ 10000 w 10000"/>
                        <a:gd name="connsiteY12" fmla="*/ 787 h 10000"/>
                        <a:gd name="connsiteX13" fmla="*/ 9673 w 10000"/>
                        <a:gd name="connsiteY13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8204 w 10000"/>
                        <a:gd name="connsiteY5" fmla="*/ 8110 h 10000"/>
                        <a:gd name="connsiteX6" fmla="*/ 1837 w 10000"/>
                        <a:gd name="connsiteY6" fmla="*/ 8071 h 10000"/>
                        <a:gd name="connsiteX7" fmla="*/ 0 w 10000"/>
                        <a:gd name="connsiteY7" fmla="*/ 9449 h 10000"/>
                        <a:gd name="connsiteX8" fmla="*/ 857 w 10000"/>
                        <a:gd name="connsiteY8" fmla="*/ 10000 h 10000"/>
                        <a:gd name="connsiteX9" fmla="*/ 9102 w 10000"/>
                        <a:gd name="connsiteY9" fmla="*/ 10000 h 10000"/>
                        <a:gd name="connsiteX10" fmla="*/ 10000 w 10000"/>
                        <a:gd name="connsiteY10" fmla="*/ 9134 h 10000"/>
                        <a:gd name="connsiteX11" fmla="*/ 10000 w 10000"/>
                        <a:gd name="connsiteY11" fmla="*/ 787 h 10000"/>
                        <a:gd name="connsiteX12" fmla="*/ 9673 w 10000"/>
                        <a:gd name="connsiteY12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9102 w 10000"/>
                        <a:gd name="connsiteY4" fmla="*/ 2165 h 10000"/>
                        <a:gd name="connsiteX5" fmla="*/ 1837 w 10000"/>
                        <a:gd name="connsiteY5" fmla="*/ 8071 h 10000"/>
                        <a:gd name="connsiteX6" fmla="*/ 0 w 10000"/>
                        <a:gd name="connsiteY6" fmla="*/ 9449 h 10000"/>
                        <a:gd name="connsiteX7" fmla="*/ 857 w 10000"/>
                        <a:gd name="connsiteY7" fmla="*/ 10000 h 10000"/>
                        <a:gd name="connsiteX8" fmla="*/ 9102 w 10000"/>
                        <a:gd name="connsiteY8" fmla="*/ 10000 h 10000"/>
                        <a:gd name="connsiteX9" fmla="*/ 10000 w 10000"/>
                        <a:gd name="connsiteY9" fmla="*/ 9134 h 10000"/>
                        <a:gd name="connsiteX10" fmla="*/ 10000 w 10000"/>
                        <a:gd name="connsiteY10" fmla="*/ 787 h 10000"/>
                        <a:gd name="connsiteX11" fmla="*/ 9673 w 10000"/>
                        <a:gd name="connsiteY11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9143 w 10000"/>
                        <a:gd name="connsiteY3" fmla="*/ 1457 h 10000"/>
                        <a:gd name="connsiteX4" fmla="*/ 1837 w 10000"/>
                        <a:gd name="connsiteY4" fmla="*/ 8071 h 10000"/>
                        <a:gd name="connsiteX5" fmla="*/ 0 w 10000"/>
                        <a:gd name="connsiteY5" fmla="*/ 9449 h 10000"/>
                        <a:gd name="connsiteX6" fmla="*/ 857 w 10000"/>
                        <a:gd name="connsiteY6" fmla="*/ 10000 h 10000"/>
                        <a:gd name="connsiteX7" fmla="*/ 9102 w 10000"/>
                        <a:gd name="connsiteY7" fmla="*/ 10000 h 10000"/>
                        <a:gd name="connsiteX8" fmla="*/ 10000 w 10000"/>
                        <a:gd name="connsiteY8" fmla="*/ 9134 h 10000"/>
                        <a:gd name="connsiteX9" fmla="*/ 10000 w 10000"/>
                        <a:gd name="connsiteY9" fmla="*/ 787 h 10000"/>
                        <a:gd name="connsiteX10" fmla="*/ 9673 w 10000"/>
                        <a:gd name="connsiteY10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857 w 10000"/>
                        <a:gd name="connsiteY2" fmla="*/ 63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  <a:gd name="connsiteX0" fmla="*/ 9673 w 10000"/>
                        <a:gd name="connsiteY0" fmla="*/ 118 h 10000"/>
                        <a:gd name="connsiteX1" fmla="*/ 9673 w 10000"/>
                        <a:gd name="connsiteY1" fmla="*/ 118 h 10000"/>
                        <a:gd name="connsiteX2" fmla="*/ 8658 w 10000"/>
                        <a:gd name="connsiteY2" fmla="*/ 820 h 10000"/>
                        <a:gd name="connsiteX3" fmla="*/ 1837 w 10000"/>
                        <a:gd name="connsiteY3" fmla="*/ 8071 h 10000"/>
                        <a:gd name="connsiteX4" fmla="*/ 0 w 10000"/>
                        <a:gd name="connsiteY4" fmla="*/ 9449 h 10000"/>
                        <a:gd name="connsiteX5" fmla="*/ 857 w 10000"/>
                        <a:gd name="connsiteY5" fmla="*/ 10000 h 10000"/>
                        <a:gd name="connsiteX6" fmla="*/ 9102 w 10000"/>
                        <a:gd name="connsiteY6" fmla="*/ 10000 h 10000"/>
                        <a:gd name="connsiteX7" fmla="*/ 10000 w 10000"/>
                        <a:gd name="connsiteY7" fmla="*/ 9134 h 10000"/>
                        <a:gd name="connsiteX8" fmla="*/ 10000 w 10000"/>
                        <a:gd name="connsiteY8" fmla="*/ 787 h 10000"/>
                        <a:gd name="connsiteX9" fmla="*/ 9673 w 10000"/>
                        <a:gd name="connsiteY9" fmla="*/ 11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9673" y="118"/>
                          </a:moveTo>
                          <a:lnTo>
                            <a:pt x="9673" y="118"/>
                          </a:lnTo>
                          <a:cubicBezTo>
                            <a:pt x="8980" y="0"/>
                            <a:pt x="8658" y="505"/>
                            <a:pt x="8658" y="820"/>
                          </a:cubicBezTo>
                          <a:cubicBezTo>
                            <a:pt x="7352" y="2145"/>
                            <a:pt x="3313" y="6601"/>
                            <a:pt x="1837" y="8071"/>
                          </a:cubicBezTo>
                          <a:cubicBezTo>
                            <a:pt x="857" y="8071"/>
                            <a:pt x="204" y="8307"/>
                            <a:pt x="0" y="9449"/>
                          </a:cubicBezTo>
                          <a:cubicBezTo>
                            <a:pt x="122" y="9764"/>
                            <a:pt x="449" y="10000"/>
                            <a:pt x="857" y="10000"/>
                          </a:cubicBezTo>
                          <a:lnTo>
                            <a:pt x="9102" y="10000"/>
                          </a:lnTo>
                          <a:cubicBezTo>
                            <a:pt x="9592" y="10000"/>
                            <a:pt x="10000" y="9606"/>
                            <a:pt x="10000" y="9134"/>
                          </a:cubicBezTo>
                          <a:lnTo>
                            <a:pt x="10000" y="787"/>
                          </a:lnTo>
                          <a:cubicBezTo>
                            <a:pt x="10000" y="512"/>
                            <a:pt x="9878" y="276"/>
                            <a:pt x="9673" y="11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>
                            <a:shade val="30000"/>
                            <a:satMod val="115000"/>
                            <a:alpha val="50000"/>
                          </a:srgbClr>
                        </a:gs>
                        <a:gs pos="100000">
                          <a:srgbClr val="AFAFAF">
                            <a:shade val="100000"/>
                            <a:satMod val="115000"/>
                            <a:alpha val="50000"/>
                          </a:srgbClr>
                        </a:gs>
                      </a:gsLst>
                      <a:lin ang="13500000" scaled="1"/>
                      <a:tileRect/>
                    </a:gra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1" name="Freeform 67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60400" y="2899727"/>
                      <a:ext cx="742950" cy="730250"/>
                    </a:xfrm>
                    <a:custGeom>
                      <a:avLst/>
                      <a:gdLst/>
                      <a:ahLst/>
                      <a:cxnLst>
                        <a:cxn ang="0">
                          <a:pos x="198" y="172"/>
                        </a:cxn>
                        <a:cxn ang="0">
                          <a:pos x="175" y="195"/>
                        </a:cxn>
                        <a:cxn ang="0">
                          <a:pos x="23" y="195"/>
                        </a:cxn>
                        <a:cxn ang="0">
                          <a:pos x="0" y="172"/>
                        </a:cxn>
                        <a:cxn ang="0">
                          <a:pos x="0" y="23"/>
                        </a:cxn>
                        <a:cxn ang="0">
                          <a:pos x="23" y="0"/>
                        </a:cxn>
                        <a:cxn ang="0">
                          <a:pos x="175" y="0"/>
                        </a:cxn>
                        <a:cxn ang="0">
                          <a:pos x="198" y="23"/>
                        </a:cxn>
                        <a:cxn ang="0">
                          <a:pos x="198" y="172"/>
                        </a:cxn>
                      </a:cxnLst>
                      <a:rect l="0" t="0" r="r" b="b"/>
                      <a:pathLst>
                        <a:path w="198" h="195">
                          <a:moveTo>
                            <a:pt x="198" y="172"/>
                          </a:moveTo>
                          <a:cubicBezTo>
                            <a:pt x="198" y="184"/>
                            <a:pt x="188" y="195"/>
                            <a:pt x="175" y="195"/>
                          </a:cubicBezTo>
                          <a:cubicBezTo>
                            <a:pt x="23" y="195"/>
                            <a:pt x="23" y="195"/>
                            <a:pt x="23" y="195"/>
                          </a:cubicBezTo>
                          <a:cubicBezTo>
                            <a:pt x="10" y="195"/>
                            <a:pt x="0" y="184"/>
                            <a:pt x="0" y="172"/>
                          </a:cubicBezTo>
                          <a:cubicBezTo>
                            <a:pt x="0" y="23"/>
                            <a:pt x="0" y="23"/>
                            <a:pt x="0" y="23"/>
                          </a:cubicBezTo>
                          <a:cubicBezTo>
                            <a:pt x="0" y="11"/>
                            <a:pt x="10" y="0"/>
                            <a:pt x="23" y="0"/>
                          </a:cubicBezTo>
                          <a:cubicBezTo>
                            <a:pt x="175" y="0"/>
                            <a:pt x="175" y="0"/>
                            <a:pt x="175" y="0"/>
                          </a:cubicBezTo>
                          <a:cubicBezTo>
                            <a:pt x="188" y="0"/>
                            <a:pt x="198" y="11"/>
                            <a:pt x="198" y="23"/>
                          </a:cubicBezTo>
                          <a:lnTo>
                            <a:pt x="198" y="172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AFAFAF"/>
                        </a:gs>
                        <a:gs pos="100000">
                          <a:srgbClr val="E0E0D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  <a:ln w="12700">
                      <a:solidFill>
                        <a:srgbClr val="FFF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2" name="Freeform 64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655637" y="2906077"/>
                      <a:ext cx="495300" cy="718344"/>
                    </a:xfrm>
                    <a:custGeom>
                      <a:avLst/>
                      <a:gdLst>
                        <a:gd name="connsiteX0" fmla="*/ 10000 w 10000"/>
                        <a:gd name="connsiteY0" fmla="*/ 3608 h 10277"/>
                        <a:gd name="connsiteX1" fmla="*/ 8561 w 10000"/>
                        <a:gd name="connsiteY1" fmla="*/ 0 h 10277"/>
                        <a:gd name="connsiteX2" fmla="*/ 1742 w 10000"/>
                        <a:gd name="connsiteY2" fmla="*/ 0 h 10277"/>
                        <a:gd name="connsiteX3" fmla="*/ 0 w 10000"/>
                        <a:gd name="connsiteY3" fmla="*/ 1186 h 10277"/>
                        <a:gd name="connsiteX4" fmla="*/ 0 w 10000"/>
                        <a:gd name="connsiteY4" fmla="*/ 8866 h 10277"/>
                        <a:gd name="connsiteX5" fmla="*/ 1439 w 10000"/>
                        <a:gd name="connsiteY5" fmla="*/ 10000 h 10277"/>
                        <a:gd name="connsiteX6" fmla="*/ 10000 w 10000"/>
                        <a:gd name="connsiteY6" fmla="*/ 3608 h 10277"/>
                        <a:gd name="connsiteX0" fmla="*/ 10000 w 10000"/>
                        <a:gd name="connsiteY0" fmla="*/ 3608 h 10000"/>
                        <a:gd name="connsiteX1" fmla="*/ 8561 w 10000"/>
                        <a:gd name="connsiteY1" fmla="*/ 0 h 10000"/>
                        <a:gd name="connsiteX2" fmla="*/ 1742 w 10000"/>
                        <a:gd name="connsiteY2" fmla="*/ 0 h 10000"/>
                        <a:gd name="connsiteX3" fmla="*/ 0 w 10000"/>
                        <a:gd name="connsiteY3" fmla="*/ 1186 h 10000"/>
                        <a:gd name="connsiteX4" fmla="*/ 0 w 10000"/>
                        <a:gd name="connsiteY4" fmla="*/ 8866 h 10000"/>
                        <a:gd name="connsiteX5" fmla="*/ 1439 w 10000"/>
                        <a:gd name="connsiteY5" fmla="*/ 10000 h 10000"/>
                        <a:gd name="connsiteX6" fmla="*/ 10000 w 10000"/>
                        <a:gd name="connsiteY6" fmla="*/ 3608 h 10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0000" h="10000">
                          <a:moveTo>
                            <a:pt x="10000" y="3608"/>
                          </a:moveTo>
                          <a:cubicBezTo>
                            <a:pt x="10000" y="2268"/>
                            <a:pt x="9470" y="1031"/>
                            <a:pt x="8561" y="0"/>
                          </a:cubicBezTo>
                          <a:lnTo>
                            <a:pt x="1742" y="0"/>
                          </a:lnTo>
                          <a:cubicBezTo>
                            <a:pt x="758" y="0"/>
                            <a:pt x="0" y="567"/>
                            <a:pt x="0" y="1186"/>
                          </a:cubicBezTo>
                          <a:lnTo>
                            <a:pt x="0" y="8866"/>
                          </a:lnTo>
                          <a:cubicBezTo>
                            <a:pt x="0" y="9433"/>
                            <a:pt x="606" y="9897"/>
                            <a:pt x="1439" y="10000"/>
                          </a:cubicBezTo>
                          <a:cubicBezTo>
                            <a:pt x="8925" y="9998"/>
                            <a:pt x="10000" y="7113"/>
                            <a:pt x="10000" y="3608"/>
                          </a:cubicBezTo>
                          <a:close/>
                        </a:path>
                      </a:pathLst>
                    </a:custGeom>
                    <a:solidFill>
                      <a:srgbClr val="D7D7D7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3" name="Freeform 65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-497680" y="2906077"/>
                      <a:ext cx="577849" cy="718344"/>
                    </a:xfrm>
                    <a:custGeom>
                      <a:avLst/>
                      <a:gdLst/>
                      <a:ahLst/>
                      <a:cxnLst>
                        <a:cxn ang="0">
                          <a:pos x="131" y="0"/>
                        </a:cxn>
                        <a:cxn ang="0">
                          <a:pos x="44" y="0"/>
                        </a:cxn>
                        <a:cxn ang="0">
                          <a:pos x="83" y="64"/>
                        </a:cxn>
                        <a:cxn ang="0">
                          <a:pos x="0" y="194"/>
                        </a:cxn>
                        <a:cxn ang="0">
                          <a:pos x="131" y="194"/>
                        </a:cxn>
                        <a:cxn ang="0">
                          <a:pos x="155" y="171"/>
                        </a:cxn>
                        <a:cxn ang="0">
                          <a:pos x="155" y="22"/>
                        </a:cxn>
                        <a:cxn ang="0">
                          <a:pos x="131" y="0"/>
                        </a:cxn>
                      </a:cxnLst>
                      <a:rect l="0" t="0" r="r" b="b"/>
                      <a:pathLst>
                        <a:path w="155" h="194">
                          <a:moveTo>
                            <a:pt x="131" y="0"/>
                          </a:moveTo>
                          <a:cubicBezTo>
                            <a:pt x="44" y="0"/>
                            <a:pt x="44" y="0"/>
                            <a:pt x="44" y="0"/>
                          </a:cubicBezTo>
                          <a:cubicBezTo>
                            <a:pt x="44" y="0"/>
                            <a:pt x="80" y="19"/>
                            <a:pt x="83" y="64"/>
                          </a:cubicBezTo>
                          <a:cubicBezTo>
                            <a:pt x="87" y="108"/>
                            <a:pt x="57" y="178"/>
                            <a:pt x="0" y="194"/>
                          </a:cubicBezTo>
                          <a:cubicBezTo>
                            <a:pt x="131" y="194"/>
                            <a:pt x="131" y="194"/>
                            <a:pt x="131" y="194"/>
                          </a:cubicBezTo>
                          <a:cubicBezTo>
                            <a:pt x="144" y="194"/>
                            <a:pt x="155" y="183"/>
                            <a:pt x="155" y="171"/>
                          </a:cubicBezTo>
                          <a:cubicBezTo>
                            <a:pt x="155" y="22"/>
                            <a:pt x="155" y="22"/>
                            <a:pt x="155" y="22"/>
                          </a:cubicBezTo>
                          <a:cubicBezTo>
                            <a:pt x="155" y="10"/>
                            <a:pt x="144" y="0"/>
                            <a:pt x="131" y="0"/>
                          </a:cubicBezTo>
                          <a:close/>
                        </a:path>
                      </a:pathLst>
                    </a:custGeom>
                    <a:solidFill>
                      <a:srgbClr val="E6E6E6">
                        <a:alpha val="70000"/>
                      </a:srgb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noProof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87" name="Textfeld 86"/>
                  <p:cNvSpPr txBox="1"/>
                  <p:nvPr/>
                </p:nvSpPr>
                <p:spPr bwMode="gray">
                  <a:xfrm>
                    <a:off x="1466547" y="2373706"/>
                    <a:ext cx="546625" cy="123110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 anchorCtr="0">
                    <a:spAutoFit/>
                  </a:bodyPr>
                  <a:lstStyle/>
                  <a:p>
                    <a:pPr algn="ctr"/>
                    <a:r>
                      <a:rPr lang="en-US" sz="8000" b="1" noProof="1" smtClean="0">
                        <a:solidFill>
                          <a:srgbClr val="000000"/>
                        </a:solidFill>
                      </a:rPr>
                      <a:t>P</a:t>
                    </a:r>
                    <a:endParaRPr lang="en-US" sz="8000" b="1" noProof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trix for the devision and basic concept of competition </a:t>
            </a:r>
            <a:r>
              <a:rPr lang="en-US" noProof="1"/>
              <a:t>s</a:t>
            </a:r>
            <a:r>
              <a:rPr lang="en-US" noProof="1" smtClean="0"/>
              <a:t>trategies</a:t>
            </a:r>
            <a:endParaRPr lang="en-US" noProof="1"/>
          </a:p>
        </p:txBody>
      </p:sp>
      <p:grpSp>
        <p:nvGrpSpPr>
          <p:cNvPr id="55" name="Gruppieren 54"/>
          <p:cNvGrpSpPr/>
          <p:nvPr/>
        </p:nvGrpSpPr>
        <p:grpSpPr>
          <a:xfrm>
            <a:off x="264260" y="1516444"/>
            <a:ext cx="8556682" cy="4302021"/>
            <a:chOff x="264260" y="1516444"/>
            <a:chExt cx="8556682" cy="4302021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893862" y="1555749"/>
              <a:ext cx="7927080" cy="3659614"/>
              <a:chOff x="893862" y="1555749"/>
              <a:chExt cx="7927080" cy="3659614"/>
            </a:xfrm>
          </p:grpSpPr>
          <p:sp>
            <p:nvSpPr>
              <p:cNvPr id="45" name="Rechteck 22"/>
              <p:cNvSpPr/>
              <p:nvPr/>
            </p:nvSpPr>
            <p:spPr bwMode="gray">
              <a:xfrm>
                <a:off x="893862" y="1555749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963540" y="0"/>
                    </a:lnTo>
                    <a:lnTo>
                      <a:pt x="3963540" y="1051594"/>
                    </a:lnTo>
                    <a:cubicBezTo>
                      <a:pt x="3536062" y="1055050"/>
                      <a:pt x="3190480" y="1401859"/>
                      <a:pt x="3188847" y="1829807"/>
                    </a:cubicBezTo>
                    <a:lnTo>
                      <a:pt x="0" y="182980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Rechteck 23"/>
              <p:cNvSpPr/>
              <p:nvPr/>
            </p:nvSpPr>
            <p:spPr bwMode="gray">
              <a:xfrm>
                <a:off x="893862" y="3385556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188847" y="0"/>
                    </a:lnTo>
                    <a:lnTo>
                      <a:pt x="3188678" y="3349"/>
                    </a:lnTo>
                    <a:cubicBezTo>
                      <a:pt x="3188678" y="432835"/>
                      <a:pt x="3534947" y="781446"/>
                      <a:pt x="3963540" y="784911"/>
                    </a:cubicBezTo>
                    <a:lnTo>
                      <a:pt x="3963540" y="1829807"/>
                    </a:lnTo>
                    <a:lnTo>
                      <a:pt x="0" y="182980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Rechteck 24"/>
              <p:cNvSpPr/>
              <p:nvPr/>
            </p:nvSpPr>
            <p:spPr bwMode="gray">
              <a:xfrm>
                <a:off x="4857402" y="1555749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963540" y="0"/>
                    </a:lnTo>
                    <a:lnTo>
                      <a:pt x="3963540" y="1829807"/>
                    </a:lnTo>
                    <a:lnTo>
                      <a:pt x="788805" y="1829807"/>
                    </a:lnTo>
                    <a:cubicBezTo>
                      <a:pt x="787163" y="1399506"/>
                      <a:pt x="437780" y="1051238"/>
                      <a:pt x="7056" y="1051238"/>
                    </a:cubicBezTo>
                    <a:cubicBezTo>
                      <a:pt x="4701" y="1051238"/>
                      <a:pt x="2348" y="1051249"/>
                      <a:pt x="0" y="105159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Rechteck 25"/>
              <p:cNvSpPr/>
              <p:nvPr/>
            </p:nvSpPr>
            <p:spPr bwMode="gray">
              <a:xfrm>
                <a:off x="4857402" y="3385556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788805" y="0"/>
                    </a:moveTo>
                    <a:lnTo>
                      <a:pt x="3963540" y="0"/>
                    </a:lnTo>
                    <a:lnTo>
                      <a:pt x="3963540" y="1829807"/>
                    </a:lnTo>
                    <a:lnTo>
                      <a:pt x="0" y="1829807"/>
                    </a:lnTo>
                    <a:lnTo>
                      <a:pt x="0" y="784911"/>
                    </a:lnTo>
                    <a:lnTo>
                      <a:pt x="7056" y="785267"/>
                    </a:lnTo>
                    <a:cubicBezTo>
                      <a:pt x="438897" y="785267"/>
                      <a:pt x="788974" y="435190"/>
                      <a:pt x="788974" y="3349"/>
                    </a:cubicBezTo>
                    <a:cubicBezTo>
                      <a:pt x="788974" y="2232"/>
                      <a:pt x="788972" y="1115"/>
                      <a:pt x="78880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Ellipse 51"/>
              <p:cNvSpPr/>
              <p:nvPr/>
            </p:nvSpPr>
            <p:spPr bwMode="gray">
              <a:xfrm>
                <a:off x="4251192" y="2775639"/>
                <a:ext cx="1226533" cy="122653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cxnSp>
            <p:nvCxnSpPr>
              <p:cNvPr id="53" name="Gerade Verbindung mit Pfeil 52"/>
              <p:cNvCxnSpPr/>
              <p:nvPr/>
            </p:nvCxnSpPr>
            <p:spPr bwMode="gray">
              <a:xfrm flipV="1">
                <a:off x="4204821" y="2706059"/>
                <a:ext cx="1323716" cy="1361910"/>
              </a:xfrm>
              <a:prstGeom prst="straightConnector1">
                <a:avLst/>
              </a:prstGeom>
              <a:ln w="38100">
                <a:solidFill>
                  <a:srgbClr val="0070C0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mit Pfeil 53"/>
              <p:cNvCxnSpPr/>
              <p:nvPr/>
            </p:nvCxnSpPr>
            <p:spPr bwMode="gray">
              <a:xfrm flipH="1" flipV="1">
                <a:off x="4204821" y="2706059"/>
                <a:ext cx="1323716" cy="1361910"/>
              </a:xfrm>
              <a:prstGeom prst="straightConnector1">
                <a:avLst/>
              </a:prstGeom>
              <a:ln w="38100">
                <a:solidFill>
                  <a:srgbClr val="0070C0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Textfeld 18"/>
            <p:cNvSpPr txBox="1"/>
            <p:nvPr/>
          </p:nvSpPr>
          <p:spPr bwMode="gray">
            <a:xfrm>
              <a:off x="3894107" y="5541466"/>
              <a:ext cx="223394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/>
                <a:t>Competitive advantage</a:t>
              </a:r>
            </a:p>
          </p:txBody>
        </p:sp>
        <p:sp>
          <p:nvSpPr>
            <p:cNvPr id="21" name="Textfeld 20"/>
            <p:cNvSpPr txBox="1"/>
            <p:nvPr/>
          </p:nvSpPr>
          <p:spPr bwMode="gray">
            <a:xfrm>
              <a:off x="893051" y="5308096"/>
              <a:ext cx="173675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Performance advantage</a:t>
              </a:r>
              <a:endParaRPr lang="en-US" sz="1400" noProof="1"/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7702366" y="5308096"/>
              <a:ext cx="111857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Cost advantage</a:t>
              </a:r>
              <a:endParaRPr lang="en-US" sz="1400" noProof="1"/>
            </a:p>
          </p:txBody>
        </p:sp>
        <p:cxnSp>
          <p:nvCxnSpPr>
            <p:cNvPr id="26" name="Gerade Verbindung mit Pfeil 25"/>
            <p:cNvCxnSpPr/>
            <p:nvPr/>
          </p:nvCxnSpPr>
          <p:spPr bwMode="gray">
            <a:xfrm flipV="1">
              <a:off x="731402" y="2757268"/>
              <a:ext cx="0" cy="1536412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 bwMode="gray">
            <a:xfrm rot="16200000">
              <a:off x="300500" y="4768221"/>
              <a:ext cx="842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Sub-market</a:t>
              </a:r>
              <a:endParaRPr lang="en-US" sz="1400" noProof="1"/>
            </a:p>
          </p:txBody>
        </p:sp>
        <p:sp>
          <p:nvSpPr>
            <p:cNvPr id="30" name="Textfeld 29"/>
            <p:cNvSpPr txBox="1"/>
            <p:nvPr/>
          </p:nvSpPr>
          <p:spPr bwMode="gray">
            <a:xfrm rot="16200000">
              <a:off x="184573" y="1946081"/>
              <a:ext cx="107471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Overall market</a:t>
              </a:r>
              <a:endParaRPr lang="en-US" sz="14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 rot="16200000">
              <a:off x="-670194" y="3389286"/>
              <a:ext cx="214590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Degree of competition</a:t>
              </a:r>
              <a:endParaRPr lang="en-US" b="1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1205318" y="1916113"/>
              <a:ext cx="241348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Differentiation strategy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performance/quality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uniqueness</a:t>
              </a:r>
              <a:endParaRPr lang="en-US" noProof="1">
                <a:solidFill>
                  <a:srgbClr val="000000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 bwMode="gray">
            <a:xfrm>
              <a:off x="5652120" y="1916113"/>
              <a:ext cx="208961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Cost leadership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price/costs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standard product</a:t>
              </a:r>
              <a:endParaRPr lang="en-US" noProof="1">
                <a:solidFill>
                  <a:srgbClr val="000000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1205318" y="3861048"/>
              <a:ext cx="2691442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Differentiation focus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specific need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relatively price-inelastic</a:t>
              </a:r>
              <a:endParaRPr lang="en-US" noProof="1">
                <a:solidFill>
                  <a:srgbClr val="000000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5580112" y="3861048"/>
              <a:ext cx="165532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Cost focus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limited need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en-US" noProof="1" smtClean="0">
                  <a:solidFill>
                    <a:srgbClr val="000000"/>
                  </a:solidFill>
                </a:rPr>
                <a:t>price elastic</a:t>
              </a:r>
              <a:endParaRPr lang="en-US" noProof="1">
                <a:solidFill>
                  <a:srgbClr val="000000"/>
                </a:solidFill>
              </a:endParaRPr>
            </a:p>
          </p:txBody>
        </p:sp>
        <p:cxnSp>
          <p:nvCxnSpPr>
            <p:cNvPr id="31" name="Gerade Verbindung mit Pfeil 30"/>
            <p:cNvCxnSpPr/>
            <p:nvPr/>
          </p:nvCxnSpPr>
          <p:spPr bwMode="gray">
            <a:xfrm>
              <a:off x="2962275" y="5416189"/>
              <a:ext cx="4373574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/>
              <a:t>Matrix for the devision and basic concept of competition strategies</a:t>
            </a:r>
          </a:p>
        </p:txBody>
      </p:sp>
      <p:grpSp>
        <p:nvGrpSpPr>
          <p:cNvPr id="47" name="Gruppieren 46"/>
          <p:cNvGrpSpPr/>
          <p:nvPr/>
        </p:nvGrpSpPr>
        <p:grpSpPr>
          <a:xfrm>
            <a:off x="264255" y="1517697"/>
            <a:ext cx="8556687" cy="4300768"/>
            <a:chOff x="264255" y="1517697"/>
            <a:chExt cx="8556687" cy="4300768"/>
          </a:xfrm>
        </p:grpSpPr>
        <p:grpSp>
          <p:nvGrpSpPr>
            <p:cNvPr id="27" name="Gruppieren 26"/>
            <p:cNvGrpSpPr/>
            <p:nvPr/>
          </p:nvGrpSpPr>
          <p:grpSpPr>
            <a:xfrm>
              <a:off x="893862" y="1555749"/>
              <a:ext cx="7927080" cy="3659614"/>
              <a:chOff x="893862" y="1555749"/>
              <a:chExt cx="7927080" cy="3659614"/>
            </a:xfrm>
          </p:grpSpPr>
          <p:sp>
            <p:nvSpPr>
              <p:cNvPr id="28" name="Rechteck 22"/>
              <p:cNvSpPr/>
              <p:nvPr/>
            </p:nvSpPr>
            <p:spPr bwMode="gray">
              <a:xfrm>
                <a:off x="893862" y="1555749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963540" y="0"/>
                    </a:lnTo>
                    <a:lnTo>
                      <a:pt x="3963540" y="1051594"/>
                    </a:lnTo>
                    <a:cubicBezTo>
                      <a:pt x="3536062" y="1055050"/>
                      <a:pt x="3190480" y="1401859"/>
                      <a:pt x="3188847" y="1829807"/>
                    </a:cubicBezTo>
                    <a:lnTo>
                      <a:pt x="0" y="182980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" name="Rechteck 23"/>
              <p:cNvSpPr/>
              <p:nvPr/>
            </p:nvSpPr>
            <p:spPr bwMode="gray">
              <a:xfrm>
                <a:off x="893862" y="3385556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188847" y="0"/>
                    </a:lnTo>
                    <a:lnTo>
                      <a:pt x="3188678" y="3349"/>
                    </a:lnTo>
                    <a:cubicBezTo>
                      <a:pt x="3188678" y="432835"/>
                      <a:pt x="3534947" y="781446"/>
                      <a:pt x="3963540" y="784911"/>
                    </a:cubicBezTo>
                    <a:lnTo>
                      <a:pt x="3963540" y="1829807"/>
                    </a:lnTo>
                    <a:lnTo>
                      <a:pt x="0" y="182980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" name="Rechteck 24"/>
              <p:cNvSpPr/>
              <p:nvPr/>
            </p:nvSpPr>
            <p:spPr bwMode="gray">
              <a:xfrm>
                <a:off x="4857402" y="1555749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0" y="0"/>
                    </a:moveTo>
                    <a:lnTo>
                      <a:pt x="3963540" y="0"/>
                    </a:lnTo>
                    <a:lnTo>
                      <a:pt x="3963540" y="1829807"/>
                    </a:lnTo>
                    <a:lnTo>
                      <a:pt x="788805" y="1829807"/>
                    </a:lnTo>
                    <a:cubicBezTo>
                      <a:pt x="787163" y="1399506"/>
                      <a:pt x="437780" y="1051238"/>
                      <a:pt x="7056" y="1051238"/>
                    </a:cubicBezTo>
                    <a:cubicBezTo>
                      <a:pt x="4701" y="1051238"/>
                      <a:pt x="2348" y="1051249"/>
                      <a:pt x="0" y="105159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Rechteck 25"/>
              <p:cNvSpPr/>
              <p:nvPr/>
            </p:nvSpPr>
            <p:spPr bwMode="gray">
              <a:xfrm>
                <a:off x="4857402" y="3385556"/>
                <a:ext cx="3963540" cy="1829807"/>
              </a:xfrm>
              <a:custGeom>
                <a:avLst/>
                <a:gdLst/>
                <a:ahLst/>
                <a:cxnLst/>
                <a:rect l="l" t="t" r="r" b="b"/>
                <a:pathLst>
                  <a:path w="3963540" h="1829807">
                    <a:moveTo>
                      <a:pt x="788805" y="0"/>
                    </a:moveTo>
                    <a:lnTo>
                      <a:pt x="3963540" y="0"/>
                    </a:lnTo>
                    <a:lnTo>
                      <a:pt x="3963540" y="1829807"/>
                    </a:lnTo>
                    <a:lnTo>
                      <a:pt x="0" y="1829807"/>
                    </a:lnTo>
                    <a:lnTo>
                      <a:pt x="0" y="784911"/>
                    </a:lnTo>
                    <a:lnTo>
                      <a:pt x="7056" y="785267"/>
                    </a:lnTo>
                    <a:cubicBezTo>
                      <a:pt x="438897" y="785267"/>
                      <a:pt x="788974" y="435190"/>
                      <a:pt x="788974" y="3349"/>
                    </a:cubicBezTo>
                    <a:cubicBezTo>
                      <a:pt x="788974" y="2232"/>
                      <a:pt x="788972" y="1115"/>
                      <a:pt x="78880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" name="Ellipse 38"/>
              <p:cNvSpPr/>
              <p:nvPr/>
            </p:nvSpPr>
            <p:spPr bwMode="gray">
              <a:xfrm>
                <a:off x="4251192" y="2775639"/>
                <a:ext cx="1226533" cy="122653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0000" tIns="46800" rIns="90000" bIns="46800" anchor="ctr" anchorCtr="0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buClr>
                    <a:srgbClr val="969696"/>
                  </a:buClr>
                  <a:defRPr/>
                </a:pPr>
                <a:endParaRPr lang="de-DE" sz="105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cxnSp>
            <p:nvCxnSpPr>
              <p:cNvPr id="40" name="Gerade Verbindung mit Pfeil 39"/>
              <p:cNvCxnSpPr/>
              <p:nvPr/>
            </p:nvCxnSpPr>
            <p:spPr bwMode="gray">
              <a:xfrm flipV="1">
                <a:off x="4204821" y="2706059"/>
                <a:ext cx="1323716" cy="1361910"/>
              </a:xfrm>
              <a:prstGeom prst="straightConnector1">
                <a:avLst/>
              </a:prstGeom>
              <a:ln w="38100">
                <a:solidFill>
                  <a:srgbClr val="0070C0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/>
              <p:cNvCxnSpPr/>
              <p:nvPr/>
            </p:nvCxnSpPr>
            <p:spPr bwMode="gray">
              <a:xfrm flipH="1" flipV="1">
                <a:off x="4204821" y="2706059"/>
                <a:ext cx="1323716" cy="1361910"/>
              </a:xfrm>
              <a:prstGeom prst="straightConnector1">
                <a:avLst/>
              </a:prstGeom>
              <a:ln w="38100">
                <a:solidFill>
                  <a:srgbClr val="0070C0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Textfeld 18"/>
            <p:cNvSpPr txBox="1"/>
            <p:nvPr/>
          </p:nvSpPr>
          <p:spPr bwMode="gray">
            <a:xfrm>
              <a:off x="3894107" y="5541466"/>
              <a:ext cx="220938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Competitive advantage</a:t>
              </a:r>
              <a:endParaRPr lang="en-US" b="1" noProof="1"/>
            </a:p>
          </p:txBody>
        </p:sp>
        <p:sp>
          <p:nvSpPr>
            <p:cNvPr id="21" name="Textfeld 20"/>
            <p:cNvSpPr txBox="1"/>
            <p:nvPr/>
          </p:nvSpPr>
          <p:spPr bwMode="gray">
            <a:xfrm>
              <a:off x="893051" y="5308096"/>
              <a:ext cx="173675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/>
                <a:t>Performance advantage</a:t>
              </a: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7702366" y="5308096"/>
              <a:ext cx="111857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400" noProof="1"/>
                <a:t>Cost advantage</a:t>
              </a:r>
            </a:p>
          </p:txBody>
        </p:sp>
        <p:cxnSp>
          <p:nvCxnSpPr>
            <p:cNvPr id="23" name="Gerade Verbindung mit Pfeil 22"/>
            <p:cNvCxnSpPr/>
            <p:nvPr/>
          </p:nvCxnSpPr>
          <p:spPr bwMode="gray">
            <a:xfrm>
              <a:off x="2962275" y="5416189"/>
              <a:ext cx="4373574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/>
            <p:nvPr/>
          </p:nvCxnSpPr>
          <p:spPr bwMode="gray">
            <a:xfrm flipV="1">
              <a:off x="731402" y="2757268"/>
              <a:ext cx="0" cy="1536412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 bwMode="gray">
            <a:xfrm rot="16200000">
              <a:off x="300500" y="4768221"/>
              <a:ext cx="842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/>
                <a:t>Sub-market</a:t>
              </a:r>
            </a:p>
          </p:txBody>
        </p:sp>
        <p:sp>
          <p:nvSpPr>
            <p:cNvPr id="30" name="Textfeld 29"/>
            <p:cNvSpPr txBox="1"/>
            <p:nvPr/>
          </p:nvSpPr>
          <p:spPr bwMode="gray">
            <a:xfrm rot="16200000">
              <a:off x="176301" y="1955606"/>
              <a:ext cx="109126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400" noProof="1"/>
                <a:t>Overall market</a:t>
              </a:r>
            </a:p>
          </p:txBody>
        </p:sp>
        <p:sp>
          <p:nvSpPr>
            <p:cNvPr id="32" name="Textfeld 31"/>
            <p:cNvSpPr txBox="1"/>
            <p:nvPr/>
          </p:nvSpPr>
          <p:spPr bwMode="gray">
            <a:xfrm rot="16200000">
              <a:off x="-670199" y="3389286"/>
              <a:ext cx="214590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/>
                <a:t>Degree of competition</a:t>
              </a:r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1205318" y="1916113"/>
              <a:ext cx="199086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Strategy of quality </a:t>
              </a:r>
              <a:br>
                <a:rPr lang="en-US" b="1" noProof="1" smtClean="0">
                  <a:solidFill>
                    <a:srgbClr val="000000"/>
                  </a:solidFill>
                </a:rPr>
              </a:br>
              <a:r>
                <a:rPr lang="en-US" b="1" noProof="1" smtClean="0">
                  <a:solidFill>
                    <a:srgbClr val="000000"/>
                  </a:solidFill>
                </a:rPr>
                <a:t>leadership</a:t>
              </a:r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5652120" y="1916113"/>
              <a:ext cx="231832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Strategy of aggressive </a:t>
              </a:r>
              <a:br>
                <a:rPr lang="en-US" b="1" noProof="1" smtClean="0">
                  <a:solidFill>
                    <a:srgbClr val="000000"/>
                  </a:solidFill>
                </a:rPr>
              </a:br>
              <a:r>
                <a:rPr lang="en-US" b="1" noProof="1" smtClean="0">
                  <a:solidFill>
                    <a:srgbClr val="000000"/>
                  </a:solidFill>
                </a:rPr>
                <a:t>cost leadership</a:t>
              </a:r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1205318" y="3861048"/>
              <a:ext cx="210897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Strategy of selective</a:t>
              </a:r>
            </a:p>
            <a:p>
              <a:r>
                <a:rPr lang="en-US" b="1" noProof="1" smtClean="0">
                  <a:solidFill>
                    <a:srgbClr val="000000"/>
                  </a:solidFill>
                </a:rPr>
                <a:t>Quality leadership</a:t>
              </a:r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5580112" y="3861048"/>
              <a:ext cx="216187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>
                  <a:solidFill>
                    <a:srgbClr val="000000"/>
                  </a:solidFill>
                </a:rPr>
                <a:t>Strategy of selective </a:t>
              </a:r>
            </a:p>
            <a:p>
              <a:r>
                <a:rPr lang="en-US" b="1" noProof="1" smtClean="0">
                  <a:solidFill>
                    <a:srgbClr val="000000"/>
                  </a:solidFill>
                </a:rPr>
                <a:t>Cost leadership</a:t>
              </a:r>
              <a:endParaRPr lang="en-US" noProof="1" smtClean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/>
              <a:t>Matrix for the devision and basic concept of competition strategies</a:t>
            </a:r>
          </a:p>
        </p:txBody>
      </p:sp>
      <p:grpSp>
        <p:nvGrpSpPr>
          <p:cNvPr id="4" name="Gruppieren 18"/>
          <p:cNvGrpSpPr/>
          <p:nvPr/>
        </p:nvGrpSpPr>
        <p:grpSpPr>
          <a:xfrm>
            <a:off x="323850" y="1555749"/>
            <a:ext cx="8496300" cy="4246564"/>
            <a:chOff x="323850" y="1555749"/>
            <a:chExt cx="8496300" cy="4246564"/>
          </a:xfrm>
        </p:grpSpPr>
        <p:sp>
          <p:nvSpPr>
            <p:cNvPr id="15" name="Rechteck 14"/>
            <p:cNvSpPr/>
            <p:nvPr/>
          </p:nvSpPr>
          <p:spPr bwMode="gray">
            <a:xfrm>
              <a:off x="323850" y="1555750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3850" y="2971271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Industry wide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3850" y="4386792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Limitation to one segment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3647298" y="1555750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Singularity from customers perspective</a:t>
              </a: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3647298" y="2971271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differentiation</a:t>
              </a: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6233328" y="1555750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st advantage</a:t>
              </a: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6233328" y="2971271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xtensive </a:t>
              </a:r>
            </a:p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ost leadership</a:t>
              </a:r>
            </a:p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28"/>
            <p:cNvSpPr/>
            <p:nvPr/>
          </p:nvSpPr>
          <p:spPr bwMode="gray">
            <a:xfrm>
              <a:off x="3647298" y="4386792"/>
              <a:ext cx="517285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Focusing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2441912" y="1584325"/>
              <a:ext cx="1176283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Strategic 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advantage</a:t>
              </a:r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352425" y="2296365"/>
              <a:ext cx="140673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Strategic</a:t>
              </a:r>
            </a:p>
            <a:p>
              <a:pPr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target object</a:t>
              </a:r>
            </a:p>
          </p:txBody>
        </p:sp>
        <p:cxnSp>
          <p:nvCxnSpPr>
            <p:cNvPr id="35" name="Gerade Verbindung 34"/>
            <p:cNvCxnSpPr>
              <a:stCxn id="41" idx="0"/>
            </p:cNvCxnSpPr>
            <p:nvPr/>
          </p:nvCxnSpPr>
          <p:spPr bwMode="gray">
            <a:xfrm rot="16200000" flipH="1">
              <a:off x="1277814" y="601786"/>
              <a:ext cx="1415521" cy="3323448"/>
            </a:xfrm>
            <a:prstGeom prst="line">
              <a:avLst/>
            </a:prstGeom>
            <a:ln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86701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Field Strategies according to Ansoff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nsoff-matrix with the representation of product-market-strategies </a:t>
            </a:r>
            <a:endParaRPr lang="en-US" noProof="1"/>
          </a:p>
        </p:txBody>
      </p:sp>
      <p:grpSp>
        <p:nvGrpSpPr>
          <p:cNvPr id="4" name="Gruppieren 18"/>
          <p:cNvGrpSpPr/>
          <p:nvPr/>
        </p:nvGrpSpPr>
        <p:grpSpPr bwMode="gray">
          <a:xfrm>
            <a:off x="323850" y="1555749"/>
            <a:ext cx="8496300" cy="4246564"/>
            <a:chOff x="323850" y="1555749"/>
            <a:chExt cx="8496300" cy="4246564"/>
          </a:xfrm>
        </p:grpSpPr>
        <p:sp>
          <p:nvSpPr>
            <p:cNvPr id="15" name="Rechteck 14"/>
            <p:cNvSpPr/>
            <p:nvPr/>
          </p:nvSpPr>
          <p:spPr bwMode="gray">
            <a:xfrm>
              <a:off x="323850" y="1555750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3850" y="2971271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xisting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3850" y="4386792"/>
              <a:ext cx="3322920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New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3647298" y="1555750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xisting</a:t>
              </a: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3647298" y="2971271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 penetration</a:t>
              </a: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6233328" y="1555750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New</a:t>
              </a: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6233328" y="2971271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 development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2211078" y="1768991"/>
              <a:ext cx="9336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duct</a:t>
              </a:r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745889" y="2296365"/>
              <a:ext cx="88049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rket</a:t>
              </a:r>
            </a:p>
          </p:txBody>
        </p:sp>
        <p:cxnSp>
          <p:nvCxnSpPr>
            <p:cNvPr id="35" name="Gerade Verbindung 34"/>
            <p:cNvCxnSpPr/>
            <p:nvPr/>
          </p:nvCxnSpPr>
          <p:spPr bwMode="gray">
            <a:xfrm rot="16200000" flipH="1">
              <a:off x="1277814" y="601786"/>
              <a:ext cx="1415521" cy="3323448"/>
            </a:xfrm>
            <a:prstGeom prst="line">
              <a:avLst/>
            </a:prstGeom>
            <a:ln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hteck 18"/>
            <p:cNvSpPr/>
            <p:nvPr/>
          </p:nvSpPr>
          <p:spPr bwMode="gray">
            <a:xfrm>
              <a:off x="3647298" y="4386792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Product development</a:t>
              </a: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6233328" y="4386792"/>
              <a:ext cx="2586822" cy="141552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Diversification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701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of Marketing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72326" y="2574751"/>
            <a:ext cx="7052430" cy="1866108"/>
            <a:chOff x="1172326" y="2574751"/>
            <a:chExt cx="7052430" cy="18661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785747"/>
              <a:ext cx="6799349" cy="140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>
                  <a:latin typeface="+mj-lt"/>
                </a:rPr>
                <a:t>Marketing is the activity, set of institutions, </a:t>
              </a:r>
              <a:br>
                <a:rPr lang="en-US" sz="2400" i="1" noProof="1" smtClean="0">
                  <a:latin typeface="+mj-lt"/>
                </a:rPr>
              </a:br>
              <a:r>
                <a:rPr lang="en-US" sz="2400" i="1" noProof="1" smtClean="0">
                  <a:latin typeface="+mj-lt"/>
                </a:rPr>
                <a:t>and processes for creating, communicating,delivering, and exchanging offerings that have value for customers, clients, partners, and society at large.</a:t>
              </a: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233140" y="257475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7663340" y="395346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2156460" y="4320937"/>
            <a:ext cx="48310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noProof="1" smtClean="0">
                <a:solidFill>
                  <a:schemeClr val="bg1">
                    <a:lumMod val="50000"/>
                  </a:schemeClr>
                </a:solidFill>
              </a:rPr>
              <a:t>The American Marketing Association (Oct 2007)</a:t>
            </a:r>
          </a:p>
        </p:txBody>
      </p: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Norm Strategies </a:t>
            </a:r>
            <a:r>
              <a:rPr lang="en-US" b="0" noProof="1" smtClean="0"/>
              <a:t>- McKinsey/G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grpSp>
        <p:nvGrpSpPr>
          <p:cNvPr id="35" name="Gruppieren 34"/>
          <p:cNvGrpSpPr/>
          <p:nvPr/>
        </p:nvGrpSpPr>
        <p:grpSpPr bwMode="gray">
          <a:xfrm>
            <a:off x="321790" y="1555749"/>
            <a:ext cx="8107835" cy="4193977"/>
            <a:chOff x="321790" y="1555749"/>
            <a:chExt cx="8107835" cy="4193977"/>
          </a:xfrm>
        </p:grpSpPr>
        <p:sp>
          <p:nvSpPr>
            <p:cNvPr id="14" name="Rechteck 13"/>
            <p:cNvSpPr/>
            <p:nvPr/>
          </p:nvSpPr>
          <p:spPr bwMode="gray">
            <a:xfrm>
              <a:off x="1608907" y="1736183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Specializing in few strength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Overcoming weaknesse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Retreat when missing signs for continuous growth</a:t>
              </a: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3262071" y="1736183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Fight for the market leadership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Usage of strength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Strengthening of poorly performing areas</a:t>
              </a:r>
              <a:endParaRPr lang="en-US" sz="100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4915235" y="1736183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Maximum investment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Concentration on preservation of existing strength</a:t>
              </a:r>
              <a:endParaRPr lang="en-US" sz="100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1608907" y="2971447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Search for low risk expansion possibilitie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Minimizing of investment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Rationalizing of internal processes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3262071" y="2971447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Defending of position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Concentration of investments of attractive and low risk areas</a:t>
              </a: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4915235" y="2971447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High investments in attractive segment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Defense against competitor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Increasing productivity</a:t>
              </a:r>
              <a:endParaRPr lang="en-US" sz="100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1608907" y="4206711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Sales with increasing profit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Reduction of fixed cost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No investments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3262071" y="4206711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Defense of position in most profitable area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Improvement of product line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080808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080808"/>
                  </a:solidFill>
                  <a:cs typeface="Arial" charset="0"/>
                </a:rPr>
                <a:t>Minimizing investments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4915235" y="4206711"/>
              <a:ext cx="1653164" cy="123526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000" tIns="36000" rIns="36000" bIns="36000" anchor="ctr" anchorCtr="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Realization of profit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Concentration of most attractive segments</a:t>
              </a: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FFFFFF"/>
                </a:buClr>
                <a:buFont typeface="Wingdings" pitchFamily="2" charset="2"/>
                <a:buChar char="§"/>
                <a:defRPr/>
              </a:pPr>
              <a:r>
                <a:rPr lang="en-US" sz="1000" noProof="1" smtClean="0">
                  <a:solidFill>
                    <a:srgbClr val="FFFFFF"/>
                  </a:solidFill>
                  <a:cs typeface="Arial" charset="0"/>
                </a:rPr>
                <a:t>Defense of existing strength</a:t>
              </a:r>
            </a:p>
          </p:txBody>
        </p:sp>
        <p:grpSp>
          <p:nvGrpSpPr>
            <p:cNvPr id="5" name="Gruppieren 28"/>
            <p:cNvGrpSpPr/>
            <p:nvPr/>
          </p:nvGrpSpPr>
          <p:grpSpPr bwMode="gray">
            <a:xfrm>
              <a:off x="1607878" y="1555750"/>
              <a:ext cx="5209992" cy="3886995"/>
              <a:chOff x="-2647767" y="1429544"/>
              <a:chExt cx="4019370" cy="4013202"/>
            </a:xfrm>
          </p:grpSpPr>
          <p:cxnSp>
            <p:nvCxnSpPr>
              <p:cNvPr id="25" name="Gerade Verbindung mit Pfeil 24"/>
              <p:cNvCxnSpPr/>
              <p:nvPr/>
            </p:nvCxnSpPr>
            <p:spPr bwMode="gray">
              <a:xfrm rot="5400000" flipH="1" flipV="1">
                <a:off x="-4653573" y="3435350"/>
                <a:ext cx="4013200" cy="1588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/>
              <p:cNvCxnSpPr/>
              <p:nvPr/>
            </p:nvCxnSpPr>
            <p:spPr bwMode="gray">
              <a:xfrm>
                <a:off x="-2646180" y="5441951"/>
                <a:ext cx="4017783" cy="795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 bwMode="gray">
            <a:xfrm rot="16200000">
              <a:off x="836363" y="4670433"/>
              <a:ext cx="12352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low</a:t>
              </a:r>
              <a:endParaRPr lang="en-US" sz="14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 rot="16200000">
              <a:off x="836363" y="3435178"/>
              <a:ext cx="12352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medium</a:t>
              </a:r>
              <a:endParaRPr lang="en-US" sz="1400" noProof="1"/>
            </a:p>
          </p:txBody>
        </p:sp>
        <p:sp>
          <p:nvSpPr>
            <p:cNvPr id="34" name="Textfeld 33"/>
            <p:cNvSpPr txBox="1"/>
            <p:nvPr/>
          </p:nvSpPr>
          <p:spPr bwMode="gray">
            <a:xfrm rot="16200000">
              <a:off x="836363" y="2199923"/>
              <a:ext cx="12352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high</a:t>
              </a:r>
              <a:endParaRPr lang="en-US" sz="1400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1609937" y="5441949"/>
              <a:ext cx="16528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low</a:t>
              </a:r>
              <a:endParaRPr lang="en-US" sz="1400" noProof="1"/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3262758" y="5441949"/>
              <a:ext cx="16528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medium</a:t>
              </a:r>
              <a:endParaRPr lang="en-US" sz="1400" noProof="1"/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4915578" y="5441949"/>
              <a:ext cx="16528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high</a:t>
              </a:r>
              <a:endParaRPr lang="en-US" sz="1400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321790" y="1555749"/>
              <a:ext cx="12860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b="1" noProof="1" smtClean="0"/>
                <a:t>Market-</a:t>
              </a:r>
            </a:p>
            <a:p>
              <a:pPr algn="r"/>
              <a:r>
                <a:rPr lang="en-US" sz="1400" b="1" noProof="1" smtClean="0"/>
                <a:t>attractiveness</a:t>
              </a:r>
              <a:endParaRPr lang="en-US" sz="1400" b="1" noProof="1"/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6568399" y="4918729"/>
              <a:ext cx="128769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noProof="1"/>
                <a:t>Competitive </a:t>
              </a:r>
              <a:endParaRPr lang="en-US" sz="1400" b="1" noProof="1" smtClean="0"/>
            </a:p>
            <a:p>
              <a:r>
                <a:rPr lang="en-US" sz="1400" b="1" noProof="1" smtClean="0"/>
                <a:t>strength</a:t>
              </a:r>
              <a:endParaRPr lang="en-US" sz="1400" b="1" noProof="1"/>
            </a:p>
          </p:txBody>
        </p:sp>
        <p:grpSp>
          <p:nvGrpSpPr>
            <p:cNvPr id="6" name="Gruppieren 50"/>
            <p:cNvGrpSpPr/>
            <p:nvPr/>
          </p:nvGrpSpPr>
          <p:grpSpPr bwMode="gray">
            <a:xfrm>
              <a:off x="7072206" y="1736184"/>
              <a:ext cx="1286088" cy="859082"/>
              <a:chOff x="7142056" y="1555751"/>
              <a:chExt cx="1286088" cy="859082"/>
            </a:xfrm>
          </p:grpSpPr>
          <p:sp>
            <p:nvSpPr>
              <p:cNvPr id="42" name="Textfeld 41"/>
              <p:cNvSpPr txBox="1"/>
              <p:nvPr/>
            </p:nvSpPr>
            <p:spPr bwMode="gray">
              <a:xfrm>
                <a:off x="7142056" y="1953168"/>
                <a:ext cx="12860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noProof="1" smtClean="0"/>
                  <a:t>Invest</a:t>
                </a:r>
              </a:p>
              <a:p>
                <a:pPr algn="ctr"/>
                <a:r>
                  <a:rPr lang="en-US" sz="1200" noProof="1" smtClean="0"/>
                  <a:t>Develop</a:t>
                </a:r>
                <a:endParaRPr lang="en-US" sz="1200" noProof="1"/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7323305" y="1555751"/>
                <a:ext cx="923590" cy="39741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endParaRPr lang="en-US" sz="1400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uppieren 49"/>
            <p:cNvGrpSpPr/>
            <p:nvPr/>
          </p:nvGrpSpPr>
          <p:grpSpPr bwMode="gray">
            <a:xfrm>
              <a:off x="7072206" y="2831496"/>
              <a:ext cx="1286088" cy="859082"/>
              <a:chOff x="7072206" y="2574030"/>
              <a:chExt cx="1286088" cy="859082"/>
            </a:xfrm>
          </p:grpSpPr>
          <p:sp>
            <p:nvSpPr>
              <p:cNvPr id="43" name="Textfeld 42"/>
              <p:cNvSpPr txBox="1"/>
              <p:nvPr/>
            </p:nvSpPr>
            <p:spPr bwMode="gray">
              <a:xfrm>
                <a:off x="7072206" y="2971447"/>
                <a:ext cx="12860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noProof="1" smtClean="0"/>
                  <a:t>Devest</a:t>
                </a:r>
              </a:p>
              <a:p>
                <a:pPr algn="ctr"/>
                <a:r>
                  <a:rPr lang="en-US" sz="1200" noProof="1" smtClean="0"/>
                  <a:t>Develop</a:t>
                </a:r>
                <a:endParaRPr lang="en-US" sz="1200" noProof="1"/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7253455" y="2574030"/>
                <a:ext cx="923590" cy="39741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endParaRPr lang="en-US" sz="1400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23" name="Gruppieren 48"/>
            <p:cNvGrpSpPr/>
            <p:nvPr/>
          </p:nvGrpSpPr>
          <p:grpSpPr bwMode="gray">
            <a:xfrm>
              <a:off x="7000875" y="3926808"/>
              <a:ext cx="1428750" cy="859082"/>
              <a:chOff x="7000875" y="3470388"/>
              <a:chExt cx="1428750" cy="859082"/>
            </a:xfrm>
          </p:grpSpPr>
          <p:sp>
            <p:nvSpPr>
              <p:cNvPr id="44" name="Textfeld 43"/>
              <p:cNvSpPr txBox="1"/>
              <p:nvPr/>
            </p:nvSpPr>
            <p:spPr bwMode="gray">
              <a:xfrm>
                <a:off x="7000875" y="3867805"/>
                <a:ext cx="142875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noProof="1" smtClean="0"/>
                  <a:t>Selective action</a:t>
                </a:r>
              </a:p>
              <a:p>
                <a:pPr algn="ctr"/>
                <a:r>
                  <a:rPr lang="en-US" sz="1200" noProof="1" smtClean="0"/>
                  <a:t>Profit priority</a:t>
                </a:r>
                <a:endParaRPr lang="en-US" sz="1200" noProof="1"/>
              </a:p>
            </p:txBody>
          </p:sp>
          <p:sp>
            <p:nvSpPr>
              <p:cNvPr id="47" name="Rechteck 46"/>
              <p:cNvSpPr/>
              <p:nvPr/>
            </p:nvSpPr>
            <p:spPr bwMode="gray">
              <a:xfrm>
                <a:off x="7253455" y="3470388"/>
                <a:ext cx="923590" cy="39741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indent="-190500"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endParaRPr lang="en-US" sz="1400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792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Norm Strategies </a:t>
            </a:r>
            <a:r>
              <a:rPr lang="en-US" b="0" noProof="1" smtClean="0"/>
              <a:t>- McKinsey/G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trix of norm strategies (threefold division of axis )</a:t>
            </a:r>
            <a:endParaRPr lang="en-US" noProof="1"/>
          </a:p>
        </p:txBody>
      </p:sp>
      <p:grpSp>
        <p:nvGrpSpPr>
          <p:cNvPr id="34" name="Gruppieren 33"/>
          <p:cNvGrpSpPr/>
          <p:nvPr/>
        </p:nvGrpSpPr>
        <p:grpSpPr>
          <a:xfrm>
            <a:off x="324876" y="1916114"/>
            <a:ext cx="8506423" cy="3931745"/>
            <a:chOff x="324876" y="1916114"/>
            <a:chExt cx="8506423" cy="3931745"/>
          </a:xfrm>
        </p:grpSpPr>
        <p:sp>
          <p:nvSpPr>
            <p:cNvPr id="4" name="Textfeld 3"/>
            <p:cNvSpPr txBox="1"/>
            <p:nvPr/>
          </p:nvSpPr>
          <p:spPr bwMode="gray">
            <a:xfrm>
              <a:off x="3144041" y="5478527"/>
              <a:ext cx="32111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noProof="1" smtClean="0"/>
                <a:t>Relative competitive advantages</a:t>
              </a:r>
              <a:endParaRPr lang="en-US" noProof="1"/>
            </a:p>
          </p:txBody>
        </p:sp>
        <p:sp>
          <p:nvSpPr>
            <p:cNvPr id="15" name="Textfeld 14"/>
            <p:cNvSpPr txBox="1"/>
            <p:nvPr/>
          </p:nvSpPr>
          <p:spPr bwMode="gray">
            <a:xfrm rot="16200000">
              <a:off x="-746765" y="3494366"/>
              <a:ext cx="251261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noProof="1" smtClean="0"/>
                <a:t>Market attractiveness</a:t>
              </a:r>
              <a:endParaRPr lang="en-US" noProof="1"/>
            </a:p>
          </p:txBody>
        </p:sp>
        <p:grpSp>
          <p:nvGrpSpPr>
            <p:cNvPr id="30" name="Gruppieren 29"/>
            <p:cNvGrpSpPr/>
            <p:nvPr/>
          </p:nvGrpSpPr>
          <p:grpSpPr>
            <a:xfrm>
              <a:off x="694207" y="1916114"/>
              <a:ext cx="8137092" cy="3525837"/>
              <a:chOff x="694207" y="1916114"/>
              <a:chExt cx="8137092" cy="3525837"/>
            </a:xfrm>
          </p:grpSpPr>
          <p:sp>
            <p:nvSpPr>
              <p:cNvPr id="35" name="Rechteck 34"/>
              <p:cNvSpPr/>
              <p:nvPr/>
            </p:nvSpPr>
            <p:spPr bwMode="gray">
              <a:xfrm>
                <a:off x="694207" y="1916114"/>
                <a:ext cx="1297350" cy="93609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High</a:t>
                </a:r>
              </a:p>
            </p:txBody>
          </p:sp>
          <p:sp>
            <p:nvSpPr>
              <p:cNvPr id="36" name="Rechteck 35"/>
              <p:cNvSpPr/>
              <p:nvPr/>
            </p:nvSpPr>
            <p:spPr bwMode="gray">
              <a:xfrm>
                <a:off x="694207" y="2852210"/>
                <a:ext cx="1297350" cy="93609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edium</a:t>
                </a:r>
              </a:p>
            </p:txBody>
          </p:sp>
          <p:sp>
            <p:nvSpPr>
              <p:cNvPr id="37" name="Rechteck 36"/>
              <p:cNvSpPr/>
              <p:nvPr/>
            </p:nvSpPr>
            <p:spPr bwMode="gray">
              <a:xfrm>
                <a:off x="694207" y="3788304"/>
                <a:ext cx="1297350" cy="93609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Low</a:t>
                </a:r>
              </a:p>
            </p:txBody>
          </p:sp>
          <p:sp>
            <p:nvSpPr>
              <p:cNvPr id="38" name="Rechteck 37"/>
              <p:cNvSpPr/>
              <p:nvPr/>
            </p:nvSpPr>
            <p:spPr bwMode="gray">
              <a:xfrm>
                <a:off x="694207" y="4724400"/>
                <a:ext cx="1297350" cy="7175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6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26" name="Gruppieren 25"/>
              <p:cNvGrpSpPr/>
              <p:nvPr/>
            </p:nvGrpSpPr>
            <p:grpSpPr>
              <a:xfrm>
                <a:off x="1991557" y="1916114"/>
                <a:ext cx="6839742" cy="2808286"/>
                <a:chOff x="1991557" y="1916114"/>
                <a:chExt cx="6839742" cy="2808286"/>
              </a:xfrm>
            </p:grpSpPr>
            <p:sp>
              <p:nvSpPr>
                <p:cNvPr id="23" name="Rechteck 22"/>
                <p:cNvSpPr/>
                <p:nvPr/>
              </p:nvSpPr>
              <p:spPr bwMode="gray">
                <a:xfrm>
                  <a:off x="1991557" y="1916114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Investment or retreat</a:t>
                  </a:r>
                </a:p>
              </p:txBody>
            </p:sp>
            <p:sp>
              <p:nvSpPr>
                <p:cNvPr id="24" name="Rechteck 23"/>
                <p:cNvSpPr/>
                <p:nvPr/>
              </p:nvSpPr>
              <p:spPr bwMode="gray">
                <a:xfrm>
                  <a:off x="4272028" y="1916114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Investment</a:t>
                  </a:r>
                </a:p>
              </p:txBody>
            </p:sp>
            <p:sp>
              <p:nvSpPr>
                <p:cNvPr id="25" name="Rechteck 24"/>
                <p:cNvSpPr/>
                <p:nvPr/>
              </p:nvSpPr>
              <p:spPr bwMode="gray">
                <a:xfrm>
                  <a:off x="6551664" y="1916114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Keep </a:t>
                  </a:r>
                  <a:b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</a:b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market leadership</a:t>
                  </a:r>
                </a:p>
              </p:txBody>
            </p:sp>
            <p:sp>
              <p:nvSpPr>
                <p:cNvPr id="27" name="Rechteck 26"/>
                <p:cNvSpPr/>
                <p:nvPr/>
              </p:nvSpPr>
              <p:spPr bwMode="gray">
                <a:xfrm>
                  <a:off x="1991557" y="2852209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Absorption and </a:t>
                  </a:r>
                  <a:b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</a:b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gradual divestment</a:t>
                  </a:r>
                </a:p>
              </p:txBody>
            </p:sp>
            <p:sp>
              <p:nvSpPr>
                <p:cNvPr id="28" name="Rechteck 27"/>
                <p:cNvSpPr/>
                <p:nvPr/>
              </p:nvSpPr>
              <p:spPr bwMode="gray">
                <a:xfrm>
                  <a:off x="4272028" y="2852209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Transition</a:t>
                  </a:r>
                </a:p>
              </p:txBody>
            </p:sp>
            <p:sp>
              <p:nvSpPr>
                <p:cNvPr id="29" name="Rechteck 28"/>
                <p:cNvSpPr/>
                <p:nvPr/>
              </p:nvSpPr>
              <p:spPr bwMode="gray">
                <a:xfrm>
                  <a:off x="6551664" y="2852209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Growth</a:t>
                  </a:r>
                </a:p>
              </p:txBody>
            </p:sp>
            <p:sp>
              <p:nvSpPr>
                <p:cNvPr id="31" name="Rechteck 30"/>
                <p:cNvSpPr/>
                <p:nvPr/>
              </p:nvSpPr>
              <p:spPr bwMode="gray">
                <a:xfrm>
                  <a:off x="1991557" y="3788305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Divestment</a:t>
                  </a:r>
                </a:p>
              </p:txBody>
            </p:sp>
            <p:sp>
              <p:nvSpPr>
                <p:cNvPr id="32" name="Rechteck 31"/>
                <p:cNvSpPr/>
                <p:nvPr/>
              </p:nvSpPr>
              <p:spPr bwMode="gray">
                <a:xfrm>
                  <a:off x="4272028" y="3788305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Absorption and gradual divestment</a:t>
                  </a:r>
                </a:p>
              </p:txBody>
            </p:sp>
            <p:sp>
              <p:nvSpPr>
                <p:cNvPr id="33" name="Rechteck 32"/>
                <p:cNvSpPr/>
                <p:nvPr/>
              </p:nvSpPr>
              <p:spPr bwMode="gray">
                <a:xfrm>
                  <a:off x="6551664" y="3788305"/>
                  <a:ext cx="2279635" cy="93609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90000" tIns="46800" rIns="90000" bIns="4680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Absorption</a:t>
                  </a:r>
                </a:p>
              </p:txBody>
            </p:sp>
          </p:grpSp>
          <p:sp>
            <p:nvSpPr>
              <p:cNvPr id="17" name="Rechteck 16"/>
              <p:cNvSpPr/>
              <p:nvPr/>
            </p:nvSpPr>
            <p:spPr bwMode="gray">
              <a:xfrm>
                <a:off x="1991557" y="4724400"/>
                <a:ext cx="2279635" cy="7175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Low</a:t>
                </a:r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4272028" y="4724400"/>
                <a:ext cx="2279635" cy="7175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edium</a:t>
                </a:r>
              </a:p>
            </p:txBody>
          </p:sp>
          <p:sp>
            <p:nvSpPr>
              <p:cNvPr id="20" name="Rechteck 19"/>
              <p:cNvSpPr/>
              <p:nvPr/>
            </p:nvSpPr>
            <p:spPr bwMode="gray">
              <a:xfrm>
                <a:off x="6551664" y="4724400"/>
                <a:ext cx="2279635" cy="71755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High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84435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Market Growth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Representation of market </a:t>
            </a:r>
            <a:r>
              <a:rPr lang="en-US" noProof="1"/>
              <a:t>s</a:t>
            </a:r>
            <a:r>
              <a:rPr lang="en-US" noProof="1" smtClean="0"/>
              <a:t>izes, like market </a:t>
            </a:r>
            <a:r>
              <a:rPr lang="en-US" noProof="1"/>
              <a:t>p</a:t>
            </a:r>
            <a:r>
              <a:rPr lang="en-US" noProof="1" smtClean="0"/>
              <a:t>otential, market </a:t>
            </a:r>
            <a:r>
              <a:rPr lang="en-US" noProof="1"/>
              <a:t>v</a:t>
            </a:r>
            <a:r>
              <a:rPr lang="en-US" noProof="1" smtClean="0"/>
              <a:t>olume and market </a:t>
            </a:r>
            <a:r>
              <a:rPr lang="en-US" noProof="1"/>
              <a:t>g</a:t>
            </a:r>
            <a:r>
              <a:rPr lang="en-US" noProof="1" smtClean="0"/>
              <a:t>rowth in the course of time</a:t>
            </a:r>
            <a:endParaRPr lang="en-US" noProof="1"/>
          </a:p>
        </p:txBody>
      </p:sp>
      <p:grpSp>
        <p:nvGrpSpPr>
          <p:cNvPr id="5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6" name="Rechteck 35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en-US" sz="1200" noProof="1" smtClean="0">
                  <a:solidFill>
                    <a:srgbClr val="FFFFFF"/>
                  </a:solidFill>
                </a:rPr>
                <a:t>DATADRIVEN</a:t>
              </a:r>
              <a:endParaRPr lang="en-US" sz="1200" noProof="1">
                <a:solidFill>
                  <a:srgbClr val="FFFFFF"/>
                </a:solidFill>
              </a:endParaRPr>
            </a:p>
          </p:txBody>
        </p:sp>
        <p:grpSp>
          <p:nvGrpSpPr>
            <p:cNvPr id="6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39" name="Gerade Verbindung 38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7" name="Gruppieren 26"/>
          <p:cNvGrpSpPr/>
          <p:nvPr/>
        </p:nvGrpSpPr>
        <p:grpSpPr>
          <a:xfrm>
            <a:off x="323850" y="1847557"/>
            <a:ext cx="8497092" cy="4182288"/>
            <a:chOff x="323850" y="1847557"/>
            <a:chExt cx="8497092" cy="4182288"/>
          </a:xfrm>
        </p:grpSpPr>
        <p:graphicFrame>
          <p:nvGraphicFramePr>
            <p:cNvPr id="31" name="Diagramm 30"/>
            <p:cNvGraphicFramePr/>
            <p:nvPr>
              <p:extLst>
                <p:ext uri="{D42A27DB-BD31-4B8C-83A1-F6EECF244321}">
                  <p14:modId xmlns:p14="http://schemas.microsoft.com/office/powerpoint/2010/main" val="2826856087"/>
                </p:ext>
              </p:extLst>
            </p:nvPr>
          </p:nvGraphicFramePr>
          <p:xfrm>
            <a:off x="323850" y="1866646"/>
            <a:ext cx="8497092" cy="3886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4" name="Gruppieren 35"/>
            <p:cNvGrpSpPr/>
            <p:nvPr/>
          </p:nvGrpSpPr>
          <p:grpSpPr>
            <a:xfrm>
              <a:off x="812800" y="5752846"/>
              <a:ext cx="4917440" cy="276999"/>
              <a:chOff x="812800" y="5441951"/>
              <a:chExt cx="4917440" cy="276999"/>
            </a:xfrm>
          </p:grpSpPr>
          <p:sp>
            <p:nvSpPr>
              <p:cNvPr id="32" name="Textfeld 31"/>
              <p:cNvSpPr txBox="1"/>
              <p:nvPr/>
            </p:nvSpPr>
            <p:spPr>
              <a:xfrm>
                <a:off x="812800" y="5441951"/>
                <a:ext cx="122936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noProof="1" smtClean="0"/>
                  <a:t>Period 1</a:t>
                </a:r>
                <a:endParaRPr lang="en-US" noProof="1"/>
              </a:p>
            </p:txBody>
          </p:sp>
          <p:sp>
            <p:nvSpPr>
              <p:cNvPr id="33" name="Textfeld 32"/>
              <p:cNvSpPr txBox="1"/>
              <p:nvPr/>
            </p:nvSpPr>
            <p:spPr>
              <a:xfrm>
                <a:off x="2042160" y="5441951"/>
                <a:ext cx="122936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noProof="1" smtClean="0"/>
                  <a:t>Period 2</a:t>
                </a:r>
                <a:endParaRPr lang="en-US" noProof="1"/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3271520" y="5441951"/>
                <a:ext cx="122936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noProof="1" smtClean="0"/>
                  <a:t>Period 3</a:t>
                </a:r>
                <a:endParaRPr lang="en-US" noProof="1"/>
              </a:p>
            </p:txBody>
          </p:sp>
          <p:sp>
            <p:nvSpPr>
              <p:cNvPr id="35" name="Textfeld 34"/>
              <p:cNvSpPr txBox="1"/>
              <p:nvPr/>
            </p:nvSpPr>
            <p:spPr>
              <a:xfrm>
                <a:off x="4500880" y="5441951"/>
                <a:ext cx="122936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noProof="1" smtClean="0"/>
                  <a:t>Period 4</a:t>
                </a:r>
                <a:endParaRPr lang="en-US" noProof="1"/>
              </a:p>
            </p:txBody>
          </p:sp>
        </p:grpSp>
        <p:sp>
          <p:nvSpPr>
            <p:cNvPr id="20" name="Textfeld 31"/>
            <p:cNvSpPr txBox="1"/>
            <p:nvPr/>
          </p:nvSpPr>
          <p:spPr>
            <a:xfrm>
              <a:off x="6026662" y="5441572"/>
              <a:ext cx="39188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noProof="1" smtClean="0"/>
                <a:t>Time</a:t>
              </a:r>
              <a:endParaRPr lang="en-US" sz="1200" noProof="1"/>
            </a:p>
          </p:txBody>
        </p:sp>
        <p:sp>
          <p:nvSpPr>
            <p:cNvPr id="21" name="Textfeld 31"/>
            <p:cNvSpPr txBox="1"/>
            <p:nvPr/>
          </p:nvSpPr>
          <p:spPr>
            <a:xfrm>
              <a:off x="6603909" y="4254205"/>
              <a:ext cx="153822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noProof="1" smtClean="0"/>
                <a:t>Market Volume</a:t>
              </a:r>
              <a:endParaRPr lang="en-US" sz="1800" noProof="1"/>
            </a:p>
          </p:txBody>
        </p:sp>
        <p:sp>
          <p:nvSpPr>
            <p:cNvPr id="22" name="Textfeld 31"/>
            <p:cNvSpPr txBox="1"/>
            <p:nvPr/>
          </p:nvSpPr>
          <p:spPr>
            <a:xfrm>
              <a:off x="342898" y="1856255"/>
              <a:ext cx="107026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noProof="1" smtClean="0"/>
                <a:t>Amount / Value</a:t>
              </a:r>
              <a:endParaRPr lang="en-US" sz="1200" noProof="1"/>
            </a:p>
          </p:txBody>
        </p:sp>
        <p:sp>
          <p:nvSpPr>
            <p:cNvPr id="26" name="Textfeld 31"/>
            <p:cNvSpPr txBox="1"/>
            <p:nvPr/>
          </p:nvSpPr>
          <p:spPr>
            <a:xfrm>
              <a:off x="2551989" y="1847557"/>
              <a:ext cx="158262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noProof="1" smtClean="0"/>
                <a:t>Market Potential</a:t>
              </a:r>
              <a:endParaRPr lang="en-US" sz="1800" noProof="1"/>
            </a:p>
          </p:txBody>
        </p:sp>
        <p:cxnSp>
          <p:nvCxnSpPr>
            <p:cNvPr id="29" name="Gerade Verbindung mit Pfeil 28"/>
            <p:cNvCxnSpPr/>
            <p:nvPr/>
          </p:nvCxnSpPr>
          <p:spPr>
            <a:xfrm flipV="1">
              <a:off x="1282701" y="2647696"/>
              <a:ext cx="4051299" cy="76200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31"/>
            <p:cNvSpPr txBox="1"/>
            <p:nvPr/>
          </p:nvSpPr>
          <p:spPr>
            <a:xfrm rot="20955694">
              <a:off x="2270760" y="2774696"/>
              <a:ext cx="158262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noProof="1" smtClean="0"/>
                <a:t>Market Growth</a:t>
              </a:r>
              <a:endParaRPr lang="en-US" sz="1800" noProof="1"/>
            </a:p>
          </p:txBody>
        </p:sp>
        <p:sp>
          <p:nvSpPr>
            <p:cNvPr id="37" name="Geschweifte Klammer links 36"/>
            <p:cNvSpPr/>
            <p:nvPr/>
          </p:nvSpPr>
          <p:spPr>
            <a:xfrm rot="16200000">
              <a:off x="7152949" y="2364942"/>
              <a:ext cx="622452" cy="2711959"/>
            </a:xfrm>
            <a:prstGeom prst="leftBrace">
              <a:avLst>
                <a:gd name="adj1" fmla="val 117517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5" name="Gerade Verbindung 24"/>
            <p:cNvCxnSpPr/>
            <p:nvPr/>
          </p:nvCxnSpPr>
          <p:spPr>
            <a:xfrm>
              <a:off x="584200" y="2567432"/>
              <a:ext cx="5259220" cy="0"/>
            </a:xfrm>
            <a:prstGeom prst="line">
              <a:avLst/>
            </a:prstGeom>
            <a:ln w="1270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Outpacing-Strategie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crease in profitability by maximizing quality (high customer benefit) and cost reduction</a:t>
            </a:r>
            <a:endParaRPr lang="en-US" noProof="1"/>
          </a:p>
        </p:txBody>
      </p:sp>
      <p:grpSp>
        <p:nvGrpSpPr>
          <p:cNvPr id="49" name="Gruppieren 48"/>
          <p:cNvGrpSpPr/>
          <p:nvPr/>
        </p:nvGrpSpPr>
        <p:grpSpPr>
          <a:xfrm>
            <a:off x="323850" y="1936702"/>
            <a:ext cx="7344047" cy="3868515"/>
            <a:chOff x="323850" y="1936702"/>
            <a:chExt cx="7344047" cy="3868515"/>
          </a:xfrm>
        </p:grpSpPr>
        <p:grpSp>
          <p:nvGrpSpPr>
            <p:cNvPr id="12" name="Gruppieren 41"/>
            <p:cNvGrpSpPr/>
            <p:nvPr/>
          </p:nvGrpSpPr>
          <p:grpSpPr bwMode="gray">
            <a:xfrm>
              <a:off x="1963737" y="1937496"/>
              <a:ext cx="5704160" cy="3368948"/>
              <a:chOff x="1963737" y="2090850"/>
              <a:chExt cx="5704160" cy="3368948"/>
            </a:xfrm>
          </p:grpSpPr>
          <p:sp>
            <p:nvSpPr>
              <p:cNvPr id="26" name="Rechteck 25"/>
              <p:cNvSpPr/>
              <p:nvPr/>
            </p:nvSpPr>
            <p:spPr bwMode="gray">
              <a:xfrm>
                <a:off x="1965326" y="2243138"/>
                <a:ext cx="5559423" cy="321217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cxnSp>
            <p:nvCxnSpPr>
              <p:cNvPr id="11" name="Gerade Verbindung mit Pfeil 10"/>
              <p:cNvCxnSpPr/>
              <p:nvPr/>
            </p:nvCxnSpPr>
            <p:spPr bwMode="gray">
              <a:xfrm>
                <a:off x="1964531" y="5458210"/>
                <a:ext cx="5703366" cy="1588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/>
              <p:nvPr/>
            </p:nvCxnSpPr>
            <p:spPr bwMode="gray">
              <a:xfrm flipV="1">
                <a:off x="2991394" y="3562400"/>
                <a:ext cx="2317553" cy="1218606"/>
              </a:xfrm>
              <a:prstGeom prst="straightConnector1">
                <a:avLst/>
              </a:prstGeom>
              <a:ln w="381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mit Pfeil 24"/>
              <p:cNvCxnSpPr/>
              <p:nvPr/>
            </p:nvCxnSpPr>
            <p:spPr bwMode="gray">
              <a:xfrm rot="5400000" flipH="1" flipV="1">
                <a:off x="282301" y="3772286"/>
                <a:ext cx="3364460" cy="1588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 bwMode="gray">
              <a:xfrm rot="5400000" flipH="1" flipV="1">
                <a:off x="3133554" y="3849224"/>
                <a:ext cx="3212172" cy="0"/>
              </a:xfrm>
              <a:prstGeom prst="line">
                <a:avLst/>
              </a:prstGeom>
              <a:ln w="1270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/>
            </p:nvCxnSpPr>
            <p:spPr bwMode="gray">
              <a:xfrm>
                <a:off x="1963737" y="3848100"/>
                <a:ext cx="5561012" cy="0"/>
              </a:xfrm>
              <a:prstGeom prst="line">
                <a:avLst/>
              </a:prstGeom>
              <a:ln w="1270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mit Pfeil 31"/>
              <p:cNvCxnSpPr/>
              <p:nvPr/>
            </p:nvCxnSpPr>
            <p:spPr bwMode="gray">
              <a:xfrm>
                <a:off x="3086100" y="2747834"/>
                <a:ext cx="3368040" cy="1588"/>
              </a:xfrm>
              <a:prstGeom prst="straightConnector1">
                <a:avLst/>
              </a:prstGeom>
              <a:ln w="2540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mit Pfeil 36"/>
              <p:cNvCxnSpPr/>
              <p:nvPr/>
            </p:nvCxnSpPr>
            <p:spPr bwMode="gray">
              <a:xfrm>
                <a:off x="3086100" y="4937625"/>
                <a:ext cx="3368040" cy="1588"/>
              </a:xfrm>
              <a:prstGeom prst="straightConnector1">
                <a:avLst/>
              </a:prstGeom>
              <a:ln w="2540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mit Pfeil 37"/>
              <p:cNvCxnSpPr/>
              <p:nvPr/>
            </p:nvCxnSpPr>
            <p:spPr bwMode="gray">
              <a:xfrm rot="5400000" flipH="1" flipV="1">
                <a:off x="1638519" y="3843524"/>
                <a:ext cx="2188204" cy="1588"/>
              </a:xfrm>
              <a:prstGeom prst="straightConnector1">
                <a:avLst/>
              </a:prstGeom>
              <a:ln w="2540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mit Pfeil 40"/>
              <p:cNvCxnSpPr/>
              <p:nvPr/>
            </p:nvCxnSpPr>
            <p:spPr bwMode="gray">
              <a:xfrm rot="5400000" flipH="1" flipV="1">
                <a:off x="5587845" y="3843524"/>
                <a:ext cx="2188204" cy="1588"/>
              </a:xfrm>
              <a:prstGeom prst="straightConnector1">
                <a:avLst/>
              </a:prstGeom>
              <a:ln w="2540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" name="Textfeld 28"/>
            <p:cNvSpPr txBox="1"/>
            <p:nvPr/>
          </p:nvSpPr>
          <p:spPr bwMode="gray">
            <a:xfrm>
              <a:off x="323850" y="3409046"/>
              <a:ext cx="1663276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/>
                <a:t>Quality/ </a:t>
              </a:r>
              <a:br>
                <a:rPr lang="en-US" sz="1600" b="1" noProof="1" smtClean="0"/>
              </a:br>
              <a:r>
                <a:rPr lang="en-US" sz="1600" b="1" noProof="1" smtClean="0"/>
                <a:t>Customer benefit</a:t>
              </a:r>
              <a:br>
                <a:rPr lang="en-US" sz="1600" b="1" noProof="1" smtClean="0"/>
              </a:br>
              <a:endParaRPr lang="en-US" sz="1600" b="1" noProof="1"/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1281676" y="1936702"/>
              <a:ext cx="5902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noProof="1" smtClean="0"/>
                <a:t>high</a:t>
              </a:r>
              <a:endParaRPr lang="en-US" noProof="1"/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1348297" y="4931830"/>
              <a:ext cx="5236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noProof="1" smtClean="0"/>
                <a:t>low</a:t>
              </a:r>
              <a:endParaRPr lang="en-US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3955324" y="5435885"/>
              <a:ext cx="13683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Price / Costs</a:t>
              </a:r>
              <a:endParaRPr lang="en-US" b="1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1471537" y="5304856"/>
              <a:ext cx="111511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noProof="1" smtClean="0"/>
                <a:t>expensive</a:t>
              </a:r>
              <a:endParaRPr lang="en-US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6744040" y="5304856"/>
              <a:ext cx="75212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noProof="1" smtClean="0"/>
                <a:t>cheap</a:t>
              </a:r>
              <a:endParaRPr lang="en-US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5344213" y="2701160"/>
              <a:ext cx="1242648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b="1" noProof="1" smtClean="0">
                  <a:solidFill>
                    <a:schemeClr val="accent1"/>
                  </a:solidFill>
                </a:rPr>
                <a:t>Target of </a:t>
              </a:r>
              <a:br>
                <a:rPr lang="en-US" sz="2000" b="1" noProof="1" smtClean="0">
                  <a:solidFill>
                    <a:schemeClr val="accent1"/>
                  </a:solidFill>
                </a:rPr>
              </a:br>
              <a:r>
                <a:rPr lang="en-US" sz="2000" b="1" noProof="1" smtClean="0">
                  <a:solidFill>
                    <a:schemeClr val="accent1"/>
                  </a:solidFill>
                </a:rPr>
                <a:t>outpacing</a:t>
              </a:r>
              <a:endParaRPr lang="en-US" sz="2000" b="1" noProof="1">
                <a:solidFill>
                  <a:schemeClr val="accent1"/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 bwMode="gray">
            <a:xfrm>
              <a:off x="3375970" y="2326689"/>
              <a:ext cx="121648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>
                  <a:solidFill>
                    <a:srgbClr val="000000"/>
                  </a:solidFill>
                </a:rPr>
                <a:t>Cost reduction</a:t>
              </a:r>
              <a:endParaRPr lang="en-US" sz="1600" noProof="1">
                <a:solidFill>
                  <a:srgbClr val="000000"/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 bwMode="gray">
            <a:xfrm>
              <a:off x="3169920" y="4839199"/>
              <a:ext cx="72231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>
                  <a:solidFill>
                    <a:srgbClr val="000000"/>
                  </a:solidFill>
                </a:rPr>
                <a:t>Follower</a:t>
              </a:r>
              <a:endParaRPr lang="en-US" sz="1600" noProof="1">
                <a:solidFill>
                  <a:srgbClr val="000000"/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 rot="16200000">
              <a:off x="2205457" y="4214893"/>
              <a:ext cx="80810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>
                  <a:solidFill>
                    <a:srgbClr val="000000"/>
                  </a:solidFill>
                </a:rPr>
                <a:t>Innovator</a:t>
              </a:r>
              <a:endParaRPr lang="en-US" sz="1600" noProof="1">
                <a:solidFill>
                  <a:srgbClr val="000000"/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 bwMode="gray">
            <a:xfrm rot="16200000">
              <a:off x="6008755" y="3571635"/>
              <a:ext cx="167039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>
                  <a:solidFill>
                    <a:srgbClr val="000000"/>
                  </a:solidFill>
                </a:rPr>
                <a:t>Offer differentiation</a:t>
              </a:r>
              <a:endParaRPr lang="en-US" sz="1600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68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pieren 53"/>
          <p:cNvGrpSpPr/>
          <p:nvPr/>
        </p:nvGrpSpPr>
        <p:grpSpPr bwMode="gray">
          <a:xfrm>
            <a:off x="0" y="4344291"/>
            <a:ext cx="9144000" cy="1341120"/>
            <a:chOff x="0" y="4236720"/>
            <a:chExt cx="9144000" cy="1341120"/>
          </a:xfrm>
        </p:grpSpPr>
        <p:sp>
          <p:nvSpPr>
            <p:cNvPr id="43" name="Rechteck 42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44" name="Rechteck 43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Innovation Strategies </a:t>
            </a:r>
            <a:r>
              <a:rPr lang="en-US" b="0" noProof="1" smtClean="0"/>
              <a:t>- Innovation Pentagram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 tool of innovation management</a:t>
            </a:r>
            <a:endParaRPr lang="en-US" noProof="1"/>
          </a:p>
        </p:txBody>
      </p:sp>
      <p:grpSp>
        <p:nvGrpSpPr>
          <p:cNvPr id="655" name="Gruppieren 654"/>
          <p:cNvGrpSpPr/>
          <p:nvPr/>
        </p:nvGrpSpPr>
        <p:grpSpPr>
          <a:xfrm>
            <a:off x="836322" y="1554463"/>
            <a:ext cx="8044745" cy="4587916"/>
            <a:chOff x="836322" y="1554463"/>
            <a:chExt cx="8044745" cy="4587916"/>
          </a:xfrm>
        </p:grpSpPr>
        <p:sp>
          <p:nvSpPr>
            <p:cNvPr id="29" name="Freeform 5"/>
            <p:cNvSpPr>
              <a:spLocks noEditPoints="1"/>
            </p:cNvSpPr>
            <p:nvPr/>
          </p:nvSpPr>
          <p:spPr bwMode="gray">
            <a:xfrm>
              <a:off x="2882583" y="2060614"/>
              <a:ext cx="3387129" cy="3220045"/>
            </a:xfrm>
            <a:custGeom>
              <a:avLst/>
              <a:gdLst/>
              <a:ahLst/>
              <a:cxnLst>
                <a:cxn ang="0">
                  <a:pos x="1411" y="507"/>
                </a:cxn>
                <a:cxn ang="0">
                  <a:pos x="717" y="4"/>
                </a:cxn>
                <a:cxn ang="0">
                  <a:pos x="717" y="3"/>
                </a:cxn>
                <a:cxn ang="0">
                  <a:pos x="701" y="3"/>
                </a:cxn>
                <a:cxn ang="0">
                  <a:pos x="701" y="4"/>
                </a:cxn>
                <a:cxn ang="0">
                  <a:pos x="7" y="507"/>
                </a:cxn>
                <a:cxn ang="0">
                  <a:pos x="2" y="522"/>
                </a:cxn>
                <a:cxn ang="0">
                  <a:pos x="2" y="523"/>
                </a:cxn>
                <a:cxn ang="0">
                  <a:pos x="267" y="1338"/>
                </a:cxn>
                <a:cxn ang="0">
                  <a:pos x="280" y="1348"/>
                </a:cxn>
                <a:cxn ang="0">
                  <a:pos x="1138" y="1348"/>
                </a:cxn>
                <a:cxn ang="0">
                  <a:pos x="1151" y="1338"/>
                </a:cxn>
                <a:cxn ang="0">
                  <a:pos x="1416" y="523"/>
                </a:cxn>
                <a:cxn ang="0">
                  <a:pos x="1416" y="522"/>
                </a:cxn>
                <a:cxn ang="0">
                  <a:pos x="1411" y="507"/>
                </a:cxn>
                <a:cxn ang="0">
                  <a:pos x="290" y="1320"/>
                </a:cxn>
                <a:cxn ang="0">
                  <a:pos x="32" y="524"/>
                </a:cxn>
                <a:cxn ang="0">
                  <a:pos x="709" y="32"/>
                </a:cxn>
                <a:cxn ang="0">
                  <a:pos x="1386" y="524"/>
                </a:cxn>
                <a:cxn ang="0">
                  <a:pos x="1128" y="1320"/>
                </a:cxn>
                <a:cxn ang="0">
                  <a:pos x="290" y="1320"/>
                </a:cxn>
              </a:cxnLst>
              <a:rect l="0" t="0" r="r" b="b"/>
              <a:pathLst>
                <a:path w="1418" h="1348">
                  <a:moveTo>
                    <a:pt x="1411" y="507"/>
                  </a:moveTo>
                  <a:cubicBezTo>
                    <a:pt x="717" y="4"/>
                    <a:pt x="717" y="4"/>
                    <a:pt x="717" y="4"/>
                  </a:cubicBezTo>
                  <a:cubicBezTo>
                    <a:pt x="717" y="3"/>
                    <a:pt x="717" y="3"/>
                    <a:pt x="717" y="3"/>
                  </a:cubicBezTo>
                  <a:cubicBezTo>
                    <a:pt x="712" y="0"/>
                    <a:pt x="706" y="0"/>
                    <a:pt x="701" y="3"/>
                  </a:cubicBezTo>
                  <a:cubicBezTo>
                    <a:pt x="701" y="3"/>
                    <a:pt x="701" y="3"/>
                    <a:pt x="701" y="4"/>
                  </a:cubicBezTo>
                  <a:cubicBezTo>
                    <a:pt x="7" y="507"/>
                    <a:pt x="7" y="507"/>
                    <a:pt x="7" y="507"/>
                  </a:cubicBezTo>
                  <a:cubicBezTo>
                    <a:pt x="2" y="511"/>
                    <a:pt x="0" y="516"/>
                    <a:pt x="2" y="522"/>
                  </a:cubicBezTo>
                  <a:cubicBezTo>
                    <a:pt x="2" y="522"/>
                    <a:pt x="2" y="523"/>
                    <a:pt x="2" y="523"/>
                  </a:cubicBezTo>
                  <a:cubicBezTo>
                    <a:pt x="267" y="1338"/>
                    <a:pt x="267" y="1338"/>
                    <a:pt x="267" y="1338"/>
                  </a:cubicBezTo>
                  <a:cubicBezTo>
                    <a:pt x="269" y="1344"/>
                    <a:pt x="274" y="1348"/>
                    <a:pt x="280" y="1348"/>
                  </a:cubicBezTo>
                  <a:cubicBezTo>
                    <a:pt x="1138" y="1348"/>
                    <a:pt x="1138" y="1348"/>
                    <a:pt x="1138" y="1348"/>
                  </a:cubicBezTo>
                  <a:cubicBezTo>
                    <a:pt x="1144" y="1348"/>
                    <a:pt x="1149" y="1344"/>
                    <a:pt x="1151" y="1338"/>
                  </a:cubicBezTo>
                  <a:cubicBezTo>
                    <a:pt x="1416" y="523"/>
                    <a:pt x="1416" y="523"/>
                    <a:pt x="1416" y="523"/>
                  </a:cubicBezTo>
                  <a:cubicBezTo>
                    <a:pt x="1416" y="523"/>
                    <a:pt x="1416" y="522"/>
                    <a:pt x="1416" y="522"/>
                  </a:cubicBezTo>
                  <a:cubicBezTo>
                    <a:pt x="1418" y="516"/>
                    <a:pt x="1415" y="511"/>
                    <a:pt x="1411" y="507"/>
                  </a:cubicBezTo>
                  <a:close/>
                  <a:moveTo>
                    <a:pt x="290" y="1320"/>
                  </a:moveTo>
                  <a:cubicBezTo>
                    <a:pt x="32" y="524"/>
                    <a:pt x="32" y="524"/>
                    <a:pt x="32" y="524"/>
                  </a:cubicBezTo>
                  <a:cubicBezTo>
                    <a:pt x="709" y="32"/>
                    <a:pt x="709" y="32"/>
                    <a:pt x="709" y="32"/>
                  </a:cubicBezTo>
                  <a:cubicBezTo>
                    <a:pt x="1386" y="524"/>
                    <a:pt x="1386" y="524"/>
                    <a:pt x="1386" y="524"/>
                  </a:cubicBezTo>
                  <a:cubicBezTo>
                    <a:pt x="1128" y="1320"/>
                    <a:pt x="1128" y="1320"/>
                    <a:pt x="1128" y="1320"/>
                  </a:cubicBezTo>
                  <a:lnTo>
                    <a:pt x="290" y="13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4200000"/>
              </a:lightRig>
            </a:scene3d>
            <a:sp3d>
              <a:bevelT w="25400" h="6985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15" name="Ellipse 14"/>
            <p:cNvSpPr/>
            <p:nvPr/>
          </p:nvSpPr>
          <p:spPr bwMode="gray">
            <a:xfrm>
              <a:off x="4011850" y="1554463"/>
              <a:ext cx="1112804" cy="111279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9000000"/>
              </a:lightRig>
            </a:scene3d>
            <a:sp3d>
              <a:bevelT w="393700" h="1905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6" name="Ellipse 15"/>
            <p:cNvSpPr/>
            <p:nvPr/>
          </p:nvSpPr>
          <p:spPr bwMode="gray">
            <a:xfrm>
              <a:off x="2369049" y="2742824"/>
              <a:ext cx="1112804" cy="111279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9000000"/>
              </a:lightRig>
            </a:scene3d>
            <a:sp3d>
              <a:bevelT w="393700" h="1905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7" name="Ellipse 16"/>
            <p:cNvSpPr/>
            <p:nvPr/>
          </p:nvSpPr>
          <p:spPr bwMode="gray">
            <a:xfrm>
              <a:off x="5662148" y="2742507"/>
              <a:ext cx="1112804" cy="111279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9000000"/>
              </a:lightRig>
            </a:scene3d>
            <a:sp3d>
              <a:bevelT w="393700" h="1905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8" name="Ellipse 17"/>
            <p:cNvSpPr/>
            <p:nvPr/>
          </p:nvSpPr>
          <p:spPr bwMode="gray">
            <a:xfrm>
              <a:off x="2992750" y="4689513"/>
              <a:ext cx="1112804" cy="111279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9000000"/>
              </a:lightRig>
            </a:scene3d>
            <a:sp3d>
              <a:bevelT w="393700" h="1905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9" name="Ellipse 18"/>
            <p:cNvSpPr/>
            <p:nvPr/>
          </p:nvSpPr>
          <p:spPr bwMode="gray">
            <a:xfrm>
              <a:off x="5039815" y="4689513"/>
              <a:ext cx="1112804" cy="111279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>
                <a:rot lat="0" lon="0" rev="9000000"/>
              </a:lightRig>
            </a:scene3d>
            <a:sp3d>
              <a:bevelT w="393700" h="1905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pic>
          <p:nvPicPr>
            <p:cNvPr id="2054" name="Picture 6" descr="C:\Users\bastian.k\Desktop\zahnrad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2492764" y="2980401"/>
              <a:ext cx="865374" cy="637644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55" name="Picture 7" descr="C:\Users\bastian.k\Desktop\uhr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gray">
            <a:xfrm>
              <a:off x="3157030" y="4853790"/>
              <a:ext cx="784245" cy="784245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56" name="Picture 8" descr="C:\Users\bastian.k\Desktop\geld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5208631" y="5014851"/>
              <a:ext cx="775172" cy="462122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57" name="Picture 9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gray">
            <a:xfrm>
              <a:off x="4191013" y="1809692"/>
              <a:ext cx="754478" cy="602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Textfeld 35"/>
            <p:cNvSpPr txBox="1"/>
            <p:nvPr/>
          </p:nvSpPr>
          <p:spPr bwMode="gray">
            <a:xfrm>
              <a:off x="5186851" y="1849252"/>
              <a:ext cx="18829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Motive: </a:t>
              </a:r>
              <a:r>
                <a:rPr lang="en-US" sz="1400" noProof="1" smtClean="0"/>
                <a:t>Which motive </a:t>
              </a:r>
              <a:br>
                <a:rPr lang="en-US" sz="1400" noProof="1" smtClean="0"/>
              </a:br>
              <a:r>
                <a:rPr lang="en-US" sz="1400" noProof="1" smtClean="0"/>
                <a:t>targets the innovation?</a:t>
              </a:r>
              <a:endParaRPr lang="en-US" sz="1400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6832108" y="3037296"/>
              <a:ext cx="204895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Advantage: </a:t>
              </a:r>
              <a:r>
                <a:rPr lang="en-US" sz="1400" noProof="1"/>
                <a:t>What kind of </a:t>
              </a:r>
              <a:r>
                <a:rPr lang="en-US" sz="1400" noProof="1" smtClean="0"/>
                <a:t/>
              </a:r>
              <a:br>
                <a:rPr lang="en-US" sz="1400" noProof="1" smtClean="0"/>
              </a:br>
              <a:r>
                <a:rPr lang="en-US" sz="1400" noProof="1" smtClean="0"/>
                <a:t>advantages </a:t>
              </a:r>
              <a:r>
                <a:rPr lang="en-US" sz="1400" noProof="1"/>
                <a:t>does the </a:t>
              </a:r>
              <a:r>
                <a:rPr lang="en-US" sz="1400" noProof="1" smtClean="0"/>
                <a:t/>
              </a:r>
              <a:br>
                <a:rPr lang="en-US" sz="1400" noProof="1" smtClean="0"/>
              </a:br>
              <a:r>
                <a:rPr lang="en-US" sz="1400" noProof="1" smtClean="0"/>
                <a:t>innovation </a:t>
              </a:r>
              <a:r>
                <a:rPr lang="en-US" sz="1400" noProof="1"/>
                <a:t>provide?</a:t>
              </a:r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6181197" y="4984302"/>
              <a:ext cx="224183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Revenue model: </a:t>
              </a:r>
              <a:r>
                <a:rPr lang="en-US" sz="1400" noProof="1" smtClean="0"/>
                <a:t>How is the </a:t>
              </a:r>
              <a:br>
                <a:rPr lang="en-US" sz="1400" noProof="1" smtClean="0"/>
              </a:br>
              <a:r>
                <a:rPr lang="en-US" sz="1400" noProof="1" smtClean="0"/>
                <a:t>revenue generated?</a:t>
              </a:r>
              <a:endParaRPr lang="en-US" sz="1400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836322" y="2822170"/>
              <a:ext cx="1532727" cy="1169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Business system: </a:t>
              </a:r>
              <a:br>
                <a:rPr lang="en-US" sz="1400" b="1" noProof="1" smtClean="0"/>
              </a:br>
              <a:r>
                <a:rPr lang="en-US" sz="1400" noProof="1" smtClean="0"/>
                <a:t>With what kind of </a:t>
              </a:r>
              <a:br>
                <a:rPr lang="en-US" sz="1400" noProof="1" smtClean="0"/>
              </a:br>
              <a:r>
                <a:rPr lang="en-US" sz="1400" noProof="1" smtClean="0"/>
                <a:t>business system</a:t>
              </a:r>
              <a:br>
                <a:rPr lang="en-US" sz="1400" noProof="1" smtClean="0"/>
              </a:br>
              <a:r>
                <a:rPr lang="en-US" sz="1400" noProof="1" smtClean="0"/>
                <a:t>is the innovation </a:t>
              </a:r>
              <a:br>
                <a:rPr lang="en-US" sz="1400" noProof="1" smtClean="0"/>
              </a:br>
              <a:r>
                <a:rPr lang="en-US" sz="1400" noProof="1" smtClean="0"/>
                <a:t>implemented?</a:t>
              </a:r>
              <a:endParaRPr lang="en-US" sz="1400" noProof="1"/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914104" y="4984302"/>
              <a:ext cx="207864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Timing: </a:t>
              </a:r>
              <a:r>
                <a:rPr lang="en-US" sz="1400" noProof="1" smtClean="0"/>
                <a:t>When are we </a:t>
              </a:r>
              <a:br>
                <a:rPr lang="en-US" sz="1400" noProof="1" smtClean="0"/>
              </a:br>
              <a:r>
                <a:rPr lang="en-US" sz="1400" noProof="1" smtClean="0"/>
                <a:t>applying these measures?</a:t>
              </a:r>
              <a:endParaRPr lang="en-US" sz="1400" noProof="1"/>
            </a:p>
          </p:txBody>
        </p:sp>
        <p:grpSp>
          <p:nvGrpSpPr>
            <p:cNvPr id="31" name="Gruppieren 30"/>
            <p:cNvGrpSpPr/>
            <p:nvPr/>
          </p:nvGrpSpPr>
          <p:grpSpPr bwMode="gray">
            <a:xfrm>
              <a:off x="5795213" y="3006414"/>
              <a:ext cx="846675" cy="584985"/>
              <a:chOff x="2028825" y="1911350"/>
              <a:chExt cx="5105400" cy="35274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32" name="Group 8"/>
              <p:cNvGrpSpPr>
                <a:grpSpLocks/>
              </p:cNvGrpSpPr>
              <p:nvPr/>
            </p:nvGrpSpPr>
            <p:grpSpPr bwMode="gray">
              <a:xfrm>
                <a:off x="3808413" y="1911350"/>
                <a:ext cx="1546225" cy="3527425"/>
                <a:chOff x="2399" y="1204"/>
                <a:chExt cx="974" cy="2222"/>
              </a:xfrm>
            </p:grpSpPr>
            <p:sp>
              <p:nvSpPr>
                <p:cNvPr id="645" name="Freeform 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399" y="3182"/>
                  <a:ext cx="974" cy="244"/>
                </a:xfrm>
                <a:custGeom>
                  <a:avLst/>
                  <a:gdLst/>
                  <a:ahLst/>
                  <a:cxnLst>
                    <a:cxn ang="0">
                      <a:pos x="687" y="67"/>
                    </a:cxn>
                    <a:cxn ang="0">
                      <a:pos x="348" y="0"/>
                    </a:cxn>
                    <a:cxn ang="0">
                      <a:pos x="9" y="67"/>
                    </a:cxn>
                    <a:cxn ang="0">
                      <a:pos x="0" y="67"/>
                    </a:cxn>
                    <a:cxn ang="0">
                      <a:pos x="0" y="87"/>
                    </a:cxn>
                    <a:cxn ang="0">
                      <a:pos x="348" y="174"/>
                    </a:cxn>
                    <a:cxn ang="0">
                      <a:pos x="696" y="87"/>
                    </a:cxn>
                    <a:cxn ang="0">
                      <a:pos x="696" y="87"/>
                    </a:cxn>
                    <a:cxn ang="0">
                      <a:pos x="696" y="67"/>
                    </a:cxn>
                    <a:cxn ang="0">
                      <a:pos x="687" y="67"/>
                    </a:cxn>
                  </a:cxnLst>
                  <a:rect l="0" t="0" r="r" b="b"/>
                  <a:pathLst>
                    <a:path w="696" h="174">
                      <a:moveTo>
                        <a:pt x="687" y="67"/>
                      </a:moveTo>
                      <a:cubicBezTo>
                        <a:pt x="652" y="29"/>
                        <a:pt x="513" y="0"/>
                        <a:pt x="348" y="0"/>
                      </a:cubicBezTo>
                      <a:cubicBezTo>
                        <a:pt x="183" y="0"/>
                        <a:pt x="44" y="29"/>
                        <a:pt x="9" y="67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35"/>
                        <a:pt x="156" y="174"/>
                        <a:pt x="348" y="174"/>
                      </a:cubicBezTo>
                      <a:cubicBezTo>
                        <a:pt x="540" y="174"/>
                        <a:pt x="696" y="135"/>
                        <a:pt x="696" y="87"/>
                      </a:cubicBezTo>
                      <a:cubicBezTo>
                        <a:pt x="696" y="87"/>
                        <a:pt x="696" y="87"/>
                        <a:pt x="696" y="87"/>
                      </a:cubicBezTo>
                      <a:cubicBezTo>
                        <a:pt x="696" y="67"/>
                        <a:pt x="696" y="67"/>
                        <a:pt x="696" y="67"/>
                      </a:cubicBezTo>
                      <a:lnTo>
                        <a:pt x="687" y="67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222224"/>
                    </a:gs>
                    <a:gs pos="100000">
                      <a:srgbClr val="5F5F5F"/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46" name="Oval 1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2399" y="3155"/>
                  <a:ext cx="974" cy="24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E6E6E"/>
                    </a:gs>
                    <a:gs pos="50000">
                      <a:srgbClr val="6E6E6E">
                        <a:gamma/>
                        <a:tint val="26275"/>
                        <a:invGamma/>
                      </a:srgbClr>
                    </a:gs>
                    <a:gs pos="100000">
                      <a:srgbClr val="6E6E6E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47" name="Freeform 11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410" y="3242"/>
                  <a:ext cx="942" cy="149"/>
                </a:xfrm>
                <a:custGeom>
                  <a:avLst/>
                  <a:gdLst/>
                  <a:ahLst/>
                  <a:cxnLst>
                    <a:cxn ang="0">
                      <a:pos x="9" y="12"/>
                    </a:cxn>
                    <a:cxn ang="0">
                      <a:pos x="13" y="0"/>
                    </a:cxn>
                    <a:cxn ang="0">
                      <a:pos x="0" y="23"/>
                    </a:cxn>
                    <a:cxn ang="0">
                      <a:pos x="338" y="106"/>
                    </a:cxn>
                    <a:cxn ang="0">
                      <a:pos x="673" y="35"/>
                    </a:cxn>
                    <a:cxn ang="0">
                      <a:pos x="348" y="95"/>
                    </a:cxn>
                    <a:cxn ang="0">
                      <a:pos x="9" y="12"/>
                    </a:cxn>
                  </a:cxnLst>
                  <a:rect l="0" t="0" r="r" b="b"/>
                  <a:pathLst>
                    <a:path w="673" h="106">
                      <a:moveTo>
                        <a:pt x="9" y="12"/>
                      </a:moveTo>
                      <a:cubicBezTo>
                        <a:pt x="9" y="8"/>
                        <a:pt x="10" y="4"/>
                        <a:pt x="13" y="0"/>
                      </a:cubicBezTo>
                      <a:cubicBezTo>
                        <a:pt x="4" y="7"/>
                        <a:pt x="0" y="15"/>
                        <a:pt x="0" y="23"/>
                      </a:cubicBezTo>
                      <a:cubicBezTo>
                        <a:pt x="0" y="69"/>
                        <a:pt x="151" y="106"/>
                        <a:pt x="338" y="106"/>
                      </a:cubicBezTo>
                      <a:cubicBezTo>
                        <a:pt x="509" y="106"/>
                        <a:pt x="650" y="75"/>
                        <a:pt x="673" y="35"/>
                      </a:cubicBezTo>
                      <a:cubicBezTo>
                        <a:pt x="633" y="70"/>
                        <a:pt x="503" y="95"/>
                        <a:pt x="348" y="95"/>
                      </a:cubicBezTo>
                      <a:cubicBezTo>
                        <a:pt x="161" y="95"/>
                        <a:pt x="9" y="58"/>
                        <a:pt x="9" y="12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DDDDDD"/>
                    </a:gs>
                    <a:gs pos="100000">
                      <a:srgbClr val="FFFFFF">
                        <a:alpha val="0"/>
                      </a:srgbClr>
                    </a:gs>
                  </a:gsLst>
                  <a:path path="rect">
                    <a:fillToRect t="100000" r="100000"/>
                  </a:path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48" name="Freeform 12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511" y="1204"/>
                  <a:ext cx="754" cy="2142"/>
                </a:xfrm>
                <a:custGeom>
                  <a:avLst/>
                  <a:gdLst/>
                  <a:ahLst/>
                  <a:cxnLst>
                    <a:cxn ang="0">
                      <a:pos x="487" y="1434"/>
                    </a:cxn>
                    <a:cxn ang="0">
                      <a:pos x="487" y="1434"/>
                    </a:cxn>
                    <a:cxn ang="0">
                      <a:pos x="304" y="1121"/>
                    </a:cxn>
                    <a:cxn ang="0">
                      <a:pos x="304" y="37"/>
                    </a:cxn>
                    <a:cxn ang="0">
                      <a:pos x="270" y="0"/>
                    </a:cxn>
                    <a:cxn ang="0">
                      <a:pos x="235" y="37"/>
                    </a:cxn>
                    <a:cxn ang="0">
                      <a:pos x="235" y="1121"/>
                    </a:cxn>
                    <a:cxn ang="0">
                      <a:pos x="52" y="1434"/>
                    </a:cxn>
                    <a:cxn ang="0">
                      <a:pos x="52" y="1434"/>
                    </a:cxn>
                    <a:cxn ang="0">
                      <a:pos x="0" y="1470"/>
                    </a:cxn>
                    <a:cxn ang="0">
                      <a:pos x="270" y="1530"/>
                    </a:cxn>
                    <a:cxn ang="0">
                      <a:pos x="539" y="1470"/>
                    </a:cxn>
                    <a:cxn ang="0">
                      <a:pos x="487" y="1434"/>
                    </a:cxn>
                  </a:cxnLst>
                  <a:rect l="0" t="0" r="r" b="b"/>
                  <a:pathLst>
                    <a:path w="539" h="1530">
                      <a:moveTo>
                        <a:pt x="487" y="1434"/>
                      </a:moveTo>
                      <a:cubicBezTo>
                        <a:pt x="487" y="1434"/>
                        <a:pt x="487" y="1434"/>
                        <a:pt x="487" y="1434"/>
                      </a:cubicBezTo>
                      <a:cubicBezTo>
                        <a:pt x="321" y="1366"/>
                        <a:pt x="305" y="1174"/>
                        <a:pt x="304" y="1121"/>
                      </a:cubicBezTo>
                      <a:cubicBezTo>
                        <a:pt x="304" y="37"/>
                        <a:pt x="304" y="37"/>
                        <a:pt x="304" y="37"/>
                      </a:cubicBezTo>
                      <a:cubicBezTo>
                        <a:pt x="304" y="17"/>
                        <a:pt x="289" y="0"/>
                        <a:pt x="270" y="0"/>
                      </a:cubicBezTo>
                      <a:cubicBezTo>
                        <a:pt x="251" y="0"/>
                        <a:pt x="235" y="17"/>
                        <a:pt x="235" y="37"/>
                      </a:cubicBezTo>
                      <a:cubicBezTo>
                        <a:pt x="235" y="1121"/>
                        <a:pt x="235" y="1121"/>
                        <a:pt x="235" y="1121"/>
                      </a:cubicBezTo>
                      <a:cubicBezTo>
                        <a:pt x="234" y="1174"/>
                        <a:pt x="218" y="1366"/>
                        <a:pt x="52" y="1434"/>
                      </a:cubicBezTo>
                      <a:cubicBezTo>
                        <a:pt x="52" y="1434"/>
                        <a:pt x="52" y="1434"/>
                        <a:pt x="52" y="1434"/>
                      </a:cubicBezTo>
                      <a:cubicBezTo>
                        <a:pt x="19" y="1444"/>
                        <a:pt x="0" y="1456"/>
                        <a:pt x="0" y="1470"/>
                      </a:cubicBezTo>
                      <a:cubicBezTo>
                        <a:pt x="0" y="1503"/>
                        <a:pt x="121" y="1530"/>
                        <a:pt x="270" y="1530"/>
                      </a:cubicBezTo>
                      <a:cubicBezTo>
                        <a:pt x="419" y="1530"/>
                        <a:pt x="539" y="1503"/>
                        <a:pt x="539" y="1470"/>
                      </a:cubicBezTo>
                      <a:cubicBezTo>
                        <a:pt x="539" y="1456"/>
                        <a:pt x="520" y="1444"/>
                        <a:pt x="487" y="1434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969696"/>
                    </a:gs>
                    <a:gs pos="100000">
                      <a:srgbClr val="969696">
                        <a:gamma/>
                        <a:tint val="30196"/>
                        <a:invGamma/>
                      </a:srgbClr>
                    </a:gs>
                  </a:gsLst>
                  <a:lin ang="0" scaled="1"/>
                </a:gra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49" name="Freeform 13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899" y="1225"/>
                  <a:ext cx="361" cy="2097"/>
                </a:xfrm>
                <a:custGeom>
                  <a:avLst/>
                  <a:gdLst/>
                  <a:ahLst/>
                  <a:cxnLst>
                    <a:cxn ang="0">
                      <a:pos x="18" y="12"/>
                    </a:cxn>
                    <a:cxn ang="0">
                      <a:pos x="18" y="920"/>
                    </a:cxn>
                    <a:cxn ang="0">
                      <a:pos x="18" y="1095"/>
                    </a:cxn>
                    <a:cxn ang="0">
                      <a:pos x="29" y="1214"/>
                    </a:cxn>
                    <a:cxn ang="0">
                      <a:pos x="59" y="1316"/>
                    </a:cxn>
                    <a:cxn ang="0">
                      <a:pos x="98" y="1379"/>
                    </a:cxn>
                    <a:cxn ang="0">
                      <a:pos x="146" y="1420"/>
                    </a:cxn>
                    <a:cxn ang="0">
                      <a:pos x="258" y="1466"/>
                    </a:cxn>
                    <a:cxn ang="0">
                      <a:pos x="224" y="1486"/>
                    </a:cxn>
                    <a:cxn ang="0">
                      <a:pos x="181" y="1498"/>
                    </a:cxn>
                    <a:cxn ang="0">
                      <a:pos x="97" y="1450"/>
                    </a:cxn>
                    <a:cxn ang="0">
                      <a:pos x="41" y="1372"/>
                    </a:cxn>
                    <a:cxn ang="0">
                      <a:pos x="10" y="1249"/>
                    </a:cxn>
                    <a:cxn ang="0">
                      <a:pos x="0" y="1081"/>
                    </a:cxn>
                    <a:cxn ang="0">
                      <a:pos x="0" y="12"/>
                    </a:cxn>
                    <a:cxn ang="0">
                      <a:pos x="18" y="12"/>
                    </a:cxn>
                  </a:cxnLst>
                  <a:rect l="0" t="0" r="r" b="b"/>
                  <a:pathLst>
                    <a:path w="258" h="1498">
                      <a:moveTo>
                        <a:pt x="18" y="12"/>
                      </a:moveTo>
                      <a:cubicBezTo>
                        <a:pt x="18" y="920"/>
                        <a:pt x="18" y="920"/>
                        <a:pt x="18" y="920"/>
                      </a:cubicBezTo>
                      <a:cubicBezTo>
                        <a:pt x="18" y="1095"/>
                        <a:pt x="18" y="1095"/>
                        <a:pt x="18" y="1095"/>
                      </a:cubicBezTo>
                      <a:cubicBezTo>
                        <a:pt x="18" y="1095"/>
                        <a:pt x="19" y="1157"/>
                        <a:pt x="29" y="1214"/>
                      </a:cubicBezTo>
                      <a:cubicBezTo>
                        <a:pt x="38" y="1271"/>
                        <a:pt x="47" y="1291"/>
                        <a:pt x="59" y="1316"/>
                      </a:cubicBezTo>
                      <a:cubicBezTo>
                        <a:pt x="70" y="1340"/>
                        <a:pt x="86" y="1368"/>
                        <a:pt x="98" y="1379"/>
                      </a:cubicBezTo>
                      <a:cubicBezTo>
                        <a:pt x="119" y="1400"/>
                        <a:pt x="127" y="1407"/>
                        <a:pt x="146" y="1420"/>
                      </a:cubicBezTo>
                      <a:cubicBezTo>
                        <a:pt x="171" y="1437"/>
                        <a:pt x="253" y="1466"/>
                        <a:pt x="258" y="1466"/>
                      </a:cubicBezTo>
                      <a:cubicBezTo>
                        <a:pt x="258" y="1466"/>
                        <a:pt x="248" y="1477"/>
                        <a:pt x="224" y="1486"/>
                      </a:cubicBezTo>
                      <a:cubicBezTo>
                        <a:pt x="209" y="1492"/>
                        <a:pt x="181" y="1498"/>
                        <a:pt x="181" y="1498"/>
                      </a:cubicBezTo>
                      <a:cubicBezTo>
                        <a:pt x="181" y="1498"/>
                        <a:pt x="124" y="1475"/>
                        <a:pt x="97" y="1450"/>
                      </a:cubicBezTo>
                      <a:cubicBezTo>
                        <a:pt x="58" y="1414"/>
                        <a:pt x="53" y="1398"/>
                        <a:pt x="41" y="1372"/>
                      </a:cubicBezTo>
                      <a:cubicBezTo>
                        <a:pt x="31" y="1351"/>
                        <a:pt x="14" y="1290"/>
                        <a:pt x="10" y="1249"/>
                      </a:cubicBezTo>
                      <a:cubicBezTo>
                        <a:pt x="6" y="1208"/>
                        <a:pt x="0" y="1135"/>
                        <a:pt x="0" y="1081"/>
                      </a:cubicBezTo>
                      <a:cubicBezTo>
                        <a:pt x="0" y="1027"/>
                        <a:pt x="0" y="12"/>
                        <a:pt x="0" y="12"/>
                      </a:cubicBezTo>
                      <a:cubicBezTo>
                        <a:pt x="0" y="12"/>
                        <a:pt x="8" y="0"/>
                        <a:pt x="18" y="1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50" name="Freeform 14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649" y="1208"/>
                  <a:ext cx="226" cy="1971"/>
                </a:xfrm>
                <a:custGeom>
                  <a:avLst/>
                  <a:gdLst/>
                  <a:ahLst/>
                  <a:cxnLst>
                    <a:cxn ang="0">
                      <a:pos x="21" y="1402"/>
                    </a:cxn>
                    <a:cxn ang="0">
                      <a:pos x="86" y="1349"/>
                    </a:cxn>
                    <a:cxn ang="0">
                      <a:pos x="150" y="1149"/>
                    </a:cxn>
                    <a:cxn ang="0">
                      <a:pos x="152" y="30"/>
                    </a:cxn>
                    <a:cxn ang="0">
                      <a:pos x="161" y="4"/>
                    </a:cxn>
                    <a:cxn ang="0">
                      <a:pos x="154" y="2"/>
                    </a:cxn>
                    <a:cxn ang="0">
                      <a:pos x="136" y="34"/>
                    </a:cxn>
                    <a:cxn ang="0">
                      <a:pos x="136" y="1118"/>
                    </a:cxn>
                    <a:cxn ang="0">
                      <a:pos x="0" y="1406"/>
                    </a:cxn>
                    <a:cxn ang="0">
                      <a:pos x="21" y="1402"/>
                    </a:cxn>
                  </a:cxnLst>
                  <a:rect l="0" t="0" r="r" b="b"/>
                  <a:pathLst>
                    <a:path w="161" h="1408">
                      <a:moveTo>
                        <a:pt x="21" y="1402"/>
                      </a:moveTo>
                      <a:cubicBezTo>
                        <a:pt x="67" y="1379"/>
                        <a:pt x="86" y="1349"/>
                        <a:pt x="86" y="1349"/>
                      </a:cubicBezTo>
                      <a:cubicBezTo>
                        <a:pt x="129" y="1289"/>
                        <a:pt x="150" y="1191"/>
                        <a:pt x="150" y="1149"/>
                      </a:cubicBezTo>
                      <a:cubicBezTo>
                        <a:pt x="150" y="1149"/>
                        <a:pt x="152" y="35"/>
                        <a:pt x="152" y="30"/>
                      </a:cubicBezTo>
                      <a:cubicBezTo>
                        <a:pt x="152" y="13"/>
                        <a:pt x="161" y="8"/>
                        <a:pt x="161" y="4"/>
                      </a:cubicBezTo>
                      <a:cubicBezTo>
                        <a:pt x="161" y="2"/>
                        <a:pt x="158" y="0"/>
                        <a:pt x="154" y="2"/>
                      </a:cubicBezTo>
                      <a:cubicBezTo>
                        <a:pt x="143" y="8"/>
                        <a:pt x="136" y="19"/>
                        <a:pt x="136" y="34"/>
                      </a:cubicBezTo>
                      <a:cubicBezTo>
                        <a:pt x="136" y="1118"/>
                        <a:pt x="136" y="1118"/>
                        <a:pt x="136" y="1118"/>
                      </a:cubicBezTo>
                      <a:cubicBezTo>
                        <a:pt x="135" y="1172"/>
                        <a:pt x="120" y="1327"/>
                        <a:pt x="0" y="1406"/>
                      </a:cubicBezTo>
                      <a:cubicBezTo>
                        <a:pt x="6" y="1408"/>
                        <a:pt x="16" y="1405"/>
                        <a:pt x="21" y="1402"/>
                      </a:cubicBezTo>
                      <a:close/>
                    </a:path>
                  </a:pathLst>
                </a:custGeom>
                <a:solidFill>
                  <a:srgbClr val="808080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651" name="Freeform 15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991" y="3155"/>
                  <a:ext cx="269" cy="167"/>
                </a:xfrm>
                <a:custGeom>
                  <a:avLst/>
                  <a:gdLst/>
                  <a:ahLst/>
                  <a:cxnLst>
                    <a:cxn ang="0">
                      <a:pos x="115" y="119"/>
                    </a:cxn>
                    <a:cxn ang="0">
                      <a:pos x="0" y="0"/>
                    </a:cxn>
                    <a:cxn ang="0">
                      <a:pos x="192" y="87"/>
                    </a:cxn>
                    <a:cxn ang="0">
                      <a:pos x="115" y="119"/>
                    </a:cxn>
                  </a:cxnLst>
                  <a:rect l="0" t="0" r="r" b="b"/>
                  <a:pathLst>
                    <a:path w="192" h="119">
                      <a:moveTo>
                        <a:pt x="115" y="119"/>
                      </a:moveTo>
                      <a:cubicBezTo>
                        <a:pt x="115" y="119"/>
                        <a:pt x="8" y="39"/>
                        <a:pt x="0" y="0"/>
                      </a:cubicBezTo>
                      <a:cubicBezTo>
                        <a:pt x="0" y="0"/>
                        <a:pt x="42" y="58"/>
                        <a:pt x="192" y="87"/>
                      </a:cubicBezTo>
                      <a:cubicBezTo>
                        <a:pt x="192" y="87"/>
                        <a:pt x="175" y="107"/>
                        <a:pt x="115" y="119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EEEEEE"/>
                    </a:gs>
                    <a:gs pos="100000">
                      <a:srgbClr val="FFFFFF">
                        <a:alpha val="0"/>
                      </a:srgbClr>
                    </a:gs>
                  </a:gsLst>
                  <a:path path="rect">
                    <a:fillToRect l="50000" t="50000" r="50000" b="50000"/>
                  </a:path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  <p:grpSp>
            <p:nvGrpSpPr>
              <p:cNvPr id="33" name="Group 16"/>
              <p:cNvGrpSpPr>
                <a:grpSpLocks/>
              </p:cNvGrpSpPr>
              <p:nvPr/>
            </p:nvGrpSpPr>
            <p:grpSpPr bwMode="gray">
              <a:xfrm>
                <a:off x="2028825" y="2436813"/>
                <a:ext cx="1412875" cy="2260600"/>
                <a:chOff x="1278" y="1535"/>
                <a:chExt cx="890" cy="1424"/>
              </a:xfrm>
            </p:grpSpPr>
            <p:grpSp>
              <p:nvGrpSpPr>
                <p:cNvPr id="346" name="Group 17"/>
                <p:cNvGrpSpPr>
                  <a:grpSpLocks/>
                </p:cNvGrpSpPr>
                <p:nvPr/>
              </p:nvGrpSpPr>
              <p:grpSpPr bwMode="gray">
                <a:xfrm>
                  <a:off x="1295" y="1535"/>
                  <a:ext cx="853" cy="1213"/>
                  <a:chOff x="1295" y="1535"/>
                  <a:chExt cx="853" cy="1213"/>
                </a:xfrm>
              </p:grpSpPr>
              <p:sp>
                <p:nvSpPr>
                  <p:cNvPr id="351" name="Freeform 1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555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2" name="Freeform 1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538"/>
                    <a:ext cx="13" cy="30"/>
                  </a:xfrm>
                  <a:custGeom>
                    <a:avLst/>
                    <a:gdLst/>
                    <a:ahLst/>
                    <a:cxnLst>
                      <a:cxn ang="0">
                        <a:pos x="8" y="16"/>
                      </a:cxn>
                      <a:cxn ang="0">
                        <a:pos x="9" y="11"/>
                      </a:cxn>
                      <a:cxn ang="0">
                        <a:pos x="4" y="0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2" y="16"/>
                      </a:cxn>
                      <a:cxn ang="0">
                        <a:pos x="1" y="13"/>
                      </a:cxn>
                      <a:cxn ang="0">
                        <a:pos x="1" y="11"/>
                      </a:cxn>
                      <a:cxn ang="0">
                        <a:pos x="4" y="3"/>
                      </a:cxn>
                      <a:cxn ang="0">
                        <a:pos x="7" y="11"/>
                      </a:cxn>
                      <a:cxn ang="0">
                        <a:pos x="7" y="13"/>
                      </a:cxn>
                      <a:cxn ang="0">
                        <a:pos x="8" y="16"/>
                      </a:cxn>
                    </a:cxnLst>
                    <a:rect l="0" t="0" r="r" b="b"/>
                    <a:pathLst>
                      <a:path w="9" h="21">
                        <a:moveTo>
                          <a:pt x="8" y="16"/>
                        </a:moveTo>
                        <a:cubicBezTo>
                          <a:pt x="8" y="14"/>
                          <a:pt x="9" y="12"/>
                          <a:pt x="9" y="11"/>
                        </a:cubicBezTo>
                        <a:cubicBezTo>
                          <a:pt x="9" y="4"/>
                          <a:pt x="7" y="0"/>
                          <a:pt x="4" y="0"/>
                        </a:cubicBezTo>
                        <a:cubicBezTo>
                          <a:pt x="2" y="0"/>
                          <a:pt x="0" y="4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0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6"/>
                        </a:cubicBezTo>
                        <a:cubicBezTo>
                          <a:pt x="2" y="16"/>
                          <a:pt x="2" y="15"/>
                          <a:pt x="1" y="13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7"/>
                          <a:pt x="2" y="3"/>
                          <a:pt x="4" y="3"/>
                        </a:cubicBezTo>
                        <a:cubicBezTo>
                          <a:pt x="6" y="3"/>
                          <a:pt x="7" y="7"/>
                          <a:pt x="7" y="11"/>
                        </a:cubicBezTo>
                        <a:cubicBezTo>
                          <a:pt x="7" y="12"/>
                          <a:pt x="7" y="13"/>
                          <a:pt x="7" y="13"/>
                        </a:cubicBezTo>
                        <a:cubicBezTo>
                          <a:pt x="7" y="14"/>
                          <a:pt x="8" y="15"/>
                          <a:pt x="8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3" name="Freeform 2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590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4" name="Freeform 2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580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5" name="Freeform 2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57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6" name="Freeform 2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624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7" name="Freeform 2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615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8" name="Freeform 2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60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59" name="Freeform 2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659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0" name="Freeform 2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650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1" name="Freeform 2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64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2" name="Freeform 2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694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3" name="Freeform 3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684"/>
                    <a:ext cx="3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4" name="Freeform 3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67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7"/>
                          <a:pt x="2" y="16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5" name="Freeform 3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729"/>
                    <a:ext cx="14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0"/>
                      </a:cxn>
                      <a:cxn ang="0">
                        <a:pos x="5" y="21"/>
                      </a:cxn>
                      <a:cxn ang="0">
                        <a:pos x="10" y="10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0"/>
                      </a:cxn>
                      <a:cxn ang="0">
                        <a:pos x="5" y="3"/>
                      </a:cxn>
                      <a:cxn ang="0">
                        <a:pos x="9" y="10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0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0" y="17"/>
                          <a:pt x="10" y="10"/>
                        </a:cubicBezTo>
                        <a:cubicBezTo>
                          <a:pt x="10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4"/>
                          <a:pt x="2" y="10"/>
                        </a:cubicBezTo>
                        <a:cubicBezTo>
                          <a:pt x="2" y="6"/>
                          <a:pt x="3" y="3"/>
                          <a:pt x="5" y="3"/>
                        </a:cubicBezTo>
                        <a:cubicBezTo>
                          <a:pt x="7" y="3"/>
                          <a:pt x="9" y="6"/>
                          <a:pt x="9" y="10"/>
                        </a:cubicBezTo>
                        <a:cubicBezTo>
                          <a:pt x="9" y="14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6" name="Freeform 3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719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7" name="Freeform 3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71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8" name="Freeform 3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762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69" name="Freeform 3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754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0" name="Freeform 3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74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1" name="Freeform 3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797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2" name="Freeform 3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787"/>
                    <a:ext cx="3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4"/>
                          <a:pt x="0" y="5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6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3" name="Freeform 4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78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2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8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4" name="Freeform 4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832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5" name="Freeform 4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822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6" name="Freeform 4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814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7" name="Freeform 4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866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8" name="Freeform 4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857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79" name="Freeform 4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849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0" name="Freeform 4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901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1" name="Freeform 4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892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2" name="Freeform 4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884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3" name="Freeform 5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936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4" name="Freeform 5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926"/>
                    <a:ext cx="3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5" name="Freeform 5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91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2" y="16"/>
                      </a:cxn>
                      <a:cxn ang="0">
                        <a:pos x="1" y="13"/>
                      </a:cxn>
                      <a:cxn ang="0">
                        <a:pos x="1" y="10"/>
                      </a:cxn>
                      <a:cxn ang="0">
                        <a:pos x="1" y="7"/>
                      </a:cxn>
                      <a:cxn ang="0">
                        <a:pos x="3" y="4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0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1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6"/>
                        </a:cubicBezTo>
                        <a:cubicBezTo>
                          <a:pt x="2" y="16"/>
                          <a:pt x="2" y="15"/>
                          <a:pt x="1" y="13"/>
                        </a:cubicBezTo>
                        <a:cubicBezTo>
                          <a:pt x="1" y="13"/>
                          <a:pt x="1" y="12"/>
                          <a:pt x="1" y="10"/>
                        </a:cubicBezTo>
                        <a:cubicBezTo>
                          <a:pt x="1" y="9"/>
                          <a:pt x="1" y="8"/>
                          <a:pt x="1" y="7"/>
                        </a:cubicBezTo>
                        <a:cubicBezTo>
                          <a:pt x="2" y="6"/>
                          <a:pt x="2" y="5"/>
                          <a:pt x="3" y="4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5"/>
                        </a:cubicBezTo>
                        <a:cubicBezTo>
                          <a:pt x="0" y="7"/>
                          <a:pt x="0" y="9"/>
                          <a:pt x="0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0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6" name="Freeform 5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1971"/>
                    <a:ext cx="14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0"/>
                      </a:cxn>
                      <a:cxn ang="0">
                        <a:pos x="5" y="21"/>
                      </a:cxn>
                      <a:cxn ang="0">
                        <a:pos x="10" y="10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0"/>
                      </a:cxn>
                      <a:cxn ang="0">
                        <a:pos x="5" y="3"/>
                      </a:cxn>
                      <a:cxn ang="0">
                        <a:pos x="9" y="10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0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0" y="17"/>
                          <a:pt x="10" y="10"/>
                        </a:cubicBezTo>
                        <a:cubicBezTo>
                          <a:pt x="10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4"/>
                          <a:pt x="2" y="10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0"/>
                        </a:cubicBezTo>
                        <a:cubicBezTo>
                          <a:pt x="9" y="14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7" name="Freeform 5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961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8" name="Freeform 5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953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89" name="Freeform 5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005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0" name="Freeform 5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1996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1" name="Freeform 5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988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2" name="Freeform 5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040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3" name="Freeform 6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031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4" name="Freeform 6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023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5" name="Freeform 6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075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6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065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7" name="Freeform 6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05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7"/>
                          <a:pt x="2" y="16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2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10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8" name="Freeform 6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108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99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100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0" name="Freeform 6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091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1" name="Freeform 6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143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2" name="Freeform 6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135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3" name="Freeform 7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12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4" name="Freeform 7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178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5" name="Freeform 7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168"/>
                    <a:ext cx="3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9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4"/>
                          <a:pt x="0" y="5"/>
                          <a:pt x="0" y="6"/>
                        </a:cubicBezTo>
                        <a:cubicBezTo>
                          <a:pt x="0" y="7"/>
                          <a:pt x="0" y="8"/>
                          <a:pt x="0" y="9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6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6" name="Freeform 7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161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3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1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3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9"/>
                          <a:pt x="1" y="8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7" name="Freeform 7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213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8" name="Freeform 7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203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09" name="Freeform 7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19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7"/>
                          <a:pt x="2" y="16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0" name="Freeform 7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247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1" name="Freeform 7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238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2" name="Freeform 7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23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3" name="Freeform 8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282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4" name="Freeform 8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273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5" name="Freeform 8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26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6" name="Freeform 8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317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7" name="Freeform 8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307"/>
                    <a:ext cx="3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6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8" name="Freeform 8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29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6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7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7"/>
                          <a:pt x="2" y="16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6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2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10"/>
                          <a:pt x="0" y="11"/>
                        </a:cubicBezTo>
                        <a:cubicBezTo>
                          <a:pt x="0" y="13"/>
                          <a:pt x="0" y="15"/>
                          <a:pt x="0" y="17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19" name="Freeform 8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352"/>
                    <a:ext cx="14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1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1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0" y="17"/>
                          <a:pt x="10" y="11"/>
                        </a:cubicBezTo>
                        <a:cubicBezTo>
                          <a:pt x="10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0" name="Freeform 8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342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1" name="Freeform 8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334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2" name="Freeform 8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385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3" name="Freeform 9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377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4" name="Freeform 9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36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5" name="Freeform 9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420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6" name="Freeform 9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412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7" name="Freeform 9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404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8" name="Freeform 9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455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29" name="Freeform 9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446"/>
                    <a:ext cx="3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0" name="Freeform 9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43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7"/>
                          <a:pt x="2" y="16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1" name="Freeform 9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489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2" name="Freeform 9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481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3" name="Freeform 10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47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4" name="Freeform 10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524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5" name="Freeform 10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516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6" name="Freeform 10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50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7" name="Freeform 10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559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8" name="Freeform 10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549"/>
                    <a:ext cx="3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7"/>
                          <a:pt x="2" y="6"/>
                        </a:cubicBezTo>
                        <a:cubicBezTo>
                          <a:pt x="2" y="4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39" name="Freeform 10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54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2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9"/>
                          <a:pt x="1" y="8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0" name="Freeform 10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594"/>
                    <a:ext cx="14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1" name="Freeform 10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584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2" name="Freeform 10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57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3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0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3" name="Freeform 11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628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4" name="Freeform 11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619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9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5" name="Freeform 11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611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3" y="18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3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0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6" name="Freeform 11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14" y="2663"/>
                    <a:ext cx="14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0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0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0" y="17"/>
                          <a:pt x="10" y="11"/>
                        </a:cubicBezTo>
                        <a:cubicBezTo>
                          <a:pt x="10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7" name="Freeform 11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5" y="2654"/>
                    <a:ext cx="3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1" y="8"/>
                          <a:pt x="2" y="7"/>
                          <a:pt x="2" y="5"/>
                        </a:cubicBezTo>
                        <a:cubicBezTo>
                          <a:pt x="2" y="3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8" name="Freeform 11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264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2" y="17"/>
                      </a:cxn>
                      <a:cxn ang="0">
                        <a:pos x="1" y="14"/>
                      </a:cxn>
                      <a:cxn ang="0">
                        <a:pos x="1" y="11"/>
                      </a:cxn>
                      <a:cxn ang="0">
                        <a:pos x="1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3" y="18"/>
                          <a:pt x="3" y="17"/>
                          <a:pt x="2" y="17"/>
                        </a:cubicBezTo>
                        <a:cubicBezTo>
                          <a:pt x="2" y="16"/>
                          <a:pt x="2" y="15"/>
                          <a:pt x="1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1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3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0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49" name="Freeform 11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00" y="155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0" name="Freeform 11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08" y="1535"/>
                    <a:ext cx="19" cy="34"/>
                  </a:xfrm>
                  <a:custGeom>
                    <a:avLst/>
                    <a:gdLst/>
                    <a:ahLst/>
                    <a:cxnLst>
                      <a:cxn ang="0">
                        <a:pos x="9" y="19"/>
                      </a:cxn>
                      <a:cxn ang="0">
                        <a:pos x="11" y="14"/>
                      </a:cxn>
                      <a:cxn ang="0">
                        <a:pos x="10" y="1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5"/>
                      </a:cxn>
                      <a:cxn ang="0">
                        <a:pos x="3" y="11"/>
                      </a:cxn>
                      <a:cxn ang="0">
                        <a:pos x="9" y="5"/>
                      </a:cxn>
                      <a:cxn ang="0">
                        <a:pos x="9" y="14"/>
                      </a:cxn>
                      <a:cxn ang="0">
                        <a:pos x="8" y="17"/>
                      </a:cxn>
                      <a:cxn ang="0">
                        <a:pos x="9" y="19"/>
                      </a:cxn>
                    </a:cxnLst>
                    <a:rect l="0" t="0" r="r" b="b"/>
                    <a:pathLst>
                      <a:path w="13" h="24">
                        <a:moveTo>
                          <a:pt x="9" y="19"/>
                        </a:moveTo>
                        <a:cubicBezTo>
                          <a:pt x="9" y="18"/>
                          <a:pt x="10" y="16"/>
                          <a:pt x="11" y="14"/>
                        </a:cubicBezTo>
                        <a:cubicBezTo>
                          <a:pt x="13" y="8"/>
                          <a:pt x="13" y="2"/>
                          <a:pt x="10" y="1"/>
                        </a:cubicBezTo>
                        <a:cubicBezTo>
                          <a:pt x="8" y="0"/>
                          <a:pt x="4" y="5"/>
                          <a:pt x="1" y="11"/>
                        </a:cubicBezTo>
                        <a:cubicBezTo>
                          <a:pt x="1" y="13"/>
                          <a:pt x="0" y="15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4"/>
                          <a:pt x="2" y="24"/>
                        </a:cubicBezTo>
                        <a:cubicBezTo>
                          <a:pt x="3" y="24"/>
                          <a:pt x="5" y="24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5"/>
                        </a:cubicBezTo>
                        <a:cubicBezTo>
                          <a:pt x="2" y="14"/>
                          <a:pt x="3" y="13"/>
                          <a:pt x="3" y="11"/>
                        </a:cubicBezTo>
                        <a:cubicBezTo>
                          <a:pt x="5" y="7"/>
                          <a:pt x="7" y="4"/>
                          <a:pt x="9" y="5"/>
                        </a:cubicBezTo>
                        <a:cubicBezTo>
                          <a:pt x="11" y="6"/>
                          <a:pt x="11" y="9"/>
                          <a:pt x="9" y="14"/>
                        </a:cubicBezTo>
                        <a:cubicBezTo>
                          <a:pt x="9" y="15"/>
                          <a:pt x="8" y="16"/>
                          <a:pt x="8" y="17"/>
                        </a:cubicBezTo>
                        <a:cubicBezTo>
                          <a:pt x="8" y="17"/>
                          <a:pt x="8" y="18"/>
                          <a:pt x="9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1" name="Freeform 11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87" y="159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2" name="Freeform 11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07" y="1583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6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3" name="Freeform 12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96" y="157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2"/>
                          <a:pt x="3" y="11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5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2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4" name="Freeform 12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75" y="162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5" name="Freeform 12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94" y="161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7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6" name="Freeform 12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83" y="160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5"/>
                        </a:cubicBezTo>
                        <a:cubicBezTo>
                          <a:pt x="9" y="5"/>
                          <a:pt x="10" y="6"/>
                          <a:pt x="10" y="7"/>
                        </a:cubicBezTo>
                        <a:cubicBezTo>
                          <a:pt x="11" y="6"/>
                          <a:pt x="12" y="6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1" y="13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7" name="Freeform 12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62" y="166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4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6"/>
                          <a:pt x="1" y="22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4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8" name="Freeform 12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82" y="1656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59" name="Freeform 12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71" y="1645"/>
                    <a:ext cx="16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5"/>
                        </a:cubicBezTo>
                        <a:cubicBezTo>
                          <a:pt x="9" y="5"/>
                          <a:pt x="10" y="6"/>
                          <a:pt x="10" y="7"/>
                        </a:cubicBezTo>
                        <a:cubicBezTo>
                          <a:pt x="11" y="6"/>
                          <a:pt x="11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0" name="Freeform 12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50" y="169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1" name="Freeform 12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69" y="1692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2" name="Freeform 12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58" y="1681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4"/>
                        </a:cubicBezTo>
                        <a:cubicBezTo>
                          <a:pt x="9" y="5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3" name="Freeform 13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37" y="173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8" y="0"/>
                          <a:pt x="4" y="5"/>
                          <a:pt x="2" y="11"/>
                        </a:cubicBezTo>
                        <a:cubicBezTo>
                          <a:pt x="0" y="17"/>
                          <a:pt x="0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4" name="Freeform 13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57" y="1729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5" name="Freeform 13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45" y="171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19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19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5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6" name="Freeform 13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24" y="1771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8" y="0"/>
                          <a:pt x="4" y="4"/>
                          <a:pt x="2" y="11"/>
                        </a:cubicBezTo>
                        <a:cubicBezTo>
                          <a:pt x="0" y="17"/>
                          <a:pt x="0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7" name="Freeform 13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44" y="176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8" name="Freeform 13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33" y="175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69" name="Freeform 13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612" y="180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1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1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0" name="Freeform 13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31" y="180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1" name="Freeform 13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20" y="179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4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9"/>
                          <a:pt x="4" y="8"/>
                          <a:pt x="4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2" name="Freeform 13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99" y="184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3" name="Freeform 14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19" y="1838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0"/>
                          <a:pt x="3" y="1"/>
                          <a:pt x="2" y="1"/>
                        </a:cubicBezTo>
                        <a:cubicBezTo>
                          <a:pt x="2" y="2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4" name="Freeform 14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08" y="1827"/>
                    <a:ext cx="16" cy="32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3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5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2"/>
                          <a:pt x="4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5" name="Freeform 14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86" y="188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1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6" name="Freeform 14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606" y="1873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1" y="4"/>
                          <a:pt x="1" y="6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7" name="Freeform 14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95" y="186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6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3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1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6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9" y="5"/>
                          <a:pt x="10" y="6"/>
                        </a:cubicBezTo>
                        <a:cubicBezTo>
                          <a:pt x="10" y="5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2"/>
                          <a:pt x="4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4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8" name="Freeform 14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74" y="191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0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79" name="Freeform 14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93" y="190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2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0" name="Freeform 14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82" y="189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9" y="5"/>
                        </a:cubicBezTo>
                        <a:cubicBezTo>
                          <a:pt x="9" y="5"/>
                          <a:pt x="9" y="6"/>
                          <a:pt x="10" y="7"/>
                        </a:cubicBezTo>
                        <a:cubicBezTo>
                          <a:pt x="10" y="6"/>
                          <a:pt x="11" y="6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1" name="Freeform 14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61" y="195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6"/>
                          <a:pt x="0" y="22"/>
                          <a:pt x="3" y="24"/>
                        </a:cubicBezTo>
                        <a:cubicBezTo>
                          <a:pt x="6" y="25"/>
                          <a:pt x="11" y="20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2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2" name="Freeform 14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81" y="1946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2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3" name="Freeform 15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70" y="1935"/>
                    <a:ext cx="16" cy="33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5"/>
                        </a:cubicBezTo>
                        <a:cubicBezTo>
                          <a:pt x="9" y="5"/>
                          <a:pt x="9" y="6"/>
                          <a:pt x="10" y="7"/>
                        </a:cubicBezTo>
                        <a:cubicBezTo>
                          <a:pt x="10" y="6"/>
                          <a:pt x="11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4" name="Freeform 15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49" y="198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1"/>
                      </a:cxn>
                      <a:cxn ang="0">
                        <a:pos x="3" y="24"/>
                      </a:cxn>
                      <a:cxn ang="0">
                        <a:pos x="13" y="15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5"/>
                          <a:pt x="2" y="11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1"/>
                          <a:pt x="13" y="15"/>
                        </a:cubicBezTo>
                        <a:cubicBezTo>
                          <a:pt x="15" y="9"/>
                          <a:pt x="14" y="3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2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5" name="Freeform 15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68" y="1982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6" name="Freeform 15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57" y="1971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4"/>
                        </a:cubicBezTo>
                        <a:cubicBezTo>
                          <a:pt x="9" y="5"/>
                          <a:pt x="9" y="5"/>
                          <a:pt x="10" y="6"/>
                        </a:cubicBezTo>
                        <a:cubicBezTo>
                          <a:pt x="10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7" name="Freeform 15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35" y="2024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20"/>
                          <a:pt x="3" y="16"/>
                          <a:pt x="5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8" name="Freeform 15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56" y="2019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2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2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89" name="Freeform 15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44" y="200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3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2" y="19"/>
                          <a:pt x="2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4"/>
                        </a:cubicBezTo>
                        <a:cubicBezTo>
                          <a:pt x="9" y="5"/>
                          <a:pt x="9" y="5"/>
                          <a:pt x="10" y="6"/>
                        </a:cubicBezTo>
                        <a:cubicBezTo>
                          <a:pt x="10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3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0" name="Freeform 15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22" y="2061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20"/>
                          <a:pt x="3" y="16"/>
                          <a:pt x="5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1" name="Freeform 15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43" y="205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2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1"/>
                          <a:pt x="2" y="2"/>
                        </a:cubicBezTo>
                        <a:cubicBezTo>
                          <a:pt x="1" y="3"/>
                          <a:pt x="1" y="4"/>
                          <a:pt x="1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7"/>
                          <a:pt x="2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2" name="Freeform 15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32" y="204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3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19"/>
                          <a:pt x="4" y="20"/>
                          <a:pt x="3" y="19"/>
                        </a:cubicBezTo>
                        <a:cubicBezTo>
                          <a:pt x="2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6"/>
                          <a:pt x="6" y="6"/>
                          <a:pt x="6" y="5"/>
                        </a:cubicBezTo>
                        <a:cubicBezTo>
                          <a:pt x="7" y="4"/>
                          <a:pt x="8" y="4"/>
                          <a:pt x="8" y="4"/>
                        </a:cubicBezTo>
                        <a:cubicBezTo>
                          <a:pt x="9" y="4"/>
                          <a:pt x="9" y="5"/>
                          <a:pt x="10" y="6"/>
                        </a:cubicBezTo>
                        <a:cubicBezTo>
                          <a:pt x="10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3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0"/>
                          <a:pt x="6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3" name="Freeform 16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509" y="2097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3" y="19"/>
                          <a:pt x="3" y="15"/>
                          <a:pt x="5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4" name="Freeform 16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29" y="2091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1"/>
                          <a:pt x="3" y="1"/>
                          <a:pt x="3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5" name="Freeform 16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18" y="2080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4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1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6"/>
                      </a:cxn>
                      <a:cxn ang="0">
                        <a:pos x="1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4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1"/>
                        </a:cubicBezTo>
                        <a:cubicBezTo>
                          <a:pt x="4" y="9"/>
                          <a:pt x="4" y="8"/>
                          <a:pt x="5" y="8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1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3" y="2"/>
                          <a:pt x="12" y="1"/>
                          <a:pt x="11" y="0"/>
                        </a:cubicBezTo>
                        <a:cubicBezTo>
                          <a:pt x="10" y="0"/>
                          <a:pt x="8" y="0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0" y="17"/>
                          <a:pt x="0" y="18"/>
                          <a:pt x="1" y="19"/>
                        </a:cubicBezTo>
                        <a:cubicBezTo>
                          <a:pt x="1" y="21"/>
                          <a:pt x="2" y="23"/>
                          <a:pt x="3" y="23"/>
                        </a:cubicBezTo>
                        <a:cubicBezTo>
                          <a:pt x="4" y="24"/>
                          <a:pt x="5" y="23"/>
                          <a:pt x="7" y="21"/>
                        </a:cubicBezTo>
                        <a:cubicBezTo>
                          <a:pt x="7" y="20"/>
                          <a:pt x="7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6" name="Freeform 16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97" y="213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19"/>
                          <a:pt x="3" y="15"/>
                          <a:pt x="5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7" name="Freeform 16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16" y="2128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1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0"/>
                          <a:pt x="3" y="1"/>
                          <a:pt x="3" y="1"/>
                        </a:cubicBezTo>
                        <a:cubicBezTo>
                          <a:pt x="2" y="2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1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8" name="Freeform 1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05" y="2117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4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1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5"/>
                      </a:cxn>
                      <a:cxn ang="0">
                        <a:pos x="1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3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1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3" y="2"/>
                          <a:pt x="12" y="0"/>
                          <a:pt x="11" y="0"/>
                        </a:cubicBezTo>
                        <a:cubicBezTo>
                          <a:pt x="10" y="0"/>
                          <a:pt x="8" y="0"/>
                          <a:pt x="7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4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5"/>
                        </a:cubicBezTo>
                        <a:cubicBezTo>
                          <a:pt x="0" y="17"/>
                          <a:pt x="0" y="18"/>
                          <a:pt x="1" y="19"/>
                        </a:cubicBezTo>
                        <a:cubicBezTo>
                          <a:pt x="1" y="21"/>
                          <a:pt x="2" y="23"/>
                          <a:pt x="3" y="23"/>
                        </a:cubicBezTo>
                        <a:cubicBezTo>
                          <a:pt x="4" y="23"/>
                          <a:pt x="5" y="23"/>
                          <a:pt x="7" y="21"/>
                        </a:cubicBezTo>
                        <a:cubicBezTo>
                          <a:pt x="7" y="20"/>
                          <a:pt x="7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499" name="Freeform 16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84" y="2170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0" name="Freeform 16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504" y="2164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1"/>
                      </a:cxn>
                      <a:cxn ang="0">
                        <a:pos x="2" y="5"/>
                      </a:cxn>
                      <a:cxn ang="0">
                        <a:pos x="0" y="7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0"/>
                          <a:pt x="3" y="1"/>
                          <a:pt x="3" y="1"/>
                        </a:cubicBezTo>
                        <a:cubicBezTo>
                          <a:pt x="2" y="2"/>
                          <a:pt x="2" y="3"/>
                          <a:pt x="2" y="5"/>
                        </a:cubicBezTo>
                        <a:cubicBezTo>
                          <a:pt x="1" y="6"/>
                          <a:pt x="1" y="7"/>
                          <a:pt x="0" y="7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1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1" name="Freeform 1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93" y="2153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5"/>
                      </a:cxn>
                      <a:cxn ang="0">
                        <a:pos x="1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3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2" y="15"/>
                          <a:pt x="3" y="14"/>
                        </a:cubicBezTo>
                        <a:cubicBezTo>
                          <a:pt x="3" y="13"/>
                          <a:pt x="3" y="11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3" y="4"/>
                        </a:cubicBezTo>
                        <a:cubicBezTo>
                          <a:pt x="12" y="2"/>
                          <a:pt x="12" y="0"/>
                          <a:pt x="11" y="0"/>
                        </a:cubicBezTo>
                        <a:cubicBezTo>
                          <a:pt x="9" y="0"/>
                          <a:pt x="8" y="0"/>
                          <a:pt x="7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5"/>
                        </a:cubicBezTo>
                        <a:cubicBezTo>
                          <a:pt x="0" y="17"/>
                          <a:pt x="0" y="18"/>
                          <a:pt x="1" y="19"/>
                        </a:cubicBezTo>
                        <a:cubicBezTo>
                          <a:pt x="1" y="21"/>
                          <a:pt x="1" y="23"/>
                          <a:pt x="3" y="23"/>
                        </a:cubicBezTo>
                        <a:cubicBezTo>
                          <a:pt x="4" y="23"/>
                          <a:pt x="5" y="23"/>
                          <a:pt x="7" y="21"/>
                        </a:cubicBezTo>
                        <a:cubicBezTo>
                          <a:pt x="7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2" name="Freeform 16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72" y="2206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3" name="Freeform 17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91" y="2199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3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7"/>
                          <a:pt x="1" y="8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10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4" name="Freeform 17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80" y="2188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3" y="5"/>
                      </a:cxn>
                      <a:cxn ang="0">
                        <a:pos x="11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1" y="16"/>
                      </a:cxn>
                      <a:cxn ang="0">
                        <a:pos x="1" y="20"/>
                      </a:cxn>
                      <a:cxn ang="0">
                        <a:pos x="3" y="24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20"/>
                          <a:pt x="5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3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6"/>
                          <a:pt x="13" y="5"/>
                        </a:cubicBezTo>
                        <a:cubicBezTo>
                          <a:pt x="12" y="3"/>
                          <a:pt x="12" y="1"/>
                          <a:pt x="11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3" y="9"/>
                          <a:pt x="2" y="11"/>
                        </a:cubicBezTo>
                        <a:cubicBezTo>
                          <a:pt x="1" y="13"/>
                          <a:pt x="1" y="14"/>
                          <a:pt x="1" y="16"/>
                        </a:cubicBezTo>
                        <a:cubicBezTo>
                          <a:pt x="0" y="18"/>
                          <a:pt x="0" y="19"/>
                          <a:pt x="1" y="20"/>
                        </a:cubicBezTo>
                        <a:cubicBezTo>
                          <a:pt x="1" y="22"/>
                          <a:pt x="1" y="23"/>
                          <a:pt x="3" y="24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5" name="Freeform 17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59" y="224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6"/>
                          <a:pt x="1" y="22"/>
                          <a:pt x="4" y="24"/>
                        </a:cubicBezTo>
                        <a:cubicBezTo>
                          <a:pt x="7" y="25"/>
                          <a:pt x="11" y="20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6" name="Freeform 17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79" y="2236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7" name="Freeform 17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67" y="2224"/>
                    <a:ext cx="19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3" y="5"/>
                      </a:cxn>
                      <a:cxn ang="0">
                        <a:pos x="11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1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20"/>
                          <a:pt x="5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5"/>
                          <a:pt x="13" y="5"/>
                        </a:cubicBezTo>
                        <a:cubicBezTo>
                          <a:pt x="12" y="3"/>
                          <a:pt x="12" y="1"/>
                          <a:pt x="11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3" y="24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8" name="Freeform 17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46" y="2278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5"/>
                        </a:cubicBezTo>
                        <a:cubicBezTo>
                          <a:pt x="16" y="9"/>
                          <a:pt x="15" y="3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09" name="Freeform 17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66" y="2272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0" name="Freeform 17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55" y="2261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1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6"/>
                      </a:cxn>
                      <a:cxn ang="0">
                        <a:pos x="0" y="20"/>
                      </a:cxn>
                      <a:cxn ang="0">
                        <a:pos x="3" y="23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5" y="20"/>
                          <a:pt x="4" y="20"/>
                        </a:cubicBezTo>
                        <a:cubicBezTo>
                          <a:pt x="3" y="19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4"/>
                        </a:cubicBezTo>
                        <a:cubicBezTo>
                          <a:pt x="10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1"/>
                          <a:pt x="11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3" y="23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1" name="Freeform 17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34" y="2314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2" name="Freeform 17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53" y="2308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3" name="Freeform 18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42" y="2297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0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3" y="18"/>
                        </a:cubicBezTo>
                        <a:cubicBezTo>
                          <a:pt x="2" y="17"/>
                          <a:pt x="2" y="15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4"/>
                        </a:cubicBezTo>
                        <a:cubicBezTo>
                          <a:pt x="10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1"/>
                          <a:pt x="10" y="0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4" name="Freeform 18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21" y="2350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5" name="Freeform 18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41" y="2345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7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6" name="Freeform 18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30" y="2334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0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6"/>
                          <a:pt x="6" y="6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1"/>
                          <a:pt x="10" y="0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8"/>
                          <a:pt x="0" y="20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7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7" name="Freeform 18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409" y="238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8" name="Freeform 18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28" y="238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3" y="5"/>
                        </a:cubicBezTo>
                        <a:cubicBezTo>
                          <a:pt x="4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19" name="Freeform 18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17" y="237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9"/>
                          <a:pt x="4" y="8"/>
                          <a:pt x="5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2" y="1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0" name="Freeform 18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96" y="242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1" name="Freeform 18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16" y="2418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0"/>
                          <a:pt x="3" y="1"/>
                          <a:pt x="2" y="1"/>
                        </a:cubicBezTo>
                        <a:cubicBezTo>
                          <a:pt x="2" y="2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3" y="5"/>
                        </a:cubicBezTo>
                        <a:cubicBezTo>
                          <a:pt x="4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2" name="Freeform 18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04" y="2406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2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4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3" name="Freeform 19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83" y="2460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0" y="5"/>
                        </a:cubicBezTo>
                        <a:cubicBezTo>
                          <a:pt x="12" y="6"/>
                          <a:pt x="13" y="9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4" name="Freeform 19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403" y="2454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0"/>
                          <a:pt x="3" y="1"/>
                          <a:pt x="2" y="1"/>
                        </a:cubicBezTo>
                        <a:cubicBezTo>
                          <a:pt x="2" y="2"/>
                          <a:pt x="2" y="3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3" y="5"/>
                        </a:cubicBezTo>
                        <a:cubicBezTo>
                          <a:pt x="4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5" name="Freeform 19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92" y="244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3"/>
                          <a:pt x="3" y="11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6" name="Freeform 19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71" y="2496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7" name="Freeform 19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90" y="2489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7"/>
                          <a:pt x="1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8" name="Freeform 19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79" y="2478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5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6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3"/>
                          <a:pt x="1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29" name="Freeform 19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58" y="2532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0" name="Freeform 19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78" y="2525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1" name="Freeform 19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67" y="2514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3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2" name="Freeform 19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46" y="256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1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1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9"/>
                          <a:pt x="15" y="3"/>
                          <a:pt x="12" y="1"/>
                        </a:cubicBezTo>
                        <a:close/>
                        <a:moveTo>
                          <a:pt x="5" y="21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1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3" name="Freeform 20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65" y="2562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0" y="10"/>
                          <a:pt x="1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4" name="Freeform 20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54" y="2551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4"/>
                        </a:cubicBezTo>
                        <a:cubicBezTo>
                          <a:pt x="10" y="5"/>
                          <a:pt x="10" y="6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5" name="Freeform 20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33" y="260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6" name="Freeform 20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53" y="2598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7" name="Freeform 20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41" y="258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4"/>
                        </a:cubicBezTo>
                        <a:cubicBezTo>
                          <a:pt x="9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8" name="Freeform 20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20" y="264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9" name="Freeform 20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40" y="263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7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0" name="Freeform 20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29" y="2623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6"/>
                          <a:pt x="6" y="6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20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1" name="Freeform 20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308" y="267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6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2" name="Freeform 20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27" y="267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4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3" name="Freeform 21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16" y="2660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5" y="19"/>
                          <a:pt x="4" y="20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9"/>
                          <a:pt x="4" y="8"/>
                          <a:pt x="4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4" name="Freeform 21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295" y="271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5" name="Freeform 21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15" y="2707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0"/>
                          <a:pt x="3" y="1"/>
                          <a:pt x="2" y="1"/>
                        </a:cubicBezTo>
                        <a:cubicBezTo>
                          <a:pt x="2" y="2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4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6" name="Freeform 21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304" y="2696"/>
                    <a:ext cx="16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5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7" name="Freeform 21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21" y="155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8" name="Freeform 21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15" y="1535"/>
                    <a:ext cx="19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14"/>
                      </a:cxn>
                      <a:cxn ang="0">
                        <a:pos x="3" y="1"/>
                      </a:cxn>
                      <a:cxn ang="0">
                        <a:pos x="12" y="11"/>
                      </a:cxn>
                      <a:cxn ang="0">
                        <a:pos x="13" y="16"/>
                      </a:cxn>
                      <a:cxn ang="0">
                        <a:pos x="13" y="20"/>
                      </a:cxn>
                      <a:cxn ang="0">
                        <a:pos x="11" y="24"/>
                      </a:cxn>
                      <a:cxn ang="0">
                        <a:pos x="7" y="22"/>
                      </a:cxn>
                      <a:cxn ang="0">
                        <a:pos x="8" y="19"/>
                      </a:cxn>
                      <a:cxn ang="0">
                        <a:pos x="10" y="20"/>
                      </a:cxn>
                      <a:cxn ang="0">
                        <a:pos x="11" y="18"/>
                      </a:cxn>
                      <a:cxn ang="0">
                        <a:pos x="11" y="15"/>
                      </a:cxn>
                      <a:cxn ang="0">
                        <a:pos x="10" y="11"/>
                      </a:cxn>
                      <a:cxn ang="0">
                        <a:pos x="5" y="5"/>
                      </a:cxn>
                      <a:cxn ang="0">
                        <a:pos x="4" y="14"/>
                      </a:cxn>
                      <a:cxn ang="0">
                        <a:pos x="5" y="17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3" h="24">
                        <a:moveTo>
                          <a:pt x="5" y="19"/>
                        </a:moveTo>
                        <a:cubicBezTo>
                          <a:pt x="4" y="18"/>
                          <a:pt x="3" y="16"/>
                          <a:pt x="3" y="14"/>
                        </a:cubicBezTo>
                        <a:cubicBezTo>
                          <a:pt x="0" y="8"/>
                          <a:pt x="1" y="2"/>
                          <a:pt x="3" y="1"/>
                        </a:cubicBezTo>
                        <a:cubicBezTo>
                          <a:pt x="6" y="0"/>
                          <a:pt x="10" y="5"/>
                          <a:pt x="12" y="11"/>
                        </a:cubicBezTo>
                        <a:cubicBezTo>
                          <a:pt x="13" y="13"/>
                          <a:pt x="13" y="15"/>
                          <a:pt x="13" y="16"/>
                        </a:cubicBezTo>
                        <a:cubicBezTo>
                          <a:pt x="13" y="18"/>
                          <a:pt x="13" y="19"/>
                          <a:pt x="13" y="20"/>
                        </a:cubicBezTo>
                        <a:cubicBezTo>
                          <a:pt x="13" y="22"/>
                          <a:pt x="12" y="24"/>
                          <a:pt x="11" y="24"/>
                        </a:cubicBezTo>
                        <a:cubicBezTo>
                          <a:pt x="10" y="24"/>
                          <a:pt x="9" y="24"/>
                          <a:pt x="7" y="22"/>
                        </a:cubicBezTo>
                        <a:cubicBezTo>
                          <a:pt x="7" y="21"/>
                          <a:pt x="7" y="20"/>
                          <a:pt x="8" y="19"/>
                        </a:cubicBezTo>
                        <a:cubicBezTo>
                          <a:pt x="8" y="20"/>
                          <a:pt x="9" y="20"/>
                          <a:pt x="10" y="20"/>
                        </a:cubicBezTo>
                        <a:cubicBezTo>
                          <a:pt x="10" y="20"/>
                          <a:pt x="11" y="19"/>
                          <a:pt x="11" y="18"/>
                        </a:cubicBezTo>
                        <a:cubicBezTo>
                          <a:pt x="11" y="17"/>
                          <a:pt x="11" y="16"/>
                          <a:pt x="11" y="15"/>
                        </a:cubicBezTo>
                        <a:cubicBezTo>
                          <a:pt x="11" y="14"/>
                          <a:pt x="11" y="13"/>
                          <a:pt x="10" y="11"/>
                        </a:cubicBezTo>
                        <a:cubicBezTo>
                          <a:pt x="9" y="7"/>
                          <a:pt x="6" y="4"/>
                          <a:pt x="5" y="5"/>
                        </a:cubicBezTo>
                        <a:cubicBezTo>
                          <a:pt x="3" y="6"/>
                          <a:pt x="3" y="9"/>
                          <a:pt x="4" y="14"/>
                        </a:cubicBezTo>
                        <a:cubicBezTo>
                          <a:pt x="4" y="15"/>
                          <a:pt x="5" y="16"/>
                          <a:pt x="5" y="17"/>
                        </a:cubicBezTo>
                        <a:cubicBezTo>
                          <a:pt x="5" y="17"/>
                          <a:pt x="5" y="18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9" name="Freeform 21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34" y="159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0" name="Freeform 21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9" y="1583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6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2" y="3"/>
                          <a:pt x="3" y="4"/>
                          <a:pt x="3" y="6"/>
                        </a:cubicBezTo>
                        <a:cubicBezTo>
                          <a:pt x="4" y="7"/>
                          <a:pt x="4" y="8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2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1" name="Freeform 21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29" y="157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3">
                        <a:moveTo>
                          <a:pt x="7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2"/>
                          <a:pt x="10" y="11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5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2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2" name="Freeform 21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46" y="1626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3" name="Freeform 22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42" y="161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7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2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4" name="Freeform 22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42" y="160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4" y="5"/>
                        </a:cubicBezTo>
                        <a:cubicBezTo>
                          <a:pt x="3" y="5"/>
                          <a:pt x="3" y="6"/>
                          <a:pt x="2" y="7"/>
                        </a:cubicBezTo>
                        <a:cubicBezTo>
                          <a:pt x="2" y="6"/>
                          <a:pt x="1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2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5" name="Freeform 22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59" y="166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4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2"/>
                          <a:pt x="16" y="16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4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6" name="Freeform 22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55" y="1656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7" name="Freeform 22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55" y="1645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8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5"/>
                        </a:cubicBezTo>
                        <a:cubicBezTo>
                          <a:pt x="3" y="5"/>
                          <a:pt x="3" y="6"/>
                          <a:pt x="2" y="7"/>
                        </a:cubicBezTo>
                        <a:cubicBezTo>
                          <a:pt x="2" y="6"/>
                          <a:pt x="1" y="5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3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8" name="Freeform 22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71" y="1698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9" name="Freeform 22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67" y="1692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0" name="Freeform 22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67" y="1681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20"/>
                        </a:cubicBezTo>
                        <a:cubicBezTo>
                          <a:pt x="10" y="19"/>
                          <a:pt x="10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4"/>
                        </a:cubicBezTo>
                        <a:cubicBezTo>
                          <a:pt x="3" y="5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3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1" name="Freeform 22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84" y="1734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2" name="Freeform 22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80" y="1729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3" name="Freeform 23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80" y="1717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19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19"/>
                        </a:cubicBezTo>
                        <a:cubicBezTo>
                          <a:pt x="10" y="19"/>
                          <a:pt x="10" y="19"/>
                          <a:pt x="10" y="18"/>
                        </a:cubicBezTo>
                        <a:cubicBezTo>
                          <a:pt x="10" y="17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5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0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9"/>
                          <a:pt x="12" y="20"/>
                        </a:cubicBezTo>
                        <a:cubicBezTo>
                          <a:pt x="12" y="22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7" y="19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4" name="Freeform 23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797" y="1771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5" name="Freeform 23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92" y="1765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6" name="Freeform 23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792" y="1754"/>
                    <a:ext cx="19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0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8"/>
                          <a:pt x="12" y="19"/>
                        </a:cubicBezTo>
                        <a:cubicBezTo>
                          <a:pt x="12" y="21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7" y="19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7" name="Freeform 23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09" y="1807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8" name="Freeform 23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05" y="1801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0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3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9" name="Freeform 23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05" y="1790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3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4">
                        <a:moveTo>
                          <a:pt x="7" y="18"/>
                        </a:moveTo>
                        <a:cubicBezTo>
                          <a:pt x="8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9"/>
                          <a:pt x="9" y="8"/>
                          <a:pt x="8" y="8"/>
                        </a:cubicBezTo>
                        <a:cubicBezTo>
                          <a:pt x="7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0"/>
                        </a:cubicBezTo>
                        <a:cubicBezTo>
                          <a:pt x="4" y="0"/>
                          <a:pt x="5" y="0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1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0" name="Freeform 23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22" y="184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9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1" name="Freeform 23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18" y="1838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1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0">
                        <a:moveTo>
                          <a:pt x="0" y="0"/>
                        </a:moveTo>
                        <a:cubicBezTo>
                          <a:pt x="1" y="0"/>
                          <a:pt x="2" y="1"/>
                          <a:pt x="3" y="1"/>
                        </a:cubicBezTo>
                        <a:cubicBezTo>
                          <a:pt x="3" y="2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1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2" name="Freeform 23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18" y="1827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3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3">
                        <a:moveTo>
                          <a:pt x="7" y="18"/>
                        </a:moveTo>
                        <a:cubicBezTo>
                          <a:pt x="8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7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5"/>
                          <a:pt x="1" y="5"/>
                          <a:pt x="0" y="4"/>
                        </a:cubicBezTo>
                        <a:cubicBezTo>
                          <a:pt x="1" y="2"/>
                          <a:pt x="1" y="0"/>
                          <a:pt x="2" y="0"/>
                        </a:cubicBezTo>
                        <a:cubicBezTo>
                          <a:pt x="4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10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3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3" name="Freeform 24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34" y="1880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4" name="Freeform 24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32" y="1873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6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2" y="6"/>
                        </a:cubicBezTo>
                        <a:cubicBezTo>
                          <a:pt x="3" y="7"/>
                          <a:pt x="3" y="8"/>
                          <a:pt x="4" y="8"/>
                        </a:cubicBezTo>
                        <a:cubicBezTo>
                          <a:pt x="3" y="9"/>
                          <a:pt x="3" y="10"/>
                          <a:pt x="3" y="11"/>
                        </a:cubicBezTo>
                        <a:cubicBezTo>
                          <a:pt x="2" y="10"/>
                          <a:pt x="1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5" name="Freeform 24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30" y="1863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3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3" y="15"/>
                      </a:cxn>
                      <a:cxn ang="0">
                        <a:pos x="13" y="19"/>
                      </a:cxn>
                      <a:cxn ang="0">
                        <a:pos x="11" y="23"/>
                      </a:cxn>
                      <a:cxn ang="0">
                        <a:pos x="7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3">
                        <a:moveTo>
                          <a:pt x="7" y="18"/>
                        </a:moveTo>
                        <a:cubicBezTo>
                          <a:pt x="8" y="19"/>
                          <a:pt x="9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1"/>
                          <a:pt x="10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8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5"/>
                          <a:pt x="1" y="5"/>
                          <a:pt x="0" y="4"/>
                        </a:cubicBezTo>
                        <a:cubicBezTo>
                          <a:pt x="1" y="2"/>
                          <a:pt x="1" y="0"/>
                          <a:pt x="3" y="0"/>
                        </a:cubicBezTo>
                        <a:cubicBezTo>
                          <a:pt x="4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10" y="6"/>
                          <a:pt x="11" y="8"/>
                          <a:pt x="11" y="10"/>
                        </a:cubicBezTo>
                        <a:cubicBezTo>
                          <a:pt x="12" y="12"/>
                          <a:pt x="12" y="14"/>
                          <a:pt x="13" y="15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3"/>
                          <a:pt x="11" y="23"/>
                        </a:cubicBezTo>
                        <a:cubicBezTo>
                          <a:pt x="9" y="23"/>
                          <a:pt x="8" y="23"/>
                          <a:pt x="7" y="21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6" name="Freeform 24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47" y="1916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7" name="Freeform 24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44" y="190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7"/>
                          <a:pt x="3" y="8"/>
                          <a:pt x="4" y="8"/>
                        </a:cubicBezTo>
                        <a:cubicBezTo>
                          <a:pt x="3" y="9"/>
                          <a:pt x="3" y="10"/>
                          <a:pt x="3" y="11"/>
                        </a:cubicBezTo>
                        <a:cubicBezTo>
                          <a:pt x="2" y="10"/>
                          <a:pt x="1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8" name="Freeform 24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43" y="1898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3" y="7"/>
                      </a:cxn>
                      <a:cxn ang="0">
                        <a:pos x="0" y="5"/>
                      </a:cxn>
                      <a:cxn ang="0">
                        <a:pos x="3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3" y="16"/>
                      </a:cxn>
                      <a:cxn ang="0">
                        <a:pos x="13" y="20"/>
                      </a:cxn>
                      <a:cxn ang="0">
                        <a:pos x="11" y="24"/>
                      </a:cxn>
                      <a:cxn ang="0">
                        <a:pos x="7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9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1" y="17"/>
                          <a:pt x="11" y="16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8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5"/>
                        </a:cubicBezTo>
                        <a:cubicBezTo>
                          <a:pt x="3" y="5"/>
                          <a:pt x="3" y="6"/>
                          <a:pt x="3" y="7"/>
                        </a:cubicBezTo>
                        <a:cubicBezTo>
                          <a:pt x="2" y="6"/>
                          <a:pt x="1" y="6"/>
                          <a:pt x="0" y="5"/>
                        </a:cubicBezTo>
                        <a:cubicBezTo>
                          <a:pt x="1" y="3"/>
                          <a:pt x="1" y="1"/>
                          <a:pt x="3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1" y="9"/>
                          <a:pt x="11" y="11"/>
                        </a:cubicBezTo>
                        <a:cubicBezTo>
                          <a:pt x="12" y="13"/>
                          <a:pt x="12" y="14"/>
                          <a:pt x="13" y="16"/>
                        </a:cubicBezTo>
                        <a:cubicBezTo>
                          <a:pt x="13" y="18"/>
                          <a:pt x="13" y="19"/>
                          <a:pt x="13" y="20"/>
                        </a:cubicBezTo>
                        <a:cubicBezTo>
                          <a:pt x="12" y="22"/>
                          <a:pt x="12" y="23"/>
                          <a:pt x="11" y="24"/>
                        </a:cubicBezTo>
                        <a:cubicBezTo>
                          <a:pt x="9" y="24"/>
                          <a:pt x="8" y="23"/>
                          <a:pt x="7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9" name="Freeform 24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60" y="195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2"/>
                          <a:pt x="16" y="16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0" name="Freeform 24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57" y="1946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1" name="Freeform 24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57" y="1935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9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8" y="20"/>
                        </a:cubicBezTo>
                        <a:cubicBezTo>
                          <a:pt x="9" y="20"/>
                          <a:pt x="9" y="19"/>
                          <a:pt x="9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4" y="5"/>
                          <a:pt x="4" y="4"/>
                          <a:pt x="3" y="5"/>
                        </a:cubicBezTo>
                        <a:cubicBezTo>
                          <a:pt x="2" y="5"/>
                          <a:pt x="2" y="6"/>
                          <a:pt x="2" y="7"/>
                        </a:cubicBezTo>
                        <a:cubicBezTo>
                          <a:pt x="1" y="6"/>
                          <a:pt x="0" y="5"/>
                          <a:pt x="0" y="5"/>
                        </a:cubicBezTo>
                        <a:cubicBezTo>
                          <a:pt x="0" y="3"/>
                          <a:pt x="0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7"/>
                          <a:pt x="10" y="9"/>
                          <a:pt x="10" y="11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1" y="22"/>
                          <a:pt x="11" y="23"/>
                          <a:pt x="10" y="24"/>
                        </a:cubicBezTo>
                        <a:cubicBezTo>
                          <a:pt x="8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2" name="Freeform 24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72" y="1988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3"/>
                          <a:pt x="0" y="9"/>
                          <a:pt x="3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3" name="Freeform 25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69" y="1982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4" name="Freeform 25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69" y="1971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9" y="18"/>
                      </a:cxn>
                      <a:cxn ang="0">
                        <a:pos x="9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20"/>
                        </a:cubicBezTo>
                        <a:cubicBezTo>
                          <a:pt x="9" y="19"/>
                          <a:pt x="9" y="19"/>
                          <a:pt x="9" y="18"/>
                        </a:cubicBezTo>
                        <a:cubicBezTo>
                          <a:pt x="10" y="17"/>
                          <a:pt x="10" y="16"/>
                          <a:pt x="9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4" y="5"/>
                          <a:pt x="4" y="4"/>
                          <a:pt x="3" y="4"/>
                        </a:cubicBezTo>
                        <a:cubicBezTo>
                          <a:pt x="2" y="5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0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1" y="22"/>
                          <a:pt x="11" y="23"/>
                          <a:pt x="10" y="23"/>
                        </a:cubicBezTo>
                        <a:cubicBezTo>
                          <a:pt x="8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5" name="Freeform 25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85" y="2024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4" y="14"/>
                      </a:cxn>
                      <a:cxn ang="0">
                        <a:pos x="6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2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6" y="5"/>
                        </a:cubicBezTo>
                        <a:cubicBezTo>
                          <a:pt x="8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6" name="Freeform 25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82" y="2019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7" name="Freeform 25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82" y="200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20"/>
                        </a:cubicBezTo>
                        <a:cubicBezTo>
                          <a:pt x="9" y="19"/>
                          <a:pt x="9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4" y="5"/>
                          <a:pt x="4" y="4"/>
                          <a:pt x="3" y="4"/>
                        </a:cubicBezTo>
                        <a:cubicBezTo>
                          <a:pt x="2" y="5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1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8" name="Freeform 25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897" y="2061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4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9" name="Freeform 25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95" y="2055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7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0" name="Freeform 25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895" y="2044"/>
                    <a:ext cx="16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6"/>
                          <a:pt x="6" y="6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1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1" name="Freeform 25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10" y="209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5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5"/>
                        </a:cubicBezTo>
                        <a:close/>
                        <a:moveTo>
                          <a:pt x="5" y="14"/>
                        </a:moveTo>
                        <a:cubicBezTo>
                          <a:pt x="3" y="10"/>
                          <a:pt x="4" y="6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5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2" name="Freeform 25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07" y="209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8"/>
                          <a:pt x="3" y="9"/>
                          <a:pt x="3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0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3" name="Freeform 26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07" y="208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9"/>
                          <a:pt x="8" y="8"/>
                          <a:pt x="7" y="8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4" name="Freeform 26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23" y="213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5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5" y="14"/>
                        </a:moveTo>
                        <a:cubicBezTo>
                          <a:pt x="3" y="10"/>
                          <a:pt x="4" y="6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5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5" name="Freeform 26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20" y="2128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0"/>
                          <a:pt x="1" y="1"/>
                          <a:pt x="2" y="1"/>
                        </a:cubicBezTo>
                        <a:cubicBezTo>
                          <a:pt x="2" y="2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8"/>
                          <a:pt x="3" y="9"/>
                          <a:pt x="3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0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6" name="Freeform 2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20" y="2117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7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0"/>
                        </a:cubicBezTo>
                        <a:cubicBezTo>
                          <a:pt x="8" y="9"/>
                          <a:pt x="8" y="8"/>
                          <a:pt x="7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6" y="2"/>
                          <a:pt x="7" y="3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7" name="Freeform 26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37" y="217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1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0"/>
                        </a:cubicBezTo>
                        <a:cubicBezTo>
                          <a:pt x="11" y="4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2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8" name="Freeform 2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32" y="2164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7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0"/>
                          <a:pt x="1" y="1"/>
                          <a:pt x="2" y="1"/>
                        </a:cubicBezTo>
                        <a:cubicBezTo>
                          <a:pt x="2" y="2"/>
                          <a:pt x="2" y="3"/>
                          <a:pt x="3" y="5"/>
                        </a:cubicBezTo>
                        <a:cubicBezTo>
                          <a:pt x="3" y="6"/>
                          <a:pt x="4" y="7"/>
                          <a:pt x="4" y="7"/>
                        </a:cubicBezTo>
                        <a:cubicBezTo>
                          <a:pt x="4" y="8"/>
                          <a:pt x="4" y="9"/>
                          <a:pt x="3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0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9" name="Freeform 2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32" y="215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1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5"/>
                          <a:pt x="0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7" y="2"/>
                          <a:pt x="7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0" name="Freeform 26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49" y="220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1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0"/>
                        </a:cubicBezTo>
                        <a:cubicBezTo>
                          <a:pt x="11" y="4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2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1" name="Freeform 2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45" y="219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7"/>
                          <a:pt x="4" y="8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2" name="Freeform 26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45" y="218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8" y="20"/>
                        </a:cubicBezTo>
                        <a:cubicBezTo>
                          <a:pt x="9" y="20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0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3" name="Freeform 27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62" y="224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1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8" y="25"/>
                          <a:pt x="11" y="24"/>
                        </a:cubicBezTo>
                        <a:cubicBezTo>
                          <a:pt x="14" y="22"/>
                          <a:pt x="15" y="16"/>
                          <a:pt x="13" y="10"/>
                        </a:cubicBezTo>
                        <a:cubicBezTo>
                          <a:pt x="11" y="4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4" name="Freeform 27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58" y="2236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5" name="Freeform 27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58" y="2224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9" y="20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1" y="5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6" name="Freeform 27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74" y="227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1"/>
                        </a:cubicBezTo>
                        <a:cubicBezTo>
                          <a:pt x="11" y="5"/>
                          <a:pt x="6" y="0"/>
                          <a:pt x="3" y="1"/>
                        </a:cubicBezTo>
                        <a:cubicBezTo>
                          <a:pt x="0" y="3"/>
                          <a:pt x="0" y="9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7" name="Freeform 27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70" y="2272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8" name="Freeform 27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70" y="2261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9" name="Freeform 27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1987" y="231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5"/>
                          <a:pt x="7" y="0"/>
                          <a:pt x="3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0" name="Freeform 27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83" y="2308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1" name="Freeform 27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83" y="229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2" name="Freeform 27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00" y="235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4"/>
                          <a:pt x="7" y="0"/>
                          <a:pt x="3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3" name="Freeform 28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95" y="234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4" name="Freeform 28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1995" y="233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6"/>
                          <a:pt x="6" y="6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20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5" name="Freeform 28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12" y="238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6" name="Freeform 28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08" y="238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7" name="Freeform 28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08" y="237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9"/>
                          <a:pt x="8" y="8"/>
                          <a:pt x="8" y="8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8" name="Freeform 28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25" y="242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8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9" name="Freeform 28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21" y="2418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2" y="1"/>
                        </a:cubicBezTo>
                        <a:cubicBezTo>
                          <a:pt x="2" y="2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0" name="Freeform 28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21" y="2406"/>
                    <a:ext cx="16" cy="33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1" name="Freeform 28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37" y="246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2" y="9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2" name="Freeform 28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33" y="2454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2" y="1"/>
                        </a:cubicBezTo>
                        <a:cubicBezTo>
                          <a:pt x="2" y="2"/>
                          <a:pt x="3" y="3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3" name="Freeform 29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33" y="244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3">
                        <a:moveTo>
                          <a:pt x="7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1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5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4" name="Freeform 29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50" y="249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5" name="Freeform 29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46" y="2489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7"/>
                          <a:pt x="4" y="8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6" name="Freeform 29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46" y="2478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9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5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1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7" name="Freeform 29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63" y="2532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8" name="Freeform 29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58" y="2525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9" name="Freeform 29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58" y="2514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9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3" y="6"/>
                          <a:pt x="2" y="7"/>
                        </a:cubicBezTo>
                        <a:cubicBezTo>
                          <a:pt x="2" y="6"/>
                          <a:pt x="1" y="5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2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0" name="Freeform 29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75" y="256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1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3"/>
                          <a:pt x="0" y="9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1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1" name="Freeform 29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71" y="2562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2" name="Freeform 29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71" y="2551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3" y="6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3" name="Freeform 30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088" y="260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4" name="Freeform 30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84" y="2598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5" name="Freeform 30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84" y="2587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4" y="4"/>
                        </a:cubicBezTo>
                        <a:cubicBezTo>
                          <a:pt x="3" y="5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6" name="Freeform 30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100" y="264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7" name="Freeform 30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96" y="263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2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8" name="Freeform 30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096" y="2623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6"/>
                          <a:pt x="6" y="6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20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6" y="19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9" name="Freeform 30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113" y="267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6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0" name="Freeform 30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109" y="267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4" y="8"/>
                        </a:cubicBezTo>
                        <a:cubicBezTo>
                          <a:pt x="4" y="9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1" name="Freeform 30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109" y="2660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4">
                        <a:moveTo>
                          <a:pt x="7" y="18"/>
                        </a:moveTo>
                        <a:cubicBezTo>
                          <a:pt x="8" y="19"/>
                          <a:pt x="8" y="20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9"/>
                          <a:pt x="9" y="8"/>
                          <a:pt x="8" y="8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2" name="Freeform 30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2126" y="271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3" name="Freeform 31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121" y="2707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0">
                        <a:moveTo>
                          <a:pt x="0" y="0"/>
                        </a:moveTo>
                        <a:cubicBezTo>
                          <a:pt x="1" y="0"/>
                          <a:pt x="2" y="1"/>
                          <a:pt x="2" y="1"/>
                        </a:cubicBezTo>
                        <a:cubicBezTo>
                          <a:pt x="3" y="2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4" name="Freeform 31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2121" y="2696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3">
                        <a:moveTo>
                          <a:pt x="7" y="18"/>
                        </a:moveTo>
                        <a:cubicBezTo>
                          <a:pt x="8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347" name="Oval 312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1278" y="2686"/>
                  <a:ext cx="890" cy="154"/>
                </a:xfrm>
                <a:prstGeom prst="ellipse">
                  <a:avLst/>
                </a:prstGeom>
                <a:solidFill>
                  <a:srgbClr val="9C9D9F"/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348" name="Oval 313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1337" y="2749"/>
                  <a:ext cx="772" cy="10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131313"/>
                    </a:gs>
                    <a:gs pos="100000">
                      <a:srgbClr val="131313">
                        <a:gamma/>
                        <a:tint val="50588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349" name="Freeform 314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280" y="2769"/>
                  <a:ext cx="886" cy="190"/>
                </a:xfrm>
                <a:custGeom>
                  <a:avLst/>
                  <a:gdLst/>
                  <a:ahLst/>
                  <a:cxnLst>
                    <a:cxn ang="0">
                      <a:pos x="316" y="51"/>
                    </a:cxn>
                    <a:cxn ang="0">
                      <a:pos x="0" y="0"/>
                    </a:cxn>
                    <a:cxn ang="0">
                      <a:pos x="316" y="136"/>
                    </a:cxn>
                    <a:cxn ang="0">
                      <a:pos x="633" y="0"/>
                    </a:cxn>
                    <a:cxn ang="0">
                      <a:pos x="316" y="51"/>
                    </a:cxn>
                  </a:cxnLst>
                  <a:rect l="0" t="0" r="r" b="b"/>
                  <a:pathLst>
                    <a:path w="633" h="136">
                      <a:moveTo>
                        <a:pt x="316" y="51"/>
                      </a:moveTo>
                      <a:cubicBezTo>
                        <a:pt x="149" y="51"/>
                        <a:pt x="12" y="29"/>
                        <a:pt x="0" y="0"/>
                      </a:cubicBezTo>
                      <a:cubicBezTo>
                        <a:pt x="12" y="76"/>
                        <a:pt x="149" y="136"/>
                        <a:pt x="316" y="136"/>
                      </a:cubicBezTo>
                      <a:cubicBezTo>
                        <a:pt x="483" y="136"/>
                        <a:pt x="620" y="76"/>
                        <a:pt x="633" y="0"/>
                      </a:cubicBezTo>
                      <a:cubicBezTo>
                        <a:pt x="620" y="29"/>
                        <a:pt x="484" y="51"/>
                        <a:pt x="316" y="5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6E6E6E"/>
                    </a:gs>
                    <a:gs pos="50000">
                      <a:srgbClr val="6E6E6E">
                        <a:gamma/>
                        <a:tint val="26275"/>
                        <a:invGamma/>
                      </a:srgbClr>
                    </a:gs>
                    <a:gs pos="100000">
                      <a:srgbClr val="6E6E6E"/>
                    </a:gs>
                  </a:gsLst>
                  <a:lin ang="0" scaled="1"/>
                </a:gra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350" name="Freeform 315" descr="© INSCALE GmbH, 26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1278" y="2686"/>
                  <a:ext cx="890" cy="154"/>
                </a:xfrm>
                <a:custGeom>
                  <a:avLst/>
                  <a:gdLst/>
                  <a:ahLst/>
                  <a:cxnLst>
                    <a:cxn ang="0">
                      <a:pos x="317" y="0"/>
                    </a:cxn>
                    <a:cxn ang="0">
                      <a:pos x="0" y="55"/>
                    </a:cxn>
                    <a:cxn ang="0">
                      <a:pos x="317" y="110"/>
                    </a:cxn>
                    <a:cxn ang="0">
                      <a:pos x="635" y="55"/>
                    </a:cxn>
                    <a:cxn ang="0">
                      <a:pos x="317" y="0"/>
                    </a:cxn>
                    <a:cxn ang="0">
                      <a:pos x="317" y="108"/>
                    </a:cxn>
                    <a:cxn ang="0">
                      <a:pos x="14" y="55"/>
                    </a:cxn>
                    <a:cxn ang="0">
                      <a:pos x="317" y="3"/>
                    </a:cxn>
                    <a:cxn ang="0">
                      <a:pos x="621" y="55"/>
                    </a:cxn>
                    <a:cxn ang="0">
                      <a:pos x="317" y="108"/>
                    </a:cxn>
                  </a:cxnLst>
                  <a:rect l="0" t="0" r="r" b="b"/>
                  <a:pathLst>
                    <a:path w="635" h="110">
                      <a:moveTo>
                        <a:pt x="317" y="0"/>
                      </a:moveTo>
                      <a:cubicBezTo>
                        <a:pt x="142" y="0"/>
                        <a:pt x="0" y="25"/>
                        <a:pt x="0" y="55"/>
                      </a:cubicBezTo>
                      <a:cubicBezTo>
                        <a:pt x="0" y="85"/>
                        <a:pt x="142" y="110"/>
                        <a:pt x="317" y="110"/>
                      </a:cubicBezTo>
                      <a:cubicBezTo>
                        <a:pt x="493" y="110"/>
                        <a:pt x="635" y="85"/>
                        <a:pt x="635" y="55"/>
                      </a:cubicBezTo>
                      <a:cubicBezTo>
                        <a:pt x="635" y="25"/>
                        <a:pt x="493" y="0"/>
                        <a:pt x="317" y="0"/>
                      </a:cubicBezTo>
                      <a:close/>
                      <a:moveTo>
                        <a:pt x="317" y="108"/>
                      </a:moveTo>
                      <a:cubicBezTo>
                        <a:pt x="150" y="108"/>
                        <a:pt x="14" y="84"/>
                        <a:pt x="14" y="55"/>
                      </a:cubicBezTo>
                      <a:cubicBezTo>
                        <a:pt x="14" y="26"/>
                        <a:pt x="150" y="3"/>
                        <a:pt x="317" y="3"/>
                      </a:cubicBezTo>
                      <a:cubicBezTo>
                        <a:pt x="485" y="3"/>
                        <a:pt x="621" y="26"/>
                        <a:pt x="621" y="55"/>
                      </a:cubicBezTo>
                      <a:cubicBezTo>
                        <a:pt x="621" y="84"/>
                        <a:pt x="485" y="108"/>
                        <a:pt x="317" y="108"/>
                      </a:cubicBezTo>
                      <a:close/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  <p:grpSp>
            <p:nvGrpSpPr>
              <p:cNvPr id="34" name="Group 316"/>
              <p:cNvGrpSpPr>
                <a:grpSpLocks/>
              </p:cNvGrpSpPr>
              <p:nvPr/>
            </p:nvGrpSpPr>
            <p:grpSpPr bwMode="gray">
              <a:xfrm>
                <a:off x="5721350" y="2436813"/>
                <a:ext cx="1412875" cy="2260600"/>
                <a:chOff x="3604" y="1535"/>
                <a:chExt cx="890" cy="1424"/>
              </a:xfrm>
            </p:grpSpPr>
            <p:grpSp>
              <p:nvGrpSpPr>
                <p:cNvPr id="47" name="Group 317"/>
                <p:cNvGrpSpPr>
                  <a:grpSpLocks/>
                </p:cNvGrpSpPr>
                <p:nvPr/>
              </p:nvGrpSpPr>
              <p:grpSpPr bwMode="gray">
                <a:xfrm>
                  <a:off x="3620" y="1535"/>
                  <a:ext cx="853" cy="1213"/>
                  <a:chOff x="3620" y="1535"/>
                  <a:chExt cx="853" cy="1213"/>
                </a:xfrm>
              </p:grpSpPr>
              <p:sp>
                <p:nvSpPr>
                  <p:cNvPr id="52" name="Freeform 31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555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3" name="Freeform 31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538"/>
                    <a:ext cx="12" cy="30"/>
                  </a:xfrm>
                  <a:custGeom>
                    <a:avLst/>
                    <a:gdLst/>
                    <a:ahLst/>
                    <a:cxnLst>
                      <a:cxn ang="0">
                        <a:pos x="8" y="16"/>
                      </a:cxn>
                      <a:cxn ang="0">
                        <a:pos x="9" y="11"/>
                      </a:cxn>
                      <a:cxn ang="0">
                        <a:pos x="4" y="0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3" y="16"/>
                      </a:cxn>
                      <a:cxn ang="0">
                        <a:pos x="2" y="13"/>
                      </a:cxn>
                      <a:cxn ang="0">
                        <a:pos x="1" y="11"/>
                      </a:cxn>
                      <a:cxn ang="0">
                        <a:pos x="4" y="3"/>
                      </a:cxn>
                      <a:cxn ang="0">
                        <a:pos x="7" y="11"/>
                      </a:cxn>
                      <a:cxn ang="0">
                        <a:pos x="7" y="13"/>
                      </a:cxn>
                      <a:cxn ang="0">
                        <a:pos x="8" y="16"/>
                      </a:cxn>
                    </a:cxnLst>
                    <a:rect l="0" t="0" r="r" b="b"/>
                    <a:pathLst>
                      <a:path w="9" h="21">
                        <a:moveTo>
                          <a:pt x="8" y="16"/>
                        </a:moveTo>
                        <a:cubicBezTo>
                          <a:pt x="9" y="14"/>
                          <a:pt x="9" y="12"/>
                          <a:pt x="9" y="11"/>
                        </a:cubicBezTo>
                        <a:cubicBezTo>
                          <a:pt x="9" y="4"/>
                          <a:pt x="7" y="0"/>
                          <a:pt x="4" y="0"/>
                        </a:cubicBezTo>
                        <a:cubicBezTo>
                          <a:pt x="2" y="0"/>
                          <a:pt x="0" y="4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0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6"/>
                        </a:cubicBezTo>
                        <a:cubicBezTo>
                          <a:pt x="2" y="16"/>
                          <a:pt x="2" y="15"/>
                          <a:pt x="2" y="13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7"/>
                          <a:pt x="3" y="3"/>
                          <a:pt x="4" y="3"/>
                        </a:cubicBezTo>
                        <a:cubicBezTo>
                          <a:pt x="6" y="3"/>
                          <a:pt x="7" y="7"/>
                          <a:pt x="7" y="11"/>
                        </a:cubicBezTo>
                        <a:cubicBezTo>
                          <a:pt x="7" y="12"/>
                          <a:pt x="7" y="13"/>
                          <a:pt x="7" y="13"/>
                        </a:cubicBezTo>
                        <a:cubicBezTo>
                          <a:pt x="7" y="14"/>
                          <a:pt x="8" y="15"/>
                          <a:pt x="8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4" name="Freeform 32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590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5" name="Freeform 32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580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6" name="Freeform 32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57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7" name="Freeform 32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624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8" name="Freeform 32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615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59" name="Freeform 32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60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0" name="Freeform 32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659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1" name="Freeform 32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650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2" name="Freeform 32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64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3" name="Freeform 32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694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4" name="Freeform 33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684"/>
                    <a:ext cx="2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5" name="Freeform 33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67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4" y="19"/>
                          <a:pt x="3" y="18"/>
                          <a:pt x="3" y="17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6" name="Freeform 33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729"/>
                    <a:ext cx="16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0"/>
                      </a:cxn>
                      <a:cxn ang="0">
                        <a:pos x="5" y="21"/>
                      </a:cxn>
                      <a:cxn ang="0">
                        <a:pos x="11" y="10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0"/>
                      </a:cxn>
                      <a:cxn ang="0">
                        <a:pos x="5" y="3"/>
                      </a:cxn>
                      <a:cxn ang="0">
                        <a:pos x="9" y="10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0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1" y="17"/>
                          <a:pt x="11" y="10"/>
                        </a:cubicBezTo>
                        <a:cubicBezTo>
                          <a:pt x="11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4"/>
                          <a:pt x="2" y="10"/>
                        </a:cubicBezTo>
                        <a:cubicBezTo>
                          <a:pt x="2" y="6"/>
                          <a:pt x="3" y="3"/>
                          <a:pt x="5" y="3"/>
                        </a:cubicBezTo>
                        <a:cubicBezTo>
                          <a:pt x="7" y="3"/>
                          <a:pt x="9" y="6"/>
                          <a:pt x="9" y="10"/>
                        </a:cubicBezTo>
                        <a:cubicBezTo>
                          <a:pt x="9" y="14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7" name="Freeform 33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719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8" name="Freeform 33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71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69" name="Freeform 33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762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0" name="Freeform 33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754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1" name="Freeform 33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74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2" name="Freeform 33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797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3" name="Freeform 33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787"/>
                    <a:ext cx="2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4"/>
                          <a:pt x="0" y="5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6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4" name="Freeform 34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78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2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8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5" name="Freeform 34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832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6" name="Freeform 34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822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10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7" name="Freeform 34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814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8" name="Freeform 34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866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79" name="Freeform 34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857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0" name="Freeform 34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849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1" name="Freeform 34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901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2" name="Freeform 34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892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3" name="Freeform 34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884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4" name="Freeform 35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936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5" name="Freeform 35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926"/>
                    <a:ext cx="2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6" name="Freeform 35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91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3" y="16"/>
                      </a:cxn>
                      <a:cxn ang="0">
                        <a:pos x="2" y="13"/>
                      </a:cxn>
                      <a:cxn ang="0">
                        <a:pos x="1" y="10"/>
                      </a:cxn>
                      <a:cxn ang="0">
                        <a:pos x="2" y="7"/>
                      </a:cxn>
                      <a:cxn ang="0">
                        <a:pos x="3" y="4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0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1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6"/>
                        </a:cubicBezTo>
                        <a:cubicBezTo>
                          <a:pt x="2" y="16"/>
                          <a:pt x="2" y="15"/>
                          <a:pt x="2" y="13"/>
                        </a:cubicBezTo>
                        <a:cubicBezTo>
                          <a:pt x="1" y="13"/>
                          <a:pt x="1" y="12"/>
                          <a:pt x="1" y="10"/>
                        </a:cubicBezTo>
                        <a:cubicBezTo>
                          <a:pt x="1" y="9"/>
                          <a:pt x="1" y="8"/>
                          <a:pt x="2" y="7"/>
                        </a:cubicBezTo>
                        <a:cubicBezTo>
                          <a:pt x="2" y="6"/>
                          <a:pt x="2" y="5"/>
                          <a:pt x="3" y="4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5"/>
                        </a:cubicBezTo>
                        <a:cubicBezTo>
                          <a:pt x="0" y="7"/>
                          <a:pt x="0" y="9"/>
                          <a:pt x="0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0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7" name="Freeform 35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1971"/>
                    <a:ext cx="16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0"/>
                      </a:cxn>
                      <a:cxn ang="0">
                        <a:pos x="5" y="21"/>
                      </a:cxn>
                      <a:cxn ang="0">
                        <a:pos x="11" y="10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0"/>
                      </a:cxn>
                      <a:cxn ang="0">
                        <a:pos x="5" y="3"/>
                      </a:cxn>
                      <a:cxn ang="0">
                        <a:pos x="9" y="10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0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1" y="17"/>
                          <a:pt x="11" y="10"/>
                        </a:cubicBezTo>
                        <a:cubicBezTo>
                          <a:pt x="11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4"/>
                          <a:pt x="2" y="10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0"/>
                        </a:cubicBezTo>
                        <a:cubicBezTo>
                          <a:pt x="9" y="14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8" name="Freeform 35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961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89" name="Freeform 35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953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0" name="Freeform 35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005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1" name="Freeform 35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1996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2" name="Freeform 35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1988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3" name="Freeform 35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040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4" name="Freeform 36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031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5" name="Freeform 36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023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6" name="Freeform 36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075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7" name="Freeform 3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065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8" name="Freeform 36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05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4" y="19"/>
                          <a:pt x="3" y="18"/>
                          <a:pt x="3" y="17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2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10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9" name="Freeform 36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108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0" name="Freeform 3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100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1" name="Freeform 36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091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2" name="Freeform 36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143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3" name="Freeform 36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135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4" name="Freeform 37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12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5" name="Freeform 37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178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6" name="Freeform 37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168"/>
                    <a:ext cx="2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9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4"/>
                          <a:pt x="0" y="5"/>
                          <a:pt x="0" y="6"/>
                        </a:cubicBezTo>
                        <a:cubicBezTo>
                          <a:pt x="0" y="7"/>
                          <a:pt x="0" y="8"/>
                          <a:pt x="0" y="9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6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7" name="Freeform 37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161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3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1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1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3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9"/>
                          <a:pt x="1" y="8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1"/>
                          <a:pt x="4" y="21"/>
                        </a:cubicBezTo>
                        <a:cubicBezTo>
                          <a:pt x="5" y="21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8" name="Freeform 37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213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9" name="Freeform 37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203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10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0" name="Freeform 37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19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4" y="19"/>
                          <a:pt x="3" y="18"/>
                          <a:pt x="3" y="17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1" name="Freeform 37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247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2" name="Freeform 37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238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3" name="Freeform 37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230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4" name="Freeform 38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282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5" name="Freeform 38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273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6" name="Freeform 38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265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7" name="Freeform 38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317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8" name="Freeform 38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307"/>
                    <a:ext cx="2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6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9" name="Freeform 38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29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6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7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4" y="19"/>
                          <a:pt x="3" y="18"/>
                          <a:pt x="3" y="17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6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2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10"/>
                          <a:pt x="0" y="11"/>
                        </a:cubicBezTo>
                        <a:cubicBezTo>
                          <a:pt x="0" y="13"/>
                          <a:pt x="0" y="15"/>
                          <a:pt x="0" y="17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0" name="Freeform 38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352"/>
                    <a:ext cx="16" cy="29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1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1">
                        <a:moveTo>
                          <a:pt x="5" y="0"/>
                        </a:moveTo>
                        <a:cubicBezTo>
                          <a:pt x="2" y="0"/>
                          <a:pt x="0" y="4"/>
                          <a:pt x="0" y="11"/>
                        </a:cubicBezTo>
                        <a:cubicBezTo>
                          <a:pt x="0" y="17"/>
                          <a:pt x="2" y="21"/>
                          <a:pt x="5" y="21"/>
                        </a:cubicBezTo>
                        <a:cubicBezTo>
                          <a:pt x="8" y="21"/>
                          <a:pt x="11" y="17"/>
                          <a:pt x="11" y="11"/>
                        </a:cubicBezTo>
                        <a:cubicBezTo>
                          <a:pt x="11" y="4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1" name="Freeform 38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342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2" name="Freeform 38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334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3" name="Freeform 38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385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4" name="Freeform 39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377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5" name="Freeform 39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369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6" name="Freeform 39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420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7" name="Freeform 39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412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8" name="Freeform 39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404"/>
                    <a:ext cx="10" cy="30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9" name="Freeform 39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455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0" name="Freeform 39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446"/>
                    <a:ext cx="2" cy="1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1" name="Freeform 39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43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9"/>
                          <a:pt x="4" y="19"/>
                        </a:cubicBezTo>
                        <a:cubicBezTo>
                          <a:pt x="4" y="19"/>
                          <a:pt x="3" y="18"/>
                          <a:pt x="3" y="17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2" name="Freeform 39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489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3" name="Freeform 39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481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4" name="Freeform 40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47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9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5" name="Freeform 40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524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6" name="Freeform 40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516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7" name="Freeform 40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507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8" name="Freeform 40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559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9" name="Freeform 40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549"/>
                    <a:ext cx="2" cy="16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3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2" y="6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1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3"/>
                        </a:cubicBezTo>
                        <a:cubicBezTo>
                          <a:pt x="0" y="3"/>
                          <a:pt x="0" y="4"/>
                          <a:pt x="0" y="6"/>
                        </a:cubicBezTo>
                        <a:cubicBezTo>
                          <a:pt x="0" y="7"/>
                          <a:pt x="0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2" y="6"/>
                        </a:cubicBezTo>
                        <a:cubicBezTo>
                          <a:pt x="2" y="4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0" name="Freeform 40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542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6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6"/>
                      </a:cxn>
                    </a:cxnLst>
                    <a:rect l="0" t="0" r="r" b="b"/>
                    <a:pathLst>
                      <a:path w="7" h="22">
                        <a:moveTo>
                          <a:pt x="6" y="16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9"/>
                          <a:pt x="1" y="8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5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0"/>
                          <a:pt x="7" y="19"/>
                        </a:cubicBezTo>
                        <a:cubicBezTo>
                          <a:pt x="7" y="18"/>
                          <a:pt x="6" y="17"/>
                          <a:pt x="6" y="16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1" name="Freeform 40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594"/>
                    <a:ext cx="16" cy="31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3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3"/>
                          <a:pt x="5" y="3"/>
                        </a:cubicBezTo>
                        <a:cubicBezTo>
                          <a:pt x="7" y="3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2" name="Freeform 40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584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2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9"/>
                          <a:pt x="1" y="10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2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3" name="Freeform 40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57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20"/>
                      </a:cxn>
                      <a:cxn ang="0">
                        <a:pos x="4" y="22"/>
                      </a:cxn>
                      <a:cxn ang="0">
                        <a:pos x="7" y="20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5"/>
                          <a:pt x="4" y="4"/>
                          <a:pt x="4" y="4"/>
                        </a:cubicBezTo>
                        <a:cubicBezTo>
                          <a:pt x="5" y="4"/>
                          <a:pt x="5" y="5"/>
                          <a:pt x="6" y="5"/>
                        </a:cubicBezTo>
                        <a:cubicBezTo>
                          <a:pt x="6" y="5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4"/>
                          <a:pt x="1" y="5"/>
                          <a:pt x="0" y="6"/>
                        </a:cubicBezTo>
                        <a:cubicBezTo>
                          <a:pt x="0" y="8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8"/>
                          <a:pt x="1" y="19"/>
                          <a:pt x="1" y="20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20"/>
                        </a:cubicBezTo>
                        <a:cubicBezTo>
                          <a:pt x="7" y="19"/>
                          <a:pt x="6" y="18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4" name="Freeform 41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628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9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9"/>
                        </a:moveTo>
                        <a:cubicBezTo>
                          <a:pt x="3" y="19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9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5" name="Freeform 41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619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1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6" name="Freeform 41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611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4"/>
                      </a:cxn>
                      <a:cxn ang="0">
                        <a:pos x="6" y="5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8"/>
                          <a:pt x="5" y="18"/>
                          <a:pt x="4" y="18"/>
                        </a:cubicBezTo>
                        <a:cubicBezTo>
                          <a:pt x="4" y="18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7"/>
                          <a:pt x="2" y="6"/>
                          <a:pt x="3" y="5"/>
                        </a:cubicBezTo>
                        <a:cubicBezTo>
                          <a:pt x="3" y="4"/>
                          <a:pt x="4" y="4"/>
                          <a:pt x="4" y="4"/>
                        </a:cubicBezTo>
                        <a:cubicBezTo>
                          <a:pt x="5" y="4"/>
                          <a:pt x="5" y="4"/>
                          <a:pt x="6" y="5"/>
                        </a:cubicBezTo>
                        <a:cubicBezTo>
                          <a:pt x="6" y="4"/>
                          <a:pt x="7" y="4"/>
                          <a:pt x="7" y="3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3"/>
                        </a:cubicBezTo>
                        <a:cubicBezTo>
                          <a:pt x="1" y="3"/>
                          <a:pt x="1" y="5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5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7" name="Freeform 41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38" y="2663"/>
                    <a:ext cx="16" cy="30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0" y="11"/>
                      </a:cxn>
                      <a:cxn ang="0">
                        <a:pos x="5" y="22"/>
                      </a:cxn>
                      <a:cxn ang="0">
                        <a:pos x="11" y="11"/>
                      </a:cxn>
                      <a:cxn ang="0">
                        <a:pos x="5" y="0"/>
                      </a:cxn>
                      <a:cxn ang="0">
                        <a:pos x="5" y="18"/>
                      </a:cxn>
                      <a:cxn ang="0">
                        <a:pos x="2" y="11"/>
                      </a:cxn>
                      <a:cxn ang="0">
                        <a:pos x="5" y="4"/>
                      </a:cxn>
                      <a:cxn ang="0">
                        <a:pos x="9" y="1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1" h="22">
                        <a:moveTo>
                          <a:pt x="5" y="0"/>
                        </a:moveTo>
                        <a:cubicBezTo>
                          <a:pt x="2" y="0"/>
                          <a:pt x="0" y="5"/>
                          <a:pt x="0" y="11"/>
                        </a:cubicBezTo>
                        <a:cubicBezTo>
                          <a:pt x="0" y="17"/>
                          <a:pt x="2" y="22"/>
                          <a:pt x="5" y="22"/>
                        </a:cubicBezTo>
                        <a:cubicBezTo>
                          <a:pt x="8" y="22"/>
                          <a:pt x="11" y="17"/>
                          <a:pt x="11" y="11"/>
                        </a:cubicBezTo>
                        <a:cubicBezTo>
                          <a:pt x="11" y="5"/>
                          <a:pt x="8" y="0"/>
                          <a:pt x="5" y="0"/>
                        </a:cubicBezTo>
                        <a:close/>
                        <a:moveTo>
                          <a:pt x="5" y="18"/>
                        </a:moveTo>
                        <a:cubicBezTo>
                          <a:pt x="3" y="18"/>
                          <a:pt x="2" y="15"/>
                          <a:pt x="2" y="11"/>
                        </a:cubicBezTo>
                        <a:cubicBezTo>
                          <a:pt x="2" y="7"/>
                          <a:pt x="3" y="4"/>
                          <a:pt x="5" y="4"/>
                        </a:cubicBezTo>
                        <a:cubicBezTo>
                          <a:pt x="7" y="4"/>
                          <a:pt x="9" y="7"/>
                          <a:pt x="9" y="11"/>
                        </a:cubicBezTo>
                        <a:cubicBezTo>
                          <a:pt x="9" y="15"/>
                          <a:pt x="7" y="18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8" name="Freeform 41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0" y="2654"/>
                    <a:ext cx="2" cy="14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0" y="2"/>
                      </a:cxn>
                      <a:cxn ang="0">
                        <a:pos x="0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2" y="5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10">
                        <a:moveTo>
                          <a:pt x="1" y="0"/>
                        </a:move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0" y="4"/>
                          <a:pt x="0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8"/>
                          <a:pt x="2" y="7"/>
                          <a:pt x="2" y="5"/>
                        </a:cubicBezTo>
                        <a:cubicBezTo>
                          <a:pt x="2" y="3"/>
                          <a:pt x="2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49" name="Freeform 41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0" y="2646"/>
                    <a:ext cx="10" cy="31"/>
                  </a:xfrm>
                  <a:custGeom>
                    <a:avLst/>
                    <a:gdLst/>
                    <a:ahLst/>
                    <a:cxnLst>
                      <a:cxn ang="0">
                        <a:pos x="6" y="17"/>
                      </a:cxn>
                      <a:cxn ang="0">
                        <a:pos x="4" y="18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1" y="11"/>
                      </a:cxn>
                      <a:cxn ang="0">
                        <a:pos x="2" y="8"/>
                      </a:cxn>
                      <a:cxn ang="0">
                        <a:pos x="3" y="5"/>
                      </a:cxn>
                      <a:cxn ang="0">
                        <a:pos x="4" y="3"/>
                      </a:cxn>
                      <a:cxn ang="0">
                        <a:pos x="6" y="5"/>
                      </a:cxn>
                      <a:cxn ang="0">
                        <a:pos x="7" y="2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0" y="11"/>
                      </a:cxn>
                      <a:cxn ang="0">
                        <a:pos x="0" y="16"/>
                      </a:cxn>
                      <a:cxn ang="0">
                        <a:pos x="1" y="19"/>
                      </a:cxn>
                      <a:cxn ang="0">
                        <a:pos x="4" y="22"/>
                      </a:cxn>
                      <a:cxn ang="0">
                        <a:pos x="7" y="19"/>
                      </a:cxn>
                      <a:cxn ang="0">
                        <a:pos x="6" y="17"/>
                      </a:cxn>
                    </a:cxnLst>
                    <a:rect l="0" t="0" r="r" b="b"/>
                    <a:pathLst>
                      <a:path w="7" h="22">
                        <a:moveTo>
                          <a:pt x="6" y="17"/>
                        </a:moveTo>
                        <a:cubicBezTo>
                          <a:pt x="5" y="17"/>
                          <a:pt x="5" y="18"/>
                          <a:pt x="4" y="18"/>
                        </a:cubicBezTo>
                        <a:cubicBezTo>
                          <a:pt x="4" y="18"/>
                          <a:pt x="3" y="17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1" y="13"/>
                          <a:pt x="1" y="12"/>
                          <a:pt x="1" y="11"/>
                        </a:cubicBezTo>
                        <a:cubicBezTo>
                          <a:pt x="1" y="10"/>
                          <a:pt x="1" y="9"/>
                          <a:pt x="2" y="8"/>
                        </a:cubicBezTo>
                        <a:cubicBezTo>
                          <a:pt x="2" y="6"/>
                          <a:pt x="2" y="5"/>
                          <a:pt x="3" y="5"/>
                        </a:cubicBezTo>
                        <a:cubicBezTo>
                          <a:pt x="3" y="4"/>
                          <a:pt x="4" y="3"/>
                          <a:pt x="4" y="3"/>
                        </a:cubicBezTo>
                        <a:cubicBezTo>
                          <a:pt x="5" y="3"/>
                          <a:pt x="5" y="4"/>
                          <a:pt x="6" y="5"/>
                        </a:cubicBezTo>
                        <a:cubicBezTo>
                          <a:pt x="6" y="4"/>
                          <a:pt x="7" y="3"/>
                          <a:pt x="7" y="2"/>
                        </a:cubicBezTo>
                        <a:cubicBezTo>
                          <a:pt x="6" y="1"/>
                          <a:pt x="5" y="0"/>
                          <a:pt x="4" y="0"/>
                        </a:cubicBezTo>
                        <a:cubicBezTo>
                          <a:pt x="3" y="0"/>
                          <a:pt x="2" y="1"/>
                          <a:pt x="1" y="2"/>
                        </a:cubicBezTo>
                        <a:cubicBezTo>
                          <a:pt x="1" y="3"/>
                          <a:pt x="1" y="4"/>
                          <a:pt x="0" y="6"/>
                        </a:cubicBezTo>
                        <a:cubicBezTo>
                          <a:pt x="0" y="7"/>
                          <a:pt x="0" y="9"/>
                          <a:pt x="0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1" y="17"/>
                          <a:pt x="1" y="18"/>
                          <a:pt x="1" y="19"/>
                        </a:cubicBezTo>
                        <a:cubicBezTo>
                          <a:pt x="2" y="21"/>
                          <a:pt x="3" y="22"/>
                          <a:pt x="4" y="22"/>
                        </a:cubicBezTo>
                        <a:cubicBezTo>
                          <a:pt x="5" y="22"/>
                          <a:pt x="6" y="21"/>
                          <a:pt x="7" y="19"/>
                        </a:cubicBezTo>
                        <a:cubicBezTo>
                          <a:pt x="7" y="18"/>
                          <a:pt x="6" y="17"/>
                          <a:pt x="6" y="17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0" name="Freeform 41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24" y="155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1" name="Freeform 41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33" y="1535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9" y="19"/>
                      </a:cxn>
                      <a:cxn ang="0">
                        <a:pos x="11" y="14"/>
                      </a:cxn>
                      <a:cxn ang="0">
                        <a:pos x="10" y="1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5"/>
                      </a:cxn>
                      <a:cxn ang="0">
                        <a:pos x="3" y="11"/>
                      </a:cxn>
                      <a:cxn ang="0">
                        <a:pos x="9" y="5"/>
                      </a:cxn>
                      <a:cxn ang="0">
                        <a:pos x="10" y="14"/>
                      </a:cxn>
                      <a:cxn ang="0">
                        <a:pos x="8" y="17"/>
                      </a:cxn>
                      <a:cxn ang="0">
                        <a:pos x="9" y="19"/>
                      </a:cxn>
                    </a:cxnLst>
                    <a:rect l="0" t="0" r="r" b="b"/>
                    <a:pathLst>
                      <a:path w="13" h="24">
                        <a:moveTo>
                          <a:pt x="9" y="19"/>
                        </a:moveTo>
                        <a:cubicBezTo>
                          <a:pt x="10" y="18"/>
                          <a:pt x="10" y="16"/>
                          <a:pt x="11" y="14"/>
                        </a:cubicBezTo>
                        <a:cubicBezTo>
                          <a:pt x="13" y="8"/>
                          <a:pt x="13" y="2"/>
                          <a:pt x="10" y="1"/>
                        </a:cubicBezTo>
                        <a:cubicBezTo>
                          <a:pt x="8" y="0"/>
                          <a:pt x="4" y="5"/>
                          <a:pt x="2" y="11"/>
                        </a:cubicBezTo>
                        <a:cubicBezTo>
                          <a:pt x="1" y="13"/>
                          <a:pt x="1" y="15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4"/>
                          <a:pt x="2" y="24"/>
                        </a:cubicBezTo>
                        <a:cubicBezTo>
                          <a:pt x="4" y="24"/>
                          <a:pt x="5" y="24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5"/>
                        </a:cubicBezTo>
                        <a:cubicBezTo>
                          <a:pt x="3" y="14"/>
                          <a:pt x="3" y="13"/>
                          <a:pt x="3" y="11"/>
                        </a:cubicBezTo>
                        <a:cubicBezTo>
                          <a:pt x="5" y="7"/>
                          <a:pt x="7" y="4"/>
                          <a:pt x="9" y="5"/>
                        </a:cubicBezTo>
                        <a:cubicBezTo>
                          <a:pt x="11" y="6"/>
                          <a:pt x="11" y="9"/>
                          <a:pt x="10" y="14"/>
                        </a:cubicBezTo>
                        <a:cubicBezTo>
                          <a:pt x="9" y="15"/>
                          <a:pt x="9" y="16"/>
                          <a:pt x="8" y="17"/>
                        </a:cubicBezTo>
                        <a:cubicBezTo>
                          <a:pt x="8" y="17"/>
                          <a:pt x="9" y="18"/>
                          <a:pt x="9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2" name="Freeform 41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12" y="159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1" y="5"/>
                        </a:cubicBezTo>
                        <a:cubicBezTo>
                          <a:pt x="13" y="5"/>
                          <a:pt x="13" y="9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3" name="Freeform 41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31" y="1583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6"/>
                        </a:cubicBezTo>
                        <a:cubicBezTo>
                          <a:pt x="1" y="7"/>
                          <a:pt x="1" y="8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4" name="Freeform 42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20" y="157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2"/>
                          <a:pt x="3" y="11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2" y="4"/>
                        </a:cubicBezTo>
                        <a:cubicBezTo>
                          <a:pt x="12" y="2"/>
                          <a:pt x="12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2"/>
                          <a:pt x="2" y="23"/>
                        </a:cubicBezTo>
                        <a:cubicBezTo>
                          <a:pt x="4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5" name="Freeform 42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99" y="1626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6" name="Freeform 42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19" y="1619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7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7" name="Freeform 42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08" y="1608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6"/>
                          <a:pt x="12" y="5"/>
                        </a:cubicBezTo>
                        <a:cubicBezTo>
                          <a:pt x="12" y="3"/>
                          <a:pt x="12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3"/>
                          <a:pt x="1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4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8" name="Freeform 42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87" y="166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4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6"/>
                          <a:pt x="1" y="22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0" y="4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59" name="Freeform 42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06" y="1656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0" name="Freeform 42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95" y="1645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1" name="Freeform 42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74" y="1698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2" name="Freeform 42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94" y="1692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3" name="Freeform 42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82" y="1681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4"/>
                        </a:cubicBezTo>
                        <a:cubicBezTo>
                          <a:pt x="10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4" name="Freeform 43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61" y="173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5" name="Freeform 43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81" y="1729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0" y="10"/>
                          <a:pt x="1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6" name="Freeform 43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70" y="171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7" name="Freeform 43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49" y="1771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1"/>
                        </a:cubicBezTo>
                        <a:cubicBezTo>
                          <a:pt x="6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8" name="Freeform 43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68" y="176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0" y="10"/>
                          <a:pt x="1" y="11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69" name="Freeform 43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57" y="175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0" name="Freeform 43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36" y="180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1" name="Freeform 43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56" y="180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1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4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2" name="Freeform 43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45" y="1790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9"/>
                          <a:pt x="4" y="8"/>
                          <a:pt x="4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3" name="Freeform 43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24" y="184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4" name="Freeform 44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43" y="1838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0"/>
                          <a:pt x="3" y="1"/>
                          <a:pt x="2" y="1"/>
                        </a:cubicBezTo>
                        <a:cubicBezTo>
                          <a:pt x="2" y="2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4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5" name="Freeform 44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32" y="1827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2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5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6" name="Freeform 44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911" y="188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7" name="Freeform 44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31" y="1873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6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8" name="Freeform 44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19" y="186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3" y="11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5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5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79" name="Freeform 44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98" y="191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9" y="0"/>
                          <a:pt x="4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0" name="Freeform 44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18" y="190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1" name="Freeform 44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07" y="189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5"/>
                        </a:cubicBezTo>
                        <a:cubicBezTo>
                          <a:pt x="9" y="5"/>
                          <a:pt x="10" y="6"/>
                          <a:pt x="10" y="7"/>
                        </a:cubicBezTo>
                        <a:cubicBezTo>
                          <a:pt x="11" y="6"/>
                          <a:pt x="11" y="6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1" y="13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2" name="Freeform 44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86" y="195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6"/>
                          <a:pt x="0" y="22"/>
                          <a:pt x="4" y="24"/>
                        </a:cubicBezTo>
                        <a:cubicBezTo>
                          <a:pt x="7" y="25"/>
                          <a:pt x="11" y="20"/>
                          <a:pt x="13" y="14"/>
                        </a:cubicBezTo>
                        <a:cubicBezTo>
                          <a:pt x="15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3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3" name="Freeform 44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905" y="1946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4" name="Freeform 45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94" y="1935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5"/>
                        </a:cubicBezTo>
                        <a:cubicBezTo>
                          <a:pt x="9" y="5"/>
                          <a:pt x="10" y="6"/>
                          <a:pt x="10" y="7"/>
                        </a:cubicBezTo>
                        <a:cubicBezTo>
                          <a:pt x="11" y="6"/>
                          <a:pt x="11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5" name="Freeform 45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73" y="198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2" y="1"/>
                        </a:moveTo>
                        <a:cubicBezTo>
                          <a:pt x="8" y="0"/>
                          <a:pt x="4" y="5"/>
                          <a:pt x="2" y="11"/>
                        </a:cubicBezTo>
                        <a:cubicBezTo>
                          <a:pt x="0" y="17"/>
                          <a:pt x="0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9"/>
                          <a:pt x="15" y="3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6" name="Freeform 45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93" y="1982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7" name="Freeform 45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82" y="1971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3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4"/>
                        </a:cubicBezTo>
                        <a:cubicBezTo>
                          <a:pt x="9" y="5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5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8" name="Freeform 45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61" y="202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1"/>
                      </a:cxn>
                      <a:cxn ang="0">
                        <a:pos x="3" y="24"/>
                      </a:cxn>
                      <a:cxn ang="0">
                        <a:pos x="13" y="15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5"/>
                          <a:pt x="2" y="11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2"/>
                        </a:cubicBezTo>
                        <a:cubicBezTo>
                          <a:pt x="5" y="7"/>
                          <a:pt x="8" y="5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89" name="Freeform 45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80" y="2019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0" name="Freeform 45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69" y="200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7" y="5"/>
                          <a:pt x="8" y="4"/>
                          <a:pt x="9" y="4"/>
                        </a:cubicBezTo>
                        <a:cubicBezTo>
                          <a:pt x="9" y="5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1" name="Freeform 45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48" y="2061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1"/>
                      </a:cxn>
                      <a:cxn ang="0">
                        <a:pos x="3" y="24"/>
                      </a:cxn>
                      <a:cxn ang="0">
                        <a:pos x="13" y="15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1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5" y="8"/>
                          <a:pt x="15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2" y="16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2" name="Freeform 45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68" y="2055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7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3" name="Freeform 45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56" y="204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6"/>
                          <a:pt x="6" y="6"/>
                          <a:pt x="7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4" name="Freeform 46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35" y="209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1"/>
                      </a:cxn>
                      <a:cxn ang="0">
                        <a:pos x="3" y="24"/>
                      </a:cxn>
                      <a:cxn ang="0">
                        <a:pos x="13" y="15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1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1"/>
                          <a:pt x="13" y="15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5" name="Freeform 46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55" y="209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1"/>
                          <a:pt x="3" y="1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6" name="Freeform 46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44" y="208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4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9"/>
                          <a:pt x="4" y="8"/>
                          <a:pt x="4" y="8"/>
                        </a:cubicBezTo>
                        <a:cubicBezTo>
                          <a:pt x="5" y="6"/>
                          <a:pt x="6" y="5"/>
                          <a:pt x="6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4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7" name="Freeform 46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23" y="213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1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6"/>
                          <a:pt x="13" y="10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8" name="Freeform 46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42" y="2128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0"/>
                          <a:pt x="3" y="1"/>
                          <a:pt x="2" y="1"/>
                        </a:cubicBezTo>
                        <a:cubicBezTo>
                          <a:pt x="2" y="2"/>
                          <a:pt x="1" y="4"/>
                          <a:pt x="1" y="5"/>
                        </a:cubicBezTo>
                        <a:cubicBezTo>
                          <a:pt x="1" y="6"/>
                          <a:pt x="0" y="7"/>
                          <a:pt x="0" y="8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99" name="Freeform 4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31" y="2117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6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3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2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6" y="5"/>
                        </a:cubicBezTo>
                        <a:cubicBezTo>
                          <a:pt x="7" y="4"/>
                          <a:pt x="8" y="4"/>
                          <a:pt x="9" y="4"/>
                        </a:cubicBezTo>
                        <a:cubicBezTo>
                          <a:pt x="9" y="4"/>
                          <a:pt x="10" y="5"/>
                          <a:pt x="10" y="6"/>
                        </a:cubicBezTo>
                        <a:cubicBezTo>
                          <a:pt x="11" y="6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2"/>
                          <a:pt x="4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1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0" name="Freeform 46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810" y="217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1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2" y="9"/>
                          <a:pt x="11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1" name="Freeform 46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30" y="2164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7"/>
                      </a:cxn>
                      <a:cxn ang="0">
                        <a:pos x="0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3" y="0"/>
                          <a:pt x="2" y="1"/>
                          <a:pt x="2" y="1"/>
                        </a:cubicBezTo>
                        <a:cubicBezTo>
                          <a:pt x="2" y="2"/>
                          <a:pt x="1" y="3"/>
                          <a:pt x="1" y="5"/>
                        </a:cubicBezTo>
                        <a:cubicBezTo>
                          <a:pt x="1" y="6"/>
                          <a:pt x="0" y="7"/>
                          <a:pt x="0" y="7"/>
                        </a:cubicBezTo>
                        <a:cubicBezTo>
                          <a:pt x="0" y="8"/>
                          <a:pt x="0" y="9"/>
                          <a:pt x="0" y="10"/>
                        </a:cubicBezTo>
                        <a:cubicBezTo>
                          <a:pt x="1" y="9"/>
                          <a:pt x="2" y="7"/>
                          <a:pt x="3" y="5"/>
                        </a:cubicBezTo>
                        <a:cubicBezTo>
                          <a:pt x="3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2" name="Freeform 4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19" y="2153"/>
                    <a:ext cx="16" cy="32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3" y="19"/>
                      </a:cxn>
                      <a:cxn ang="0">
                        <a:pos x="2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4" y="7"/>
                      </a:cxn>
                      <a:cxn ang="0">
                        <a:pos x="6" y="5"/>
                      </a:cxn>
                      <a:cxn ang="0">
                        <a:pos x="8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2" h="23">
                        <a:moveTo>
                          <a:pt x="5" y="18"/>
                        </a:moveTo>
                        <a:cubicBezTo>
                          <a:pt x="5" y="19"/>
                          <a:pt x="4" y="19"/>
                          <a:pt x="3" y="19"/>
                        </a:cubicBezTo>
                        <a:cubicBezTo>
                          <a:pt x="3" y="19"/>
                          <a:pt x="2" y="18"/>
                          <a:pt x="2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2" y="13"/>
                          <a:pt x="2" y="11"/>
                          <a:pt x="3" y="10"/>
                        </a:cubicBezTo>
                        <a:cubicBezTo>
                          <a:pt x="3" y="9"/>
                          <a:pt x="4" y="8"/>
                          <a:pt x="4" y="7"/>
                        </a:cubicBezTo>
                        <a:cubicBezTo>
                          <a:pt x="5" y="6"/>
                          <a:pt x="6" y="5"/>
                          <a:pt x="6" y="5"/>
                        </a:cubicBezTo>
                        <a:cubicBezTo>
                          <a:pt x="7" y="4"/>
                          <a:pt x="8" y="4"/>
                          <a:pt x="8" y="4"/>
                        </a:cubicBezTo>
                        <a:cubicBezTo>
                          <a:pt x="9" y="4"/>
                          <a:pt x="9" y="5"/>
                          <a:pt x="10" y="6"/>
                        </a:cubicBezTo>
                        <a:cubicBezTo>
                          <a:pt x="10" y="5"/>
                          <a:pt x="11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7" y="0"/>
                          <a:pt x="6" y="2"/>
                        </a:cubicBezTo>
                        <a:cubicBezTo>
                          <a:pt x="5" y="2"/>
                          <a:pt x="4" y="3"/>
                          <a:pt x="4" y="5"/>
                        </a:cubicBezTo>
                        <a:cubicBezTo>
                          <a:pt x="3" y="6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0" y="21"/>
                          <a:pt x="1" y="23"/>
                          <a:pt x="2" y="23"/>
                        </a:cubicBezTo>
                        <a:cubicBezTo>
                          <a:pt x="3" y="23"/>
                          <a:pt x="4" y="23"/>
                          <a:pt x="6" y="21"/>
                        </a:cubicBezTo>
                        <a:cubicBezTo>
                          <a:pt x="6" y="20"/>
                          <a:pt x="6" y="19"/>
                          <a:pt x="5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3" name="Freeform 46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98" y="220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11" y="1"/>
                      </a:cxn>
                      <a:cxn ang="0">
                        <a:pos x="2" y="10"/>
                      </a:cxn>
                      <a:cxn ang="0">
                        <a:pos x="3" y="24"/>
                      </a:cxn>
                      <a:cxn ang="0">
                        <a:pos x="13" y="14"/>
                      </a:cxn>
                      <a:cxn ang="0">
                        <a:pos x="11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1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5" h="25">
                        <a:moveTo>
                          <a:pt x="11" y="1"/>
                        </a:moveTo>
                        <a:cubicBezTo>
                          <a:pt x="8" y="0"/>
                          <a:pt x="4" y="4"/>
                          <a:pt x="2" y="10"/>
                        </a:cubicBezTo>
                        <a:cubicBezTo>
                          <a:pt x="0" y="17"/>
                          <a:pt x="0" y="23"/>
                          <a:pt x="3" y="24"/>
                        </a:cubicBezTo>
                        <a:cubicBezTo>
                          <a:pt x="6" y="25"/>
                          <a:pt x="11" y="20"/>
                          <a:pt x="13" y="14"/>
                        </a:cubicBezTo>
                        <a:cubicBezTo>
                          <a:pt x="15" y="8"/>
                          <a:pt x="14" y="2"/>
                          <a:pt x="11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2" y="15"/>
                          <a:pt x="4" y="11"/>
                        </a:cubicBezTo>
                        <a:cubicBezTo>
                          <a:pt x="5" y="7"/>
                          <a:pt x="8" y="4"/>
                          <a:pt x="10" y="5"/>
                        </a:cubicBezTo>
                        <a:cubicBezTo>
                          <a:pt x="12" y="5"/>
                          <a:pt x="12" y="9"/>
                          <a:pt x="11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4" name="Freeform 47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17" y="2199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2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1" y="7"/>
                          <a:pt x="0" y="8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10"/>
                          <a:pt x="2" y="8"/>
                          <a:pt x="3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5" name="Freeform 47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06" y="2188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3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5"/>
                        </a:cubicBezTo>
                        <a:cubicBezTo>
                          <a:pt x="9" y="5"/>
                          <a:pt x="9" y="6"/>
                          <a:pt x="10" y="7"/>
                        </a:cubicBezTo>
                        <a:cubicBezTo>
                          <a:pt x="10" y="6"/>
                          <a:pt x="11" y="6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0" y="13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6" name="Freeform 47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84" y="224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0"/>
                        </a:cubicBezTo>
                        <a:cubicBezTo>
                          <a:pt x="0" y="16"/>
                          <a:pt x="1" y="22"/>
                          <a:pt x="4" y="24"/>
                        </a:cubicBezTo>
                        <a:cubicBezTo>
                          <a:pt x="7" y="25"/>
                          <a:pt x="12" y="20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19"/>
                          <a:pt x="3" y="15"/>
                          <a:pt x="5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8" y="20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7" name="Freeform 47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805" y="2236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2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2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2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8" name="Freeform 47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93" y="2224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5"/>
                      </a:cxn>
                      <a:cxn ang="0">
                        <a:pos x="10" y="7"/>
                      </a:cxn>
                      <a:cxn ang="0">
                        <a:pos x="12" y="5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20"/>
                          <a:pt x="4" y="20"/>
                          <a:pt x="3" y="20"/>
                        </a:cubicBezTo>
                        <a:cubicBezTo>
                          <a:pt x="2" y="20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5"/>
                        </a:cubicBezTo>
                        <a:cubicBezTo>
                          <a:pt x="9" y="5"/>
                          <a:pt x="9" y="6"/>
                          <a:pt x="10" y="7"/>
                        </a:cubicBezTo>
                        <a:cubicBezTo>
                          <a:pt x="10" y="6"/>
                          <a:pt x="11" y="5"/>
                          <a:pt x="12" y="5"/>
                        </a:cubicBezTo>
                        <a:cubicBezTo>
                          <a:pt x="12" y="3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9"/>
                          <a:pt x="1" y="11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4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09" name="Freeform 47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71" y="2278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9"/>
                          <a:pt x="15" y="3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20"/>
                          <a:pt x="3" y="16"/>
                          <a:pt x="5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0" name="Freeform 47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92" y="2272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0" y="11"/>
                      </a:cxn>
                      <a:cxn ang="0">
                        <a:pos x="2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3" y="1"/>
                          <a:pt x="2" y="2"/>
                          <a:pt x="2" y="2"/>
                        </a:cubicBezTo>
                        <a:cubicBezTo>
                          <a:pt x="2" y="3"/>
                          <a:pt x="1" y="4"/>
                          <a:pt x="1" y="5"/>
                        </a:cubicBezTo>
                        <a:cubicBezTo>
                          <a:pt x="0" y="6"/>
                          <a:pt x="0" y="7"/>
                          <a:pt x="0" y="8"/>
                        </a:cubicBezTo>
                        <a:cubicBezTo>
                          <a:pt x="0" y="9"/>
                          <a:pt x="0" y="10"/>
                          <a:pt x="0" y="11"/>
                        </a:cubicBezTo>
                        <a:cubicBezTo>
                          <a:pt x="1" y="9"/>
                          <a:pt x="2" y="8"/>
                          <a:pt x="2" y="6"/>
                        </a:cubicBezTo>
                        <a:cubicBezTo>
                          <a:pt x="3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1" name="Freeform 47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81" y="2261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5" y="19"/>
                      </a:cxn>
                      <a:cxn ang="0">
                        <a:pos x="3" y="20"/>
                      </a:cxn>
                      <a:cxn ang="0">
                        <a:pos x="2" y="18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4" y="8"/>
                      </a:cxn>
                      <a:cxn ang="0">
                        <a:pos x="6" y="5"/>
                      </a:cxn>
                      <a:cxn ang="0">
                        <a:pos x="8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1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5" y="19"/>
                      </a:cxn>
                    </a:cxnLst>
                    <a:rect l="0" t="0" r="r" b="b"/>
                    <a:pathLst>
                      <a:path w="12" h="24">
                        <a:moveTo>
                          <a:pt x="5" y="19"/>
                        </a:moveTo>
                        <a:cubicBezTo>
                          <a:pt x="5" y="19"/>
                          <a:pt x="4" y="20"/>
                          <a:pt x="3" y="20"/>
                        </a:cubicBezTo>
                        <a:cubicBezTo>
                          <a:pt x="3" y="19"/>
                          <a:pt x="2" y="19"/>
                          <a:pt x="2" y="18"/>
                        </a:cubicBezTo>
                        <a:cubicBezTo>
                          <a:pt x="2" y="17"/>
                          <a:pt x="2" y="16"/>
                          <a:pt x="2" y="14"/>
                        </a:cubicBezTo>
                        <a:cubicBezTo>
                          <a:pt x="2" y="13"/>
                          <a:pt x="2" y="12"/>
                          <a:pt x="3" y="11"/>
                        </a:cubicBezTo>
                        <a:cubicBezTo>
                          <a:pt x="3" y="10"/>
                          <a:pt x="4" y="9"/>
                          <a:pt x="4" y="8"/>
                        </a:cubicBezTo>
                        <a:cubicBezTo>
                          <a:pt x="5" y="7"/>
                          <a:pt x="6" y="6"/>
                          <a:pt x="6" y="5"/>
                        </a:cubicBezTo>
                        <a:cubicBezTo>
                          <a:pt x="7" y="5"/>
                          <a:pt x="8" y="4"/>
                          <a:pt x="8" y="4"/>
                        </a:cubicBezTo>
                        <a:cubicBezTo>
                          <a:pt x="9" y="5"/>
                          <a:pt x="9" y="5"/>
                          <a:pt x="10" y="6"/>
                        </a:cubicBezTo>
                        <a:cubicBezTo>
                          <a:pt x="10" y="6"/>
                          <a:pt x="11" y="5"/>
                          <a:pt x="12" y="4"/>
                        </a:cubicBezTo>
                        <a:cubicBezTo>
                          <a:pt x="12" y="2"/>
                          <a:pt x="11" y="1"/>
                          <a:pt x="10" y="1"/>
                        </a:cubicBezTo>
                        <a:cubicBezTo>
                          <a:pt x="9" y="0"/>
                          <a:pt x="7" y="1"/>
                          <a:pt x="6" y="2"/>
                        </a:cubicBezTo>
                        <a:cubicBezTo>
                          <a:pt x="5" y="3"/>
                          <a:pt x="4" y="4"/>
                          <a:pt x="4" y="5"/>
                        </a:cubicBezTo>
                        <a:cubicBezTo>
                          <a:pt x="3" y="7"/>
                          <a:pt x="2" y="8"/>
                          <a:pt x="1" y="10"/>
                        </a:cubicBezTo>
                        <a:cubicBezTo>
                          <a:pt x="0" y="12"/>
                          <a:pt x="0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0" y="22"/>
                          <a:pt x="1" y="23"/>
                          <a:pt x="2" y="23"/>
                        </a:cubicBezTo>
                        <a:cubicBezTo>
                          <a:pt x="3" y="24"/>
                          <a:pt x="4" y="23"/>
                          <a:pt x="6" y="22"/>
                        </a:cubicBezTo>
                        <a:cubicBezTo>
                          <a:pt x="6" y="21"/>
                          <a:pt x="6" y="20"/>
                          <a:pt x="5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2" name="Freeform 47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58" y="231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20"/>
                          <a:pt x="3" y="16"/>
                          <a:pt x="5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3" name="Freeform 47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78" y="2308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1"/>
                          <a:pt x="3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4" name="Freeform 48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67" y="2297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4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1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6"/>
                      </a:cxn>
                      <a:cxn ang="0">
                        <a:pos x="1" y="20"/>
                      </a:cxn>
                      <a:cxn ang="0">
                        <a:pos x="3" y="23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5" y="20"/>
                          <a:pt x="4" y="20"/>
                        </a:cubicBezTo>
                        <a:cubicBezTo>
                          <a:pt x="3" y="19"/>
                          <a:pt x="3" y="19"/>
                          <a:pt x="3" y="18"/>
                        </a:cubicBezTo>
                        <a:cubicBezTo>
                          <a:pt x="3" y="17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4"/>
                        </a:cubicBezTo>
                        <a:cubicBezTo>
                          <a:pt x="10" y="5"/>
                          <a:pt x="10" y="5"/>
                          <a:pt x="11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3" y="2"/>
                          <a:pt x="12" y="1"/>
                          <a:pt x="11" y="0"/>
                        </a:cubicBezTo>
                        <a:cubicBezTo>
                          <a:pt x="10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4" y="7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1" y="17"/>
                          <a:pt x="0" y="19"/>
                          <a:pt x="1" y="20"/>
                        </a:cubicBezTo>
                        <a:cubicBezTo>
                          <a:pt x="1" y="22"/>
                          <a:pt x="2" y="23"/>
                          <a:pt x="3" y="23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7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5" name="Freeform 48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46" y="235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6" y="20"/>
                      </a:cxn>
                      <a:cxn ang="0">
                        <a:pos x="5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6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2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6" y="20"/>
                        </a:moveTo>
                        <a:cubicBezTo>
                          <a:pt x="4" y="20"/>
                          <a:pt x="3" y="16"/>
                          <a:pt x="5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6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6" name="Freeform 48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65" y="2345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1"/>
                          <a:pt x="3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7"/>
                          <a:pt x="3" y="6"/>
                        </a:cubicBezTo>
                        <a:cubicBezTo>
                          <a:pt x="4" y="4"/>
                          <a:pt x="5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7" name="Freeform 48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54" y="2334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4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1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6"/>
                      </a:cxn>
                      <a:cxn ang="0">
                        <a:pos x="1" y="20"/>
                      </a:cxn>
                      <a:cxn ang="0">
                        <a:pos x="3" y="23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5" y="20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6"/>
                          <a:pt x="6" y="6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1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3" y="2"/>
                          <a:pt x="12" y="1"/>
                          <a:pt x="11" y="0"/>
                        </a:cubicBezTo>
                        <a:cubicBezTo>
                          <a:pt x="10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4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1" y="17"/>
                          <a:pt x="0" y="18"/>
                          <a:pt x="1" y="20"/>
                        </a:cubicBezTo>
                        <a:cubicBezTo>
                          <a:pt x="1" y="21"/>
                          <a:pt x="2" y="23"/>
                          <a:pt x="3" y="23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0"/>
                          <a:pt x="7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8" name="Freeform 48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33" y="2387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19" name="Freeform 48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53" y="2381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1"/>
                          <a:pt x="3" y="1"/>
                          <a:pt x="3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0" name="Freeform 48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42" y="2370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4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6"/>
                      </a:cxn>
                      <a:cxn ang="0">
                        <a:pos x="1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4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1"/>
                        </a:cubicBezTo>
                        <a:cubicBezTo>
                          <a:pt x="4" y="9"/>
                          <a:pt x="4" y="8"/>
                          <a:pt x="5" y="8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1"/>
                          <a:pt x="11" y="0"/>
                        </a:cubicBezTo>
                        <a:cubicBezTo>
                          <a:pt x="9" y="0"/>
                          <a:pt x="8" y="0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6"/>
                        </a:cubicBezTo>
                        <a:cubicBezTo>
                          <a:pt x="0" y="17"/>
                          <a:pt x="0" y="18"/>
                          <a:pt x="1" y="19"/>
                        </a:cubicBezTo>
                        <a:cubicBezTo>
                          <a:pt x="1" y="21"/>
                          <a:pt x="1" y="23"/>
                          <a:pt x="3" y="23"/>
                        </a:cubicBezTo>
                        <a:cubicBezTo>
                          <a:pt x="4" y="24"/>
                          <a:pt x="5" y="23"/>
                          <a:pt x="7" y="21"/>
                        </a:cubicBezTo>
                        <a:cubicBezTo>
                          <a:pt x="7" y="20"/>
                          <a:pt x="7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1" name="Freeform 48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21" y="242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3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3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8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2" name="Freeform 48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40" y="2418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3" y="1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0"/>
                          <a:pt x="3" y="1"/>
                          <a:pt x="3" y="1"/>
                        </a:cubicBezTo>
                        <a:cubicBezTo>
                          <a:pt x="2" y="2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1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3" name="Freeform 48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29" y="2406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4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5"/>
                      </a:cxn>
                      <a:cxn ang="0">
                        <a:pos x="1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3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3" y="16"/>
                          <a:pt x="3" y="15"/>
                          <a:pt x="3" y="14"/>
                        </a:cubicBezTo>
                        <a:cubicBezTo>
                          <a:pt x="3" y="13"/>
                          <a:pt x="3" y="12"/>
                          <a:pt x="4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0"/>
                          <a:pt x="11" y="0"/>
                        </a:cubicBezTo>
                        <a:cubicBezTo>
                          <a:pt x="10" y="0"/>
                          <a:pt x="8" y="0"/>
                          <a:pt x="7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5"/>
                        </a:cubicBezTo>
                        <a:cubicBezTo>
                          <a:pt x="0" y="17"/>
                          <a:pt x="0" y="18"/>
                          <a:pt x="1" y="19"/>
                        </a:cubicBezTo>
                        <a:cubicBezTo>
                          <a:pt x="1" y="21"/>
                          <a:pt x="1" y="23"/>
                          <a:pt x="3" y="23"/>
                        </a:cubicBezTo>
                        <a:cubicBezTo>
                          <a:pt x="4" y="23"/>
                          <a:pt x="5" y="23"/>
                          <a:pt x="7" y="21"/>
                        </a:cubicBezTo>
                        <a:cubicBezTo>
                          <a:pt x="7" y="20"/>
                          <a:pt x="7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4" name="Freeform 49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708" y="246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9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5" name="Freeform 49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28" y="2454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1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0">
                        <a:moveTo>
                          <a:pt x="5" y="0"/>
                        </a:moveTo>
                        <a:cubicBezTo>
                          <a:pt x="4" y="0"/>
                          <a:pt x="3" y="1"/>
                          <a:pt x="2" y="1"/>
                        </a:cubicBezTo>
                        <a:cubicBezTo>
                          <a:pt x="2" y="2"/>
                          <a:pt x="2" y="3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8"/>
                          <a:pt x="1" y="9"/>
                          <a:pt x="1" y="10"/>
                        </a:cubicBezTo>
                        <a:cubicBezTo>
                          <a:pt x="2" y="9"/>
                          <a:pt x="3" y="7"/>
                          <a:pt x="3" y="5"/>
                        </a:cubicBezTo>
                        <a:cubicBezTo>
                          <a:pt x="4" y="3"/>
                          <a:pt x="4" y="1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6" name="Freeform 49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16" y="2443"/>
                    <a:ext cx="19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1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1" y="15"/>
                      </a:cxn>
                      <a:cxn ang="0">
                        <a:pos x="0" y="19"/>
                      </a:cxn>
                      <a:cxn ang="0">
                        <a:pos x="3" y="23"/>
                      </a:cxn>
                      <a:cxn ang="0">
                        <a:pos x="7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3" h="23">
                        <a:moveTo>
                          <a:pt x="6" y="18"/>
                        </a:moveTo>
                        <a:cubicBezTo>
                          <a:pt x="5" y="19"/>
                          <a:pt x="5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3" y="14"/>
                        </a:cubicBezTo>
                        <a:cubicBezTo>
                          <a:pt x="3" y="13"/>
                          <a:pt x="3" y="11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6" y="6"/>
                          <a:pt x="6" y="5"/>
                          <a:pt x="7" y="5"/>
                        </a:cubicBezTo>
                        <a:cubicBezTo>
                          <a:pt x="8" y="4"/>
                          <a:pt x="9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5"/>
                          <a:pt x="12" y="5"/>
                          <a:pt x="13" y="4"/>
                        </a:cubicBezTo>
                        <a:cubicBezTo>
                          <a:pt x="12" y="2"/>
                          <a:pt x="12" y="0"/>
                          <a:pt x="11" y="0"/>
                        </a:cubicBezTo>
                        <a:cubicBezTo>
                          <a:pt x="9" y="0"/>
                          <a:pt x="8" y="0"/>
                          <a:pt x="7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3" y="8"/>
                          <a:pt x="2" y="10"/>
                        </a:cubicBezTo>
                        <a:cubicBezTo>
                          <a:pt x="1" y="12"/>
                          <a:pt x="1" y="14"/>
                          <a:pt x="1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3"/>
                          <a:pt x="3" y="23"/>
                        </a:cubicBezTo>
                        <a:cubicBezTo>
                          <a:pt x="4" y="23"/>
                          <a:pt x="5" y="23"/>
                          <a:pt x="7" y="21"/>
                        </a:cubicBezTo>
                        <a:cubicBezTo>
                          <a:pt x="7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7" name="Freeform 49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95" y="2496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8" name="Freeform 49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15" y="2489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7"/>
                          <a:pt x="1" y="8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10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29" name="Freeform 49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04" y="2478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3" y="5"/>
                      </a:cxn>
                      <a:cxn ang="0">
                        <a:pos x="11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1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20"/>
                          <a:pt x="5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6" y="7"/>
                          <a:pt x="6" y="6"/>
                          <a:pt x="7" y="5"/>
                        </a:cubicBezTo>
                        <a:cubicBezTo>
                          <a:pt x="8" y="5"/>
                          <a:pt x="9" y="5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6"/>
                          <a:pt x="13" y="5"/>
                        </a:cubicBezTo>
                        <a:cubicBezTo>
                          <a:pt x="12" y="3"/>
                          <a:pt x="12" y="1"/>
                          <a:pt x="11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3" y="9"/>
                          <a:pt x="2" y="11"/>
                        </a:cubicBezTo>
                        <a:cubicBezTo>
                          <a:pt x="1" y="13"/>
                          <a:pt x="1" y="14"/>
                          <a:pt x="1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3" y="24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0" name="Freeform 49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83" y="2532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0"/>
                      </a:cxn>
                      <a:cxn ang="0">
                        <a:pos x="4" y="24"/>
                      </a:cxn>
                      <a:cxn ang="0">
                        <a:pos x="14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3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0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0"/>
                          <a:pt x="14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5"/>
                          <a:pt x="13" y="9"/>
                          <a:pt x="12" y="13"/>
                        </a:cubicBezTo>
                        <a:cubicBezTo>
                          <a:pt x="10" y="18"/>
                          <a:pt x="7" y="20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1" name="Freeform 49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702" y="2525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2" name="Freeform 49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91" y="2514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5"/>
                      </a:cxn>
                      <a:cxn ang="0">
                        <a:pos x="10" y="7"/>
                      </a:cxn>
                      <a:cxn ang="0">
                        <a:pos x="13" y="5"/>
                      </a:cxn>
                      <a:cxn ang="0">
                        <a:pos x="10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20"/>
                          <a:pt x="4" y="20"/>
                          <a:pt x="4" y="20"/>
                        </a:cubicBezTo>
                        <a:cubicBezTo>
                          <a:pt x="3" y="20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5"/>
                        </a:cubicBezTo>
                        <a:cubicBezTo>
                          <a:pt x="10" y="5"/>
                          <a:pt x="10" y="6"/>
                          <a:pt x="10" y="7"/>
                        </a:cubicBezTo>
                        <a:cubicBezTo>
                          <a:pt x="11" y="6"/>
                          <a:pt x="12" y="5"/>
                          <a:pt x="13" y="5"/>
                        </a:cubicBezTo>
                        <a:cubicBezTo>
                          <a:pt x="12" y="3"/>
                          <a:pt x="12" y="1"/>
                          <a:pt x="10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9"/>
                          <a:pt x="2" y="11"/>
                        </a:cubicBezTo>
                        <a:cubicBezTo>
                          <a:pt x="1" y="13"/>
                          <a:pt x="1" y="14"/>
                          <a:pt x="0" y="16"/>
                        </a:cubicBezTo>
                        <a:cubicBezTo>
                          <a:pt x="0" y="18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4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3" name="Freeform 49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70" y="2567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4" y="15"/>
                      </a:cxn>
                      <a:cxn ang="0">
                        <a:pos x="12" y="1"/>
                      </a:cxn>
                      <a:cxn ang="0">
                        <a:pos x="5" y="21"/>
                      </a:cxn>
                      <a:cxn ang="0">
                        <a:pos x="4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1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4" y="15"/>
                        </a:cubicBezTo>
                        <a:cubicBezTo>
                          <a:pt x="16" y="9"/>
                          <a:pt x="15" y="3"/>
                          <a:pt x="12" y="1"/>
                        </a:cubicBezTo>
                        <a:close/>
                        <a:moveTo>
                          <a:pt x="5" y="21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1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4" name="Freeform 50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90" y="2562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5" h="11">
                        <a:moveTo>
                          <a:pt x="5" y="0"/>
                        </a:moveTo>
                        <a:cubicBezTo>
                          <a:pt x="4" y="1"/>
                          <a:pt x="3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1" y="9"/>
                          <a:pt x="1" y="10"/>
                          <a:pt x="1" y="11"/>
                        </a:cubicBezTo>
                        <a:cubicBezTo>
                          <a:pt x="2" y="9"/>
                          <a:pt x="3" y="8"/>
                          <a:pt x="3" y="6"/>
                        </a:cubicBezTo>
                        <a:cubicBezTo>
                          <a:pt x="4" y="4"/>
                          <a:pt x="4" y="2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5" name="Freeform 50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79" y="2551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3" y="4"/>
                      </a:cxn>
                      <a:cxn ang="0">
                        <a:pos x="10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7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3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3" y="18"/>
                        </a:cubicBezTo>
                        <a:cubicBezTo>
                          <a:pt x="2" y="17"/>
                          <a:pt x="2" y="16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9" y="4"/>
                          <a:pt x="9" y="4"/>
                        </a:cubicBezTo>
                        <a:cubicBezTo>
                          <a:pt x="10" y="5"/>
                          <a:pt x="10" y="6"/>
                          <a:pt x="10" y="6"/>
                        </a:cubicBezTo>
                        <a:cubicBezTo>
                          <a:pt x="11" y="6"/>
                          <a:pt x="12" y="5"/>
                          <a:pt x="13" y="4"/>
                        </a:cubicBezTo>
                        <a:cubicBezTo>
                          <a:pt x="12" y="2"/>
                          <a:pt x="12" y="1"/>
                          <a:pt x="10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7" y="22"/>
                        </a:cubicBezTo>
                        <a:cubicBezTo>
                          <a:pt x="7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6" name="Freeform 50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58" y="2604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2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5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2"/>
                        </a:cubicBezTo>
                        <a:cubicBezTo>
                          <a:pt x="6" y="7"/>
                          <a:pt x="9" y="5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7" name="Freeform 50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77" y="2598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8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8" name="Freeform 50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66" y="258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20"/>
                      </a:cxn>
                      <a:cxn ang="0">
                        <a:pos x="3" y="18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1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20"/>
                        </a:cubicBezTo>
                        <a:cubicBezTo>
                          <a:pt x="3" y="19"/>
                          <a:pt x="3" y="19"/>
                          <a:pt x="3" y="18"/>
                        </a:cubicBezTo>
                        <a:cubicBezTo>
                          <a:pt x="2" y="17"/>
                          <a:pt x="2" y="15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7"/>
                          <a:pt x="6" y="6"/>
                          <a:pt x="7" y="5"/>
                        </a:cubicBezTo>
                        <a:cubicBezTo>
                          <a:pt x="8" y="5"/>
                          <a:pt x="8" y="4"/>
                          <a:pt x="9" y="4"/>
                        </a:cubicBezTo>
                        <a:cubicBezTo>
                          <a:pt x="10" y="5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2" y="1"/>
                          <a:pt x="10" y="1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7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9"/>
                          <a:pt x="0" y="20"/>
                        </a:cubicBezTo>
                        <a:cubicBezTo>
                          <a:pt x="1" y="22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39" name="Freeform 50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45" y="264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20"/>
                          <a:pt x="3" y="16"/>
                          <a:pt x="4" y="11"/>
                        </a:cubicBezTo>
                        <a:cubicBezTo>
                          <a:pt x="6" y="7"/>
                          <a:pt x="9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0" name="Freeform 50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65" y="2635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0" y="8"/>
                      </a:cxn>
                      <a:cxn ang="0">
                        <a:pos x="1" y="11"/>
                      </a:cxn>
                      <a:cxn ang="0">
                        <a:pos x="3" y="6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10"/>
                          <a:pt x="1" y="11"/>
                        </a:cubicBezTo>
                        <a:cubicBezTo>
                          <a:pt x="2" y="9"/>
                          <a:pt x="2" y="7"/>
                          <a:pt x="3" y="6"/>
                        </a:cubicBezTo>
                        <a:cubicBezTo>
                          <a:pt x="4" y="4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1" name="Freeform 50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53" y="2623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3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7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3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10"/>
                          <a:pt x="4" y="9"/>
                          <a:pt x="5" y="8"/>
                        </a:cubicBezTo>
                        <a:cubicBezTo>
                          <a:pt x="5" y="6"/>
                          <a:pt x="6" y="6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2" y="1"/>
                          <a:pt x="10" y="0"/>
                        </a:cubicBezTo>
                        <a:cubicBezTo>
                          <a:pt x="9" y="0"/>
                          <a:pt x="8" y="1"/>
                          <a:pt x="7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8"/>
                          <a:pt x="0" y="20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2" name="Freeform 50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32" y="2677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5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0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5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6"/>
                          <a:pt x="4" y="11"/>
                        </a:cubicBezTo>
                        <a:cubicBezTo>
                          <a:pt x="6" y="7"/>
                          <a:pt x="8" y="4"/>
                          <a:pt x="10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3" name="Freeform 50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52" y="2671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2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1"/>
                          <a:pt x="3" y="1"/>
                          <a:pt x="2" y="2"/>
                        </a:cubicBezTo>
                        <a:cubicBezTo>
                          <a:pt x="2" y="3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9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3" y="5"/>
                        </a:cubicBezTo>
                        <a:cubicBezTo>
                          <a:pt x="4" y="3"/>
                          <a:pt x="4" y="2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4" name="Freeform 51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41" y="2660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3" y="11"/>
                      </a:cxn>
                      <a:cxn ang="0">
                        <a:pos x="5" y="8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6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2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5" y="19"/>
                          <a:pt x="4" y="20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1"/>
                        </a:cubicBezTo>
                        <a:cubicBezTo>
                          <a:pt x="4" y="9"/>
                          <a:pt x="4" y="8"/>
                          <a:pt x="5" y="8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2" y="1"/>
                          <a:pt x="10" y="0"/>
                        </a:cubicBezTo>
                        <a:cubicBezTo>
                          <a:pt x="9" y="0"/>
                          <a:pt x="8" y="1"/>
                          <a:pt x="6" y="2"/>
                        </a:cubicBezTo>
                        <a:cubicBezTo>
                          <a:pt x="6" y="3"/>
                          <a:pt x="5" y="4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6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4" y="24"/>
                          <a:pt x="5" y="23"/>
                          <a:pt x="6" y="22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5" name="Freeform 51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3620" y="2713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12" y="1"/>
                      </a:cxn>
                      <a:cxn ang="0">
                        <a:pos x="2" y="11"/>
                      </a:cxn>
                      <a:cxn ang="0">
                        <a:pos x="4" y="24"/>
                      </a:cxn>
                      <a:cxn ang="0">
                        <a:pos x="13" y="14"/>
                      </a:cxn>
                      <a:cxn ang="0">
                        <a:pos x="12" y="1"/>
                      </a:cxn>
                      <a:cxn ang="0">
                        <a:pos x="5" y="20"/>
                      </a:cxn>
                      <a:cxn ang="0">
                        <a:pos x="4" y="11"/>
                      </a:cxn>
                      <a:cxn ang="0">
                        <a:pos x="11" y="5"/>
                      </a:cxn>
                      <a:cxn ang="0">
                        <a:pos x="12" y="14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16" h="25">
                        <a:moveTo>
                          <a:pt x="12" y="1"/>
                        </a:moveTo>
                        <a:cubicBezTo>
                          <a:pt x="9" y="0"/>
                          <a:pt x="5" y="4"/>
                          <a:pt x="2" y="11"/>
                        </a:cubicBezTo>
                        <a:cubicBezTo>
                          <a:pt x="0" y="17"/>
                          <a:pt x="1" y="23"/>
                          <a:pt x="4" y="24"/>
                        </a:cubicBezTo>
                        <a:cubicBezTo>
                          <a:pt x="7" y="25"/>
                          <a:pt x="11" y="21"/>
                          <a:pt x="13" y="14"/>
                        </a:cubicBezTo>
                        <a:cubicBezTo>
                          <a:pt x="16" y="8"/>
                          <a:pt x="15" y="2"/>
                          <a:pt x="12" y="1"/>
                        </a:cubicBezTo>
                        <a:close/>
                        <a:moveTo>
                          <a:pt x="5" y="20"/>
                        </a:moveTo>
                        <a:cubicBezTo>
                          <a:pt x="3" y="19"/>
                          <a:pt x="3" y="15"/>
                          <a:pt x="4" y="11"/>
                        </a:cubicBezTo>
                        <a:cubicBezTo>
                          <a:pt x="6" y="7"/>
                          <a:pt x="8" y="4"/>
                          <a:pt x="11" y="5"/>
                        </a:cubicBezTo>
                        <a:cubicBezTo>
                          <a:pt x="13" y="6"/>
                          <a:pt x="13" y="10"/>
                          <a:pt x="12" y="14"/>
                        </a:cubicBezTo>
                        <a:cubicBezTo>
                          <a:pt x="10" y="18"/>
                          <a:pt x="7" y="21"/>
                          <a:pt x="5" y="20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6" name="Freeform 51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39" y="2707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2" y="1"/>
                      </a:cxn>
                      <a:cxn ang="0">
                        <a:pos x="1" y="5"/>
                      </a:cxn>
                      <a:cxn ang="0">
                        <a:pos x="0" y="8"/>
                      </a:cxn>
                      <a:cxn ang="0">
                        <a:pos x="1" y="10"/>
                      </a:cxn>
                      <a:cxn ang="0">
                        <a:pos x="3" y="5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0">
                        <a:moveTo>
                          <a:pt x="4" y="0"/>
                        </a:moveTo>
                        <a:cubicBezTo>
                          <a:pt x="4" y="0"/>
                          <a:pt x="3" y="1"/>
                          <a:pt x="2" y="1"/>
                        </a:cubicBezTo>
                        <a:cubicBezTo>
                          <a:pt x="2" y="2"/>
                          <a:pt x="2" y="4"/>
                          <a:pt x="1" y="5"/>
                        </a:cubicBezTo>
                        <a:cubicBezTo>
                          <a:pt x="1" y="6"/>
                          <a:pt x="1" y="7"/>
                          <a:pt x="0" y="8"/>
                        </a:cubicBezTo>
                        <a:cubicBezTo>
                          <a:pt x="0" y="8"/>
                          <a:pt x="1" y="9"/>
                          <a:pt x="1" y="10"/>
                        </a:cubicBezTo>
                        <a:cubicBezTo>
                          <a:pt x="2" y="9"/>
                          <a:pt x="2" y="7"/>
                          <a:pt x="3" y="5"/>
                        </a:cubicBezTo>
                        <a:cubicBezTo>
                          <a:pt x="4" y="3"/>
                          <a:pt x="4" y="1"/>
                          <a:pt x="4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7" name="Freeform 51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3628" y="2696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4" y="19"/>
                      </a:cxn>
                      <a:cxn ang="0">
                        <a:pos x="3" y="17"/>
                      </a:cxn>
                      <a:cxn ang="0">
                        <a:pos x="2" y="14"/>
                      </a:cxn>
                      <a:cxn ang="0">
                        <a:pos x="3" y="10"/>
                      </a:cxn>
                      <a:cxn ang="0">
                        <a:pos x="5" y="7"/>
                      </a:cxn>
                      <a:cxn ang="0">
                        <a:pos x="7" y="5"/>
                      </a:cxn>
                      <a:cxn ang="0">
                        <a:pos x="9" y="4"/>
                      </a:cxn>
                      <a:cxn ang="0">
                        <a:pos x="10" y="6"/>
                      </a:cxn>
                      <a:cxn ang="0">
                        <a:pos x="12" y="4"/>
                      </a:cxn>
                      <a:cxn ang="0">
                        <a:pos x="10" y="0"/>
                      </a:cxn>
                      <a:cxn ang="0">
                        <a:pos x="6" y="2"/>
                      </a:cxn>
                      <a:cxn ang="0">
                        <a:pos x="4" y="5"/>
                      </a:cxn>
                      <a:cxn ang="0">
                        <a:pos x="2" y="10"/>
                      </a:cxn>
                      <a:cxn ang="0">
                        <a:pos x="0" y="15"/>
                      </a:cxn>
                      <a:cxn ang="0">
                        <a:pos x="0" y="19"/>
                      </a:cxn>
                      <a:cxn ang="0">
                        <a:pos x="2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5" y="19"/>
                          <a:pt x="4" y="19"/>
                          <a:pt x="4" y="19"/>
                        </a:cubicBezTo>
                        <a:cubicBezTo>
                          <a:pt x="3" y="19"/>
                          <a:pt x="3" y="18"/>
                          <a:pt x="3" y="17"/>
                        </a:cubicBezTo>
                        <a:cubicBezTo>
                          <a:pt x="2" y="16"/>
                          <a:pt x="2" y="15"/>
                          <a:pt x="2" y="14"/>
                        </a:cubicBezTo>
                        <a:cubicBezTo>
                          <a:pt x="3" y="13"/>
                          <a:pt x="3" y="12"/>
                          <a:pt x="3" y="10"/>
                        </a:cubicBezTo>
                        <a:cubicBezTo>
                          <a:pt x="4" y="9"/>
                          <a:pt x="4" y="8"/>
                          <a:pt x="5" y="7"/>
                        </a:cubicBezTo>
                        <a:cubicBezTo>
                          <a:pt x="5" y="6"/>
                          <a:pt x="6" y="5"/>
                          <a:pt x="7" y="5"/>
                        </a:cubicBezTo>
                        <a:cubicBezTo>
                          <a:pt x="8" y="4"/>
                          <a:pt x="8" y="4"/>
                          <a:pt x="9" y="4"/>
                        </a:cubicBezTo>
                        <a:cubicBezTo>
                          <a:pt x="10" y="4"/>
                          <a:pt x="10" y="5"/>
                          <a:pt x="10" y="6"/>
                        </a:cubicBezTo>
                        <a:cubicBezTo>
                          <a:pt x="11" y="6"/>
                          <a:pt x="12" y="5"/>
                          <a:pt x="12" y="4"/>
                        </a:cubicBezTo>
                        <a:cubicBezTo>
                          <a:pt x="12" y="2"/>
                          <a:pt x="11" y="0"/>
                          <a:pt x="10" y="0"/>
                        </a:cubicBezTo>
                        <a:cubicBezTo>
                          <a:pt x="9" y="0"/>
                          <a:pt x="8" y="0"/>
                          <a:pt x="6" y="2"/>
                        </a:cubicBezTo>
                        <a:cubicBezTo>
                          <a:pt x="6" y="2"/>
                          <a:pt x="5" y="3"/>
                          <a:pt x="4" y="5"/>
                        </a:cubicBezTo>
                        <a:cubicBezTo>
                          <a:pt x="3" y="6"/>
                          <a:pt x="2" y="8"/>
                          <a:pt x="2" y="10"/>
                        </a:cubicBezTo>
                        <a:cubicBezTo>
                          <a:pt x="1" y="12"/>
                          <a:pt x="1" y="14"/>
                          <a:pt x="0" y="15"/>
                        </a:cubicBezTo>
                        <a:cubicBezTo>
                          <a:pt x="0" y="17"/>
                          <a:pt x="0" y="18"/>
                          <a:pt x="0" y="19"/>
                        </a:cubicBezTo>
                        <a:cubicBezTo>
                          <a:pt x="1" y="21"/>
                          <a:pt x="1" y="23"/>
                          <a:pt x="2" y="23"/>
                        </a:cubicBezTo>
                        <a:cubicBezTo>
                          <a:pt x="3" y="23"/>
                          <a:pt x="5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8" name="Freeform 51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45" y="155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49" name="Freeform 51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41" y="1535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4" y="19"/>
                      </a:cxn>
                      <a:cxn ang="0">
                        <a:pos x="2" y="14"/>
                      </a:cxn>
                      <a:cxn ang="0">
                        <a:pos x="2" y="1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3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5"/>
                      </a:cxn>
                      <a:cxn ang="0">
                        <a:pos x="10" y="11"/>
                      </a:cxn>
                      <a:cxn ang="0">
                        <a:pos x="4" y="5"/>
                      </a:cxn>
                      <a:cxn ang="0">
                        <a:pos x="3" y="14"/>
                      </a:cxn>
                      <a:cxn ang="0">
                        <a:pos x="5" y="17"/>
                      </a:cxn>
                      <a:cxn ang="0">
                        <a:pos x="4" y="19"/>
                      </a:cxn>
                    </a:cxnLst>
                    <a:rect l="0" t="0" r="r" b="b"/>
                    <a:pathLst>
                      <a:path w="13" h="24">
                        <a:moveTo>
                          <a:pt x="4" y="19"/>
                        </a:moveTo>
                        <a:cubicBezTo>
                          <a:pt x="3" y="18"/>
                          <a:pt x="2" y="16"/>
                          <a:pt x="2" y="14"/>
                        </a:cubicBezTo>
                        <a:cubicBezTo>
                          <a:pt x="0" y="8"/>
                          <a:pt x="0" y="2"/>
                          <a:pt x="2" y="1"/>
                        </a:cubicBezTo>
                        <a:cubicBezTo>
                          <a:pt x="5" y="0"/>
                          <a:pt x="9" y="5"/>
                          <a:pt x="11" y="11"/>
                        </a:cubicBezTo>
                        <a:cubicBezTo>
                          <a:pt x="12" y="13"/>
                          <a:pt x="12" y="15"/>
                          <a:pt x="12" y="16"/>
                        </a:cubicBezTo>
                        <a:cubicBezTo>
                          <a:pt x="13" y="18"/>
                          <a:pt x="13" y="19"/>
                          <a:pt x="13" y="20"/>
                        </a:cubicBezTo>
                        <a:cubicBezTo>
                          <a:pt x="12" y="22"/>
                          <a:pt x="12" y="24"/>
                          <a:pt x="10" y="24"/>
                        </a:cubicBezTo>
                        <a:cubicBezTo>
                          <a:pt x="9" y="24"/>
                          <a:pt x="8" y="24"/>
                          <a:pt x="6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ubicBezTo>
                          <a:pt x="8" y="20"/>
                          <a:pt x="8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1" y="17"/>
                          <a:pt x="11" y="16"/>
                          <a:pt x="10" y="15"/>
                        </a:cubicBezTo>
                        <a:cubicBezTo>
                          <a:pt x="10" y="14"/>
                          <a:pt x="10" y="13"/>
                          <a:pt x="10" y="11"/>
                        </a:cubicBezTo>
                        <a:cubicBezTo>
                          <a:pt x="8" y="7"/>
                          <a:pt x="6" y="4"/>
                          <a:pt x="4" y="5"/>
                        </a:cubicBezTo>
                        <a:cubicBezTo>
                          <a:pt x="2" y="6"/>
                          <a:pt x="2" y="9"/>
                          <a:pt x="3" y="14"/>
                        </a:cubicBezTo>
                        <a:cubicBezTo>
                          <a:pt x="4" y="15"/>
                          <a:pt x="4" y="16"/>
                          <a:pt x="5" y="17"/>
                        </a:cubicBezTo>
                        <a:cubicBezTo>
                          <a:pt x="4" y="17"/>
                          <a:pt x="4" y="18"/>
                          <a:pt x="4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0" name="Freeform 51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58" y="159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1" name="Freeform 51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4" y="1583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3" y="6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3" y="2"/>
                        </a:cubicBezTo>
                        <a:cubicBezTo>
                          <a:pt x="3" y="3"/>
                          <a:pt x="3" y="4"/>
                          <a:pt x="3" y="6"/>
                        </a:cubicBezTo>
                        <a:cubicBezTo>
                          <a:pt x="4" y="7"/>
                          <a:pt x="4" y="8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2" name="Freeform 51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54" y="1573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3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3">
                        <a:moveTo>
                          <a:pt x="7" y="18"/>
                        </a:moveTo>
                        <a:cubicBezTo>
                          <a:pt x="8" y="19"/>
                          <a:pt x="9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2"/>
                          <a:pt x="10" y="11"/>
                          <a:pt x="10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7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5"/>
                          <a:pt x="1" y="5"/>
                          <a:pt x="0" y="4"/>
                        </a:cubicBezTo>
                        <a:cubicBezTo>
                          <a:pt x="1" y="2"/>
                          <a:pt x="1" y="0"/>
                          <a:pt x="2" y="0"/>
                        </a:cubicBezTo>
                        <a:cubicBezTo>
                          <a:pt x="4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10" y="6"/>
                          <a:pt x="11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2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3" name="Freeform 51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71" y="1626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4" name="Freeform 52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66" y="1619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3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7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5" name="Freeform 52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66" y="1608"/>
                    <a:ext cx="19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3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3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9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1" y="17"/>
                          <a:pt x="11" y="16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5"/>
                        </a:cubicBezTo>
                        <a:cubicBezTo>
                          <a:pt x="3" y="5"/>
                          <a:pt x="3" y="6"/>
                          <a:pt x="3" y="7"/>
                        </a:cubicBezTo>
                        <a:cubicBezTo>
                          <a:pt x="2" y="6"/>
                          <a:pt x="1" y="6"/>
                          <a:pt x="0" y="5"/>
                        </a:cubicBezTo>
                        <a:cubicBezTo>
                          <a:pt x="1" y="3"/>
                          <a:pt x="1" y="1"/>
                          <a:pt x="2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1" y="9"/>
                          <a:pt x="11" y="11"/>
                        </a:cubicBezTo>
                        <a:cubicBezTo>
                          <a:pt x="12" y="13"/>
                          <a:pt x="12" y="14"/>
                          <a:pt x="12" y="16"/>
                        </a:cubicBezTo>
                        <a:cubicBezTo>
                          <a:pt x="13" y="18"/>
                          <a:pt x="13" y="19"/>
                          <a:pt x="13" y="20"/>
                        </a:cubicBezTo>
                        <a:cubicBezTo>
                          <a:pt x="12" y="22"/>
                          <a:pt x="12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6" name="Freeform 52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83" y="1663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4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2"/>
                          <a:pt x="16" y="16"/>
                          <a:pt x="14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4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7" name="Freeform 52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80" y="1656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3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8" name="Freeform 52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79" y="1645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3" y="7"/>
                      </a:cxn>
                      <a:cxn ang="0">
                        <a:pos x="0" y="5"/>
                      </a:cxn>
                      <a:cxn ang="0">
                        <a:pos x="3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3" y="16"/>
                      </a:cxn>
                      <a:cxn ang="0">
                        <a:pos x="13" y="20"/>
                      </a:cxn>
                      <a:cxn ang="0">
                        <a:pos x="11" y="24"/>
                      </a:cxn>
                      <a:cxn ang="0">
                        <a:pos x="7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9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1" y="17"/>
                          <a:pt x="11" y="16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8" y="7"/>
                          <a:pt x="7" y="6"/>
                          <a:pt x="6" y="5"/>
                        </a:cubicBezTo>
                        <a:cubicBezTo>
                          <a:pt x="5" y="5"/>
                          <a:pt x="5" y="4"/>
                          <a:pt x="4" y="5"/>
                        </a:cubicBezTo>
                        <a:cubicBezTo>
                          <a:pt x="3" y="5"/>
                          <a:pt x="3" y="6"/>
                          <a:pt x="3" y="7"/>
                        </a:cubicBezTo>
                        <a:cubicBezTo>
                          <a:pt x="2" y="6"/>
                          <a:pt x="1" y="5"/>
                          <a:pt x="0" y="5"/>
                        </a:cubicBezTo>
                        <a:cubicBezTo>
                          <a:pt x="1" y="3"/>
                          <a:pt x="1" y="1"/>
                          <a:pt x="3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1" y="9"/>
                          <a:pt x="11" y="11"/>
                        </a:cubicBezTo>
                        <a:cubicBezTo>
                          <a:pt x="12" y="12"/>
                          <a:pt x="12" y="14"/>
                          <a:pt x="13" y="16"/>
                        </a:cubicBezTo>
                        <a:cubicBezTo>
                          <a:pt x="13" y="17"/>
                          <a:pt x="13" y="19"/>
                          <a:pt x="13" y="20"/>
                        </a:cubicBezTo>
                        <a:cubicBezTo>
                          <a:pt x="12" y="22"/>
                          <a:pt x="12" y="23"/>
                          <a:pt x="11" y="24"/>
                        </a:cubicBezTo>
                        <a:cubicBezTo>
                          <a:pt x="9" y="24"/>
                          <a:pt x="8" y="23"/>
                          <a:pt x="7" y="22"/>
                        </a:cubicBezTo>
                        <a:cubicBezTo>
                          <a:pt x="7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59" name="Freeform 52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096" y="1698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0" name="Freeform 52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93" y="1692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3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1" name="Freeform 52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092" y="1681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3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3" y="16"/>
                      </a:cxn>
                      <a:cxn ang="0">
                        <a:pos x="13" y="20"/>
                      </a:cxn>
                      <a:cxn ang="0">
                        <a:pos x="11" y="23"/>
                      </a:cxn>
                      <a:cxn ang="0">
                        <a:pos x="7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9" y="20"/>
                          <a:pt x="9" y="20"/>
                        </a:cubicBezTo>
                        <a:cubicBezTo>
                          <a:pt x="10" y="19"/>
                          <a:pt x="10" y="19"/>
                          <a:pt x="10" y="18"/>
                        </a:cubicBezTo>
                        <a:cubicBezTo>
                          <a:pt x="11" y="17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8" y="7"/>
                          <a:pt x="7" y="6"/>
                          <a:pt x="6" y="5"/>
                        </a:cubicBezTo>
                        <a:cubicBezTo>
                          <a:pt x="5" y="5"/>
                          <a:pt x="5" y="4"/>
                          <a:pt x="4" y="4"/>
                        </a:cubicBezTo>
                        <a:cubicBezTo>
                          <a:pt x="3" y="5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3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1" y="8"/>
                          <a:pt x="11" y="10"/>
                        </a:cubicBezTo>
                        <a:cubicBezTo>
                          <a:pt x="12" y="12"/>
                          <a:pt x="12" y="14"/>
                          <a:pt x="13" y="16"/>
                        </a:cubicBezTo>
                        <a:cubicBezTo>
                          <a:pt x="13" y="17"/>
                          <a:pt x="13" y="19"/>
                          <a:pt x="13" y="20"/>
                        </a:cubicBezTo>
                        <a:cubicBezTo>
                          <a:pt x="12" y="22"/>
                          <a:pt x="12" y="23"/>
                          <a:pt x="11" y="23"/>
                        </a:cubicBezTo>
                        <a:cubicBezTo>
                          <a:pt x="9" y="24"/>
                          <a:pt x="8" y="23"/>
                          <a:pt x="7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2" name="Freeform 52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08" y="173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8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3" name="Freeform 52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06" y="1729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4" name="Freeform 53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06" y="1717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19"/>
                      </a:cxn>
                      <a:cxn ang="0">
                        <a:pos x="9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19"/>
                        </a:cubicBezTo>
                        <a:cubicBezTo>
                          <a:pt x="9" y="19"/>
                          <a:pt x="9" y="19"/>
                          <a:pt x="9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5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0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1" y="22"/>
                          <a:pt x="11" y="23"/>
                          <a:pt x="10" y="23"/>
                        </a:cubicBezTo>
                        <a:cubicBezTo>
                          <a:pt x="8" y="24"/>
                          <a:pt x="7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5" name="Freeform 53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21" y="1771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6" name="Freeform 53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18" y="176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9"/>
                          <a:pt x="3" y="10"/>
                          <a:pt x="3" y="11"/>
                        </a:cubicBezTo>
                        <a:cubicBezTo>
                          <a:pt x="2" y="9"/>
                          <a:pt x="2" y="7"/>
                          <a:pt x="1" y="5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7" name="Freeform 53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18" y="175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19"/>
                      </a:cxn>
                      <a:cxn ang="0">
                        <a:pos x="9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19"/>
                        </a:cubicBezTo>
                        <a:cubicBezTo>
                          <a:pt x="9" y="19"/>
                          <a:pt x="9" y="18"/>
                          <a:pt x="9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0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1" y="21"/>
                          <a:pt x="11" y="23"/>
                          <a:pt x="10" y="23"/>
                        </a:cubicBezTo>
                        <a:cubicBezTo>
                          <a:pt x="8" y="24"/>
                          <a:pt x="7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8" name="Freeform 53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34" y="180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5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5" y="14"/>
                        </a:moveTo>
                        <a:cubicBezTo>
                          <a:pt x="3" y="10"/>
                          <a:pt x="4" y="6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5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69" name="Freeform 53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31" y="180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8"/>
                          <a:pt x="3" y="9"/>
                          <a:pt x="3" y="10"/>
                        </a:cubicBezTo>
                        <a:cubicBezTo>
                          <a:pt x="2" y="9"/>
                          <a:pt x="2" y="7"/>
                          <a:pt x="1" y="5"/>
                        </a:cubicBezTo>
                        <a:cubicBezTo>
                          <a:pt x="0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0" name="Freeform 53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31" y="179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1"/>
                        </a:cubicBezTo>
                        <a:cubicBezTo>
                          <a:pt x="8" y="9"/>
                          <a:pt x="8" y="8"/>
                          <a:pt x="7" y="8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1" name="Freeform 53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46" y="1843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5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5" y="14"/>
                        </a:moveTo>
                        <a:cubicBezTo>
                          <a:pt x="3" y="9"/>
                          <a:pt x="4" y="6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5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2" name="Freeform 53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43" y="1838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0"/>
                          <a:pt x="1" y="1"/>
                          <a:pt x="2" y="1"/>
                        </a:cubicBezTo>
                        <a:cubicBezTo>
                          <a:pt x="2" y="2"/>
                          <a:pt x="2" y="4"/>
                          <a:pt x="3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4" y="8"/>
                          <a:pt x="3" y="9"/>
                          <a:pt x="3" y="10"/>
                        </a:cubicBezTo>
                        <a:cubicBezTo>
                          <a:pt x="2" y="9"/>
                          <a:pt x="2" y="7"/>
                          <a:pt x="1" y="5"/>
                        </a:cubicBezTo>
                        <a:cubicBezTo>
                          <a:pt x="0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3" name="Freeform 53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43" y="1827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7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9" y="13"/>
                          <a:pt x="9" y="12"/>
                          <a:pt x="9" y="10"/>
                        </a:cubicBezTo>
                        <a:cubicBezTo>
                          <a:pt x="8" y="9"/>
                          <a:pt x="8" y="8"/>
                          <a:pt x="7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5"/>
                          <a:pt x="0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6" y="2"/>
                          <a:pt x="7" y="3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1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4" name="Freeform 54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59" y="188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5" y="14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4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5" y="14"/>
                        </a:moveTo>
                        <a:cubicBezTo>
                          <a:pt x="3" y="9"/>
                          <a:pt x="4" y="5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5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5" name="Freeform 54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56" y="1873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6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6"/>
                        </a:cubicBezTo>
                        <a:cubicBezTo>
                          <a:pt x="3" y="7"/>
                          <a:pt x="3" y="8"/>
                          <a:pt x="4" y="8"/>
                        </a:cubicBezTo>
                        <a:cubicBezTo>
                          <a:pt x="4" y="9"/>
                          <a:pt x="4" y="10"/>
                          <a:pt x="3" y="11"/>
                        </a:cubicBezTo>
                        <a:cubicBezTo>
                          <a:pt x="3" y="10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6" name="Freeform 54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56" y="186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8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7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8" y="19"/>
                        </a:cubicBezTo>
                        <a:cubicBezTo>
                          <a:pt x="9" y="19"/>
                          <a:pt x="9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1"/>
                          <a:pt x="9" y="10"/>
                        </a:cubicBezTo>
                        <a:cubicBezTo>
                          <a:pt x="8" y="9"/>
                          <a:pt x="8" y="8"/>
                          <a:pt x="7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4" y="4"/>
                          <a:pt x="4" y="4"/>
                          <a:pt x="3" y="4"/>
                        </a:cubicBezTo>
                        <a:cubicBezTo>
                          <a:pt x="2" y="4"/>
                          <a:pt x="2" y="5"/>
                          <a:pt x="2" y="6"/>
                        </a:cubicBezTo>
                        <a:cubicBezTo>
                          <a:pt x="1" y="5"/>
                          <a:pt x="0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6" y="2"/>
                          <a:pt x="7" y="3"/>
                          <a:pt x="8" y="5"/>
                        </a:cubicBezTo>
                        <a:cubicBezTo>
                          <a:pt x="9" y="6"/>
                          <a:pt x="10" y="8"/>
                          <a:pt x="10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7" name="Freeform 54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71" y="1916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3" y="14"/>
                      </a:cxn>
                      <a:cxn ang="0">
                        <a:pos x="12" y="24"/>
                      </a:cxn>
                      <a:cxn ang="0">
                        <a:pos x="14" y="10"/>
                      </a:cxn>
                      <a:cxn ang="0">
                        <a:pos x="4" y="1"/>
                      </a:cxn>
                      <a:cxn ang="0">
                        <a:pos x="3" y="14"/>
                      </a:cxn>
                      <a:cxn ang="0">
                        <a:pos x="5" y="13"/>
                      </a:cxn>
                      <a:cxn ang="0">
                        <a:pos x="6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5" y="13"/>
                      </a:cxn>
                    </a:cxnLst>
                    <a:rect l="0" t="0" r="r" b="b"/>
                    <a:pathLst>
                      <a:path w="16" h="25">
                        <a:moveTo>
                          <a:pt x="3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0"/>
                        </a:cubicBezTo>
                        <a:cubicBezTo>
                          <a:pt x="12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3" y="14"/>
                        </a:cubicBezTo>
                        <a:close/>
                        <a:moveTo>
                          <a:pt x="5" y="13"/>
                        </a:moveTo>
                        <a:cubicBezTo>
                          <a:pt x="3" y="9"/>
                          <a:pt x="4" y="5"/>
                          <a:pt x="6" y="5"/>
                        </a:cubicBezTo>
                        <a:cubicBezTo>
                          <a:pt x="8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5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8" name="Freeform 54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69" y="1909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3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0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7"/>
                          <a:pt x="3" y="8"/>
                          <a:pt x="4" y="8"/>
                        </a:cubicBezTo>
                        <a:cubicBezTo>
                          <a:pt x="4" y="9"/>
                          <a:pt x="4" y="10"/>
                          <a:pt x="3" y="11"/>
                        </a:cubicBezTo>
                        <a:cubicBezTo>
                          <a:pt x="3" y="10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79" name="Freeform 54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69" y="1898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7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0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8" y="20"/>
                        </a:cubicBezTo>
                        <a:cubicBezTo>
                          <a:pt x="9" y="20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8" y="10"/>
                          <a:pt x="8" y="9"/>
                          <a:pt x="7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4" y="5"/>
                          <a:pt x="4" y="4"/>
                          <a:pt x="3" y="5"/>
                        </a:cubicBezTo>
                        <a:cubicBezTo>
                          <a:pt x="2" y="5"/>
                          <a:pt x="2" y="6"/>
                          <a:pt x="2" y="7"/>
                        </a:cubicBezTo>
                        <a:cubicBezTo>
                          <a:pt x="1" y="6"/>
                          <a:pt x="0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6" y="3"/>
                          <a:pt x="7" y="4"/>
                          <a:pt x="8" y="5"/>
                        </a:cubicBezTo>
                        <a:cubicBezTo>
                          <a:pt x="9" y="7"/>
                          <a:pt x="10" y="9"/>
                          <a:pt x="10" y="11"/>
                        </a:cubicBezTo>
                        <a:cubicBezTo>
                          <a:pt x="11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0" name="Freeform 54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85" y="195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1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8" y="25"/>
                          <a:pt x="11" y="24"/>
                        </a:cubicBezTo>
                        <a:cubicBezTo>
                          <a:pt x="14" y="22"/>
                          <a:pt x="15" y="16"/>
                          <a:pt x="13" y="10"/>
                        </a:cubicBezTo>
                        <a:cubicBezTo>
                          <a:pt x="11" y="4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2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1" name="Freeform 54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81" y="1946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2" name="Freeform 54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81" y="1935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8" y="20"/>
                        </a:cubicBezTo>
                        <a:cubicBezTo>
                          <a:pt x="9" y="20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0" y="5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3" name="Freeform 54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198" y="198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1"/>
                        </a:cubicBezTo>
                        <a:cubicBezTo>
                          <a:pt x="11" y="5"/>
                          <a:pt x="6" y="0"/>
                          <a:pt x="3" y="1"/>
                        </a:cubicBezTo>
                        <a:cubicBezTo>
                          <a:pt x="0" y="3"/>
                          <a:pt x="0" y="9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2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4" name="Freeform 55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94" y="1982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5" name="Freeform 55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194" y="1971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8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8" y="20"/>
                        </a:cubicBezTo>
                        <a:cubicBezTo>
                          <a:pt x="9" y="19"/>
                          <a:pt x="9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2" y="5"/>
                          <a:pt x="2" y="6"/>
                        </a:cubicBezTo>
                        <a:cubicBezTo>
                          <a:pt x="1" y="6"/>
                          <a:pt x="0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6" name="Freeform 55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11" y="202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1"/>
                        </a:cubicBezTo>
                        <a:cubicBezTo>
                          <a:pt x="11" y="5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7" name="Freeform 55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06" y="2019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0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8" name="Freeform 55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06" y="200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89" name="Freeform 55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23" y="2061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4" y="23"/>
                          <a:pt x="15" y="17"/>
                          <a:pt x="13" y="11"/>
                        </a:cubicBezTo>
                        <a:cubicBezTo>
                          <a:pt x="11" y="4"/>
                          <a:pt x="6" y="0"/>
                          <a:pt x="3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0" name="Freeform 55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19" y="205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1" name="Freeform 55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19" y="204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19"/>
                          <a:pt x="8" y="20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6"/>
                          <a:pt x="6" y="6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1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0"/>
                          <a:pt x="6" y="19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2" name="Freeform 55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36" y="2097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1" y="24"/>
                      </a:cxn>
                      <a:cxn ang="0">
                        <a:pos x="13" y="11"/>
                      </a:cxn>
                      <a:cxn ang="0">
                        <a:pos x="3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4"/>
                          <a:pt x="7" y="0"/>
                          <a:pt x="3" y="1"/>
                        </a:cubicBezTo>
                        <a:cubicBezTo>
                          <a:pt x="0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3" name="Freeform 55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32" y="209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4" name="Freeform 56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32" y="2080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4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1"/>
                        </a:cubicBezTo>
                        <a:cubicBezTo>
                          <a:pt x="9" y="9"/>
                          <a:pt x="8" y="8"/>
                          <a:pt x="8" y="8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7" y="3"/>
                          <a:pt x="7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5" name="Freeform 56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49" y="213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1" y="24"/>
                      </a:cxn>
                      <a:cxn ang="0">
                        <a:pos x="13" y="10"/>
                      </a:cxn>
                      <a:cxn ang="0">
                        <a:pos x="3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8" y="25"/>
                          <a:pt x="11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3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6" name="Freeform 56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44" y="2128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2" y="1"/>
                        </a:cubicBezTo>
                        <a:cubicBezTo>
                          <a:pt x="2" y="2"/>
                          <a:pt x="2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7" name="Freeform 5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44" y="2117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2" h="23">
                        <a:moveTo>
                          <a:pt x="6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9" y="12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4" y="0"/>
                          <a:pt x="6" y="2"/>
                        </a:cubicBezTo>
                        <a:cubicBezTo>
                          <a:pt x="7" y="2"/>
                          <a:pt x="7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6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8" name="Freeform 56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61" y="217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1"/>
                          <a:pt x="8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299" name="Freeform 5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57" y="2164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7"/>
                      </a:cxn>
                      <a:cxn ang="0">
                        <a:pos x="4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2" y="1"/>
                        </a:cubicBezTo>
                        <a:cubicBezTo>
                          <a:pt x="2" y="2"/>
                          <a:pt x="3" y="3"/>
                          <a:pt x="3" y="5"/>
                        </a:cubicBezTo>
                        <a:cubicBezTo>
                          <a:pt x="3" y="6"/>
                          <a:pt x="4" y="7"/>
                          <a:pt x="4" y="7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1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0" name="Freeform 5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57" y="2153"/>
                    <a:ext cx="17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5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3">
                        <a:moveTo>
                          <a:pt x="7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1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5" y="5"/>
                        </a:cubicBezTo>
                        <a:cubicBezTo>
                          <a:pt x="5" y="4"/>
                          <a:pt x="4" y="4"/>
                          <a:pt x="3" y="4"/>
                        </a:cubicBezTo>
                        <a:cubicBezTo>
                          <a:pt x="3" y="4"/>
                          <a:pt x="2" y="5"/>
                          <a:pt x="2" y="6"/>
                        </a:cubicBezTo>
                        <a:cubicBezTo>
                          <a:pt x="1" y="5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7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1" name="Freeform 56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74" y="2206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8" y="25"/>
                          <a:pt x="12" y="24"/>
                        </a:cubicBezTo>
                        <a:cubicBezTo>
                          <a:pt x="15" y="23"/>
                          <a:pt x="15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0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2" name="Freeform 5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70" y="2199"/>
                    <a:ext cx="5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7"/>
                          <a:pt x="4" y="8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3" name="Freeform 56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70" y="2188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6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5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6" y="19"/>
                      </a:cxn>
                    </a:cxnLst>
                    <a:rect l="0" t="0" r="r" b="b"/>
                    <a:pathLst>
                      <a:path w="12" h="24">
                        <a:moveTo>
                          <a:pt x="6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9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5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1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3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6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4" name="Freeform 57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86" y="2243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5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2"/>
                          <a:pt x="15" y="16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2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5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5" name="Freeform 57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82" y="2236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6" name="Freeform 57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82" y="2224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3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20"/>
                          <a:pt x="8" y="20"/>
                          <a:pt x="9" y="20"/>
                        </a:cubicBezTo>
                        <a:cubicBezTo>
                          <a:pt x="9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3" y="5"/>
                        </a:cubicBezTo>
                        <a:cubicBezTo>
                          <a:pt x="3" y="5"/>
                          <a:pt x="2" y="6"/>
                          <a:pt x="2" y="7"/>
                        </a:cubicBezTo>
                        <a:cubicBezTo>
                          <a:pt x="1" y="6"/>
                          <a:pt x="1" y="5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8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7" name="Freeform 57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299" y="2278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3"/>
                          <a:pt x="0" y="9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2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8" name="Freeform 57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95" y="2272"/>
                    <a:ext cx="5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1" y="2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09" name="Freeform 57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295" y="2261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3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3" y="4"/>
                        </a:cubicBezTo>
                        <a:cubicBezTo>
                          <a:pt x="3" y="5"/>
                          <a:pt x="2" y="5"/>
                          <a:pt x="2" y="6"/>
                        </a:cubicBezTo>
                        <a:cubicBezTo>
                          <a:pt x="1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1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7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0" name="Freeform 57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12" y="2314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2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1" y="12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1" name="Freeform 57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07" y="2308"/>
                    <a:ext cx="6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2" name="Freeform 57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07" y="2297"/>
                    <a:ext cx="17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20"/>
                        </a:cubicBezTo>
                        <a:cubicBezTo>
                          <a:pt x="9" y="19"/>
                          <a:pt x="10" y="19"/>
                          <a:pt x="10" y="18"/>
                        </a:cubicBezTo>
                        <a:cubicBezTo>
                          <a:pt x="10" y="17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7"/>
                          <a:pt x="6" y="6"/>
                          <a:pt x="6" y="5"/>
                        </a:cubicBezTo>
                        <a:cubicBezTo>
                          <a:pt x="5" y="5"/>
                          <a:pt x="4" y="4"/>
                          <a:pt x="4" y="4"/>
                        </a:cubicBezTo>
                        <a:cubicBezTo>
                          <a:pt x="3" y="5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9"/>
                          <a:pt x="12" y="20"/>
                        </a:cubicBezTo>
                        <a:cubicBezTo>
                          <a:pt x="12" y="22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3" name="Freeform 57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24" y="2350"/>
                    <a:ext cx="21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5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5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6"/>
                          <a:pt x="12" y="20"/>
                          <a:pt x="10" y="20"/>
                        </a:cubicBezTo>
                        <a:cubicBezTo>
                          <a:pt x="8" y="21"/>
                          <a:pt x="5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4" name="Freeform 58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20" y="2345"/>
                    <a:ext cx="6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1"/>
                      </a:cxn>
                      <a:cxn ang="0">
                        <a:pos x="1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3" y="6"/>
                          <a:pt x="4" y="7"/>
                          <a:pt x="4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1" y="6"/>
                        </a:cubicBezTo>
                        <a:cubicBezTo>
                          <a:pt x="1" y="4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5" name="Freeform 58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20" y="2334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2" h="24">
                        <a:moveTo>
                          <a:pt x="7" y="19"/>
                        </a:moveTo>
                        <a:cubicBezTo>
                          <a:pt x="7" y="19"/>
                          <a:pt x="8" y="20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8" y="9"/>
                          <a:pt x="8" y="8"/>
                        </a:cubicBezTo>
                        <a:cubicBezTo>
                          <a:pt x="7" y="6"/>
                          <a:pt x="6" y="6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20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6" y="19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6" name="Freeform 582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37" y="238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7" name="Freeform 58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33" y="238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2" y="2"/>
                        </a:cubicBezTo>
                        <a:cubicBezTo>
                          <a:pt x="2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4" y="8"/>
                        </a:cubicBezTo>
                        <a:cubicBezTo>
                          <a:pt x="4" y="9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8" name="Freeform 58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33" y="2370"/>
                    <a:ext cx="16" cy="34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4">
                        <a:moveTo>
                          <a:pt x="7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9"/>
                          <a:pt x="8" y="8"/>
                          <a:pt x="8" y="8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1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3"/>
                          <a:pt x="8" y="4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4"/>
                          <a:pt x="8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19" name="Freeform 585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49" y="2423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0" name="Freeform 58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45" y="2418"/>
                    <a:ext cx="6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4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1" y="0"/>
                          <a:pt x="2" y="1"/>
                          <a:pt x="2" y="1"/>
                        </a:cubicBezTo>
                        <a:cubicBezTo>
                          <a:pt x="2" y="2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4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1" name="Freeform 58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45" y="2406"/>
                    <a:ext cx="17" cy="33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8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2" h="23">
                        <a:moveTo>
                          <a:pt x="7" y="18"/>
                        </a:moveTo>
                        <a:cubicBezTo>
                          <a:pt x="7" y="19"/>
                          <a:pt x="8" y="19"/>
                          <a:pt x="9" y="19"/>
                        </a:cubicBezTo>
                        <a:cubicBezTo>
                          <a:pt x="9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2"/>
                          <a:pt x="9" y="10"/>
                        </a:cubicBezTo>
                        <a:cubicBezTo>
                          <a:pt x="9" y="9"/>
                          <a:pt x="8" y="8"/>
                          <a:pt x="8" y="7"/>
                        </a:cubicBezTo>
                        <a:cubicBezTo>
                          <a:pt x="7" y="6"/>
                          <a:pt x="6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8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2" y="17"/>
                          <a:pt x="12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2" name="Freeform 588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62" y="246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9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3" y="19"/>
                          <a:pt x="10" y="20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3" name="Freeform 58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58" y="2454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1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0">
                        <a:moveTo>
                          <a:pt x="0" y="0"/>
                        </a:moveTo>
                        <a:cubicBezTo>
                          <a:pt x="1" y="0"/>
                          <a:pt x="2" y="1"/>
                          <a:pt x="2" y="1"/>
                        </a:cubicBezTo>
                        <a:cubicBezTo>
                          <a:pt x="3" y="2"/>
                          <a:pt x="3" y="3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4" name="Freeform 59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58" y="2443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9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2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5"/>
                      </a:cxn>
                      <a:cxn ang="0">
                        <a:pos x="12" y="19"/>
                      </a:cxn>
                      <a:cxn ang="0">
                        <a:pos x="10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3">
                        <a:moveTo>
                          <a:pt x="7" y="18"/>
                        </a:moveTo>
                        <a:cubicBezTo>
                          <a:pt x="8" y="19"/>
                          <a:pt x="8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0" y="16"/>
                          <a:pt x="10" y="15"/>
                          <a:pt x="10" y="14"/>
                        </a:cubicBezTo>
                        <a:cubicBezTo>
                          <a:pt x="10" y="13"/>
                          <a:pt x="10" y="11"/>
                          <a:pt x="9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7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2" y="6"/>
                        </a:cubicBezTo>
                        <a:cubicBezTo>
                          <a:pt x="2" y="5"/>
                          <a:pt x="1" y="5"/>
                          <a:pt x="0" y="4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9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5"/>
                        </a:cubicBezTo>
                        <a:cubicBezTo>
                          <a:pt x="13" y="17"/>
                          <a:pt x="13" y="18"/>
                          <a:pt x="12" y="19"/>
                        </a:cubicBezTo>
                        <a:cubicBezTo>
                          <a:pt x="12" y="21"/>
                          <a:pt x="11" y="23"/>
                          <a:pt x="10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6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5" name="Freeform 591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75" y="2496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1" y="11"/>
                      </a:cxn>
                      <a:cxn ang="0">
                        <a:pos x="10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4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1" y="11"/>
                        </a:cubicBezTo>
                        <a:cubicBezTo>
                          <a:pt x="13" y="15"/>
                          <a:pt x="12" y="19"/>
                          <a:pt x="10" y="20"/>
                        </a:cubicBezTo>
                        <a:cubicBezTo>
                          <a:pt x="8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6" name="Freeform 59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70" y="2489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7"/>
                          <a:pt x="4" y="8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10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7" name="Freeform 59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70" y="2478"/>
                    <a:ext cx="19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2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8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0" y="17"/>
                          <a:pt x="10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5"/>
                          <a:pt x="4" y="5"/>
                        </a:cubicBezTo>
                        <a:cubicBezTo>
                          <a:pt x="3" y="5"/>
                          <a:pt x="3" y="6"/>
                          <a:pt x="2" y="7"/>
                        </a:cubicBezTo>
                        <a:cubicBezTo>
                          <a:pt x="2" y="6"/>
                          <a:pt x="1" y="6"/>
                          <a:pt x="0" y="5"/>
                        </a:cubicBezTo>
                        <a:cubicBezTo>
                          <a:pt x="0" y="3"/>
                          <a:pt x="1" y="1"/>
                          <a:pt x="2" y="1"/>
                        </a:cubicBezTo>
                        <a:cubicBezTo>
                          <a:pt x="3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9" y="7"/>
                          <a:pt x="10" y="9"/>
                          <a:pt x="11" y="11"/>
                        </a:cubicBezTo>
                        <a:cubicBezTo>
                          <a:pt x="12" y="13"/>
                          <a:pt x="12" y="14"/>
                          <a:pt x="12" y="16"/>
                        </a:cubicBezTo>
                        <a:cubicBezTo>
                          <a:pt x="12" y="18"/>
                          <a:pt x="13" y="19"/>
                          <a:pt x="12" y="20"/>
                        </a:cubicBezTo>
                        <a:cubicBezTo>
                          <a:pt x="12" y="22"/>
                          <a:pt x="11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8" name="Freeform 594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87" y="2532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3" y="10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3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3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0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0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3"/>
                        </a:moveTo>
                        <a:cubicBezTo>
                          <a:pt x="3" y="9"/>
                          <a:pt x="3" y="5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0"/>
                          <a:pt x="6" y="18"/>
                          <a:pt x="4" y="13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29" name="Freeform 59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83" y="2525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0" name="Freeform 59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83" y="2514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5"/>
                      </a:cxn>
                      <a:cxn ang="0">
                        <a:pos x="3" y="7"/>
                      </a:cxn>
                      <a:cxn ang="0">
                        <a:pos x="0" y="5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1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4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20"/>
                          <a:pt x="8" y="20"/>
                          <a:pt x="9" y="20"/>
                        </a:cubicBezTo>
                        <a:cubicBezTo>
                          <a:pt x="10" y="20"/>
                          <a:pt x="10" y="19"/>
                          <a:pt x="10" y="18"/>
                        </a:cubicBezTo>
                        <a:cubicBezTo>
                          <a:pt x="10" y="17"/>
                          <a:pt x="11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5"/>
                        </a:cubicBezTo>
                        <a:cubicBezTo>
                          <a:pt x="3" y="5"/>
                          <a:pt x="3" y="6"/>
                          <a:pt x="3" y="7"/>
                        </a:cubicBezTo>
                        <a:cubicBezTo>
                          <a:pt x="2" y="6"/>
                          <a:pt x="1" y="5"/>
                          <a:pt x="0" y="5"/>
                        </a:cubicBezTo>
                        <a:cubicBezTo>
                          <a:pt x="1" y="3"/>
                          <a:pt x="1" y="1"/>
                          <a:pt x="2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0" y="9"/>
                          <a:pt x="11" y="11"/>
                        </a:cubicBezTo>
                        <a:cubicBezTo>
                          <a:pt x="12" y="13"/>
                          <a:pt x="12" y="14"/>
                          <a:pt x="12" y="16"/>
                        </a:cubicBezTo>
                        <a:cubicBezTo>
                          <a:pt x="13" y="18"/>
                          <a:pt x="13" y="19"/>
                          <a:pt x="12" y="20"/>
                        </a:cubicBezTo>
                        <a:cubicBezTo>
                          <a:pt x="12" y="22"/>
                          <a:pt x="12" y="23"/>
                          <a:pt x="10" y="24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1" name="Freeform 597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400" y="256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3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1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3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3"/>
                          <a:pt x="0" y="9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1"/>
                        </a:cubicBezTo>
                        <a:cubicBezTo>
                          <a:pt x="8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2" name="Freeform 59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96" y="2562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2"/>
                          <a:pt x="2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3" name="Freeform 59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396" y="2551"/>
                    <a:ext cx="18" cy="33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9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2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20"/>
                        </a:cubicBezTo>
                        <a:cubicBezTo>
                          <a:pt x="10" y="19"/>
                          <a:pt x="10" y="19"/>
                          <a:pt x="10" y="18"/>
                        </a:cubicBezTo>
                        <a:cubicBezTo>
                          <a:pt x="10" y="17"/>
                          <a:pt x="11" y="16"/>
                          <a:pt x="10" y="14"/>
                        </a:cubicBezTo>
                        <a:cubicBezTo>
                          <a:pt x="10" y="13"/>
                          <a:pt x="10" y="12"/>
                          <a:pt x="9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4"/>
                        </a:cubicBezTo>
                        <a:cubicBezTo>
                          <a:pt x="3" y="5"/>
                          <a:pt x="3" y="6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9"/>
                          <a:pt x="12" y="20"/>
                        </a:cubicBezTo>
                        <a:cubicBezTo>
                          <a:pt x="12" y="22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6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4" name="Freeform 600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412" y="2604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2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5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5"/>
                          <a:pt x="10" y="7"/>
                          <a:pt x="12" y="12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5" name="Freeform 60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08" y="2598"/>
                    <a:ext cx="7" cy="1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3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8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6" name="Freeform 60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08" y="2587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20"/>
                      </a:cxn>
                      <a:cxn ang="0">
                        <a:pos x="10" y="18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1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3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20"/>
                        </a:cubicBezTo>
                        <a:cubicBezTo>
                          <a:pt x="10" y="19"/>
                          <a:pt x="10" y="19"/>
                          <a:pt x="10" y="18"/>
                        </a:cubicBezTo>
                        <a:cubicBezTo>
                          <a:pt x="11" y="17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7"/>
                          <a:pt x="7" y="6"/>
                          <a:pt x="6" y="5"/>
                        </a:cubicBezTo>
                        <a:cubicBezTo>
                          <a:pt x="5" y="5"/>
                          <a:pt x="4" y="4"/>
                          <a:pt x="4" y="4"/>
                        </a:cubicBezTo>
                        <a:cubicBezTo>
                          <a:pt x="3" y="5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1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7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9"/>
                          <a:pt x="13" y="20"/>
                        </a:cubicBezTo>
                        <a:cubicBezTo>
                          <a:pt x="12" y="22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1"/>
                          <a:pt x="7" y="20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7" name="Freeform 603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425" y="2640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6"/>
                          <a:pt x="13" y="20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8" name="Freeform 60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21" y="2635"/>
                    <a:ext cx="7" cy="1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1"/>
                      </a:cxn>
                      <a:cxn ang="0">
                        <a:pos x="2" y="6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1">
                        <a:moveTo>
                          <a:pt x="0" y="0"/>
                        </a:moveTo>
                        <a:cubicBezTo>
                          <a:pt x="1" y="1"/>
                          <a:pt x="2" y="1"/>
                          <a:pt x="3" y="2"/>
                        </a:cubicBezTo>
                        <a:cubicBezTo>
                          <a:pt x="3" y="3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9"/>
                          <a:pt x="4" y="10"/>
                          <a:pt x="4" y="11"/>
                        </a:cubicBezTo>
                        <a:cubicBezTo>
                          <a:pt x="3" y="9"/>
                          <a:pt x="2" y="7"/>
                          <a:pt x="2" y="6"/>
                        </a:cubicBezTo>
                        <a:cubicBezTo>
                          <a:pt x="1" y="4"/>
                          <a:pt x="1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39" name="Freeform 60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21" y="2623"/>
                    <a:ext cx="18" cy="34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2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2" y="16"/>
                      </a:cxn>
                      <a:cxn ang="0">
                        <a:pos x="13" y="20"/>
                      </a:cxn>
                      <a:cxn ang="0">
                        <a:pos x="10" y="23"/>
                      </a:cxn>
                      <a:cxn ang="0">
                        <a:pos x="6" y="22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3" h="24">
                        <a:moveTo>
                          <a:pt x="7" y="19"/>
                        </a:moveTo>
                        <a:cubicBezTo>
                          <a:pt x="8" y="19"/>
                          <a:pt x="8" y="20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10"/>
                          <a:pt x="9" y="9"/>
                          <a:pt x="8" y="8"/>
                        </a:cubicBezTo>
                        <a:cubicBezTo>
                          <a:pt x="7" y="6"/>
                          <a:pt x="7" y="6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2" y="0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6"/>
                          <a:pt x="10" y="8"/>
                          <a:pt x="11" y="10"/>
                        </a:cubicBezTo>
                        <a:cubicBezTo>
                          <a:pt x="12" y="12"/>
                          <a:pt x="12" y="14"/>
                          <a:pt x="12" y="16"/>
                        </a:cubicBezTo>
                        <a:cubicBezTo>
                          <a:pt x="13" y="17"/>
                          <a:pt x="13" y="18"/>
                          <a:pt x="13" y="20"/>
                        </a:cubicBezTo>
                        <a:cubicBezTo>
                          <a:pt x="12" y="21"/>
                          <a:pt x="12" y="23"/>
                          <a:pt x="10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7" y="19"/>
                          <a:pt x="7" y="19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0" name="Freeform 606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438" y="2677"/>
                    <a:ext cx="22" cy="35"/>
                  </a:xfrm>
                  <a:custGeom>
                    <a:avLst/>
                    <a:gdLst/>
                    <a:ahLst/>
                    <a:cxnLst>
                      <a:cxn ang="0">
                        <a:pos x="2" y="15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5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5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5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6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1" name="Freeform 60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35" y="2671"/>
                    <a:ext cx="5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" y="2"/>
                      </a:cxn>
                      <a:cxn ang="0">
                        <a:pos x="2" y="5"/>
                      </a:cxn>
                      <a:cxn ang="0">
                        <a:pos x="4" y="8"/>
                      </a:cxn>
                      <a:cxn ang="0">
                        <a:pos x="3" y="10"/>
                      </a:cxn>
                      <a:cxn ang="0">
                        <a:pos x="1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4" h="10">
                        <a:moveTo>
                          <a:pt x="0" y="0"/>
                        </a:moveTo>
                        <a:cubicBezTo>
                          <a:pt x="0" y="1"/>
                          <a:pt x="1" y="1"/>
                          <a:pt x="2" y="2"/>
                        </a:cubicBezTo>
                        <a:cubicBezTo>
                          <a:pt x="2" y="3"/>
                          <a:pt x="2" y="4"/>
                          <a:pt x="2" y="5"/>
                        </a:cubicBezTo>
                        <a:cubicBezTo>
                          <a:pt x="3" y="6"/>
                          <a:pt x="3" y="7"/>
                          <a:pt x="4" y="8"/>
                        </a:cubicBezTo>
                        <a:cubicBezTo>
                          <a:pt x="3" y="9"/>
                          <a:pt x="3" y="9"/>
                          <a:pt x="3" y="10"/>
                        </a:cubicBezTo>
                        <a:cubicBezTo>
                          <a:pt x="2" y="9"/>
                          <a:pt x="1" y="7"/>
                          <a:pt x="1" y="5"/>
                        </a:cubicBezTo>
                        <a:cubicBezTo>
                          <a:pt x="0" y="3"/>
                          <a:pt x="0" y="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2" name="Freeform 60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33" y="2660"/>
                    <a:ext cx="19" cy="33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1"/>
                      </a:cxn>
                      <a:cxn ang="0">
                        <a:pos x="8" y="8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3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3" y="16"/>
                      </a:cxn>
                      <a:cxn ang="0">
                        <a:pos x="13" y="19"/>
                      </a:cxn>
                      <a:cxn ang="0">
                        <a:pos x="11" y="23"/>
                      </a:cxn>
                      <a:cxn ang="0">
                        <a:pos x="6" y="22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4">
                        <a:moveTo>
                          <a:pt x="7" y="18"/>
                        </a:moveTo>
                        <a:cubicBezTo>
                          <a:pt x="8" y="19"/>
                          <a:pt x="9" y="20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1"/>
                        </a:cubicBezTo>
                        <a:cubicBezTo>
                          <a:pt x="9" y="9"/>
                          <a:pt x="9" y="8"/>
                          <a:pt x="8" y="8"/>
                        </a:cubicBezTo>
                        <a:cubicBezTo>
                          <a:pt x="8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1"/>
                          <a:pt x="3" y="0"/>
                        </a:cubicBezTo>
                        <a:cubicBezTo>
                          <a:pt x="4" y="0"/>
                          <a:pt x="5" y="1"/>
                          <a:pt x="6" y="2"/>
                        </a:cubicBezTo>
                        <a:cubicBezTo>
                          <a:pt x="7" y="3"/>
                          <a:pt x="8" y="4"/>
                          <a:pt x="9" y="5"/>
                        </a:cubicBezTo>
                        <a:cubicBezTo>
                          <a:pt x="10" y="6"/>
                          <a:pt x="11" y="8"/>
                          <a:pt x="11" y="10"/>
                        </a:cubicBezTo>
                        <a:cubicBezTo>
                          <a:pt x="12" y="12"/>
                          <a:pt x="12" y="14"/>
                          <a:pt x="13" y="16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3"/>
                          <a:pt x="11" y="23"/>
                        </a:cubicBezTo>
                        <a:cubicBezTo>
                          <a:pt x="9" y="24"/>
                          <a:pt x="8" y="23"/>
                          <a:pt x="6" y="22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3" name="Freeform 609" descr="© INSCALE GmbH, 26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450" y="2713"/>
                    <a:ext cx="23" cy="35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12" y="24"/>
                      </a:cxn>
                      <a:cxn ang="0">
                        <a:pos x="14" y="11"/>
                      </a:cxn>
                      <a:cxn ang="0">
                        <a:pos x="4" y="1"/>
                      </a:cxn>
                      <a:cxn ang="0">
                        <a:pos x="2" y="14"/>
                      </a:cxn>
                      <a:cxn ang="0">
                        <a:pos x="4" y="14"/>
                      </a:cxn>
                      <a:cxn ang="0">
                        <a:pos x="5" y="5"/>
                      </a:cxn>
                      <a:cxn ang="0">
                        <a:pos x="12" y="11"/>
                      </a:cxn>
                      <a:cxn ang="0">
                        <a:pos x="11" y="20"/>
                      </a:cxn>
                      <a:cxn ang="0">
                        <a:pos x="4" y="14"/>
                      </a:cxn>
                    </a:cxnLst>
                    <a:rect l="0" t="0" r="r" b="b"/>
                    <a:pathLst>
                      <a:path w="16" h="25">
                        <a:moveTo>
                          <a:pt x="2" y="14"/>
                        </a:moveTo>
                        <a:cubicBezTo>
                          <a:pt x="5" y="21"/>
                          <a:pt x="9" y="25"/>
                          <a:pt x="12" y="24"/>
                        </a:cubicBezTo>
                        <a:cubicBezTo>
                          <a:pt x="15" y="23"/>
                          <a:pt x="16" y="17"/>
                          <a:pt x="14" y="11"/>
                        </a:cubicBezTo>
                        <a:cubicBezTo>
                          <a:pt x="11" y="4"/>
                          <a:pt x="7" y="0"/>
                          <a:pt x="4" y="1"/>
                        </a:cubicBezTo>
                        <a:cubicBezTo>
                          <a:pt x="1" y="2"/>
                          <a:pt x="0" y="8"/>
                          <a:pt x="2" y="14"/>
                        </a:cubicBezTo>
                        <a:close/>
                        <a:moveTo>
                          <a:pt x="4" y="14"/>
                        </a:moveTo>
                        <a:cubicBezTo>
                          <a:pt x="3" y="10"/>
                          <a:pt x="3" y="6"/>
                          <a:pt x="5" y="5"/>
                        </a:cubicBezTo>
                        <a:cubicBezTo>
                          <a:pt x="7" y="4"/>
                          <a:pt x="10" y="7"/>
                          <a:pt x="12" y="11"/>
                        </a:cubicBezTo>
                        <a:cubicBezTo>
                          <a:pt x="13" y="15"/>
                          <a:pt x="13" y="19"/>
                          <a:pt x="11" y="20"/>
                        </a:cubicBezTo>
                        <a:cubicBezTo>
                          <a:pt x="9" y="21"/>
                          <a:pt x="6" y="18"/>
                          <a:pt x="4" y="14"/>
                        </a:cubicBezTo>
                        <a:close/>
                      </a:path>
                    </a:pathLst>
                  </a:custGeom>
                  <a:solidFill>
                    <a:srgbClr val="B3B3B3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4" name="Freeform 61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6" y="2707"/>
                    <a:ext cx="7" cy="14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1"/>
                      </a:cxn>
                      <a:cxn ang="0">
                        <a:pos x="3" y="5"/>
                      </a:cxn>
                      <a:cxn ang="0">
                        <a:pos x="5" y="8"/>
                      </a:cxn>
                      <a:cxn ang="0">
                        <a:pos x="4" y="10"/>
                      </a:cxn>
                      <a:cxn ang="0">
                        <a:pos x="2" y="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" h="10">
                        <a:moveTo>
                          <a:pt x="0" y="0"/>
                        </a:moveTo>
                        <a:cubicBezTo>
                          <a:pt x="1" y="0"/>
                          <a:pt x="2" y="1"/>
                          <a:pt x="3" y="1"/>
                        </a:cubicBezTo>
                        <a:cubicBezTo>
                          <a:pt x="3" y="2"/>
                          <a:pt x="3" y="4"/>
                          <a:pt x="3" y="5"/>
                        </a:cubicBezTo>
                        <a:cubicBezTo>
                          <a:pt x="4" y="6"/>
                          <a:pt x="4" y="7"/>
                          <a:pt x="5" y="8"/>
                        </a:cubicBezTo>
                        <a:cubicBezTo>
                          <a:pt x="4" y="8"/>
                          <a:pt x="4" y="9"/>
                          <a:pt x="4" y="10"/>
                        </a:cubicBezTo>
                        <a:cubicBezTo>
                          <a:pt x="3" y="9"/>
                          <a:pt x="2" y="7"/>
                          <a:pt x="2" y="5"/>
                        </a:cubicBezTo>
                        <a:cubicBezTo>
                          <a:pt x="1" y="3"/>
                          <a:pt x="1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345" name="Freeform 61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6" y="2696"/>
                    <a:ext cx="18" cy="32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9" y="19"/>
                      </a:cxn>
                      <a:cxn ang="0">
                        <a:pos x="10" y="17"/>
                      </a:cxn>
                      <a:cxn ang="0">
                        <a:pos x="10" y="14"/>
                      </a:cxn>
                      <a:cxn ang="0">
                        <a:pos x="10" y="10"/>
                      </a:cxn>
                      <a:cxn ang="0">
                        <a:pos x="8" y="7"/>
                      </a:cxn>
                      <a:cxn ang="0">
                        <a:pos x="6" y="5"/>
                      </a:cxn>
                      <a:cxn ang="0">
                        <a:pos x="4" y="4"/>
                      </a:cxn>
                      <a:cxn ang="0">
                        <a:pos x="3" y="6"/>
                      </a:cxn>
                      <a:cxn ang="0">
                        <a:pos x="0" y="4"/>
                      </a:cxn>
                      <a:cxn ang="0">
                        <a:pos x="3" y="0"/>
                      </a:cxn>
                      <a:cxn ang="0">
                        <a:pos x="6" y="2"/>
                      </a:cxn>
                      <a:cxn ang="0">
                        <a:pos x="9" y="5"/>
                      </a:cxn>
                      <a:cxn ang="0">
                        <a:pos x="11" y="10"/>
                      </a:cxn>
                      <a:cxn ang="0">
                        <a:pos x="13" y="15"/>
                      </a:cxn>
                      <a:cxn ang="0">
                        <a:pos x="13" y="19"/>
                      </a:cxn>
                      <a:cxn ang="0">
                        <a:pos x="11" y="23"/>
                      </a:cxn>
                      <a:cxn ang="0">
                        <a:pos x="6" y="21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3" h="23">
                        <a:moveTo>
                          <a:pt x="7" y="18"/>
                        </a:moveTo>
                        <a:cubicBezTo>
                          <a:pt x="8" y="19"/>
                          <a:pt x="9" y="19"/>
                          <a:pt x="9" y="19"/>
                        </a:cubicBezTo>
                        <a:cubicBezTo>
                          <a:pt x="10" y="19"/>
                          <a:pt x="10" y="18"/>
                          <a:pt x="10" y="17"/>
                        </a:cubicBezTo>
                        <a:cubicBezTo>
                          <a:pt x="11" y="16"/>
                          <a:pt x="11" y="15"/>
                          <a:pt x="10" y="14"/>
                        </a:cubicBezTo>
                        <a:cubicBezTo>
                          <a:pt x="10" y="13"/>
                          <a:pt x="10" y="12"/>
                          <a:pt x="10" y="10"/>
                        </a:cubicBezTo>
                        <a:cubicBezTo>
                          <a:pt x="9" y="9"/>
                          <a:pt x="9" y="8"/>
                          <a:pt x="8" y="7"/>
                        </a:cubicBezTo>
                        <a:cubicBezTo>
                          <a:pt x="8" y="6"/>
                          <a:pt x="7" y="5"/>
                          <a:pt x="6" y="5"/>
                        </a:cubicBezTo>
                        <a:cubicBezTo>
                          <a:pt x="5" y="4"/>
                          <a:pt x="4" y="4"/>
                          <a:pt x="4" y="4"/>
                        </a:cubicBezTo>
                        <a:cubicBezTo>
                          <a:pt x="3" y="4"/>
                          <a:pt x="3" y="5"/>
                          <a:pt x="3" y="6"/>
                        </a:cubicBezTo>
                        <a:cubicBezTo>
                          <a:pt x="2" y="6"/>
                          <a:pt x="1" y="5"/>
                          <a:pt x="0" y="4"/>
                        </a:cubicBezTo>
                        <a:cubicBezTo>
                          <a:pt x="1" y="2"/>
                          <a:pt x="1" y="0"/>
                          <a:pt x="3" y="0"/>
                        </a:cubicBezTo>
                        <a:cubicBezTo>
                          <a:pt x="4" y="0"/>
                          <a:pt x="5" y="0"/>
                          <a:pt x="6" y="2"/>
                        </a:cubicBezTo>
                        <a:cubicBezTo>
                          <a:pt x="7" y="2"/>
                          <a:pt x="8" y="3"/>
                          <a:pt x="9" y="5"/>
                        </a:cubicBezTo>
                        <a:cubicBezTo>
                          <a:pt x="10" y="6"/>
                          <a:pt x="11" y="8"/>
                          <a:pt x="11" y="10"/>
                        </a:cubicBezTo>
                        <a:cubicBezTo>
                          <a:pt x="12" y="12"/>
                          <a:pt x="12" y="14"/>
                          <a:pt x="13" y="15"/>
                        </a:cubicBezTo>
                        <a:cubicBezTo>
                          <a:pt x="13" y="17"/>
                          <a:pt x="13" y="18"/>
                          <a:pt x="13" y="19"/>
                        </a:cubicBezTo>
                        <a:cubicBezTo>
                          <a:pt x="12" y="21"/>
                          <a:pt x="12" y="23"/>
                          <a:pt x="11" y="23"/>
                        </a:cubicBezTo>
                        <a:cubicBezTo>
                          <a:pt x="9" y="23"/>
                          <a:pt x="8" y="23"/>
                          <a:pt x="6" y="21"/>
                        </a:cubicBezTo>
                        <a:cubicBezTo>
                          <a:pt x="6" y="20"/>
                          <a:pt x="7" y="19"/>
                          <a:pt x="7" y="18"/>
                        </a:cubicBezTo>
                        <a:close/>
                      </a:path>
                    </a:pathLst>
                  </a:custGeom>
                  <a:solidFill>
                    <a:srgbClr val="8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48" name="Oval 612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3604" y="2686"/>
                  <a:ext cx="890" cy="154"/>
                </a:xfrm>
                <a:prstGeom prst="ellipse">
                  <a:avLst/>
                </a:prstGeom>
                <a:solidFill>
                  <a:srgbClr val="9C9D9F"/>
                </a:soli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49" name="Oval 613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3663" y="2749"/>
                  <a:ext cx="772" cy="10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131313"/>
                    </a:gs>
                    <a:gs pos="100000">
                      <a:srgbClr val="131313">
                        <a:gamma/>
                        <a:tint val="50588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50" name="Freeform 614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3606" y="2769"/>
                  <a:ext cx="886" cy="190"/>
                </a:xfrm>
                <a:custGeom>
                  <a:avLst/>
                  <a:gdLst/>
                  <a:ahLst/>
                  <a:cxnLst>
                    <a:cxn ang="0">
                      <a:pos x="317" y="51"/>
                    </a:cxn>
                    <a:cxn ang="0">
                      <a:pos x="0" y="0"/>
                    </a:cxn>
                    <a:cxn ang="0">
                      <a:pos x="317" y="136"/>
                    </a:cxn>
                    <a:cxn ang="0">
                      <a:pos x="633" y="0"/>
                    </a:cxn>
                    <a:cxn ang="0">
                      <a:pos x="317" y="51"/>
                    </a:cxn>
                  </a:cxnLst>
                  <a:rect l="0" t="0" r="r" b="b"/>
                  <a:pathLst>
                    <a:path w="633" h="136">
                      <a:moveTo>
                        <a:pt x="317" y="51"/>
                      </a:moveTo>
                      <a:cubicBezTo>
                        <a:pt x="149" y="51"/>
                        <a:pt x="13" y="29"/>
                        <a:pt x="0" y="0"/>
                      </a:cubicBezTo>
                      <a:cubicBezTo>
                        <a:pt x="13" y="76"/>
                        <a:pt x="150" y="136"/>
                        <a:pt x="317" y="136"/>
                      </a:cubicBezTo>
                      <a:cubicBezTo>
                        <a:pt x="484" y="136"/>
                        <a:pt x="621" y="76"/>
                        <a:pt x="633" y="0"/>
                      </a:cubicBezTo>
                      <a:cubicBezTo>
                        <a:pt x="621" y="29"/>
                        <a:pt x="484" y="51"/>
                        <a:pt x="317" y="5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6E6E6E"/>
                    </a:gs>
                    <a:gs pos="50000">
                      <a:srgbClr val="6E6E6E">
                        <a:gamma/>
                        <a:tint val="26275"/>
                        <a:invGamma/>
                      </a:srgbClr>
                    </a:gs>
                    <a:gs pos="100000">
                      <a:srgbClr val="6E6E6E"/>
                    </a:gs>
                  </a:gsLst>
                  <a:lin ang="0" scaled="1"/>
                </a:gra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51" name="Freeform 615" descr="© INSCALE GmbH, 26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3604" y="2686"/>
                  <a:ext cx="890" cy="154"/>
                </a:xfrm>
                <a:custGeom>
                  <a:avLst/>
                  <a:gdLst/>
                  <a:ahLst/>
                  <a:cxnLst>
                    <a:cxn ang="0">
                      <a:pos x="318" y="0"/>
                    </a:cxn>
                    <a:cxn ang="0">
                      <a:pos x="0" y="55"/>
                    </a:cxn>
                    <a:cxn ang="0">
                      <a:pos x="318" y="110"/>
                    </a:cxn>
                    <a:cxn ang="0">
                      <a:pos x="635" y="55"/>
                    </a:cxn>
                    <a:cxn ang="0">
                      <a:pos x="318" y="0"/>
                    </a:cxn>
                    <a:cxn ang="0">
                      <a:pos x="318" y="108"/>
                    </a:cxn>
                    <a:cxn ang="0">
                      <a:pos x="14" y="55"/>
                    </a:cxn>
                    <a:cxn ang="0">
                      <a:pos x="318" y="3"/>
                    </a:cxn>
                    <a:cxn ang="0">
                      <a:pos x="621" y="55"/>
                    </a:cxn>
                    <a:cxn ang="0">
                      <a:pos x="318" y="108"/>
                    </a:cxn>
                  </a:cxnLst>
                  <a:rect l="0" t="0" r="r" b="b"/>
                  <a:pathLst>
                    <a:path w="635" h="110">
                      <a:moveTo>
                        <a:pt x="318" y="0"/>
                      </a:moveTo>
                      <a:cubicBezTo>
                        <a:pt x="142" y="0"/>
                        <a:pt x="0" y="25"/>
                        <a:pt x="0" y="55"/>
                      </a:cubicBezTo>
                      <a:cubicBezTo>
                        <a:pt x="0" y="85"/>
                        <a:pt x="142" y="110"/>
                        <a:pt x="318" y="110"/>
                      </a:cubicBezTo>
                      <a:cubicBezTo>
                        <a:pt x="493" y="110"/>
                        <a:pt x="635" y="85"/>
                        <a:pt x="635" y="55"/>
                      </a:cubicBezTo>
                      <a:cubicBezTo>
                        <a:pt x="635" y="25"/>
                        <a:pt x="493" y="0"/>
                        <a:pt x="318" y="0"/>
                      </a:cubicBezTo>
                      <a:close/>
                      <a:moveTo>
                        <a:pt x="318" y="108"/>
                      </a:moveTo>
                      <a:cubicBezTo>
                        <a:pt x="150" y="108"/>
                        <a:pt x="14" y="84"/>
                        <a:pt x="14" y="55"/>
                      </a:cubicBezTo>
                      <a:cubicBezTo>
                        <a:pt x="14" y="26"/>
                        <a:pt x="150" y="3"/>
                        <a:pt x="318" y="3"/>
                      </a:cubicBezTo>
                      <a:cubicBezTo>
                        <a:pt x="485" y="3"/>
                        <a:pt x="621" y="26"/>
                        <a:pt x="621" y="55"/>
                      </a:cubicBezTo>
                      <a:cubicBezTo>
                        <a:pt x="621" y="84"/>
                        <a:pt x="485" y="108"/>
                        <a:pt x="318" y="108"/>
                      </a:cubicBezTo>
                      <a:close/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  <p:grpSp>
            <p:nvGrpSpPr>
              <p:cNvPr id="35" name="Group 616"/>
              <p:cNvGrpSpPr>
                <a:grpSpLocks/>
              </p:cNvGrpSpPr>
              <p:nvPr/>
            </p:nvGrpSpPr>
            <p:grpSpPr bwMode="gray">
              <a:xfrm>
                <a:off x="2687638" y="2157413"/>
                <a:ext cx="3783012" cy="387350"/>
                <a:chOff x="1693" y="1359"/>
                <a:chExt cx="2383" cy="244"/>
              </a:xfrm>
            </p:grpSpPr>
            <p:sp>
              <p:nvSpPr>
                <p:cNvPr id="38" name="Freeform 617" descr="© INSCALE GmbH, 26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1693" y="1359"/>
                  <a:ext cx="2383" cy="244"/>
                </a:xfrm>
                <a:custGeom>
                  <a:avLst/>
                  <a:gdLst/>
                  <a:ahLst/>
                  <a:cxnLst>
                    <a:cxn ang="0">
                      <a:pos x="1696" y="87"/>
                    </a:cxn>
                    <a:cxn ang="0">
                      <a:pos x="1671" y="77"/>
                    </a:cxn>
                    <a:cxn ang="0">
                      <a:pos x="1179" y="70"/>
                    </a:cxn>
                    <a:cxn ang="0">
                      <a:pos x="992" y="58"/>
                    </a:cxn>
                    <a:cxn ang="0">
                      <a:pos x="975" y="55"/>
                    </a:cxn>
                    <a:cxn ang="0">
                      <a:pos x="907" y="25"/>
                    </a:cxn>
                    <a:cxn ang="0">
                      <a:pos x="905" y="24"/>
                    </a:cxn>
                    <a:cxn ang="0">
                      <a:pos x="802" y="24"/>
                    </a:cxn>
                    <a:cxn ang="0">
                      <a:pos x="798" y="27"/>
                    </a:cxn>
                    <a:cxn ang="0">
                      <a:pos x="766" y="44"/>
                    </a:cxn>
                    <a:cxn ang="0">
                      <a:pos x="564" y="68"/>
                    </a:cxn>
                    <a:cxn ang="0">
                      <a:pos x="144" y="76"/>
                    </a:cxn>
                    <a:cxn ang="0">
                      <a:pos x="24" y="70"/>
                    </a:cxn>
                    <a:cxn ang="0">
                      <a:pos x="12" y="93"/>
                    </a:cxn>
                    <a:cxn ang="0">
                      <a:pos x="22" y="135"/>
                    </a:cxn>
                    <a:cxn ang="0">
                      <a:pos x="36" y="96"/>
                    </a:cxn>
                    <a:cxn ang="0">
                      <a:pos x="531" y="104"/>
                    </a:cxn>
                    <a:cxn ang="0">
                      <a:pos x="765" y="129"/>
                    </a:cxn>
                    <a:cxn ang="0">
                      <a:pos x="796" y="145"/>
                    </a:cxn>
                    <a:cxn ang="0">
                      <a:pos x="802" y="149"/>
                    </a:cxn>
                    <a:cxn ang="0">
                      <a:pos x="899" y="154"/>
                    </a:cxn>
                    <a:cxn ang="0">
                      <a:pos x="981" y="118"/>
                    </a:cxn>
                    <a:cxn ang="0">
                      <a:pos x="1206" y="103"/>
                    </a:cxn>
                    <a:cxn ang="0">
                      <a:pos x="1609" y="97"/>
                    </a:cxn>
                    <a:cxn ang="0">
                      <a:pos x="1657" y="113"/>
                    </a:cxn>
                    <a:cxn ang="0">
                      <a:pos x="1702" y="113"/>
                    </a:cxn>
                    <a:cxn ang="0">
                      <a:pos x="37" y="113"/>
                    </a:cxn>
                    <a:cxn ang="0">
                      <a:pos x="6" y="113"/>
                    </a:cxn>
                    <a:cxn ang="0">
                      <a:pos x="24" y="104"/>
                    </a:cxn>
                    <a:cxn ang="0">
                      <a:pos x="37" y="113"/>
                    </a:cxn>
                    <a:cxn ang="0">
                      <a:pos x="1664" y="113"/>
                    </a:cxn>
                    <a:cxn ang="0">
                      <a:pos x="1682" y="104"/>
                    </a:cxn>
                    <a:cxn ang="0">
                      <a:pos x="1695" y="113"/>
                    </a:cxn>
                  </a:cxnLst>
                  <a:rect l="0" t="0" r="r" b="b"/>
                  <a:pathLst>
                    <a:path w="1702" h="174">
                      <a:moveTo>
                        <a:pt x="1694" y="96"/>
                      </a:moveTo>
                      <a:cubicBezTo>
                        <a:pt x="1695" y="93"/>
                        <a:pt x="1696" y="90"/>
                        <a:pt x="1696" y="87"/>
                      </a:cubicBezTo>
                      <a:cubicBezTo>
                        <a:pt x="1696" y="77"/>
                        <a:pt x="1690" y="70"/>
                        <a:pt x="1682" y="70"/>
                      </a:cubicBezTo>
                      <a:cubicBezTo>
                        <a:pt x="1677" y="70"/>
                        <a:pt x="1673" y="73"/>
                        <a:pt x="1671" y="77"/>
                      </a:cubicBezTo>
                      <a:cubicBezTo>
                        <a:pt x="1584" y="77"/>
                        <a:pt x="1497" y="76"/>
                        <a:pt x="1410" y="76"/>
                      </a:cubicBezTo>
                      <a:cubicBezTo>
                        <a:pt x="1333" y="75"/>
                        <a:pt x="1256" y="74"/>
                        <a:pt x="1179" y="70"/>
                      </a:cubicBezTo>
                      <a:cubicBezTo>
                        <a:pt x="1136" y="68"/>
                        <a:pt x="1093" y="66"/>
                        <a:pt x="1050" y="63"/>
                      </a:cubicBezTo>
                      <a:cubicBezTo>
                        <a:pt x="1031" y="62"/>
                        <a:pt x="1011" y="61"/>
                        <a:pt x="992" y="58"/>
                      </a:cubicBezTo>
                      <a:cubicBezTo>
                        <a:pt x="989" y="58"/>
                        <a:pt x="984" y="57"/>
                        <a:pt x="979" y="56"/>
                      </a:cubicBezTo>
                      <a:cubicBezTo>
                        <a:pt x="978" y="55"/>
                        <a:pt x="977" y="55"/>
                        <a:pt x="975" y="55"/>
                      </a:cubicBezTo>
                      <a:cubicBezTo>
                        <a:pt x="967" y="53"/>
                        <a:pt x="958" y="51"/>
                        <a:pt x="949" y="48"/>
                      </a:cubicBezTo>
                      <a:cubicBezTo>
                        <a:pt x="918" y="37"/>
                        <a:pt x="907" y="25"/>
                        <a:pt x="907" y="25"/>
                      </a:cubicBezTo>
                      <a:cubicBezTo>
                        <a:pt x="906" y="25"/>
                        <a:pt x="905" y="24"/>
                        <a:pt x="905" y="24"/>
                      </a:cubicBezTo>
                      <a:cubicBezTo>
                        <a:pt x="905" y="24"/>
                        <a:pt x="905" y="24"/>
                        <a:pt x="905" y="24"/>
                      </a:cubicBezTo>
                      <a:cubicBezTo>
                        <a:pt x="875" y="0"/>
                        <a:pt x="832" y="0"/>
                        <a:pt x="802" y="24"/>
                      </a:cubicBezTo>
                      <a:cubicBezTo>
                        <a:pt x="802" y="24"/>
                        <a:pt x="802" y="24"/>
                        <a:pt x="802" y="24"/>
                      </a:cubicBezTo>
                      <a:cubicBezTo>
                        <a:pt x="801" y="25"/>
                        <a:pt x="799" y="26"/>
                        <a:pt x="798" y="27"/>
                      </a:cubicBezTo>
                      <a:cubicBezTo>
                        <a:pt x="798" y="27"/>
                        <a:pt x="798" y="27"/>
                        <a:pt x="798" y="27"/>
                      </a:cubicBezTo>
                      <a:cubicBezTo>
                        <a:pt x="789" y="34"/>
                        <a:pt x="778" y="39"/>
                        <a:pt x="765" y="44"/>
                      </a:cubicBezTo>
                      <a:cubicBezTo>
                        <a:pt x="766" y="44"/>
                        <a:pt x="766" y="44"/>
                        <a:pt x="766" y="44"/>
                      </a:cubicBezTo>
                      <a:cubicBezTo>
                        <a:pt x="734" y="57"/>
                        <a:pt x="700" y="60"/>
                        <a:pt x="667" y="62"/>
                      </a:cubicBezTo>
                      <a:cubicBezTo>
                        <a:pt x="632" y="64"/>
                        <a:pt x="598" y="66"/>
                        <a:pt x="564" y="68"/>
                      </a:cubicBezTo>
                      <a:cubicBezTo>
                        <a:pt x="515" y="70"/>
                        <a:pt x="467" y="74"/>
                        <a:pt x="418" y="74"/>
                      </a:cubicBezTo>
                      <a:cubicBezTo>
                        <a:pt x="327" y="75"/>
                        <a:pt x="235" y="75"/>
                        <a:pt x="144" y="76"/>
                      </a:cubicBezTo>
                      <a:cubicBezTo>
                        <a:pt x="108" y="76"/>
                        <a:pt x="72" y="76"/>
                        <a:pt x="35" y="77"/>
                      </a:cubicBezTo>
                      <a:cubicBezTo>
                        <a:pt x="33" y="72"/>
                        <a:pt x="29" y="70"/>
                        <a:pt x="24" y="70"/>
                      </a:cubicBezTo>
                      <a:cubicBezTo>
                        <a:pt x="17" y="70"/>
                        <a:pt x="10" y="77"/>
                        <a:pt x="10" y="87"/>
                      </a:cubicBezTo>
                      <a:cubicBezTo>
                        <a:pt x="10" y="89"/>
                        <a:pt x="11" y="91"/>
                        <a:pt x="12" y="93"/>
                      </a:cubicBezTo>
                      <a:cubicBezTo>
                        <a:pt x="4" y="97"/>
                        <a:pt x="0" y="104"/>
                        <a:pt x="0" y="113"/>
                      </a:cubicBezTo>
                      <a:cubicBezTo>
                        <a:pt x="0" y="125"/>
                        <a:pt x="10" y="135"/>
                        <a:pt x="22" y="135"/>
                      </a:cubicBezTo>
                      <a:cubicBezTo>
                        <a:pt x="34" y="135"/>
                        <a:pt x="44" y="125"/>
                        <a:pt x="44" y="113"/>
                      </a:cubicBezTo>
                      <a:cubicBezTo>
                        <a:pt x="44" y="106"/>
                        <a:pt x="41" y="100"/>
                        <a:pt x="36" y="96"/>
                      </a:cubicBezTo>
                      <a:cubicBezTo>
                        <a:pt x="124" y="97"/>
                        <a:pt x="211" y="97"/>
                        <a:pt x="298" y="98"/>
                      </a:cubicBezTo>
                      <a:cubicBezTo>
                        <a:pt x="376" y="98"/>
                        <a:pt x="453" y="100"/>
                        <a:pt x="531" y="104"/>
                      </a:cubicBezTo>
                      <a:cubicBezTo>
                        <a:pt x="572" y="106"/>
                        <a:pt x="613" y="108"/>
                        <a:pt x="654" y="110"/>
                      </a:cubicBezTo>
                      <a:cubicBezTo>
                        <a:pt x="691" y="113"/>
                        <a:pt x="731" y="114"/>
                        <a:pt x="765" y="129"/>
                      </a:cubicBezTo>
                      <a:cubicBezTo>
                        <a:pt x="765" y="129"/>
                        <a:pt x="765" y="129"/>
                        <a:pt x="765" y="129"/>
                      </a:cubicBezTo>
                      <a:cubicBezTo>
                        <a:pt x="777" y="134"/>
                        <a:pt x="788" y="139"/>
                        <a:pt x="796" y="145"/>
                      </a:cubicBezTo>
                      <a:cubicBezTo>
                        <a:pt x="798" y="146"/>
                        <a:pt x="800" y="148"/>
                        <a:pt x="802" y="149"/>
                      </a:cubicBezTo>
                      <a:cubicBezTo>
                        <a:pt x="802" y="149"/>
                        <a:pt x="802" y="149"/>
                        <a:pt x="802" y="149"/>
                      </a:cubicBezTo>
                      <a:cubicBezTo>
                        <a:pt x="802" y="149"/>
                        <a:pt x="802" y="149"/>
                        <a:pt x="802" y="149"/>
                      </a:cubicBezTo>
                      <a:cubicBezTo>
                        <a:pt x="829" y="172"/>
                        <a:pt x="870" y="174"/>
                        <a:pt x="899" y="154"/>
                      </a:cubicBezTo>
                      <a:cubicBezTo>
                        <a:pt x="901" y="153"/>
                        <a:pt x="903" y="151"/>
                        <a:pt x="904" y="150"/>
                      </a:cubicBezTo>
                      <a:cubicBezTo>
                        <a:pt x="907" y="148"/>
                        <a:pt x="930" y="127"/>
                        <a:pt x="981" y="118"/>
                      </a:cubicBezTo>
                      <a:cubicBezTo>
                        <a:pt x="989" y="116"/>
                        <a:pt x="999" y="115"/>
                        <a:pt x="1010" y="114"/>
                      </a:cubicBezTo>
                      <a:cubicBezTo>
                        <a:pt x="1075" y="108"/>
                        <a:pt x="1141" y="105"/>
                        <a:pt x="1206" y="103"/>
                      </a:cubicBezTo>
                      <a:cubicBezTo>
                        <a:pt x="1237" y="101"/>
                        <a:pt x="1267" y="99"/>
                        <a:pt x="1298" y="99"/>
                      </a:cubicBezTo>
                      <a:cubicBezTo>
                        <a:pt x="1402" y="98"/>
                        <a:pt x="1505" y="98"/>
                        <a:pt x="1609" y="97"/>
                      </a:cubicBezTo>
                      <a:cubicBezTo>
                        <a:pt x="1628" y="97"/>
                        <a:pt x="1646" y="97"/>
                        <a:pt x="1664" y="97"/>
                      </a:cubicBezTo>
                      <a:cubicBezTo>
                        <a:pt x="1660" y="101"/>
                        <a:pt x="1657" y="107"/>
                        <a:pt x="1657" y="113"/>
                      </a:cubicBezTo>
                      <a:cubicBezTo>
                        <a:pt x="1657" y="125"/>
                        <a:pt x="1667" y="135"/>
                        <a:pt x="1680" y="135"/>
                      </a:cubicBezTo>
                      <a:cubicBezTo>
                        <a:pt x="1692" y="135"/>
                        <a:pt x="1702" y="125"/>
                        <a:pt x="1702" y="113"/>
                      </a:cubicBezTo>
                      <a:cubicBezTo>
                        <a:pt x="1702" y="106"/>
                        <a:pt x="1699" y="100"/>
                        <a:pt x="1694" y="96"/>
                      </a:cubicBezTo>
                      <a:close/>
                      <a:moveTo>
                        <a:pt x="37" y="113"/>
                      </a:moveTo>
                      <a:cubicBezTo>
                        <a:pt x="37" y="121"/>
                        <a:pt x="30" y="128"/>
                        <a:pt x="22" y="128"/>
                      </a:cubicBezTo>
                      <a:cubicBezTo>
                        <a:pt x="13" y="128"/>
                        <a:pt x="6" y="121"/>
                        <a:pt x="6" y="113"/>
                      </a:cubicBezTo>
                      <a:cubicBezTo>
                        <a:pt x="6" y="107"/>
                        <a:pt x="10" y="102"/>
                        <a:pt x="15" y="99"/>
                      </a:cubicBezTo>
                      <a:cubicBezTo>
                        <a:pt x="17" y="102"/>
                        <a:pt x="21" y="104"/>
                        <a:pt x="24" y="104"/>
                      </a:cubicBezTo>
                      <a:cubicBezTo>
                        <a:pt x="27" y="104"/>
                        <a:pt x="30" y="103"/>
                        <a:pt x="32" y="101"/>
                      </a:cubicBezTo>
                      <a:cubicBezTo>
                        <a:pt x="35" y="104"/>
                        <a:pt x="37" y="108"/>
                        <a:pt x="37" y="113"/>
                      </a:cubicBezTo>
                      <a:close/>
                      <a:moveTo>
                        <a:pt x="1680" y="128"/>
                      </a:moveTo>
                      <a:cubicBezTo>
                        <a:pt x="1671" y="128"/>
                        <a:pt x="1664" y="121"/>
                        <a:pt x="1664" y="113"/>
                      </a:cubicBezTo>
                      <a:cubicBezTo>
                        <a:pt x="1664" y="107"/>
                        <a:pt x="1668" y="102"/>
                        <a:pt x="1673" y="99"/>
                      </a:cubicBezTo>
                      <a:cubicBezTo>
                        <a:pt x="1675" y="102"/>
                        <a:pt x="1679" y="104"/>
                        <a:pt x="1682" y="104"/>
                      </a:cubicBezTo>
                      <a:cubicBezTo>
                        <a:pt x="1685" y="104"/>
                        <a:pt x="1687" y="103"/>
                        <a:pt x="1689" y="101"/>
                      </a:cubicBezTo>
                      <a:cubicBezTo>
                        <a:pt x="1693" y="104"/>
                        <a:pt x="1695" y="108"/>
                        <a:pt x="1695" y="113"/>
                      </a:cubicBezTo>
                      <a:cubicBezTo>
                        <a:pt x="1695" y="121"/>
                        <a:pt x="1688" y="128"/>
                        <a:pt x="1680" y="12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6E6E6E"/>
                    </a:gs>
                    <a:gs pos="50000">
                      <a:srgbClr val="6E6E6E">
                        <a:gamma/>
                        <a:tint val="22353"/>
                        <a:invGamma/>
                      </a:srgbClr>
                    </a:gs>
                    <a:gs pos="100000">
                      <a:srgbClr val="6E6E6E"/>
                    </a:gs>
                  </a:gsLst>
                  <a:lin ang="2700000" scaled="1"/>
                </a:gra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45" name="Oval 618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2864" y="1453"/>
                  <a:ext cx="65" cy="67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46" name="Oval 619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2858" y="1450"/>
                  <a:ext cx="66" cy="6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B2B2B2"/>
                    </a:gs>
                    <a:gs pos="100000">
                      <a:srgbClr val="808080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</p:grpSp>
        <p:pic>
          <p:nvPicPr>
            <p:cNvPr id="653" name="Picture 8"/>
            <p:cNvPicPr>
              <a:picLocks noChangeAspect="1" noChangeArrowheads="1"/>
            </p:cNvPicPr>
            <p:nvPr/>
          </p:nvPicPr>
          <p:blipFill>
            <a:blip r:embed="rId6" cstate="print">
              <a:lum bright="40000"/>
            </a:blip>
            <a:srcRect/>
            <a:stretch>
              <a:fillRect/>
            </a:stretch>
          </p:blipFill>
          <p:spPr bwMode="gray">
            <a:xfrm>
              <a:off x="4687335" y="5918360"/>
              <a:ext cx="1824392" cy="224019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pic>
          <p:nvPicPr>
            <p:cNvPr id="654" name="Picture 8"/>
            <p:cNvPicPr>
              <a:picLocks noChangeAspect="1" noChangeArrowheads="1"/>
            </p:cNvPicPr>
            <p:nvPr/>
          </p:nvPicPr>
          <p:blipFill>
            <a:blip r:embed="rId6" cstate="print">
              <a:lum bright="40000"/>
            </a:blip>
            <a:srcRect/>
            <a:stretch>
              <a:fillRect/>
            </a:stretch>
          </p:blipFill>
          <p:spPr bwMode="gray">
            <a:xfrm>
              <a:off x="2632273" y="5918360"/>
              <a:ext cx="1824392" cy="224019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168582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Concepts </a:t>
            </a:r>
            <a:r>
              <a:rPr lang="en-US" b="0" noProof="1" smtClean="0"/>
              <a:t>- Dimension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tzhalter für Ihre eigene Subheadline</a:t>
            </a:r>
          </a:p>
          <a:p>
            <a:endParaRPr lang="en-US" noProof="1"/>
          </a:p>
        </p:txBody>
      </p:sp>
      <p:grpSp>
        <p:nvGrpSpPr>
          <p:cNvPr id="15" name="Gruppieren 53"/>
          <p:cNvGrpSpPr/>
          <p:nvPr/>
        </p:nvGrpSpPr>
        <p:grpSpPr bwMode="gray">
          <a:xfrm>
            <a:off x="0" y="2743453"/>
            <a:ext cx="9144000" cy="1341120"/>
            <a:chOff x="0" y="4236720"/>
            <a:chExt cx="9144000" cy="1341120"/>
          </a:xfrm>
        </p:grpSpPr>
        <p:sp>
          <p:nvSpPr>
            <p:cNvPr id="16" name="Rechteck 15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7" name="Rechteck 16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611501" y="2818770"/>
            <a:ext cx="7231162" cy="3034196"/>
            <a:chOff x="611501" y="2818770"/>
            <a:chExt cx="7231162" cy="3034196"/>
          </a:xfrm>
        </p:grpSpPr>
        <p:grpSp>
          <p:nvGrpSpPr>
            <p:cNvPr id="43" name="Gruppieren 42"/>
            <p:cNvGrpSpPr/>
            <p:nvPr/>
          </p:nvGrpSpPr>
          <p:grpSpPr bwMode="gray">
            <a:xfrm>
              <a:off x="2792321" y="2818770"/>
              <a:ext cx="3559358" cy="2561836"/>
              <a:chOff x="3436427" y="2312445"/>
              <a:chExt cx="3559358" cy="2561836"/>
            </a:xfrm>
            <a:scene3d>
              <a:camera prst="perspectiveRelaxed">
                <a:rot lat="17705693" lon="2406898" rev="19020000"/>
              </a:camera>
              <a:lightRig rig="balanced" dir="t"/>
            </a:scene3d>
          </p:grpSpPr>
          <p:grpSp>
            <p:nvGrpSpPr>
              <p:cNvPr id="42" name="Gruppieren 41"/>
              <p:cNvGrpSpPr/>
              <p:nvPr/>
            </p:nvGrpSpPr>
            <p:grpSpPr bwMode="gray">
              <a:xfrm>
                <a:off x="3436428" y="2312447"/>
                <a:ext cx="3559357" cy="2561834"/>
                <a:chOff x="-898707" y="2312447"/>
                <a:chExt cx="3559357" cy="2561834"/>
              </a:xfrm>
            </p:grpSpPr>
            <p:sp>
              <p:nvSpPr>
                <p:cNvPr id="18" name="Rechteck 17"/>
                <p:cNvSpPr/>
                <p:nvPr/>
              </p:nvSpPr>
              <p:spPr bwMode="gray">
                <a:xfrm>
                  <a:off x="-898707" y="231244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19" name="Rechteck 18"/>
                <p:cNvSpPr/>
                <p:nvPr/>
              </p:nvSpPr>
              <p:spPr bwMode="gray">
                <a:xfrm>
                  <a:off x="297822" y="2312447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0" name="Rechteck 19"/>
                <p:cNvSpPr/>
                <p:nvPr/>
              </p:nvSpPr>
              <p:spPr bwMode="gray">
                <a:xfrm>
                  <a:off x="1494350" y="231244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228600" sx="110000" sy="110000" algn="ctr" rotWithShape="0">
                    <a:prstClr val="black">
                      <a:alpha val="56000"/>
                    </a:prstClr>
                  </a:outerShdw>
                </a:effectLst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1" name="Rechteck 20"/>
                <p:cNvSpPr/>
                <p:nvPr/>
              </p:nvSpPr>
              <p:spPr bwMode="gray">
                <a:xfrm>
                  <a:off x="-898707" y="360847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228600" sx="110000" sy="110000" algn="ctr" rotWithShape="0">
                    <a:prstClr val="black">
                      <a:alpha val="56000"/>
                    </a:prstClr>
                  </a:outerShdw>
                </a:effectLst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2" name="Rechteck 21"/>
                <p:cNvSpPr/>
                <p:nvPr/>
              </p:nvSpPr>
              <p:spPr bwMode="gray">
                <a:xfrm>
                  <a:off x="297822" y="360847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228600" sx="110000" sy="110000" algn="ctr" rotWithShape="0">
                    <a:prstClr val="black">
                      <a:alpha val="56000"/>
                    </a:prstClr>
                  </a:outerShdw>
                </a:effectLst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3" name="Rechteck 22"/>
                <p:cNvSpPr/>
                <p:nvPr/>
              </p:nvSpPr>
              <p:spPr bwMode="gray">
                <a:xfrm>
                  <a:off x="1494350" y="360847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228600" sx="110000" sy="110000" algn="ctr" rotWithShape="0">
                    <a:prstClr val="black">
                      <a:alpha val="56000"/>
                    </a:prstClr>
                  </a:outerShdw>
                </a:effectLst>
                <a:sp3d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</p:grpSp>
          <p:grpSp>
            <p:nvGrpSpPr>
              <p:cNvPr id="40" name="Gruppieren 39"/>
              <p:cNvGrpSpPr/>
              <p:nvPr/>
            </p:nvGrpSpPr>
            <p:grpSpPr bwMode="gray">
              <a:xfrm>
                <a:off x="3436428" y="2312445"/>
                <a:ext cx="3559357" cy="2561835"/>
                <a:chOff x="7771562" y="2312445"/>
                <a:chExt cx="3559357" cy="2561835"/>
              </a:xfrm>
            </p:grpSpPr>
            <p:sp>
              <p:nvSpPr>
                <p:cNvPr id="26" name="Rechteck 25"/>
                <p:cNvSpPr/>
                <p:nvPr/>
              </p:nvSpPr>
              <p:spPr bwMode="gray">
                <a:xfrm>
                  <a:off x="7771562" y="2312445"/>
                  <a:ext cx="1166300" cy="1265803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7" name="Rechteck 26"/>
                <p:cNvSpPr/>
                <p:nvPr/>
              </p:nvSpPr>
              <p:spPr bwMode="gray">
                <a:xfrm>
                  <a:off x="8968091" y="2312445"/>
                  <a:ext cx="1166300" cy="1265803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8" name="Rechteck 27"/>
                <p:cNvSpPr/>
                <p:nvPr/>
              </p:nvSpPr>
              <p:spPr bwMode="gray">
                <a:xfrm>
                  <a:off x="10164619" y="2312445"/>
                  <a:ext cx="1166300" cy="1265803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29" name="Rechteck 28"/>
                <p:cNvSpPr/>
                <p:nvPr/>
              </p:nvSpPr>
              <p:spPr bwMode="gray">
                <a:xfrm>
                  <a:off x="7771562" y="3608479"/>
                  <a:ext cx="1166300" cy="1265801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0" name="Rechteck 29"/>
                <p:cNvSpPr/>
                <p:nvPr/>
              </p:nvSpPr>
              <p:spPr bwMode="gray">
                <a:xfrm>
                  <a:off x="8968091" y="3608479"/>
                  <a:ext cx="1166300" cy="1265801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1" name="Rechteck 30"/>
                <p:cNvSpPr/>
                <p:nvPr/>
              </p:nvSpPr>
              <p:spPr bwMode="gray">
                <a:xfrm>
                  <a:off x="10164619" y="3608479"/>
                  <a:ext cx="1166300" cy="1265801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  <a:round/>
                  <a:headEnd/>
                  <a:tailEnd/>
                </a:ln>
                <a:sp3d z="8255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</p:grpSp>
          <p:grpSp>
            <p:nvGrpSpPr>
              <p:cNvPr id="41" name="Gruppieren 40"/>
              <p:cNvGrpSpPr/>
              <p:nvPr/>
            </p:nvGrpSpPr>
            <p:grpSpPr bwMode="gray">
              <a:xfrm>
                <a:off x="3436427" y="2312447"/>
                <a:ext cx="3559358" cy="2561834"/>
                <a:chOff x="3345246" y="2312447"/>
                <a:chExt cx="3559358" cy="2561834"/>
              </a:xfrm>
            </p:grpSpPr>
            <p:sp>
              <p:nvSpPr>
                <p:cNvPr id="33" name="Rechteck 32"/>
                <p:cNvSpPr/>
                <p:nvPr/>
              </p:nvSpPr>
              <p:spPr bwMode="gray">
                <a:xfrm>
                  <a:off x="3345246" y="2312449"/>
                  <a:ext cx="1166302" cy="12658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4" name="Rechteck 33"/>
                <p:cNvSpPr/>
                <p:nvPr/>
              </p:nvSpPr>
              <p:spPr bwMode="gray">
                <a:xfrm>
                  <a:off x="4541775" y="231244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5" name="Rechteck 34"/>
                <p:cNvSpPr/>
                <p:nvPr/>
              </p:nvSpPr>
              <p:spPr bwMode="gray">
                <a:xfrm>
                  <a:off x="5738304" y="2312447"/>
                  <a:ext cx="1166300" cy="126580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6" name="Rechteck 35"/>
                <p:cNvSpPr/>
                <p:nvPr/>
              </p:nvSpPr>
              <p:spPr bwMode="gray">
                <a:xfrm>
                  <a:off x="3345246" y="3608479"/>
                  <a:ext cx="1166302" cy="12658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7" name="Rechteck 36"/>
                <p:cNvSpPr/>
                <p:nvPr/>
              </p:nvSpPr>
              <p:spPr bwMode="gray">
                <a:xfrm>
                  <a:off x="4541775" y="3608479"/>
                  <a:ext cx="1166302" cy="12658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  <p:sp>
              <p:nvSpPr>
                <p:cNvPr id="38" name="Rechteck 37"/>
                <p:cNvSpPr/>
                <p:nvPr/>
              </p:nvSpPr>
              <p:spPr bwMode="gray">
                <a:xfrm>
                  <a:off x="5738304" y="3608479"/>
                  <a:ext cx="1166300" cy="12658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12700">
                  <a:noFill/>
                  <a:round/>
                  <a:headEnd/>
                  <a:tailEnd/>
                </a:ln>
                <a:sp3d z="1651000" extrusionH="762000">
                  <a:bevelT w="25400" h="25400"/>
                  <a:bevelB w="25400" h="25400"/>
                </a:sp3d>
              </p:spPr>
              <p:txBody>
                <a:bodyPr rtlCol="0" anchor="ctr"/>
                <a:lstStyle/>
                <a:p>
                  <a:pPr algn="ctr"/>
                  <a:endParaRPr lang="en-US" noProof="1"/>
                </a:p>
              </p:txBody>
            </p:sp>
          </p:grpSp>
        </p:grpSp>
        <p:sp>
          <p:nvSpPr>
            <p:cNvPr id="44" name="Textfeld 43"/>
            <p:cNvSpPr txBox="1"/>
            <p:nvPr/>
          </p:nvSpPr>
          <p:spPr bwMode="gray">
            <a:xfrm rot="302253">
              <a:off x="6794619" y="3242411"/>
              <a:ext cx="104804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>
                  <a:solidFill>
                    <a:schemeClr val="accent1"/>
                  </a:solidFill>
                </a:rPr>
                <a:t>strategic </a:t>
              </a:r>
              <a:br>
                <a:rPr lang="en-US" sz="1600" b="1" noProof="1" smtClean="0">
                  <a:solidFill>
                    <a:schemeClr val="accent1"/>
                  </a:solidFill>
                </a:rPr>
              </a:br>
              <a:r>
                <a:rPr lang="en-US" sz="1600" b="1" noProof="1" smtClean="0">
                  <a:solidFill>
                    <a:schemeClr val="accent1"/>
                  </a:solidFill>
                </a:rPr>
                <a:t>marketing</a:t>
              </a:r>
              <a:endParaRPr lang="en-US" sz="1600" b="1" noProof="1">
                <a:solidFill>
                  <a:schemeClr val="accent1"/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 bwMode="gray">
            <a:xfrm rot="420000">
              <a:off x="6374123" y="4714418"/>
              <a:ext cx="7093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ternal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6" name="Textfeld 45"/>
            <p:cNvSpPr txBox="1"/>
            <p:nvPr/>
          </p:nvSpPr>
          <p:spPr bwMode="gray">
            <a:xfrm rot="420000">
              <a:off x="6144362" y="5189206"/>
              <a:ext cx="68473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nal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7" name="Textfeld 46"/>
            <p:cNvSpPr txBox="1"/>
            <p:nvPr/>
          </p:nvSpPr>
          <p:spPr bwMode="gray">
            <a:xfrm rot="425622">
              <a:off x="5087950" y="5575967"/>
              <a:ext cx="5757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ublic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8" name="Textfeld 47"/>
            <p:cNvSpPr txBox="1"/>
            <p:nvPr/>
          </p:nvSpPr>
          <p:spPr bwMode="gray">
            <a:xfrm rot="425622">
              <a:off x="3368134" y="5403274"/>
              <a:ext cx="150650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curement market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9" name="Textfeld 48"/>
            <p:cNvSpPr txBox="1"/>
            <p:nvPr/>
          </p:nvSpPr>
          <p:spPr bwMode="gray">
            <a:xfrm rot="425622">
              <a:off x="2447674" y="5248966"/>
              <a:ext cx="9896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ales market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0" name="Textfeld 49"/>
            <p:cNvSpPr txBox="1"/>
            <p:nvPr/>
          </p:nvSpPr>
          <p:spPr bwMode="gray">
            <a:xfrm rot="425622">
              <a:off x="738886" y="4480205"/>
              <a:ext cx="156183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perative dimensions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1" name="Textfeld 50"/>
            <p:cNvSpPr txBox="1"/>
            <p:nvPr/>
          </p:nvSpPr>
          <p:spPr bwMode="gray">
            <a:xfrm rot="345749">
              <a:off x="645536" y="3658012"/>
              <a:ext cx="149553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rategic dimensions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2" name="Textfeld 51"/>
            <p:cNvSpPr txBox="1"/>
            <p:nvPr/>
          </p:nvSpPr>
          <p:spPr bwMode="gray">
            <a:xfrm rot="249745">
              <a:off x="611501" y="2852850"/>
              <a:ext cx="1613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rmative dimensions</a:t>
              </a:r>
              <a:endParaRPr lang="en-US" sz="12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53" name="Group 13"/>
          <p:cNvGrpSpPr/>
          <p:nvPr/>
        </p:nvGrpSpPr>
        <p:grpSpPr>
          <a:xfrm>
            <a:off x="9163050" y="0"/>
            <a:ext cx="1152526" cy="2514604"/>
            <a:chOff x="9163049" y="-5"/>
            <a:chExt cx="1152526" cy="2514604"/>
          </a:xfrm>
        </p:grpSpPr>
        <p:sp>
          <p:nvSpPr>
            <p:cNvPr id="54" name="Auf der gleichen Seite des Rechtecks liegende Ecken abrunden 17"/>
            <p:cNvSpPr/>
            <p:nvPr/>
          </p:nvSpPr>
          <p:spPr bwMode="auto">
            <a:xfrm rot="16200000">
              <a:off x="8482010" y="681034"/>
              <a:ext cx="2514604" cy="1152526"/>
            </a:xfrm>
            <a:prstGeom prst="round2SameRect">
              <a:avLst>
                <a:gd name="adj1" fmla="val 0"/>
                <a:gd name="adj2" fmla="val 10345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vert" tIns="72000" rIns="108000" rtlCol="0" anchor="t"/>
            <a:lstStyle/>
            <a:p>
              <a:pPr>
                <a:spcAft>
                  <a:spcPts val="600"/>
                </a:spcAft>
              </a:pPr>
              <a:r>
                <a:rPr lang="en-US" sz="1400" b="1" noProof="1" smtClean="0">
                  <a:solidFill>
                    <a:schemeClr val="bg1">
                      <a:lumMod val="50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3D Function</a:t>
              </a:r>
            </a:p>
            <a:p>
              <a:pPr>
                <a:spcAft>
                  <a:spcPts val="600"/>
                </a:spcAft>
              </a:pPr>
              <a:r>
                <a:rPr lang="en-US" sz="1050" noProof="1" smtClean="0"/>
                <a:t>1. Right click on to the object.</a:t>
              </a:r>
            </a:p>
            <a:p>
              <a:r>
                <a:rPr lang="en-US" sz="1050" noProof="1" smtClean="0"/>
                <a:t>2. Select </a:t>
              </a:r>
              <a:br>
                <a:rPr lang="en-US" sz="1050" noProof="1" smtClean="0"/>
              </a:br>
              <a:r>
                <a:rPr lang="en-US" sz="1050" noProof="1" smtClean="0"/>
                <a:t>“Format Shape ...”</a:t>
              </a:r>
            </a:p>
            <a:p>
              <a:endParaRPr lang="en-US" sz="1050" noProof="1" smtClean="0"/>
            </a:p>
            <a:p>
              <a:endParaRPr lang="en-US" sz="1050" noProof="1" smtClean="0"/>
            </a:p>
            <a:p>
              <a:endParaRPr lang="en-US" sz="1050" noProof="1" smtClean="0"/>
            </a:p>
            <a:p>
              <a:endParaRPr lang="en-US" sz="1050" noProof="1" smtClean="0"/>
            </a:p>
            <a:p>
              <a:endParaRPr lang="en-US" sz="1050" noProof="1" smtClean="0"/>
            </a:p>
            <a:p>
              <a:endParaRPr lang="en-US" sz="1050" noProof="1" smtClean="0"/>
            </a:p>
            <a:p>
              <a:r>
                <a:rPr lang="en-US" sz="1050" noProof="1" smtClean="0"/>
                <a:t>3. Select </a:t>
              </a:r>
              <a:br>
                <a:rPr lang="en-US" sz="1050" noProof="1" smtClean="0"/>
              </a:br>
              <a:r>
                <a:rPr lang="en-US" sz="1050" noProof="1" smtClean="0"/>
                <a:t>“3-D Rotation”</a:t>
              </a:r>
            </a:p>
            <a:p>
              <a:endParaRPr lang="en-US" sz="1050" noProof="1" smtClean="0"/>
            </a:p>
            <a:p>
              <a:endParaRPr lang="en-US" sz="1400" noProof="1"/>
            </a:p>
          </p:txBody>
        </p:sp>
        <p:pic>
          <p:nvPicPr>
            <p:cNvPr id="5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3556" r="2000" b="1695"/>
            <a:stretch>
              <a:fillRect/>
            </a:stretch>
          </p:blipFill>
          <p:spPr bwMode="auto">
            <a:xfrm>
              <a:off x="9199563" y="1200149"/>
              <a:ext cx="1058862" cy="8670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6749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Internationalization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for own Subheadline</a:t>
            </a:r>
          </a:p>
          <a:p>
            <a:endParaRPr lang="en-US" noProof="1"/>
          </a:p>
        </p:txBody>
      </p:sp>
      <p:grpSp>
        <p:nvGrpSpPr>
          <p:cNvPr id="6" name="Gruppieren 75"/>
          <p:cNvGrpSpPr/>
          <p:nvPr/>
        </p:nvGrpSpPr>
        <p:grpSpPr bwMode="gray">
          <a:xfrm>
            <a:off x="4556751" y="1565796"/>
            <a:ext cx="4217780" cy="4246565"/>
            <a:chOff x="2115007" y="1555748"/>
            <a:chExt cx="4217780" cy="4246565"/>
          </a:xfrm>
        </p:grpSpPr>
        <p:sp>
          <p:nvSpPr>
            <p:cNvPr id="7" name="Rechteck 6"/>
            <p:cNvSpPr/>
            <p:nvPr/>
          </p:nvSpPr>
          <p:spPr bwMode="gray">
            <a:xfrm>
              <a:off x="2811213" y="1555748"/>
              <a:ext cx="1760787" cy="176316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3200" b="1" noProof="1" smtClean="0">
                  <a:solidFill>
                    <a:srgbClr val="000000"/>
                  </a:solidFill>
                  <a:cs typeface="Arial" charset="0"/>
                </a:rPr>
                <a:t>3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Global </a:t>
              </a:r>
              <a:b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4572000" y="1555748"/>
              <a:ext cx="1760787" cy="176316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3200" b="1" noProof="1" smtClean="0">
                  <a:solidFill>
                    <a:srgbClr val="000000"/>
                  </a:solidFill>
                  <a:cs typeface="Arial" charset="0"/>
                </a:rPr>
                <a:t>4</a:t>
              </a:r>
              <a:endParaRPr lang="en-US" sz="1400" b="1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Transnational marketing</a:t>
              </a:r>
              <a:endParaRPr lang="en-US" sz="14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2811213" y="3318916"/>
              <a:ext cx="1760787" cy="176316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3200" b="1" noProof="1" smtClean="0">
                  <a:solidFill>
                    <a:srgbClr val="000000"/>
                  </a:solidFill>
                  <a:cs typeface="Arial" charset="0"/>
                </a:rPr>
                <a:t>1</a:t>
              </a:r>
              <a:endParaRPr lang="en-US" sz="1400" b="1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International </a:t>
              </a:r>
              <a:b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sz="14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4572000" y="3318916"/>
              <a:ext cx="1760787" cy="176316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3200" b="1" noProof="1" smtClean="0">
                  <a:solidFill>
                    <a:srgbClr val="000000"/>
                  </a:solidFill>
                  <a:cs typeface="Arial" charset="0"/>
                </a:rPr>
                <a:t>2</a:t>
              </a:r>
              <a:endParaRPr lang="en-US" sz="1400" b="1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Multinational marketing</a:t>
              </a:r>
            </a:p>
          </p:txBody>
        </p:sp>
        <p:sp>
          <p:nvSpPr>
            <p:cNvPr id="11" name="Textfeld 10"/>
            <p:cNvSpPr txBox="1"/>
            <p:nvPr/>
          </p:nvSpPr>
          <p:spPr bwMode="gray">
            <a:xfrm>
              <a:off x="3516125" y="5081587"/>
              <a:ext cx="4117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low</a:t>
              </a:r>
              <a:endParaRPr lang="en-US" sz="1200" noProof="1"/>
            </a:p>
          </p:txBody>
        </p:sp>
        <p:sp>
          <p:nvSpPr>
            <p:cNvPr id="12" name="Textfeld 11"/>
            <p:cNvSpPr txBox="1"/>
            <p:nvPr/>
          </p:nvSpPr>
          <p:spPr bwMode="gray">
            <a:xfrm>
              <a:off x="5234747" y="5081587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high</a:t>
              </a:r>
              <a:endParaRPr lang="en-US" sz="1200" noProof="1"/>
            </a:p>
          </p:txBody>
        </p:sp>
        <p:sp>
          <p:nvSpPr>
            <p:cNvPr id="13" name="Textfeld 12"/>
            <p:cNvSpPr txBox="1"/>
            <p:nvPr/>
          </p:nvSpPr>
          <p:spPr bwMode="gray">
            <a:xfrm rot="16200000">
              <a:off x="2446531" y="2298833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high</a:t>
              </a:r>
              <a:endParaRPr lang="en-US" sz="1200" noProof="1"/>
            </a:p>
          </p:txBody>
        </p:sp>
        <p:sp>
          <p:nvSpPr>
            <p:cNvPr id="14" name="Textfeld 13"/>
            <p:cNvSpPr txBox="1"/>
            <p:nvPr/>
          </p:nvSpPr>
          <p:spPr bwMode="gray">
            <a:xfrm rot="16200000">
              <a:off x="2466857" y="4062001"/>
              <a:ext cx="4117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low</a:t>
              </a:r>
              <a:endParaRPr lang="en-US" sz="1200" noProof="1"/>
            </a:p>
          </p:txBody>
        </p:sp>
        <p:sp>
          <p:nvSpPr>
            <p:cNvPr id="15" name="Line 47"/>
            <p:cNvSpPr>
              <a:spLocks noChangeShapeType="1"/>
            </p:cNvSpPr>
            <p:nvPr/>
          </p:nvSpPr>
          <p:spPr bwMode="gray">
            <a:xfrm>
              <a:off x="2811213" y="5441949"/>
              <a:ext cx="3521574" cy="1"/>
            </a:xfrm>
            <a:prstGeom prst="line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 type="triangle" w="med" len="med"/>
            </a:ln>
          </p:spPr>
          <p:txBody>
            <a:bodyPr lIns="90000" tIns="46800" rIns="90000" bIns="46800" anchor="ctr"/>
            <a:lstStyle/>
            <a:p>
              <a:endParaRPr lang="en-US" noProof="1"/>
            </a:p>
          </p:txBody>
        </p:sp>
        <p:cxnSp>
          <p:nvCxnSpPr>
            <p:cNvPr id="16" name="Gerade Verbindung mit Pfeil 15"/>
            <p:cNvCxnSpPr/>
            <p:nvPr/>
          </p:nvCxnSpPr>
          <p:spPr bwMode="gray">
            <a:xfrm rot="5400000" flipH="1" flipV="1">
              <a:off x="686889" y="3318916"/>
              <a:ext cx="3526336" cy="1588"/>
            </a:xfrm>
            <a:prstGeom prst="straightConnector1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 type="triangle" w="med" len="med"/>
            </a:ln>
          </p:spPr>
        </p:cxnSp>
        <p:sp>
          <p:nvSpPr>
            <p:cNvPr id="17" name="Textfeld 16"/>
            <p:cNvSpPr txBox="1"/>
            <p:nvPr/>
          </p:nvSpPr>
          <p:spPr bwMode="gray">
            <a:xfrm>
              <a:off x="3059833" y="5441949"/>
              <a:ext cx="3024336" cy="3603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400" b="1" noProof="1" smtClean="0"/>
                <a:t>Differentiation advantage</a:t>
              </a:r>
            </a:p>
          </p:txBody>
        </p:sp>
        <p:sp>
          <p:nvSpPr>
            <p:cNvPr id="18" name="Textfeld 17"/>
            <p:cNvSpPr txBox="1"/>
            <p:nvPr/>
          </p:nvSpPr>
          <p:spPr bwMode="gray">
            <a:xfrm rot="16200000">
              <a:off x="1219926" y="3139529"/>
              <a:ext cx="2150525" cy="36036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400" b="1" noProof="1" smtClean="0"/>
                <a:t>Integration advantage</a:t>
              </a:r>
            </a:p>
          </p:txBody>
        </p:sp>
      </p:grpSp>
      <p:sp>
        <p:nvSpPr>
          <p:cNvPr id="22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If you don’t want to use the style and size of the fonts as used in this placeholder </a:t>
            </a:r>
            <a:r>
              <a:rPr lang="en-US" noProof="1" smtClean="0"/>
              <a:t>it’s </a:t>
            </a: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possible to replace it by selecting different options.</a:t>
            </a:r>
          </a:p>
        </p:txBody>
      </p:sp>
    </p:spTree>
    <p:extLst>
      <p:ext uri="{BB962C8B-B14F-4D97-AF65-F5344CB8AC3E}">
        <p14:creationId xmlns:p14="http://schemas.microsoft.com/office/powerpoint/2010/main" val="396536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ing Planning /</a:t>
            </a:r>
            <a:b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</a:b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Objectives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521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anagement </a:t>
            </a:r>
            <a:r>
              <a:rPr lang="en-US" b="0" noProof="1" smtClean="0"/>
              <a:t>- Proces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the ideal type process of marketing management</a:t>
            </a:r>
            <a:endParaRPr lang="en-US" noProof="1"/>
          </a:p>
        </p:txBody>
      </p:sp>
      <p:grpSp>
        <p:nvGrpSpPr>
          <p:cNvPr id="4" name="Gruppieren 47"/>
          <p:cNvGrpSpPr/>
          <p:nvPr/>
        </p:nvGrpSpPr>
        <p:grpSpPr>
          <a:xfrm>
            <a:off x="390498" y="1555751"/>
            <a:ext cx="8329355" cy="4256785"/>
            <a:chOff x="390498" y="1555751"/>
            <a:chExt cx="8329355" cy="4256785"/>
          </a:xfrm>
        </p:grpSpPr>
        <p:grpSp>
          <p:nvGrpSpPr>
            <p:cNvPr id="5" name="Gruppieren 75"/>
            <p:cNvGrpSpPr/>
            <p:nvPr/>
          </p:nvGrpSpPr>
          <p:grpSpPr bwMode="gray">
            <a:xfrm>
              <a:off x="390498" y="1555751"/>
              <a:ext cx="400110" cy="4223895"/>
              <a:chOff x="352398" y="1555751"/>
              <a:chExt cx="400110" cy="4223895"/>
            </a:xfrm>
          </p:grpSpPr>
          <p:sp>
            <p:nvSpPr>
              <p:cNvPr id="6" name="Textfeld 5"/>
              <p:cNvSpPr txBox="1"/>
              <p:nvPr/>
            </p:nvSpPr>
            <p:spPr bwMode="gray">
              <a:xfrm rot="16200000">
                <a:off x="-542591" y="3478255"/>
                <a:ext cx="219008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2000" b="1" noProof="1" smtClean="0"/>
                  <a:t>Four classic phases</a:t>
                </a:r>
              </a:p>
            </p:txBody>
          </p:sp>
          <p:cxnSp>
            <p:nvCxnSpPr>
              <p:cNvPr id="8" name="Gerade Verbindung 7"/>
              <p:cNvCxnSpPr>
                <a:endCxn id="6" idx="3"/>
              </p:cNvCxnSpPr>
              <p:nvPr/>
            </p:nvCxnSpPr>
            <p:spPr bwMode="gray">
              <a:xfrm>
                <a:off x="551904" y="1555751"/>
                <a:ext cx="548" cy="1027516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mit Pfeil 9"/>
              <p:cNvCxnSpPr>
                <a:stCxn id="6" idx="1"/>
              </p:cNvCxnSpPr>
              <p:nvPr/>
            </p:nvCxnSpPr>
            <p:spPr bwMode="gray">
              <a:xfrm flipH="1">
                <a:off x="551910" y="4773354"/>
                <a:ext cx="543" cy="1006292"/>
              </a:xfrm>
              <a:prstGeom prst="straightConnector1">
                <a:avLst/>
              </a:prstGeom>
              <a:ln w="28575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51"/>
            <p:cNvGrpSpPr/>
            <p:nvPr/>
          </p:nvGrpSpPr>
          <p:grpSpPr>
            <a:xfrm>
              <a:off x="862523" y="1555751"/>
              <a:ext cx="7857330" cy="4256785"/>
              <a:chOff x="862523" y="1555751"/>
              <a:chExt cx="7857330" cy="4256785"/>
            </a:xfrm>
          </p:grpSpPr>
          <p:sp>
            <p:nvSpPr>
              <p:cNvPr id="21" name="Rechteck 20"/>
              <p:cNvSpPr/>
              <p:nvPr/>
            </p:nvSpPr>
            <p:spPr bwMode="gray">
              <a:xfrm>
                <a:off x="4081972" y="1555751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Marketing situation analysi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862523" y="1555751"/>
                <a:ext cx="2350577" cy="36036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Analysis phase</a:t>
                </a:r>
                <a:endParaRPr lang="en-US" sz="16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4114799" y="2205155"/>
                <a:ext cx="4152899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300" noProof="1" smtClean="0">
                    <a:solidFill>
                      <a:srgbClr val="000000"/>
                    </a:solidFill>
                    <a:cs typeface="Arial" charset="0"/>
                  </a:rPr>
                  <a:t>Determination of market segments and marketing targets</a:t>
                </a:r>
                <a:endParaRPr lang="en-US" sz="13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4081972" y="2854559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finition of marketing strategy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gray">
              <a:xfrm>
                <a:off x="4081972" y="3503963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termination of marketing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b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udget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4081972" y="4153367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termination of marketing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m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asure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 bwMode="gray">
              <a:xfrm>
                <a:off x="4081972" y="4802771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Implementation of marketing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m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asure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Rechteck 27"/>
              <p:cNvSpPr/>
              <p:nvPr/>
            </p:nvSpPr>
            <p:spPr bwMode="gray">
              <a:xfrm>
                <a:off x="4081972" y="5452173"/>
                <a:ext cx="422382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ntrol of marketing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r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sult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 bwMode="gray">
              <a:xfrm>
                <a:off x="862523" y="4802773"/>
                <a:ext cx="2350577" cy="36036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Implementation phase</a:t>
                </a:r>
                <a:endParaRPr lang="en-US" sz="16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0" name="Rechteck 29"/>
              <p:cNvSpPr/>
              <p:nvPr/>
            </p:nvSpPr>
            <p:spPr bwMode="gray">
              <a:xfrm>
                <a:off x="862523" y="5452175"/>
                <a:ext cx="2350577" cy="36036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Control phase</a:t>
                </a:r>
                <a:endParaRPr lang="en-US" sz="16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 bwMode="gray">
              <a:xfrm>
                <a:off x="862523" y="2205155"/>
                <a:ext cx="2350577" cy="2308575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Planning phase</a:t>
                </a:r>
                <a:endParaRPr lang="en-US" sz="16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cxnSp>
            <p:nvCxnSpPr>
              <p:cNvPr id="33" name="Gerade Verbindung mit Pfeil 32"/>
              <p:cNvCxnSpPr/>
              <p:nvPr/>
            </p:nvCxnSpPr>
            <p:spPr bwMode="gray">
              <a:xfrm rot="5400000">
                <a:off x="6049365" y="2060636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mit Pfeil 33"/>
              <p:cNvCxnSpPr/>
              <p:nvPr/>
            </p:nvCxnSpPr>
            <p:spPr bwMode="gray">
              <a:xfrm rot="5400000">
                <a:off x="6049365" y="2709247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mit Pfeil 34"/>
              <p:cNvCxnSpPr/>
              <p:nvPr/>
            </p:nvCxnSpPr>
            <p:spPr bwMode="gray">
              <a:xfrm rot="5400000">
                <a:off x="6049365" y="3358651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mit Pfeil 35"/>
              <p:cNvCxnSpPr/>
              <p:nvPr/>
            </p:nvCxnSpPr>
            <p:spPr bwMode="gray">
              <a:xfrm rot="5400000">
                <a:off x="6049365" y="4007262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mit Pfeil 36"/>
              <p:cNvCxnSpPr/>
              <p:nvPr/>
            </p:nvCxnSpPr>
            <p:spPr bwMode="gray">
              <a:xfrm rot="5400000">
                <a:off x="6049365" y="4648027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mit Pfeil 37"/>
              <p:cNvCxnSpPr/>
              <p:nvPr/>
            </p:nvCxnSpPr>
            <p:spPr bwMode="gray">
              <a:xfrm rot="5400000">
                <a:off x="6049365" y="5296638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mit Pfeil 38"/>
              <p:cNvCxnSpPr/>
              <p:nvPr/>
            </p:nvCxnSpPr>
            <p:spPr bwMode="gray">
              <a:xfrm rot="10800000" flipV="1">
                <a:off x="3213102" y="1735532"/>
                <a:ext cx="868871" cy="1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mit Pfeil 41"/>
              <p:cNvCxnSpPr/>
              <p:nvPr/>
            </p:nvCxnSpPr>
            <p:spPr bwMode="gray">
              <a:xfrm rot="10800000" flipV="1">
                <a:off x="3213102" y="4982951"/>
                <a:ext cx="868871" cy="1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mit Pfeil 42"/>
              <p:cNvCxnSpPr/>
              <p:nvPr/>
            </p:nvCxnSpPr>
            <p:spPr bwMode="gray">
              <a:xfrm rot="10800000" flipV="1">
                <a:off x="3213102" y="5632353"/>
                <a:ext cx="868871" cy="1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mit Pfeil 43"/>
              <p:cNvCxnSpPr/>
              <p:nvPr/>
            </p:nvCxnSpPr>
            <p:spPr bwMode="gray">
              <a:xfrm rot="5400000">
                <a:off x="1893291" y="2060637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mit Pfeil 44"/>
              <p:cNvCxnSpPr/>
              <p:nvPr/>
            </p:nvCxnSpPr>
            <p:spPr bwMode="gray">
              <a:xfrm rot="5400000">
                <a:off x="1893291" y="4657459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mit Pfeil 45"/>
              <p:cNvCxnSpPr/>
              <p:nvPr/>
            </p:nvCxnSpPr>
            <p:spPr bwMode="gray">
              <a:xfrm rot="5400000">
                <a:off x="1893291" y="5296639"/>
                <a:ext cx="289041" cy="1588"/>
              </a:xfrm>
              <a:prstGeom prst="straightConnector1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Gruppieren 56"/>
              <p:cNvGrpSpPr/>
              <p:nvPr/>
            </p:nvGrpSpPr>
            <p:grpSpPr bwMode="gray">
              <a:xfrm>
                <a:off x="3213101" y="2380573"/>
                <a:ext cx="868078" cy="1958400"/>
                <a:chOff x="3213101" y="2380573"/>
                <a:chExt cx="868078" cy="1958400"/>
              </a:xfrm>
            </p:grpSpPr>
            <p:cxnSp>
              <p:nvCxnSpPr>
                <p:cNvPr id="47" name="Gerade Verbindung mit Pfeil 46"/>
                <p:cNvCxnSpPr/>
                <p:nvPr/>
              </p:nvCxnSpPr>
              <p:spPr bwMode="gray">
                <a:xfrm flipV="1">
                  <a:off x="3667125" y="3034739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 Verbindung mit Pfeil 48"/>
                <p:cNvCxnSpPr/>
                <p:nvPr/>
              </p:nvCxnSpPr>
              <p:spPr bwMode="gray">
                <a:xfrm flipV="1">
                  <a:off x="3667125" y="2385335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 Verbindung mit Pfeil 49"/>
                <p:cNvCxnSpPr/>
                <p:nvPr/>
              </p:nvCxnSpPr>
              <p:spPr bwMode="gray">
                <a:xfrm flipV="1">
                  <a:off x="3667125" y="3684143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 Verbindung mit Pfeil 50"/>
                <p:cNvCxnSpPr/>
                <p:nvPr/>
              </p:nvCxnSpPr>
              <p:spPr bwMode="gray">
                <a:xfrm flipV="1">
                  <a:off x="3667125" y="4333547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Gerade Verbindung 52"/>
                <p:cNvCxnSpPr/>
                <p:nvPr/>
              </p:nvCxnSpPr>
              <p:spPr bwMode="gray">
                <a:xfrm rot="5400000" flipH="1" flipV="1">
                  <a:off x="2687925" y="3359773"/>
                  <a:ext cx="1958400" cy="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Gerade Verbindung mit Pfeil 53"/>
                <p:cNvCxnSpPr/>
                <p:nvPr/>
              </p:nvCxnSpPr>
              <p:spPr bwMode="gray">
                <a:xfrm rot="10800000" flipV="1">
                  <a:off x="3213101" y="3359441"/>
                  <a:ext cx="454024" cy="1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" name="Gruppieren 68"/>
              <p:cNvGrpSpPr/>
              <p:nvPr/>
            </p:nvGrpSpPr>
            <p:grpSpPr bwMode="gray">
              <a:xfrm>
                <a:off x="8305799" y="2385335"/>
                <a:ext cx="414054" cy="3247021"/>
                <a:chOff x="8305799" y="2385335"/>
                <a:chExt cx="414054" cy="3247021"/>
              </a:xfrm>
            </p:grpSpPr>
            <p:cxnSp>
              <p:nvCxnSpPr>
                <p:cNvPr id="60" name="Gerade Verbindung mit Pfeil 59"/>
                <p:cNvCxnSpPr/>
                <p:nvPr/>
              </p:nvCxnSpPr>
              <p:spPr bwMode="gray">
                <a:xfrm rot="10800000" flipV="1">
                  <a:off x="8305799" y="3684143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Gerade Verbindung mit Pfeil 60"/>
                <p:cNvCxnSpPr/>
                <p:nvPr/>
              </p:nvCxnSpPr>
              <p:spPr bwMode="gray">
                <a:xfrm rot="10800000" flipV="1">
                  <a:off x="8305799" y="4333546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 Verbindung mit Pfeil 61"/>
                <p:cNvCxnSpPr/>
                <p:nvPr/>
              </p:nvCxnSpPr>
              <p:spPr bwMode="gray">
                <a:xfrm rot="10800000" flipV="1">
                  <a:off x="8305799" y="3034739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 Verbindung mit Pfeil 62"/>
                <p:cNvCxnSpPr/>
                <p:nvPr/>
              </p:nvCxnSpPr>
              <p:spPr bwMode="gray">
                <a:xfrm rot="10800000" flipV="1">
                  <a:off x="8305799" y="2385335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Gerade Verbindung 63"/>
                <p:cNvCxnSpPr/>
                <p:nvPr/>
              </p:nvCxnSpPr>
              <p:spPr bwMode="gray">
                <a:xfrm rot="5400000">
                  <a:off x="7096343" y="4008846"/>
                  <a:ext cx="3247020" cy="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Gerade Verbindung mit Pfeil 65"/>
                <p:cNvCxnSpPr/>
                <p:nvPr/>
              </p:nvCxnSpPr>
              <p:spPr bwMode="gray">
                <a:xfrm rot="10800000" flipV="1">
                  <a:off x="8305799" y="4982950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Gerade Verbindung mit Pfeil 66"/>
                <p:cNvCxnSpPr/>
                <p:nvPr/>
              </p:nvCxnSpPr>
              <p:spPr bwMode="gray">
                <a:xfrm rot="10800000" flipV="1">
                  <a:off x="8305799" y="5632352"/>
                  <a:ext cx="414054" cy="3"/>
                </a:xfrm>
                <a:prstGeom prst="straightConnector1">
                  <a:avLst/>
                </a:prstGeom>
                <a:ln w="12700">
                  <a:solidFill>
                    <a:srgbClr val="96969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-Planning </a:t>
            </a:r>
            <a:r>
              <a:rPr lang="en-US" b="0" noProof="1"/>
              <a:t>- Proces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rketing as a process devided in the five steps of market analysis, marketing objective, strategy, marketing instruments and success control</a:t>
            </a:r>
            <a:endParaRPr lang="en-US" noProof="1"/>
          </a:p>
        </p:txBody>
      </p:sp>
      <p:grpSp>
        <p:nvGrpSpPr>
          <p:cNvPr id="15" name="Gruppieren 14"/>
          <p:cNvGrpSpPr/>
          <p:nvPr/>
        </p:nvGrpSpPr>
        <p:grpSpPr>
          <a:xfrm>
            <a:off x="323850" y="1755004"/>
            <a:ext cx="8237444" cy="3848055"/>
            <a:chOff x="323850" y="1755004"/>
            <a:chExt cx="8237444" cy="3848055"/>
          </a:xfrm>
        </p:grpSpPr>
        <p:sp>
          <p:nvSpPr>
            <p:cNvPr id="12" name="Rechteck 11"/>
            <p:cNvSpPr/>
            <p:nvPr/>
          </p:nvSpPr>
          <p:spPr bwMode="gray">
            <a:xfrm>
              <a:off x="323850" y="1755004"/>
              <a:ext cx="2889252" cy="67235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 analysis</a:t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noProof="1" smtClean="0">
                  <a:solidFill>
                    <a:srgbClr val="FFFFFF"/>
                  </a:solidFill>
                  <a:cs typeface="Arial" charset="0"/>
                </a:rPr>
                <a:t>(actual-condition)</a:t>
              </a:r>
            </a:p>
          </p:txBody>
        </p:sp>
        <p:sp>
          <p:nvSpPr>
            <p:cNvPr id="40" name="Rechteck 39"/>
            <p:cNvSpPr/>
            <p:nvPr/>
          </p:nvSpPr>
          <p:spPr bwMode="gray">
            <a:xfrm>
              <a:off x="3213102" y="1755004"/>
              <a:ext cx="5348191" cy="6723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72000" bIns="72000" anchor="ctr" anchorCtr="0"/>
            <a:lstStyle/>
            <a:p>
              <a:r>
                <a:rPr lang="en-US" sz="1600" noProof="1" smtClean="0"/>
                <a:t>Where are you? </a:t>
              </a:r>
              <a:br>
                <a:rPr lang="en-US" sz="1600" noProof="1" smtClean="0"/>
              </a:br>
              <a:r>
                <a:rPr lang="en-US" sz="1600" noProof="1" smtClean="0"/>
                <a:t>What is the initial situation?</a:t>
              </a:r>
            </a:p>
          </p:txBody>
        </p:sp>
        <p:sp>
          <p:nvSpPr>
            <p:cNvPr id="41" name="Rechteck 40"/>
            <p:cNvSpPr/>
            <p:nvPr/>
          </p:nvSpPr>
          <p:spPr bwMode="gray">
            <a:xfrm>
              <a:off x="323850" y="2554442"/>
              <a:ext cx="2889252" cy="67235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ing targets</a:t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noProof="1" smtClean="0">
                  <a:solidFill>
                    <a:srgbClr val="FFFFFF"/>
                  </a:solidFill>
                  <a:cs typeface="Arial" charset="0"/>
                </a:rPr>
                <a:t>(establish objectives)</a:t>
              </a: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3213103" y="2554442"/>
              <a:ext cx="5348191" cy="6723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72000" bIns="72000" anchor="ctr" anchorCtr="0"/>
            <a:lstStyle/>
            <a:p>
              <a:r>
                <a:rPr lang="en-US" sz="1600" noProof="1" smtClean="0"/>
                <a:t>Wher do you want to be?</a:t>
              </a:r>
            </a:p>
          </p:txBody>
        </p:sp>
        <p:sp>
          <p:nvSpPr>
            <p:cNvPr id="43" name="Rechteck 42"/>
            <p:cNvSpPr/>
            <p:nvPr/>
          </p:nvSpPr>
          <p:spPr bwMode="gray">
            <a:xfrm>
              <a:off x="323850" y="3346530"/>
              <a:ext cx="2889252" cy="67235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ing strategy</a:t>
              </a:r>
            </a:p>
          </p:txBody>
        </p:sp>
        <p:sp>
          <p:nvSpPr>
            <p:cNvPr id="44" name="Rechteck 43"/>
            <p:cNvSpPr/>
            <p:nvPr/>
          </p:nvSpPr>
          <p:spPr bwMode="gray">
            <a:xfrm>
              <a:off x="3213103" y="3346530"/>
              <a:ext cx="5348191" cy="6723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72000" bIns="72000" anchor="ctr" anchorCtr="0"/>
            <a:lstStyle/>
            <a:p>
              <a:r>
                <a:rPr lang="en-US" sz="1600" noProof="1" smtClean="0"/>
                <a:t>How will you reach your objectives?</a:t>
              </a:r>
            </a:p>
          </p:txBody>
        </p:sp>
        <p:sp>
          <p:nvSpPr>
            <p:cNvPr id="45" name="Rechteck 44"/>
            <p:cNvSpPr/>
            <p:nvPr/>
          </p:nvSpPr>
          <p:spPr bwMode="gray">
            <a:xfrm>
              <a:off x="323850" y="4138618"/>
              <a:ext cx="2889252" cy="67235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ing instruments</a:t>
              </a:r>
            </a:p>
          </p:txBody>
        </p:sp>
        <p:sp>
          <p:nvSpPr>
            <p:cNvPr id="46" name="Rechteck 45"/>
            <p:cNvSpPr/>
            <p:nvPr/>
          </p:nvSpPr>
          <p:spPr bwMode="gray">
            <a:xfrm>
              <a:off x="3213103" y="4138618"/>
              <a:ext cx="5348191" cy="6723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72000" bIns="72000" anchor="ctr" anchorCtr="0"/>
            <a:lstStyle/>
            <a:p>
              <a:r>
                <a:rPr lang="en-US" sz="1600" noProof="1" smtClean="0"/>
                <a:t>Which instruments will be used?</a:t>
              </a: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323850" y="4930706"/>
              <a:ext cx="2889252" cy="67235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Success control</a:t>
              </a:r>
            </a:p>
          </p:txBody>
        </p:sp>
        <p:sp>
          <p:nvSpPr>
            <p:cNvPr id="48" name="Rechteck 47"/>
            <p:cNvSpPr/>
            <p:nvPr/>
          </p:nvSpPr>
          <p:spPr bwMode="gray">
            <a:xfrm>
              <a:off x="3213103" y="4930706"/>
              <a:ext cx="5348191" cy="6723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0" tIns="108000" rIns="72000" bIns="72000" anchor="ctr" anchorCtr="0"/>
            <a:lstStyle/>
            <a:p>
              <a:r>
                <a:rPr lang="en-US" sz="1600" noProof="1" smtClean="0"/>
                <a:t>Analysis  of the difference between target and resul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723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of Marketing Research </a:t>
            </a:r>
            <a:r>
              <a:rPr lang="en-US" b="0" noProof="1" smtClean="0"/>
              <a:t>(Part 1)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935960" y="2048971"/>
            <a:ext cx="7035715" cy="2894808"/>
            <a:chOff x="935960" y="2048971"/>
            <a:chExt cx="7035715" cy="28948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259448"/>
              <a:ext cx="6799349" cy="24560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>
                  <a:latin typeface="+mj-lt"/>
                </a:rPr>
                <a:t>Marketing research is the function that links the consumer, customer, and public to the marketer through information - information used to identify </a:t>
              </a:r>
              <a:br>
                <a:rPr lang="en-US" sz="2400" i="1" noProof="1" smtClean="0">
                  <a:latin typeface="+mj-lt"/>
                </a:rPr>
              </a:br>
              <a:r>
                <a:rPr lang="en-US" sz="2400" i="1" noProof="1" smtClean="0">
                  <a:latin typeface="+mj-lt"/>
                </a:rPr>
                <a:t>and define marketing opportunities and problems; generate, refine, and evaluate marketing actions; monitor marketing performance; and improve understanding of marketing as a process.</a:t>
              </a: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935960" y="204897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7229000" y="445638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2156460" y="4800997"/>
            <a:ext cx="48310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noProof="1" smtClean="0">
                <a:solidFill>
                  <a:schemeClr val="bg1">
                    <a:lumMod val="50000"/>
                  </a:schemeClr>
                </a:solidFill>
              </a:rPr>
              <a:t>The American Marketing Association (2004)</a:t>
            </a:r>
          </a:p>
        </p:txBody>
      </p: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Target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conomic and non-economic objectives of a business</a:t>
            </a:r>
            <a:endParaRPr lang="en-US" noProof="1"/>
          </a:p>
        </p:txBody>
      </p:sp>
      <p:grpSp>
        <p:nvGrpSpPr>
          <p:cNvPr id="4" name="Gruppieren 28"/>
          <p:cNvGrpSpPr/>
          <p:nvPr/>
        </p:nvGrpSpPr>
        <p:grpSpPr>
          <a:xfrm>
            <a:off x="323850" y="1555750"/>
            <a:ext cx="8497092" cy="4246562"/>
            <a:chOff x="323850" y="1555750"/>
            <a:chExt cx="8497092" cy="4246562"/>
          </a:xfrm>
        </p:grpSpPr>
        <p:grpSp>
          <p:nvGrpSpPr>
            <p:cNvPr id="5" name="Gruppieren 27"/>
            <p:cNvGrpSpPr/>
            <p:nvPr/>
          </p:nvGrpSpPr>
          <p:grpSpPr>
            <a:xfrm>
              <a:off x="323850" y="1555750"/>
              <a:ext cx="4175125" cy="4246562"/>
              <a:chOff x="323850" y="1555750"/>
              <a:chExt cx="4175125" cy="4246562"/>
            </a:xfrm>
          </p:grpSpPr>
          <p:sp>
            <p:nvSpPr>
              <p:cNvPr id="16" name="Rechteck 15"/>
              <p:cNvSpPr/>
              <p:nvPr/>
            </p:nvSpPr>
            <p:spPr bwMode="gray">
              <a:xfrm>
                <a:off x="323850" y="1555750"/>
                <a:ext cx="4175125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Economic marketing targets</a:t>
                </a:r>
              </a:p>
            </p:txBody>
          </p:sp>
          <p:sp>
            <p:nvSpPr>
              <p:cNvPr id="18" name="Rechteck 17"/>
              <p:cNvSpPr/>
              <p:nvPr/>
            </p:nvSpPr>
            <p:spPr bwMode="gray">
              <a:xfrm>
                <a:off x="323850" y="1916113"/>
                <a:ext cx="4175125" cy="388619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0" tIns="108000" rIns="360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Close connection to general economic company objectives</a:t>
                </a:r>
              </a:p>
            </p:txBody>
          </p:sp>
          <p:grpSp>
            <p:nvGrpSpPr>
              <p:cNvPr id="6" name="Gruppieren 51"/>
              <p:cNvGrpSpPr/>
              <p:nvPr/>
            </p:nvGrpSpPr>
            <p:grpSpPr bwMode="gray">
              <a:xfrm>
                <a:off x="683569" y="2922142"/>
                <a:ext cx="3455688" cy="2592611"/>
                <a:chOff x="683569" y="2922142"/>
                <a:chExt cx="3455688" cy="2592611"/>
              </a:xfrm>
              <a:solidFill>
                <a:srgbClr val="FFFFFF"/>
              </a:solidFill>
            </p:grpSpPr>
            <p:sp>
              <p:nvSpPr>
                <p:cNvPr id="58" name="Rechteck 57"/>
                <p:cNvSpPr/>
                <p:nvPr/>
              </p:nvSpPr>
              <p:spPr bwMode="gray">
                <a:xfrm>
                  <a:off x="683569" y="2922142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revenue / profitability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" name="Rechteck 58"/>
                <p:cNvSpPr/>
                <p:nvPr/>
              </p:nvSpPr>
              <p:spPr bwMode="gray">
                <a:xfrm>
                  <a:off x="683569" y="3245599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profit contribution / Return-on-Investment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" name="Rechteck 59"/>
                <p:cNvSpPr/>
                <p:nvPr/>
              </p:nvSpPr>
              <p:spPr bwMode="gray">
                <a:xfrm>
                  <a:off x="683569" y="3569055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growth (revenue/sales/profit)</a:t>
                  </a:r>
                </a:p>
              </p:txBody>
            </p:sp>
            <p:sp>
              <p:nvSpPr>
                <p:cNvPr id="62" name="Rechteck 61"/>
                <p:cNvSpPr/>
                <p:nvPr/>
              </p:nvSpPr>
              <p:spPr bwMode="gray">
                <a:xfrm>
                  <a:off x="683569" y="3892512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rationalizing</a:t>
                  </a:r>
                </a:p>
              </p:txBody>
            </p:sp>
            <p:sp>
              <p:nvSpPr>
                <p:cNvPr id="63" name="Rechteck 62"/>
                <p:cNvSpPr/>
                <p:nvPr/>
              </p:nvSpPr>
              <p:spPr bwMode="gray">
                <a:xfrm>
                  <a:off x="683569" y="4215969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capacities</a:t>
                  </a:r>
                </a:p>
              </p:txBody>
            </p:sp>
            <p:sp>
              <p:nvSpPr>
                <p:cNvPr id="64" name="Rechteck 63"/>
                <p:cNvSpPr/>
                <p:nvPr/>
              </p:nvSpPr>
              <p:spPr bwMode="gray">
                <a:xfrm>
                  <a:off x="683569" y="4539425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security (risk distribution)</a:t>
                  </a:r>
                </a:p>
              </p:txBody>
            </p:sp>
            <p:sp>
              <p:nvSpPr>
                <p:cNvPr id="61" name="Rechteck 60"/>
                <p:cNvSpPr/>
                <p:nvPr/>
              </p:nvSpPr>
              <p:spPr bwMode="gray">
                <a:xfrm>
                  <a:off x="683569" y="4862882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market position /market share</a:t>
                  </a:r>
                </a:p>
              </p:txBody>
            </p:sp>
            <p:sp>
              <p:nvSpPr>
                <p:cNvPr id="65" name="Rechteck 64"/>
                <p:cNvSpPr/>
                <p:nvPr/>
              </p:nvSpPr>
              <p:spPr bwMode="gray">
                <a:xfrm>
                  <a:off x="683569" y="5186336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endParaRPr lang="en-US" sz="1400" noProof="1" smtClean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7" name="Gruppieren 26"/>
            <p:cNvGrpSpPr/>
            <p:nvPr/>
          </p:nvGrpSpPr>
          <p:grpSpPr>
            <a:xfrm>
              <a:off x="4645817" y="1555750"/>
              <a:ext cx="4175125" cy="4246562"/>
              <a:chOff x="4645817" y="1555750"/>
              <a:chExt cx="4175125" cy="4246562"/>
            </a:xfrm>
          </p:grpSpPr>
          <p:sp>
            <p:nvSpPr>
              <p:cNvPr id="17" name="Rechteck 16"/>
              <p:cNvSpPr/>
              <p:nvPr/>
            </p:nvSpPr>
            <p:spPr bwMode="gray">
              <a:xfrm>
                <a:off x="4645817" y="1555750"/>
                <a:ext cx="4175125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Non-economic marketing targets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4645817" y="1916113"/>
                <a:ext cx="4175125" cy="388619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0" tIns="108000" rIns="360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Connecting to mental processes of buyer (purchase behavior)</a:t>
                </a:r>
              </a:p>
            </p:txBody>
          </p:sp>
          <p:grpSp>
            <p:nvGrpSpPr>
              <p:cNvPr id="8" name="Gruppieren 50"/>
              <p:cNvGrpSpPr/>
              <p:nvPr/>
            </p:nvGrpSpPr>
            <p:grpSpPr bwMode="gray">
              <a:xfrm>
                <a:off x="4983500" y="2924621"/>
                <a:ext cx="3455688" cy="2592611"/>
                <a:chOff x="4983500" y="2924621"/>
                <a:chExt cx="3455688" cy="2592611"/>
              </a:xfrm>
              <a:solidFill>
                <a:srgbClr val="FFFFFF"/>
              </a:solidFill>
            </p:grpSpPr>
            <p:sp>
              <p:nvSpPr>
                <p:cNvPr id="38" name="Rechteck 37"/>
                <p:cNvSpPr/>
                <p:nvPr/>
              </p:nvSpPr>
              <p:spPr bwMode="gray">
                <a:xfrm>
                  <a:off x="4983500" y="2924621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customer retention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" name="Rechteck 38"/>
                <p:cNvSpPr/>
                <p:nvPr/>
              </p:nvSpPr>
              <p:spPr bwMode="gray">
                <a:xfrm>
                  <a:off x="4983500" y="3248078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customer satisfaction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Rechteck 39"/>
                <p:cNvSpPr/>
                <p:nvPr/>
              </p:nvSpPr>
              <p:spPr bwMode="gray">
                <a:xfrm>
                  <a:off x="4983500" y="3571534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name recognition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" name="Rechteck 41"/>
                <p:cNvSpPr/>
                <p:nvPr/>
              </p:nvSpPr>
              <p:spPr bwMode="gray">
                <a:xfrm>
                  <a:off x="4983500" y="3894991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attitude (image / sympathie)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Rechteck 42"/>
                <p:cNvSpPr/>
                <p:nvPr/>
              </p:nvSpPr>
              <p:spPr bwMode="gray">
                <a:xfrm>
                  <a:off x="4983500" y="4218448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repurchase rate</a:t>
                  </a:r>
                </a:p>
              </p:txBody>
            </p:sp>
            <p:sp>
              <p:nvSpPr>
                <p:cNvPr id="44" name="Rechteck 43"/>
                <p:cNvSpPr/>
                <p:nvPr/>
              </p:nvSpPr>
              <p:spPr bwMode="gray">
                <a:xfrm>
                  <a:off x="4983500" y="4541904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level of distribution</a:t>
                  </a:r>
                  <a:endParaRPr lang="en-US" sz="1400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Rechteck 40"/>
                <p:cNvSpPr/>
                <p:nvPr/>
              </p:nvSpPr>
              <p:spPr bwMode="gray">
                <a:xfrm>
                  <a:off x="4983500" y="4865361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effects of knowledge</a:t>
                  </a:r>
                </a:p>
              </p:txBody>
            </p:sp>
            <p:sp>
              <p:nvSpPr>
                <p:cNvPr id="45" name="Rechteck 44"/>
                <p:cNvSpPr/>
                <p:nvPr/>
              </p:nvSpPr>
              <p:spPr bwMode="gray">
                <a:xfrm>
                  <a:off x="4983500" y="5188815"/>
                  <a:ext cx="3455688" cy="328417"/>
                </a:xfrm>
                <a:prstGeom prst="rect">
                  <a:avLst/>
                </a:prstGeom>
                <a:grpFill/>
                <a:ln w="12700">
                  <a:solidFill>
                    <a:srgbClr val="E6E6E6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/>
                  <a:r>
                    <a:rPr lang="en-US" sz="1400" noProof="1" smtClean="0">
                      <a:solidFill>
                        <a:srgbClr val="000000"/>
                      </a:solidFill>
                    </a:rPr>
                    <a:t>strength of purchase intention</a:t>
                  </a:r>
                </a:p>
              </p:txBody>
            </p: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0"/>
          <p:cNvGrpSpPr/>
          <p:nvPr/>
        </p:nvGrpSpPr>
        <p:grpSpPr>
          <a:xfrm>
            <a:off x="0" y="2569029"/>
            <a:ext cx="9144000" cy="3427438"/>
            <a:chOff x="0" y="2569029"/>
            <a:chExt cx="9144000" cy="3427438"/>
          </a:xfrm>
        </p:grpSpPr>
        <p:sp>
          <p:nvSpPr>
            <p:cNvPr id="93" name="Rectangle 5"/>
            <p:cNvSpPr>
              <a:spLocks noChangeArrowheads="1"/>
            </p:cNvSpPr>
            <p:nvPr/>
          </p:nvSpPr>
          <p:spPr bwMode="gray">
            <a:xfrm>
              <a:off x="0" y="2569029"/>
              <a:ext cx="9144000" cy="25037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2" name="Rectangle 5"/>
            <p:cNvSpPr>
              <a:spLocks noChangeArrowheads="1"/>
            </p:cNvSpPr>
            <p:nvPr/>
          </p:nvSpPr>
          <p:spPr bwMode="gray">
            <a:xfrm flipV="1">
              <a:off x="0" y="2819399"/>
              <a:ext cx="9144000" cy="317706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>
                    <a:alpha val="0"/>
                  </a:srgb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Goal criteria </a:t>
            </a:r>
            <a:r>
              <a:rPr lang="en-US" b="0" noProof="1" smtClean="0"/>
              <a:t>− SMART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554706"/>
          </a:xfrm>
        </p:spPr>
        <p:txBody>
          <a:bodyPr/>
          <a:lstStyle/>
          <a:p>
            <a:r>
              <a:rPr lang="en-US" sz="1800" noProof="1" smtClean="0"/>
              <a:t>The 5 criteria that define a goal so that it can be used in project management</a:t>
            </a:r>
            <a:endParaRPr lang="en-US" sz="1800" noProof="1"/>
          </a:p>
        </p:txBody>
      </p:sp>
      <p:grpSp>
        <p:nvGrpSpPr>
          <p:cNvPr id="5" name="Gruppieren 71"/>
          <p:cNvGrpSpPr/>
          <p:nvPr/>
        </p:nvGrpSpPr>
        <p:grpSpPr>
          <a:xfrm>
            <a:off x="642258" y="1926764"/>
            <a:ext cx="7850085" cy="3237945"/>
            <a:chOff x="642258" y="1926764"/>
            <a:chExt cx="7850085" cy="3237945"/>
          </a:xfrm>
        </p:grpSpPr>
        <p:grpSp>
          <p:nvGrpSpPr>
            <p:cNvPr id="6" name="Gruppieren 138"/>
            <p:cNvGrpSpPr/>
            <p:nvPr/>
          </p:nvGrpSpPr>
          <p:grpSpPr>
            <a:xfrm>
              <a:off x="649237" y="1926764"/>
              <a:ext cx="1353217" cy="1384634"/>
              <a:chOff x="649237" y="1926764"/>
              <a:chExt cx="1353217" cy="1384634"/>
            </a:xfrm>
          </p:grpSpPr>
          <p:sp>
            <p:nvSpPr>
              <p:cNvPr id="38" name="Abgerundetes Rechteck 37"/>
              <p:cNvSpPr/>
              <p:nvPr/>
            </p:nvSpPr>
            <p:spPr bwMode="auto">
              <a:xfrm>
                <a:off x="668693" y="1956018"/>
                <a:ext cx="1294806" cy="1321051"/>
              </a:xfrm>
              <a:prstGeom prst="roundRect">
                <a:avLst>
                  <a:gd name="adj" fmla="val 12357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0000" endA="300" endPos="38500" dist="50800" dir="5400000" sy="-100000" algn="bl" rotWithShape="0"/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7" name="Gruppieren 93"/>
              <p:cNvGrpSpPr/>
              <p:nvPr/>
            </p:nvGrpSpPr>
            <p:grpSpPr>
              <a:xfrm>
                <a:off x="649237" y="1926764"/>
                <a:ext cx="1353217" cy="1384634"/>
                <a:chOff x="429816" y="2886075"/>
                <a:chExt cx="1251648" cy="1280708"/>
              </a:xfrm>
              <a:effectLst/>
            </p:grpSpPr>
            <p:grpSp>
              <p:nvGrpSpPr>
                <p:cNvPr id="8" name="Gruppieren 94"/>
                <p:cNvGrpSpPr/>
                <p:nvPr/>
              </p:nvGrpSpPr>
              <p:grpSpPr>
                <a:xfrm>
                  <a:off x="429816" y="2886075"/>
                  <a:ext cx="1251648" cy="1280708"/>
                  <a:chOff x="429816" y="2886075"/>
                  <a:chExt cx="1251648" cy="1280708"/>
                </a:xfrm>
              </p:grpSpPr>
              <p:sp>
                <p:nvSpPr>
                  <p:cNvPr id="97" name="AutoShape 62" descr="© INSCALE GmbH, 26.05.2010&#10;http://www.presentationload.com/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429816" y="2886075"/>
                    <a:ext cx="1251648" cy="1280708"/>
                  </a:xfrm>
                  <a:prstGeom prst="rect">
                    <a:avLst/>
                  </a:prstGeom>
                  <a:noFill/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8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896454"/>
                    <a:ext cx="1212210" cy="1255800"/>
                  </a:xfrm>
                  <a:custGeom>
                    <a:avLst/>
                    <a:gdLst/>
                    <a:ahLst/>
                    <a:cxnLst>
                      <a:cxn ang="0">
                        <a:pos x="247" y="234"/>
                      </a:cxn>
                      <a:cxn ang="0">
                        <a:pos x="225" y="256"/>
                      </a:cxn>
                      <a:cxn ang="0">
                        <a:pos x="23" y="256"/>
                      </a:cxn>
                      <a:cxn ang="0">
                        <a:pos x="0" y="234"/>
                      </a:cxn>
                      <a:cxn ang="0">
                        <a:pos x="0" y="22"/>
                      </a:cxn>
                      <a:cxn ang="0">
                        <a:pos x="23" y="0"/>
                      </a:cxn>
                      <a:cxn ang="0">
                        <a:pos x="225" y="0"/>
                      </a:cxn>
                      <a:cxn ang="0">
                        <a:pos x="247" y="22"/>
                      </a:cxn>
                      <a:cxn ang="0">
                        <a:pos x="247" y="234"/>
                      </a:cxn>
                    </a:cxnLst>
                    <a:rect l="0" t="0" r="r" b="b"/>
                    <a:pathLst>
                      <a:path w="247" h="256">
                        <a:moveTo>
                          <a:pt x="247" y="234"/>
                        </a:moveTo>
                        <a:cubicBezTo>
                          <a:pt x="247" y="246"/>
                          <a:pt x="237" y="256"/>
                          <a:pt x="225" y="256"/>
                        </a:cubicBezTo>
                        <a:cubicBezTo>
                          <a:pt x="23" y="256"/>
                          <a:pt x="23" y="256"/>
                          <a:pt x="23" y="256"/>
                        </a:cubicBezTo>
                        <a:cubicBezTo>
                          <a:pt x="10" y="256"/>
                          <a:pt x="0" y="246"/>
                          <a:pt x="0" y="234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0" y="10"/>
                          <a:pt x="10" y="0"/>
                          <a:pt x="23" y="0"/>
                        </a:cubicBezTo>
                        <a:cubicBezTo>
                          <a:pt x="225" y="0"/>
                          <a:pt x="225" y="0"/>
                          <a:pt x="225" y="0"/>
                        </a:cubicBezTo>
                        <a:cubicBezTo>
                          <a:pt x="237" y="0"/>
                          <a:pt x="247" y="10"/>
                          <a:pt x="247" y="22"/>
                        </a:cubicBezTo>
                        <a:lnTo>
                          <a:pt x="247" y="2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E0E0DE">
                          <a:shade val="30000"/>
                          <a:satMod val="115000"/>
                        </a:srgbClr>
                      </a:gs>
                      <a:gs pos="50000">
                        <a:srgbClr val="E0E0DE">
                          <a:shade val="67500"/>
                          <a:satMod val="115000"/>
                        </a:srgbClr>
                      </a:gs>
                      <a:gs pos="100000">
                        <a:srgbClr val="E0E0DE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9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54724" y="2918290"/>
                    <a:ext cx="1201831" cy="1233963"/>
                  </a:xfrm>
                  <a:custGeom>
                    <a:avLst/>
                    <a:gdLst>
                      <a:gd name="connsiteX0" fmla="*/ 9673 w 10000"/>
                      <a:gd name="connsiteY0" fmla="*/ 26 h 9908"/>
                      <a:gd name="connsiteX1" fmla="*/ 9673 w 10000"/>
                      <a:gd name="connsiteY1" fmla="*/ 26 h 9908"/>
                      <a:gd name="connsiteX2" fmla="*/ 8857 w 10000"/>
                      <a:gd name="connsiteY2" fmla="*/ 538 h 9908"/>
                      <a:gd name="connsiteX3" fmla="*/ 9102 w 10000"/>
                      <a:gd name="connsiteY3" fmla="*/ 2073 h 9908"/>
                      <a:gd name="connsiteX4" fmla="*/ 9102 w 10000"/>
                      <a:gd name="connsiteY4" fmla="*/ 7113 h 9908"/>
                      <a:gd name="connsiteX5" fmla="*/ 9102 w 10000"/>
                      <a:gd name="connsiteY5" fmla="*/ 7310 h 9908"/>
                      <a:gd name="connsiteX6" fmla="*/ 8204 w 10000"/>
                      <a:gd name="connsiteY6" fmla="*/ 8018 h 9908"/>
                      <a:gd name="connsiteX7" fmla="*/ 1918 w 10000"/>
                      <a:gd name="connsiteY7" fmla="*/ 8018 h 9908"/>
                      <a:gd name="connsiteX8" fmla="*/ 1837 w 10000"/>
                      <a:gd name="connsiteY8" fmla="*/ 7979 h 9908"/>
                      <a:gd name="connsiteX9" fmla="*/ 0 w 10000"/>
                      <a:gd name="connsiteY9" fmla="*/ 9357 h 9908"/>
                      <a:gd name="connsiteX10" fmla="*/ 857 w 10000"/>
                      <a:gd name="connsiteY10" fmla="*/ 9908 h 9908"/>
                      <a:gd name="connsiteX11" fmla="*/ 9102 w 10000"/>
                      <a:gd name="connsiteY11" fmla="*/ 9908 h 9908"/>
                      <a:gd name="connsiteX12" fmla="*/ 10000 w 10000"/>
                      <a:gd name="connsiteY12" fmla="*/ 9042 h 9908"/>
                      <a:gd name="connsiteX13" fmla="*/ 10000 w 10000"/>
                      <a:gd name="connsiteY13" fmla="*/ 695 h 9908"/>
                      <a:gd name="connsiteX14" fmla="*/ 9673 w 10000"/>
                      <a:gd name="connsiteY14" fmla="*/ 26 h 9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00" h="9908">
                        <a:moveTo>
                          <a:pt x="9673" y="26"/>
                        </a:moveTo>
                        <a:lnTo>
                          <a:pt x="9673" y="26"/>
                        </a:lnTo>
                        <a:cubicBezTo>
                          <a:pt x="8980" y="-92"/>
                          <a:pt x="8857" y="223"/>
                          <a:pt x="8857" y="538"/>
                        </a:cubicBezTo>
                        <a:cubicBezTo>
                          <a:pt x="8762" y="879"/>
                          <a:pt x="9061" y="977"/>
                          <a:pt x="9102" y="2073"/>
                        </a:cubicBezTo>
                        <a:lnTo>
                          <a:pt x="9102" y="7113"/>
                        </a:lnTo>
                        <a:lnTo>
                          <a:pt x="9102" y="7310"/>
                        </a:lnTo>
                        <a:cubicBezTo>
                          <a:pt x="8980" y="7703"/>
                          <a:pt x="8612" y="8018"/>
                          <a:pt x="8204" y="8018"/>
                        </a:cubicBezTo>
                        <a:lnTo>
                          <a:pt x="1918" y="8018"/>
                        </a:lnTo>
                        <a:cubicBezTo>
                          <a:pt x="1878" y="8018"/>
                          <a:pt x="1878" y="7979"/>
                          <a:pt x="1837" y="7979"/>
                        </a:cubicBezTo>
                        <a:cubicBezTo>
                          <a:pt x="857" y="7979"/>
                          <a:pt x="204" y="8215"/>
                          <a:pt x="0" y="9357"/>
                        </a:cubicBezTo>
                        <a:cubicBezTo>
                          <a:pt x="122" y="9672"/>
                          <a:pt x="449" y="9908"/>
                          <a:pt x="857" y="9908"/>
                        </a:cubicBezTo>
                        <a:lnTo>
                          <a:pt x="9102" y="9908"/>
                        </a:lnTo>
                        <a:cubicBezTo>
                          <a:pt x="9592" y="9908"/>
                          <a:pt x="10000" y="9514"/>
                          <a:pt x="10000" y="9042"/>
                        </a:cubicBezTo>
                        <a:lnTo>
                          <a:pt x="10000" y="695"/>
                        </a:lnTo>
                        <a:cubicBezTo>
                          <a:pt x="10000" y="420"/>
                          <a:pt x="9878" y="184"/>
                          <a:pt x="9673" y="2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CDCEC0">
                          <a:shade val="30000"/>
                          <a:satMod val="115000"/>
                        </a:srgbClr>
                      </a:gs>
                      <a:gs pos="50000">
                        <a:srgbClr val="CDCEC0">
                          <a:shade val="67500"/>
                          <a:satMod val="115000"/>
                        </a:srgbClr>
                      </a:gs>
                      <a:gs pos="100000">
                        <a:srgbClr val="CDCEC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0" name="Freeform 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900605"/>
                    <a:ext cx="1222588" cy="1251648"/>
                  </a:xfrm>
                  <a:custGeom>
                    <a:avLst/>
                    <a:gdLst/>
                    <a:ahLst/>
                    <a:cxnLst>
                      <a:cxn ang="0">
                        <a:pos x="249" y="232"/>
                      </a:cxn>
                      <a:cxn ang="0">
                        <a:pos x="226" y="255"/>
                      </a:cxn>
                      <a:cxn ang="0">
                        <a:pos x="23" y="255"/>
                      </a:cxn>
                      <a:cxn ang="0">
                        <a:pos x="0" y="232"/>
                      </a:cxn>
                      <a:cxn ang="0">
                        <a:pos x="0" y="23"/>
                      </a:cxn>
                      <a:cxn ang="0">
                        <a:pos x="23" y="0"/>
                      </a:cxn>
                      <a:cxn ang="0">
                        <a:pos x="226" y="0"/>
                      </a:cxn>
                      <a:cxn ang="0">
                        <a:pos x="249" y="23"/>
                      </a:cxn>
                      <a:cxn ang="0">
                        <a:pos x="249" y="232"/>
                      </a:cxn>
                    </a:cxnLst>
                    <a:rect l="0" t="0" r="r" b="b"/>
                    <a:pathLst>
                      <a:path w="249" h="255">
                        <a:moveTo>
                          <a:pt x="249" y="232"/>
                        </a:moveTo>
                        <a:cubicBezTo>
                          <a:pt x="249" y="245"/>
                          <a:pt x="238" y="255"/>
                          <a:pt x="226" y="255"/>
                        </a:cubicBezTo>
                        <a:cubicBezTo>
                          <a:pt x="23" y="255"/>
                          <a:pt x="23" y="255"/>
                          <a:pt x="23" y="255"/>
                        </a:cubicBezTo>
                        <a:cubicBezTo>
                          <a:pt x="11" y="255"/>
                          <a:pt x="0" y="245"/>
                          <a:pt x="0" y="232"/>
                        </a:cubicBezTo>
                        <a:cubicBezTo>
                          <a:pt x="0" y="23"/>
                          <a:pt x="0" y="23"/>
                          <a:pt x="0" y="23"/>
                        </a:cubicBezTo>
                        <a:cubicBezTo>
                          <a:pt x="0" y="10"/>
                          <a:pt x="11" y="0"/>
                          <a:pt x="23" y="0"/>
                        </a:cubicBezTo>
                        <a:cubicBezTo>
                          <a:pt x="226" y="0"/>
                          <a:pt x="226" y="0"/>
                          <a:pt x="226" y="0"/>
                        </a:cubicBezTo>
                        <a:cubicBezTo>
                          <a:pt x="238" y="0"/>
                          <a:pt x="249" y="10"/>
                          <a:pt x="249" y="23"/>
                        </a:cubicBezTo>
                        <a:lnTo>
                          <a:pt x="249" y="232"/>
                        </a:lnTo>
                        <a:close/>
                      </a:path>
                    </a:pathLst>
                  </a:custGeom>
                  <a:noFill/>
                  <a:ln w="14288">
                    <a:solidFill>
                      <a:srgbClr val="C6C7C8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1" name="Abgerundetes Rechteck 100"/>
                  <p:cNvSpPr/>
                  <p:nvPr/>
                </p:nvSpPr>
                <p:spPr bwMode="auto">
                  <a:xfrm>
                    <a:off x="578795" y="2962072"/>
                    <a:ext cx="972767" cy="963039"/>
                  </a:xfrm>
                  <a:prstGeom prst="roundRect">
                    <a:avLst>
                      <a:gd name="adj" fmla="val 13021"/>
                    </a:avLst>
                  </a:prstGeom>
                  <a:solidFill>
                    <a:srgbClr val="FFFFFF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en-US" noProof="1"/>
                  </a:p>
                </p:txBody>
              </p:sp>
              <p:sp>
                <p:nvSpPr>
                  <p:cNvPr id="102" name="Freeform 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79836" y="2974646"/>
                    <a:ext cx="761782" cy="93610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44" y="0"/>
                      </a:cxn>
                      <a:cxn ang="0">
                        <a:pos x="83" y="64"/>
                      </a:cxn>
                      <a:cxn ang="0">
                        <a:pos x="0" y="194"/>
                      </a:cxn>
                      <a:cxn ang="0">
                        <a:pos x="131" y="194"/>
                      </a:cxn>
                      <a:cxn ang="0">
                        <a:pos x="155" y="171"/>
                      </a:cxn>
                      <a:cxn ang="0">
                        <a:pos x="155" y="22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55" h="194">
                        <a:moveTo>
                          <a:pt x="131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4" y="0"/>
                          <a:pt x="80" y="19"/>
                          <a:pt x="83" y="64"/>
                        </a:cubicBezTo>
                        <a:cubicBezTo>
                          <a:pt x="87" y="108"/>
                          <a:pt x="57" y="178"/>
                          <a:pt x="0" y="194"/>
                        </a:cubicBezTo>
                        <a:cubicBezTo>
                          <a:pt x="131" y="194"/>
                          <a:pt x="131" y="194"/>
                          <a:pt x="131" y="194"/>
                        </a:cubicBezTo>
                        <a:cubicBezTo>
                          <a:pt x="144" y="194"/>
                          <a:pt x="155" y="183"/>
                          <a:pt x="155" y="171"/>
                        </a:cubicBezTo>
                        <a:cubicBezTo>
                          <a:pt x="155" y="22"/>
                          <a:pt x="155" y="22"/>
                          <a:pt x="155" y="22"/>
                        </a:cubicBezTo>
                        <a:cubicBezTo>
                          <a:pt x="155" y="10"/>
                          <a:pt x="144" y="0"/>
                          <a:pt x="131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96" name="Abgerundetes Rechteck 95"/>
                <p:cNvSpPr/>
                <p:nvPr/>
              </p:nvSpPr>
              <p:spPr bwMode="auto">
                <a:xfrm>
                  <a:off x="577447" y="2968815"/>
                  <a:ext cx="972767" cy="963039"/>
                </a:xfrm>
                <a:prstGeom prst="roundRect">
                  <a:avLst>
                    <a:gd name="adj" fmla="val 13021"/>
                  </a:avLst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6000" b="1" spc="50" noProof="1" smtClean="0">
                      <a:ln w="13500">
                        <a:solidFill>
                          <a:schemeClr val="accent1">
                            <a:shade val="2500"/>
                            <a:alpha val="6500"/>
                          </a:schemeClr>
                        </a:solidFill>
                        <a:prstDash val="solid"/>
                      </a:ln>
                      <a:solidFill>
                        <a:srgbClr val="969696">
                          <a:alpha val="95000"/>
                        </a:srgbClr>
                      </a:solidFill>
                      <a:effectLst>
                        <a:innerShdw blurRad="50900" dist="38500" dir="13500000">
                          <a:srgbClr val="000000">
                            <a:alpha val="60000"/>
                          </a:srgbClr>
                        </a:innerShdw>
                      </a:effectLst>
                    </a:rPr>
                    <a:t>S</a:t>
                  </a:r>
                  <a:endParaRPr lang="en-US" sz="6000" b="1" spc="50" noProof="1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rgbClr val="969696">
                        <a:alpha val="95000"/>
                      </a:srgb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endParaRPr>
                </a:p>
              </p:txBody>
            </p:sp>
          </p:grpSp>
        </p:grpSp>
        <p:grpSp>
          <p:nvGrpSpPr>
            <p:cNvPr id="9" name="Gruppieren 139"/>
            <p:cNvGrpSpPr/>
            <p:nvPr/>
          </p:nvGrpSpPr>
          <p:grpSpPr>
            <a:xfrm>
              <a:off x="2266355" y="1926764"/>
              <a:ext cx="1353217" cy="1384634"/>
              <a:chOff x="2266355" y="1926764"/>
              <a:chExt cx="1353217" cy="1384634"/>
            </a:xfrm>
          </p:grpSpPr>
          <p:sp>
            <p:nvSpPr>
              <p:cNvPr id="42" name="Abgerundetes Rechteck 41"/>
              <p:cNvSpPr/>
              <p:nvPr/>
            </p:nvSpPr>
            <p:spPr bwMode="auto">
              <a:xfrm>
                <a:off x="2285811" y="1956018"/>
                <a:ext cx="1294806" cy="1321051"/>
              </a:xfrm>
              <a:prstGeom prst="roundRect">
                <a:avLst>
                  <a:gd name="adj" fmla="val 12357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0000" endA="300" endPos="38500" dist="50800" dir="5400000" sy="-100000" algn="bl" rotWithShape="0"/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0" name="Gruppieren 102"/>
              <p:cNvGrpSpPr/>
              <p:nvPr/>
            </p:nvGrpSpPr>
            <p:grpSpPr>
              <a:xfrm>
                <a:off x="2266355" y="1926764"/>
                <a:ext cx="1353217" cy="1384634"/>
                <a:chOff x="429816" y="2886075"/>
                <a:chExt cx="1251648" cy="1280708"/>
              </a:xfrm>
              <a:effectLst/>
            </p:grpSpPr>
            <p:grpSp>
              <p:nvGrpSpPr>
                <p:cNvPr id="11" name="Gruppieren 103"/>
                <p:cNvGrpSpPr/>
                <p:nvPr/>
              </p:nvGrpSpPr>
              <p:grpSpPr>
                <a:xfrm>
                  <a:off x="429816" y="2886075"/>
                  <a:ext cx="1251648" cy="1280708"/>
                  <a:chOff x="429816" y="2886075"/>
                  <a:chExt cx="1251648" cy="1280708"/>
                </a:xfrm>
              </p:grpSpPr>
              <p:sp>
                <p:nvSpPr>
                  <p:cNvPr id="106" name="AutoShape 62" descr="© INSCALE GmbH, 26.05.2010&#10;http://www.presentationload.com/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429816" y="2886075"/>
                    <a:ext cx="1251648" cy="1280708"/>
                  </a:xfrm>
                  <a:prstGeom prst="rect">
                    <a:avLst/>
                  </a:prstGeom>
                  <a:noFill/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7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896454"/>
                    <a:ext cx="1212210" cy="1255800"/>
                  </a:xfrm>
                  <a:custGeom>
                    <a:avLst/>
                    <a:gdLst/>
                    <a:ahLst/>
                    <a:cxnLst>
                      <a:cxn ang="0">
                        <a:pos x="247" y="234"/>
                      </a:cxn>
                      <a:cxn ang="0">
                        <a:pos x="225" y="256"/>
                      </a:cxn>
                      <a:cxn ang="0">
                        <a:pos x="23" y="256"/>
                      </a:cxn>
                      <a:cxn ang="0">
                        <a:pos x="0" y="234"/>
                      </a:cxn>
                      <a:cxn ang="0">
                        <a:pos x="0" y="22"/>
                      </a:cxn>
                      <a:cxn ang="0">
                        <a:pos x="23" y="0"/>
                      </a:cxn>
                      <a:cxn ang="0">
                        <a:pos x="225" y="0"/>
                      </a:cxn>
                      <a:cxn ang="0">
                        <a:pos x="247" y="22"/>
                      </a:cxn>
                      <a:cxn ang="0">
                        <a:pos x="247" y="234"/>
                      </a:cxn>
                    </a:cxnLst>
                    <a:rect l="0" t="0" r="r" b="b"/>
                    <a:pathLst>
                      <a:path w="247" h="256">
                        <a:moveTo>
                          <a:pt x="247" y="234"/>
                        </a:moveTo>
                        <a:cubicBezTo>
                          <a:pt x="247" y="246"/>
                          <a:pt x="237" y="256"/>
                          <a:pt x="225" y="256"/>
                        </a:cubicBezTo>
                        <a:cubicBezTo>
                          <a:pt x="23" y="256"/>
                          <a:pt x="23" y="256"/>
                          <a:pt x="23" y="256"/>
                        </a:cubicBezTo>
                        <a:cubicBezTo>
                          <a:pt x="10" y="256"/>
                          <a:pt x="0" y="246"/>
                          <a:pt x="0" y="234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0" y="10"/>
                          <a:pt x="10" y="0"/>
                          <a:pt x="23" y="0"/>
                        </a:cubicBezTo>
                        <a:cubicBezTo>
                          <a:pt x="225" y="0"/>
                          <a:pt x="225" y="0"/>
                          <a:pt x="225" y="0"/>
                        </a:cubicBezTo>
                        <a:cubicBezTo>
                          <a:pt x="237" y="0"/>
                          <a:pt x="247" y="10"/>
                          <a:pt x="247" y="22"/>
                        </a:cubicBezTo>
                        <a:lnTo>
                          <a:pt x="247" y="2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E0E0DE">
                          <a:shade val="30000"/>
                          <a:satMod val="115000"/>
                        </a:srgbClr>
                      </a:gs>
                      <a:gs pos="50000">
                        <a:srgbClr val="E0E0DE">
                          <a:shade val="67500"/>
                          <a:satMod val="115000"/>
                        </a:srgbClr>
                      </a:gs>
                      <a:gs pos="100000">
                        <a:srgbClr val="E0E0DE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8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54724" y="2918290"/>
                    <a:ext cx="1201831" cy="1233963"/>
                  </a:xfrm>
                  <a:custGeom>
                    <a:avLst/>
                    <a:gdLst>
                      <a:gd name="connsiteX0" fmla="*/ 9673 w 10000"/>
                      <a:gd name="connsiteY0" fmla="*/ 26 h 9908"/>
                      <a:gd name="connsiteX1" fmla="*/ 9673 w 10000"/>
                      <a:gd name="connsiteY1" fmla="*/ 26 h 9908"/>
                      <a:gd name="connsiteX2" fmla="*/ 8857 w 10000"/>
                      <a:gd name="connsiteY2" fmla="*/ 538 h 9908"/>
                      <a:gd name="connsiteX3" fmla="*/ 9102 w 10000"/>
                      <a:gd name="connsiteY3" fmla="*/ 2073 h 9908"/>
                      <a:gd name="connsiteX4" fmla="*/ 9102 w 10000"/>
                      <a:gd name="connsiteY4" fmla="*/ 7113 h 9908"/>
                      <a:gd name="connsiteX5" fmla="*/ 9102 w 10000"/>
                      <a:gd name="connsiteY5" fmla="*/ 7310 h 9908"/>
                      <a:gd name="connsiteX6" fmla="*/ 8204 w 10000"/>
                      <a:gd name="connsiteY6" fmla="*/ 8018 h 9908"/>
                      <a:gd name="connsiteX7" fmla="*/ 1918 w 10000"/>
                      <a:gd name="connsiteY7" fmla="*/ 8018 h 9908"/>
                      <a:gd name="connsiteX8" fmla="*/ 1837 w 10000"/>
                      <a:gd name="connsiteY8" fmla="*/ 7979 h 9908"/>
                      <a:gd name="connsiteX9" fmla="*/ 0 w 10000"/>
                      <a:gd name="connsiteY9" fmla="*/ 9357 h 9908"/>
                      <a:gd name="connsiteX10" fmla="*/ 857 w 10000"/>
                      <a:gd name="connsiteY10" fmla="*/ 9908 h 9908"/>
                      <a:gd name="connsiteX11" fmla="*/ 9102 w 10000"/>
                      <a:gd name="connsiteY11" fmla="*/ 9908 h 9908"/>
                      <a:gd name="connsiteX12" fmla="*/ 10000 w 10000"/>
                      <a:gd name="connsiteY12" fmla="*/ 9042 h 9908"/>
                      <a:gd name="connsiteX13" fmla="*/ 10000 w 10000"/>
                      <a:gd name="connsiteY13" fmla="*/ 695 h 9908"/>
                      <a:gd name="connsiteX14" fmla="*/ 9673 w 10000"/>
                      <a:gd name="connsiteY14" fmla="*/ 26 h 9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00" h="9908">
                        <a:moveTo>
                          <a:pt x="9673" y="26"/>
                        </a:moveTo>
                        <a:lnTo>
                          <a:pt x="9673" y="26"/>
                        </a:lnTo>
                        <a:cubicBezTo>
                          <a:pt x="8980" y="-92"/>
                          <a:pt x="8857" y="223"/>
                          <a:pt x="8857" y="538"/>
                        </a:cubicBezTo>
                        <a:cubicBezTo>
                          <a:pt x="8762" y="879"/>
                          <a:pt x="9061" y="977"/>
                          <a:pt x="9102" y="2073"/>
                        </a:cubicBezTo>
                        <a:lnTo>
                          <a:pt x="9102" y="7113"/>
                        </a:lnTo>
                        <a:lnTo>
                          <a:pt x="9102" y="7310"/>
                        </a:lnTo>
                        <a:cubicBezTo>
                          <a:pt x="8980" y="7703"/>
                          <a:pt x="8612" y="8018"/>
                          <a:pt x="8204" y="8018"/>
                        </a:cubicBezTo>
                        <a:lnTo>
                          <a:pt x="1918" y="8018"/>
                        </a:lnTo>
                        <a:cubicBezTo>
                          <a:pt x="1878" y="8018"/>
                          <a:pt x="1878" y="7979"/>
                          <a:pt x="1837" y="7979"/>
                        </a:cubicBezTo>
                        <a:cubicBezTo>
                          <a:pt x="857" y="7979"/>
                          <a:pt x="204" y="8215"/>
                          <a:pt x="0" y="9357"/>
                        </a:cubicBezTo>
                        <a:cubicBezTo>
                          <a:pt x="122" y="9672"/>
                          <a:pt x="449" y="9908"/>
                          <a:pt x="857" y="9908"/>
                        </a:cubicBezTo>
                        <a:lnTo>
                          <a:pt x="9102" y="9908"/>
                        </a:lnTo>
                        <a:cubicBezTo>
                          <a:pt x="9592" y="9908"/>
                          <a:pt x="10000" y="9514"/>
                          <a:pt x="10000" y="9042"/>
                        </a:cubicBezTo>
                        <a:lnTo>
                          <a:pt x="10000" y="695"/>
                        </a:lnTo>
                        <a:cubicBezTo>
                          <a:pt x="10000" y="420"/>
                          <a:pt x="9878" y="184"/>
                          <a:pt x="9673" y="2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CDCEC0">
                          <a:shade val="30000"/>
                          <a:satMod val="115000"/>
                        </a:srgbClr>
                      </a:gs>
                      <a:gs pos="50000">
                        <a:srgbClr val="CDCEC0">
                          <a:shade val="67500"/>
                          <a:satMod val="115000"/>
                        </a:srgbClr>
                      </a:gs>
                      <a:gs pos="100000">
                        <a:srgbClr val="CDCEC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9" name="Freeform 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900605"/>
                    <a:ext cx="1222588" cy="1251648"/>
                  </a:xfrm>
                  <a:custGeom>
                    <a:avLst/>
                    <a:gdLst/>
                    <a:ahLst/>
                    <a:cxnLst>
                      <a:cxn ang="0">
                        <a:pos x="249" y="232"/>
                      </a:cxn>
                      <a:cxn ang="0">
                        <a:pos x="226" y="255"/>
                      </a:cxn>
                      <a:cxn ang="0">
                        <a:pos x="23" y="255"/>
                      </a:cxn>
                      <a:cxn ang="0">
                        <a:pos x="0" y="232"/>
                      </a:cxn>
                      <a:cxn ang="0">
                        <a:pos x="0" y="23"/>
                      </a:cxn>
                      <a:cxn ang="0">
                        <a:pos x="23" y="0"/>
                      </a:cxn>
                      <a:cxn ang="0">
                        <a:pos x="226" y="0"/>
                      </a:cxn>
                      <a:cxn ang="0">
                        <a:pos x="249" y="23"/>
                      </a:cxn>
                      <a:cxn ang="0">
                        <a:pos x="249" y="232"/>
                      </a:cxn>
                    </a:cxnLst>
                    <a:rect l="0" t="0" r="r" b="b"/>
                    <a:pathLst>
                      <a:path w="249" h="255">
                        <a:moveTo>
                          <a:pt x="249" y="232"/>
                        </a:moveTo>
                        <a:cubicBezTo>
                          <a:pt x="249" y="245"/>
                          <a:pt x="238" y="255"/>
                          <a:pt x="226" y="255"/>
                        </a:cubicBezTo>
                        <a:cubicBezTo>
                          <a:pt x="23" y="255"/>
                          <a:pt x="23" y="255"/>
                          <a:pt x="23" y="255"/>
                        </a:cubicBezTo>
                        <a:cubicBezTo>
                          <a:pt x="11" y="255"/>
                          <a:pt x="0" y="245"/>
                          <a:pt x="0" y="232"/>
                        </a:cubicBezTo>
                        <a:cubicBezTo>
                          <a:pt x="0" y="23"/>
                          <a:pt x="0" y="23"/>
                          <a:pt x="0" y="23"/>
                        </a:cubicBezTo>
                        <a:cubicBezTo>
                          <a:pt x="0" y="10"/>
                          <a:pt x="11" y="0"/>
                          <a:pt x="23" y="0"/>
                        </a:cubicBezTo>
                        <a:cubicBezTo>
                          <a:pt x="226" y="0"/>
                          <a:pt x="226" y="0"/>
                          <a:pt x="226" y="0"/>
                        </a:cubicBezTo>
                        <a:cubicBezTo>
                          <a:pt x="238" y="0"/>
                          <a:pt x="249" y="10"/>
                          <a:pt x="249" y="23"/>
                        </a:cubicBezTo>
                        <a:lnTo>
                          <a:pt x="249" y="232"/>
                        </a:lnTo>
                        <a:close/>
                      </a:path>
                    </a:pathLst>
                  </a:custGeom>
                  <a:noFill/>
                  <a:ln w="14288">
                    <a:solidFill>
                      <a:srgbClr val="C6C7C8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0" name="Abgerundetes Rechteck 109"/>
                  <p:cNvSpPr/>
                  <p:nvPr/>
                </p:nvSpPr>
                <p:spPr bwMode="auto">
                  <a:xfrm>
                    <a:off x="578795" y="2962072"/>
                    <a:ext cx="972767" cy="963039"/>
                  </a:xfrm>
                  <a:prstGeom prst="roundRect">
                    <a:avLst>
                      <a:gd name="adj" fmla="val 13021"/>
                    </a:avLst>
                  </a:prstGeom>
                  <a:solidFill>
                    <a:srgbClr val="FFFFFF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en-US" noProof="1"/>
                  </a:p>
                </p:txBody>
              </p:sp>
              <p:sp>
                <p:nvSpPr>
                  <p:cNvPr id="111" name="Freeform 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79836" y="2974646"/>
                    <a:ext cx="761782" cy="93610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44" y="0"/>
                      </a:cxn>
                      <a:cxn ang="0">
                        <a:pos x="83" y="64"/>
                      </a:cxn>
                      <a:cxn ang="0">
                        <a:pos x="0" y="194"/>
                      </a:cxn>
                      <a:cxn ang="0">
                        <a:pos x="131" y="194"/>
                      </a:cxn>
                      <a:cxn ang="0">
                        <a:pos x="155" y="171"/>
                      </a:cxn>
                      <a:cxn ang="0">
                        <a:pos x="155" y="22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55" h="194">
                        <a:moveTo>
                          <a:pt x="131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4" y="0"/>
                          <a:pt x="80" y="19"/>
                          <a:pt x="83" y="64"/>
                        </a:cubicBezTo>
                        <a:cubicBezTo>
                          <a:pt x="87" y="108"/>
                          <a:pt x="57" y="178"/>
                          <a:pt x="0" y="194"/>
                        </a:cubicBezTo>
                        <a:cubicBezTo>
                          <a:pt x="131" y="194"/>
                          <a:pt x="131" y="194"/>
                          <a:pt x="131" y="194"/>
                        </a:cubicBezTo>
                        <a:cubicBezTo>
                          <a:pt x="144" y="194"/>
                          <a:pt x="155" y="183"/>
                          <a:pt x="155" y="171"/>
                        </a:cubicBezTo>
                        <a:cubicBezTo>
                          <a:pt x="155" y="22"/>
                          <a:pt x="155" y="22"/>
                          <a:pt x="155" y="22"/>
                        </a:cubicBezTo>
                        <a:cubicBezTo>
                          <a:pt x="155" y="10"/>
                          <a:pt x="144" y="0"/>
                          <a:pt x="131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105" name="Abgerundetes Rechteck 104"/>
                <p:cNvSpPr/>
                <p:nvPr/>
              </p:nvSpPr>
              <p:spPr bwMode="auto">
                <a:xfrm>
                  <a:off x="577447" y="2968815"/>
                  <a:ext cx="972767" cy="963039"/>
                </a:xfrm>
                <a:prstGeom prst="roundRect">
                  <a:avLst>
                    <a:gd name="adj" fmla="val 13021"/>
                  </a:avLst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6000" b="1" spc="50" noProof="1" smtClean="0">
                      <a:ln w="13500">
                        <a:solidFill>
                          <a:schemeClr val="accent1">
                            <a:shade val="2500"/>
                            <a:alpha val="6500"/>
                          </a:schemeClr>
                        </a:solidFill>
                        <a:prstDash val="solid"/>
                      </a:ln>
                      <a:solidFill>
                        <a:srgbClr val="969696">
                          <a:alpha val="95000"/>
                        </a:srgbClr>
                      </a:solidFill>
                      <a:effectLst>
                        <a:innerShdw blurRad="50900" dist="38500" dir="13500000">
                          <a:srgbClr val="000000">
                            <a:alpha val="60000"/>
                          </a:srgbClr>
                        </a:innerShdw>
                      </a:effectLst>
                    </a:rPr>
                    <a:t>M</a:t>
                  </a:r>
                  <a:endParaRPr lang="en-US" sz="6000" b="1" spc="50" noProof="1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rgbClr val="969696">
                        <a:alpha val="95000"/>
                      </a:srgb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endParaRPr>
                </a:p>
              </p:txBody>
            </p:sp>
          </p:grpSp>
        </p:grpSp>
        <p:grpSp>
          <p:nvGrpSpPr>
            <p:cNvPr id="12" name="Gruppieren 140"/>
            <p:cNvGrpSpPr/>
            <p:nvPr/>
          </p:nvGrpSpPr>
          <p:grpSpPr>
            <a:xfrm>
              <a:off x="3883472" y="1926764"/>
              <a:ext cx="1353217" cy="1384634"/>
              <a:chOff x="3883472" y="1926764"/>
              <a:chExt cx="1353217" cy="1384634"/>
            </a:xfrm>
          </p:grpSpPr>
          <p:sp>
            <p:nvSpPr>
              <p:cNvPr id="53" name="Abgerundetes Rechteck 52"/>
              <p:cNvSpPr/>
              <p:nvPr/>
            </p:nvSpPr>
            <p:spPr bwMode="auto">
              <a:xfrm>
                <a:off x="3902928" y="1956018"/>
                <a:ext cx="1294806" cy="1321051"/>
              </a:xfrm>
              <a:prstGeom prst="roundRect">
                <a:avLst>
                  <a:gd name="adj" fmla="val 12357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0000" endA="300" endPos="38500" dist="50800" dir="5400000" sy="-100000" algn="bl" rotWithShape="0"/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3" name="Gruppieren 111"/>
              <p:cNvGrpSpPr/>
              <p:nvPr/>
            </p:nvGrpSpPr>
            <p:grpSpPr>
              <a:xfrm>
                <a:off x="3883472" y="1926764"/>
                <a:ext cx="1353217" cy="1384634"/>
                <a:chOff x="429816" y="2886075"/>
                <a:chExt cx="1251648" cy="1280708"/>
              </a:xfrm>
              <a:effectLst/>
            </p:grpSpPr>
            <p:grpSp>
              <p:nvGrpSpPr>
                <p:cNvPr id="14" name="Gruppieren 112"/>
                <p:cNvGrpSpPr/>
                <p:nvPr/>
              </p:nvGrpSpPr>
              <p:grpSpPr>
                <a:xfrm>
                  <a:off x="429816" y="2886075"/>
                  <a:ext cx="1251648" cy="1280708"/>
                  <a:chOff x="429816" y="2886075"/>
                  <a:chExt cx="1251648" cy="1280708"/>
                </a:xfrm>
              </p:grpSpPr>
              <p:sp>
                <p:nvSpPr>
                  <p:cNvPr id="115" name="AutoShape 62" descr="© INSCALE GmbH, 26.05.2010&#10;http://www.presentationload.com/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429816" y="2886075"/>
                    <a:ext cx="1251648" cy="1280708"/>
                  </a:xfrm>
                  <a:prstGeom prst="rect">
                    <a:avLst/>
                  </a:prstGeom>
                  <a:noFill/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6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896454"/>
                    <a:ext cx="1212210" cy="1255800"/>
                  </a:xfrm>
                  <a:custGeom>
                    <a:avLst/>
                    <a:gdLst/>
                    <a:ahLst/>
                    <a:cxnLst>
                      <a:cxn ang="0">
                        <a:pos x="247" y="234"/>
                      </a:cxn>
                      <a:cxn ang="0">
                        <a:pos x="225" y="256"/>
                      </a:cxn>
                      <a:cxn ang="0">
                        <a:pos x="23" y="256"/>
                      </a:cxn>
                      <a:cxn ang="0">
                        <a:pos x="0" y="234"/>
                      </a:cxn>
                      <a:cxn ang="0">
                        <a:pos x="0" y="22"/>
                      </a:cxn>
                      <a:cxn ang="0">
                        <a:pos x="23" y="0"/>
                      </a:cxn>
                      <a:cxn ang="0">
                        <a:pos x="225" y="0"/>
                      </a:cxn>
                      <a:cxn ang="0">
                        <a:pos x="247" y="22"/>
                      </a:cxn>
                      <a:cxn ang="0">
                        <a:pos x="247" y="234"/>
                      </a:cxn>
                    </a:cxnLst>
                    <a:rect l="0" t="0" r="r" b="b"/>
                    <a:pathLst>
                      <a:path w="247" h="256">
                        <a:moveTo>
                          <a:pt x="247" y="234"/>
                        </a:moveTo>
                        <a:cubicBezTo>
                          <a:pt x="247" y="246"/>
                          <a:pt x="237" y="256"/>
                          <a:pt x="225" y="256"/>
                        </a:cubicBezTo>
                        <a:cubicBezTo>
                          <a:pt x="23" y="256"/>
                          <a:pt x="23" y="256"/>
                          <a:pt x="23" y="256"/>
                        </a:cubicBezTo>
                        <a:cubicBezTo>
                          <a:pt x="10" y="256"/>
                          <a:pt x="0" y="246"/>
                          <a:pt x="0" y="234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0" y="10"/>
                          <a:pt x="10" y="0"/>
                          <a:pt x="23" y="0"/>
                        </a:cubicBezTo>
                        <a:cubicBezTo>
                          <a:pt x="225" y="0"/>
                          <a:pt x="225" y="0"/>
                          <a:pt x="225" y="0"/>
                        </a:cubicBezTo>
                        <a:cubicBezTo>
                          <a:pt x="237" y="0"/>
                          <a:pt x="247" y="10"/>
                          <a:pt x="247" y="22"/>
                        </a:cubicBezTo>
                        <a:lnTo>
                          <a:pt x="247" y="2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E0E0DE">
                          <a:shade val="30000"/>
                          <a:satMod val="115000"/>
                        </a:srgbClr>
                      </a:gs>
                      <a:gs pos="50000">
                        <a:srgbClr val="E0E0DE">
                          <a:shade val="67500"/>
                          <a:satMod val="115000"/>
                        </a:srgbClr>
                      </a:gs>
                      <a:gs pos="100000">
                        <a:srgbClr val="E0E0DE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7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54724" y="2918290"/>
                    <a:ext cx="1201831" cy="1233963"/>
                  </a:xfrm>
                  <a:custGeom>
                    <a:avLst/>
                    <a:gdLst>
                      <a:gd name="connsiteX0" fmla="*/ 9673 w 10000"/>
                      <a:gd name="connsiteY0" fmla="*/ 26 h 9908"/>
                      <a:gd name="connsiteX1" fmla="*/ 9673 w 10000"/>
                      <a:gd name="connsiteY1" fmla="*/ 26 h 9908"/>
                      <a:gd name="connsiteX2" fmla="*/ 8857 w 10000"/>
                      <a:gd name="connsiteY2" fmla="*/ 538 h 9908"/>
                      <a:gd name="connsiteX3" fmla="*/ 9102 w 10000"/>
                      <a:gd name="connsiteY3" fmla="*/ 2073 h 9908"/>
                      <a:gd name="connsiteX4" fmla="*/ 9102 w 10000"/>
                      <a:gd name="connsiteY4" fmla="*/ 7113 h 9908"/>
                      <a:gd name="connsiteX5" fmla="*/ 9102 w 10000"/>
                      <a:gd name="connsiteY5" fmla="*/ 7310 h 9908"/>
                      <a:gd name="connsiteX6" fmla="*/ 8204 w 10000"/>
                      <a:gd name="connsiteY6" fmla="*/ 8018 h 9908"/>
                      <a:gd name="connsiteX7" fmla="*/ 1918 w 10000"/>
                      <a:gd name="connsiteY7" fmla="*/ 8018 h 9908"/>
                      <a:gd name="connsiteX8" fmla="*/ 1837 w 10000"/>
                      <a:gd name="connsiteY8" fmla="*/ 7979 h 9908"/>
                      <a:gd name="connsiteX9" fmla="*/ 0 w 10000"/>
                      <a:gd name="connsiteY9" fmla="*/ 9357 h 9908"/>
                      <a:gd name="connsiteX10" fmla="*/ 857 w 10000"/>
                      <a:gd name="connsiteY10" fmla="*/ 9908 h 9908"/>
                      <a:gd name="connsiteX11" fmla="*/ 9102 w 10000"/>
                      <a:gd name="connsiteY11" fmla="*/ 9908 h 9908"/>
                      <a:gd name="connsiteX12" fmla="*/ 10000 w 10000"/>
                      <a:gd name="connsiteY12" fmla="*/ 9042 h 9908"/>
                      <a:gd name="connsiteX13" fmla="*/ 10000 w 10000"/>
                      <a:gd name="connsiteY13" fmla="*/ 695 h 9908"/>
                      <a:gd name="connsiteX14" fmla="*/ 9673 w 10000"/>
                      <a:gd name="connsiteY14" fmla="*/ 26 h 9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00" h="9908">
                        <a:moveTo>
                          <a:pt x="9673" y="26"/>
                        </a:moveTo>
                        <a:lnTo>
                          <a:pt x="9673" y="26"/>
                        </a:lnTo>
                        <a:cubicBezTo>
                          <a:pt x="8980" y="-92"/>
                          <a:pt x="8857" y="223"/>
                          <a:pt x="8857" y="538"/>
                        </a:cubicBezTo>
                        <a:cubicBezTo>
                          <a:pt x="8762" y="879"/>
                          <a:pt x="9061" y="977"/>
                          <a:pt x="9102" y="2073"/>
                        </a:cubicBezTo>
                        <a:lnTo>
                          <a:pt x="9102" y="7113"/>
                        </a:lnTo>
                        <a:lnTo>
                          <a:pt x="9102" y="7310"/>
                        </a:lnTo>
                        <a:cubicBezTo>
                          <a:pt x="8980" y="7703"/>
                          <a:pt x="8612" y="8018"/>
                          <a:pt x="8204" y="8018"/>
                        </a:cubicBezTo>
                        <a:lnTo>
                          <a:pt x="1918" y="8018"/>
                        </a:lnTo>
                        <a:cubicBezTo>
                          <a:pt x="1878" y="8018"/>
                          <a:pt x="1878" y="7979"/>
                          <a:pt x="1837" y="7979"/>
                        </a:cubicBezTo>
                        <a:cubicBezTo>
                          <a:pt x="857" y="7979"/>
                          <a:pt x="204" y="8215"/>
                          <a:pt x="0" y="9357"/>
                        </a:cubicBezTo>
                        <a:cubicBezTo>
                          <a:pt x="122" y="9672"/>
                          <a:pt x="449" y="9908"/>
                          <a:pt x="857" y="9908"/>
                        </a:cubicBezTo>
                        <a:lnTo>
                          <a:pt x="9102" y="9908"/>
                        </a:lnTo>
                        <a:cubicBezTo>
                          <a:pt x="9592" y="9908"/>
                          <a:pt x="10000" y="9514"/>
                          <a:pt x="10000" y="9042"/>
                        </a:cubicBezTo>
                        <a:lnTo>
                          <a:pt x="10000" y="695"/>
                        </a:lnTo>
                        <a:cubicBezTo>
                          <a:pt x="10000" y="420"/>
                          <a:pt x="9878" y="184"/>
                          <a:pt x="9673" y="2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CDCEC0">
                          <a:shade val="30000"/>
                          <a:satMod val="115000"/>
                        </a:srgbClr>
                      </a:gs>
                      <a:gs pos="50000">
                        <a:srgbClr val="CDCEC0">
                          <a:shade val="67500"/>
                          <a:satMod val="115000"/>
                        </a:srgbClr>
                      </a:gs>
                      <a:gs pos="100000">
                        <a:srgbClr val="CDCEC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8" name="Freeform 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900605"/>
                    <a:ext cx="1222588" cy="1251648"/>
                  </a:xfrm>
                  <a:custGeom>
                    <a:avLst/>
                    <a:gdLst/>
                    <a:ahLst/>
                    <a:cxnLst>
                      <a:cxn ang="0">
                        <a:pos x="249" y="232"/>
                      </a:cxn>
                      <a:cxn ang="0">
                        <a:pos x="226" y="255"/>
                      </a:cxn>
                      <a:cxn ang="0">
                        <a:pos x="23" y="255"/>
                      </a:cxn>
                      <a:cxn ang="0">
                        <a:pos x="0" y="232"/>
                      </a:cxn>
                      <a:cxn ang="0">
                        <a:pos x="0" y="23"/>
                      </a:cxn>
                      <a:cxn ang="0">
                        <a:pos x="23" y="0"/>
                      </a:cxn>
                      <a:cxn ang="0">
                        <a:pos x="226" y="0"/>
                      </a:cxn>
                      <a:cxn ang="0">
                        <a:pos x="249" y="23"/>
                      </a:cxn>
                      <a:cxn ang="0">
                        <a:pos x="249" y="232"/>
                      </a:cxn>
                    </a:cxnLst>
                    <a:rect l="0" t="0" r="r" b="b"/>
                    <a:pathLst>
                      <a:path w="249" h="255">
                        <a:moveTo>
                          <a:pt x="249" y="232"/>
                        </a:moveTo>
                        <a:cubicBezTo>
                          <a:pt x="249" y="245"/>
                          <a:pt x="238" y="255"/>
                          <a:pt x="226" y="255"/>
                        </a:cubicBezTo>
                        <a:cubicBezTo>
                          <a:pt x="23" y="255"/>
                          <a:pt x="23" y="255"/>
                          <a:pt x="23" y="255"/>
                        </a:cubicBezTo>
                        <a:cubicBezTo>
                          <a:pt x="11" y="255"/>
                          <a:pt x="0" y="245"/>
                          <a:pt x="0" y="232"/>
                        </a:cubicBezTo>
                        <a:cubicBezTo>
                          <a:pt x="0" y="23"/>
                          <a:pt x="0" y="23"/>
                          <a:pt x="0" y="23"/>
                        </a:cubicBezTo>
                        <a:cubicBezTo>
                          <a:pt x="0" y="10"/>
                          <a:pt x="11" y="0"/>
                          <a:pt x="23" y="0"/>
                        </a:cubicBezTo>
                        <a:cubicBezTo>
                          <a:pt x="226" y="0"/>
                          <a:pt x="226" y="0"/>
                          <a:pt x="226" y="0"/>
                        </a:cubicBezTo>
                        <a:cubicBezTo>
                          <a:pt x="238" y="0"/>
                          <a:pt x="249" y="10"/>
                          <a:pt x="249" y="23"/>
                        </a:cubicBezTo>
                        <a:lnTo>
                          <a:pt x="249" y="232"/>
                        </a:lnTo>
                        <a:close/>
                      </a:path>
                    </a:pathLst>
                  </a:custGeom>
                  <a:noFill/>
                  <a:ln w="14288">
                    <a:solidFill>
                      <a:srgbClr val="C6C7C8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19" name="Abgerundetes Rechteck 118"/>
                  <p:cNvSpPr/>
                  <p:nvPr/>
                </p:nvSpPr>
                <p:spPr bwMode="auto">
                  <a:xfrm>
                    <a:off x="578795" y="2962072"/>
                    <a:ext cx="972767" cy="963039"/>
                  </a:xfrm>
                  <a:prstGeom prst="roundRect">
                    <a:avLst>
                      <a:gd name="adj" fmla="val 13021"/>
                    </a:avLst>
                  </a:prstGeom>
                  <a:solidFill>
                    <a:srgbClr val="FFFFFF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en-US" noProof="1"/>
                  </a:p>
                </p:txBody>
              </p:sp>
              <p:sp>
                <p:nvSpPr>
                  <p:cNvPr id="120" name="Freeform 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79836" y="2974646"/>
                    <a:ext cx="761782" cy="93610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44" y="0"/>
                      </a:cxn>
                      <a:cxn ang="0">
                        <a:pos x="83" y="64"/>
                      </a:cxn>
                      <a:cxn ang="0">
                        <a:pos x="0" y="194"/>
                      </a:cxn>
                      <a:cxn ang="0">
                        <a:pos x="131" y="194"/>
                      </a:cxn>
                      <a:cxn ang="0">
                        <a:pos x="155" y="171"/>
                      </a:cxn>
                      <a:cxn ang="0">
                        <a:pos x="155" y="22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55" h="194">
                        <a:moveTo>
                          <a:pt x="131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4" y="0"/>
                          <a:pt x="80" y="19"/>
                          <a:pt x="83" y="64"/>
                        </a:cubicBezTo>
                        <a:cubicBezTo>
                          <a:pt x="87" y="108"/>
                          <a:pt x="57" y="178"/>
                          <a:pt x="0" y="194"/>
                        </a:cubicBezTo>
                        <a:cubicBezTo>
                          <a:pt x="131" y="194"/>
                          <a:pt x="131" y="194"/>
                          <a:pt x="131" y="194"/>
                        </a:cubicBezTo>
                        <a:cubicBezTo>
                          <a:pt x="144" y="194"/>
                          <a:pt x="155" y="183"/>
                          <a:pt x="155" y="171"/>
                        </a:cubicBezTo>
                        <a:cubicBezTo>
                          <a:pt x="155" y="22"/>
                          <a:pt x="155" y="22"/>
                          <a:pt x="155" y="22"/>
                        </a:cubicBezTo>
                        <a:cubicBezTo>
                          <a:pt x="155" y="10"/>
                          <a:pt x="144" y="0"/>
                          <a:pt x="131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114" name="Abgerundetes Rechteck 113"/>
                <p:cNvSpPr/>
                <p:nvPr/>
              </p:nvSpPr>
              <p:spPr bwMode="auto">
                <a:xfrm>
                  <a:off x="577447" y="2968815"/>
                  <a:ext cx="972767" cy="963039"/>
                </a:xfrm>
                <a:prstGeom prst="roundRect">
                  <a:avLst>
                    <a:gd name="adj" fmla="val 13021"/>
                  </a:avLst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6000" b="1" spc="50" noProof="1" smtClean="0">
                      <a:ln w="13500">
                        <a:solidFill>
                          <a:schemeClr val="accent1">
                            <a:shade val="2500"/>
                            <a:alpha val="6500"/>
                          </a:schemeClr>
                        </a:solidFill>
                        <a:prstDash val="solid"/>
                      </a:ln>
                      <a:solidFill>
                        <a:srgbClr val="969696">
                          <a:alpha val="95000"/>
                        </a:srgbClr>
                      </a:solidFill>
                      <a:effectLst>
                        <a:innerShdw blurRad="50900" dist="38500" dir="13500000">
                          <a:srgbClr val="000000">
                            <a:alpha val="60000"/>
                          </a:srgbClr>
                        </a:innerShdw>
                      </a:effectLst>
                    </a:rPr>
                    <a:t>A</a:t>
                  </a:r>
                  <a:endParaRPr lang="en-US" sz="6000" b="1" spc="50" noProof="1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rgbClr val="969696">
                        <a:alpha val="95000"/>
                      </a:srgb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endParaRPr>
                </a:p>
              </p:txBody>
            </p:sp>
          </p:grpSp>
        </p:grpSp>
        <p:grpSp>
          <p:nvGrpSpPr>
            <p:cNvPr id="15" name="Gruppieren 141"/>
            <p:cNvGrpSpPr/>
            <p:nvPr/>
          </p:nvGrpSpPr>
          <p:grpSpPr>
            <a:xfrm>
              <a:off x="5500590" y="1926764"/>
              <a:ext cx="1353217" cy="1384634"/>
              <a:chOff x="5500590" y="1926764"/>
              <a:chExt cx="1353217" cy="1384634"/>
            </a:xfrm>
          </p:grpSpPr>
          <p:sp>
            <p:nvSpPr>
              <p:cNvPr id="64" name="Abgerundetes Rechteck 63"/>
              <p:cNvSpPr/>
              <p:nvPr/>
            </p:nvSpPr>
            <p:spPr bwMode="auto">
              <a:xfrm>
                <a:off x="5520046" y="1956018"/>
                <a:ext cx="1294806" cy="1321051"/>
              </a:xfrm>
              <a:prstGeom prst="roundRect">
                <a:avLst>
                  <a:gd name="adj" fmla="val 12357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0000" endA="300" endPos="38500" dist="50800" dir="5400000" sy="-100000" algn="bl" rotWithShape="0"/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6" name="Gruppieren 120"/>
              <p:cNvGrpSpPr/>
              <p:nvPr/>
            </p:nvGrpSpPr>
            <p:grpSpPr>
              <a:xfrm>
                <a:off x="5500590" y="1926764"/>
                <a:ext cx="1353217" cy="1384634"/>
                <a:chOff x="429816" y="2886075"/>
                <a:chExt cx="1251648" cy="1280708"/>
              </a:xfrm>
              <a:effectLst/>
            </p:grpSpPr>
            <p:grpSp>
              <p:nvGrpSpPr>
                <p:cNvPr id="17" name="Gruppieren 121"/>
                <p:cNvGrpSpPr/>
                <p:nvPr/>
              </p:nvGrpSpPr>
              <p:grpSpPr>
                <a:xfrm>
                  <a:off x="429816" y="2886075"/>
                  <a:ext cx="1251648" cy="1280708"/>
                  <a:chOff x="429816" y="2886075"/>
                  <a:chExt cx="1251648" cy="1280708"/>
                </a:xfrm>
              </p:grpSpPr>
              <p:sp>
                <p:nvSpPr>
                  <p:cNvPr id="124" name="AutoShape 62" descr="© INSCALE GmbH, 26.05.2010&#10;http://www.presentationload.com/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429816" y="2886075"/>
                    <a:ext cx="1251648" cy="1280708"/>
                  </a:xfrm>
                  <a:prstGeom prst="rect">
                    <a:avLst/>
                  </a:prstGeom>
                  <a:noFill/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5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896454"/>
                    <a:ext cx="1212210" cy="1255800"/>
                  </a:xfrm>
                  <a:custGeom>
                    <a:avLst/>
                    <a:gdLst/>
                    <a:ahLst/>
                    <a:cxnLst>
                      <a:cxn ang="0">
                        <a:pos x="247" y="234"/>
                      </a:cxn>
                      <a:cxn ang="0">
                        <a:pos x="225" y="256"/>
                      </a:cxn>
                      <a:cxn ang="0">
                        <a:pos x="23" y="256"/>
                      </a:cxn>
                      <a:cxn ang="0">
                        <a:pos x="0" y="234"/>
                      </a:cxn>
                      <a:cxn ang="0">
                        <a:pos x="0" y="22"/>
                      </a:cxn>
                      <a:cxn ang="0">
                        <a:pos x="23" y="0"/>
                      </a:cxn>
                      <a:cxn ang="0">
                        <a:pos x="225" y="0"/>
                      </a:cxn>
                      <a:cxn ang="0">
                        <a:pos x="247" y="22"/>
                      </a:cxn>
                      <a:cxn ang="0">
                        <a:pos x="247" y="234"/>
                      </a:cxn>
                    </a:cxnLst>
                    <a:rect l="0" t="0" r="r" b="b"/>
                    <a:pathLst>
                      <a:path w="247" h="256">
                        <a:moveTo>
                          <a:pt x="247" y="234"/>
                        </a:moveTo>
                        <a:cubicBezTo>
                          <a:pt x="247" y="246"/>
                          <a:pt x="237" y="256"/>
                          <a:pt x="225" y="256"/>
                        </a:cubicBezTo>
                        <a:cubicBezTo>
                          <a:pt x="23" y="256"/>
                          <a:pt x="23" y="256"/>
                          <a:pt x="23" y="256"/>
                        </a:cubicBezTo>
                        <a:cubicBezTo>
                          <a:pt x="10" y="256"/>
                          <a:pt x="0" y="246"/>
                          <a:pt x="0" y="234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0" y="10"/>
                          <a:pt x="10" y="0"/>
                          <a:pt x="23" y="0"/>
                        </a:cubicBezTo>
                        <a:cubicBezTo>
                          <a:pt x="225" y="0"/>
                          <a:pt x="225" y="0"/>
                          <a:pt x="225" y="0"/>
                        </a:cubicBezTo>
                        <a:cubicBezTo>
                          <a:pt x="237" y="0"/>
                          <a:pt x="247" y="10"/>
                          <a:pt x="247" y="22"/>
                        </a:cubicBezTo>
                        <a:lnTo>
                          <a:pt x="247" y="2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E0E0DE">
                          <a:shade val="30000"/>
                          <a:satMod val="115000"/>
                        </a:srgbClr>
                      </a:gs>
                      <a:gs pos="50000">
                        <a:srgbClr val="E0E0DE">
                          <a:shade val="67500"/>
                          <a:satMod val="115000"/>
                        </a:srgbClr>
                      </a:gs>
                      <a:gs pos="100000">
                        <a:srgbClr val="E0E0DE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6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54724" y="2918290"/>
                    <a:ext cx="1201831" cy="1233963"/>
                  </a:xfrm>
                  <a:custGeom>
                    <a:avLst/>
                    <a:gdLst>
                      <a:gd name="connsiteX0" fmla="*/ 9673 w 10000"/>
                      <a:gd name="connsiteY0" fmla="*/ 26 h 9908"/>
                      <a:gd name="connsiteX1" fmla="*/ 9673 w 10000"/>
                      <a:gd name="connsiteY1" fmla="*/ 26 h 9908"/>
                      <a:gd name="connsiteX2" fmla="*/ 8857 w 10000"/>
                      <a:gd name="connsiteY2" fmla="*/ 538 h 9908"/>
                      <a:gd name="connsiteX3" fmla="*/ 9102 w 10000"/>
                      <a:gd name="connsiteY3" fmla="*/ 2073 h 9908"/>
                      <a:gd name="connsiteX4" fmla="*/ 9102 w 10000"/>
                      <a:gd name="connsiteY4" fmla="*/ 7113 h 9908"/>
                      <a:gd name="connsiteX5" fmla="*/ 9102 w 10000"/>
                      <a:gd name="connsiteY5" fmla="*/ 7310 h 9908"/>
                      <a:gd name="connsiteX6" fmla="*/ 8204 w 10000"/>
                      <a:gd name="connsiteY6" fmla="*/ 8018 h 9908"/>
                      <a:gd name="connsiteX7" fmla="*/ 1918 w 10000"/>
                      <a:gd name="connsiteY7" fmla="*/ 8018 h 9908"/>
                      <a:gd name="connsiteX8" fmla="*/ 1837 w 10000"/>
                      <a:gd name="connsiteY8" fmla="*/ 7979 h 9908"/>
                      <a:gd name="connsiteX9" fmla="*/ 0 w 10000"/>
                      <a:gd name="connsiteY9" fmla="*/ 9357 h 9908"/>
                      <a:gd name="connsiteX10" fmla="*/ 857 w 10000"/>
                      <a:gd name="connsiteY10" fmla="*/ 9908 h 9908"/>
                      <a:gd name="connsiteX11" fmla="*/ 9102 w 10000"/>
                      <a:gd name="connsiteY11" fmla="*/ 9908 h 9908"/>
                      <a:gd name="connsiteX12" fmla="*/ 10000 w 10000"/>
                      <a:gd name="connsiteY12" fmla="*/ 9042 h 9908"/>
                      <a:gd name="connsiteX13" fmla="*/ 10000 w 10000"/>
                      <a:gd name="connsiteY13" fmla="*/ 695 h 9908"/>
                      <a:gd name="connsiteX14" fmla="*/ 9673 w 10000"/>
                      <a:gd name="connsiteY14" fmla="*/ 26 h 9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00" h="9908">
                        <a:moveTo>
                          <a:pt x="9673" y="26"/>
                        </a:moveTo>
                        <a:lnTo>
                          <a:pt x="9673" y="26"/>
                        </a:lnTo>
                        <a:cubicBezTo>
                          <a:pt x="8980" y="-92"/>
                          <a:pt x="8857" y="223"/>
                          <a:pt x="8857" y="538"/>
                        </a:cubicBezTo>
                        <a:cubicBezTo>
                          <a:pt x="8762" y="879"/>
                          <a:pt x="9061" y="977"/>
                          <a:pt x="9102" y="2073"/>
                        </a:cubicBezTo>
                        <a:lnTo>
                          <a:pt x="9102" y="7113"/>
                        </a:lnTo>
                        <a:lnTo>
                          <a:pt x="9102" y="7310"/>
                        </a:lnTo>
                        <a:cubicBezTo>
                          <a:pt x="8980" y="7703"/>
                          <a:pt x="8612" y="8018"/>
                          <a:pt x="8204" y="8018"/>
                        </a:cubicBezTo>
                        <a:lnTo>
                          <a:pt x="1918" y="8018"/>
                        </a:lnTo>
                        <a:cubicBezTo>
                          <a:pt x="1878" y="8018"/>
                          <a:pt x="1878" y="7979"/>
                          <a:pt x="1837" y="7979"/>
                        </a:cubicBezTo>
                        <a:cubicBezTo>
                          <a:pt x="857" y="7979"/>
                          <a:pt x="204" y="8215"/>
                          <a:pt x="0" y="9357"/>
                        </a:cubicBezTo>
                        <a:cubicBezTo>
                          <a:pt x="122" y="9672"/>
                          <a:pt x="449" y="9908"/>
                          <a:pt x="857" y="9908"/>
                        </a:cubicBezTo>
                        <a:lnTo>
                          <a:pt x="9102" y="9908"/>
                        </a:lnTo>
                        <a:cubicBezTo>
                          <a:pt x="9592" y="9908"/>
                          <a:pt x="10000" y="9514"/>
                          <a:pt x="10000" y="9042"/>
                        </a:cubicBezTo>
                        <a:lnTo>
                          <a:pt x="10000" y="695"/>
                        </a:lnTo>
                        <a:cubicBezTo>
                          <a:pt x="10000" y="420"/>
                          <a:pt x="9878" y="184"/>
                          <a:pt x="9673" y="2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CDCEC0">
                          <a:shade val="30000"/>
                          <a:satMod val="115000"/>
                        </a:srgbClr>
                      </a:gs>
                      <a:gs pos="50000">
                        <a:srgbClr val="CDCEC0">
                          <a:shade val="67500"/>
                          <a:satMod val="115000"/>
                        </a:srgbClr>
                      </a:gs>
                      <a:gs pos="100000">
                        <a:srgbClr val="CDCEC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7" name="Freeform 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900605"/>
                    <a:ext cx="1222588" cy="1251648"/>
                  </a:xfrm>
                  <a:custGeom>
                    <a:avLst/>
                    <a:gdLst/>
                    <a:ahLst/>
                    <a:cxnLst>
                      <a:cxn ang="0">
                        <a:pos x="249" y="232"/>
                      </a:cxn>
                      <a:cxn ang="0">
                        <a:pos x="226" y="255"/>
                      </a:cxn>
                      <a:cxn ang="0">
                        <a:pos x="23" y="255"/>
                      </a:cxn>
                      <a:cxn ang="0">
                        <a:pos x="0" y="232"/>
                      </a:cxn>
                      <a:cxn ang="0">
                        <a:pos x="0" y="23"/>
                      </a:cxn>
                      <a:cxn ang="0">
                        <a:pos x="23" y="0"/>
                      </a:cxn>
                      <a:cxn ang="0">
                        <a:pos x="226" y="0"/>
                      </a:cxn>
                      <a:cxn ang="0">
                        <a:pos x="249" y="23"/>
                      </a:cxn>
                      <a:cxn ang="0">
                        <a:pos x="249" y="232"/>
                      </a:cxn>
                    </a:cxnLst>
                    <a:rect l="0" t="0" r="r" b="b"/>
                    <a:pathLst>
                      <a:path w="249" h="255">
                        <a:moveTo>
                          <a:pt x="249" y="232"/>
                        </a:moveTo>
                        <a:cubicBezTo>
                          <a:pt x="249" y="245"/>
                          <a:pt x="238" y="255"/>
                          <a:pt x="226" y="255"/>
                        </a:cubicBezTo>
                        <a:cubicBezTo>
                          <a:pt x="23" y="255"/>
                          <a:pt x="23" y="255"/>
                          <a:pt x="23" y="255"/>
                        </a:cubicBezTo>
                        <a:cubicBezTo>
                          <a:pt x="11" y="255"/>
                          <a:pt x="0" y="245"/>
                          <a:pt x="0" y="232"/>
                        </a:cubicBezTo>
                        <a:cubicBezTo>
                          <a:pt x="0" y="23"/>
                          <a:pt x="0" y="23"/>
                          <a:pt x="0" y="23"/>
                        </a:cubicBezTo>
                        <a:cubicBezTo>
                          <a:pt x="0" y="10"/>
                          <a:pt x="11" y="0"/>
                          <a:pt x="23" y="0"/>
                        </a:cubicBezTo>
                        <a:cubicBezTo>
                          <a:pt x="226" y="0"/>
                          <a:pt x="226" y="0"/>
                          <a:pt x="226" y="0"/>
                        </a:cubicBezTo>
                        <a:cubicBezTo>
                          <a:pt x="238" y="0"/>
                          <a:pt x="249" y="10"/>
                          <a:pt x="249" y="23"/>
                        </a:cubicBezTo>
                        <a:lnTo>
                          <a:pt x="249" y="232"/>
                        </a:lnTo>
                        <a:close/>
                      </a:path>
                    </a:pathLst>
                  </a:custGeom>
                  <a:noFill/>
                  <a:ln w="14288">
                    <a:solidFill>
                      <a:srgbClr val="C6C7C8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28" name="Abgerundetes Rechteck 127"/>
                  <p:cNvSpPr/>
                  <p:nvPr/>
                </p:nvSpPr>
                <p:spPr bwMode="auto">
                  <a:xfrm>
                    <a:off x="578795" y="2962072"/>
                    <a:ext cx="972767" cy="963039"/>
                  </a:xfrm>
                  <a:prstGeom prst="roundRect">
                    <a:avLst>
                      <a:gd name="adj" fmla="val 13021"/>
                    </a:avLst>
                  </a:prstGeom>
                  <a:solidFill>
                    <a:srgbClr val="FFFFFF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en-US" noProof="1"/>
                  </a:p>
                </p:txBody>
              </p:sp>
              <p:sp>
                <p:nvSpPr>
                  <p:cNvPr id="129" name="Freeform 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79836" y="2974646"/>
                    <a:ext cx="761782" cy="93610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44" y="0"/>
                      </a:cxn>
                      <a:cxn ang="0">
                        <a:pos x="83" y="64"/>
                      </a:cxn>
                      <a:cxn ang="0">
                        <a:pos x="0" y="194"/>
                      </a:cxn>
                      <a:cxn ang="0">
                        <a:pos x="131" y="194"/>
                      </a:cxn>
                      <a:cxn ang="0">
                        <a:pos x="155" y="171"/>
                      </a:cxn>
                      <a:cxn ang="0">
                        <a:pos x="155" y="22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55" h="194">
                        <a:moveTo>
                          <a:pt x="131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4" y="0"/>
                          <a:pt x="80" y="19"/>
                          <a:pt x="83" y="64"/>
                        </a:cubicBezTo>
                        <a:cubicBezTo>
                          <a:pt x="87" y="108"/>
                          <a:pt x="57" y="178"/>
                          <a:pt x="0" y="194"/>
                        </a:cubicBezTo>
                        <a:cubicBezTo>
                          <a:pt x="131" y="194"/>
                          <a:pt x="131" y="194"/>
                          <a:pt x="131" y="194"/>
                        </a:cubicBezTo>
                        <a:cubicBezTo>
                          <a:pt x="144" y="194"/>
                          <a:pt x="155" y="183"/>
                          <a:pt x="155" y="171"/>
                        </a:cubicBezTo>
                        <a:cubicBezTo>
                          <a:pt x="155" y="22"/>
                          <a:pt x="155" y="22"/>
                          <a:pt x="155" y="22"/>
                        </a:cubicBezTo>
                        <a:cubicBezTo>
                          <a:pt x="155" y="10"/>
                          <a:pt x="144" y="0"/>
                          <a:pt x="131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123" name="Abgerundetes Rechteck 122"/>
                <p:cNvSpPr/>
                <p:nvPr/>
              </p:nvSpPr>
              <p:spPr bwMode="auto">
                <a:xfrm>
                  <a:off x="577447" y="2968815"/>
                  <a:ext cx="972767" cy="963039"/>
                </a:xfrm>
                <a:prstGeom prst="roundRect">
                  <a:avLst>
                    <a:gd name="adj" fmla="val 13021"/>
                  </a:avLst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6000" b="1" spc="50" noProof="1" smtClean="0">
                      <a:ln w="13500">
                        <a:solidFill>
                          <a:schemeClr val="accent1">
                            <a:shade val="2500"/>
                            <a:alpha val="6500"/>
                          </a:schemeClr>
                        </a:solidFill>
                        <a:prstDash val="solid"/>
                      </a:ln>
                      <a:solidFill>
                        <a:srgbClr val="969696">
                          <a:alpha val="95000"/>
                        </a:srgbClr>
                      </a:solidFill>
                      <a:effectLst>
                        <a:innerShdw blurRad="50900" dist="38500" dir="13500000">
                          <a:srgbClr val="000000">
                            <a:alpha val="60000"/>
                          </a:srgbClr>
                        </a:innerShdw>
                      </a:effectLst>
                    </a:rPr>
                    <a:t>R</a:t>
                  </a:r>
                  <a:endParaRPr lang="en-US" sz="6000" b="1" spc="50" noProof="1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rgbClr val="969696">
                        <a:alpha val="95000"/>
                      </a:srgb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endParaRPr>
                </a:p>
              </p:txBody>
            </p:sp>
          </p:grpSp>
        </p:grpSp>
        <p:grpSp>
          <p:nvGrpSpPr>
            <p:cNvPr id="18" name="Gruppieren 142"/>
            <p:cNvGrpSpPr/>
            <p:nvPr/>
          </p:nvGrpSpPr>
          <p:grpSpPr>
            <a:xfrm>
              <a:off x="7117705" y="1926764"/>
              <a:ext cx="1353217" cy="1384634"/>
              <a:chOff x="7117705" y="1926764"/>
              <a:chExt cx="1353217" cy="1384634"/>
            </a:xfrm>
          </p:grpSpPr>
          <p:sp>
            <p:nvSpPr>
              <p:cNvPr id="75" name="Abgerundetes Rechteck 74"/>
              <p:cNvSpPr/>
              <p:nvPr/>
            </p:nvSpPr>
            <p:spPr bwMode="auto">
              <a:xfrm>
                <a:off x="7137161" y="1956018"/>
                <a:ext cx="1294806" cy="1321051"/>
              </a:xfrm>
              <a:prstGeom prst="roundRect">
                <a:avLst>
                  <a:gd name="adj" fmla="val 12357"/>
                </a:avLst>
              </a:prstGeom>
              <a:solidFill>
                <a:srgbClr val="969696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0000" endA="300" endPos="38500" dist="50800" dir="5400000" sy="-100000" algn="bl" rotWithShape="0"/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9" name="Gruppieren 129"/>
              <p:cNvGrpSpPr/>
              <p:nvPr/>
            </p:nvGrpSpPr>
            <p:grpSpPr>
              <a:xfrm>
                <a:off x="7117705" y="1926764"/>
                <a:ext cx="1353217" cy="1384634"/>
                <a:chOff x="429816" y="2886075"/>
                <a:chExt cx="1251648" cy="1280708"/>
              </a:xfrm>
              <a:effectLst/>
            </p:grpSpPr>
            <p:grpSp>
              <p:nvGrpSpPr>
                <p:cNvPr id="20" name="Gruppieren 130"/>
                <p:cNvGrpSpPr/>
                <p:nvPr/>
              </p:nvGrpSpPr>
              <p:grpSpPr>
                <a:xfrm>
                  <a:off x="429816" y="2886075"/>
                  <a:ext cx="1251648" cy="1280708"/>
                  <a:chOff x="429816" y="2886075"/>
                  <a:chExt cx="1251648" cy="1280708"/>
                </a:xfrm>
              </p:grpSpPr>
              <p:sp>
                <p:nvSpPr>
                  <p:cNvPr id="133" name="AutoShape 62" descr="© INSCALE GmbH, 26.05.2010&#10;http://www.presentationload.com/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429816" y="2886075"/>
                    <a:ext cx="1251648" cy="1280708"/>
                  </a:xfrm>
                  <a:prstGeom prst="rect">
                    <a:avLst/>
                  </a:prstGeom>
                  <a:noFill/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4" name="Freeform 6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896454"/>
                    <a:ext cx="1212210" cy="1255800"/>
                  </a:xfrm>
                  <a:custGeom>
                    <a:avLst/>
                    <a:gdLst/>
                    <a:ahLst/>
                    <a:cxnLst>
                      <a:cxn ang="0">
                        <a:pos x="247" y="234"/>
                      </a:cxn>
                      <a:cxn ang="0">
                        <a:pos x="225" y="256"/>
                      </a:cxn>
                      <a:cxn ang="0">
                        <a:pos x="23" y="256"/>
                      </a:cxn>
                      <a:cxn ang="0">
                        <a:pos x="0" y="234"/>
                      </a:cxn>
                      <a:cxn ang="0">
                        <a:pos x="0" y="22"/>
                      </a:cxn>
                      <a:cxn ang="0">
                        <a:pos x="23" y="0"/>
                      </a:cxn>
                      <a:cxn ang="0">
                        <a:pos x="225" y="0"/>
                      </a:cxn>
                      <a:cxn ang="0">
                        <a:pos x="247" y="22"/>
                      </a:cxn>
                      <a:cxn ang="0">
                        <a:pos x="247" y="234"/>
                      </a:cxn>
                    </a:cxnLst>
                    <a:rect l="0" t="0" r="r" b="b"/>
                    <a:pathLst>
                      <a:path w="247" h="256">
                        <a:moveTo>
                          <a:pt x="247" y="234"/>
                        </a:moveTo>
                        <a:cubicBezTo>
                          <a:pt x="247" y="246"/>
                          <a:pt x="237" y="256"/>
                          <a:pt x="225" y="256"/>
                        </a:cubicBezTo>
                        <a:cubicBezTo>
                          <a:pt x="23" y="256"/>
                          <a:pt x="23" y="256"/>
                          <a:pt x="23" y="256"/>
                        </a:cubicBezTo>
                        <a:cubicBezTo>
                          <a:pt x="10" y="256"/>
                          <a:pt x="0" y="246"/>
                          <a:pt x="0" y="234"/>
                        </a:cubicBezTo>
                        <a:cubicBezTo>
                          <a:pt x="0" y="22"/>
                          <a:pt x="0" y="22"/>
                          <a:pt x="0" y="22"/>
                        </a:cubicBezTo>
                        <a:cubicBezTo>
                          <a:pt x="0" y="10"/>
                          <a:pt x="10" y="0"/>
                          <a:pt x="23" y="0"/>
                        </a:cubicBezTo>
                        <a:cubicBezTo>
                          <a:pt x="225" y="0"/>
                          <a:pt x="225" y="0"/>
                          <a:pt x="225" y="0"/>
                        </a:cubicBezTo>
                        <a:cubicBezTo>
                          <a:pt x="237" y="0"/>
                          <a:pt x="247" y="10"/>
                          <a:pt x="247" y="22"/>
                        </a:cubicBezTo>
                        <a:lnTo>
                          <a:pt x="247" y="234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E0E0DE">
                          <a:shade val="30000"/>
                          <a:satMod val="115000"/>
                        </a:srgbClr>
                      </a:gs>
                      <a:gs pos="50000">
                        <a:srgbClr val="E0E0DE">
                          <a:shade val="67500"/>
                          <a:satMod val="115000"/>
                        </a:srgbClr>
                      </a:gs>
                      <a:gs pos="100000">
                        <a:srgbClr val="E0E0DE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5" name="Freeform 6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54724" y="2918290"/>
                    <a:ext cx="1201831" cy="1233963"/>
                  </a:xfrm>
                  <a:custGeom>
                    <a:avLst/>
                    <a:gdLst>
                      <a:gd name="connsiteX0" fmla="*/ 9673 w 10000"/>
                      <a:gd name="connsiteY0" fmla="*/ 26 h 9908"/>
                      <a:gd name="connsiteX1" fmla="*/ 9673 w 10000"/>
                      <a:gd name="connsiteY1" fmla="*/ 26 h 9908"/>
                      <a:gd name="connsiteX2" fmla="*/ 8857 w 10000"/>
                      <a:gd name="connsiteY2" fmla="*/ 538 h 9908"/>
                      <a:gd name="connsiteX3" fmla="*/ 9102 w 10000"/>
                      <a:gd name="connsiteY3" fmla="*/ 2073 h 9908"/>
                      <a:gd name="connsiteX4" fmla="*/ 9102 w 10000"/>
                      <a:gd name="connsiteY4" fmla="*/ 7113 h 9908"/>
                      <a:gd name="connsiteX5" fmla="*/ 9102 w 10000"/>
                      <a:gd name="connsiteY5" fmla="*/ 7310 h 9908"/>
                      <a:gd name="connsiteX6" fmla="*/ 8204 w 10000"/>
                      <a:gd name="connsiteY6" fmla="*/ 8018 h 9908"/>
                      <a:gd name="connsiteX7" fmla="*/ 1918 w 10000"/>
                      <a:gd name="connsiteY7" fmla="*/ 8018 h 9908"/>
                      <a:gd name="connsiteX8" fmla="*/ 1837 w 10000"/>
                      <a:gd name="connsiteY8" fmla="*/ 7979 h 9908"/>
                      <a:gd name="connsiteX9" fmla="*/ 0 w 10000"/>
                      <a:gd name="connsiteY9" fmla="*/ 9357 h 9908"/>
                      <a:gd name="connsiteX10" fmla="*/ 857 w 10000"/>
                      <a:gd name="connsiteY10" fmla="*/ 9908 h 9908"/>
                      <a:gd name="connsiteX11" fmla="*/ 9102 w 10000"/>
                      <a:gd name="connsiteY11" fmla="*/ 9908 h 9908"/>
                      <a:gd name="connsiteX12" fmla="*/ 10000 w 10000"/>
                      <a:gd name="connsiteY12" fmla="*/ 9042 h 9908"/>
                      <a:gd name="connsiteX13" fmla="*/ 10000 w 10000"/>
                      <a:gd name="connsiteY13" fmla="*/ 695 h 9908"/>
                      <a:gd name="connsiteX14" fmla="*/ 9673 w 10000"/>
                      <a:gd name="connsiteY14" fmla="*/ 26 h 99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0000" h="9908">
                        <a:moveTo>
                          <a:pt x="9673" y="26"/>
                        </a:moveTo>
                        <a:lnTo>
                          <a:pt x="9673" y="26"/>
                        </a:lnTo>
                        <a:cubicBezTo>
                          <a:pt x="8980" y="-92"/>
                          <a:pt x="8857" y="223"/>
                          <a:pt x="8857" y="538"/>
                        </a:cubicBezTo>
                        <a:cubicBezTo>
                          <a:pt x="8762" y="879"/>
                          <a:pt x="9061" y="977"/>
                          <a:pt x="9102" y="2073"/>
                        </a:cubicBezTo>
                        <a:lnTo>
                          <a:pt x="9102" y="7113"/>
                        </a:lnTo>
                        <a:lnTo>
                          <a:pt x="9102" y="7310"/>
                        </a:lnTo>
                        <a:cubicBezTo>
                          <a:pt x="8980" y="7703"/>
                          <a:pt x="8612" y="8018"/>
                          <a:pt x="8204" y="8018"/>
                        </a:cubicBezTo>
                        <a:lnTo>
                          <a:pt x="1918" y="8018"/>
                        </a:lnTo>
                        <a:cubicBezTo>
                          <a:pt x="1878" y="8018"/>
                          <a:pt x="1878" y="7979"/>
                          <a:pt x="1837" y="7979"/>
                        </a:cubicBezTo>
                        <a:cubicBezTo>
                          <a:pt x="857" y="7979"/>
                          <a:pt x="204" y="8215"/>
                          <a:pt x="0" y="9357"/>
                        </a:cubicBezTo>
                        <a:cubicBezTo>
                          <a:pt x="122" y="9672"/>
                          <a:pt x="449" y="9908"/>
                          <a:pt x="857" y="9908"/>
                        </a:cubicBezTo>
                        <a:lnTo>
                          <a:pt x="9102" y="9908"/>
                        </a:lnTo>
                        <a:cubicBezTo>
                          <a:pt x="9592" y="9908"/>
                          <a:pt x="10000" y="9514"/>
                          <a:pt x="10000" y="9042"/>
                        </a:cubicBezTo>
                        <a:lnTo>
                          <a:pt x="10000" y="695"/>
                        </a:lnTo>
                        <a:cubicBezTo>
                          <a:pt x="10000" y="420"/>
                          <a:pt x="9878" y="184"/>
                          <a:pt x="9673" y="26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CDCEC0">
                          <a:shade val="30000"/>
                          <a:satMod val="115000"/>
                        </a:srgbClr>
                      </a:gs>
                      <a:gs pos="50000">
                        <a:srgbClr val="CDCEC0">
                          <a:shade val="67500"/>
                          <a:satMod val="115000"/>
                        </a:srgbClr>
                      </a:gs>
                      <a:gs pos="100000">
                        <a:srgbClr val="CDCEC0">
                          <a:shade val="100000"/>
                          <a:satMod val="115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6" name="Freeform 6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44346" y="2900605"/>
                    <a:ext cx="1222588" cy="1251648"/>
                  </a:xfrm>
                  <a:custGeom>
                    <a:avLst/>
                    <a:gdLst/>
                    <a:ahLst/>
                    <a:cxnLst>
                      <a:cxn ang="0">
                        <a:pos x="249" y="232"/>
                      </a:cxn>
                      <a:cxn ang="0">
                        <a:pos x="226" y="255"/>
                      </a:cxn>
                      <a:cxn ang="0">
                        <a:pos x="23" y="255"/>
                      </a:cxn>
                      <a:cxn ang="0">
                        <a:pos x="0" y="232"/>
                      </a:cxn>
                      <a:cxn ang="0">
                        <a:pos x="0" y="23"/>
                      </a:cxn>
                      <a:cxn ang="0">
                        <a:pos x="23" y="0"/>
                      </a:cxn>
                      <a:cxn ang="0">
                        <a:pos x="226" y="0"/>
                      </a:cxn>
                      <a:cxn ang="0">
                        <a:pos x="249" y="23"/>
                      </a:cxn>
                      <a:cxn ang="0">
                        <a:pos x="249" y="232"/>
                      </a:cxn>
                    </a:cxnLst>
                    <a:rect l="0" t="0" r="r" b="b"/>
                    <a:pathLst>
                      <a:path w="249" h="255">
                        <a:moveTo>
                          <a:pt x="249" y="232"/>
                        </a:moveTo>
                        <a:cubicBezTo>
                          <a:pt x="249" y="245"/>
                          <a:pt x="238" y="255"/>
                          <a:pt x="226" y="255"/>
                        </a:cubicBezTo>
                        <a:cubicBezTo>
                          <a:pt x="23" y="255"/>
                          <a:pt x="23" y="255"/>
                          <a:pt x="23" y="255"/>
                        </a:cubicBezTo>
                        <a:cubicBezTo>
                          <a:pt x="11" y="255"/>
                          <a:pt x="0" y="245"/>
                          <a:pt x="0" y="232"/>
                        </a:cubicBezTo>
                        <a:cubicBezTo>
                          <a:pt x="0" y="23"/>
                          <a:pt x="0" y="23"/>
                          <a:pt x="0" y="23"/>
                        </a:cubicBezTo>
                        <a:cubicBezTo>
                          <a:pt x="0" y="10"/>
                          <a:pt x="11" y="0"/>
                          <a:pt x="23" y="0"/>
                        </a:cubicBezTo>
                        <a:cubicBezTo>
                          <a:pt x="226" y="0"/>
                          <a:pt x="226" y="0"/>
                          <a:pt x="226" y="0"/>
                        </a:cubicBezTo>
                        <a:cubicBezTo>
                          <a:pt x="238" y="0"/>
                          <a:pt x="249" y="10"/>
                          <a:pt x="249" y="23"/>
                        </a:cubicBezTo>
                        <a:lnTo>
                          <a:pt x="249" y="232"/>
                        </a:lnTo>
                        <a:close/>
                      </a:path>
                    </a:pathLst>
                  </a:custGeom>
                  <a:noFill/>
                  <a:ln w="14288">
                    <a:solidFill>
                      <a:srgbClr val="C6C7C8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37" name="Abgerundetes Rechteck 136"/>
                  <p:cNvSpPr/>
                  <p:nvPr/>
                </p:nvSpPr>
                <p:spPr bwMode="auto">
                  <a:xfrm>
                    <a:off x="578795" y="2962072"/>
                    <a:ext cx="972767" cy="963039"/>
                  </a:xfrm>
                  <a:prstGeom prst="roundRect">
                    <a:avLst>
                      <a:gd name="adj" fmla="val 13021"/>
                    </a:avLst>
                  </a:prstGeom>
                  <a:solidFill>
                    <a:srgbClr val="FFFFFF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en-US" noProof="1"/>
                  </a:p>
                </p:txBody>
              </p:sp>
              <p:sp>
                <p:nvSpPr>
                  <p:cNvPr id="138" name="Freeform 6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79836" y="2974646"/>
                    <a:ext cx="761782" cy="936105"/>
                  </a:xfrm>
                  <a:custGeom>
                    <a:avLst/>
                    <a:gdLst/>
                    <a:ahLst/>
                    <a:cxnLst>
                      <a:cxn ang="0">
                        <a:pos x="131" y="0"/>
                      </a:cxn>
                      <a:cxn ang="0">
                        <a:pos x="44" y="0"/>
                      </a:cxn>
                      <a:cxn ang="0">
                        <a:pos x="83" y="64"/>
                      </a:cxn>
                      <a:cxn ang="0">
                        <a:pos x="0" y="194"/>
                      </a:cxn>
                      <a:cxn ang="0">
                        <a:pos x="131" y="194"/>
                      </a:cxn>
                      <a:cxn ang="0">
                        <a:pos x="155" y="171"/>
                      </a:cxn>
                      <a:cxn ang="0">
                        <a:pos x="155" y="22"/>
                      </a:cxn>
                      <a:cxn ang="0">
                        <a:pos x="131" y="0"/>
                      </a:cxn>
                    </a:cxnLst>
                    <a:rect l="0" t="0" r="r" b="b"/>
                    <a:pathLst>
                      <a:path w="155" h="194">
                        <a:moveTo>
                          <a:pt x="131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4" y="0"/>
                          <a:pt x="80" y="19"/>
                          <a:pt x="83" y="64"/>
                        </a:cubicBezTo>
                        <a:cubicBezTo>
                          <a:pt x="87" y="108"/>
                          <a:pt x="57" y="178"/>
                          <a:pt x="0" y="194"/>
                        </a:cubicBezTo>
                        <a:cubicBezTo>
                          <a:pt x="131" y="194"/>
                          <a:pt x="131" y="194"/>
                          <a:pt x="131" y="194"/>
                        </a:cubicBezTo>
                        <a:cubicBezTo>
                          <a:pt x="144" y="194"/>
                          <a:pt x="155" y="183"/>
                          <a:pt x="155" y="171"/>
                        </a:cubicBezTo>
                        <a:cubicBezTo>
                          <a:pt x="155" y="22"/>
                          <a:pt x="155" y="22"/>
                          <a:pt x="155" y="22"/>
                        </a:cubicBezTo>
                        <a:cubicBezTo>
                          <a:pt x="155" y="10"/>
                          <a:pt x="144" y="0"/>
                          <a:pt x="131" y="0"/>
                        </a:cubicBezTo>
                        <a:close/>
                      </a:path>
                    </a:pathLst>
                  </a:custGeom>
                  <a:solidFill>
                    <a:srgbClr val="E6E6E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sp>
              <p:nvSpPr>
                <p:cNvPr id="132" name="Abgerundetes Rechteck 131"/>
                <p:cNvSpPr/>
                <p:nvPr/>
              </p:nvSpPr>
              <p:spPr bwMode="auto">
                <a:xfrm>
                  <a:off x="577447" y="2968815"/>
                  <a:ext cx="972767" cy="963039"/>
                </a:xfrm>
                <a:prstGeom prst="roundRect">
                  <a:avLst>
                    <a:gd name="adj" fmla="val 13021"/>
                  </a:avLst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6000" b="1" spc="50" noProof="1" smtClean="0">
                      <a:ln w="13500">
                        <a:solidFill>
                          <a:schemeClr val="accent1">
                            <a:shade val="2500"/>
                            <a:alpha val="6500"/>
                          </a:schemeClr>
                        </a:solidFill>
                        <a:prstDash val="solid"/>
                      </a:ln>
                      <a:solidFill>
                        <a:srgbClr val="969696">
                          <a:alpha val="95000"/>
                        </a:srgbClr>
                      </a:solidFill>
                      <a:effectLst>
                        <a:innerShdw blurRad="50900" dist="38500" dir="13500000">
                          <a:srgbClr val="000000">
                            <a:alpha val="60000"/>
                          </a:srgbClr>
                        </a:innerShdw>
                      </a:effectLst>
                    </a:rPr>
                    <a:t>T</a:t>
                  </a:r>
                  <a:endParaRPr lang="en-US" sz="6000" b="1" spc="50" noProof="1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rgbClr val="969696">
                        <a:alpha val="95000"/>
                      </a:srgb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endParaRPr>
                </a:p>
              </p:txBody>
            </p:sp>
          </p:grpSp>
        </p:grpSp>
        <p:sp>
          <p:nvSpPr>
            <p:cNvPr id="66" name="Rechteck 65"/>
            <p:cNvSpPr/>
            <p:nvPr/>
          </p:nvSpPr>
          <p:spPr>
            <a:xfrm>
              <a:off x="642258" y="3718159"/>
              <a:ext cx="1439461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noProof="1" smtClean="0"/>
                <a:t>Specific</a:t>
              </a:r>
              <a:br>
                <a:rPr lang="en-US" b="1" noProof="1" smtClean="0"/>
              </a:br>
              <a:r>
                <a:rPr lang="en-US" sz="1400" b="1" noProof="1" smtClean="0"/>
                <a:t/>
              </a:r>
              <a:br>
                <a:rPr lang="en-US" sz="1400" b="1" noProof="1" smtClean="0"/>
              </a:br>
              <a:r>
                <a:rPr lang="en-US" sz="1400" noProof="1" smtClean="0"/>
                <a:t>Objectives have to be specific and positively described.</a:t>
              </a:r>
              <a:endParaRPr lang="en-US" sz="1400" noProof="1"/>
            </a:p>
          </p:txBody>
        </p:sp>
        <p:sp>
          <p:nvSpPr>
            <p:cNvPr id="67" name="Rechteck 66"/>
            <p:cNvSpPr/>
            <p:nvPr/>
          </p:nvSpPr>
          <p:spPr>
            <a:xfrm>
              <a:off x="2267743" y="3718159"/>
              <a:ext cx="1526043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noProof="1" smtClean="0"/>
                <a:t>Measurable</a:t>
              </a:r>
              <a:br>
                <a:rPr lang="en-US" b="1" noProof="1" smtClean="0"/>
              </a:br>
              <a:r>
                <a:rPr lang="en-US" sz="1400" b="1" noProof="1" smtClean="0"/>
                <a:t/>
              </a:r>
              <a:br>
                <a:rPr lang="en-US" sz="1400" b="1" noProof="1" smtClean="0"/>
              </a:br>
              <a:r>
                <a:rPr lang="en-US" sz="1400" noProof="1" smtClean="0"/>
                <a:t>A goal achievement should be measurable.</a:t>
              </a:r>
              <a:endParaRPr lang="en-US" sz="1400" noProof="1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3923927" y="3718159"/>
              <a:ext cx="1529815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noProof="1" smtClean="0"/>
                <a:t>Attainable</a:t>
              </a:r>
            </a:p>
            <a:p>
              <a:r>
                <a:rPr lang="en-US" sz="1400" noProof="1" smtClean="0"/>
                <a:t/>
              </a:r>
              <a:br>
                <a:rPr lang="en-US" sz="1400" noProof="1" smtClean="0"/>
              </a:br>
              <a:r>
                <a:rPr lang="en-US" sz="1400" noProof="1" smtClean="0"/>
                <a:t>It should be attractive for the project team to reach the goal.</a:t>
              </a:r>
              <a:endParaRPr lang="en-US" sz="1400" noProof="1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5518990" y="3718159"/>
              <a:ext cx="1504380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noProof="1" smtClean="0"/>
                <a:t>Realistic</a:t>
              </a:r>
              <a:endParaRPr lang="en-US" sz="1400" b="1" noProof="1" smtClean="0"/>
            </a:p>
            <a:p>
              <a:r>
                <a:rPr lang="en-US" sz="1400" b="1" noProof="1" smtClean="0"/>
                <a:t/>
              </a:r>
              <a:br>
                <a:rPr lang="en-US" sz="1400" b="1" noProof="1" smtClean="0"/>
              </a:br>
              <a:r>
                <a:rPr lang="en-US" sz="1400" noProof="1" smtClean="0"/>
                <a:t>The objective needs to be achievable in a realistic way.</a:t>
              </a:r>
              <a:endParaRPr lang="en-US" sz="1400" noProof="1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7142516" y="3718159"/>
              <a:ext cx="1349827" cy="1231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noProof="1" smtClean="0"/>
                <a:t>Time-bound</a:t>
              </a:r>
              <a:br>
                <a:rPr lang="en-US" b="1" noProof="1" smtClean="0"/>
              </a:br>
              <a:r>
                <a:rPr lang="en-US" sz="1400" b="1" noProof="1" smtClean="0"/>
                <a:t/>
              </a:r>
              <a:br>
                <a:rPr lang="en-US" sz="1400" b="1" noProof="1" smtClean="0"/>
              </a:br>
              <a:r>
                <a:rPr lang="en-US" sz="1400" noProof="1" smtClean="0"/>
                <a:t>The goal has to set within a time frame. 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3855940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bjectives </a:t>
            </a:r>
            <a:r>
              <a:rPr lang="en-US" b="0" noProof="1" smtClean="0"/>
              <a:t>- Target Pyramid</a:t>
            </a:r>
            <a:endParaRPr lang="en-US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for own Subheadline</a:t>
            </a:r>
          </a:p>
          <a:p>
            <a:endParaRPr lang="en-US" noProof="1"/>
          </a:p>
        </p:txBody>
      </p:sp>
      <p:grpSp>
        <p:nvGrpSpPr>
          <p:cNvPr id="39" name="Gruppieren 38"/>
          <p:cNvGrpSpPr/>
          <p:nvPr/>
        </p:nvGrpSpPr>
        <p:grpSpPr>
          <a:xfrm>
            <a:off x="324643" y="1555750"/>
            <a:ext cx="8744953" cy="4245768"/>
            <a:chOff x="324643" y="1555750"/>
            <a:chExt cx="8744953" cy="4245768"/>
          </a:xfrm>
        </p:grpSpPr>
        <p:sp>
          <p:nvSpPr>
            <p:cNvPr id="15" name="Gleichschenkliges Dreieck 14"/>
            <p:cNvSpPr/>
            <p:nvPr/>
          </p:nvSpPr>
          <p:spPr bwMode="gray">
            <a:xfrm>
              <a:off x="324643" y="1555750"/>
              <a:ext cx="4206082" cy="4245768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b="1" noProof="1">
                <a:solidFill>
                  <a:srgbClr val="000000"/>
                </a:solidFill>
              </a:endParaRPr>
            </a:p>
          </p:txBody>
        </p:sp>
        <p:grpSp>
          <p:nvGrpSpPr>
            <p:cNvPr id="3" name="Gruppieren 48"/>
            <p:cNvGrpSpPr/>
            <p:nvPr/>
          </p:nvGrpSpPr>
          <p:grpSpPr bwMode="gray">
            <a:xfrm>
              <a:off x="785930" y="3037924"/>
              <a:ext cx="8035013" cy="1842396"/>
              <a:chOff x="785931" y="3037924"/>
              <a:chExt cx="6986964" cy="1842396"/>
            </a:xfrm>
          </p:grpSpPr>
          <p:cxnSp>
            <p:nvCxnSpPr>
              <p:cNvPr id="18" name="Gerade Verbindung 17"/>
              <p:cNvCxnSpPr/>
              <p:nvPr/>
            </p:nvCxnSpPr>
            <p:spPr bwMode="gray">
              <a:xfrm>
                <a:off x="785931" y="4880320"/>
                <a:ext cx="6986274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19" name="Gerade Verbindung 18"/>
              <p:cNvCxnSpPr/>
              <p:nvPr/>
            </p:nvCxnSpPr>
            <p:spPr bwMode="gray">
              <a:xfrm>
                <a:off x="1192612" y="3959122"/>
                <a:ext cx="658028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20" name="Gerade Verbindung 19"/>
              <p:cNvCxnSpPr/>
              <p:nvPr/>
            </p:nvCxnSpPr>
            <p:spPr bwMode="gray">
              <a:xfrm>
                <a:off x="1592320" y="3037924"/>
                <a:ext cx="6179884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</p:grpSp>
        <p:sp>
          <p:nvSpPr>
            <p:cNvPr id="31" name="Textfeld 30"/>
            <p:cNvSpPr txBox="1"/>
            <p:nvPr/>
          </p:nvSpPr>
          <p:spPr bwMode="gray">
            <a:xfrm>
              <a:off x="1998049" y="2414814"/>
              <a:ext cx="85927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noProof="1" smtClean="0"/>
                <a:t>Corporate </a:t>
              </a:r>
              <a:br>
                <a:rPr lang="en-US" sz="1200" b="1" noProof="1" smtClean="0"/>
              </a:br>
              <a:r>
                <a:rPr lang="en-US" sz="1200" b="1" noProof="1" smtClean="0"/>
                <a:t>objectives</a:t>
              </a:r>
              <a:endParaRPr lang="en-US" sz="1200" b="1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2548568" y="3300207"/>
              <a:ext cx="734496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Financial </a:t>
              </a:r>
              <a:br>
                <a:rPr lang="en-US" sz="1100" b="1" noProof="1" smtClean="0"/>
              </a:br>
              <a:r>
                <a:rPr lang="en-US" sz="1100" b="1" noProof="1" smtClean="0"/>
                <a:t>target </a:t>
              </a:r>
              <a:endParaRPr lang="en-US" sz="1100" b="1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1867294" y="4222904"/>
              <a:ext cx="1148070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Communication </a:t>
              </a:r>
              <a:br>
                <a:rPr lang="en-US" sz="1100" b="1" noProof="1" smtClean="0"/>
              </a:br>
              <a:r>
                <a:rPr lang="en-US" sz="1100" b="1" noProof="1" smtClean="0"/>
                <a:t>target</a:t>
              </a:r>
              <a:endParaRPr lang="en-US" sz="1100" b="1" noProof="1"/>
            </a:p>
          </p:txBody>
        </p:sp>
        <p:sp>
          <p:nvSpPr>
            <p:cNvPr id="35" name="Textfeld 34"/>
            <p:cNvSpPr txBox="1"/>
            <p:nvPr/>
          </p:nvSpPr>
          <p:spPr bwMode="gray">
            <a:xfrm>
              <a:off x="1740655" y="5219776"/>
              <a:ext cx="140134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Exhibition objectives</a:t>
              </a:r>
              <a:endParaRPr lang="en-US" sz="1100" b="1" noProof="1"/>
            </a:p>
          </p:txBody>
        </p:sp>
        <p:sp>
          <p:nvSpPr>
            <p:cNvPr id="36" name="Textfeld 35"/>
            <p:cNvSpPr txBox="1"/>
            <p:nvPr/>
          </p:nvSpPr>
          <p:spPr bwMode="gray">
            <a:xfrm>
              <a:off x="3325014" y="2445591"/>
              <a:ext cx="487410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noProof="1" smtClean="0"/>
                <a:t>Retention of the economic and legal independency, increasing development of flexibility</a:t>
              </a:r>
              <a:endParaRPr lang="en-US" sz="1400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3722537" y="3231627"/>
              <a:ext cx="316875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noProof="1" smtClean="0"/>
                <a:t>Increase in sales, improvement of company image</a:t>
              </a:r>
              <a:endParaRPr lang="en-US" sz="1400" noProof="1"/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4132378" y="4254129"/>
              <a:ext cx="331772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noProof="1" smtClean="0"/>
                <a:t>Preparation of contract conclusions</a:t>
              </a:r>
              <a:endParaRPr lang="en-US" sz="1400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4646857" y="5127591"/>
              <a:ext cx="442273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noProof="1" smtClean="0"/>
                <a:t>Managing customer data, raise purchase interest, increasing popularity of brand</a:t>
              </a:r>
              <a:endParaRPr lang="en-US" sz="1400" noProof="1"/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1595440" y="3300207"/>
              <a:ext cx="82426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Marketing </a:t>
              </a:r>
              <a:br>
                <a:rPr lang="en-US" sz="1100" b="1" noProof="1" smtClean="0"/>
              </a:br>
              <a:r>
                <a:rPr lang="en-US" sz="1100" b="1" noProof="1" smtClean="0"/>
                <a:t>objectives </a:t>
              </a:r>
              <a:endParaRPr lang="en-US" sz="1100" b="1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1022524" y="4222904"/>
              <a:ext cx="920445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Price </a:t>
              </a:r>
              <a:br>
                <a:rPr lang="en-US" sz="1100" b="1" noProof="1" smtClean="0"/>
              </a:br>
              <a:r>
                <a:rPr lang="en-US" sz="1100" b="1" noProof="1" smtClean="0"/>
                <a:t>policy target</a:t>
              </a:r>
              <a:endParaRPr lang="en-US" sz="1100" b="1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2923305" y="4222904"/>
              <a:ext cx="917239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Distribution </a:t>
              </a:r>
              <a:br>
                <a:rPr lang="en-US" sz="1100" b="1" noProof="1" smtClean="0"/>
              </a:br>
              <a:r>
                <a:rPr lang="en-US" sz="1100" b="1" noProof="1" smtClean="0"/>
                <a:t>target </a:t>
              </a:r>
              <a:endParaRPr lang="en-US" sz="1100" b="1" noProof="1"/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733505" y="5219776"/>
              <a:ext cx="101021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PR- objectives</a:t>
              </a:r>
              <a:endParaRPr lang="en-US" sz="1100" b="1" noProof="1"/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3041011" y="5219776"/>
              <a:ext cx="1087157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Advertisement </a:t>
              </a:r>
              <a:br>
                <a:rPr lang="en-US" sz="1100" b="1" noProof="1" smtClean="0"/>
              </a:br>
              <a:r>
                <a:rPr lang="en-US" sz="1100" b="1" noProof="1" smtClean="0"/>
                <a:t>objectives </a:t>
              </a:r>
              <a:endParaRPr lang="en-US" sz="1100" b="1" noProof="1"/>
            </a:p>
          </p:txBody>
        </p:sp>
        <p:cxnSp>
          <p:nvCxnSpPr>
            <p:cNvPr id="27" name="Gerade Verbindung mit Pfeil 26"/>
            <p:cNvCxnSpPr>
              <a:stCxn id="41" idx="2"/>
            </p:cNvCxnSpPr>
            <p:nvPr/>
          </p:nvCxnSpPr>
          <p:spPr bwMode="gray">
            <a:xfrm>
              <a:off x="2007572" y="3731094"/>
              <a:ext cx="1153664" cy="49181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>
              <a:stCxn id="41" idx="2"/>
              <a:endCxn id="42" idx="0"/>
            </p:cNvCxnSpPr>
            <p:nvPr/>
          </p:nvCxnSpPr>
          <p:spPr bwMode="gray">
            <a:xfrm flipH="1">
              <a:off x="1482747" y="3731094"/>
              <a:ext cx="524825" cy="49181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mit Pfeil 33"/>
            <p:cNvCxnSpPr>
              <a:stCxn id="41" idx="2"/>
              <a:endCxn id="33" idx="0"/>
            </p:cNvCxnSpPr>
            <p:nvPr/>
          </p:nvCxnSpPr>
          <p:spPr bwMode="gray">
            <a:xfrm>
              <a:off x="2007572" y="3731094"/>
              <a:ext cx="433757" cy="49181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43"/>
            <p:cNvCxnSpPr>
              <a:stCxn id="33" idx="2"/>
              <a:endCxn id="47" idx="0"/>
            </p:cNvCxnSpPr>
            <p:nvPr/>
          </p:nvCxnSpPr>
          <p:spPr bwMode="gray">
            <a:xfrm flipH="1">
              <a:off x="1238612" y="4653791"/>
              <a:ext cx="1202717" cy="565985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>
              <a:stCxn id="33" idx="2"/>
              <a:endCxn id="35" idx="0"/>
            </p:cNvCxnSpPr>
            <p:nvPr/>
          </p:nvCxnSpPr>
          <p:spPr bwMode="gray">
            <a:xfrm flipH="1">
              <a:off x="2441328" y="4653791"/>
              <a:ext cx="1" cy="565985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>
              <a:stCxn id="33" idx="2"/>
              <a:endCxn id="48" idx="0"/>
            </p:cNvCxnSpPr>
            <p:nvPr/>
          </p:nvCxnSpPr>
          <p:spPr bwMode="gray">
            <a:xfrm>
              <a:off x="2441329" y="4653791"/>
              <a:ext cx="1143261" cy="565985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1855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Marketing objctives / Hierarchical levels of objectives</a:t>
            </a:r>
            <a:endParaRPr lang="en-US" noProof="1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Objective system in form of a hierarchy</a:t>
            </a:r>
            <a:endParaRPr lang="en-US" noProof="1"/>
          </a:p>
        </p:txBody>
      </p:sp>
      <p:grpSp>
        <p:nvGrpSpPr>
          <p:cNvPr id="19" name="Gruppieren 18"/>
          <p:cNvGrpSpPr/>
          <p:nvPr/>
        </p:nvGrpSpPr>
        <p:grpSpPr>
          <a:xfrm>
            <a:off x="470263" y="1616896"/>
            <a:ext cx="8349887" cy="3933965"/>
            <a:chOff x="470263" y="1616896"/>
            <a:chExt cx="8349887" cy="3933965"/>
          </a:xfrm>
        </p:grpSpPr>
        <p:sp>
          <p:nvSpPr>
            <p:cNvPr id="15366" name="Text Box 6"/>
            <p:cNvSpPr txBox="1">
              <a:spLocks noChangeArrowheads="1"/>
            </p:cNvSpPr>
            <p:nvPr/>
          </p:nvSpPr>
          <p:spPr bwMode="gray">
            <a:xfrm>
              <a:off x="6102870" y="1616896"/>
              <a:ext cx="2717280" cy="37397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Object of the company</a:t>
              </a:r>
              <a:endParaRPr lang="en-US" b="1" noProof="1"/>
            </a:p>
          </p:txBody>
        </p:sp>
        <p:sp>
          <p:nvSpPr>
            <p:cNvPr id="15367" name="Text Box 7"/>
            <p:cNvSpPr txBox="1">
              <a:spLocks noChangeArrowheads="1"/>
            </p:cNvSpPr>
            <p:nvPr/>
          </p:nvSpPr>
          <p:spPr bwMode="gray">
            <a:xfrm>
              <a:off x="6102870" y="2614895"/>
              <a:ext cx="2717280" cy="37397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Company objective</a:t>
              </a:r>
              <a:endParaRPr lang="en-US" b="1" noProof="1"/>
            </a:p>
          </p:txBody>
        </p:sp>
        <p:sp>
          <p:nvSpPr>
            <p:cNvPr id="15368" name="Text Box 8"/>
            <p:cNvSpPr txBox="1">
              <a:spLocks noChangeArrowheads="1"/>
            </p:cNvSpPr>
            <p:nvPr/>
          </p:nvSpPr>
          <p:spPr bwMode="gray">
            <a:xfrm>
              <a:off x="6102870" y="3618955"/>
              <a:ext cx="2717280" cy="927976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Function targets</a:t>
              </a:r>
              <a:r>
                <a:rPr lang="en-US" noProof="1" smtClean="0"/>
                <a:t/>
              </a:r>
              <a:br>
                <a:rPr lang="en-US" noProof="1" smtClean="0"/>
              </a:br>
              <a:r>
                <a:rPr lang="en-US" noProof="1" smtClean="0"/>
                <a:t>Marketing targets are function targets</a:t>
              </a:r>
              <a:endParaRPr lang="en-US" noProof="1"/>
            </a:p>
          </p:txBody>
        </p:sp>
        <p:sp>
          <p:nvSpPr>
            <p:cNvPr id="15369" name="Text Box 9"/>
            <p:cNvSpPr txBox="1">
              <a:spLocks noChangeArrowheads="1"/>
            </p:cNvSpPr>
            <p:nvPr/>
          </p:nvSpPr>
          <p:spPr bwMode="gray">
            <a:xfrm>
              <a:off x="6102870" y="4622885"/>
              <a:ext cx="2717280" cy="927976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Instrumental target</a:t>
              </a:r>
              <a:r>
                <a:rPr lang="en-US" noProof="1" smtClean="0"/>
                <a:t/>
              </a:r>
              <a:br>
                <a:rPr lang="en-US" noProof="1" smtClean="0"/>
              </a:br>
              <a:r>
                <a:rPr lang="en-US" noProof="1" smtClean="0"/>
                <a:t>Levels of objectives and marketing instruments</a:t>
              </a:r>
              <a:endParaRPr lang="en-US" noProof="1"/>
            </a:p>
          </p:txBody>
        </p:sp>
        <p:grpSp>
          <p:nvGrpSpPr>
            <p:cNvPr id="2" name="Gruppieren 29"/>
            <p:cNvGrpSpPr/>
            <p:nvPr/>
          </p:nvGrpSpPr>
          <p:grpSpPr>
            <a:xfrm>
              <a:off x="470263" y="1616896"/>
              <a:ext cx="5039177" cy="3808155"/>
              <a:chOff x="470263" y="1616896"/>
              <a:chExt cx="5039177" cy="3808155"/>
            </a:xfrm>
          </p:grpSpPr>
          <p:sp>
            <p:nvSpPr>
              <p:cNvPr id="15370" name="Line 10"/>
              <p:cNvSpPr>
                <a:spLocks noChangeShapeType="1"/>
              </p:cNvSpPr>
              <p:nvPr/>
            </p:nvSpPr>
            <p:spPr bwMode="gray">
              <a:xfrm flipV="1">
                <a:off x="470263" y="1752665"/>
                <a:ext cx="2264650" cy="3611899"/>
              </a:xfrm>
              <a:prstGeom prst="line">
                <a:avLst/>
              </a:prstGeom>
              <a:noFill/>
              <a:ln w="28575">
                <a:solidFill>
                  <a:srgbClr val="969696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  <p:sp>
            <p:nvSpPr>
              <p:cNvPr id="15371" name="Line 11"/>
              <p:cNvSpPr>
                <a:spLocks noChangeShapeType="1"/>
              </p:cNvSpPr>
              <p:nvPr/>
            </p:nvSpPr>
            <p:spPr bwMode="gray">
              <a:xfrm>
                <a:off x="3582501" y="1778588"/>
                <a:ext cx="1926939" cy="3240340"/>
              </a:xfrm>
              <a:prstGeom prst="line">
                <a:avLst/>
              </a:prstGeom>
              <a:noFill/>
              <a:ln w="28575">
                <a:solidFill>
                  <a:srgbClr val="969696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  <p:sp>
            <p:nvSpPr>
              <p:cNvPr id="15372" name="Text Box 12"/>
              <p:cNvSpPr txBox="1">
                <a:spLocks noChangeArrowheads="1"/>
              </p:cNvSpPr>
              <p:nvPr/>
            </p:nvSpPr>
            <p:spPr bwMode="gray">
              <a:xfrm rot="18060000">
                <a:off x="91664" y="2938799"/>
                <a:ext cx="2876888" cy="360887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/>
              <a:lstStyle/>
              <a:p>
                <a:pPr>
                  <a:tabLst>
                    <a:tab pos="656650" algn="l"/>
                    <a:tab pos="1313299" algn="l"/>
                    <a:tab pos="1969949" algn="l"/>
                    <a:tab pos="2626599" algn="l"/>
                  </a:tabLst>
                </a:pPr>
                <a:r>
                  <a:rPr lang="en-US" noProof="1" smtClean="0"/>
                  <a:t>Ascertainment of objectives</a:t>
                </a:r>
                <a:endParaRPr lang="en-US" noProof="1"/>
              </a:p>
            </p:txBody>
          </p:sp>
          <p:sp>
            <p:nvSpPr>
              <p:cNvPr id="15373" name="Text Box 13"/>
              <p:cNvSpPr txBox="1">
                <a:spLocks noChangeArrowheads="1"/>
              </p:cNvSpPr>
              <p:nvPr/>
            </p:nvSpPr>
            <p:spPr bwMode="gray">
              <a:xfrm rot="3540000">
                <a:off x="3423916" y="2958366"/>
                <a:ext cx="2717566" cy="360887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/>
              <a:lstStyle/>
              <a:p>
                <a:pPr>
                  <a:tabLst>
                    <a:tab pos="656650" algn="l"/>
                    <a:tab pos="1313299" algn="l"/>
                    <a:tab pos="1969949" algn="l"/>
                    <a:tab pos="2626599" algn="l"/>
                  </a:tabLst>
                </a:pPr>
                <a:r>
                  <a:rPr lang="en-US" noProof="1" smtClean="0"/>
                  <a:t>Means-end relationship</a:t>
                </a:r>
                <a:endParaRPr lang="en-US" noProof="1"/>
              </a:p>
            </p:txBody>
          </p:sp>
          <p:grpSp>
            <p:nvGrpSpPr>
              <p:cNvPr id="3" name="Gruppieren 57"/>
              <p:cNvGrpSpPr/>
              <p:nvPr/>
            </p:nvGrpSpPr>
            <p:grpSpPr bwMode="gray">
              <a:xfrm>
                <a:off x="806318" y="1616896"/>
                <a:ext cx="4703122" cy="3808155"/>
                <a:chOff x="5637195" y="536576"/>
                <a:chExt cx="7391400" cy="5984875"/>
              </a:xfrm>
            </p:grpSpPr>
            <p:sp>
              <p:nvSpPr>
                <p:cNvPr id="59" name="Freeform 18"/>
                <p:cNvSpPr>
                  <a:spLocks/>
                </p:cNvSpPr>
                <p:nvPr/>
              </p:nvSpPr>
              <p:spPr bwMode="gray">
                <a:xfrm>
                  <a:off x="8580438" y="536576"/>
                  <a:ext cx="1527175" cy="1246188"/>
                </a:xfrm>
                <a:custGeom>
                  <a:avLst/>
                  <a:gdLst/>
                  <a:ahLst/>
                  <a:cxnLst>
                    <a:cxn ang="0">
                      <a:pos x="482" y="0"/>
                    </a:cxn>
                    <a:cxn ang="0">
                      <a:pos x="0" y="785"/>
                    </a:cxn>
                    <a:cxn ang="0">
                      <a:pos x="962" y="785"/>
                    </a:cxn>
                    <a:cxn ang="0">
                      <a:pos x="482" y="0"/>
                    </a:cxn>
                  </a:cxnLst>
                  <a:rect l="0" t="0" r="r" b="b"/>
                  <a:pathLst>
                    <a:path w="962" h="785">
                      <a:moveTo>
                        <a:pt x="482" y="0"/>
                      </a:moveTo>
                      <a:lnTo>
                        <a:pt x="0" y="785"/>
                      </a:lnTo>
                      <a:lnTo>
                        <a:pt x="962" y="785"/>
                      </a:lnTo>
                      <a:lnTo>
                        <a:pt x="482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endParaRPr lang="en-US" b="1" noProof="1" smtClean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60" name="Freeform 19"/>
                <p:cNvSpPr>
                  <a:spLocks/>
                </p:cNvSpPr>
                <p:nvPr/>
              </p:nvSpPr>
              <p:spPr bwMode="gray">
                <a:xfrm>
                  <a:off x="7580295" y="2105026"/>
                  <a:ext cx="3505200" cy="1255713"/>
                </a:xfrm>
                <a:custGeom>
                  <a:avLst/>
                  <a:gdLst/>
                  <a:ahLst/>
                  <a:cxnLst>
                    <a:cxn ang="0">
                      <a:pos x="1717" y="0"/>
                    </a:cxn>
                    <a:cxn ang="0">
                      <a:pos x="493" y="0"/>
                    </a:cxn>
                    <a:cxn ang="0">
                      <a:pos x="0" y="791"/>
                    </a:cxn>
                    <a:cxn ang="0">
                      <a:pos x="2208" y="791"/>
                    </a:cxn>
                    <a:cxn ang="0">
                      <a:pos x="1717" y="0"/>
                    </a:cxn>
                  </a:cxnLst>
                  <a:rect l="0" t="0" r="r" b="b"/>
                  <a:pathLst>
                    <a:path w="2208" h="791">
                      <a:moveTo>
                        <a:pt x="1717" y="0"/>
                      </a:moveTo>
                      <a:lnTo>
                        <a:pt x="493" y="0"/>
                      </a:lnTo>
                      <a:lnTo>
                        <a:pt x="0" y="791"/>
                      </a:lnTo>
                      <a:lnTo>
                        <a:pt x="2208" y="791"/>
                      </a:lnTo>
                      <a:lnTo>
                        <a:pt x="1717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endParaRPr lang="en-US" b="1" noProof="1" smtClean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61" name="Freeform 20"/>
                <p:cNvSpPr>
                  <a:spLocks/>
                </p:cNvSpPr>
                <p:nvPr/>
              </p:nvSpPr>
              <p:spPr bwMode="gray">
                <a:xfrm>
                  <a:off x="6600807" y="3683001"/>
                  <a:ext cx="5464175" cy="1260475"/>
                </a:xfrm>
                <a:custGeom>
                  <a:avLst/>
                  <a:gdLst/>
                  <a:ahLst/>
                  <a:cxnLst>
                    <a:cxn ang="0">
                      <a:pos x="2951" y="0"/>
                    </a:cxn>
                    <a:cxn ang="0">
                      <a:pos x="491" y="0"/>
                    </a:cxn>
                    <a:cxn ang="0">
                      <a:pos x="0" y="794"/>
                    </a:cxn>
                    <a:cxn ang="0">
                      <a:pos x="3442" y="794"/>
                    </a:cxn>
                    <a:cxn ang="0">
                      <a:pos x="2951" y="0"/>
                    </a:cxn>
                  </a:cxnLst>
                  <a:rect l="0" t="0" r="r" b="b"/>
                  <a:pathLst>
                    <a:path w="3442" h="794">
                      <a:moveTo>
                        <a:pt x="2951" y="0"/>
                      </a:moveTo>
                      <a:lnTo>
                        <a:pt x="491" y="0"/>
                      </a:lnTo>
                      <a:lnTo>
                        <a:pt x="0" y="794"/>
                      </a:lnTo>
                      <a:lnTo>
                        <a:pt x="3442" y="794"/>
                      </a:lnTo>
                      <a:lnTo>
                        <a:pt x="2951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endParaRPr lang="en-US" b="1" noProof="1" smtClean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62" name="Freeform 21"/>
                <p:cNvSpPr>
                  <a:spLocks/>
                </p:cNvSpPr>
                <p:nvPr/>
              </p:nvSpPr>
              <p:spPr bwMode="gray">
                <a:xfrm>
                  <a:off x="5637195" y="5265738"/>
                  <a:ext cx="7391400" cy="1255713"/>
                </a:xfrm>
                <a:custGeom>
                  <a:avLst/>
                  <a:gdLst/>
                  <a:ahLst/>
                  <a:cxnLst>
                    <a:cxn ang="0">
                      <a:pos x="4656" y="791"/>
                    </a:cxn>
                    <a:cxn ang="0">
                      <a:pos x="4172" y="0"/>
                    </a:cxn>
                    <a:cxn ang="0">
                      <a:pos x="487" y="0"/>
                    </a:cxn>
                    <a:cxn ang="0">
                      <a:pos x="0" y="791"/>
                    </a:cxn>
                    <a:cxn ang="0">
                      <a:pos x="4656" y="791"/>
                    </a:cxn>
                  </a:cxnLst>
                  <a:rect l="0" t="0" r="r" b="b"/>
                  <a:pathLst>
                    <a:path w="4656" h="791">
                      <a:moveTo>
                        <a:pt x="4656" y="791"/>
                      </a:moveTo>
                      <a:lnTo>
                        <a:pt x="4172" y="0"/>
                      </a:lnTo>
                      <a:lnTo>
                        <a:pt x="487" y="0"/>
                      </a:lnTo>
                      <a:lnTo>
                        <a:pt x="0" y="791"/>
                      </a:lnTo>
                      <a:lnTo>
                        <a:pt x="4656" y="791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endParaRPr lang="en-US" b="1" noProof="1" smtClean="0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</p:grpSp>
        </p:grp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R-Marketing </a:t>
            </a:r>
            <a:r>
              <a:rPr lang="en-US" b="0" noProof="1" smtClean="0"/>
              <a:t>- Target Hierarchy</a:t>
            </a:r>
            <a:endParaRPr lang="en-US" b="0" noProof="1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Operative and strategic main and sub objectives</a:t>
            </a:r>
            <a:endParaRPr lang="en-US" noProof="1"/>
          </a:p>
        </p:txBody>
      </p:sp>
      <p:grpSp>
        <p:nvGrpSpPr>
          <p:cNvPr id="17" name="Gruppieren 16"/>
          <p:cNvGrpSpPr/>
          <p:nvPr/>
        </p:nvGrpSpPr>
        <p:grpSpPr>
          <a:xfrm>
            <a:off x="1126080" y="1447352"/>
            <a:ext cx="7842991" cy="3977699"/>
            <a:chOff x="1126080" y="1447352"/>
            <a:chExt cx="7842991" cy="3977699"/>
          </a:xfrm>
        </p:grpSpPr>
        <p:sp>
          <p:nvSpPr>
            <p:cNvPr id="21510" name="Text Box 6"/>
            <p:cNvSpPr txBox="1">
              <a:spLocks noChangeArrowheads="1"/>
            </p:cNvSpPr>
            <p:nvPr/>
          </p:nvSpPr>
          <p:spPr bwMode="gray">
            <a:xfrm>
              <a:off x="5808961" y="1852035"/>
              <a:ext cx="2717280" cy="149055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Company related</a:t>
              </a:r>
              <a:br>
                <a:rPr lang="en-US" b="1" noProof="1" smtClean="0"/>
              </a:br>
              <a:r>
                <a:rPr lang="en-US" b="1" noProof="1" smtClean="0"/>
                <a:t>sub-objectives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/>
                <a:t>- Positioning on the market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/>
                <a:t>- Employee loyalty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/>
                <a:t>- Employee motivation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/>
                <a:t>- Innovation</a:t>
              </a:r>
              <a:endParaRPr lang="en-US" noProof="1"/>
            </a:p>
          </p:txBody>
        </p:sp>
        <p:grpSp>
          <p:nvGrpSpPr>
            <p:cNvPr id="2" name="Gruppieren 25"/>
            <p:cNvGrpSpPr/>
            <p:nvPr/>
          </p:nvGrpSpPr>
          <p:grpSpPr>
            <a:xfrm>
              <a:off x="1126080" y="1447352"/>
              <a:ext cx="4335564" cy="3977699"/>
              <a:chOff x="1126080" y="1447352"/>
              <a:chExt cx="4335564" cy="3977699"/>
            </a:xfrm>
          </p:grpSpPr>
          <p:sp>
            <p:nvSpPr>
              <p:cNvPr id="1031" name="Freeform 7"/>
              <p:cNvSpPr>
                <a:spLocks/>
              </p:cNvSpPr>
              <p:nvPr/>
            </p:nvSpPr>
            <p:spPr bwMode="gray">
              <a:xfrm>
                <a:off x="1392480" y="4197555"/>
                <a:ext cx="4069164" cy="1227496"/>
              </a:xfrm>
              <a:custGeom>
                <a:avLst/>
                <a:gdLst/>
                <a:ahLst/>
                <a:cxnLst>
                  <a:cxn ang="0">
                    <a:pos x="0" y="1219"/>
                  </a:cxn>
                  <a:cxn ang="0">
                    <a:pos x="4041" y="1219"/>
                  </a:cxn>
                  <a:cxn ang="0">
                    <a:pos x="3389" y="0"/>
                  </a:cxn>
                  <a:cxn ang="0">
                    <a:pos x="654" y="0"/>
                  </a:cxn>
                  <a:cxn ang="0">
                    <a:pos x="0" y="1219"/>
                  </a:cxn>
                </a:cxnLst>
                <a:rect l="0" t="0" r="r" b="b"/>
                <a:pathLst>
                  <a:path w="4041" h="1219">
                    <a:moveTo>
                      <a:pt x="0" y="1219"/>
                    </a:moveTo>
                    <a:lnTo>
                      <a:pt x="4041" y="1219"/>
                    </a:lnTo>
                    <a:lnTo>
                      <a:pt x="3389" y="0"/>
                    </a:lnTo>
                    <a:lnTo>
                      <a:pt x="654" y="0"/>
                    </a:lnTo>
                    <a:lnTo>
                      <a:pt x="0" y="121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2" name="Freeform 8"/>
              <p:cNvSpPr>
                <a:spLocks/>
              </p:cNvSpPr>
              <p:nvPr/>
            </p:nvSpPr>
            <p:spPr bwMode="gray">
              <a:xfrm>
                <a:off x="2127568" y="3526913"/>
                <a:ext cx="2598989" cy="527652"/>
              </a:xfrm>
              <a:custGeom>
                <a:avLst/>
                <a:gdLst/>
                <a:ahLst/>
                <a:cxnLst>
                  <a:cxn ang="0">
                    <a:pos x="0" y="524"/>
                  </a:cxn>
                  <a:cxn ang="0">
                    <a:pos x="2581" y="524"/>
                  </a:cxn>
                  <a:cxn ang="0">
                    <a:pos x="2300" y="0"/>
                  </a:cxn>
                  <a:cxn ang="0">
                    <a:pos x="281" y="0"/>
                  </a:cxn>
                  <a:cxn ang="0">
                    <a:pos x="0" y="524"/>
                  </a:cxn>
                </a:cxnLst>
                <a:rect l="0" t="0" r="r" b="b"/>
                <a:pathLst>
                  <a:path w="2581" h="524">
                    <a:moveTo>
                      <a:pt x="0" y="524"/>
                    </a:moveTo>
                    <a:lnTo>
                      <a:pt x="2581" y="524"/>
                    </a:lnTo>
                    <a:lnTo>
                      <a:pt x="2300" y="0"/>
                    </a:lnTo>
                    <a:lnTo>
                      <a:pt x="281" y="0"/>
                    </a:lnTo>
                    <a:lnTo>
                      <a:pt x="0" y="52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3" name="Freeform 9"/>
              <p:cNvSpPr>
                <a:spLocks/>
              </p:cNvSpPr>
              <p:nvPr/>
            </p:nvSpPr>
            <p:spPr bwMode="gray">
              <a:xfrm>
                <a:off x="2487056" y="1628775"/>
                <a:ext cx="1881019" cy="1755148"/>
              </a:xfrm>
              <a:custGeom>
                <a:avLst/>
                <a:gdLst/>
                <a:ahLst/>
                <a:cxnLst>
                  <a:cxn ang="0">
                    <a:pos x="935" y="0"/>
                  </a:cxn>
                  <a:cxn ang="0">
                    <a:pos x="0" y="1743"/>
                  </a:cxn>
                  <a:cxn ang="0">
                    <a:pos x="1868" y="1743"/>
                  </a:cxn>
                  <a:cxn ang="0">
                    <a:pos x="935" y="0"/>
                  </a:cxn>
                </a:cxnLst>
                <a:rect l="0" t="0" r="r" b="b"/>
                <a:pathLst>
                  <a:path w="1868" h="1743">
                    <a:moveTo>
                      <a:pt x="935" y="0"/>
                    </a:moveTo>
                    <a:lnTo>
                      <a:pt x="0" y="1743"/>
                    </a:lnTo>
                    <a:lnTo>
                      <a:pt x="1868" y="1743"/>
                    </a:lnTo>
                    <a:lnTo>
                      <a:pt x="93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1509" name="Text Box 5"/>
              <p:cNvSpPr txBox="1">
                <a:spLocks noChangeArrowheads="1"/>
              </p:cNvSpPr>
              <p:nvPr/>
            </p:nvSpPr>
            <p:spPr bwMode="gray">
              <a:xfrm>
                <a:off x="2746080" y="2866129"/>
                <a:ext cx="1347840" cy="445007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2019" rIns="81639" bIns="40820" anchor="b" anchorCtr="0"/>
              <a:lstStyle/>
              <a:p>
                <a:pPr algn="ctr">
                  <a:tabLst>
                    <a:tab pos="656650" algn="l"/>
                    <a:tab pos="1313299" algn="l"/>
                  </a:tabLst>
                </a:pPr>
                <a:r>
                  <a:rPr lang="en-US" sz="1300" noProof="1" smtClean="0">
                    <a:solidFill>
                      <a:srgbClr val="FFFFFF"/>
                    </a:solidFill>
                  </a:rPr>
                  <a:t>Corporate</a:t>
                </a:r>
              </a:p>
              <a:p>
                <a:pPr algn="ctr">
                  <a:tabLst>
                    <a:tab pos="656650" algn="l"/>
                    <a:tab pos="1313299" algn="l"/>
                  </a:tabLst>
                </a:pPr>
                <a:r>
                  <a:rPr lang="en-US" sz="1300" noProof="1" smtClean="0">
                    <a:solidFill>
                      <a:srgbClr val="FFFFFF"/>
                    </a:solidFill>
                  </a:rPr>
                  <a:t>objectives</a:t>
                </a:r>
                <a:endParaRPr lang="en-US" sz="1300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1511" name="Line 7"/>
              <p:cNvSpPr>
                <a:spLocks noChangeShapeType="1"/>
              </p:cNvSpPr>
              <p:nvPr/>
            </p:nvSpPr>
            <p:spPr bwMode="gray">
              <a:xfrm flipV="1">
                <a:off x="1126080" y="1752665"/>
                <a:ext cx="1969920" cy="3611899"/>
              </a:xfrm>
              <a:prstGeom prst="line">
                <a:avLst/>
              </a:prstGeom>
              <a:noFill/>
              <a:ln w="28575">
                <a:solidFill>
                  <a:srgbClr val="969696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  <p:sp>
            <p:nvSpPr>
              <p:cNvPr id="21512" name="Text Box 8"/>
              <p:cNvSpPr txBox="1">
                <a:spLocks noChangeArrowheads="1"/>
              </p:cNvSpPr>
              <p:nvPr/>
            </p:nvSpPr>
            <p:spPr bwMode="gray">
              <a:xfrm rot="17880000">
                <a:off x="1861133" y="1940620"/>
                <a:ext cx="1300456" cy="313920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/>
              <a:lstStyle/>
              <a:p>
                <a:pPr>
                  <a:tabLst>
                    <a:tab pos="656650" algn="l"/>
                  </a:tabLst>
                </a:pPr>
                <a:r>
                  <a:rPr lang="en-US" noProof="1" smtClean="0"/>
                  <a:t>strategic</a:t>
                </a:r>
                <a:endParaRPr lang="en-US" noProof="1"/>
              </a:p>
            </p:txBody>
          </p:sp>
          <p:sp>
            <p:nvSpPr>
              <p:cNvPr id="21513" name="Text Box 9"/>
              <p:cNvSpPr txBox="1">
                <a:spLocks noChangeArrowheads="1"/>
              </p:cNvSpPr>
              <p:nvPr/>
            </p:nvSpPr>
            <p:spPr bwMode="gray">
              <a:xfrm rot="17880000">
                <a:off x="654412" y="4203098"/>
                <a:ext cx="1300457" cy="313920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5221" rIns="81639" bIns="40820"/>
              <a:lstStyle/>
              <a:p>
                <a:pPr>
                  <a:tabLst>
                    <a:tab pos="656650" algn="l"/>
                  </a:tabLst>
                </a:pPr>
                <a:r>
                  <a:rPr lang="en-US" noProof="1" smtClean="0"/>
                  <a:t>operative</a:t>
                </a:r>
                <a:endParaRPr lang="en-US" noProof="1"/>
              </a:p>
            </p:txBody>
          </p:sp>
          <p:sp>
            <p:nvSpPr>
              <p:cNvPr id="21514" name="Text Box 10"/>
              <p:cNvSpPr txBox="1">
                <a:spLocks noChangeArrowheads="1"/>
              </p:cNvSpPr>
              <p:nvPr/>
            </p:nvSpPr>
            <p:spPr bwMode="gray">
              <a:xfrm>
                <a:off x="2638080" y="3658965"/>
                <a:ext cx="1624320" cy="263548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2019" rIns="81639" bIns="40820"/>
              <a:lstStyle/>
              <a:p>
                <a:pPr algn="ctr">
                  <a:tabLst>
                    <a:tab pos="656650" algn="l"/>
                    <a:tab pos="1313299" algn="l"/>
                  </a:tabLst>
                </a:pPr>
                <a:r>
                  <a:rPr lang="en-US" sz="1300" noProof="1" smtClean="0">
                    <a:solidFill>
                      <a:srgbClr val="FFFFFF"/>
                    </a:solidFill>
                  </a:rPr>
                  <a:t>Profit / Yield</a:t>
                </a:r>
                <a:endParaRPr lang="en-US" sz="1300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1515" name="Text Box 11"/>
              <p:cNvSpPr txBox="1">
                <a:spLocks noChangeArrowheads="1"/>
              </p:cNvSpPr>
              <p:nvPr/>
            </p:nvSpPr>
            <p:spPr bwMode="gray">
              <a:xfrm>
                <a:off x="2357281" y="4496630"/>
                <a:ext cx="2190240" cy="629346"/>
              </a:xfrm>
              <a:prstGeom prst="rect">
                <a:avLst/>
              </a:prstGeom>
              <a:noFill/>
              <a:ln w="9525">
                <a:noFill/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1639" tIns="52019" rIns="81639" bIns="40820"/>
              <a:lstStyle/>
              <a:p>
                <a:pPr algn="ctr">
                  <a:tabLst>
                    <a:tab pos="656650" algn="l"/>
                    <a:tab pos="1313299" algn="l"/>
                    <a:tab pos="1969949" algn="l"/>
                  </a:tabLst>
                </a:pPr>
                <a:r>
                  <a:rPr lang="en-US" sz="1300" b="1" noProof="1" smtClean="0">
                    <a:solidFill>
                      <a:srgbClr val="FFFFFF"/>
                    </a:solidFill>
                  </a:rPr>
                  <a:t>Marketing overall targets</a:t>
                </a:r>
                <a:r>
                  <a:rPr lang="en-US" sz="1300" noProof="1" smtClean="0">
                    <a:solidFill>
                      <a:srgbClr val="FFFFFF"/>
                    </a:solidFill>
                  </a:rPr>
                  <a:t/>
                </a:r>
                <a:br>
                  <a:rPr lang="en-US" sz="1300" noProof="1" smtClean="0">
                    <a:solidFill>
                      <a:srgbClr val="FFFFFF"/>
                    </a:solidFill>
                  </a:rPr>
                </a:br>
                <a:r>
                  <a:rPr lang="en-US" sz="1300" noProof="1" smtClean="0">
                    <a:solidFill>
                      <a:srgbClr val="FFFFFF"/>
                    </a:solidFill>
                  </a:rPr>
                  <a:t>Costs / Productivity / Revenue / Sales</a:t>
                </a:r>
                <a:endParaRPr lang="en-US" sz="1300" noProof="1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1516" name="Text Box 12"/>
            <p:cNvSpPr txBox="1">
              <a:spLocks noChangeArrowheads="1"/>
            </p:cNvSpPr>
            <p:nvPr/>
          </p:nvSpPr>
          <p:spPr bwMode="gray">
            <a:xfrm>
              <a:off x="5808960" y="3630622"/>
              <a:ext cx="3160111" cy="172242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Customer related</a:t>
              </a:r>
              <a:br>
                <a:rPr lang="en-US" b="1" noProof="1" smtClean="0"/>
              </a:br>
              <a:r>
                <a:rPr lang="en-US" b="1" noProof="1" smtClean="0"/>
                <a:t>sub-objectives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/>
                <a:t>-Customer contribution margin</a:t>
              </a:r>
              <a:br>
                <a:rPr lang="en-US" noProof="1"/>
              </a:br>
              <a:r>
                <a:rPr lang="en-US" noProof="1" smtClean="0"/>
                <a:t>- Customer loyalty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/>
                <a:t>- Customer satisfaction</a:t>
              </a:r>
            </a:p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/>
                <a:t>- Perceived </a:t>
              </a:r>
              <a:r>
                <a:rPr lang="en-US" noProof="1" smtClean="0"/>
                <a:t>performance quality</a:t>
              </a:r>
              <a:endParaRPr lang="en-US" noProof="1"/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nventional Marketing Target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argets for successful business</a:t>
            </a:r>
            <a:endParaRPr lang="en-US" noProof="1"/>
          </a:p>
        </p:txBody>
      </p:sp>
      <p:grpSp>
        <p:nvGrpSpPr>
          <p:cNvPr id="19" name="Gruppieren 18"/>
          <p:cNvGrpSpPr/>
          <p:nvPr/>
        </p:nvGrpSpPr>
        <p:grpSpPr>
          <a:xfrm>
            <a:off x="323851" y="1554480"/>
            <a:ext cx="8497092" cy="4247832"/>
            <a:chOff x="323851" y="1554480"/>
            <a:chExt cx="8497092" cy="4247832"/>
          </a:xfrm>
        </p:grpSpPr>
        <p:grpSp>
          <p:nvGrpSpPr>
            <p:cNvPr id="30" name="Gruppieren 29"/>
            <p:cNvGrpSpPr/>
            <p:nvPr/>
          </p:nvGrpSpPr>
          <p:grpSpPr bwMode="gray">
            <a:xfrm>
              <a:off x="323851" y="1554480"/>
              <a:ext cx="2745070" cy="2261616"/>
              <a:chOff x="323851" y="1554480"/>
              <a:chExt cx="2745070" cy="2261616"/>
            </a:xfrm>
          </p:grpSpPr>
          <p:sp>
            <p:nvSpPr>
              <p:cNvPr id="7" name="Rechteck 6"/>
              <p:cNvSpPr/>
              <p:nvPr/>
            </p:nvSpPr>
            <p:spPr bwMode="gray">
              <a:xfrm>
                <a:off x="323851" y="1554480"/>
                <a:ext cx="2745070" cy="1606731"/>
              </a:xfrm>
              <a:prstGeom prst="rect">
                <a:avLst/>
              </a:prstGeom>
              <a:blipFill>
                <a:blip r:embed="rId2" cstate="print"/>
                <a:stretch>
                  <a:fillRect/>
                </a:stretch>
              </a:blip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" name="Rechteck 9"/>
              <p:cNvSpPr/>
              <p:nvPr/>
            </p:nvSpPr>
            <p:spPr bwMode="gray">
              <a:xfrm>
                <a:off x="323851" y="3162481"/>
                <a:ext cx="2745070" cy="653615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Increasing 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market shares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29" name="Gruppieren 28"/>
            <p:cNvGrpSpPr/>
            <p:nvPr/>
          </p:nvGrpSpPr>
          <p:grpSpPr bwMode="gray">
            <a:xfrm>
              <a:off x="3199709" y="1554480"/>
              <a:ext cx="2745070" cy="2261616"/>
              <a:chOff x="3199709" y="1554480"/>
              <a:chExt cx="2745070" cy="2261616"/>
            </a:xfrm>
          </p:grpSpPr>
          <p:sp>
            <p:nvSpPr>
              <p:cNvPr id="8" name="Rechteck 7"/>
              <p:cNvSpPr/>
              <p:nvPr/>
            </p:nvSpPr>
            <p:spPr bwMode="gray">
              <a:xfrm>
                <a:off x="3199709" y="1554480"/>
                <a:ext cx="2745070" cy="1606731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3199709" y="3162481"/>
                <a:ext cx="2745070" cy="653615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Increasing 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revenues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31" name="Gruppieren 30"/>
            <p:cNvGrpSpPr/>
            <p:nvPr/>
          </p:nvGrpSpPr>
          <p:grpSpPr bwMode="gray">
            <a:xfrm>
              <a:off x="6075873" y="1554480"/>
              <a:ext cx="2745070" cy="2261616"/>
              <a:chOff x="6075873" y="1554480"/>
              <a:chExt cx="2745070" cy="2261616"/>
            </a:xfrm>
          </p:grpSpPr>
          <p:sp>
            <p:nvSpPr>
              <p:cNvPr id="9" name="Rechteck 8"/>
              <p:cNvSpPr/>
              <p:nvPr/>
            </p:nvSpPr>
            <p:spPr bwMode="gray">
              <a:xfrm>
                <a:off x="6075873" y="1554480"/>
                <a:ext cx="2745070" cy="1606731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2" name="Rechteck 11"/>
              <p:cNvSpPr/>
              <p:nvPr/>
            </p:nvSpPr>
            <p:spPr bwMode="gray">
              <a:xfrm>
                <a:off x="6075873" y="3162481"/>
                <a:ext cx="2745070" cy="653615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Improving 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contribution margin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27" name="Rectangle 5"/>
            <p:cNvSpPr>
              <a:spLocks noChangeArrowheads="1"/>
            </p:cNvSpPr>
            <p:nvPr/>
          </p:nvSpPr>
          <p:spPr bwMode="gray">
            <a:xfrm>
              <a:off x="323851" y="4171478"/>
              <a:ext cx="4167567" cy="163083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Popularity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Image</a:t>
              </a: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Customer reach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Customer satisfaction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Customer loyalty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tangle 5"/>
            <p:cNvSpPr>
              <a:spLocks noChangeArrowheads="1"/>
            </p:cNvSpPr>
            <p:nvPr/>
          </p:nvSpPr>
          <p:spPr bwMode="gray">
            <a:xfrm>
              <a:off x="4643438" y="4171478"/>
              <a:ext cx="4177505" cy="163083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Price segment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/>
                <a:t>Revenue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Distribution</a:t>
              </a:r>
            </a:p>
          </p:txBody>
        </p:sp>
        <p:sp>
          <p:nvSpPr>
            <p:cNvPr id="20" name="Gleichschenkliges Dreieck 19"/>
            <p:cNvSpPr/>
            <p:nvPr/>
          </p:nvSpPr>
          <p:spPr bwMode="gray">
            <a:xfrm rot="10800000">
              <a:off x="1409219" y="3874576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Gleichschenkliges Dreieck 22"/>
            <p:cNvSpPr/>
            <p:nvPr/>
          </p:nvSpPr>
          <p:spPr bwMode="gray">
            <a:xfrm rot="10800000">
              <a:off x="7161242" y="3874576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Gleichschenkliges Dreieck 21"/>
            <p:cNvSpPr/>
            <p:nvPr/>
          </p:nvSpPr>
          <p:spPr bwMode="gray">
            <a:xfrm rot="10800000">
              <a:off x="3567160" y="3874576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Gleichschenkliges Dreieck 23"/>
            <p:cNvSpPr/>
            <p:nvPr/>
          </p:nvSpPr>
          <p:spPr bwMode="gray">
            <a:xfrm rot="10800000">
              <a:off x="5002995" y="3874576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058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rocess to create a marketing </a:t>
            </a:r>
            <a:r>
              <a:rPr lang="en-US" noProof="1"/>
              <a:t>p</a:t>
            </a:r>
            <a:r>
              <a:rPr lang="en-US" noProof="1" smtClean="0"/>
              <a:t>la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Plan</a:t>
            </a:r>
          </a:p>
        </p:txBody>
      </p:sp>
      <p:grpSp>
        <p:nvGrpSpPr>
          <p:cNvPr id="61" name="Gruppieren 60"/>
          <p:cNvGrpSpPr/>
          <p:nvPr/>
        </p:nvGrpSpPr>
        <p:grpSpPr>
          <a:xfrm>
            <a:off x="323850" y="1506093"/>
            <a:ext cx="8497094" cy="4178600"/>
            <a:chOff x="323850" y="1387221"/>
            <a:chExt cx="8497094" cy="4178600"/>
          </a:xfrm>
        </p:grpSpPr>
        <p:sp>
          <p:nvSpPr>
            <p:cNvPr id="107" name="Textfeld 106"/>
            <p:cNvSpPr txBox="1"/>
            <p:nvPr/>
          </p:nvSpPr>
          <p:spPr bwMode="gray">
            <a:xfrm>
              <a:off x="2305124" y="1387221"/>
              <a:ext cx="254127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noProof="1" smtClean="0"/>
                <a:t>Objectives and Indicators</a:t>
              </a:r>
            </a:p>
            <a:p>
              <a:pPr marL="190800" indent="-190800">
                <a:buFont typeface="Arial" pitchFamily="34" charset="0"/>
                <a:buChar char="•"/>
              </a:pPr>
              <a:r>
                <a:rPr lang="en-US" sz="1200" noProof="1" smtClean="0"/>
                <a:t>Strategic and operational objectives</a:t>
              </a:r>
              <a:br>
                <a:rPr lang="en-US" sz="1200" noProof="1" smtClean="0"/>
              </a:br>
              <a:r>
                <a:rPr lang="en-US" sz="1200" noProof="1" smtClean="0"/>
                <a:t>Financial objectives</a:t>
              </a:r>
              <a:br>
                <a:rPr lang="en-US" sz="1200" noProof="1" smtClean="0"/>
              </a:br>
              <a:r>
                <a:rPr lang="en-US" sz="1200" noProof="1" smtClean="0"/>
                <a:t>Market-and customer-related objectives</a:t>
              </a:r>
              <a:endParaRPr lang="en-US" sz="1200" noProof="1"/>
            </a:p>
          </p:txBody>
        </p:sp>
        <p:sp>
          <p:nvSpPr>
            <p:cNvPr id="108" name="Textfeld 107"/>
            <p:cNvSpPr txBox="1"/>
            <p:nvPr/>
          </p:nvSpPr>
          <p:spPr bwMode="gray">
            <a:xfrm>
              <a:off x="5984100" y="1387221"/>
              <a:ext cx="2417107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b="1" noProof="1" smtClean="0"/>
                <a:t>Strategy Implementation</a:t>
              </a:r>
            </a:p>
            <a:p>
              <a:r>
                <a:rPr lang="en-US" sz="1200" noProof="1" smtClean="0"/>
                <a:t>(Marketing Mix)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en-US" sz="1200" noProof="1" smtClean="0"/>
                <a:t>Product and pricing policy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en-US" sz="1200" noProof="1" smtClean="0"/>
                <a:t>Communication and distribution policy</a:t>
              </a:r>
              <a:endParaRPr lang="en-US" sz="1200" noProof="1"/>
            </a:p>
          </p:txBody>
        </p:sp>
        <p:grpSp>
          <p:nvGrpSpPr>
            <p:cNvPr id="59" name="Gruppieren 58"/>
            <p:cNvGrpSpPr/>
            <p:nvPr/>
          </p:nvGrpSpPr>
          <p:grpSpPr>
            <a:xfrm>
              <a:off x="323850" y="2465576"/>
              <a:ext cx="8497094" cy="3100245"/>
              <a:chOff x="323850" y="1638115"/>
              <a:chExt cx="8497094" cy="3100245"/>
            </a:xfrm>
          </p:grpSpPr>
          <p:grpSp>
            <p:nvGrpSpPr>
              <p:cNvPr id="58" name="Gruppieren 57"/>
              <p:cNvGrpSpPr/>
              <p:nvPr/>
            </p:nvGrpSpPr>
            <p:grpSpPr>
              <a:xfrm>
                <a:off x="323851" y="1638115"/>
                <a:ext cx="8497093" cy="1537147"/>
                <a:chOff x="323851" y="1638115"/>
                <a:chExt cx="8497093" cy="1537147"/>
              </a:xfrm>
            </p:grpSpPr>
            <p:grpSp>
              <p:nvGrpSpPr>
                <p:cNvPr id="3" name="Gruppieren 26"/>
                <p:cNvGrpSpPr/>
                <p:nvPr/>
              </p:nvGrpSpPr>
              <p:grpSpPr bwMode="gray">
                <a:xfrm>
                  <a:off x="323851" y="2184883"/>
                  <a:ext cx="1535768" cy="843074"/>
                  <a:chOff x="5125711" y="5695634"/>
                  <a:chExt cx="1945687" cy="1068103"/>
                </a:xfrm>
              </p:grpSpPr>
              <p:sp>
                <p:nvSpPr>
                  <p:cNvPr id="20" name="Ellipse 19"/>
                  <p:cNvSpPr/>
                  <p:nvPr/>
                </p:nvSpPr>
                <p:spPr bwMode="gray">
                  <a:xfrm>
                    <a:off x="5209531" y="5802314"/>
                    <a:ext cx="1770427" cy="859506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1. Analysis</a:t>
                    </a:r>
                  </a:p>
                </p:txBody>
              </p:sp>
              <p:sp>
                <p:nvSpPr>
                  <p:cNvPr id="21" name="Ellipse 20"/>
                  <p:cNvSpPr/>
                  <p:nvPr/>
                </p:nvSpPr>
                <p:spPr bwMode="gray">
                  <a:xfrm>
                    <a:off x="6867563" y="6130150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4" name="Ellipse 23"/>
                  <p:cNvSpPr/>
                  <p:nvPr/>
                </p:nvSpPr>
                <p:spPr bwMode="gray">
                  <a:xfrm>
                    <a:off x="5125711" y="6130150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5" name="Ellipse 24"/>
                  <p:cNvSpPr/>
                  <p:nvPr/>
                </p:nvSpPr>
                <p:spPr bwMode="gray">
                  <a:xfrm>
                    <a:off x="5992827" y="5695634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6" name="Ellipse 25"/>
                  <p:cNvSpPr/>
                  <p:nvPr/>
                </p:nvSpPr>
                <p:spPr bwMode="gray">
                  <a:xfrm>
                    <a:off x="5992827" y="6559902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</p:grpSp>
            <p:grpSp>
              <p:nvGrpSpPr>
                <p:cNvPr id="4" name="Gruppieren 34"/>
                <p:cNvGrpSpPr/>
                <p:nvPr/>
              </p:nvGrpSpPr>
              <p:grpSpPr bwMode="gray">
                <a:xfrm>
                  <a:off x="2224678" y="2037578"/>
                  <a:ext cx="1717922" cy="1137684"/>
                  <a:chOff x="2563354" y="5526224"/>
                  <a:chExt cx="2176460" cy="1441348"/>
                </a:xfrm>
              </p:grpSpPr>
              <p:sp>
                <p:nvSpPr>
                  <p:cNvPr id="30" name="Gleichschenkliges Dreieck 29"/>
                  <p:cNvSpPr/>
                  <p:nvPr/>
                </p:nvSpPr>
                <p:spPr bwMode="gray">
                  <a:xfrm>
                    <a:off x="2665272" y="5628142"/>
                    <a:ext cx="1972625" cy="1229858"/>
                  </a:xfrm>
                  <a:prstGeom prst="triangle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2. Target</a:t>
                    </a:r>
                  </a:p>
                </p:txBody>
              </p:sp>
              <p:sp>
                <p:nvSpPr>
                  <p:cNvPr id="31" name="Ellipse 30"/>
                  <p:cNvSpPr/>
                  <p:nvPr/>
                </p:nvSpPr>
                <p:spPr bwMode="gray">
                  <a:xfrm>
                    <a:off x="4535979" y="6763737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2" name="Ellipse 31"/>
                  <p:cNvSpPr/>
                  <p:nvPr/>
                </p:nvSpPr>
                <p:spPr bwMode="gray">
                  <a:xfrm>
                    <a:off x="2563354" y="6763737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3" name="Ellipse 32"/>
                  <p:cNvSpPr/>
                  <p:nvPr/>
                </p:nvSpPr>
                <p:spPr bwMode="gray">
                  <a:xfrm>
                    <a:off x="3549667" y="5526224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4" name="Ellipse 33"/>
                  <p:cNvSpPr/>
                  <p:nvPr/>
                </p:nvSpPr>
                <p:spPr bwMode="gray">
                  <a:xfrm>
                    <a:off x="3549667" y="6763737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</p:grpSp>
            <p:grpSp>
              <p:nvGrpSpPr>
                <p:cNvPr id="5" name="Gruppieren 48"/>
                <p:cNvGrpSpPr/>
                <p:nvPr/>
              </p:nvGrpSpPr>
              <p:grpSpPr bwMode="gray">
                <a:xfrm>
                  <a:off x="4307659" y="2325960"/>
                  <a:ext cx="1557031" cy="560920"/>
                  <a:chOff x="2665271" y="6147362"/>
                  <a:chExt cx="1972625" cy="710638"/>
                </a:xfrm>
              </p:grpSpPr>
              <p:sp>
                <p:nvSpPr>
                  <p:cNvPr id="36" name="Rechteck 35"/>
                  <p:cNvSpPr/>
                  <p:nvPr/>
                </p:nvSpPr>
                <p:spPr bwMode="gray">
                  <a:xfrm>
                    <a:off x="2665271" y="6147362"/>
                    <a:ext cx="1972625" cy="71063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72000" rIns="0" bIns="0" anchor="t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3. Strategy</a:t>
                    </a:r>
                  </a:p>
                </p:txBody>
              </p:sp>
              <p:grpSp>
                <p:nvGrpSpPr>
                  <p:cNvPr id="6" name="Gruppieren 47"/>
                  <p:cNvGrpSpPr/>
                  <p:nvPr/>
                </p:nvGrpSpPr>
                <p:grpSpPr bwMode="gray">
                  <a:xfrm>
                    <a:off x="2750003" y="6577081"/>
                    <a:ext cx="1801216" cy="280919"/>
                    <a:chOff x="2750003" y="6577081"/>
                    <a:chExt cx="1801216" cy="280919"/>
                  </a:xfrm>
                </p:grpSpPr>
                <p:sp>
                  <p:nvSpPr>
                    <p:cNvPr id="37" name="Ellipse 36"/>
                    <p:cNvSpPr/>
                    <p:nvPr/>
                  </p:nvSpPr>
                  <p:spPr bwMode="gray">
                    <a:xfrm>
                      <a:off x="2750003" y="6577081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38" name="Ellipse 37"/>
                    <p:cNvSpPr/>
                    <p:nvPr/>
                  </p:nvSpPr>
                  <p:spPr bwMode="gray">
                    <a:xfrm>
                      <a:off x="3282464" y="6577081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39" name="Ellipse 38"/>
                    <p:cNvSpPr/>
                    <p:nvPr/>
                  </p:nvSpPr>
                  <p:spPr bwMode="gray">
                    <a:xfrm>
                      <a:off x="4347384" y="6577081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40" name="Ellipse 39"/>
                    <p:cNvSpPr/>
                    <p:nvPr/>
                  </p:nvSpPr>
                  <p:spPr bwMode="gray">
                    <a:xfrm>
                      <a:off x="3814925" y="6577081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cxnSp>
                  <p:nvCxnSpPr>
                    <p:cNvPr id="43" name="Gerade Verbindung 42"/>
                    <p:cNvCxnSpPr/>
                    <p:nvPr/>
                  </p:nvCxnSpPr>
                  <p:spPr bwMode="gray">
                    <a:xfrm rot="5400000" flipH="1" flipV="1">
                      <a:off x="4042613" y="6717541"/>
                      <a:ext cx="280919" cy="0"/>
                    </a:xfrm>
                    <a:prstGeom prst="lin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</p:cxnSp>
                <p:cxnSp>
                  <p:nvCxnSpPr>
                    <p:cNvPr id="44" name="Gerade Verbindung 43"/>
                    <p:cNvCxnSpPr/>
                    <p:nvPr/>
                  </p:nvCxnSpPr>
                  <p:spPr bwMode="gray">
                    <a:xfrm rot="5400000" flipH="1" flipV="1">
                      <a:off x="3510152" y="6717541"/>
                      <a:ext cx="280919" cy="0"/>
                    </a:xfrm>
                    <a:prstGeom prst="lin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</p:cxnSp>
                <p:cxnSp>
                  <p:nvCxnSpPr>
                    <p:cNvPr id="45" name="Gerade Verbindung 44"/>
                    <p:cNvCxnSpPr/>
                    <p:nvPr/>
                  </p:nvCxnSpPr>
                  <p:spPr bwMode="gray">
                    <a:xfrm rot="5400000" flipH="1" flipV="1">
                      <a:off x="2977691" y="6717541"/>
                      <a:ext cx="280919" cy="0"/>
                    </a:xfrm>
                    <a:prstGeom prst="lin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</p:cxnSp>
              </p:grpSp>
            </p:grpSp>
            <p:grpSp>
              <p:nvGrpSpPr>
                <p:cNvPr id="7" name="Gruppieren 71"/>
                <p:cNvGrpSpPr/>
                <p:nvPr/>
              </p:nvGrpSpPr>
              <p:grpSpPr bwMode="gray">
                <a:xfrm>
                  <a:off x="6229748" y="2124967"/>
                  <a:ext cx="962906" cy="962906"/>
                  <a:chOff x="7175579" y="5638079"/>
                  <a:chExt cx="1219921" cy="1219921"/>
                </a:xfrm>
              </p:grpSpPr>
              <p:sp>
                <p:nvSpPr>
                  <p:cNvPr id="50" name="Ellipse 49"/>
                  <p:cNvSpPr/>
                  <p:nvPr/>
                </p:nvSpPr>
                <p:spPr bwMode="gray">
                  <a:xfrm>
                    <a:off x="7175579" y="5638079"/>
                    <a:ext cx="1219921" cy="121992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4. Mix</a:t>
                    </a:r>
                  </a:p>
                </p:txBody>
              </p:sp>
              <p:grpSp>
                <p:nvGrpSpPr>
                  <p:cNvPr id="8" name="Gruppieren 54"/>
                  <p:cNvGrpSpPr/>
                  <p:nvPr/>
                </p:nvGrpSpPr>
                <p:grpSpPr bwMode="gray">
                  <a:xfrm>
                    <a:off x="7229960" y="6148553"/>
                    <a:ext cx="1111160" cy="203835"/>
                    <a:chOff x="7229960" y="6148553"/>
                    <a:chExt cx="1111160" cy="203835"/>
                  </a:xfrm>
                </p:grpSpPr>
                <p:sp>
                  <p:nvSpPr>
                    <p:cNvPr id="51" name="Ellipse 50"/>
                    <p:cNvSpPr/>
                    <p:nvPr/>
                  </p:nvSpPr>
                  <p:spPr bwMode="gray">
                    <a:xfrm>
                      <a:off x="7229960" y="6148553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52" name="Ellipse 51"/>
                    <p:cNvSpPr/>
                    <p:nvPr/>
                  </p:nvSpPr>
                  <p:spPr bwMode="gray">
                    <a:xfrm>
                      <a:off x="8137285" y="6148553"/>
                      <a:ext cx="203835" cy="203835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D7D7D7"/>
                        </a:gs>
                        <a:gs pos="100000">
                          <a:srgbClr val="FFFFFF"/>
                        </a:gs>
                      </a:gsLst>
                      <a:lin ang="16200000" scaled="1"/>
                      <a:tileRect/>
                    </a:gradFill>
                    <a:ln w="12700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0" tIns="0" rIns="0" bIns="0" anchor="ctr" anchorCtr="0"/>
                    <a:lstStyle/>
                    <a:p>
                      <a:pPr algn="ctr">
                        <a:buClr>
                          <a:srgbClr val="969696"/>
                        </a:buClr>
                        <a:defRPr/>
                      </a:pPr>
                      <a:endParaRPr lang="en-US" sz="1200" noProof="1" smtClean="0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</p:grpSp>
              <p:sp>
                <p:nvSpPr>
                  <p:cNvPr id="54" name="Ellipse 53"/>
                  <p:cNvSpPr/>
                  <p:nvPr/>
                </p:nvSpPr>
                <p:spPr bwMode="gray">
                  <a:xfrm>
                    <a:off x="7683622" y="5694891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57" name="Ellipse 56"/>
                  <p:cNvSpPr/>
                  <p:nvPr/>
                </p:nvSpPr>
                <p:spPr bwMode="gray">
                  <a:xfrm>
                    <a:off x="7683623" y="6602216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cxnSp>
                <p:nvCxnSpPr>
                  <p:cNvPr id="60" name="Gerade Verbindung 59"/>
                  <p:cNvCxnSpPr>
                    <a:endCxn id="50" idx="1"/>
                  </p:cNvCxnSpPr>
                  <p:nvPr/>
                </p:nvCxnSpPr>
                <p:spPr bwMode="gray">
                  <a:xfrm rot="16200000" flipV="1">
                    <a:off x="7354232" y="5816732"/>
                    <a:ext cx="272996" cy="272995"/>
                  </a:xfrm>
                  <a:prstGeom prst="line">
                    <a:avLst/>
                  </a:prstGeom>
                  <a:ln w="1270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Gerade Verbindung 61"/>
                  <p:cNvCxnSpPr>
                    <a:endCxn id="50" idx="7"/>
                  </p:cNvCxnSpPr>
                  <p:nvPr/>
                </p:nvCxnSpPr>
                <p:spPr bwMode="gray">
                  <a:xfrm flipV="1">
                    <a:off x="7943850" y="5816732"/>
                    <a:ext cx="272997" cy="272996"/>
                  </a:xfrm>
                  <a:prstGeom prst="line">
                    <a:avLst/>
                  </a:prstGeom>
                  <a:ln w="1270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Gerade Verbindung 67"/>
                  <p:cNvCxnSpPr/>
                  <p:nvPr/>
                </p:nvCxnSpPr>
                <p:spPr bwMode="gray">
                  <a:xfrm rot="16200000" flipV="1">
                    <a:off x="7943954" y="6406455"/>
                    <a:ext cx="272894" cy="272894"/>
                  </a:xfrm>
                  <a:prstGeom prst="line">
                    <a:avLst/>
                  </a:prstGeom>
                  <a:ln w="1270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Gerade Verbindung 68"/>
                  <p:cNvCxnSpPr/>
                  <p:nvPr/>
                </p:nvCxnSpPr>
                <p:spPr bwMode="gray">
                  <a:xfrm rot="5400000" flipH="1" flipV="1">
                    <a:off x="7354230" y="6406455"/>
                    <a:ext cx="272894" cy="272893"/>
                  </a:xfrm>
                  <a:prstGeom prst="line">
                    <a:avLst/>
                  </a:prstGeom>
                  <a:ln w="1270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" name="Gruppieren 85"/>
                <p:cNvGrpSpPr/>
                <p:nvPr/>
              </p:nvGrpSpPr>
              <p:grpSpPr bwMode="gray">
                <a:xfrm>
                  <a:off x="7557714" y="2089283"/>
                  <a:ext cx="1263230" cy="1034275"/>
                  <a:chOff x="4830398" y="7413325"/>
                  <a:chExt cx="1600405" cy="1310339"/>
                </a:xfrm>
              </p:grpSpPr>
              <p:sp>
                <p:nvSpPr>
                  <p:cNvPr id="1032" name="Freeform 8"/>
                  <p:cNvSpPr>
                    <a:spLocks/>
                  </p:cNvSpPr>
                  <p:nvPr/>
                </p:nvSpPr>
                <p:spPr bwMode="gray">
                  <a:xfrm>
                    <a:off x="4830398" y="7413325"/>
                    <a:ext cx="1600405" cy="243540"/>
                  </a:xfrm>
                  <a:custGeom>
                    <a:avLst/>
                    <a:gdLst/>
                    <a:ahLst/>
                    <a:cxnLst>
                      <a:cxn ang="0">
                        <a:pos x="1380" y="0"/>
                      </a:cxn>
                      <a:cxn ang="0">
                        <a:pos x="1058" y="210"/>
                      </a:cxn>
                      <a:cxn ang="0">
                        <a:pos x="0" y="210"/>
                      </a:cxn>
                      <a:cxn ang="0">
                        <a:pos x="321" y="0"/>
                      </a:cxn>
                      <a:cxn ang="0">
                        <a:pos x="1380" y="0"/>
                      </a:cxn>
                    </a:cxnLst>
                    <a:rect l="0" t="0" r="r" b="b"/>
                    <a:pathLst>
                      <a:path w="1380" h="210">
                        <a:moveTo>
                          <a:pt x="1380" y="0"/>
                        </a:moveTo>
                        <a:lnTo>
                          <a:pt x="1058" y="210"/>
                        </a:lnTo>
                        <a:lnTo>
                          <a:pt x="0" y="210"/>
                        </a:lnTo>
                        <a:lnTo>
                          <a:pt x="321" y="0"/>
                        </a:lnTo>
                        <a:lnTo>
                          <a:pt x="138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round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FFFFFF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1030" name="Freeform 6"/>
                  <p:cNvSpPr>
                    <a:spLocks/>
                  </p:cNvSpPr>
                  <p:nvPr/>
                </p:nvSpPr>
                <p:spPr bwMode="gray">
                  <a:xfrm>
                    <a:off x="4830398" y="7656865"/>
                    <a:ext cx="1226977" cy="964882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832"/>
                      </a:cxn>
                      <a:cxn ang="0">
                        <a:pos x="1058" y="832"/>
                      </a:cxn>
                      <a:cxn ang="0">
                        <a:pos x="1058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058" h="832">
                        <a:moveTo>
                          <a:pt x="0" y="0"/>
                        </a:moveTo>
                        <a:lnTo>
                          <a:pt x="0" y="832"/>
                        </a:lnTo>
                        <a:lnTo>
                          <a:pt x="1058" y="832"/>
                        </a:lnTo>
                        <a:lnTo>
                          <a:pt x="1058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5. Control </a:t>
                    </a:r>
                  </a:p>
                </p:txBody>
              </p:sp>
              <p:sp>
                <p:nvSpPr>
                  <p:cNvPr id="1031" name="Freeform 7"/>
                  <p:cNvSpPr>
                    <a:spLocks/>
                  </p:cNvSpPr>
                  <p:nvPr/>
                </p:nvSpPr>
                <p:spPr bwMode="gray">
                  <a:xfrm>
                    <a:off x="6057375" y="7413325"/>
                    <a:ext cx="373428" cy="1208422"/>
                  </a:xfrm>
                  <a:custGeom>
                    <a:avLst/>
                    <a:gdLst/>
                    <a:ahLst/>
                    <a:cxnLst>
                      <a:cxn ang="0">
                        <a:pos x="322" y="0"/>
                      </a:cxn>
                      <a:cxn ang="0">
                        <a:pos x="0" y="210"/>
                      </a:cxn>
                      <a:cxn ang="0">
                        <a:pos x="0" y="1042"/>
                      </a:cxn>
                      <a:cxn ang="0">
                        <a:pos x="322" y="831"/>
                      </a:cxn>
                      <a:cxn ang="0">
                        <a:pos x="322" y="0"/>
                      </a:cxn>
                    </a:cxnLst>
                    <a:rect l="0" t="0" r="r" b="b"/>
                    <a:pathLst>
                      <a:path w="322" h="1042">
                        <a:moveTo>
                          <a:pt x="322" y="0"/>
                        </a:moveTo>
                        <a:lnTo>
                          <a:pt x="0" y="210"/>
                        </a:lnTo>
                        <a:lnTo>
                          <a:pt x="0" y="1042"/>
                        </a:lnTo>
                        <a:lnTo>
                          <a:pt x="322" y="831"/>
                        </a:lnTo>
                        <a:lnTo>
                          <a:pt x="322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FFFFFF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83" name="Ellipse 82"/>
                  <p:cNvSpPr/>
                  <p:nvPr/>
                </p:nvSpPr>
                <p:spPr bwMode="gray">
                  <a:xfrm>
                    <a:off x="6179344" y="7890056"/>
                    <a:ext cx="164782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84" name="Ellipse 83"/>
                  <p:cNvSpPr/>
                  <p:nvPr/>
                </p:nvSpPr>
                <p:spPr bwMode="gray">
                  <a:xfrm>
                    <a:off x="5505914" y="7448251"/>
                    <a:ext cx="203835" cy="12095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85" name="Ellipse 84"/>
                  <p:cNvSpPr/>
                  <p:nvPr/>
                </p:nvSpPr>
                <p:spPr bwMode="gray">
                  <a:xfrm>
                    <a:off x="5341969" y="8519829"/>
                    <a:ext cx="203835" cy="203835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</p:grpSp>
            <p:grpSp>
              <p:nvGrpSpPr>
                <p:cNvPr id="10" name="Gruppieren 95"/>
                <p:cNvGrpSpPr/>
                <p:nvPr/>
              </p:nvGrpSpPr>
              <p:grpSpPr bwMode="gray">
                <a:xfrm>
                  <a:off x="1091736" y="1638115"/>
                  <a:ext cx="7097596" cy="531695"/>
                  <a:chOff x="1091736" y="1555751"/>
                  <a:chExt cx="7097596" cy="531695"/>
                </a:xfrm>
              </p:grpSpPr>
              <p:cxnSp>
                <p:nvCxnSpPr>
                  <p:cNvPr id="90" name="Gerade Verbindung 89"/>
                  <p:cNvCxnSpPr/>
                  <p:nvPr/>
                </p:nvCxnSpPr>
                <p:spPr bwMode="gray">
                  <a:xfrm rot="5400000" flipH="1" flipV="1">
                    <a:off x="825888" y="1821599"/>
                    <a:ext cx="531695" cy="0"/>
                  </a:xfrm>
                  <a:prstGeom prst="line">
                    <a:avLst/>
                  </a:prstGeom>
                  <a:ln w="19050">
                    <a:solidFill>
                      <a:srgbClr val="C0C0C0"/>
                    </a:solidFill>
                    <a:head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Gerade Verbindung 90"/>
                  <p:cNvCxnSpPr/>
                  <p:nvPr/>
                </p:nvCxnSpPr>
                <p:spPr bwMode="gray">
                  <a:xfrm rot="5400000" flipH="1" flipV="1">
                    <a:off x="7963747" y="1781336"/>
                    <a:ext cx="451166" cy="0"/>
                  </a:xfrm>
                  <a:prstGeom prst="line">
                    <a:avLst/>
                  </a:prstGeom>
                  <a:ln w="1905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Gerade Verbindung 92"/>
                  <p:cNvCxnSpPr/>
                  <p:nvPr/>
                </p:nvCxnSpPr>
                <p:spPr bwMode="gray">
                  <a:xfrm rot="10800000">
                    <a:off x="1091736" y="1555755"/>
                    <a:ext cx="7097596" cy="1"/>
                  </a:xfrm>
                  <a:prstGeom prst="line">
                    <a:avLst/>
                  </a:prstGeom>
                  <a:ln w="19050"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98" name="Pfeil nach rechts 97"/>
                <p:cNvSpPr/>
                <p:nvPr/>
              </p:nvSpPr>
              <p:spPr bwMode="gray">
                <a:xfrm>
                  <a:off x="2155019" y="2481381"/>
                  <a:ext cx="216220" cy="250078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99" name="Pfeil nach rechts 98"/>
                <p:cNvSpPr/>
                <p:nvPr/>
              </p:nvSpPr>
              <p:spPr bwMode="gray">
                <a:xfrm>
                  <a:off x="3818900" y="2481381"/>
                  <a:ext cx="216220" cy="250078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0" name="Pfeil nach rechts 99"/>
                <p:cNvSpPr/>
                <p:nvPr/>
              </p:nvSpPr>
              <p:spPr bwMode="gray">
                <a:xfrm>
                  <a:off x="5939109" y="2481381"/>
                  <a:ext cx="216220" cy="250078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1" name="Pfeil nach rechts 100"/>
                <p:cNvSpPr/>
                <p:nvPr/>
              </p:nvSpPr>
              <p:spPr bwMode="gray">
                <a:xfrm>
                  <a:off x="7267073" y="2481381"/>
                  <a:ext cx="216220" cy="250078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105" name="Textfeld 104"/>
              <p:cNvSpPr txBox="1"/>
              <p:nvPr/>
            </p:nvSpPr>
            <p:spPr bwMode="gray">
              <a:xfrm>
                <a:off x="323850" y="3630364"/>
                <a:ext cx="2061719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b="1" noProof="1" smtClean="0"/>
                  <a:t>Strategic Analysi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Market and environment analysi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Customer and competitor analysis</a:t>
                </a:r>
                <a:endParaRPr lang="en-US" sz="1200" noProof="1"/>
              </a:p>
            </p:txBody>
          </p:sp>
          <p:sp>
            <p:nvSpPr>
              <p:cNvPr id="106" name="Textfeld 105"/>
              <p:cNvSpPr txBox="1"/>
              <p:nvPr/>
            </p:nvSpPr>
            <p:spPr bwMode="gray">
              <a:xfrm>
                <a:off x="3247600" y="3630364"/>
                <a:ext cx="2541270" cy="92333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b="1" noProof="1" smtClean="0"/>
                  <a:t>Strategy Selection and Combination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Competitive strategie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Portfolio strategie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Positioning strategie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Innovation strategies</a:t>
                </a:r>
                <a:endParaRPr lang="en-US" sz="1200" noProof="1"/>
              </a:p>
            </p:txBody>
          </p:sp>
          <p:sp>
            <p:nvSpPr>
              <p:cNvPr id="109" name="Textfeld 108"/>
              <p:cNvSpPr txBox="1"/>
              <p:nvPr/>
            </p:nvSpPr>
            <p:spPr bwMode="gray">
              <a:xfrm>
                <a:off x="6211259" y="3630364"/>
                <a:ext cx="2541270" cy="110799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200" b="1" noProof="1" smtClean="0"/>
                  <a:t>Success Control </a:t>
                </a:r>
                <a:r>
                  <a:rPr lang="en-US" sz="1200" noProof="1" smtClean="0"/>
                  <a:t>(progress and results)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Effectiveness of marketing tools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Performance of the people involved</a:t>
                </a:r>
              </a:p>
              <a:p>
                <a:pPr marL="171450" indent="-171450">
                  <a:buFont typeface="Arial" pitchFamily="34" charset="0"/>
                  <a:buChar char="•"/>
                </a:pPr>
                <a:r>
                  <a:rPr lang="en-US" sz="1200" noProof="1" smtClean="0"/>
                  <a:t>Profitability of the chosen products, markets and (customer success estimation)</a:t>
                </a:r>
                <a:endParaRPr lang="en-US" sz="1200" noProof="1"/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ing</a:t>
            </a:r>
            <a:b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</a:b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nagement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9639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2"/>
          <p:cNvGrpSpPr/>
          <p:nvPr/>
        </p:nvGrpSpPr>
        <p:grpSpPr bwMode="gray">
          <a:xfrm>
            <a:off x="0" y="4788058"/>
            <a:ext cx="9144000" cy="1163782"/>
            <a:chOff x="0" y="4534215"/>
            <a:chExt cx="9144000" cy="1163782"/>
          </a:xfrm>
        </p:grpSpPr>
        <p:sp>
          <p:nvSpPr>
            <p:cNvPr id="34" name="Rechteck 33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8" name="Rechteck 37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splay as 4 phases model / marketing cycle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Marketing Management Cycle</a:t>
            </a:r>
          </a:p>
        </p:txBody>
      </p:sp>
      <p:sp>
        <p:nvSpPr>
          <p:cNvPr id="47" name="Freeform 14" descr="© INSCALE GmbH, 26.05.2010&#10;http://www.presentationload.com/"/>
          <p:cNvSpPr>
            <a:spLocks/>
          </p:cNvSpPr>
          <p:nvPr>
            <p:custDataLst>
              <p:tags r:id="rId1"/>
            </p:custDataLst>
          </p:nvPr>
        </p:nvSpPr>
        <p:spPr bwMode="gray">
          <a:xfrm rot="2700000">
            <a:off x="3652767" y="1567555"/>
            <a:ext cx="1870384" cy="1812685"/>
          </a:xfrm>
          <a:custGeom>
            <a:avLst/>
            <a:gdLst/>
            <a:ahLst/>
            <a:cxnLst>
              <a:cxn ang="0">
                <a:pos x="94" y="297"/>
              </a:cxn>
              <a:cxn ang="0">
                <a:pos x="121" y="192"/>
              </a:cxn>
              <a:cxn ang="0">
                <a:pos x="267" y="95"/>
              </a:cxn>
              <a:cxn ang="0">
                <a:pos x="309" y="46"/>
              </a:cxn>
              <a:cxn ang="0">
                <a:pos x="268" y="0"/>
              </a:cxn>
              <a:cxn ang="0">
                <a:pos x="0" y="291"/>
              </a:cxn>
              <a:cxn ang="0">
                <a:pos x="0" y="300"/>
              </a:cxn>
              <a:cxn ang="0">
                <a:pos x="48" y="257"/>
              </a:cxn>
              <a:cxn ang="0">
                <a:pos x="94" y="297"/>
              </a:cxn>
            </a:cxnLst>
            <a:rect l="0" t="0" r="r" b="b"/>
            <a:pathLst>
              <a:path w="309" h="300">
                <a:moveTo>
                  <a:pt x="94" y="297"/>
                </a:moveTo>
                <a:cubicBezTo>
                  <a:pt x="93" y="262"/>
                  <a:pt x="101" y="225"/>
                  <a:pt x="121" y="192"/>
                </a:cubicBezTo>
                <a:cubicBezTo>
                  <a:pt x="153" y="136"/>
                  <a:pt x="208" y="102"/>
                  <a:pt x="267" y="95"/>
                </a:cubicBezTo>
                <a:cubicBezTo>
                  <a:pt x="309" y="46"/>
                  <a:pt x="309" y="46"/>
                  <a:pt x="309" y="46"/>
                </a:cubicBezTo>
                <a:cubicBezTo>
                  <a:pt x="268" y="0"/>
                  <a:pt x="268" y="0"/>
                  <a:pt x="268" y="0"/>
                </a:cubicBezTo>
                <a:cubicBezTo>
                  <a:pt x="118" y="12"/>
                  <a:pt x="0" y="138"/>
                  <a:pt x="0" y="291"/>
                </a:cubicBezTo>
                <a:cubicBezTo>
                  <a:pt x="0" y="294"/>
                  <a:pt x="0" y="297"/>
                  <a:pt x="0" y="300"/>
                </a:cubicBezTo>
                <a:cubicBezTo>
                  <a:pt x="48" y="257"/>
                  <a:pt x="48" y="257"/>
                  <a:pt x="48" y="257"/>
                </a:cubicBezTo>
                <a:lnTo>
                  <a:pt x="94" y="297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endParaRPr lang="en-US" b="1" noProof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31" name="Gruppieren 30"/>
          <p:cNvGrpSpPr/>
          <p:nvPr/>
        </p:nvGrpSpPr>
        <p:grpSpPr>
          <a:xfrm>
            <a:off x="323850" y="1923628"/>
            <a:ext cx="8496300" cy="3934247"/>
            <a:chOff x="323850" y="1923628"/>
            <a:chExt cx="8496300" cy="3934247"/>
          </a:xfrm>
        </p:grpSpPr>
        <p:grpSp>
          <p:nvGrpSpPr>
            <p:cNvPr id="3" name="Gruppieren 73"/>
            <p:cNvGrpSpPr/>
            <p:nvPr/>
          </p:nvGrpSpPr>
          <p:grpSpPr bwMode="gray">
            <a:xfrm>
              <a:off x="323851" y="1923628"/>
              <a:ext cx="3745229" cy="525374"/>
              <a:chOff x="323851" y="1923628"/>
              <a:chExt cx="3745229" cy="525374"/>
            </a:xfrm>
          </p:grpSpPr>
          <p:sp>
            <p:nvSpPr>
              <p:cNvPr id="50" name="Line 51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336550" y="1923628"/>
                <a:ext cx="3732530" cy="0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51" name="Text Box 52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23851" y="1927236"/>
                <a:ext cx="2685356" cy="5217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90000" rIns="0" bIns="0">
                <a:spAutoFit/>
              </a:bodyPr>
              <a:lstStyle/>
              <a:p>
                <a:pPr marL="177800" indent="-177800" defTabSz="801688">
                  <a:spcBef>
                    <a:spcPct val="20000"/>
                  </a:spcBef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400" noProof="1" smtClean="0">
                    <a:cs typeface="Arial" charset="0"/>
                  </a:rPr>
                  <a:t>Procurement, evaluation and interpretation of market data</a:t>
                </a:r>
              </a:p>
            </p:txBody>
          </p:sp>
        </p:grpSp>
        <p:sp>
          <p:nvSpPr>
            <p:cNvPr id="54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778651" y="2889567"/>
              <a:ext cx="2041498" cy="9957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defTabSz="801688">
                <a:spcBef>
                  <a:spcPct val="20000"/>
                </a:spcBef>
                <a:buClr>
                  <a:srgbClr val="646464"/>
                </a:buClr>
                <a:buSzPct val="90000"/>
                <a:buFont typeface="Wingdings" pitchFamily="2" charset="2"/>
                <a:buChar char="§"/>
              </a:pPr>
              <a:r>
                <a:rPr lang="en-US" sz="1400" noProof="1" smtClean="0"/>
                <a:t>Determination of marketing objectives</a:t>
              </a:r>
            </a:p>
            <a:p>
              <a:pPr marL="177800" indent="-177800" defTabSz="801688">
                <a:spcBef>
                  <a:spcPct val="20000"/>
                </a:spcBef>
                <a:buClr>
                  <a:srgbClr val="646464"/>
                </a:buClr>
                <a:buSzPct val="90000"/>
                <a:buFont typeface="Wingdings" pitchFamily="2" charset="2"/>
                <a:buChar char="§"/>
              </a:pPr>
              <a:r>
                <a:rPr lang="en-US" sz="1400" noProof="1" smtClean="0"/>
                <a:t>Development of marketing strategy</a:t>
              </a:r>
            </a:p>
          </p:txBody>
        </p:sp>
        <p:sp>
          <p:nvSpPr>
            <p:cNvPr id="55" name="Line 45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6339839" y="2889567"/>
              <a:ext cx="2480311" cy="0"/>
            </a:xfrm>
            <a:prstGeom prst="line">
              <a:avLst/>
            </a:prstGeom>
            <a:noFill/>
            <a:ln w="19050">
              <a:solidFill>
                <a:srgbClr val="868282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grpSp>
          <p:nvGrpSpPr>
            <p:cNvPr id="4" name="Gruppieren 72"/>
            <p:cNvGrpSpPr/>
            <p:nvPr/>
          </p:nvGrpSpPr>
          <p:grpSpPr bwMode="gray">
            <a:xfrm>
              <a:off x="323850" y="4439824"/>
              <a:ext cx="2677045" cy="737210"/>
              <a:chOff x="323850" y="4726549"/>
              <a:chExt cx="2677045" cy="737210"/>
            </a:xfrm>
          </p:grpSpPr>
          <p:sp>
            <p:nvSpPr>
              <p:cNvPr id="57" name="Text Box 4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23850" y="4726549"/>
                <a:ext cx="2677045" cy="7372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90000" rIns="0" bIns="0">
                <a:spAutoFit/>
              </a:bodyPr>
              <a:lstStyle/>
              <a:p>
                <a:pPr marL="177800" indent="-177800" defTabSz="801688">
                  <a:spcBef>
                    <a:spcPct val="20000"/>
                  </a:spcBef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400" noProof="1">
                    <a:cs typeface="Arial" charset="0"/>
                  </a:rPr>
                  <a:t>Success control of target achievement (target-actual-comparison)</a:t>
                </a:r>
                <a:endParaRPr lang="en-US" sz="1400" noProof="1" smtClean="0">
                  <a:cs typeface="Arial" charset="0"/>
                </a:endParaRPr>
              </a:p>
            </p:txBody>
          </p:sp>
          <p:sp>
            <p:nvSpPr>
              <p:cNvPr id="58" name="_color1" descr="© INSCALE GmbH, 26.05.2010&#10;http://www.presentationload.com/"/>
              <p:cNvSpPr>
                <a:spLocks noChangeShapeType="1"/>
              </p:cNvSpPr>
              <p:nvPr/>
            </p:nvSpPr>
            <p:spPr bwMode="gray">
              <a:xfrm>
                <a:off x="323851" y="4726549"/>
                <a:ext cx="2556510" cy="0"/>
              </a:xfrm>
              <a:prstGeom prst="line">
                <a:avLst/>
              </a:prstGeom>
              <a:noFill/>
              <a:ln w="19050">
                <a:solidFill>
                  <a:srgbClr val="7D7D7D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</p:grpSp>
        <p:sp>
          <p:nvSpPr>
            <p:cNvPr id="60" name="Text Box 4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6778651" y="5116074"/>
              <a:ext cx="2032840" cy="737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177800" indent="-177800" defTabSz="801688">
                <a:spcBef>
                  <a:spcPct val="20000"/>
                </a:spcBef>
                <a:buClr>
                  <a:srgbClr val="646464"/>
                </a:buClr>
                <a:buSzPct val="90000"/>
                <a:buFont typeface="Wingdings" pitchFamily="2" charset="2"/>
                <a:buChar char="§"/>
              </a:pPr>
              <a:r>
                <a:rPr lang="en-US" sz="1400" noProof="1" smtClean="0"/>
                <a:t>Planning and implementation of marketing measures</a:t>
              </a:r>
              <a:endParaRPr lang="en-US" sz="1400" noProof="1" smtClean="0">
                <a:cs typeface="Arial" charset="0"/>
              </a:endParaRPr>
            </a:p>
          </p:txBody>
        </p:sp>
        <p:sp>
          <p:nvSpPr>
            <p:cNvPr id="61" name="_color1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5861789" y="5116074"/>
              <a:ext cx="2958361" cy="0"/>
            </a:xfrm>
            <a:prstGeom prst="line">
              <a:avLst/>
            </a:prstGeom>
            <a:noFill/>
            <a:ln w="19050">
              <a:solidFill>
                <a:srgbClr val="7D7D7D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pic>
          <p:nvPicPr>
            <p:cNvPr id="36" name="Picture 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gray">
            <a:xfrm>
              <a:off x="2679700" y="5416550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49" name="Freeform 16" descr="© INSCALE GmbH, 26.05.2010&#10;http://www.presentationload.com/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2700000">
              <a:off x="4871152" y="2750106"/>
              <a:ext cx="1807878" cy="1867179"/>
            </a:xfrm>
            <a:custGeom>
              <a:avLst/>
              <a:gdLst/>
              <a:ahLst/>
              <a:cxnLst>
                <a:cxn ang="0">
                  <a:pos x="1" y="95"/>
                </a:cxn>
                <a:cxn ang="0">
                  <a:pos x="107" y="121"/>
                </a:cxn>
                <a:cxn ang="0">
                  <a:pos x="204" y="266"/>
                </a:cxn>
                <a:cxn ang="0">
                  <a:pos x="253" y="309"/>
                </a:cxn>
                <a:cxn ang="0">
                  <a:pos x="299" y="268"/>
                </a:cxn>
                <a:cxn ang="0">
                  <a:pos x="7" y="0"/>
                </a:cxn>
                <a:cxn ang="0">
                  <a:pos x="0" y="1"/>
                </a:cxn>
                <a:cxn ang="0">
                  <a:pos x="42" y="48"/>
                </a:cxn>
                <a:cxn ang="0">
                  <a:pos x="1" y="95"/>
                </a:cxn>
              </a:cxnLst>
              <a:rect l="0" t="0" r="r" b="b"/>
              <a:pathLst>
                <a:path w="299" h="309">
                  <a:moveTo>
                    <a:pt x="1" y="95"/>
                  </a:moveTo>
                  <a:cubicBezTo>
                    <a:pt x="37" y="94"/>
                    <a:pt x="73" y="102"/>
                    <a:pt x="107" y="121"/>
                  </a:cubicBezTo>
                  <a:cubicBezTo>
                    <a:pt x="162" y="153"/>
                    <a:pt x="196" y="208"/>
                    <a:pt x="204" y="266"/>
                  </a:cubicBezTo>
                  <a:cubicBezTo>
                    <a:pt x="253" y="309"/>
                    <a:pt x="253" y="309"/>
                    <a:pt x="253" y="309"/>
                  </a:cubicBezTo>
                  <a:cubicBezTo>
                    <a:pt x="299" y="268"/>
                    <a:pt x="299" y="268"/>
                    <a:pt x="299" y="268"/>
                  </a:cubicBezTo>
                  <a:cubicBezTo>
                    <a:pt x="287" y="118"/>
                    <a:pt x="161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1" y="9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_color1" descr="© INSCALE GmbH, 26.05.2010&#10;http://www.presentationload.com/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2700000">
              <a:off x="2470312" y="2723474"/>
              <a:ext cx="1819097" cy="1867178"/>
            </a:xfrm>
            <a:custGeom>
              <a:avLst/>
              <a:gdLst/>
              <a:ahLst/>
              <a:cxnLst>
                <a:cxn ang="0">
                  <a:pos x="299" y="215"/>
                </a:cxn>
                <a:cxn ang="0">
                  <a:pos x="192" y="188"/>
                </a:cxn>
                <a:cxn ang="0">
                  <a:pos x="95" y="41"/>
                </a:cxn>
                <a:cxn ang="0">
                  <a:pos x="47" y="0"/>
                </a:cxn>
                <a:cxn ang="0">
                  <a:pos x="0" y="42"/>
                </a:cxn>
                <a:cxn ang="0">
                  <a:pos x="291" y="309"/>
                </a:cxn>
                <a:cxn ang="0">
                  <a:pos x="301" y="309"/>
                </a:cxn>
                <a:cxn ang="0">
                  <a:pos x="258" y="261"/>
                </a:cxn>
                <a:cxn ang="0">
                  <a:pos x="299" y="215"/>
                </a:cxn>
              </a:cxnLst>
              <a:rect l="0" t="0" r="r" b="b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5" name="Gruppieren 64"/>
            <p:cNvGrpSpPr/>
            <p:nvPr/>
          </p:nvGrpSpPr>
          <p:grpSpPr bwMode="gray">
            <a:xfrm>
              <a:off x="3571540" y="2676501"/>
              <a:ext cx="1990490" cy="1988467"/>
              <a:chOff x="3575744" y="2681974"/>
              <a:chExt cx="1990490" cy="1988467"/>
            </a:xfrm>
          </p:grpSpPr>
          <p:sp>
            <p:nvSpPr>
              <p:cNvPr id="66" name="Oval 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575744" y="2681974"/>
                <a:ext cx="1990490" cy="198846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88000" tIns="0" rIns="0" bIns="0" anchor="ctr"/>
              <a:lstStyle/>
              <a:p>
                <a:pPr defTabSz="801688" eaLnBrk="0" hangingPunct="0"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pic>
            <p:nvPicPr>
              <p:cNvPr id="67" name="Picture 7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gray">
              <a:xfrm>
                <a:off x="3974248" y="2734567"/>
                <a:ext cx="1197530" cy="695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8" name="Text Box 3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3897288" y="3429437"/>
                <a:ext cx="1332288" cy="55399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Management </a:t>
                </a:r>
                <a:br>
                  <a:rPr lang="en-US" b="1" noProof="1" smtClean="0">
                    <a:solidFill>
                      <a:srgbClr val="000000"/>
                    </a:solidFill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</a:rPr>
                  <a:t>Cycle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595613" y="3546847"/>
                <a:ext cx="1953826" cy="1110225"/>
              </a:xfrm>
              <a:custGeom>
                <a:avLst/>
                <a:gdLst>
                  <a:gd name="T0" fmla="*/ 2147483647 w 412"/>
                  <a:gd name="T1" fmla="*/ 2147483647 h 234"/>
                  <a:gd name="T2" fmla="*/ 54299726 w 412"/>
                  <a:gd name="T3" fmla="*/ 0 h 234"/>
                  <a:gd name="T4" fmla="*/ 0 w 412"/>
                  <a:gd name="T5" fmla="*/ 1479354888 h 234"/>
                  <a:gd name="T6" fmla="*/ 2147483647 w 412"/>
                  <a:gd name="T7" fmla="*/ 2147483647 h 234"/>
                  <a:gd name="T8" fmla="*/ 2147483647 w 412"/>
                  <a:gd name="T9" fmla="*/ 1479354888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rgbClr val="D1D1D1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 noProof="1"/>
              </a:p>
            </p:txBody>
          </p:sp>
        </p:grpSp>
        <p:sp>
          <p:nvSpPr>
            <p:cNvPr id="48" name="_color1" descr="© INSCALE GmbH, 26.05.2010&#10;http://www.presentationload.com/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2700000">
              <a:off x="3627737" y="3961320"/>
              <a:ext cx="1867179" cy="1811083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187" y="107"/>
                </a:cxn>
                <a:cxn ang="0">
                  <a:pos x="42" y="205"/>
                </a:cxn>
                <a:cxn ang="0">
                  <a:pos x="0" y="253"/>
                </a:cxn>
                <a:cxn ang="0">
                  <a:pos x="42" y="300"/>
                </a:cxn>
                <a:cxn ang="0">
                  <a:pos x="308" y="8"/>
                </a:cxn>
                <a:cxn ang="0">
                  <a:pos x="308" y="0"/>
                </a:cxn>
                <a:cxn ang="0">
                  <a:pos x="261" y="42"/>
                </a:cxn>
                <a:cxn ang="0">
                  <a:pos x="214" y="0"/>
                </a:cxn>
              </a:cxnLst>
              <a:rect l="0" t="0" r="r" b="b"/>
              <a:pathLst>
                <a:path w="308" h="300">
                  <a:moveTo>
                    <a:pt x="214" y="0"/>
                  </a:moveTo>
                  <a:cubicBezTo>
                    <a:pt x="215" y="37"/>
                    <a:pt x="207" y="74"/>
                    <a:pt x="187" y="107"/>
                  </a:cubicBezTo>
                  <a:cubicBezTo>
                    <a:pt x="155" y="163"/>
                    <a:pt x="101" y="197"/>
                    <a:pt x="42" y="205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191" y="287"/>
                    <a:pt x="308" y="161"/>
                    <a:pt x="308" y="8"/>
                  </a:cubicBezTo>
                  <a:cubicBezTo>
                    <a:pt x="308" y="6"/>
                    <a:pt x="308" y="3"/>
                    <a:pt x="308" y="0"/>
                  </a:cubicBezTo>
                  <a:cubicBezTo>
                    <a:pt x="261" y="42"/>
                    <a:pt x="261" y="42"/>
                    <a:pt x="261" y="42"/>
                  </a:cubicBezTo>
                  <a:lnTo>
                    <a:pt x="21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path path="shape">
                <a:fillToRect l="50000" t="50000" r="50000" b="50000"/>
              </a:path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Rechteck 34"/>
            <p:cNvSpPr/>
            <p:nvPr/>
          </p:nvSpPr>
          <p:spPr bwMode="gray">
            <a:xfrm>
              <a:off x="3123998" y="2223714"/>
              <a:ext cx="2892360" cy="289236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Up">
                <a:avLst/>
              </a:prstTxWarp>
            </a:bodyPr>
            <a:lstStyle/>
            <a:p>
              <a:pPr algn="ctr"/>
              <a:r>
                <a:rPr lang="en-US" sz="1600" b="1" noProof="1" smtClean="0">
                  <a:solidFill>
                    <a:srgbClr val="FFFFFF"/>
                  </a:solidFill>
                </a:rPr>
                <a:t>Analysis phase</a:t>
              </a:r>
            </a:p>
          </p:txBody>
        </p:sp>
        <p:sp>
          <p:nvSpPr>
            <p:cNvPr id="37" name="Rechteck 36"/>
            <p:cNvSpPr/>
            <p:nvPr/>
          </p:nvSpPr>
          <p:spPr bwMode="gray">
            <a:xfrm rot="5400000">
              <a:off x="3086611" y="2186327"/>
              <a:ext cx="2967134" cy="296713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Up">
                <a:avLst/>
              </a:prstTxWarp>
            </a:bodyPr>
            <a:lstStyle/>
            <a:p>
              <a:pPr algn="ctr"/>
              <a:r>
                <a:rPr lang="en-US" sz="1600" b="1" noProof="1" smtClean="0"/>
                <a:t>Planning phase</a:t>
              </a:r>
              <a:endParaRPr lang="en-US" sz="1600" b="1" noProof="1" smtClean="0"/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3063152" y="2162868"/>
              <a:ext cx="3014052" cy="30140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sz="1600" b="1" noProof="1" smtClean="0"/>
                <a:t>Realization phase</a:t>
              </a:r>
            </a:p>
          </p:txBody>
        </p:sp>
        <p:sp>
          <p:nvSpPr>
            <p:cNvPr id="40" name="Rechteck 39"/>
            <p:cNvSpPr/>
            <p:nvPr/>
          </p:nvSpPr>
          <p:spPr bwMode="gray">
            <a:xfrm rot="5400000">
              <a:off x="3086611" y="2186327"/>
              <a:ext cx="3014052" cy="30140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sz="1600" b="1" noProof="1" smtClean="0"/>
                <a:t>Control phase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2"/>
          <p:cNvGrpSpPr/>
          <p:nvPr/>
        </p:nvGrpSpPr>
        <p:grpSpPr bwMode="gray">
          <a:xfrm>
            <a:off x="0" y="4788058"/>
            <a:ext cx="9144000" cy="1163782"/>
            <a:chOff x="0" y="4534215"/>
            <a:chExt cx="9144000" cy="1163782"/>
          </a:xfrm>
        </p:grpSpPr>
        <p:sp>
          <p:nvSpPr>
            <p:cNvPr id="34" name="Rechteck 33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8" name="Rechteck 37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splay as 4 phases model / marketing cycle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Marketing Management Cycle</a:t>
            </a:r>
          </a:p>
        </p:txBody>
      </p:sp>
      <p:grpSp>
        <p:nvGrpSpPr>
          <p:cNvPr id="62" name="Gruppieren 61"/>
          <p:cNvGrpSpPr/>
          <p:nvPr/>
        </p:nvGrpSpPr>
        <p:grpSpPr>
          <a:xfrm>
            <a:off x="771755" y="1555750"/>
            <a:ext cx="7606245" cy="4623636"/>
            <a:chOff x="771755" y="1555750"/>
            <a:chExt cx="7606245" cy="4623636"/>
          </a:xfrm>
        </p:grpSpPr>
        <p:grpSp>
          <p:nvGrpSpPr>
            <p:cNvPr id="41" name="Gruppieren 40"/>
            <p:cNvGrpSpPr/>
            <p:nvPr/>
          </p:nvGrpSpPr>
          <p:grpSpPr>
            <a:xfrm>
              <a:off x="771755" y="1555750"/>
              <a:ext cx="7606245" cy="4325597"/>
              <a:chOff x="771755" y="1555750"/>
              <a:chExt cx="7606245" cy="4325597"/>
            </a:xfrm>
          </p:grpSpPr>
          <p:grpSp>
            <p:nvGrpSpPr>
              <p:cNvPr id="3" name="Gruppieren 44"/>
              <p:cNvGrpSpPr/>
              <p:nvPr/>
            </p:nvGrpSpPr>
            <p:grpSpPr bwMode="gray">
              <a:xfrm>
                <a:off x="3111328" y="2615579"/>
                <a:ext cx="2922932" cy="2882237"/>
                <a:chOff x="3111328" y="2524139"/>
                <a:chExt cx="2922932" cy="2882237"/>
              </a:xfrm>
            </p:grpSpPr>
            <p:pic>
              <p:nvPicPr>
                <p:cNvPr id="36" name="Picture 8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gray">
                <a:xfrm>
                  <a:off x="3111328" y="5065674"/>
                  <a:ext cx="2922932" cy="340702"/>
                </a:xfrm>
                <a:prstGeom prst="rect">
                  <a:avLst/>
                </a:prstGeom>
                <a:noFill/>
                <a:ln w="9525"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4" name="Gruppieren 43"/>
                <p:cNvGrpSpPr/>
                <p:nvPr/>
              </p:nvGrpSpPr>
              <p:grpSpPr bwMode="gray">
                <a:xfrm>
                  <a:off x="3207657" y="2524139"/>
                  <a:ext cx="2734442" cy="2734443"/>
                  <a:chOff x="3207657" y="2348879"/>
                  <a:chExt cx="2734442" cy="2734443"/>
                </a:xfrm>
              </p:grpSpPr>
              <p:grpSp>
                <p:nvGrpSpPr>
                  <p:cNvPr id="5" name="Gruppieren 64"/>
                  <p:cNvGrpSpPr/>
                  <p:nvPr/>
                </p:nvGrpSpPr>
                <p:grpSpPr bwMode="gray">
                  <a:xfrm>
                    <a:off x="3803073" y="2954585"/>
                    <a:ext cx="1536656" cy="1535094"/>
                    <a:chOff x="3575744" y="2681974"/>
                    <a:chExt cx="1990490" cy="1988467"/>
                  </a:xfrm>
                </p:grpSpPr>
                <p:sp>
                  <p:nvSpPr>
                    <p:cNvPr id="66" name="Oval 7" descr="© INSCALE GmbH, 26.05.2010&#10;http://www.presentationload.com/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3575744" y="2681974"/>
                      <a:ext cx="1990490" cy="1988467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12700" algn="ctr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288000" tIns="0" rIns="0" bIns="0" anchor="ctr"/>
                    <a:lstStyle/>
                    <a:p>
                      <a:pPr defTabSz="801688" eaLnBrk="0" hangingPunct="0">
                        <a:defRPr/>
                      </a:pPr>
                      <a:endParaRPr lang="en-US" sz="1400" b="1" noProof="1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pic>
                  <p:nvPicPr>
                    <p:cNvPr id="67" name="Picture 7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 cstate="print"/>
                    <a:srcRect/>
                    <a:stretch>
                      <a:fillRect/>
                    </a:stretch>
                  </p:blipFill>
                  <p:spPr bwMode="gray">
                    <a:xfrm>
                      <a:off x="3974248" y="2734567"/>
                      <a:ext cx="1197530" cy="6958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sp>
                  <p:nvSpPr>
                    <p:cNvPr id="68" name="Text Box 36" descr="© INSCALE GmbH, 26.05.2010&#10;http://www.presentationload.com/"/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3892994" y="3427364"/>
                      <a:ext cx="1340876" cy="558145"/>
                    </a:xfrm>
                    <a:prstGeom prst="rect">
                      <a:avLst/>
                    </a:prstGeom>
                    <a:noFill/>
                    <a:ln w="9525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 anchorCtr="0">
                      <a:spAutoFit/>
                    </a:bodyPr>
                    <a:lstStyle/>
                    <a:p>
                      <a:pPr algn="ctr"/>
                      <a:r>
                        <a:rPr lang="en-US" sz="1400" b="1" noProof="1" smtClean="0">
                          <a:solidFill>
                            <a:srgbClr val="000000"/>
                          </a:solidFill>
                        </a:rPr>
                        <a:t>Management </a:t>
                      </a:r>
                      <a:br>
                        <a:rPr lang="en-US" sz="1400" b="1" noProof="1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400" b="1" noProof="1" smtClean="0">
                          <a:solidFill>
                            <a:srgbClr val="000000"/>
                          </a:solidFill>
                        </a:rPr>
                        <a:t>cycle</a:t>
                      </a:r>
                      <a:endParaRPr lang="en-US" sz="1400" b="1" noProof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69" name="Freeform 6" descr="© INSCALE GmbH, 26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3595613" y="3546847"/>
                      <a:ext cx="1953826" cy="1110225"/>
                    </a:xfrm>
                    <a:custGeom>
                      <a:avLst/>
                      <a:gdLst>
                        <a:gd name="T0" fmla="*/ 2147483647 w 412"/>
                        <a:gd name="T1" fmla="*/ 2147483647 h 234"/>
                        <a:gd name="T2" fmla="*/ 54299726 w 412"/>
                        <a:gd name="T3" fmla="*/ 0 h 234"/>
                        <a:gd name="T4" fmla="*/ 0 w 412"/>
                        <a:gd name="T5" fmla="*/ 1479354888 h 234"/>
                        <a:gd name="T6" fmla="*/ 2147483647 w 412"/>
                        <a:gd name="T7" fmla="*/ 2147483647 h 234"/>
                        <a:gd name="T8" fmla="*/ 2147483647 w 412"/>
                        <a:gd name="T9" fmla="*/ 1479354888 h 234"/>
                        <a:gd name="T10" fmla="*/ 2147483647 w 412"/>
                        <a:gd name="T11" fmla="*/ 0 h 234"/>
                        <a:gd name="T12" fmla="*/ 2147483647 w 412"/>
                        <a:gd name="T13" fmla="*/ 2147483647 h 23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412"/>
                        <a:gd name="T22" fmla="*/ 0 h 234"/>
                        <a:gd name="T23" fmla="*/ 412 w 412"/>
                        <a:gd name="T24" fmla="*/ 234 h 23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412" h="234">
                          <a:moveTo>
                            <a:pt x="206" y="179"/>
                          </a:moveTo>
                          <a:cubicBezTo>
                            <a:pt x="101" y="179"/>
                            <a:pt x="15" y="101"/>
                            <a:pt x="1" y="0"/>
                          </a:cubicBezTo>
                          <a:cubicBezTo>
                            <a:pt x="0" y="9"/>
                            <a:pt x="0" y="18"/>
                            <a:pt x="0" y="27"/>
                          </a:cubicBezTo>
                          <a:cubicBezTo>
                            <a:pt x="0" y="141"/>
                            <a:pt x="92" y="234"/>
                            <a:pt x="206" y="234"/>
                          </a:cubicBezTo>
                          <a:cubicBezTo>
                            <a:pt x="320" y="234"/>
                            <a:pt x="412" y="141"/>
                            <a:pt x="412" y="27"/>
                          </a:cubicBezTo>
                          <a:cubicBezTo>
                            <a:pt x="412" y="18"/>
                            <a:pt x="411" y="9"/>
                            <a:pt x="410" y="0"/>
                          </a:cubicBezTo>
                          <a:cubicBezTo>
                            <a:pt x="397" y="101"/>
                            <a:pt x="310" y="179"/>
                            <a:pt x="206" y="179"/>
                          </a:cubicBezTo>
                          <a:close/>
                        </a:path>
                      </a:pathLst>
                    </a:custGeom>
                    <a:solidFill>
                      <a:srgbClr val="D1D1D1"/>
                    </a:solidFill>
                    <a:ln w="6350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algn="ctr"/>
                      <a:endParaRPr lang="en-US" sz="1400" noProof="1"/>
                    </a:p>
                  </p:txBody>
                </p:sp>
              </p:grpSp>
              <p:grpSp>
                <p:nvGrpSpPr>
                  <p:cNvPr id="6" name="Gruppieren 42"/>
                  <p:cNvGrpSpPr/>
                  <p:nvPr/>
                </p:nvGrpSpPr>
                <p:grpSpPr bwMode="gray">
                  <a:xfrm rot="2700000">
                    <a:off x="3207656" y="2348880"/>
                    <a:ext cx="2734443" cy="2734442"/>
                    <a:chOff x="3207656" y="2348880"/>
                    <a:chExt cx="2734443" cy="2734442"/>
                  </a:xfrm>
                </p:grpSpPr>
                <p:sp>
                  <p:nvSpPr>
                    <p:cNvPr id="47" name="Freeform 14" descr="© INSCALE GmbH, 26.05.2010&#10;http://www.presentationload.com/"/>
                    <p:cNvSpPr>
                      <a:spLocks/>
                    </p:cNvSpPr>
                    <p:nvPr>
                      <p:custDataLst>
                        <p:tags r:id="rId1"/>
                      </p:custDataLst>
                    </p:nvPr>
                  </p:nvSpPr>
                  <p:spPr bwMode="gray">
                    <a:xfrm>
                      <a:off x="3207656" y="2357542"/>
                      <a:ext cx="1443934" cy="1399390"/>
                    </a:xfrm>
                    <a:custGeom>
                      <a:avLst/>
                      <a:gdLst/>
                      <a:ahLst/>
                      <a:cxnLst>
                        <a:cxn ang="0">
                          <a:pos x="94" y="297"/>
                        </a:cxn>
                        <a:cxn ang="0">
                          <a:pos x="121" y="192"/>
                        </a:cxn>
                        <a:cxn ang="0">
                          <a:pos x="267" y="95"/>
                        </a:cxn>
                        <a:cxn ang="0">
                          <a:pos x="309" y="46"/>
                        </a:cxn>
                        <a:cxn ang="0">
                          <a:pos x="268" y="0"/>
                        </a:cxn>
                        <a:cxn ang="0">
                          <a:pos x="0" y="291"/>
                        </a:cxn>
                        <a:cxn ang="0">
                          <a:pos x="0" y="300"/>
                        </a:cxn>
                        <a:cxn ang="0">
                          <a:pos x="48" y="257"/>
                        </a:cxn>
                        <a:cxn ang="0">
                          <a:pos x="94" y="297"/>
                        </a:cxn>
                      </a:cxnLst>
                      <a:rect l="0" t="0" r="r" b="b"/>
                      <a:pathLst>
                        <a:path w="309" h="300">
                          <a:moveTo>
                            <a:pt x="94" y="297"/>
                          </a:moveTo>
                          <a:cubicBezTo>
                            <a:pt x="93" y="262"/>
                            <a:pt x="101" y="225"/>
                            <a:pt x="121" y="192"/>
                          </a:cubicBezTo>
                          <a:cubicBezTo>
                            <a:pt x="153" y="136"/>
                            <a:pt x="208" y="102"/>
                            <a:pt x="267" y="95"/>
                          </a:cubicBezTo>
                          <a:cubicBezTo>
                            <a:pt x="309" y="46"/>
                            <a:pt x="309" y="46"/>
                            <a:pt x="309" y="46"/>
                          </a:cubicBezTo>
                          <a:cubicBezTo>
                            <a:pt x="268" y="0"/>
                            <a:pt x="268" y="0"/>
                            <a:pt x="268" y="0"/>
                          </a:cubicBezTo>
                          <a:cubicBezTo>
                            <a:pt x="118" y="12"/>
                            <a:pt x="0" y="138"/>
                            <a:pt x="0" y="291"/>
                          </a:cubicBezTo>
                          <a:cubicBezTo>
                            <a:pt x="0" y="294"/>
                            <a:pt x="0" y="297"/>
                            <a:pt x="0" y="300"/>
                          </a:cubicBezTo>
                          <a:cubicBezTo>
                            <a:pt x="48" y="257"/>
                            <a:pt x="48" y="257"/>
                            <a:pt x="48" y="257"/>
                          </a:cubicBezTo>
                          <a:lnTo>
                            <a:pt x="94" y="297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12700" algn="ctr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288000" tIns="0" rIns="0" bIns="0" anchor="ctr"/>
                    <a:lstStyle/>
                    <a:p>
                      <a:pPr defTabSz="801688" eaLnBrk="0" hangingPunct="0">
                        <a:defRPr/>
                      </a:pPr>
                      <a:endParaRPr lang="en-US" sz="1400" b="1" noProof="1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49" name="Freeform 16" descr="© INSCALE GmbH, 26.05.2010&#10;http://www.presentationload.com/"/>
                    <p:cNvSpPr>
                      <a:spLocks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gray">
                    <a:xfrm>
                      <a:off x="4540233" y="2348880"/>
                      <a:ext cx="1395679" cy="1441460"/>
                    </a:xfrm>
                    <a:custGeom>
                      <a:avLst/>
                      <a:gdLst/>
                      <a:ahLst/>
                      <a:cxnLst>
                        <a:cxn ang="0">
                          <a:pos x="1" y="95"/>
                        </a:cxn>
                        <a:cxn ang="0">
                          <a:pos x="107" y="121"/>
                        </a:cxn>
                        <a:cxn ang="0">
                          <a:pos x="204" y="266"/>
                        </a:cxn>
                        <a:cxn ang="0">
                          <a:pos x="253" y="309"/>
                        </a:cxn>
                        <a:cxn ang="0">
                          <a:pos x="299" y="268"/>
                        </a:cxn>
                        <a:cxn ang="0">
                          <a:pos x="7" y="0"/>
                        </a:cxn>
                        <a:cxn ang="0">
                          <a:pos x="0" y="1"/>
                        </a:cxn>
                        <a:cxn ang="0">
                          <a:pos x="42" y="48"/>
                        </a:cxn>
                        <a:cxn ang="0">
                          <a:pos x="1" y="95"/>
                        </a:cxn>
                      </a:cxnLst>
                      <a:rect l="0" t="0" r="r" b="b"/>
                      <a:pathLst>
                        <a:path w="299" h="309">
                          <a:moveTo>
                            <a:pt x="1" y="95"/>
                          </a:moveTo>
                          <a:cubicBezTo>
                            <a:pt x="37" y="94"/>
                            <a:pt x="73" y="102"/>
                            <a:pt x="107" y="121"/>
                          </a:cubicBezTo>
                          <a:cubicBezTo>
                            <a:pt x="162" y="153"/>
                            <a:pt x="196" y="208"/>
                            <a:pt x="204" y="266"/>
                          </a:cubicBezTo>
                          <a:cubicBezTo>
                            <a:pt x="253" y="309"/>
                            <a:pt x="253" y="309"/>
                            <a:pt x="253" y="309"/>
                          </a:cubicBezTo>
                          <a:cubicBezTo>
                            <a:pt x="299" y="268"/>
                            <a:pt x="299" y="268"/>
                            <a:pt x="299" y="268"/>
                          </a:cubicBezTo>
                          <a:cubicBezTo>
                            <a:pt x="287" y="118"/>
                            <a:pt x="161" y="0"/>
                            <a:pt x="7" y="0"/>
                          </a:cubicBezTo>
                          <a:cubicBezTo>
                            <a:pt x="5" y="0"/>
                            <a:pt x="2" y="1"/>
                            <a:pt x="0" y="1"/>
                          </a:cubicBezTo>
                          <a:cubicBezTo>
                            <a:pt x="42" y="48"/>
                            <a:pt x="42" y="48"/>
                            <a:pt x="42" y="48"/>
                          </a:cubicBezTo>
                          <a:lnTo>
                            <a:pt x="1" y="95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12700" algn="ctr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288000" tIns="0" rIns="0" bIns="0" anchor="ctr"/>
                    <a:lstStyle/>
                    <a:p>
                      <a:pPr defTabSz="801688" eaLnBrk="0" hangingPunct="0">
                        <a:defRPr/>
                      </a:pPr>
                      <a:endParaRPr lang="en-US" sz="1400" b="1" noProof="1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46" name="_color1" descr="© INSCALE GmbH, 26.05.2010&#10;http://www.presentationload.com/"/>
                    <p:cNvSpPr>
                      <a:spLocks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gray">
                    <a:xfrm>
                      <a:off x="3213842" y="3641863"/>
                      <a:ext cx="1404340" cy="1441459"/>
                    </a:xfrm>
                    <a:custGeom>
                      <a:avLst/>
                      <a:gdLst/>
                      <a:ahLst/>
                      <a:cxnLst>
                        <a:cxn ang="0">
                          <a:pos x="299" y="215"/>
                        </a:cxn>
                        <a:cxn ang="0">
                          <a:pos x="192" y="188"/>
                        </a:cxn>
                        <a:cxn ang="0">
                          <a:pos x="95" y="41"/>
                        </a:cxn>
                        <a:cxn ang="0">
                          <a:pos x="47" y="0"/>
                        </a:cxn>
                        <a:cxn ang="0">
                          <a:pos x="0" y="42"/>
                        </a:cxn>
                        <a:cxn ang="0">
                          <a:pos x="291" y="309"/>
                        </a:cxn>
                        <a:cxn ang="0">
                          <a:pos x="301" y="309"/>
                        </a:cxn>
                        <a:cxn ang="0">
                          <a:pos x="258" y="261"/>
                        </a:cxn>
                        <a:cxn ang="0">
                          <a:pos x="299" y="215"/>
                        </a:cxn>
                      </a:cxnLst>
                      <a:rect l="0" t="0" r="r" b="b"/>
                      <a:pathLst>
                        <a:path w="301" h="309">
                          <a:moveTo>
                            <a:pt x="299" y="215"/>
                          </a:moveTo>
                          <a:cubicBezTo>
                            <a:pt x="263" y="216"/>
                            <a:pt x="226" y="208"/>
                            <a:pt x="192" y="188"/>
                          </a:cubicBezTo>
                          <a:cubicBezTo>
                            <a:pt x="136" y="156"/>
                            <a:pt x="102" y="101"/>
                            <a:pt x="95" y="41"/>
                          </a:cubicBezTo>
                          <a:cubicBezTo>
                            <a:pt x="47" y="0"/>
                            <a:pt x="47" y="0"/>
                            <a:pt x="47" y="0"/>
                          </a:cubicBezTo>
                          <a:cubicBezTo>
                            <a:pt x="0" y="42"/>
                            <a:pt x="0" y="42"/>
                            <a:pt x="0" y="42"/>
                          </a:cubicBezTo>
                          <a:cubicBezTo>
                            <a:pt x="13" y="191"/>
                            <a:pt x="138" y="309"/>
                            <a:pt x="291" y="309"/>
                          </a:cubicBezTo>
                          <a:cubicBezTo>
                            <a:pt x="295" y="309"/>
                            <a:pt x="298" y="309"/>
                            <a:pt x="301" y="309"/>
                          </a:cubicBezTo>
                          <a:cubicBezTo>
                            <a:pt x="258" y="261"/>
                            <a:pt x="258" y="261"/>
                            <a:pt x="258" y="261"/>
                          </a:cubicBezTo>
                          <a:lnTo>
                            <a:pt x="299" y="215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12700" algn="ctr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288000" tIns="0" rIns="0" bIns="0" anchor="ctr"/>
                    <a:lstStyle/>
                    <a:p>
                      <a:pPr defTabSz="801688" eaLnBrk="0" hangingPunct="0">
                        <a:defRPr/>
                      </a:pPr>
                      <a:endParaRPr lang="en-US" sz="1400" b="1" noProof="1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48" name="_color1" descr="© INSCALE GmbH, 26.05.2010&#10;http://www.presentationload.com/"/>
                    <p:cNvSpPr>
                      <a:spLocks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4500639" y="3678983"/>
                      <a:ext cx="1441460" cy="1398154"/>
                    </a:xfrm>
                    <a:custGeom>
                      <a:avLst/>
                      <a:gdLst/>
                      <a:ahLst/>
                      <a:cxnLst>
                        <a:cxn ang="0">
                          <a:pos x="214" y="0"/>
                        </a:cxn>
                        <a:cxn ang="0">
                          <a:pos x="187" y="107"/>
                        </a:cxn>
                        <a:cxn ang="0">
                          <a:pos x="42" y="205"/>
                        </a:cxn>
                        <a:cxn ang="0">
                          <a:pos x="0" y="253"/>
                        </a:cxn>
                        <a:cxn ang="0">
                          <a:pos x="42" y="300"/>
                        </a:cxn>
                        <a:cxn ang="0">
                          <a:pos x="308" y="8"/>
                        </a:cxn>
                        <a:cxn ang="0">
                          <a:pos x="308" y="0"/>
                        </a:cxn>
                        <a:cxn ang="0">
                          <a:pos x="261" y="42"/>
                        </a:cxn>
                        <a:cxn ang="0">
                          <a:pos x="214" y="0"/>
                        </a:cxn>
                      </a:cxnLst>
                      <a:rect l="0" t="0" r="r" b="b"/>
                      <a:pathLst>
                        <a:path w="308" h="300">
                          <a:moveTo>
                            <a:pt x="214" y="0"/>
                          </a:moveTo>
                          <a:cubicBezTo>
                            <a:pt x="215" y="37"/>
                            <a:pt x="207" y="74"/>
                            <a:pt x="187" y="107"/>
                          </a:cubicBezTo>
                          <a:cubicBezTo>
                            <a:pt x="155" y="163"/>
                            <a:pt x="101" y="197"/>
                            <a:pt x="42" y="205"/>
                          </a:cubicBezTo>
                          <a:cubicBezTo>
                            <a:pt x="0" y="253"/>
                            <a:pt x="0" y="253"/>
                            <a:pt x="0" y="253"/>
                          </a:cubicBezTo>
                          <a:cubicBezTo>
                            <a:pt x="42" y="300"/>
                            <a:pt x="42" y="300"/>
                            <a:pt x="42" y="300"/>
                          </a:cubicBezTo>
                          <a:cubicBezTo>
                            <a:pt x="191" y="287"/>
                            <a:pt x="308" y="161"/>
                            <a:pt x="308" y="8"/>
                          </a:cubicBezTo>
                          <a:cubicBezTo>
                            <a:pt x="308" y="6"/>
                            <a:pt x="308" y="3"/>
                            <a:pt x="308" y="0"/>
                          </a:cubicBezTo>
                          <a:cubicBezTo>
                            <a:pt x="261" y="42"/>
                            <a:pt x="261" y="42"/>
                            <a:pt x="261" y="42"/>
                          </a:cubicBezTo>
                          <a:lnTo>
                            <a:pt x="214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12700" algn="ctr">
                      <a:solidFill>
                        <a:srgbClr val="C0C0C0"/>
                      </a:solidFill>
                      <a:miter lim="800000"/>
                      <a:headEnd/>
                      <a:tailEnd/>
                    </a:ln>
                    <a:effectLst>
                      <a:outerShdw blurRad="127000" dist="635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 lIns="288000" tIns="0" rIns="0" bIns="0" anchor="ctr"/>
                    <a:lstStyle/>
                    <a:p>
                      <a:pPr defTabSz="801688" eaLnBrk="0" hangingPunct="0">
                        <a:defRPr/>
                      </a:pPr>
                      <a:endParaRPr lang="en-US" sz="1400" b="1" noProof="1">
                        <a:solidFill>
                          <a:srgbClr val="000000"/>
                        </a:solidFill>
                        <a:cs typeface="Arial" charset="0"/>
                      </a:endParaRPr>
                    </a:p>
                  </p:txBody>
                </p:sp>
                <p:sp>
                  <p:nvSpPr>
                    <p:cNvPr id="35" name="Rechteck 34"/>
                    <p:cNvSpPr/>
                    <p:nvPr/>
                  </p:nvSpPr>
                  <p:spPr bwMode="gray">
                    <a:xfrm rot="18900000">
                      <a:off x="3456345" y="2603372"/>
                      <a:ext cx="2232898" cy="2232898"/>
                    </a:xfrm>
                    <a:prstGeom prst="rect">
                      <a:avLst/>
                    </a:prstGeom>
                    <a:noFill/>
                    <a:ln w="12700">
                      <a:noFill/>
                      <a:round/>
                      <a:headEnd/>
                      <a:tailEnd/>
                    </a:ln>
                  </p:spPr>
                  <p:txBody>
                    <a:bodyPr rtlCol="0" anchor="ctr">
                      <a:prstTxWarp prst="textArchUp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b="1" noProof="1" smtClean="0"/>
                        <a:t>Analysis phase</a:t>
                      </a:r>
                    </a:p>
                  </p:txBody>
                </p:sp>
                <p:sp>
                  <p:nvSpPr>
                    <p:cNvPr id="37" name="Rechteck 36"/>
                    <p:cNvSpPr/>
                    <p:nvPr/>
                  </p:nvSpPr>
                  <p:spPr bwMode="gray">
                    <a:xfrm rot="2700000">
                      <a:off x="3427482" y="2574509"/>
                      <a:ext cx="2290623" cy="2290623"/>
                    </a:xfrm>
                    <a:prstGeom prst="rect">
                      <a:avLst/>
                    </a:prstGeom>
                    <a:noFill/>
                    <a:ln w="12700">
                      <a:noFill/>
                      <a:round/>
                      <a:headEnd/>
                      <a:tailEnd/>
                    </a:ln>
                  </p:spPr>
                  <p:txBody>
                    <a:bodyPr rtlCol="0" anchor="ctr">
                      <a:prstTxWarp prst="textArchUp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b="1" noProof="1" smtClean="0"/>
                        <a:t>Planning phase</a:t>
                      </a:r>
                    </a:p>
                  </p:txBody>
                </p:sp>
                <p:sp>
                  <p:nvSpPr>
                    <p:cNvPr id="39" name="Rechteck 38"/>
                    <p:cNvSpPr/>
                    <p:nvPr/>
                  </p:nvSpPr>
                  <p:spPr bwMode="gray">
                    <a:xfrm rot="18900000">
                      <a:off x="3409372" y="2556399"/>
                      <a:ext cx="2326844" cy="2326844"/>
                    </a:xfrm>
                    <a:prstGeom prst="rect">
                      <a:avLst/>
                    </a:prstGeom>
                    <a:noFill/>
                    <a:ln w="12700">
                      <a:noFill/>
                      <a:round/>
                      <a:headEnd/>
                      <a:tailEnd/>
                    </a:ln>
                  </p:spPr>
                  <p:txBody>
                    <a:bodyPr rtlCol="0" anchor="ctr">
                      <a:prstTxWarp prst="textArchDown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b="1" noProof="1" smtClean="0"/>
                        <a:t>Realization phase</a:t>
                      </a:r>
                    </a:p>
                  </p:txBody>
                </p:sp>
                <p:sp>
                  <p:nvSpPr>
                    <p:cNvPr id="40" name="Rechteck 39"/>
                    <p:cNvSpPr/>
                    <p:nvPr/>
                  </p:nvSpPr>
                  <p:spPr bwMode="gray">
                    <a:xfrm rot="2700000">
                      <a:off x="3434984" y="2556399"/>
                      <a:ext cx="2326844" cy="2326844"/>
                    </a:xfrm>
                    <a:prstGeom prst="rect">
                      <a:avLst/>
                    </a:prstGeom>
                    <a:noFill/>
                    <a:ln w="12700">
                      <a:noFill/>
                      <a:round/>
                      <a:headEnd/>
                      <a:tailEnd/>
                    </a:ln>
                  </p:spPr>
                  <p:txBody>
                    <a:bodyPr rtlCol="0" anchor="ctr">
                      <a:prstTxWarp prst="textArchDown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b="1" noProof="1" smtClean="0"/>
                        <a:t>Control phase</a:t>
                      </a:r>
                    </a:p>
                  </p:txBody>
                </p:sp>
              </p:grpSp>
            </p:grpSp>
          </p:grpSp>
          <p:sp>
            <p:nvSpPr>
              <p:cNvPr id="33" name="Rechteck 32"/>
              <p:cNvSpPr/>
              <p:nvPr/>
            </p:nvSpPr>
            <p:spPr bwMode="gray">
              <a:xfrm>
                <a:off x="3624387" y="1555750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Situation analysis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900" noProof="1" smtClean="0">
                    <a:solidFill>
                      <a:srgbClr val="000000"/>
                    </a:solidFill>
                  </a:rPr>
                  <a:t>Customer and competitor behavior, environment trends, resources, where do we stand?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gray">
              <a:xfrm>
                <a:off x="1120706" y="2484914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Controlling</a:t>
                </a:r>
                <a:br>
                  <a:rPr lang="en-US" sz="1000" b="1" noProof="1" smtClean="0">
                    <a:solidFill>
                      <a:srgbClr val="000000"/>
                    </a:solidFill>
                  </a:rPr>
                </a:br>
                <a:r>
                  <a:rPr lang="en-US" sz="900" noProof="1" smtClean="0"/>
                  <a:t>Reference objects (products, customers, branches, etc.), early detection systems (environment development)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gray">
              <a:xfrm>
                <a:off x="771755" y="3817360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Organization </a:t>
                </a:r>
                <a:br>
                  <a:rPr lang="en-US" sz="1000" b="1" noProof="1" smtClean="0">
                    <a:solidFill>
                      <a:srgbClr val="000000"/>
                    </a:solidFill>
                  </a:rPr>
                </a:br>
                <a:r>
                  <a:rPr lang="en-US" sz="900" noProof="1" smtClean="0">
                    <a:solidFill>
                      <a:srgbClr val="000000"/>
                    </a:solidFill>
                  </a:rPr>
                  <a:t>Development and process organization, primarily and secondary organization, key processes, qualification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hteck 63"/>
              <p:cNvSpPr/>
              <p:nvPr/>
            </p:nvSpPr>
            <p:spPr bwMode="gray">
              <a:xfrm>
                <a:off x="1420254" y="5096754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Mix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900" noProof="1" smtClean="0"/>
                  <a:t>Product, communication, distribution, price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gray">
              <a:xfrm>
                <a:off x="6125700" y="2484914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Targets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900" noProof="1" smtClean="0">
                    <a:solidFill>
                      <a:srgbClr val="000000"/>
                    </a:solidFill>
                  </a:rPr>
                  <a:t>Competences, orientation, target segments, revenue, </a:t>
                </a:r>
                <a:br>
                  <a:rPr lang="en-US" sz="900" noProof="1" smtClean="0">
                    <a:solidFill>
                      <a:srgbClr val="000000"/>
                    </a:solidFill>
                  </a:rPr>
                </a:br>
                <a:r>
                  <a:rPr lang="en-US" sz="900" noProof="1" smtClean="0">
                    <a:solidFill>
                      <a:srgbClr val="000000"/>
                    </a:solidFill>
                  </a:rPr>
                  <a:t>market share, DB, image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 bwMode="gray">
              <a:xfrm>
                <a:off x="5868249" y="5096754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rgbClr val="000000"/>
                    </a:solidFill>
                  </a:rPr>
                  <a:t>Budget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900" noProof="1" smtClean="0">
                    <a:solidFill>
                      <a:srgbClr val="000000"/>
                    </a:solidFill>
                  </a:rPr>
                  <a:t>Fundraising,  allotment, </a:t>
                </a:r>
                <a:br>
                  <a:rPr lang="en-US" sz="900" noProof="1" smtClean="0">
                    <a:solidFill>
                      <a:srgbClr val="000000"/>
                    </a:solidFill>
                  </a:rPr>
                </a:br>
                <a:r>
                  <a:rPr lang="en-US" sz="900" noProof="1" smtClean="0">
                    <a:solidFill>
                      <a:srgbClr val="000000"/>
                    </a:solidFill>
                  </a:rPr>
                  <a:t>methods, function and overall budget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hteck 70"/>
              <p:cNvSpPr/>
              <p:nvPr/>
            </p:nvSpPr>
            <p:spPr bwMode="gray">
              <a:xfrm>
                <a:off x="6481186" y="3817360"/>
                <a:ext cx="1896814" cy="78459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r>
                  <a:rPr lang="en-US" sz="1000" b="1" noProof="1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trategies </a:t>
                </a:r>
              </a:p>
              <a:p>
                <a:pPr algn="ctr">
                  <a:spcAft>
                    <a:spcPts val="600"/>
                  </a:spcAft>
                </a:pPr>
                <a:r>
                  <a:rPr lang="en-US" sz="900" noProof="1" smtClean="0"/>
                  <a:t>Product – market innovation, cooperation, acquisition, competition strategy, brand</a:t>
                </a:r>
                <a:endParaRPr lang="en-US" sz="900" noProof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Gruppieren 41"/>
            <p:cNvGrpSpPr/>
            <p:nvPr/>
          </p:nvGrpSpPr>
          <p:grpSpPr>
            <a:xfrm>
              <a:off x="2371725" y="1769311"/>
              <a:ext cx="4410075" cy="4410075"/>
              <a:chOff x="2371725" y="1769311"/>
              <a:chExt cx="4410075" cy="4410075"/>
            </a:xfrm>
          </p:grpSpPr>
          <p:sp>
            <p:nvSpPr>
              <p:cNvPr id="43" name="Bogen 42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17803619"/>
                  <a:gd name="adj2" fmla="val 18965682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44" name="Bogen 43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20557405"/>
                  <a:gd name="adj2" fmla="val 21293320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45" name="Bogen 44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1063858"/>
                  <a:gd name="adj2" fmla="val 1783756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50" name="Bogen 49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3345192"/>
                  <a:gd name="adj2" fmla="val 7394427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51" name="Bogen 50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9040466"/>
                  <a:gd name="adj2" fmla="val 9758606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53" name="Bogen 52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13456500"/>
                  <a:gd name="adj2" fmla="val 14627743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54" name="Bogen 53"/>
              <p:cNvSpPr/>
              <p:nvPr/>
            </p:nvSpPr>
            <p:spPr>
              <a:xfrm>
                <a:off x="2371725" y="1769311"/>
                <a:ext cx="4410075" cy="4410075"/>
              </a:xfrm>
              <a:prstGeom prst="arc">
                <a:avLst>
                  <a:gd name="adj1" fmla="val 11098142"/>
                  <a:gd name="adj2" fmla="val 11844402"/>
                </a:avLst>
              </a:prstGeom>
              <a:ln w="28575">
                <a:solidFill>
                  <a:schemeClr val="bg1">
                    <a:lumMod val="50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of Marketing Research </a:t>
            </a:r>
            <a:r>
              <a:rPr lang="en-US" b="0" noProof="1" smtClean="0"/>
              <a:t>(Part 2)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18840" y="2399491"/>
            <a:ext cx="7197356" cy="2209008"/>
            <a:chOff x="1118840" y="2399491"/>
            <a:chExt cx="7197356" cy="22090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610314"/>
              <a:ext cx="6799349" cy="17543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>
                  <a:latin typeface="+mj-lt"/>
                </a:rPr>
                <a:t>Marketing research specifies the information </a:t>
              </a:r>
              <a:br>
                <a:rPr lang="en-US" sz="2400" i="1" noProof="1" smtClean="0">
                  <a:latin typeface="+mj-lt"/>
                </a:rPr>
              </a:br>
              <a:r>
                <a:rPr lang="en-US" sz="2400" i="1" noProof="1" smtClean="0">
                  <a:latin typeface="+mj-lt"/>
                </a:rPr>
                <a:t>required to address these issues, designs the method for collecting information, manages and implements the data collection process, analyzes the results, and communicates the findings and their implications.</a:t>
              </a: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118840" y="239949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7754780" y="412110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  <p:sp>
        <p:nvSpPr>
          <p:cNvPr id="11" name="Rechteck 10"/>
          <p:cNvSpPr/>
          <p:nvPr/>
        </p:nvSpPr>
        <p:spPr bwMode="gray">
          <a:xfrm>
            <a:off x="2156460" y="4480957"/>
            <a:ext cx="48310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noProof="1" smtClean="0">
                <a:solidFill>
                  <a:schemeClr val="bg1">
                    <a:lumMod val="50000"/>
                  </a:schemeClr>
                </a:solidFill>
              </a:rPr>
              <a:t>The American Marketing Association (2004)</a:t>
            </a:r>
          </a:p>
        </p:txBody>
      </p: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reparation of employees about the interaction with customers by internal marketing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noProof="1" smtClean="0"/>
              <a:t>Internal Marketing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281606" y="1507102"/>
            <a:ext cx="7261171" cy="4596887"/>
            <a:chOff x="281606" y="1507102"/>
            <a:chExt cx="7261171" cy="4596887"/>
          </a:xfrm>
        </p:grpSpPr>
        <p:sp>
          <p:nvSpPr>
            <p:cNvPr id="6" name="Textfeld 5"/>
            <p:cNvSpPr txBox="1"/>
            <p:nvPr/>
          </p:nvSpPr>
          <p:spPr bwMode="gray">
            <a:xfrm>
              <a:off x="281606" y="4512049"/>
              <a:ext cx="1222129" cy="1169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Skills</a:t>
              </a:r>
            </a:p>
            <a:p>
              <a:r>
                <a:rPr lang="en-US" sz="1400" noProof="1" smtClean="0"/>
                <a:t>Know-How</a:t>
              </a:r>
            </a:p>
            <a:p>
              <a:r>
                <a:rPr lang="en-US" sz="1400" noProof="1" smtClean="0"/>
                <a:t>Motivation</a:t>
              </a:r>
            </a:p>
            <a:p>
              <a:r>
                <a:rPr lang="en-US" sz="1400" noProof="1" smtClean="0"/>
                <a:t>Setting</a:t>
              </a:r>
            </a:p>
            <a:p>
              <a:r>
                <a:rPr lang="en-US" sz="1400" noProof="1" smtClean="0"/>
                <a:t>Competencies</a:t>
              </a: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2738461" y="5365325"/>
              <a:ext cx="374185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Internal training and interactive </a:t>
              </a:r>
              <a:br>
                <a:rPr lang="en-US" sz="1400" noProof="1" smtClean="0"/>
              </a:br>
              <a:r>
                <a:rPr lang="en-US" sz="1400" noProof="1" smtClean="0"/>
                <a:t>communication Recruitment advertisement</a:t>
              </a:r>
            </a:p>
            <a:p>
              <a:pPr algn="ctr"/>
              <a:r>
                <a:rPr lang="en-US" sz="1400" noProof="1" smtClean="0"/>
                <a:t>and Internal market research</a:t>
              </a:r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2031371" y="3059406"/>
              <a:ext cx="144161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noProof="1" smtClean="0"/>
                <a:t>Optimal supplier</a:t>
              </a:r>
            </a:p>
            <a:p>
              <a:pPr algn="r"/>
              <a:r>
                <a:rPr lang="en-US" sz="1400" noProof="1" smtClean="0"/>
                <a:t>buyer interaction</a:t>
              </a:r>
              <a:endParaRPr lang="en-US" sz="14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5828852" y="3158149"/>
              <a:ext cx="12631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Marketing-Mix</a:t>
              </a:r>
              <a:endParaRPr lang="en-US" sz="1400" noProof="1"/>
            </a:p>
          </p:txBody>
        </p:sp>
        <p:sp>
          <p:nvSpPr>
            <p:cNvPr id="34" name="Ellipse 33"/>
            <p:cNvSpPr/>
            <p:nvPr/>
          </p:nvSpPr>
          <p:spPr bwMode="gray">
            <a:xfrm>
              <a:off x="3921908" y="1507102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35" name="Ellipse 34"/>
            <p:cNvSpPr/>
            <p:nvPr/>
          </p:nvSpPr>
          <p:spPr bwMode="gray">
            <a:xfrm>
              <a:off x="6223795" y="4716166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Company</a:t>
              </a:r>
            </a:p>
          </p:txBody>
        </p:sp>
        <p:sp>
          <p:nvSpPr>
            <p:cNvPr id="36" name="Ellipse 35"/>
            <p:cNvSpPr/>
            <p:nvPr/>
          </p:nvSpPr>
          <p:spPr bwMode="gray">
            <a:xfrm>
              <a:off x="1596230" y="4716166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Employees</a:t>
              </a:r>
            </a:p>
          </p:txBody>
        </p:sp>
        <p:grpSp>
          <p:nvGrpSpPr>
            <p:cNvPr id="3" name="Gruppieren 16"/>
            <p:cNvGrpSpPr/>
            <p:nvPr/>
          </p:nvGrpSpPr>
          <p:grpSpPr bwMode="gray">
            <a:xfrm>
              <a:off x="2964742" y="2303918"/>
              <a:ext cx="3208097" cy="2782112"/>
              <a:chOff x="2549031" y="1585168"/>
              <a:chExt cx="4039438" cy="3503063"/>
            </a:xfrm>
          </p:grpSpPr>
          <p:sp>
            <p:nvSpPr>
              <p:cNvPr id="18" name="_color1"/>
              <p:cNvSpPr>
                <a:spLocks/>
              </p:cNvSpPr>
              <p:nvPr/>
            </p:nvSpPr>
            <p:spPr bwMode="gray">
              <a:xfrm>
                <a:off x="3188979" y="2298111"/>
                <a:ext cx="2773671" cy="2397154"/>
              </a:xfrm>
              <a:custGeom>
                <a:avLst/>
                <a:gdLst/>
                <a:ahLst/>
                <a:cxnLst>
                  <a:cxn ang="0">
                    <a:pos x="0" y="191"/>
                  </a:cxn>
                  <a:cxn ang="0">
                    <a:pos x="110" y="0"/>
                  </a:cxn>
                  <a:cxn ang="0">
                    <a:pos x="221" y="191"/>
                  </a:cxn>
                  <a:cxn ang="0">
                    <a:pos x="0" y="191"/>
                  </a:cxn>
                </a:cxnLst>
                <a:rect l="0" t="0" r="r" b="b"/>
                <a:pathLst>
                  <a:path w="221" h="191">
                    <a:moveTo>
                      <a:pt x="0" y="191"/>
                    </a:moveTo>
                    <a:lnTo>
                      <a:pt x="110" y="0"/>
                    </a:lnTo>
                    <a:lnTo>
                      <a:pt x="221" y="191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2700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  <p:txBody>
              <a:bodyPr lIns="36000" tIns="36000" rIns="36000" bIns="288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b="1" noProof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_color1"/>
              <p:cNvSpPr>
                <a:spLocks/>
              </p:cNvSpPr>
              <p:nvPr/>
            </p:nvSpPr>
            <p:spPr bwMode="gray">
              <a:xfrm>
                <a:off x="2549031" y="1589166"/>
                <a:ext cx="2019443" cy="3491158"/>
              </a:xfrm>
              <a:custGeom>
                <a:avLst/>
                <a:gdLst/>
                <a:ahLst/>
                <a:cxnLst>
                  <a:cxn ang="0">
                    <a:pos x="274" y="1315"/>
                  </a:cxn>
                  <a:cxn ang="0">
                    <a:pos x="848" y="323"/>
                  </a:cxn>
                  <a:cxn ang="0">
                    <a:pos x="848" y="0"/>
                  </a:cxn>
                  <a:cxn ang="0">
                    <a:pos x="0" y="1466"/>
                  </a:cxn>
                  <a:cxn ang="0">
                    <a:pos x="269" y="1315"/>
                  </a:cxn>
                  <a:cxn ang="0">
                    <a:pos x="274" y="1315"/>
                  </a:cxn>
                </a:cxnLst>
                <a:rect l="0" t="0" r="r" b="b"/>
                <a:pathLst>
                  <a:path w="848" h="1466">
                    <a:moveTo>
                      <a:pt x="274" y="1315"/>
                    </a:moveTo>
                    <a:lnTo>
                      <a:pt x="848" y="323"/>
                    </a:lnTo>
                    <a:lnTo>
                      <a:pt x="848" y="0"/>
                    </a:lnTo>
                    <a:lnTo>
                      <a:pt x="0" y="1466"/>
                    </a:lnTo>
                    <a:lnTo>
                      <a:pt x="269" y="1315"/>
                    </a:lnTo>
                    <a:lnTo>
                      <a:pt x="274" y="1315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0" name="_color1"/>
              <p:cNvSpPr>
                <a:spLocks/>
              </p:cNvSpPr>
              <p:nvPr/>
            </p:nvSpPr>
            <p:spPr bwMode="gray">
              <a:xfrm>
                <a:off x="4564264" y="1585168"/>
                <a:ext cx="2024205" cy="3503063"/>
              </a:xfrm>
              <a:custGeom>
                <a:avLst/>
                <a:gdLst/>
                <a:ahLst/>
                <a:cxnLst>
                  <a:cxn ang="0">
                    <a:pos x="777" y="1429"/>
                  </a:cxn>
                  <a:cxn ang="0">
                    <a:pos x="850" y="1471"/>
                  </a:cxn>
                  <a:cxn ang="0">
                    <a:pos x="0" y="0"/>
                  </a:cxn>
                  <a:cxn ang="0">
                    <a:pos x="0" y="323"/>
                  </a:cxn>
                  <a:cxn ang="0">
                    <a:pos x="572" y="1315"/>
                  </a:cxn>
                  <a:cxn ang="0">
                    <a:pos x="569" y="1315"/>
                  </a:cxn>
                  <a:cxn ang="0">
                    <a:pos x="569" y="1315"/>
                  </a:cxn>
                  <a:cxn ang="0">
                    <a:pos x="576" y="1315"/>
                  </a:cxn>
                  <a:cxn ang="0">
                    <a:pos x="777" y="1429"/>
                  </a:cxn>
                </a:cxnLst>
                <a:rect l="0" t="0" r="r" b="b"/>
                <a:pathLst>
                  <a:path w="850" h="1471">
                    <a:moveTo>
                      <a:pt x="777" y="1429"/>
                    </a:moveTo>
                    <a:lnTo>
                      <a:pt x="850" y="1471"/>
                    </a:lnTo>
                    <a:lnTo>
                      <a:pt x="0" y="0"/>
                    </a:lnTo>
                    <a:lnTo>
                      <a:pt x="0" y="323"/>
                    </a:lnTo>
                    <a:lnTo>
                      <a:pt x="572" y="1315"/>
                    </a:lnTo>
                    <a:lnTo>
                      <a:pt x="569" y="1315"/>
                    </a:lnTo>
                    <a:lnTo>
                      <a:pt x="569" y="1315"/>
                    </a:lnTo>
                    <a:lnTo>
                      <a:pt x="576" y="1315"/>
                    </a:lnTo>
                    <a:lnTo>
                      <a:pt x="777" y="14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1" name="_color1"/>
              <p:cNvSpPr>
                <a:spLocks/>
              </p:cNvSpPr>
              <p:nvPr/>
            </p:nvSpPr>
            <p:spPr bwMode="gray">
              <a:xfrm>
                <a:off x="2549031" y="4696657"/>
                <a:ext cx="4039438" cy="383408"/>
              </a:xfrm>
              <a:custGeom>
                <a:avLst/>
                <a:gdLst/>
                <a:ahLst/>
                <a:cxnLst>
                  <a:cxn ang="0">
                    <a:pos x="289" y="0"/>
                  </a:cxn>
                  <a:cxn ang="0">
                    <a:pos x="0" y="161"/>
                  </a:cxn>
                  <a:cxn ang="0">
                    <a:pos x="1704" y="161"/>
                  </a:cxn>
                  <a:cxn ang="0">
                    <a:pos x="1619" y="111"/>
                  </a:cxn>
                  <a:cxn ang="0">
                    <a:pos x="1420" y="0"/>
                  </a:cxn>
                  <a:cxn ang="0">
                    <a:pos x="289" y="0"/>
                  </a:cxn>
                </a:cxnLst>
                <a:rect l="0" t="0" r="r" b="b"/>
                <a:pathLst>
                  <a:path w="1704" h="161">
                    <a:moveTo>
                      <a:pt x="289" y="0"/>
                    </a:moveTo>
                    <a:lnTo>
                      <a:pt x="0" y="161"/>
                    </a:lnTo>
                    <a:lnTo>
                      <a:pt x="1704" y="161"/>
                    </a:lnTo>
                    <a:lnTo>
                      <a:pt x="1619" y="111"/>
                    </a:lnTo>
                    <a:lnTo>
                      <a:pt x="1420" y="0"/>
                    </a:lnTo>
                    <a:lnTo>
                      <a:pt x="28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2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18021908">
                <a:off x="2215907" y="3318655"/>
                <a:ext cx="3018814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rgbClr val="000000"/>
                    </a:solidFill>
                  </a:rPr>
                  <a:t>Interactive Marketing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3578092" flipH="1">
                <a:off x="3943401" y="3374623"/>
                <a:ext cx="3018814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rgbClr val="000000"/>
                    </a:solidFill>
                  </a:rPr>
                  <a:t>External Marketing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108859" y="4755944"/>
                <a:ext cx="2919782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chemeClr val="bg1"/>
                    </a:solidFill>
                  </a:rPr>
                  <a:t>Internal Marketing</a:t>
                </a:r>
              </a:p>
            </p:txBody>
          </p:sp>
          <p:sp>
            <p:nvSpPr>
              <p:cNvPr id="25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815576" y="3594905"/>
                <a:ext cx="1575454" cy="883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2400" b="1" noProof="1" smtClean="0">
                    <a:solidFill>
                      <a:srgbClr val="FFFFFF"/>
                    </a:solidFill>
                  </a:rPr>
                  <a:t>Service Cultu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508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Integrated Marketing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tegration of marketing oriented views in all economic subdivisions of a company</a:t>
            </a:r>
            <a:endParaRPr lang="en-US" noProof="1"/>
          </a:p>
        </p:txBody>
      </p:sp>
      <p:grpSp>
        <p:nvGrpSpPr>
          <p:cNvPr id="18" name="Gruppieren 17"/>
          <p:cNvGrpSpPr/>
          <p:nvPr/>
        </p:nvGrpSpPr>
        <p:grpSpPr>
          <a:xfrm>
            <a:off x="323850" y="1741002"/>
            <a:ext cx="8496300" cy="3921370"/>
            <a:chOff x="323850" y="1741002"/>
            <a:chExt cx="8496300" cy="3921370"/>
          </a:xfrm>
        </p:grpSpPr>
        <p:sp>
          <p:nvSpPr>
            <p:cNvPr id="19" name="Rechteck 18"/>
            <p:cNvSpPr/>
            <p:nvPr/>
          </p:nvSpPr>
          <p:spPr bwMode="gray">
            <a:xfrm>
              <a:off x="323850" y="3171904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000000"/>
                  </a:solidFill>
                </a:rPr>
                <a:t>Suppliers 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/>
                <a:t>Procurement marketing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2557780" y="3171904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rgbClr val="C0C0C0">
                    <a:shade val="30000"/>
                    <a:satMod val="115000"/>
                  </a:srgbClr>
                </a:gs>
                <a:gs pos="50000">
                  <a:srgbClr val="C0C0C0">
                    <a:shade val="67500"/>
                    <a:satMod val="115000"/>
                  </a:srgbClr>
                </a:gs>
                <a:gs pos="100000">
                  <a:srgbClr val="C0C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FFFFFF"/>
                  </a:solidFill>
                </a:rPr>
                <a:t>Employees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>
                  <a:solidFill>
                    <a:srgbClr val="FFFFFF"/>
                  </a:solidFill>
                </a:rPr>
                <a:t>Internal </a:t>
              </a:r>
              <a:br>
                <a:rPr lang="en-US" sz="1400" noProof="1" smtClean="0">
                  <a:solidFill>
                    <a:srgbClr val="FFFFFF"/>
                  </a:solidFill>
                </a:rPr>
              </a:br>
              <a:r>
                <a:rPr lang="en-US" sz="1400" noProof="1" smtClean="0">
                  <a:solidFill>
                    <a:srgbClr val="FFFFFF"/>
                  </a:solidFill>
                </a:rPr>
                <a:t>marketing</a:t>
              </a:r>
              <a:endParaRPr lang="en-US" sz="1400" noProof="1">
                <a:solidFill>
                  <a:srgbClr val="FFFFFF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4791710" y="3171904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>
                  <a:solidFill>
                    <a:srgbClr val="FFFFFF"/>
                  </a:solidFill>
                </a:rPr>
                <a:t>Sales intermediary </a:t>
              </a:r>
              <a:r>
                <a:rPr lang="en-US" sz="1400" noProof="1" smtClean="0">
                  <a:solidFill>
                    <a:srgbClr val="FFFFFF"/>
                  </a:solidFill>
                </a:rPr>
                <a:t>Sales </a:t>
              </a:r>
              <a:r>
                <a:rPr lang="en-US" sz="1400" noProof="1">
                  <a:solidFill>
                    <a:srgbClr val="FFFFFF"/>
                  </a:solidFill>
                </a:rPr>
                <a:t>marketing (push) 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7025640" y="3171904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FFFFFF"/>
                  </a:solidFill>
                </a:rPr>
                <a:t>End customer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2557780" y="1741002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000000"/>
                  </a:solidFill>
                </a:rPr>
                <a:t>Public 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>
                  <a:solidFill>
                    <a:srgbClr val="000000"/>
                  </a:solidFill>
                </a:rPr>
                <a:t>Public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marketing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2557780" y="4648912"/>
              <a:ext cx="1794510" cy="101346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000000"/>
                  </a:solidFill>
                </a:rPr>
                <a:t>Competitor</a:t>
              </a:r>
            </a:p>
            <a:p>
              <a:pPr algn="ctr">
                <a:spcAft>
                  <a:spcPts val="600"/>
                </a:spcAft>
              </a:pPr>
              <a:r>
                <a:rPr lang="en-US" sz="1400" noProof="1" smtClean="0"/>
                <a:t>Competitive marketing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cxnSp>
          <p:nvCxnSpPr>
            <p:cNvPr id="28" name="Gerade Verbindung mit Pfeil 27"/>
            <p:cNvCxnSpPr>
              <a:stCxn id="21" idx="0"/>
              <a:endCxn id="24" idx="2"/>
            </p:cNvCxnSpPr>
            <p:nvPr/>
          </p:nvCxnSpPr>
          <p:spPr bwMode="gray">
            <a:xfrm flipV="1">
              <a:off x="3455035" y="2754462"/>
              <a:ext cx="0" cy="417442"/>
            </a:xfrm>
            <a:prstGeom prst="straightConnector1">
              <a:avLst/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>
              <a:stCxn id="21" idx="2"/>
              <a:endCxn id="25" idx="0"/>
            </p:cNvCxnSpPr>
            <p:nvPr/>
          </p:nvCxnSpPr>
          <p:spPr bwMode="gray">
            <a:xfrm>
              <a:off x="3455035" y="4185364"/>
              <a:ext cx="0" cy="463548"/>
            </a:xfrm>
            <a:prstGeom prst="straightConnector1">
              <a:avLst/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>
              <a:stCxn id="21" idx="1"/>
              <a:endCxn id="19" idx="3"/>
            </p:cNvCxnSpPr>
            <p:nvPr/>
          </p:nvCxnSpPr>
          <p:spPr bwMode="gray">
            <a:xfrm flipH="1">
              <a:off x="2118360" y="3678634"/>
              <a:ext cx="439420" cy="0"/>
            </a:xfrm>
            <a:prstGeom prst="straightConnector1">
              <a:avLst/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>
              <a:stCxn id="21" idx="3"/>
              <a:endCxn id="22" idx="1"/>
            </p:cNvCxnSpPr>
            <p:nvPr/>
          </p:nvCxnSpPr>
          <p:spPr bwMode="gray">
            <a:xfrm>
              <a:off x="4352290" y="3678634"/>
              <a:ext cx="439420" cy="0"/>
            </a:xfrm>
            <a:prstGeom prst="straightConnector1">
              <a:avLst/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>
              <a:stCxn id="22" idx="3"/>
              <a:endCxn id="23" idx="1"/>
            </p:cNvCxnSpPr>
            <p:nvPr/>
          </p:nvCxnSpPr>
          <p:spPr bwMode="gray">
            <a:xfrm>
              <a:off x="6586220" y="3678634"/>
              <a:ext cx="439420" cy="0"/>
            </a:xfrm>
            <a:prstGeom prst="straightConnector1">
              <a:avLst/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21" idx="3"/>
              <a:endCxn id="23" idx="0"/>
            </p:cNvCxnSpPr>
            <p:nvPr/>
          </p:nvCxnSpPr>
          <p:spPr bwMode="gray">
            <a:xfrm flipV="1">
              <a:off x="4352290" y="3171904"/>
              <a:ext cx="3570605" cy="506730"/>
            </a:xfrm>
            <a:prstGeom prst="bentConnector4">
              <a:avLst>
                <a:gd name="adj1" fmla="val 5638"/>
                <a:gd name="adj2" fmla="val 145113"/>
              </a:avLst>
            </a:prstGeom>
            <a:ln w="19050">
              <a:solidFill>
                <a:srgbClr val="7D7D7D"/>
              </a:solidFill>
              <a:headEnd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feld 39"/>
            <p:cNvSpPr txBox="1"/>
            <p:nvPr/>
          </p:nvSpPr>
          <p:spPr bwMode="gray">
            <a:xfrm>
              <a:off x="5654044" y="4387948"/>
              <a:ext cx="23037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b="1" noProof="1" smtClean="0"/>
                <a:t>Process orientation</a:t>
              </a:r>
              <a:endParaRPr lang="en-US" sz="2000" b="1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4611757" y="2584866"/>
              <a:ext cx="32401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Sales marketing (pull)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26340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iented Management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esign of the organization and its interactions (functional chain)</a:t>
            </a:r>
            <a:endParaRPr lang="en-US" noProof="1"/>
          </a:p>
        </p:txBody>
      </p:sp>
      <p:grpSp>
        <p:nvGrpSpPr>
          <p:cNvPr id="17" name="Gruppieren 16"/>
          <p:cNvGrpSpPr/>
          <p:nvPr/>
        </p:nvGrpSpPr>
        <p:grpSpPr>
          <a:xfrm>
            <a:off x="323850" y="1536850"/>
            <a:ext cx="8693662" cy="4081753"/>
            <a:chOff x="323850" y="1536850"/>
            <a:chExt cx="8693662" cy="4081753"/>
          </a:xfrm>
        </p:grpSpPr>
        <p:sp>
          <p:nvSpPr>
            <p:cNvPr id="5" name="Richtungspfeil 4"/>
            <p:cNvSpPr/>
            <p:nvPr/>
          </p:nvSpPr>
          <p:spPr bwMode="gray">
            <a:xfrm rot="16200000">
              <a:off x="269337" y="1591363"/>
              <a:ext cx="4081753" cy="3972728"/>
            </a:xfrm>
            <a:prstGeom prst="homePlate">
              <a:avLst>
                <a:gd name="adj" fmla="val 21553"/>
              </a:avLst>
            </a:prstGeom>
            <a:gradFill flip="none"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08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Textfeld 5"/>
            <p:cNvSpPr txBox="1"/>
            <p:nvPr/>
          </p:nvSpPr>
          <p:spPr bwMode="gray">
            <a:xfrm>
              <a:off x="1297704" y="2225408"/>
              <a:ext cx="20729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noProof="1" smtClean="0"/>
                <a:t>Market orientation of </a:t>
              </a:r>
              <a:br>
                <a:rPr lang="en-US" sz="1600" b="1" noProof="1" smtClean="0"/>
              </a:br>
              <a:r>
                <a:rPr lang="en-US" sz="1600" b="1" noProof="1" smtClean="0"/>
                <a:t>company structure</a:t>
              </a:r>
              <a:endParaRPr lang="en-US" sz="1600" b="1" noProof="1"/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440675" y="2985571"/>
              <a:ext cx="3690650" cy="248981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lIns="792000" rtlCol="0" anchor="ctr"/>
            <a:lstStyle/>
            <a:p>
              <a:r>
                <a:rPr lang="en-US" sz="1600" b="1" noProof="1" smtClean="0"/>
                <a:t>Market orientation of managerial subsystem </a:t>
              </a:r>
              <a:br>
                <a:rPr lang="en-US" sz="1600" b="1" noProof="1" smtClean="0"/>
              </a:br>
              <a:r>
                <a:rPr lang="en-US" sz="1600" b="1" noProof="1" smtClean="0"/>
                <a:t>within the company:</a:t>
              </a:r>
              <a:r>
                <a:rPr lang="en-US" noProof="1" smtClean="0"/>
                <a:t/>
              </a:r>
              <a:br>
                <a:rPr lang="en-US" noProof="1" smtClean="0"/>
              </a:br>
              <a:endParaRPr lang="en-US" sz="1400" noProof="1" smtClean="0"/>
            </a:p>
            <a:p>
              <a:pPr marL="182563" indent="-182563"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/>
                <a:t>personal management</a:t>
              </a:r>
            </a:p>
            <a:p>
              <a:pPr marL="182563" indent="-182563"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/>
                <a:t>organization system</a:t>
              </a:r>
            </a:p>
            <a:p>
              <a:pPr marL="182563" indent="-182563"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/>
                <a:t>QM system</a:t>
              </a:r>
            </a:p>
            <a:p>
              <a:pPr marL="182563" indent="-182563"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/>
                <a:t>information system</a:t>
              </a:r>
            </a:p>
            <a:p>
              <a:pPr marL="182563" indent="-182563"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/>
                <a:t>control system</a:t>
              </a: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4560982" y="3327095"/>
              <a:ext cx="1421176" cy="46194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Service offer</a:t>
              </a:r>
              <a:endParaRPr lang="en-US" sz="11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4560982" y="3789040"/>
              <a:ext cx="1421176" cy="49575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Employee </a:t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behavior</a:t>
              </a:r>
              <a:endParaRPr lang="en-US" sz="11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6084168" y="3327094"/>
              <a:ext cx="1421176" cy="95770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4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Customer satisfaction</a:t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loyalty</a:t>
              </a:r>
            </a:p>
            <a:p>
              <a:pPr algn="ctr" defTabSz="801688" eaLnBrk="0" hangingPunct="0">
                <a:lnSpc>
                  <a:spcPct val="95000"/>
                </a:lnSpc>
                <a:spcAft>
                  <a:spcPts val="4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willingness to pay a certain price</a:t>
              </a:r>
              <a:endParaRPr lang="en-US" sz="11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7596336" y="3327094"/>
              <a:ext cx="1421176" cy="957705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Market success, economic success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6074139" y="2644429"/>
              <a:ext cx="1431205" cy="68228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b="1" noProof="1" smtClean="0"/>
                <a:t>Customer related effects</a:t>
              </a:r>
              <a:endParaRPr lang="en-US" sz="1200" b="1" noProof="1"/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7596336" y="2644812"/>
              <a:ext cx="1421176" cy="68228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b="1" noProof="1" smtClean="0"/>
                <a:t>Company </a:t>
              </a:r>
              <a:br>
                <a:rPr lang="en-US" sz="1200" b="1" noProof="1" smtClean="0"/>
              </a:br>
              <a:r>
                <a:rPr lang="en-US" sz="1200" b="1" noProof="1" smtClean="0"/>
                <a:t>success</a:t>
              </a:r>
              <a:endParaRPr lang="en-US" sz="1200" b="1" noProof="1"/>
            </a:p>
          </p:txBody>
        </p:sp>
        <p:sp>
          <p:nvSpPr>
            <p:cNvPr id="14" name="Pfeil nach unten 13"/>
            <p:cNvSpPr/>
            <p:nvPr/>
          </p:nvSpPr>
          <p:spPr bwMode="gray">
            <a:xfrm rot="16200000">
              <a:off x="5837277" y="3664771"/>
              <a:ext cx="407624" cy="316164"/>
            </a:xfrm>
            <a:prstGeom prst="downArrow">
              <a:avLst/>
            </a:prstGeom>
            <a:solidFill>
              <a:srgbClr val="E6E6E6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5" name="Pfeil nach unten 14"/>
            <p:cNvSpPr/>
            <p:nvPr/>
          </p:nvSpPr>
          <p:spPr bwMode="gray">
            <a:xfrm rot="16200000">
              <a:off x="7334582" y="3664771"/>
              <a:ext cx="407624" cy="316164"/>
            </a:xfrm>
            <a:prstGeom prst="downArrow">
              <a:avLst/>
            </a:prstGeom>
            <a:solidFill>
              <a:srgbClr val="E6E6E6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6" name="Pfeil nach unten 15"/>
            <p:cNvSpPr/>
            <p:nvPr/>
          </p:nvSpPr>
          <p:spPr bwMode="gray">
            <a:xfrm rot="16200000">
              <a:off x="4310246" y="3664771"/>
              <a:ext cx="407624" cy="316164"/>
            </a:xfrm>
            <a:prstGeom prst="downArrow">
              <a:avLst/>
            </a:prstGeom>
            <a:solidFill>
              <a:srgbClr val="E6E6E6"/>
            </a:solidFill>
            <a:ln w="12700">
              <a:solidFill>
                <a:srgbClr val="C0C0C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</p:spTree>
    <p:extLst>
      <p:ext uri="{BB962C8B-B14F-4D97-AF65-F5344CB8AC3E}">
        <p14:creationId xmlns:p14="http://schemas.microsoft.com/office/powerpoint/2010/main" val="371366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Marketing Structure</a:t>
            </a:r>
          </a:p>
        </p:txBody>
      </p:sp>
      <p:grpSp>
        <p:nvGrpSpPr>
          <p:cNvPr id="19" name="Gruppieren 18"/>
          <p:cNvGrpSpPr/>
          <p:nvPr/>
        </p:nvGrpSpPr>
        <p:grpSpPr>
          <a:xfrm>
            <a:off x="266700" y="1422399"/>
            <a:ext cx="8554242" cy="4389439"/>
            <a:chOff x="266700" y="1422399"/>
            <a:chExt cx="8554242" cy="4389439"/>
          </a:xfrm>
        </p:grpSpPr>
        <p:grpSp>
          <p:nvGrpSpPr>
            <p:cNvPr id="37" name="Gruppieren 36"/>
            <p:cNvGrpSpPr/>
            <p:nvPr/>
          </p:nvGrpSpPr>
          <p:grpSpPr bwMode="gray">
            <a:xfrm>
              <a:off x="684942" y="1868488"/>
              <a:ext cx="8136000" cy="3943350"/>
              <a:chOff x="684942" y="1897063"/>
              <a:chExt cx="8136000" cy="3943350"/>
            </a:xfrm>
          </p:grpSpPr>
          <p:grpSp>
            <p:nvGrpSpPr>
              <p:cNvPr id="35" name="Gruppieren 34"/>
              <p:cNvGrpSpPr/>
              <p:nvPr/>
            </p:nvGrpSpPr>
            <p:grpSpPr bwMode="gray">
              <a:xfrm>
                <a:off x="684942" y="1897063"/>
                <a:ext cx="8136000" cy="760412"/>
                <a:chOff x="684942" y="1897063"/>
                <a:chExt cx="8136000" cy="760412"/>
              </a:xfrm>
            </p:grpSpPr>
            <p:sp>
              <p:nvSpPr>
                <p:cNvPr id="22" name="Rectangle 5"/>
                <p:cNvSpPr>
                  <a:spLocks noChangeArrowheads="1"/>
                </p:cNvSpPr>
                <p:nvPr/>
              </p:nvSpPr>
              <p:spPr bwMode="gray">
                <a:xfrm>
                  <a:off x="684942" y="1897063"/>
                  <a:ext cx="3991833" cy="760412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Marketing Planning</a:t>
                  </a:r>
                  <a:endParaRPr lang="en-US" sz="2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21" name="Rectangle 5"/>
                <p:cNvSpPr>
                  <a:spLocks noChangeArrowheads="1"/>
                </p:cNvSpPr>
                <p:nvPr/>
              </p:nvSpPr>
              <p:spPr bwMode="gray">
                <a:xfrm>
                  <a:off x="4819650" y="1897063"/>
                  <a:ext cx="4001292" cy="760412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Marketing Strategy</a:t>
                  </a:r>
                  <a:endParaRPr lang="en-US" sz="2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4" name="Gruppieren 33"/>
              <p:cNvGrpSpPr/>
              <p:nvPr/>
            </p:nvGrpSpPr>
            <p:grpSpPr bwMode="gray">
              <a:xfrm>
                <a:off x="684942" y="2809503"/>
                <a:ext cx="8136000" cy="2095872"/>
                <a:chOff x="684942" y="2809503"/>
                <a:chExt cx="8136000" cy="2095872"/>
              </a:xfrm>
            </p:grpSpPr>
            <p:sp>
              <p:nvSpPr>
                <p:cNvPr id="24" name="Rectangle 5"/>
                <p:cNvSpPr>
                  <a:spLocks noChangeArrowheads="1"/>
                </p:cNvSpPr>
                <p:nvPr/>
              </p:nvSpPr>
              <p:spPr bwMode="gray">
                <a:xfrm>
                  <a:off x="684942" y="2809503"/>
                  <a:ext cx="1957833" cy="209587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7D7D7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b="1" noProof="1" smtClean="0">
                      <a:solidFill>
                        <a:srgbClr val="000000"/>
                      </a:solidFill>
                      <a:cs typeface="Arial" charset="0"/>
                    </a:rPr>
                    <a:t>Product Policy</a:t>
                  </a: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5" name="Rectangle 5"/>
                <p:cNvSpPr>
                  <a:spLocks noChangeArrowheads="1"/>
                </p:cNvSpPr>
                <p:nvPr/>
              </p:nvSpPr>
              <p:spPr bwMode="gray">
                <a:xfrm>
                  <a:off x="2718942" y="2809503"/>
                  <a:ext cx="1957833" cy="209587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7D7D7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b="1" noProof="1" smtClean="0">
                      <a:solidFill>
                        <a:srgbClr val="000000"/>
                      </a:solidFill>
                      <a:cs typeface="Arial" charset="0"/>
                    </a:rPr>
                    <a:t>Pricing Policy</a:t>
                  </a: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2" name="Rectangle 5"/>
                <p:cNvSpPr>
                  <a:spLocks noChangeArrowheads="1"/>
                </p:cNvSpPr>
                <p:nvPr/>
              </p:nvSpPr>
              <p:spPr bwMode="gray">
                <a:xfrm>
                  <a:off x="4819650" y="2809503"/>
                  <a:ext cx="1967292" cy="209587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7D7D7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b="1" noProof="1" smtClean="0">
                      <a:solidFill>
                        <a:srgbClr val="000000"/>
                      </a:solidFill>
                      <a:cs typeface="Arial" charset="0"/>
                    </a:rPr>
                    <a:t>Communications Policy</a:t>
                  </a: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3" name="Rectangle 5"/>
                <p:cNvSpPr>
                  <a:spLocks noChangeArrowheads="1"/>
                </p:cNvSpPr>
                <p:nvPr/>
              </p:nvSpPr>
              <p:spPr bwMode="gray">
                <a:xfrm>
                  <a:off x="6853650" y="2809503"/>
                  <a:ext cx="1967292" cy="209587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7D7D7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b="1" noProof="1" smtClean="0">
                      <a:solidFill>
                        <a:srgbClr val="000000"/>
                      </a:solidFill>
                      <a:cs typeface="Arial" charset="0"/>
                    </a:rPr>
                    <a:t>Sales Policy</a:t>
                  </a: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6" name="Gruppieren 35"/>
              <p:cNvGrpSpPr/>
              <p:nvPr/>
            </p:nvGrpSpPr>
            <p:grpSpPr bwMode="gray">
              <a:xfrm>
                <a:off x="684942" y="5070474"/>
                <a:ext cx="8136000" cy="769939"/>
                <a:chOff x="684942" y="5070474"/>
                <a:chExt cx="8136000" cy="769939"/>
              </a:xfrm>
            </p:grpSpPr>
            <p:sp>
              <p:nvSpPr>
                <p:cNvPr id="26" name="Rectangle 5"/>
                <p:cNvSpPr>
                  <a:spLocks noChangeArrowheads="1"/>
                </p:cNvSpPr>
                <p:nvPr/>
              </p:nvSpPr>
              <p:spPr bwMode="gray">
                <a:xfrm>
                  <a:off x="684942" y="5070474"/>
                  <a:ext cx="3991833" cy="769939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Marketing Organization</a:t>
                  </a:r>
                  <a:endParaRPr lang="en-US" sz="2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27" name="Rectangle 5"/>
                <p:cNvSpPr>
                  <a:spLocks noChangeArrowheads="1"/>
                </p:cNvSpPr>
                <p:nvPr/>
              </p:nvSpPr>
              <p:spPr bwMode="gray">
                <a:xfrm>
                  <a:off x="4819650" y="5070474"/>
                  <a:ext cx="4001292" cy="769939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2400" b="1" noProof="1" smtClean="0">
                      <a:solidFill>
                        <a:srgbClr val="FFFFFF"/>
                      </a:solidFill>
                      <a:cs typeface="Arial" charset="0"/>
                    </a:rPr>
                    <a:t>Marketing Controlling</a:t>
                  </a:r>
                  <a:endParaRPr lang="en-US" sz="2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</p:grpSp>
        </p:grpSp>
        <p:sp>
          <p:nvSpPr>
            <p:cNvPr id="12" name="Rechteck 11"/>
            <p:cNvSpPr/>
            <p:nvPr/>
          </p:nvSpPr>
          <p:spPr bwMode="gray">
            <a:xfrm rot="16200000">
              <a:off x="-1495854" y="3678668"/>
              <a:ext cx="3886200" cy="36109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000" b="1" noProof="1" smtClean="0"/>
                <a:t>Marketing Research</a:t>
              </a:r>
              <a:endParaRPr lang="en-US" sz="2000" b="1" noProof="1"/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684944" y="1422399"/>
              <a:ext cx="8135206" cy="36036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000" b="1" noProof="1" smtClean="0"/>
                <a:t>Fundamentals</a:t>
              </a:r>
              <a:endParaRPr lang="en-US" sz="20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333959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ganization </a:t>
            </a:r>
            <a:r>
              <a:rPr lang="en-US" b="0" noProof="1" smtClean="0"/>
              <a:t>- Function-oriented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Function-oriented marketing organization </a:t>
            </a:r>
            <a:endParaRPr lang="en-US" noProof="1"/>
          </a:p>
        </p:txBody>
      </p:sp>
      <p:grpSp>
        <p:nvGrpSpPr>
          <p:cNvPr id="4" name="Gruppieren 26"/>
          <p:cNvGrpSpPr/>
          <p:nvPr/>
        </p:nvGrpSpPr>
        <p:grpSpPr>
          <a:xfrm>
            <a:off x="323850" y="1555749"/>
            <a:ext cx="8499072" cy="4246564"/>
            <a:chOff x="323850" y="1555749"/>
            <a:chExt cx="8499072" cy="4246564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325831" y="1555749"/>
              <a:ext cx="8495111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nagement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5" name="Gruppieren 44"/>
            <p:cNvGrpSpPr/>
            <p:nvPr/>
          </p:nvGrpSpPr>
          <p:grpSpPr bwMode="gray">
            <a:xfrm>
              <a:off x="325830" y="1916112"/>
              <a:ext cx="8495111" cy="360363"/>
              <a:chOff x="325830" y="1916112"/>
              <a:chExt cx="8495111" cy="360363"/>
            </a:xfrm>
          </p:grpSpPr>
          <p:sp>
            <p:nvSpPr>
              <p:cNvPr id="15" name="Rectangle 5"/>
              <p:cNvSpPr>
                <a:spLocks noChangeArrowheads="1"/>
              </p:cNvSpPr>
              <p:nvPr/>
            </p:nvSpPr>
            <p:spPr bwMode="gray">
              <a:xfrm>
                <a:off x="325830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rocurement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" name="Rectangle 5"/>
              <p:cNvSpPr>
                <a:spLocks noChangeArrowheads="1"/>
              </p:cNvSpPr>
              <p:nvPr/>
            </p:nvSpPr>
            <p:spPr bwMode="gray">
              <a:xfrm>
                <a:off x="2449608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roduction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" name="Rectangle 5"/>
              <p:cNvSpPr>
                <a:spLocks noChangeArrowheads="1"/>
              </p:cNvSpPr>
              <p:nvPr/>
            </p:nvSpPr>
            <p:spPr bwMode="gray">
              <a:xfrm>
                <a:off x="4573386" y="1916112"/>
                <a:ext cx="2123778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</a:p>
            </p:txBody>
          </p:sp>
          <p:sp>
            <p:nvSpPr>
              <p:cNvPr id="18" name="Rectangle 5"/>
              <p:cNvSpPr>
                <a:spLocks noChangeArrowheads="1"/>
              </p:cNvSpPr>
              <p:nvPr/>
            </p:nvSpPr>
            <p:spPr bwMode="gray">
              <a:xfrm>
                <a:off x="6697163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Finance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47"/>
            <p:cNvGrpSpPr/>
            <p:nvPr/>
          </p:nvGrpSpPr>
          <p:grpSpPr bwMode="gray">
            <a:xfrm>
              <a:off x="1173848" y="2276476"/>
              <a:ext cx="6801059" cy="2546526"/>
              <a:chOff x="1170603" y="2276476"/>
              <a:chExt cx="6775029" cy="2546526"/>
            </a:xfrm>
          </p:grpSpPr>
          <p:cxnSp>
            <p:nvCxnSpPr>
              <p:cNvPr id="31" name="Gerade Verbindung 30"/>
              <p:cNvCxnSpPr/>
              <p:nvPr/>
            </p:nvCxnSpPr>
            <p:spPr bwMode="gray">
              <a:xfrm rot="5400000" flipH="1" flipV="1">
                <a:off x="306559" y="3955588"/>
                <a:ext cx="1731458" cy="3369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2" name="Gerade Verbindung 31"/>
              <p:cNvCxnSpPr/>
              <p:nvPr/>
            </p:nvCxnSpPr>
            <p:spPr bwMode="gray">
              <a:xfrm rot="5400000" flipH="1" flipV="1">
                <a:off x="1999474" y="3955588"/>
                <a:ext cx="1731458" cy="3369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3" name="Gerade Verbindung 32"/>
              <p:cNvCxnSpPr/>
              <p:nvPr/>
            </p:nvCxnSpPr>
            <p:spPr bwMode="gray">
              <a:xfrm rot="5400000" flipH="1" flipV="1">
                <a:off x="3692388" y="3955588"/>
                <a:ext cx="1731458" cy="3369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4" name="Gerade Verbindung 33"/>
              <p:cNvCxnSpPr/>
              <p:nvPr/>
            </p:nvCxnSpPr>
            <p:spPr bwMode="gray">
              <a:xfrm rot="5400000" flipH="1" flipV="1">
                <a:off x="5385302" y="3955588"/>
                <a:ext cx="1731458" cy="3369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5" name="Gerade Verbindung 34"/>
              <p:cNvCxnSpPr/>
              <p:nvPr/>
            </p:nvCxnSpPr>
            <p:spPr bwMode="gray">
              <a:xfrm rot="5400000" flipH="1" flipV="1">
                <a:off x="7078215" y="3955588"/>
                <a:ext cx="1731458" cy="3369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6" name="Gerade Verbindung 35"/>
              <p:cNvCxnSpPr/>
              <p:nvPr/>
            </p:nvCxnSpPr>
            <p:spPr bwMode="gray">
              <a:xfrm rot="10800000">
                <a:off x="1173973" y="3091542"/>
                <a:ext cx="6771659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1" name="Gerade Verbindung 40"/>
              <p:cNvCxnSpPr/>
              <p:nvPr/>
            </p:nvCxnSpPr>
            <p:spPr bwMode="gray">
              <a:xfrm rot="5400000" flipH="1" flipV="1">
                <a:off x="5229426" y="2684010"/>
                <a:ext cx="815068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</p:grpSp>
        <p:grpSp>
          <p:nvGrpSpPr>
            <p:cNvPr id="7" name="Gruppieren 38"/>
            <p:cNvGrpSpPr/>
            <p:nvPr/>
          </p:nvGrpSpPr>
          <p:grpSpPr bwMode="gray">
            <a:xfrm>
              <a:off x="325830" y="4823002"/>
              <a:ext cx="8497091" cy="979311"/>
              <a:chOff x="325831" y="4533900"/>
              <a:chExt cx="8464570" cy="979311"/>
            </a:xfrm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gray">
              <a:xfrm>
                <a:off x="325831" y="4533900"/>
                <a:ext cx="1692914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Research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2" name="Rectangle 5"/>
              <p:cNvSpPr>
                <a:spLocks noChangeArrowheads="1"/>
              </p:cNvSpPr>
              <p:nvPr/>
            </p:nvSpPr>
            <p:spPr bwMode="gray">
              <a:xfrm>
                <a:off x="2018745" y="4533900"/>
                <a:ext cx="1692914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lanning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Rectangle 5"/>
              <p:cNvSpPr>
                <a:spLocks noChangeArrowheads="1"/>
              </p:cNvSpPr>
              <p:nvPr/>
            </p:nvSpPr>
            <p:spPr bwMode="gray">
              <a:xfrm>
                <a:off x="3711659" y="4533900"/>
                <a:ext cx="1692914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Communication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4" name="Rectangle 5"/>
              <p:cNvSpPr>
                <a:spLocks noChangeArrowheads="1"/>
              </p:cNvSpPr>
              <p:nvPr/>
            </p:nvSpPr>
            <p:spPr bwMode="gray">
              <a:xfrm>
                <a:off x="5406259" y="4533900"/>
                <a:ext cx="1692914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hysical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Distribution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7097487" y="4533900"/>
                <a:ext cx="1692914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Sales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" name="Gruppieren 26"/>
            <p:cNvGrpSpPr/>
            <p:nvPr/>
          </p:nvGrpSpPr>
          <p:grpSpPr bwMode="gray">
            <a:xfrm>
              <a:off x="323850" y="3369557"/>
              <a:ext cx="8499072" cy="360363"/>
              <a:chOff x="323850" y="3493180"/>
              <a:chExt cx="8499072" cy="360363"/>
            </a:xfrm>
          </p:grpSpPr>
          <p:sp>
            <p:nvSpPr>
              <p:cNvPr id="25" name="Rectangle 5"/>
              <p:cNvSpPr>
                <a:spLocks noChangeArrowheads="1"/>
              </p:cNvSpPr>
              <p:nvPr/>
            </p:nvSpPr>
            <p:spPr bwMode="gray">
              <a:xfrm>
                <a:off x="323850" y="3493180"/>
                <a:ext cx="4249536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arketing-Informations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Rectangle 5"/>
              <p:cNvSpPr>
                <a:spLocks noChangeArrowheads="1"/>
              </p:cNvSpPr>
              <p:nvPr/>
            </p:nvSpPr>
            <p:spPr bwMode="gray">
              <a:xfrm>
                <a:off x="4573386" y="3493180"/>
                <a:ext cx="4249536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Marketing-Operations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ganization </a:t>
            </a:r>
            <a:r>
              <a:rPr lang="en-US" b="0" noProof="1" smtClean="0"/>
              <a:t>- Product-oriented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4" name="Gruppieren 43"/>
          <p:cNvGrpSpPr/>
          <p:nvPr/>
        </p:nvGrpSpPr>
        <p:grpSpPr>
          <a:xfrm>
            <a:off x="323850" y="1555749"/>
            <a:ext cx="8499070" cy="4246564"/>
            <a:chOff x="323850" y="1555749"/>
            <a:chExt cx="8499070" cy="4246564"/>
          </a:xfrm>
        </p:grpSpPr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325831" y="1555749"/>
              <a:ext cx="8495111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nagement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5" name="Gruppieren 67"/>
            <p:cNvGrpSpPr/>
            <p:nvPr/>
          </p:nvGrpSpPr>
          <p:grpSpPr bwMode="gray">
            <a:xfrm>
              <a:off x="325830" y="1916112"/>
              <a:ext cx="8495111" cy="360363"/>
              <a:chOff x="325830" y="1916112"/>
              <a:chExt cx="8495111" cy="360363"/>
            </a:xfrm>
          </p:grpSpPr>
          <p:sp>
            <p:nvSpPr>
              <p:cNvPr id="34" name="Rectangle 5"/>
              <p:cNvSpPr>
                <a:spLocks noChangeArrowheads="1"/>
              </p:cNvSpPr>
              <p:nvPr/>
            </p:nvSpPr>
            <p:spPr bwMode="gray">
              <a:xfrm>
                <a:off x="325830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rocurement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" name="Rectangle 5"/>
              <p:cNvSpPr>
                <a:spLocks noChangeArrowheads="1"/>
              </p:cNvSpPr>
              <p:nvPr/>
            </p:nvSpPr>
            <p:spPr bwMode="gray">
              <a:xfrm>
                <a:off x="2449608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roduction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Rectangle 5"/>
              <p:cNvSpPr>
                <a:spLocks noChangeArrowheads="1"/>
              </p:cNvSpPr>
              <p:nvPr/>
            </p:nvSpPr>
            <p:spPr bwMode="gray">
              <a:xfrm>
                <a:off x="4573386" y="1916112"/>
                <a:ext cx="2123778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6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7" name="Rectangle 5"/>
              <p:cNvSpPr>
                <a:spLocks noChangeArrowheads="1"/>
              </p:cNvSpPr>
              <p:nvPr/>
            </p:nvSpPr>
            <p:spPr bwMode="gray">
              <a:xfrm>
                <a:off x="6697163" y="1916112"/>
                <a:ext cx="2123778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Finance</a:t>
                </a:r>
                <a:endParaRPr lang="en-US" sz="16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66"/>
            <p:cNvGrpSpPr/>
            <p:nvPr/>
          </p:nvGrpSpPr>
          <p:grpSpPr bwMode="gray">
            <a:xfrm>
              <a:off x="325830" y="4823002"/>
              <a:ext cx="8497090" cy="979311"/>
              <a:chOff x="325830" y="4823002"/>
              <a:chExt cx="8497090" cy="979311"/>
            </a:xfrm>
          </p:grpSpPr>
          <p:sp>
            <p:nvSpPr>
              <p:cNvPr id="22" name="Rectangle 5"/>
              <p:cNvSpPr>
                <a:spLocks noChangeArrowheads="1"/>
              </p:cNvSpPr>
              <p:nvPr/>
            </p:nvSpPr>
            <p:spPr bwMode="gray">
              <a:xfrm>
                <a:off x="325830" y="4823002"/>
                <a:ext cx="1699418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 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sales</a:t>
                </a:r>
                <a:endParaRPr lang="en-US" sz="14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Rectangle 5"/>
              <p:cNvSpPr>
                <a:spLocks noChangeArrowheads="1"/>
              </p:cNvSpPr>
              <p:nvPr/>
            </p:nvSpPr>
            <p:spPr bwMode="gray">
              <a:xfrm>
                <a:off x="2025248" y="4823002"/>
                <a:ext cx="1699418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 c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ommunication</a:t>
                </a:r>
              </a:p>
            </p:txBody>
          </p:sp>
          <p:sp>
            <p:nvSpPr>
              <p:cNvPr id="24" name="Rectangle 5"/>
              <p:cNvSpPr>
                <a:spLocks noChangeArrowheads="1"/>
              </p:cNvSpPr>
              <p:nvPr/>
            </p:nvSpPr>
            <p:spPr bwMode="gray">
              <a:xfrm>
                <a:off x="3724666" y="4823002"/>
                <a:ext cx="1699418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 market research</a:t>
                </a:r>
                <a:endParaRPr lang="en-US" sz="14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5" name="Rectangle 5"/>
              <p:cNvSpPr>
                <a:spLocks noChangeArrowheads="1"/>
              </p:cNvSpPr>
              <p:nvPr/>
            </p:nvSpPr>
            <p:spPr bwMode="gray">
              <a:xfrm>
                <a:off x="5424084" y="4823002"/>
                <a:ext cx="1699418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 marketing planning</a:t>
                </a:r>
                <a:endParaRPr lang="en-US" sz="14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Rectangle 5"/>
              <p:cNvSpPr>
                <a:spLocks noChangeArrowheads="1"/>
              </p:cNvSpPr>
              <p:nvPr/>
            </p:nvSpPr>
            <p:spPr bwMode="gray">
              <a:xfrm>
                <a:off x="7123502" y="4823002"/>
                <a:ext cx="1699418" cy="97931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 physical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distribution</a:t>
                </a:r>
              </a:p>
            </p:txBody>
          </p:sp>
        </p:grpSp>
        <p:grpSp>
          <p:nvGrpSpPr>
            <p:cNvPr id="7" name="Gruppieren 64"/>
            <p:cNvGrpSpPr/>
            <p:nvPr/>
          </p:nvGrpSpPr>
          <p:grpSpPr bwMode="gray">
            <a:xfrm>
              <a:off x="323850" y="3106059"/>
              <a:ext cx="8499070" cy="984729"/>
              <a:chOff x="323850" y="3106059"/>
              <a:chExt cx="8499070" cy="984729"/>
            </a:xfrm>
          </p:grpSpPr>
          <p:sp>
            <p:nvSpPr>
              <p:cNvPr id="20" name="Rectangle 5"/>
              <p:cNvSpPr>
                <a:spLocks noChangeArrowheads="1"/>
              </p:cNvSpPr>
              <p:nvPr/>
            </p:nvSpPr>
            <p:spPr bwMode="gray">
              <a:xfrm>
                <a:off x="323850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product 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group A</a:t>
                </a:r>
                <a:endParaRPr lang="en-US" sz="14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Rectangle 5"/>
              <p:cNvSpPr>
                <a:spLocks noChangeArrowheads="1"/>
              </p:cNvSpPr>
              <p:nvPr/>
            </p:nvSpPr>
            <p:spPr bwMode="gray">
              <a:xfrm>
                <a:off x="1537136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b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B</a:t>
                </a:r>
              </a:p>
            </p:txBody>
          </p:sp>
          <p:sp>
            <p:nvSpPr>
              <p:cNvPr id="39" name="Rectangle 5"/>
              <p:cNvSpPr>
                <a:spLocks noChangeArrowheads="1"/>
              </p:cNvSpPr>
              <p:nvPr/>
            </p:nvSpPr>
            <p:spPr bwMode="gray">
              <a:xfrm>
                <a:off x="2752352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product </a:t>
                </a:r>
                <a:b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roup C</a:t>
                </a:r>
              </a:p>
            </p:txBody>
          </p:sp>
          <p:sp>
            <p:nvSpPr>
              <p:cNvPr id="40" name="Rectangle 5"/>
              <p:cNvSpPr>
                <a:spLocks noChangeArrowheads="1"/>
              </p:cNvSpPr>
              <p:nvPr/>
            </p:nvSpPr>
            <p:spPr bwMode="gray">
              <a:xfrm>
                <a:off x="3965637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Central  communication</a:t>
                </a:r>
                <a:endParaRPr lang="en-US" sz="14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Rectangle 5"/>
              <p:cNvSpPr>
                <a:spLocks noChangeArrowheads="1"/>
              </p:cNvSpPr>
              <p:nvPr/>
            </p:nvSpPr>
            <p:spPr bwMode="gray">
              <a:xfrm>
                <a:off x="5178923" y="3106059"/>
                <a:ext cx="1213286" cy="984729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>
                    <a:solidFill>
                      <a:srgbClr val="FFFFFF"/>
                    </a:solidFill>
                    <a:cs typeface="Arial" charset="0"/>
                  </a:rPr>
                  <a:t>Central  </a:t>
                </a: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r>
                  <a:rPr lang="en-US" sz="1400" b="1" noProof="1">
                    <a:solidFill>
                      <a:srgbClr val="FFFFFF"/>
                    </a:solidFill>
                    <a:cs typeface="Arial" charset="0"/>
                  </a:rPr>
                  <a:t/>
                </a:r>
                <a:br>
                  <a:rPr lang="en-US" sz="1400" b="1" noProof="1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research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43" name="Rectangle 5"/>
              <p:cNvSpPr>
                <a:spLocks noChangeArrowheads="1"/>
              </p:cNvSpPr>
              <p:nvPr/>
            </p:nvSpPr>
            <p:spPr bwMode="gray">
              <a:xfrm>
                <a:off x="6392209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entral 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p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lanning</a:t>
                </a:r>
                <a:endParaRPr lang="en-US" sz="14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Rectangle 5"/>
              <p:cNvSpPr>
                <a:spLocks noChangeArrowheads="1"/>
              </p:cNvSpPr>
              <p:nvPr/>
            </p:nvSpPr>
            <p:spPr bwMode="gray">
              <a:xfrm>
                <a:off x="7609634" y="3106059"/>
                <a:ext cx="1213286" cy="98472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Central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distribution</a:t>
                </a:r>
              </a:p>
            </p:txBody>
          </p:sp>
        </p:grpSp>
        <p:grpSp>
          <p:nvGrpSpPr>
            <p:cNvPr id="8" name="Gruppieren 51"/>
            <p:cNvGrpSpPr/>
            <p:nvPr/>
          </p:nvGrpSpPr>
          <p:grpSpPr bwMode="gray">
            <a:xfrm>
              <a:off x="928803" y="2276478"/>
              <a:ext cx="7289167" cy="829580"/>
              <a:chOff x="928803" y="2276477"/>
              <a:chExt cx="7289167" cy="1093079"/>
            </a:xfrm>
          </p:grpSpPr>
          <p:cxnSp>
            <p:nvCxnSpPr>
              <p:cNvPr id="33" name="Gerade Verbindung 32"/>
              <p:cNvCxnSpPr/>
              <p:nvPr/>
            </p:nvCxnSpPr>
            <p:spPr bwMode="gray">
              <a:xfrm rot="5400000" flipH="1" flipV="1">
                <a:off x="4892856" y="2562544"/>
                <a:ext cx="572134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27" name="Gerade Verbindung 26"/>
              <p:cNvCxnSpPr/>
              <p:nvPr/>
            </p:nvCxnSpPr>
            <p:spPr bwMode="gray">
              <a:xfrm rot="5400000" flipH="1" flipV="1">
                <a:off x="670020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28" name="Gerade Verbindung 27"/>
              <p:cNvCxnSpPr/>
              <p:nvPr/>
            </p:nvCxnSpPr>
            <p:spPr bwMode="gray">
              <a:xfrm rot="5400000" flipH="1" flipV="1">
                <a:off x="3098522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29" name="Gerade Verbindung 28"/>
              <p:cNvCxnSpPr/>
              <p:nvPr/>
            </p:nvCxnSpPr>
            <p:spPr bwMode="gray">
              <a:xfrm rot="5400000" flipH="1" flipV="1">
                <a:off x="4311807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0" name="Gerade Verbindung 29"/>
              <p:cNvCxnSpPr/>
              <p:nvPr/>
            </p:nvCxnSpPr>
            <p:spPr bwMode="gray">
              <a:xfrm rot="5400000" flipH="1" flipV="1">
                <a:off x="6738379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1" name="Gerade Verbindung 30"/>
              <p:cNvCxnSpPr/>
              <p:nvPr/>
            </p:nvCxnSpPr>
            <p:spPr bwMode="gray">
              <a:xfrm rot="5400000" flipH="1" flipV="1">
                <a:off x="7955804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2" name="Gerade Verbindung 31"/>
              <p:cNvCxnSpPr/>
              <p:nvPr/>
            </p:nvCxnSpPr>
            <p:spPr bwMode="gray">
              <a:xfrm rot="10800000">
                <a:off x="928805" y="2848609"/>
                <a:ext cx="7289165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8" name="Gerade Verbindung 47"/>
              <p:cNvCxnSpPr/>
              <p:nvPr/>
            </p:nvCxnSpPr>
            <p:spPr bwMode="gray">
              <a:xfrm rot="5400000" flipH="1" flipV="1">
                <a:off x="5525093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9" name="Gerade Verbindung 48"/>
              <p:cNvCxnSpPr/>
              <p:nvPr/>
            </p:nvCxnSpPr>
            <p:spPr bwMode="gray">
              <a:xfrm rot="5400000" flipH="1" flipV="1">
                <a:off x="1883306" y="3107392"/>
                <a:ext cx="520947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</p:grpSp>
        <p:grpSp>
          <p:nvGrpSpPr>
            <p:cNvPr id="9" name="Gruppieren 65"/>
            <p:cNvGrpSpPr/>
            <p:nvPr/>
          </p:nvGrpSpPr>
          <p:grpSpPr bwMode="gray">
            <a:xfrm>
              <a:off x="1173848" y="4090788"/>
              <a:ext cx="6801054" cy="732215"/>
              <a:chOff x="1173848" y="4090788"/>
              <a:chExt cx="6801054" cy="732215"/>
            </a:xfrm>
          </p:grpSpPr>
          <p:cxnSp>
            <p:nvCxnSpPr>
              <p:cNvPr id="55" name="Gerade Verbindung 54"/>
              <p:cNvCxnSpPr/>
              <p:nvPr/>
            </p:nvCxnSpPr>
            <p:spPr bwMode="gray">
              <a:xfrm rot="5400000" flipH="1" flipV="1">
                <a:off x="5232458" y="4282414"/>
                <a:ext cx="383252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56" name="Gerade Verbindung 55"/>
              <p:cNvCxnSpPr/>
              <p:nvPr/>
            </p:nvCxnSpPr>
            <p:spPr bwMode="gray">
              <a:xfrm rot="5400000" flipH="1" flipV="1">
                <a:off x="1001057" y="4646830"/>
                <a:ext cx="348964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58" name="Gerade Verbindung 57"/>
              <p:cNvCxnSpPr/>
              <p:nvPr/>
            </p:nvCxnSpPr>
            <p:spPr bwMode="gray">
              <a:xfrm rot="5400000" flipH="1" flipV="1">
                <a:off x="4399893" y="4646830"/>
                <a:ext cx="348964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60" name="Gerade Verbindung 59"/>
              <p:cNvCxnSpPr/>
              <p:nvPr/>
            </p:nvCxnSpPr>
            <p:spPr bwMode="gray">
              <a:xfrm rot="5400000" flipH="1" flipV="1">
                <a:off x="7798729" y="4646830"/>
                <a:ext cx="348964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61" name="Gerade Verbindung 60"/>
              <p:cNvCxnSpPr/>
              <p:nvPr/>
            </p:nvCxnSpPr>
            <p:spPr bwMode="gray">
              <a:xfrm rot="10800000">
                <a:off x="1173850" y="4474038"/>
                <a:ext cx="6797670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62" name="Gerade Verbindung 61"/>
              <p:cNvCxnSpPr/>
              <p:nvPr/>
            </p:nvCxnSpPr>
            <p:spPr bwMode="gray">
              <a:xfrm rot="5400000" flipH="1" flipV="1">
                <a:off x="6099311" y="4646830"/>
                <a:ext cx="348964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63" name="Gerade Verbindung 62"/>
              <p:cNvCxnSpPr/>
              <p:nvPr/>
            </p:nvCxnSpPr>
            <p:spPr bwMode="gray">
              <a:xfrm rot="5400000" flipH="1" flipV="1">
                <a:off x="2700475" y="4646830"/>
                <a:ext cx="348964" cy="3382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</p:grpSp>
      </p:grpSp>
    </p:spTree>
  </p:cSld>
  <p:clrMapOvr>
    <a:masterClrMapping/>
  </p:clrMapOvr>
  <p:transition spd="med">
    <p:fade/>
  </p:transition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ganization </a:t>
            </a:r>
            <a:r>
              <a:rPr lang="en-US" b="0" noProof="1" smtClean="0"/>
              <a:t>- Customer-oriented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4" name="Gruppieren 34"/>
          <p:cNvGrpSpPr/>
          <p:nvPr/>
        </p:nvGrpSpPr>
        <p:grpSpPr>
          <a:xfrm>
            <a:off x="323850" y="1551601"/>
            <a:ext cx="8497092" cy="4250349"/>
            <a:chOff x="323850" y="1551601"/>
            <a:chExt cx="8497092" cy="4250349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gray">
            <a:xfrm>
              <a:off x="2564998" y="1551601"/>
              <a:ext cx="4016778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nagement</a:t>
              </a: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2564998" y="2488626"/>
              <a:ext cx="4016778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Marketing-management</a:t>
              </a:r>
              <a:b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for the separate </a:t>
              </a: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customer </a:t>
              </a: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groups 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5" name="Gruppieren 40"/>
            <p:cNvGrpSpPr/>
            <p:nvPr/>
          </p:nvGrpSpPr>
          <p:grpSpPr bwMode="gray">
            <a:xfrm>
              <a:off x="323850" y="3785288"/>
              <a:ext cx="8497092" cy="720000"/>
              <a:chOff x="323850" y="3785288"/>
              <a:chExt cx="8497092" cy="720000"/>
            </a:xfrm>
          </p:grpSpPr>
          <p:sp>
            <p:nvSpPr>
              <p:cNvPr id="16" name="Rectangle 5"/>
              <p:cNvSpPr>
                <a:spLocks noChangeArrowheads="1"/>
              </p:cNvSpPr>
              <p:nvPr/>
            </p:nvSpPr>
            <p:spPr bwMode="gray">
              <a:xfrm>
                <a:off x="323850" y="3785288"/>
                <a:ext cx="2124273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customer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g</a:t>
                </a: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roup 1</a:t>
                </a:r>
                <a:endParaRPr lang="en-US" sz="14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" name="Rectangle 5"/>
              <p:cNvSpPr>
                <a:spLocks noChangeArrowheads="1"/>
              </p:cNvSpPr>
              <p:nvPr/>
            </p:nvSpPr>
            <p:spPr bwMode="gray">
              <a:xfrm>
                <a:off x="2448123" y="3785288"/>
                <a:ext cx="2124273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2</a:t>
                </a:r>
              </a:p>
            </p:txBody>
          </p:sp>
          <p:sp>
            <p:nvSpPr>
              <p:cNvPr id="20" name="Rectangle 5"/>
              <p:cNvSpPr>
                <a:spLocks noChangeArrowheads="1"/>
              </p:cNvSpPr>
              <p:nvPr/>
            </p:nvSpPr>
            <p:spPr bwMode="gray">
              <a:xfrm>
                <a:off x="4572396" y="3785288"/>
                <a:ext cx="2124273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3</a:t>
                </a:r>
              </a:p>
            </p:txBody>
          </p:sp>
          <p:sp>
            <p:nvSpPr>
              <p:cNvPr id="21" name="Rectangle 5"/>
              <p:cNvSpPr>
                <a:spLocks noChangeArrowheads="1"/>
              </p:cNvSpPr>
              <p:nvPr/>
            </p:nvSpPr>
            <p:spPr bwMode="gray">
              <a:xfrm>
                <a:off x="6696669" y="3785288"/>
                <a:ext cx="2124273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4</a:t>
                </a:r>
              </a:p>
            </p:txBody>
          </p:sp>
        </p:grpSp>
        <p:grpSp>
          <p:nvGrpSpPr>
            <p:cNvPr id="6" name="Gruppieren 23"/>
            <p:cNvGrpSpPr/>
            <p:nvPr/>
          </p:nvGrpSpPr>
          <p:grpSpPr bwMode="gray">
            <a:xfrm>
              <a:off x="323850" y="5081950"/>
              <a:ext cx="8497092" cy="720000"/>
              <a:chOff x="323850" y="4165350"/>
              <a:chExt cx="8382000" cy="720000"/>
            </a:xfrm>
          </p:grpSpPr>
          <p:sp>
            <p:nvSpPr>
              <p:cNvPr id="25" name="Rectangle 5"/>
              <p:cNvSpPr>
                <a:spLocks noChangeArrowheads="1"/>
              </p:cNvSpPr>
              <p:nvPr/>
            </p:nvSpPr>
            <p:spPr bwMode="gray">
              <a:xfrm>
                <a:off x="323850" y="4165350"/>
                <a:ext cx="2095500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Prod. development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2</a:t>
                </a:r>
              </a:p>
            </p:txBody>
          </p:sp>
          <p:sp>
            <p:nvSpPr>
              <p:cNvPr id="26" name="Rectangle 5"/>
              <p:cNvSpPr>
                <a:spLocks noChangeArrowheads="1"/>
              </p:cNvSpPr>
              <p:nvPr/>
            </p:nvSpPr>
            <p:spPr bwMode="gray">
              <a:xfrm>
                <a:off x="2419350" y="4165350"/>
                <a:ext cx="2095500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Advertisement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 customer group 2</a:t>
                </a:r>
              </a:p>
            </p:txBody>
          </p:sp>
          <p:sp>
            <p:nvSpPr>
              <p:cNvPr id="27" name="Rectangle 5"/>
              <p:cNvSpPr>
                <a:spLocks noChangeArrowheads="1"/>
              </p:cNvSpPr>
              <p:nvPr/>
            </p:nvSpPr>
            <p:spPr bwMode="gray">
              <a:xfrm>
                <a:off x="4514850" y="4165350"/>
                <a:ext cx="2095500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Distribution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 </a:t>
                </a: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2</a:t>
                </a: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6610350" y="4165350"/>
                <a:ext cx="2095500" cy="72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Market research</a:t>
                </a:r>
                <a:b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b="1" noProof="1">
                    <a:solidFill>
                      <a:srgbClr val="000000"/>
                    </a:solidFill>
                    <a:cs typeface="Arial" charset="0"/>
                  </a:rPr>
                  <a:t>customer group 2</a:t>
                </a:r>
              </a:p>
            </p:txBody>
          </p:sp>
        </p:grpSp>
        <p:cxnSp>
          <p:nvCxnSpPr>
            <p:cNvPr id="29" name="Gerade Verbindung 28"/>
            <p:cNvCxnSpPr/>
            <p:nvPr/>
          </p:nvCxnSpPr>
          <p:spPr bwMode="gray">
            <a:xfrm rot="5400000" flipH="1" flipV="1">
              <a:off x="4285056" y="2200295"/>
              <a:ext cx="576662" cy="0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9050">
              <a:solidFill>
                <a:srgbClr val="969696"/>
              </a:solidFill>
              <a:miter lim="800000"/>
              <a:headEnd/>
              <a:tailEnd/>
            </a:ln>
            <a:effectLst/>
          </p:spPr>
        </p:cxnSp>
        <p:grpSp>
          <p:nvGrpSpPr>
            <p:cNvPr id="7" name="Gruppieren 39"/>
            <p:cNvGrpSpPr/>
            <p:nvPr/>
          </p:nvGrpSpPr>
          <p:grpSpPr bwMode="gray">
            <a:xfrm>
              <a:off x="1385987" y="3208626"/>
              <a:ext cx="6372819" cy="576661"/>
              <a:chOff x="1385987" y="3244161"/>
              <a:chExt cx="6372819" cy="541126"/>
            </a:xfrm>
          </p:grpSpPr>
          <p:cxnSp>
            <p:nvCxnSpPr>
              <p:cNvPr id="31" name="Gerade Verbindung 30"/>
              <p:cNvCxnSpPr/>
              <p:nvPr/>
            </p:nvCxnSpPr>
            <p:spPr bwMode="gray">
              <a:xfrm rot="5400000" flipH="1" flipV="1">
                <a:off x="3374978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2" name="Gerade Verbindung 31"/>
              <p:cNvCxnSpPr/>
              <p:nvPr/>
            </p:nvCxnSpPr>
            <p:spPr bwMode="gray">
              <a:xfrm rot="5400000" flipH="1" flipV="1">
                <a:off x="5499251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3" name="Gerade Verbindung 32"/>
              <p:cNvCxnSpPr/>
              <p:nvPr/>
            </p:nvCxnSpPr>
            <p:spPr bwMode="gray">
              <a:xfrm rot="5400000" flipH="1" flipV="1">
                <a:off x="1250705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4" name="Gerade Verbindung 33"/>
              <p:cNvCxnSpPr/>
              <p:nvPr/>
            </p:nvCxnSpPr>
            <p:spPr bwMode="gray">
              <a:xfrm rot="5400000" flipH="1" flipV="1">
                <a:off x="7623524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6" name="Gerade Verbindung 35"/>
              <p:cNvCxnSpPr/>
              <p:nvPr/>
            </p:nvCxnSpPr>
            <p:spPr bwMode="gray">
              <a:xfrm rot="5400000" flipH="1" flipV="1">
                <a:off x="4438106" y="3379443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37" name="Gerade Verbindung 36"/>
              <p:cNvCxnSpPr/>
              <p:nvPr/>
            </p:nvCxnSpPr>
            <p:spPr bwMode="gray">
              <a:xfrm rot="10800000" flipV="1">
                <a:off x="1385989" y="3514723"/>
                <a:ext cx="6372816" cy="1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</p:grpSp>
        <p:grpSp>
          <p:nvGrpSpPr>
            <p:cNvPr id="8" name="Gruppieren 41"/>
            <p:cNvGrpSpPr/>
            <p:nvPr/>
          </p:nvGrpSpPr>
          <p:grpSpPr bwMode="gray">
            <a:xfrm>
              <a:off x="1385987" y="4505288"/>
              <a:ext cx="6372819" cy="576662"/>
              <a:chOff x="1385987" y="3244161"/>
              <a:chExt cx="6372819" cy="541126"/>
            </a:xfrm>
          </p:grpSpPr>
          <p:cxnSp>
            <p:nvCxnSpPr>
              <p:cNvPr id="43" name="Gerade Verbindung 42"/>
              <p:cNvCxnSpPr/>
              <p:nvPr/>
            </p:nvCxnSpPr>
            <p:spPr bwMode="gray">
              <a:xfrm rot="5400000" flipH="1" flipV="1">
                <a:off x="3374978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4" name="Gerade Verbindung 43"/>
              <p:cNvCxnSpPr/>
              <p:nvPr/>
            </p:nvCxnSpPr>
            <p:spPr bwMode="gray">
              <a:xfrm rot="5400000" flipH="1" flipV="1">
                <a:off x="5499251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5" name="Gerade Verbindung 44"/>
              <p:cNvCxnSpPr/>
              <p:nvPr/>
            </p:nvCxnSpPr>
            <p:spPr bwMode="gray">
              <a:xfrm rot="5400000" flipH="1" flipV="1">
                <a:off x="1250705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6" name="Gerade Verbindung 45"/>
              <p:cNvCxnSpPr/>
              <p:nvPr/>
            </p:nvCxnSpPr>
            <p:spPr bwMode="gray">
              <a:xfrm rot="5400000" flipH="1" flipV="1">
                <a:off x="7623524" y="3650006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7" name="Gerade Verbindung 46"/>
              <p:cNvCxnSpPr/>
              <p:nvPr/>
            </p:nvCxnSpPr>
            <p:spPr bwMode="gray">
              <a:xfrm rot="5400000" flipH="1" flipV="1">
                <a:off x="3374978" y="3379443"/>
                <a:ext cx="27056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  <p:cxnSp>
            <p:nvCxnSpPr>
              <p:cNvPr id="48" name="Gerade Verbindung 47"/>
              <p:cNvCxnSpPr/>
              <p:nvPr/>
            </p:nvCxnSpPr>
            <p:spPr bwMode="gray">
              <a:xfrm rot="10800000" flipV="1">
                <a:off x="1385989" y="3514723"/>
                <a:ext cx="6372816" cy="1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969696"/>
                </a:solidFill>
                <a:miter lim="800000"/>
                <a:headEnd/>
                <a:tailEnd/>
              </a:ln>
              <a:effectLst/>
            </p:spPr>
          </p:cxn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trix Organization in Marketing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55" name="Gruppieren 54"/>
          <p:cNvGrpSpPr/>
          <p:nvPr/>
        </p:nvGrpSpPr>
        <p:grpSpPr>
          <a:xfrm>
            <a:off x="323850" y="1555749"/>
            <a:ext cx="8497092" cy="4246565"/>
            <a:chOff x="323850" y="1555749"/>
            <a:chExt cx="8497092" cy="4246565"/>
          </a:xfrm>
        </p:grpSpPr>
        <p:grpSp>
          <p:nvGrpSpPr>
            <p:cNvPr id="21" name="Gruppieren 20"/>
            <p:cNvGrpSpPr/>
            <p:nvPr/>
          </p:nvGrpSpPr>
          <p:grpSpPr bwMode="gray">
            <a:xfrm>
              <a:off x="325830" y="1555749"/>
              <a:ext cx="5767239" cy="720726"/>
              <a:chOff x="325830" y="1555749"/>
              <a:chExt cx="8495112" cy="720726"/>
            </a:xfrm>
          </p:grpSpPr>
          <p:sp>
            <p:nvSpPr>
              <p:cNvPr id="15" name="Rectangle 5"/>
              <p:cNvSpPr>
                <a:spLocks noChangeArrowheads="1"/>
              </p:cNvSpPr>
              <p:nvPr/>
            </p:nvSpPr>
            <p:spPr bwMode="gray">
              <a:xfrm>
                <a:off x="325831" y="1555749"/>
                <a:ext cx="8495111" cy="360363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b="1" noProof="1" smtClean="0">
                    <a:cs typeface="Arial" charset="0"/>
                  </a:rPr>
                  <a:t>Management</a:t>
                </a:r>
              </a:p>
            </p:txBody>
          </p:sp>
          <p:grpSp>
            <p:nvGrpSpPr>
              <p:cNvPr id="16" name="Gruppieren 15"/>
              <p:cNvGrpSpPr/>
              <p:nvPr/>
            </p:nvGrpSpPr>
            <p:grpSpPr bwMode="gray">
              <a:xfrm>
                <a:off x="325830" y="1916112"/>
                <a:ext cx="8495111" cy="360363"/>
                <a:chOff x="325830" y="1916112"/>
                <a:chExt cx="8495111" cy="360363"/>
              </a:xfrm>
            </p:grpSpPr>
            <p:sp>
              <p:nvSpPr>
                <p:cNvPr id="17" name="Rectangle 5"/>
                <p:cNvSpPr>
                  <a:spLocks noChangeArrowheads="1"/>
                </p:cNvSpPr>
                <p:nvPr/>
              </p:nvSpPr>
              <p:spPr bwMode="gray">
                <a:xfrm>
                  <a:off x="325830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Procurement</a:t>
                  </a:r>
                  <a:endParaRPr lang="en-US" sz="16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8" name="Rectangle 5"/>
                <p:cNvSpPr>
                  <a:spLocks noChangeArrowheads="1"/>
                </p:cNvSpPr>
                <p:nvPr/>
              </p:nvSpPr>
              <p:spPr bwMode="gray">
                <a:xfrm>
                  <a:off x="2449608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Production</a:t>
                  </a:r>
                  <a:endParaRPr lang="en-US" sz="16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9" name="Rectangle 5"/>
                <p:cNvSpPr>
                  <a:spLocks noChangeArrowheads="1"/>
                </p:cNvSpPr>
                <p:nvPr/>
              </p:nvSpPr>
              <p:spPr bwMode="gray">
                <a:xfrm>
                  <a:off x="4573386" y="1916112"/>
                  <a:ext cx="2123778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  <a:defRPr/>
                  </a:pPr>
                  <a:r>
                    <a:rPr lang="en-US" sz="1600" b="1" noProof="1" smtClean="0">
                      <a:solidFill>
                        <a:srgbClr val="FFFFFF"/>
                      </a:solidFill>
                      <a:cs typeface="Arial" charset="0"/>
                    </a:rPr>
                    <a:t>Marketing</a:t>
                  </a:r>
                  <a:endParaRPr lang="en-US" sz="16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20" name="Rectangle 5"/>
                <p:cNvSpPr>
                  <a:spLocks noChangeArrowheads="1"/>
                </p:cNvSpPr>
                <p:nvPr/>
              </p:nvSpPr>
              <p:spPr bwMode="gray">
                <a:xfrm>
                  <a:off x="6697163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b="1" noProof="1" smtClean="0">
                      <a:solidFill>
                        <a:srgbClr val="000000"/>
                      </a:solidFill>
                      <a:cs typeface="Arial" charset="0"/>
                    </a:rPr>
                    <a:t>Finance</a:t>
                  </a:r>
                  <a:endParaRPr lang="en-US" sz="16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29" name="Gruppieren 28"/>
            <p:cNvGrpSpPr/>
            <p:nvPr/>
          </p:nvGrpSpPr>
          <p:grpSpPr bwMode="gray">
            <a:xfrm>
              <a:off x="3706017" y="2488042"/>
              <a:ext cx="5114925" cy="720726"/>
              <a:chOff x="964005" y="5840842"/>
              <a:chExt cx="6494070" cy="720726"/>
            </a:xfrm>
          </p:grpSpPr>
          <p:sp>
            <p:nvSpPr>
              <p:cNvPr id="23" name="Rectangle 5"/>
              <p:cNvSpPr>
                <a:spLocks noChangeArrowheads="1"/>
              </p:cNvSpPr>
              <p:nvPr/>
            </p:nvSpPr>
            <p:spPr bwMode="gray">
              <a:xfrm>
                <a:off x="964006" y="5840842"/>
                <a:ext cx="6494069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Marketing columns</a:t>
                </a: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24" name="Gruppieren 23"/>
              <p:cNvGrpSpPr/>
              <p:nvPr/>
            </p:nvGrpSpPr>
            <p:grpSpPr bwMode="gray">
              <a:xfrm>
                <a:off x="964005" y="6201205"/>
                <a:ext cx="6494070" cy="360363"/>
                <a:chOff x="325830" y="1916112"/>
                <a:chExt cx="6371334" cy="360363"/>
              </a:xfrm>
            </p:grpSpPr>
            <p:sp>
              <p:nvSpPr>
                <p:cNvPr id="25" name="Rectangle 5"/>
                <p:cNvSpPr>
                  <a:spLocks noChangeArrowheads="1"/>
                </p:cNvSpPr>
                <p:nvPr/>
              </p:nvSpPr>
              <p:spPr bwMode="gray">
                <a:xfrm>
                  <a:off x="325830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400" b="1" noProof="1" smtClean="0">
                      <a:solidFill>
                        <a:srgbClr val="000000"/>
                      </a:solidFill>
                      <a:cs typeface="Arial" charset="0"/>
                    </a:rPr>
                    <a:t>Public relations</a:t>
                  </a: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6" name="Rectangle 5"/>
                <p:cNvSpPr>
                  <a:spLocks noChangeArrowheads="1"/>
                </p:cNvSpPr>
                <p:nvPr/>
              </p:nvSpPr>
              <p:spPr bwMode="gray">
                <a:xfrm>
                  <a:off x="2449608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400" b="1" noProof="1" smtClean="0">
                      <a:solidFill>
                        <a:srgbClr val="000000"/>
                      </a:solidFill>
                      <a:cs typeface="Arial" charset="0"/>
                    </a:rPr>
                    <a:t>Marketing planning</a:t>
                  </a: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7" name="Rectangle 5"/>
                <p:cNvSpPr>
                  <a:spLocks noChangeArrowheads="1"/>
                </p:cNvSpPr>
                <p:nvPr/>
              </p:nvSpPr>
              <p:spPr bwMode="gray">
                <a:xfrm>
                  <a:off x="4573386" y="1916112"/>
                  <a:ext cx="2123778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400" b="1" noProof="1" smtClean="0">
                      <a:solidFill>
                        <a:srgbClr val="000000"/>
                      </a:solidFill>
                      <a:cs typeface="Arial" charset="0"/>
                    </a:rPr>
                    <a:t>Market research</a:t>
                  </a: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54" name="Gruppieren 53"/>
            <p:cNvGrpSpPr/>
            <p:nvPr/>
          </p:nvGrpSpPr>
          <p:grpSpPr bwMode="gray">
            <a:xfrm>
              <a:off x="323850" y="3436620"/>
              <a:ext cx="8496300" cy="2365694"/>
              <a:chOff x="628650" y="5441950"/>
              <a:chExt cx="8191500" cy="1441452"/>
            </a:xfrm>
          </p:grpSpPr>
          <p:grpSp>
            <p:nvGrpSpPr>
              <p:cNvPr id="35" name="Gruppieren 34"/>
              <p:cNvGrpSpPr/>
              <p:nvPr/>
            </p:nvGrpSpPr>
            <p:grpSpPr bwMode="gray">
              <a:xfrm>
                <a:off x="2268782" y="5441950"/>
                <a:ext cx="6551367" cy="360363"/>
                <a:chOff x="2333625" y="5802314"/>
                <a:chExt cx="6810375" cy="360363"/>
              </a:xfrm>
            </p:grpSpPr>
            <p:sp>
              <p:nvSpPr>
                <p:cNvPr id="31" name="Rectangle 5"/>
                <p:cNvSpPr>
                  <a:spLocks noChangeArrowheads="1"/>
                </p:cNvSpPr>
                <p:nvPr/>
              </p:nvSpPr>
              <p:spPr bwMode="gray">
                <a:xfrm>
                  <a:off x="2333625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Advertisement </a:t>
                  </a:r>
                </a:p>
              </p:txBody>
            </p:sp>
            <p:sp>
              <p:nvSpPr>
                <p:cNvPr id="32" name="Rectangle 5"/>
                <p:cNvSpPr>
                  <a:spLocks noChangeArrowheads="1"/>
                </p:cNvSpPr>
                <p:nvPr/>
              </p:nvSpPr>
              <p:spPr bwMode="gray">
                <a:xfrm>
                  <a:off x="4038600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Sales</a:t>
                  </a:r>
                </a:p>
              </p:txBody>
            </p:sp>
            <p:sp>
              <p:nvSpPr>
                <p:cNvPr id="33" name="Rectangle 5"/>
                <p:cNvSpPr>
                  <a:spLocks noChangeArrowheads="1"/>
                </p:cNvSpPr>
                <p:nvPr/>
              </p:nvSpPr>
              <p:spPr bwMode="gray">
                <a:xfrm>
                  <a:off x="5743575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Physical</a:t>
                  </a:r>
                  <a:b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</a:b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distribution</a:t>
                  </a:r>
                </a:p>
              </p:txBody>
            </p:sp>
            <p:sp>
              <p:nvSpPr>
                <p:cNvPr id="34" name="Rectangle 5"/>
                <p:cNvSpPr>
                  <a:spLocks noChangeArrowheads="1"/>
                </p:cNvSpPr>
                <p:nvPr/>
              </p:nvSpPr>
              <p:spPr bwMode="gray">
                <a:xfrm>
                  <a:off x="7439025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Sales promotion</a:t>
                  </a:r>
                </a:p>
              </p:txBody>
            </p:sp>
          </p:grpSp>
          <p:grpSp>
            <p:nvGrpSpPr>
              <p:cNvPr id="36" name="Gruppieren 35"/>
              <p:cNvGrpSpPr/>
              <p:nvPr/>
            </p:nvGrpSpPr>
            <p:grpSpPr bwMode="gray">
              <a:xfrm>
                <a:off x="628650" y="5802313"/>
                <a:ext cx="8191500" cy="360363"/>
                <a:chOff x="628650" y="5802314"/>
                <a:chExt cx="8515350" cy="360363"/>
              </a:xfrm>
            </p:grpSpPr>
            <p:sp>
              <p:nvSpPr>
                <p:cNvPr id="37" name="Rectangle 5"/>
                <p:cNvSpPr>
                  <a:spLocks noChangeArrowheads="1"/>
                </p:cNvSpPr>
                <p:nvPr/>
              </p:nvSpPr>
              <p:spPr bwMode="gray">
                <a:xfrm>
                  <a:off x="628650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Product A</a:t>
                  </a:r>
                  <a:endParaRPr lang="en-US" sz="1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38" name="Rectangle 5"/>
                <p:cNvSpPr>
                  <a:spLocks noChangeArrowheads="1"/>
                </p:cNvSpPr>
                <p:nvPr/>
              </p:nvSpPr>
              <p:spPr bwMode="gray">
                <a:xfrm>
                  <a:off x="23336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9" name="Rectangle 5"/>
                <p:cNvSpPr>
                  <a:spLocks noChangeArrowheads="1"/>
                </p:cNvSpPr>
                <p:nvPr/>
              </p:nvSpPr>
              <p:spPr bwMode="gray">
                <a:xfrm>
                  <a:off x="4038600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tangle 5"/>
                <p:cNvSpPr>
                  <a:spLocks noChangeArrowheads="1"/>
                </p:cNvSpPr>
                <p:nvPr/>
              </p:nvSpPr>
              <p:spPr bwMode="gray">
                <a:xfrm>
                  <a:off x="574357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1" name="Rectangle 5"/>
                <p:cNvSpPr>
                  <a:spLocks noChangeArrowheads="1"/>
                </p:cNvSpPr>
                <p:nvPr/>
              </p:nvSpPr>
              <p:spPr bwMode="gray">
                <a:xfrm>
                  <a:off x="74390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42" name="Gruppieren 41"/>
              <p:cNvGrpSpPr/>
              <p:nvPr/>
            </p:nvGrpSpPr>
            <p:grpSpPr bwMode="gray">
              <a:xfrm>
                <a:off x="628650" y="6162676"/>
                <a:ext cx="8191500" cy="360363"/>
                <a:chOff x="628650" y="5802314"/>
                <a:chExt cx="8515350" cy="360363"/>
              </a:xfrm>
            </p:grpSpPr>
            <p:sp>
              <p:nvSpPr>
                <p:cNvPr id="43" name="Rectangle 5"/>
                <p:cNvSpPr>
                  <a:spLocks noChangeArrowheads="1"/>
                </p:cNvSpPr>
                <p:nvPr/>
              </p:nvSpPr>
              <p:spPr bwMode="gray">
                <a:xfrm>
                  <a:off x="628650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Product B</a:t>
                  </a:r>
                  <a:endParaRPr lang="en-US" sz="1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44" name="Rectangle 5"/>
                <p:cNvSpPr>
                  <a:spLocks noChangeArrowheads="1"/>
                </p:cNvSpPr>
                <p:nvPr/>
              </p:nvSpPr>
              <p:spPr bwMode="gray">
                <a:xfrm>
                  <a:off x="23336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5" name="Rectangle 5"/>
                <p:cNvSpPr>
                  <a:spLocks noChangeArrowheads="1"/>
                </p:cNvSpPr>
                <p:nvPr/>
              </p:nvSpPr>
              <p:spPr bwMode="gray">
                <a:xfrm>
                  <a:off x="4038600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6" name="Rectangle 5"/>
                <p:cNvSpPr>
                  <a:spLocks noChangeArrowheads="1"/>
                </p:cNvSpPr>
                <p:nvPr/>
              </p:nvSpPr>
              <p:spPr bwMode="gray">
                <a:xfrm>
                  <a:off x="574357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7" name="Rectangle 5"/>
                <p:cNvSpPr>
                  <a:spLocks noChangeArrowheads="1"/>
                </p:cNvSpPr>
                <p:nvPr/>
              </p:nvSpPr>
              <p:spPr bwMode="gray">
                <a:xfrm>
                  <a:off x="74390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48" name="Gruppieren 47"/>
              <p:cNvGrpSpPr/>
              <p:nvPr/>
            </p:nvGrpSpPr>
            <p:grpSpPr bwMode="gray">
              <a:xfrm>
                <a:off x="628650" y="6523039"/>
                <a:ext cx="8191500" cy="360363"/>
                <a:chOff x="628650" y="5802314"/>
                <a:chExt cx="8515350" cy="360363"/>
              </a:xfrm>
            </p:grpSpPr>
            <p:sp>
              <p:nvSpPr>
                <p:cNvPr id="49" name="Rectangle 5"/>
                <p:cNvSpPr>
                  <a:spLocks noChangeArrowheads="1"/>
                </p:cNvSpPr>
                <p:nvPr/>
              </p:nvSpPr>
              <p:spPr bwMode="gray">
                <a:xfrm>
                  <a:off x="628650" y="5802314"/>
                  <a:ext cx="1704975" cy="360363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0"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72000" tIns="0" rIns="72000" bIns="0" anchor="ctr"/>
                <a:lstStyle/>
                <a:p>
                  <a:pPr algn="ctr" defTabSz="801688" eaLnBrk="0" hangingPunct="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tabLst>
                      <a:tab pos="656650" algn="l"/>
                      <a:tab pos="1313299" algn="l"/>
                    </a:tabLst>
                  </a:pPr>
                  <a:r>
                    <a:rPr lang="en-US" sz="1400" b="1" noProof="1" smtClean="0">
                      <a:solidFill>
                        <a:srgbClr val="FFFFFF"/>
                      </a:solidFill>
                      <a:cs typeface="Arial" charset="0"/>
                    </a:rPr>
                    <a:t>Product C</a:t>
                  </a:r>
                  <a:endParaRPr lang="en-US" sz="1400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50" name="Rectangle 5"/>
                <p:cNvSpPr>
                  <a:spLocks noChangeArrowheads="1"/>
                </p:cNvSpPr>
                <p:nvPr/>
              </p:nvSpPr>
              <p:spPr bwMode="gray">
                <a:xfrm>
                  <a:off x="23336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51" name="Rectangle 5"/>
                <p:cNvSpPr>
                  <a:spLocks noChangeArrowheads="1"/>
                </p:cNvSpPr>
                <p:nvPr/>
              </p:nvSpPr>
              <p:spPr bwMode="gray">
                <a:xfrm>
                  <a:off x="4038600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52" name="Rectangle 5"/>
                <p:cNvSpPr>
                  <a:spLocks noChangeArrowheads="1"/>
                </p:cNvSpPr>
                <p:nvPr/>
              </p:nvSpPr>
              <p:spPr bwMode="gray">
                <a:xfrm>
                  <a:off x="574357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53" name="Rectangle 5"/>
                <p:cNvSpPr>
                  <a:spLocks noChangeArrowheads="1"/>
                </p:cNvSpPr>
                <p:nvPr/>
              </p:nvSpPr>
              <p:spPr bwMode="gray">
                <a:xfrm>
                  <a:off x="7439025" y="5802314"/>
                  <a:ext cx="1704975" cy="360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400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cxnSp>
          <p:nvCxnSpPr>
            <p:cNvPr id="57" name="Gerade Verbindung 56"/>
            <p:cNvCxnSpPr/>
            <p:nvPr/>
          </p:nvCxnSpPr>
          <p:spPr bwMode="gray">
            <a:xfrm rot="5400000" flipH="1" flipV="1">
              <a:off x="2884097" y="2856548"/>
              <a:ext cx="1160145" cy="0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9050">
              <a:solidFill>
                <a:srgbClr val="AFAFAF"/>
              </a:solidFill>
              <a:miter lim="800000"/>
              <a:headEnd/>
              <a:tailEnd/>
            </a:ln>
            <a:effectLst/>
          </p:spPr>
        </p:cxnSp>
        <p:cxnSp>
          <p:nvCxnSpPr>
            <p:cNvPr id="59" name="Gerade Verbindung 58"/>
            <p:cNvCxnSpPr/>
            <p:nvPr/>
          </p:nvCxnSpPr>
          <p:spPr bwMode="gray">
            <a:xfrm>
              <a:off x="3464170" y="2848405"/>
              <a:ext cx="241847" cy="0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9050">
              <a:solidFill>
                <a:srgbClr val="AFAFAF"/>
              </a:solidFill>
              <a:miter lim="800000"/>
              <a:headEnd/>
              <a:tailEnd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830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pieren 27"/>
          <p:cNvGrpSpPr/>
          <p:nvPr/>
        </p:nvGrpSpPr>
        <p:grpSpPr bwMode="gray">
          <a:xfrm>
            <a:off x="127000" y="1555751"/>
            <a:ext cx="8693942" cy="4248545"/>
            <a:chOff x="127000" y="1555751"/>
            <a:chExt cx="8693942" cy="4248545"/>
          </a:xfrm>
        </p:grpSpPr>
        <p:grpSp>
          <p:nvGrpSpPr>
            <p:cNvPr id="34" name="Gruppieren 33"/>
            <p:cNvGrpSpPr/>
            <p:nvPr/>
          </p:nvGrpSpPr>
          <p:grpSpPr bwMode="gray">
            <a:xfrm>
              <a:off x="2300485" y="1555751"/>
              <a:ext cx="6520455" cy="1062137"/>
              <a:chOff x="2448123" y="1555751"/>
              <a:chExt cx="6372818" cy="1062137"/>
            </a:xfrm>
          </p:grpSpPr>
          <p:sp>
            <p:nvSpPr>
              <p:cNvPr id="35" name="Rectangle 5"/>
              <p:cNvSpPr>
                <a:spLocks noChangeArrowheads="1"/>
              </p:cNvSpPr>
              <p:nvPr/>
            </p:nvSpPr>
            <p:spPr bwMode="gray">
              <a:xfrm>
                <a:off x="2448123" y="1555751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Sales</a:t>
                </a:r>
                <a:br>
                  <a:rPr lang="en-US" sz="1600" b="1" noProof="1" smtClean="0">
                    <a:cs typeface="Arial" charset="0"/>
                  </a:rPr>
                </a:br>
                <a:r>
                  <a:rPr lang="en-US" sz="1600" b="1" noProof="1" smtClean="0">
                    <a:cs typeface="Arial" charset="0"/>
                  </a:rPr>
                  <a:t>Manager</a:t>
                </a:r>
              </a:p>
            </p:txBody>
          </p:sp>
          <p:sp>
            <p:nvSpPr>
              <p:cNvPr id="36" name="Rectangle 5"/>
              <p:cNvSpPr>
                <a:spLocks noChangeArrowheads="1"/>
              </p:cNvSpPr>
              <p:nvPr/>
            </p:nvSpPr>
            <p:spPr bwMode="gray">
              <a:xfrm>
                <a:off x="4572396" y="1555751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Market Research</a:t>
                </a:r>
                <a:br>
                  <a:rPr lang="en-US" sz="1600" b="1" noProof="1" smtClean="0">
                    <a:cs typeface="Arial" charset="0"/>
                  </a:rPr>
                </a:br>
                <a:r>
                  <a:rPr lang="en-US" sz="1600" b="1" noProof="1" smtClean="0">
                    <a:cs typeface="Arial" charset="0"/>
                  </a:rPr>
                  <a:t>Manager</a:t>
                </a:r>
                <a:endParaRPr lang="en-US" sz="1600" b="1" noProof="1">
                  <a:cs typeface="Arial" charset="0"/>
                </a:endParaRPr>
              </a:p>
            </p:txBody>
          </p:sp>
          <p:sp>
            <p:nvSpPr>
              <p:cNvPr id="37" name="Rectangle 5"/>
              <p:cNvSpPr>
                <a:spLocks noChangeArrowheads="1"/>
              </p:cNvSpPr>
              <p:nvPr/>
            </p:nvSpPr>
            <p:spPr bwMode="gray">
              <a:xfrm>
                <a:off x="6696668" y="1555751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Advertising and Promotions Manager</a:t>
                </a:r>
                <a:endParaRPr lang="en-US" sz="1600" b="1" noProof="1">
                  <a:cs typeface="Arial" charset="0"/>
                </a:endParaRPr>
              </a:p>
            </p:txBody>
          </p:sp>
        </p:grpSp>
        <p:grpSp>
          <p:nvGrpSpPr>
            <p:cNvPr id="33" name="Gruppieren 32"/>
            <p:cNvGrpSpPr/>
            <p:nvPr/>
          </p:nvGrpSpPr>
          <p:grpSpPr bwMode="gray">
            <a:xfrm>
              <a:off x="127000" y="2617888"/>
              <a:ext cx="2173486" cy="3186408"/>
              <a:chOff x="323850" y="2617888"/>
              <a:chExt cx="2124273" cy="3186408"/>
            </a:xfrm>
          </p:grpSpPr>
          <p:sp>
            <p:nvSpPr>
              <p:cNvPr id="29" name="Rectangle 5"/>
              <p:cNvSpPr>
                <a:spLocks noChangeArrowheads="1"/>
              </p:cNvSpPr>
              <p:nvPr/>
            </p:nvSpPr>
            <p:spPr bwMode="gray">
              <a:xfrm>
                <a:off x="323850" y="2617888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Product Manager Product 1</a:t>
                </a:r>
                <a:endParaRPr lang="en-US" sz="1600" b="1" noProof="1">
                  <a:cs typeface="Arial" charset="0"/>
                </a:endParaRPr>
              </a:p>
            </p:txBody>
          </p:sp>
          <p:sp>
            <p:nvSpPr>
              <p:cNvPr id="24" name="Rectangle 5"/>
              <p:cNvSpPr>
                <a:spLocks noChangeArrowheads="1"/>
              </p:cNvSpPr>
              <p:nvPr/>
            </p:nvSpPr>
            <p:spPr bwMode="gray">
              <a:xfrm>
                <a:off x="323850" y="3680023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Product Manager Product 2</a:t>
                </a:r>
                <a:endParaRPr lang="en-US" sz="1600" b="1" noProof="1">
                  <a:cs typeface="Arial" charset="0"/>
                </a:endParaRPr>
              </a:p>
            </p:txBody>
          </p:sp>
          <p:sp>
            <p:nvSpPr>
              <p:cNvPr id="19" name="Rectangle 5"/>
              <p:cNvSpPr>
                <a:spLocks noChangeArrowheads="1"/>
              </p:cNvSpPr>
              <p:nvPr/>
            </p:nvSpPr>
            <p:spPr bwMode="gray">
              <a:xfrm>
                <a:off x="323850" y="4742159"/>
                <a:ext cx="2124273" cy="10621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Product Manager Product 3</a:t>
                </a:r>
                <a:endParaRPr lang="en-US" sz="1600" b="1" noProof="1">
                  <a:cs typeface="Arial" charset="0"/>
                </a:endParaRPr>
              </a:p>
            </p:txBody>
          </p:sp>
        </p:grpSp>
        <p:sp>
          <p:nvSpPr>
            <p:cNvPr id="30" name="Rectangle 5"/>
            <p:cNvSpPr>
              <a:spLocks noChangeArrowheads="1"/>
            </p:cNvSpPr>
            <p:nvPr/>
          </p:nvSpPr>
          <p:spPr bwMode="gray">
            <a:xfrm>
              <a:off x="2300487" y="2617888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31" name="Rectangle 5"/>
            <p:cNvSpPr>
              <a:spLocks noChangeArrowheads="1"/>
            </p:cNvSpPr>
            <p:nvPr/>
          </p:nvSpPr>
          <p:spPr bwMode="gray">
            <a:xfrm>
              <a:off x="4473972" y="2617888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32" name="Rectangle 5"/>
            <p:cNvSpPr>
              <a:spLocks noChangeArrowheads="1"/>
            </p:cNvSpPr>
            <p:nvPr/>
          </p:nvSpPr>
          <p:spPr bwMode="gray">
            <a:xfrm>
              <a:off x="6647457" y="2617888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5" name="Rectangle 5"/>
            <p:cNvSpPr>
              <a:spLocks noChangeArrowheads="1"/>
            </p:cNvSpPr>
            <p:nvPr/>
          </p:nvSpPr>
          <p:spPr bwMode="gray">
            <a:xfrm>
              <a:off x="2300487" y="3680023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gray">
            <a:xfrm>
              <a:off x="4473972" y="3680023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7" name="Rectangle 5"/>
            <p:cNvSpPr>
              <a:spLocks noChangeArrowheads="1"/>
            </p:cNvSpPr>
            <p:nvPr/>
          </p:nvSpPr>
          <p:spPr bwMode="gray">
            <a:xfrm>
              <a:off x="6647457" y="3680023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gray">
            <a:xfrm>
              <a:off x="2300487" y="4742159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1" name="Rectangle 5"/>
            <p:cNvSpPr>
              <a:spLocks noChangeArrowheads="1"/>
            </p:cNvSpPr>
            <p:nvPr/>
          </p:nvSpPr>
          <p:spPr bwMode="gray">
            <a:xfrm>
              <a:off x="4473972" y="4742159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gray">
            <a:xfrm>
              <a:off x="6647457" y="4742159"/>
              <a:ext cx="2173485" cy="106213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72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laceholder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trix Organization in Marketing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35309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Funktional Sales </a:t>
            </a:r>
            <a:r>
              <a:rPr lang="en-US" b="0" noProof="1" smtClean="0"/>
              <a:t>- Marketing-Organization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23" name="Gruppieren 22"/>
          <p:cNvGrpSpPr/>
          <p:nvPr/>
        </p:nvGrpSpPr>
        <p:grpSpPr>
          <a:xfrm>
            <a:off x="333920" y="1555750"/>
            <a:ext cx="8487023" cy="4246563"/>
            <a:chOff x="333920" y="1555750"/>
            <a:chExt cx="8487023" cy="4246563"/>
          </a:xfrm>
        </p:grpSpPr>
        <p:sp>
          <p:nvSpPr>
            <p:cNvPr id="13" name="Textfeld 12"/>
            <p:cNvSpPr txBox="1"/>
            <p:nvPr/>
          </p:nvSpPr>
          <p:spPr bwMode="gray">
            <a:xfrm>
              <a:off x="3780155" y="1555750"/>
              <a:ext cx="1583691" cy="831600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>
              <a:defPPr>
                <a:defRPr lang="de-DE"/>
              </a:defPPr>
              <a:lvl1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 b="1">
                  <a:solidFill>
                    <a:srgbClr val="FFFFFF"/>
                  </a:solidFill>
                  <a:cs typeface="Arial" charset="0"/>
                </a:defRPr>
              </a:lvl1pPr>
            </a:lstStyle>
            <a:p>
              <a:pPr>
                <a:tabLst>
                  <a:tab pos="656650" algn="l"/>
                  <a:tab pos="1313299" algn="l"/>
                </a:tabLst>
                <a:defRPr/>
              </a:pPr>
              <a:r>
                <a:rPr lang="en-US" noProof="1" smtClean="0">
                  <a:solidFill>
                    <a:schemeClr val="tx1"/>
                  </a:solidFill>
                </a:rPr>
                <a:t>Managing Director</a:t>
              </a:r>
            </a:p>
          </p:txBody>
        </p:sp>
        <p:sp>
          <p:nvSpPr>
            <p:cNvPr id="14" name="Textfeld 13"/>
            <p:cNvSpPr txBox="1"/>
            <p:nvPr/>
          </p:nvSpPr>
          <p:spPr bwMode="gray">
            <a:xfrm>
              <a:off x="2048308" y="3174347"/>
              <a:ext cx="1584000" cy="8316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>
              <a:defPPr>
                <a:defRPr lang="de-DE"/>
              </a:defPPr>
              <a:lvl1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 sz="1600" b="1">
                  <a:solidFill>
                    <a:srgbClr val="FFFFFF"/>
                  </a:solidFill>
                  <a:cs typeface="Arial" charset="0"/>
                </a:defRPr>
              </a:lvl1pPr>
            </a:lstStyle>
            <a:p>
              <a:r>
                <a:rPr lang="en-US" noProof="1" smtClean="0"/>
                <a:t>Sales </a:t>
              </a:r>
              <a:br>
                <a:rPr lang="en-US" noProof="1" smtClean="0"/>
              </a:br>
              <a:r>
                <a:rPr lang="en-US" noProof="1" smtClean="0"/>
                <a:t>Director</a:t>
              </a:r>
              <a:endParaRPr lang="en-US" noProof="1"/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5508309" y="3174350"/>
              <a:ext cx="1583690" cy="8316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>
              <a:defPPr>
                <a:defRPr lang="de-DE"/>
              </a:defPPr>
              <a:lvl1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 sz="1600" b="1">
                  <a:solidFill>
                    <a:srgbClr val="FFFFFF"/>
                  </a:solidFill>
                  <a:cs typeface="Arial" charset="0"/>
                </a:defRPr>
              </a:lvl1pPr>
            </a:lstStyle>
            <a:p>
              <a:r>
                <a:rPr lang="en-US" noProof="1" smtClean="0"/>
                <a:t>Marketing </a:t>
              </a:r>
              <a:br>
                <a:rPr lang="en-US" noProof="1" smtClean="0"/>
              </a:br>
              <a:r>
                <a:rPr lang="en-US" noProof="1" smtClean="0"/>
                <a:t>Director</a:t>
              </a:r>
              <a:endParaRPr lang="en-US" noProof="1"/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333920" y="4971316"/>
              <a:ext cx="1573620" cy="83099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Sale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nager 1</a:t>
              </a: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2052002" y="4971316"/>
              <a:ext cx="1583691" cy="83099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Sale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nager 2</a:t>
              </a: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3780156" y="4971316"/>
              <a:ext cx="1583690" cy="8309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rket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Research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nager</a:t>
              </a: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5508310" y="4971316"/>
              <a:ext cx="1583690" cy="8309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dvertising and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romotion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nager</a:t>
              </a:r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7236463" y="4971316"/>
              <a:ext cx="1584480" cy="8309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roduct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Development Manager</a:t>
              </a: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22" name="Gewinkelte Verbindung 21"/>
            <p:cNvCxnSpPr>
              <a:stCxn id="14" idx="0"/>
              <a:endCxn id="13" idx="2"/>
            </p:cNvCxnSpPr>
            <p:nvPr/>
          </p:nvCxnSpPr>
          <p:spPr bwMode="gray">
            <a:xfrm rot="5400000" flipH="1" flipV="1">
              <a:off x="3312656" y="1915003"/>
              <a:ext cx="786997" cy="1731693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15" idx="0"/>
              <a:endCxn id="13" idx="2"/>
            </p:cNvCxnSpPr>
            <p:nvPr/>
          </p:nvCxnSpPr>
          <p:spPr bwMode="gray">
            <a:xfrm rot="16200000" flipV="1">
              <a:off x="5042579" y="1916774"/>
              <a:ext cx="786999" cy="1728153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20" idx="0"/>
              <a:endCxn id="15" idx="2"/>
            </p:cNvCxnSpPr>
            <p:nvPr/>
          </p:nvCxnSpPr>
          <p:spPr bwMode="gray">
            <a:xfrm rot="16200000" flipV="1">
              <a:off x="6681746" y="3624358"/>
              <a:ext cx="965367" cy="1728549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winkelte Verbindung 27"/>
            <p:cNvCxnSpPr>
              <a:stCxn id="18" idx="0"/>
              <a:endCxn id="15" idx="2"/>
            </p:cNvCxnSpPr>
            <p:nvPr/>
          </p:nvCxnSpPr>
          <p:spPr bwMode="gray">
            <a:xfrm rot="5400000" flipH="1" flipV="1">
              <a:off x="4953394" y="3624557"/>
              <a:ext cx="965367" cy="1728153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winkelte Verbindung 31"/>
            <p:cNvCxnSpPr>
              <a:stCxn id="17" idx="0"/>
              <a:endCxn id="14" idx="2"/>
            </p:cNvCxnSpPr>
            <p:nvPr/>
          </p:nvCxnSpPr>
          <p:spPr bwMode="gray">
            <a:xfrm rot="16200000" flipV="1">
              <a:off x="2359394" y="4486862"/>
              <a:ext cx="965369" cy="3540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winkelte Verbindung 33"/>
            <p:cNvCxnSpPr>
              <a:stCxn id="16" idx="0"/>
              <a:endCxn id="14" idx="2"/>
            </p:cNvCxnSpPr>
            <p:nvPr/>
          </p:nvCxnSpPr>
          <p:spPr bwMode="gray">
            <a:xfrm rot="5400000" flipH="1" flipV="1">
              <a:off x="1497835" y="3628843"/>
              <a:ext cx="965369" cy="1719578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>
              <a:stCxn id="19" idx="0"/>
              <a:endCxn id="15" idx="2"/>
            </p:cNvCxnSpPr>
            <p:nvPr/>
          </p:nvCxnSpPr>
          <p:spPr bwMode="gray">
            <a:xfrm rot="16200000" flipV="1">
              <a:off x="5817472" y="4488632"/>
              <a:ext cx="965367" cy="1"/>
            </a:xfrm>
            <a:prstGeom prst="line">
              <a:avLst/>
            </a:prstGeom>
            <a:ln w="1905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2363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Market Segmentation</a:t>
            </a:r>
            <a:endParaRPr lang="en-US" b="0" noProof="1" smtClean="0"/>
          </a:p>
        </p:txBody>
      </p:sp>
      <p:grpSp>
        <p:nvGrpSpPr>
          <p:cNvPr id="2" name="Gruppieren 4"/>
          <p:cNvGrpSpPr/>
          <p:nvPr/>
        </p:nvGrpSpPr>
        <p:grpSpPr>
          <a:xfrm>
            <a:off x="1043941" y="2399491"/>
            <a:ext cx="7056120" cy="2209008"/>
            <a:chOff x="1043941" y="2399491"/>
            <a:chExt cx="7056120" cy="22090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043941" y="2610314"/>
              <a:ext cx="7056120" cy="17543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/>
                <a:t>Division of an overall market according to its </a:t>
              </a:r>
              <a:br>
                <a:rPr lang="en-US" sz="2400" i="1" noProof="1" smtClean="0"/>
              </a:br>
              <a:r>
                <a:rPr lang="en-US" sz="2400" i="1" noProof="1" smtClean="0"/>
                <a:t>market reaction into internally homogeneous and heterogeneous subgroups (market segments) and </a:t>
              </a:r>
              <a:br>
                <a:rPr lang="en-US" sz="2400" i="1" noProof="1" smtClean="0"/>
              </a:br>
              <a:r>
                <a:rPr lang="en-US" sz="2400" i="1" noProof="1" smtClean="0"/>
                <a:t>the processing of one or more of these market </a:t>
              </a:r>
              <a:br>
                <a:rPr lang="en-US" sz="2400" i="1" noProof="1" smtClean="0"/>
              </a:br>
              <a:r>
                <a:rPr lang="en-US" sz="2400" i="1" noProof="1" smtClean="0"/>
                <a:t>segments with a specific marketing mix.</a:t>
              </a:r>
              <a:endParaRPr lang="en-US" sz="2400" i="1" noProof="1" smtClean="0">
                <a:latin typeface="+mj-lt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118840" y="239949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7084031" y="412110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anagement </a:t>
            </a:r>
            <a:r>
              <a:rPr lang="en-US" b="0" noProof="1" smtClean="0"/>
              <a:t>- Task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fferentiation between three important task areas in marketing management</a:t>
            </a:r>
            <a:endParaRPr lang="en-US" noProof="1"/>
          </a:p>
        </p:txBody>
      </p:sp>
      <p:grpSp>
        <p:nvGrpSpPr>
          <p:cNvPr id="26" name="Gruppieren 25"/>
          <p:cNvGrpSpPr/>
          <p:nvPr/>
        </p:nvGrpSpPr>
        <p:grpSpPr>
          <a:xfrm>
            <a:off x="323850" y="1560413"/>
            <a:ext cx="8496300" cy="4241901"/>
            <a:chOff x="323850" y="1560413"/>
            <a:chExt cx="8496300" cy="4241901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903802" y="1560413"/>
              <a:ext cx="3326245" cy="3326244"/>
              <a:chOff x="-1927225" y="1716088"/>
              <a:chExt cx="3230563" cy="3230562"/>
            </a:xfrm>
          </p:grpSpPr>
          <p:sp>
            <p:nvSpPr>
              <p:cNvPr id="1030" name="Freeform 6"/>
              <p:cNvSpPr>
                <a:spLocks/>
              </p:cNvSpPr>
              <p:nvPr/>
            </p:nvSpPr>
            <p:spPr bwMode="auto">
              <a:xfrm>
                <a:off x="-1682750" y="3394075"/>
                <a:ext cx="2741613" cy="1552575"/>
              </a:xfrm>
              <a:custGeom>
                <a:avLst/>
                <a:gdLst/>
                <a:ahLst/>
                <a:cxnLst>
                  <a:cxn ang="0">
                    <a:pos x="419" y="9"/>
                  </a:cxn>
                  <a:cxn ang="0">
                    <a:pos x="403" y="0"/>
                  </a:cxn>
                  <a:cxn ang="0">
                    <a:pos x="387" y="9"/>
                  </a:cxn>
                  <a:cxn ang="0">
                    <a:pos x="0" y="233"/>
                  </a:cxn>
                  <a:cxn ang="0">
                    <a:pos x="387" y="456"/>
                  </a:cxn>
                  <a:cxn ang="0">
                    <a:pos x="403" y="457"/>
                  </a:cxn>
                  <a:cxn ang="0">
                    <a:pos x="419" y="456"/>
                  </a:cxn>
                  <a:cxn ang="0">
                    <a:pos x="807" y="233"/>
                  </a:cxn>
                  <a:cxn ang="0">
                    <a:pos x="419" y="9"/>
                  </a:cxn>
                </a:cxnLst>
                <a:rect l="0" t="0" r="r" b="b"/>
                <a:pathLst>
                  <a:path w="807" h="457">
                    <a:moveTo>
                      <a:pt x="419" y="9"/>
                    </a:moveTo>
                    <a:cubicBezTo>
                      <a:pt x="403" y="0"/>
                      <a:pt x="403" y="0"/>
                      <a:pt x="403" y="0"/>
                    </a:cubicBezTo>
                    <a:cubicBezTo>
                      <a:pt x="387" y="9"/>
                      <a:pt x="387" y="9"/>
                      <a:pt x="387" y="9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81" y="363"/>
                      <a:pt x="224" y="451"/>
                      <a:pt x="387" y="456"/>
                    </a:cubicBezTo>
                    <a:cubicBezTo>
                      <a:pt x="393" y="456"/>
                      <a:pt x="398" y="457"/>
                      <a:pt x="403" y="457"/>
                    </a:cubicBezTo>
                    <a:cubicBezTo>
                      <a:pt x="409" y="457"/>
                      <a:pt x="414" y="456"/>
                      <a:pt x="419" y="456"/>
                    </a:cubicBezTo>
                    <a:cubicBezTo>
                      <a:pt x="583" y="451"/>
                      <a:pt x="726" y="363"/>
                      <a:pt x="807" y="233"/>
                    </a:cubicBezTo>
                    <a:lnTo>
                      <a:pt x="419" y="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E6E6E6"/>
                  </a:gs>
                  <a:gs pos="100000">
                    <a:srgbClr val="D7D7D7"/>
                  </a:gs>
                </a:gsLst>
                <a:lin ang="135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auto">
              <a:xfrm>
                <a:off x="-1927225" y="1716088"/>
                <a:ext cx="1558925" cy="2374900"/>
              </a:xfrm>
              <a:custGeom>
                <a:avLst/>
                <a:gdLst/>
                <a:ahLst/>
                <a:cxnLst>
                  <a:cxn ang="0">
                    <a:pos x="72" y="224"/>
                  </a:cxn>
                  <a:cxn ang="0">
                    <a:pos x="56" y="251"/>
                  </a:cxn>
                  <a:cxn ang="0">
                    <a:pos x="0" y="475"/>
                  </a:cxn>
                  <a:cxn ang="0">
                    <a:pos x="56" y="699"/>
                  </a:cxn>
                  <a:cxn ang="0">
                    <a:pos x="443" y="475"/>
                  </a:cxn>
                  <a:cxn ang="0">
                    <a:pos x="459" y="466"/>
                  </a:cxn>
                  <a:cxn ang="0">
                    <a:pos x="459" y="447"/>
                  </a:cxn>
                  <a:cxn ang="0">
                    <a:pos x="459" y="0"/>
                  </a:cxn>
                  <a:cxn ang="0">
                    <a:pos x="72" y="224"/>
                  </a:cxn>
                </a:cxnLst>
                <a:rect l="0" t="0" r="r" b="b"/>
                <a:pathLst>
                  <a:path w="459" h="699">
                    <a:moveTo>
                      <a:pt x="72" y="224"/>
                    </a:moveTo>
                    <a:cubicBezTo>
                      <a:pt x="66" y="233"/>
                      <a:pt x="61" y="242"/>
                      <a:pt x="56" y="251"/>
                    </a:cubicBezTo>
                    <a:cubicBezTo>
                      <a:pt x="20" y="318"/>
                      <a:pt x="0" y="394"/>
                      <a:pt x="0" y="475"/>
                    </a:cubicBezTo>
                    <a:cubicBezTo>
                      <a:pt x="0" y="556"/>
                      <a:pt x="20" y="632"/>
                      <a:pt x="56" y="699"/>
                    </a:cubicBezTo>
                    <a:cubicBezTo>
                      <a:pt x="443" y="475"/>
                      <a:pt x="443" y="475"/>
                      <a:pt x="443" y="475"/>
                    </a:cubicBezTo>
                    <a:cubicBezTo>
                      <a:pt x="459" y="466"/>
                      <a:pt x="459" y="466"/>
                      <a:pt x="459" y="466"/>
                    </a:cubicBezTo>
                    <a:cubicBezTo>
                      <a:pt x="459" y="447"/>
                      <a:pt x="459" y="447"/>
                      <a:pt x="459" y="447"/>
                    </a:cubicBezTo>
                    <a:cubicBezTo>
                      <a:pt x="459" y="0"/>
                      <a:pt x="459" y="0"/>
                      <a:pt x="459" y="0"/>
                    </a:cubicBezTo>
                    <a:cubicBezTo>
                      <a:pt x="296" y="5"/>
                      <a:pt x="153" y="93"/>
                      <a:pt x="72" y="2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E6E6E6"/>
                  </a:gs>
                  <a:gs pos="100000">
                    <a:srgbClr val="D7D7D7"/>
                  </a:gs>
                </a:gsLst>
                <a:lin ang="135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  <p:sp>
            <p:nvSpPr>
              <p:cNvPr id="1032" name="Freeform 8"/>
              <p:cNvSpPr>
                <a:spLocks/>
              </p:cNvSpPr>
              <p:nvPr/>
            </p:nvSpPr>
            <p:spPr bwMode="auto">
              <a:xfrm>
                <a:off x="-258762" y="1716088"/>
                <a:ext cx="1562100" cy="2374900"/>
              </a:xfrm>
              <a:custGeom>
                <a:avLst/>
                <a:gdLst/>
                <a:ahLst/>
                <a:cxnLst>
                  <a:cxn ang="0">
                    <a:pos x="404" y="251"/>
                  </a:cxn>
                  <a:cxn ang="0">
                    <a:pos x="388" y="224"/>
                  </a:cxn>
                  <a:cxn ang="0">
                    <a:pos x="0" y="0"/>
                  </a:cxn>
                  <a:cxn ang="0">
                    <a:pos x="0" y="447"/>
                  </a:cxn>
                  <a:cxn ang="0">
                    <a:pos x="0" y="466"/>
                  </a:cxn>
                  <a:cxn ang="0">
                    <a:pos x="16" y="475"/>
                  </a:cxn>
                  <a:cxn ang="0">
                    <a:pos x="404" y="699"/>
                  </a:cxn>
                  <a:cxn ang="0">
                    <a:pos x="460" y="475"/>
                  </a:cxn>
                  <a:cxn ang="0">
                    <a:pos x="404" y="251"/>
                  </a:cxn>
                </a:cxnLst>
                <a:rect l="0" t="0" r="r" b="b"/>
                <a:pathLst>
                  <a:path w="460" h="699">
                    <a:moveTo>
                      <a:pt x="404" y="251"/>
                    </a:moveTo>
                    <a:cubicBezTo>
                      <a:pt x="399" y="242"/>
                      <a:pt x="394" y="233"/>
                      <a:pt x="388" y="224"/>
                    </a:cubicBezTo>
                    <a:cubicBezTo>
                      <a:pt x="307" y="93"/>
                      <a:pt x="164" y="5"/>
                      <a:pt x="0" y="0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0" y="466"/>
                      <a:pt x="0" y="466"/>
                      <a:pt x="0" y="466"/>
                    </a:cubicBezTo>
                    <a:cubicBezTo>
                      <a:pt x="16" y="475"/>
                      <a:pt x="16" y="475"/>
                      <a:pt x="16" y="475"/>
                    </a:cubicBezTo>
                    <a:cubicBezTo>
                      <a:pt x="404" y="699"/>
                      <a:pt x="404" y="699"/>
                      <a:pt x="404" y="699"/>
                    </a:cubicBezTo>
                    <a:cubicBezTo>
                      <a:pt x="440" y="632"/>
                      <a:pt x="460" y="556"/>
                      <a:pt x="460" y="475"/>
                    </a:cubicBezTo>
                    <a:cubicBezTo>
                      <a:pt x="460" y="394"/>
                      <a:pt x="440" y="318"/>
                      <a:pt x="404" y="25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E6E6E6"/>
                  </a:gs>
                  <a:gs pos="100000">
                    <a:srgbClr val="D7D7D7"/>
                  </a:gs>
                </a:gsLst>
                <a:lin ang="13500000" scaled="1"/>
                <a:tileRect/>
              </a:gradFill>
              <a:ln w="1270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1600" noProof="1" smtClean="0"/>
              </a:p>
            </p:txBody>
          </p:sp>
        </p:grpSp>
        <p:sp>
          <p:nvSpPr>
            <p:cNvPr id="18" name="Textfeld 17"/>
            <p:cNvSpPr txBox="1"/>
            <p:nvPr/>
          </p:nvSpPr>
          <p:spPr bwMode="gray">
            <a:xfrm rot="18058041">
              <a:off x="3347586" y="1968215"/>
              <a:ext cx="2520000" cy="2520000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539805"/>
                </a:avLst>
              </a:prstTxWarp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rgbClr val="000000"/>
                  </a:solidFill>
                </a:rPr>
                <a:t>Market related</a:t>
              </a:r>
              <a:endParaRPr lang="en-US" sz="1600" b="1" noProof="1">
                <a:solidFill>
                  <a:srgbClr val="000000"/>
                </a:solidFill>
              </a:endParaRPr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3308782" y="1560413"/>
              <a:ext cx="2520000" cy="2954508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>
                  <a:gd name="adj" fmla="val 332964"/>
                </a:avLst>
              </a:prstTxWarp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rgbClr val="000000"/>
                  </a:solidFill>
                </a:rPr>
                <a:t>Society related</a:t>
              </a:r>
              <a:endParaRPr lang="en-US" sz="1600" b="1" noProof="1">
                <a:solidFill>
                  <a:srgbClr val="000000"/>
                </a:solidFill>
              </a:endParaRPr>
            </a:p>
          </p:txBody>
        </p:sp>
        <p:sp>
          <p:nvSpPr>
            <p:cNvPr id="25" name="Textfeld 24"/>
            <p:cNvSpPr txBox="1"/>
            <p:nvPr/>
          </p:nvSpPr>
          <p:spPr bwMode="gray">
            <a:xfrm rot="3546352">
              <a:off x="3107028" y="1832151"/>
              <a:ext cx="2520000" cy="3033338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1885453"/>
                </a:avLst>
              </a:prstTxWarp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rgbClr val="000000"/>
                  </a:solidFill>
                </a:rPr>
                <a:t>Company related</a:t>
              </a:r>
              <a:endParaRPr lang="en-US" sz="1600" b="1" noProof="1">
                <a:solidFill>
                  <a:srgbClr val="000000"/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 bwMode="gray">
            <a:xfrm>
              <a:off x="3675575" y="2334051"/>
              <a:ext cx="1778971" cy="1778969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sz="2800" b="1" noProof="1" smtClean="0">
                  <a:solidFill>
                    <a:srgbClr val="FFFFFF"/>
                  </a:solidFill>
                </a:rPr>
                <a:t>Tasks</a:t>
              </a:r>
              <a:r>
                <a:rPr lang="en-US" b="1" noProof="1" smtClean="0">
                  <a:solidFill>
                    <a:srgbClr val="FFFFFF"/>
                  </a:solidFill>
                </a:rPr>
                <a:t/>
              </a:r>
              <a:br>
                <a:rPr lang="en-US" b="1" noProof="1" smtClean="0">
                  <a:solidFill>
                    <a:srgbClr val="FFFFFF"/>
                  </a:solidFill>
                </a:rPr>
              </a:br>
              <a:r>
                <a:rPr lang="en-US" sz="1400" noProof="1" smtClean="0">
                  <a:solidFill>
                    <a:srgbClr val="FFFFFF"/>
                  </a:solidFill>
                </a:rPr>
                <a:t>of marketing</a:t>
              </a:r>
              <a:br>
                <a:rPr lang="en-US" sz="1400" noProof="1" smtClean="0">
                  <a:solidFill>
                    <a:srgbClr val="FFFFFF"/>
                  </a:solidFill>
                </a:rPr>
              </a:br>
              <a:r>
                <a:rPr lang="en-US" sz="1400" noProof="1">
                  <a:solidFill>
                    <a:srgbClr val="FFFFFF"/>
                  </a:solidFill>
                </a:rPr>
                <a:t>m</a:t>
              </a:r>
              <a:r>
                <a:rPr lang="en-US" sz="1400" noProof="1" smtClean="0">
                  <a:solidFill>
                    <a:srgbClr val="FFFFFF"/>
                  </a:solidFill>
                </a:rPr>
                <a:t>anagement</a:t>
              </a:r>
              <a:endParaRPr lang="en-US" sz="1200" noProof="1" smtClean="0">
                <a:solidFill>
                  <a:srgbClr val="FFFFFF"/>
                </a:solidFill>
              </a:endParaRPr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323850" y="1916114"/>
              <a:ext cx="2277421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noProof="1" smtClean="0">
                  <a:solidFill>
                    <a:srgbClr val="000000"/>
                  </a:solidFill>
                </a:rPr>
                <a:t>Market</a:t>
              </a:r>
            </a:p>
            <a:p>
              <a:r>
                <a:rPr lang="en-US" sz="2000" b="1" noProof="1" smtClean="0">
                  <a:solidFill>
                    <a:srgbClr val="000000"/>
                  </a:solidFill>
                </a:rPr>
                <a:t>related </a:t>
              </a:r>
              <a:r>
                <a:rPr lang="en-US" sz="2000" b="1" noProof="1" smtClean="0"/>
                <a:t>tasks</a:t>
              </a:r>
              <a:r>
                <a:rPr lang="en-US" b="1" noProof="1" smtClean="0"/>
                <a:t/>
              </a:r>
              <a:br>
                <a:rPr lang="en-US" b="1" noProof="1" smtClean="0"/>
              </a:br>
              <a:r>
                <a:rPr lang="en-US" sz="1400" noProof="1" smtClean="0"/>
                <a:t>to control the demand, fulfillment of demand, demand development and activation and reduction of demand.</a:t>
              </a:r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6542729" y="1916114"/>
              <a:ext cx="2277421" cy="1908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2000" b="1" noProof="1" smtClean="0">
                  <a:solidFill>
                    <a:srgbClr val="000000"/>
                  </a:solidFill>
                </a:rPr>
                <a:t>Company</a:t>
              </a:r>
            </a:p>
            <a:p>
              <a:pPr algn="r"/>
              <a:r>
                <a:rPr lang="en-US" sz="2000" b="1" noProof="1" smtClean="0">
                  <a:solidFill>
                    <a:srgbClr val="000000"/>
                  </a:solidFill>
                </a:rPr>
                <a:t>related </a:t>
              </a:r>
              <a:r>
                <a:rPr lang="en-US" sz="2000" b="1" noProof="1" smtClean="0"/>
                <a:t>tasks</a:t>
              </a:r>
              <a:br>
                <a:rPr lang="en-US" sz="2000" b="1" noProof="1" smtClean="0"/>
              </a:br>
              <a:r>
                <a:rPr lang="en-US" sz="1400" noProof="1" smtClean="0"/>
                <a:t>for the coordination and avoidance of possible </a:t>
              </a:r>
              <a:br>
                <a:rPr lang="en-US" sz="1400" noProof="1" smtClean="0"/>
              </a:br>
              <a:r>
                <a:rPr lang="en-US" sz="1400" noProof="1" smtClean="0"/>
                <a:t>interest conflicts </a:t>
              </a:r>
              <a:br>
                <a:rPr lang="en-US" sz="1400" noProof="1" smtClean="0"/>
              </a:br>
              <a:r>
                <a:rPr lang="en-US" sz="1400" noProof="1" smtClean="0"/>
                <a:t>through integration of marketing in existing</a:t>
              </a:r>
              <a:br>
                <a:rPr lang="en-US" sz="1400" noProof="1" smtClean="0"/>
              </a:br>
              <a:r>
                <a:rPr lang="en-US" sz="1400" noProof="1" smtClean="0"/>
                <a:t>company organization.</a:t>
              </a:r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1767296" y="5063650"/>
              <a:ext cx="5593426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/>
              <a:r>
                <a:rPr lang="en-US" sz="2000" b="1" noProof="1" smtClean="0">
                  <a:solidFill>
                    <a:srgbClr val="000000"/>
                  </a:solidFill>
                </a:rPr>
                <a:t>Society related </a:t>
              </a:r>
              <a:r>
                <a:rPr lang="en-US" sz="2000" b="1" noProof="1" smtClean="0"/>
                <a:t>tasks</a:t>
              </a:r>
              <a:r>
                <a:rPr lang="en-US" b="1" noProof="1" smtClean="0"/>
                <a:t/>
              </a:r>
              <a:br>
                <a:rPr lang="en-US" b="1" noProof="1" smtClean="0"/>
              </a:br>
              <a:r>
                <a:rPr lang="en-US" sz="1400" noProof="1" smtClean="0"/>
                <a:t>in respect to social responsibilities of marketing management (Economics, humanistic and ethical standards)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Four central parameter of company management that need to be aligned to market and customer requirements 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anagement </a:t>
            </a:r>
          </a:p>
        </p:txBody>
      </p:sp>
      <p:grpSp>
        <p:nvGrpSpPr>
          <p:cNvPr id="25" name="Gruppieren 24"/>
          <p:cNvGrpSpPr/>
          <p:nvPr/>
        </p:nvGrpSpPr>
        <p:grpSpPr>
          <a:xfrm>
            <a:off x="323850" y="1555750"/>
            <a:ext cx="8497092" cy="4246564"/>
            <a:chOff x="323850" y="1555750"/>
            <a:chExt cx="8497092" cy="4246564"/>
          </a:xfrm>
        </p:grpSpPr>
        <p:sp>
          <p:nvSpPr>
            <p:cNvPr id="31" name="Textfeld 30"/>
            <p:cNvSpPr txBox="1"/>
            <p:nvPr/>
          </p:nvSpPr>
          <p:spPr bwMode="gray">
            <a:xfrm>
              <a:off x="323850" y="1567542"/>
              <a:ext cx="214503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noProof="1" smtClean="0"/>
                <a:t>Which objectives</a:t>
              </a:r>
              <a:br>
                <a:rPr lang="en-US" sz="1600" noProof="1" smtClean="0"/>
              </a:br>
              <a:r>
                <a:rPr lang="en-US" sz="1600" noProof="1" smtClean="0"/>
                <a:t>need to be achieved?</a:t>
              </a:r>
              <a:endParaRPr lang="en-US" sz="16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6770454" y="1567542"/>
              <a:ext cx="2050488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600" noProof="1" smtClean="0"/>
                <a:t>How should the objective be accomplished?</a:t>
              </a:r>
              <a:endParaRPr lang="en-US" sz="16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6934200" y="4817428"/>
              <a:ext cx="1885949" cy="98488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r"/>
              <a:r>
                <a:rPr lang="en-US" sz="1600" noProof="1" smtClean="0"/>
                <a:t>Which organisatorial</a:t>
              </a:r>
              <a:br>
                <a:rPr lang="en-US" sz="1600" noProof="1" smtClean="0"/>
              </a:br>
              <a:r>
                <a:rPr lang="en-US" sz="1600" noProof="1" smtClean="0"/>
                <a:t>structures secure the acomplishment of </a:t>
              </a:r>
              <a:br>
                <a:rPr lang="en-US" sz="1600" noProof="1" smtClean="0"/>
              </a:br>
              <a:r>
                <a:rPr lang="en-US" sz="1600" noProof="1" smtClean="0"/>
                <a:t>the objectives?</a:t>
              </a:r>
              <a:endParaRPr lang="en-US" sz="1600" noProof="1"/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323850" y="5309871"/>
              <a:ext cx="214503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lang="en-US" sz="1600" noProof="1" smtClean="0"/>
                <a:t>What values and norms are lead by our actions?</a:t>
              </a:r>
              <a:endParaRPr lang="en-US" sz="1600" noProof="1"/>
            </a:p>
          </p:txBody>
        </p:sp>
        <p:grpSp>
          <p:nvGrpSpPr>
            <p:cNvPr id="49" name="Gruppieren 48"/>
            <p:cNvGrpSpPr/>
            <p:nvPr/>
          </p:nvGrpSpPr>
          <p:grpSpPr bwMode="gray">
            <a:xfrm>
              <a:off x="2421213" y="1555750"/>
              <a:ext cx="4246193" cy="4246563"/>
              <a:chOff x="2421213" y="1555750"/>
              <a:chExt cx="4246193" cy="4246563"/>
            </a:xfrm>
          </p:grpSpPr>
          <p:sp>
            <p:nvSpPr>
              <p:cNvPr id="19" name="Ellipse 18"/>
              <p:cNvSpPr/>
              <p:nvPr/>
            </p:nvSpPr>
            <p:spPr bwMode="gray">
              <a:xfrm>
                <a:off x="2421213" y="4678907"/>
                <a:ext cx="1123406" cy="1123406"/>
              </a:xfrm>
              <a:prstGeom prst="ellipse">
                <a:avLst/>
              </a:prstGeom>
              <a:solidFill>
                <a:srgbClr val="C0C0C0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rtlCol="0" anchor="ctr"/>
              <a:lstStyle/>
              <a:p>
                <a:pPr algn="ctr"/>
                <a:r>
                  <a:rPr lang="en-US" sz="1600" b="1" noProof="1" smtClean="0">
                    <a:solidFill>
                      <a:srgbClr val="000000"/>
                    </a:solidFill>
                  </a:rPr>
                  <a:t>Culture</a:t>
                </a:r>
              </a:p>
            </p:txBody>
          </p:sp>
          <p:sp>
            <p:nvSpPr>
              <p:cNvPr id="20" name="Ellipse 19"/>
              <p:cNvSpPr/>
              <p:nvPr/>
            </p:nvSpPr>
            <p:spPr bwMode="gray">
              <a:xfrm>
                <a:off x="5544000" y="1555750"/>
                <a:ext cx="1123406" cy="1123406"/>
              </a:xfrm>
              <a:prstGeom prst="ellipse">
                <a:avLst/>
              </a:prstGeom>
              <a:solidFill>
                <a:srgbClr val="C0C0C0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rtlCol="0" anchor="ctr"/>
              <a:lstStyle/>
              <a:p>
                <a:pPr algn="ctr"/>
                <a:r>
                  <a:rPr lang="en-US" sz="1600" b="1" noProof="1" smtClean="0">
                    <a:solidFill>
                      <a:srgbClr val="000000"/>
                    </a:solidFill>
                  </a:rPr>
                  <a:t>Process</a:t>
                </a:r>
              </a:p>
            </p:txBody>
          </p:sp>
          <p:sp>
            <p:nvSpPr>
              <p:cNvPr id="15" name="Ellipse 14"/>
              <p:cNvSpPr/>
              <p:nvPr/>
            </p:nvSpPr>
            <p:spPr bwMode="gray">
              <a:xfrm>
                <a:off x="3474720" y="2581751"/>
                <a:ext cx="2194560" cy="219456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tlCol="0" anchor="ctr"/>
              <a:lstStyle/>
              <a:p>
                <a:pPr algn="ctr"/>
                <a:r>
                  <a:rPr lang="en-US" sz="2000" b="1" noProof="1" smtClean="0">
                    <a:solidFill>
                      <a:srgbClr val="FFFFFF"/>
                    </a:solidFill>
                  </a:rPr>
                  <a:t>Market</a:t>
                </a:r>
              </a:p>
              <a:p>
                <a:pPr algn="ctr"/>
                <a:endParaRPr lang="en-US" sz="2000" b="1" noProof="1" smtClean="0">
                  <a:solidFill>
                    <a:srgbClr val="FFFFFF"/>
                  </a:solidFill>
                </a:endParaRPr>
              </a:p>
              <a:p>
                <a:pPr algn="ctr"/>
                <a:r>
                  <a:rPr lang="en-US" sz="2000" b="1" noProof="1" smtClean="0">
                    <a:solidFill>
                      <a:srgbClr val="FFFFFF"/>
                    </a:solidFill>
                  </a:rPr>
                  <a:t>Customer</a:t>
                </a:r>
              </a:p>
            </p:txBody>
          </p:sp>
          <p:cxnSp>
            <p:nvCxnSpPr>
              <p:cNvPr id="17" name="Gerade Verbindung 16"/>
              <p:cNvCxnSpPr/>
              <p:nvPr/>
            </p:nvCxnSpPr>
            <p:spPr bwMode="gray">
              <a:xfrm>
                <a:off x="3749040" y="3657601"/>
                <a:ext cx="1750423" cy="0"/>
              </a:xfrm>
              <a:prstGeom prst="line">
                <a:avLst/>
              </a:prstGeom>
              <a:ln w="28575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Pfeil nach rechts 23"/>
              <p:cNvSpPr/>
              <p:nvPr/>
            </p:nvSpPr>
            <p:spPr bwMode="gray">
              <a:xfrm rot="8100000">
                <a:off x="5278839" y="2448248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0" name="Pfeil nach rechts 29"/>
              <p:cNvSpPr/>
              <p:nvPr/>
            </p:nvSpPr>
            <p:spPr bwMode="gray">
              <a:xfrm rot="18900000">
                <a:off x="3343872" y="4357639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8" name="Ellipse 17"/>
              <p:cNvSpPr/>
              <p:nvPr/>
            </p:nvSpPr>
            <p:spPr bwMode="gray">
              <a:xfrm>
                <a:off x="2421213" y="1555750"/>
                <a:ext cx="1123406" cy="1123406"/>
              </a:xfrm>
              <a:prstGeom prst="ellipse">
                <a:avLst/>
              </a:prstGeom>
              <a:solidFill>
                <a:srgbClr val="C0C0C0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rtlCol="0" anchor="ctr"/>
              <a:lstStyle/>
              <a:p>
                <a:pPr algn="ctr"/>
                <a:r>
                  <a:rPr lang="en-US" sz="1600" b="1" noProof="1" smtClean="0">
                    <a:solidFill>
                      <a:srgbClr val="000000"/>
                    </a:solidFill>
                  </a:rPr>
                  <a:t>Strategy</a:t>
                </a:r>
              </a:p>
            </p:txBody>
          </p:sp>
          <p:sp>
            <p:nvSpPr>
              <p:cNvPr id="21" name="Ellipse 20"/>
              <p:cNvSpPr/>
              <p:nvPr/>
            </p:nvSpPr>
            <p:spPr bwMode="gray">
              <a:xfrm>
                <a:off x="5544000" y="4678907"/>
                <a:ext cx="1123406" cy="1123406"/>
              </a:xfrm>
              <a:prstGeom prst="ellipse">
                <a:avLst/>
              </a:prstGeom>
              <a:solidFill>
                <a:srgbClr val="C0C0C0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rtlCol="0" anchor="ctr"/>
              <a:lstStyle/>
              <a:p>
                <a:pPr algn="ctr"/>
                <a:r>
                  <a:rPr lang="en-US" sz="1600" b="1" noProof="1" smtClean="0">
                    <a:solidFill>
                      <a:srgbClr val="000000"/>
                    </a:solidFill>
                  </a:rPr>
                  <a:t>Structure</a:t>
                </a:r>
              </a:p>
            </p:txBody>
          </p:sp>
          <p:sp>
            <p:nvSpPr>
              <p:cNvPr id="22" name="Pfeil nach rechts 21"/>
              <p:cNvSpPr/>
              <p:nvPr/>
            </p:nvSpPr>
            <p:spPr bwMode="gray">
              <a:xfrm rot="2615549">
                <a:off x="3343328" y="2467842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26" name="Pfeil nach rechts 25"/>
              <p:cNvSpPr/>
              <p:nvPr/>
            </p:nvSpPr>
            <p:spPr bwMode="gray">
              <a:xfrm rot="13500000">
                <a:off x="5239106" y="4368796"/>
                <a:ext cx="481151" cy="561703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30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anagement </a:t>
            </a:r>
            <a:r>
              <a:rPr lang="en-US" b="0" noProof="1" smtClean="0"/>
              <a:t>-</a:t>
            </a:r>
            <a:r>
              <a:rPr lang="en-US" noProof="1" smtClean="0"/>
              <a:t> </a:t>
            </a:r>
            <a:r>
              <a:rPr lang="en-US" b="0" noProof="1" smtClean="0"/>
              <a:t>Task Area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ask areas in the company / environment</a:t>
            </a:r>
            <a:endParaRPr lang="en-US" noProof="1"/>
          </a:p>
        </p:txBody>
      </p:sp>
      <p:grpSp>
        <p:nvGrpSpPr>
          <p:cNvPr id="33" name="Gruppieren 32"/>
          <p:cNvGrpSpPr/>
          <p:nvPr/>
        </p:nvGrpSpPr>
        <p:grpSpPr>
          <a:xfrm>
            <a:off x="1498800" y="1558827"/>
            <a:ext cx="6181478" cy="4243486"/>
            <a:chOff x="1498800" y="1558827"/>
            <a:chExt cx="6181478" cy="4243486"/>
          </a:xfrm>
        </p:grpSpPr>
        <p:grpSp>
          <p:nvGrpSpPr>
            <p:cNvPr id="27" name="Gruppieren 26"/>
            <p:cNvGrpSpPr/>
            <p:nvPr/>
          </p:nvGrpSpPr>
          <p:grpSpPr>
            <a:xfrm>
              <a:off x="2804222" y="1899130"/>
              <a:ext cx="3542031" cy="3542030"/>
              <a:chOff x="2804222" y="1899130"/>
              <a:chExt cx="3542031" cy="354203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2804222" y="1899130"/>
                <a:ext cx="3542031" cy="3542030"/>
                <a:chOff x="2804222" y="1899130"/>
                <a:chExt cx="3542031" cy="3542030"/>
              </a:xfrm>
            </p:grpSpPr>
            <p:sp>
              <p:nvSpPr>
                <p:cNvPr id="6" name="Freeform 14" descr="© INSCALE GmbH, 26.05.2010&#10;http://www.presentationload.com/"/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2804222" y="1910349"/>
                  <a:ext cx="1870384" cy="1812685"/>
                </a:xfrm>
                <a:custGeom>
                  <a:avLst/>
                  <a:gdLst/>
                  <a:ahLst/>
                  <a:cxnLst>
                    <a:cxn ang="0">
                      <a:pos x="94" y="297"/>
                    </a:cxn>
                    <a:cxn ang="0">
                      <a:pos x="121" y="192"/>
                    </a:cxn>
                    <a:cxn ang="0">
                      <a:pos x="267" y="95"/>
                    </a:cxn>
                    <a:cxn ang="0">
                      <a:pos x="309" y="46"/>
                    </a:cxn>
                    <a:cxn ang="0">
                      <a:pos x="268" y="0"/>
                    </a:cxn>
                    <a:cxn ang="0">
                      <a:pos x="0" y="291"/>
                    </a:cxn>
                    <a:cxn ang="0">
                      <a:pos x="0" y="300"/>
                    </a:cxn>
                    <a:cxn ang="0">
                      <a:pos x="48" y="257"/>
                    </a:cxn>
                    <a:cxn ang="0">
                      <a:pos x="94" y="297"/>
                    </a:cxn>
                  </a:cxnLst>
                  <a:rect l="0" t="0" r="r" b="b"/>
                  <a:pathLst>
                    <a:path w="309" h="300">
                      <a:moveTo>
                        <a:pt x="94" y="297"/>
                      </a:moveTo>
                      <a:cubicBezTo>
                        <a:pt x="93" y="262"/>
                        <a:pt x="101" y="225"/>
                        <a:pt x="121" y="192"/>
                      </a:cubicBezTo>
                      <a:cubicBezTo>
                        <a:pt x="153" y="136"/>
                        <a:pt x="208" y="102"/>
                        <a:pt x="267" y="95"/>
                      </a:cubicBezTo>
                      <a:cubicBezTo>
                        <a:pt x="309" y="46"/>
                        <a:pt x="309" y="46"/>
                        <a:pt x="309" y="46"/>
                      </a:cubicBezTo>
                      <a:cubicBezTo>
                        <a:pt x="268" y="0"/>
                        <a:pt x="268" y="0"/>
                        <a:pt x="268" y="0"/>
                      </a:cubicBezTo>
                      <a:cubicBezTo>
                        <a:pt x="118" y="12"/>
                        <a:pt x="0" y="138"/>
                        <a:pt x="0" y="291"/>
                      </a:cubicBezTo>
                      <a:cubicBezTo>
                        <a:pt x="0" y="294"/>
                        <a:pt x="0" y="297"/>
                        <a:pt x="0" y="300"/>
                      </a:cubicBezTo>
                      <a:cubicBezTo>
                        <a:pt x="48" y="257"/>
                        <a:pt x="48" y="257"/>
                        <a:pt x="48" y="257"/>
                      </a:cubicBezTo>
                      <a:lnTo>
                        <a:pt x="94" y="297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288000" tIns="0" rIns="0" bIns="0" anchor="ctr"/>
                <a:lstStyle/>
                <a:p>
                  <a:pPr defTabSz="801688" eaLnBrk="0" hangingPunct="0">
                    <a:defRPr/>
                  </a:pPr>
                  <a:endParaRPr lang="en-US" b="1" noProof="1">
                    <a:solidFill>
                      <a:srgbClr val="FFFFFF"/>
                    </a:solidFill>
                    <a:cs typeface="Arial" charset="0"/>
                  </a:endParaRPr>
                </a:p>
              </p:txBody>
            </p:sp>
            <p:sp>
              <p:nvSpPr>
                <p:cNvPr id="7" name="Freeform 16" descr="© INSCALE GmbH, 26.05.2010&#10;http://www.presentationload.com/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4530361" y="1899130"/>
                  <a:ext cx="1807878" cy="1867179"/>
                </a:xfrm>
                <a:custGeom>
                  <a:avLst/>
                  <a:gdLst/>
                  <a:ahLst/>
                  <a:cxnLst>
                    <a:cxn ang="0">
                      <a:pos x="1" y="95"/>
                    </a:cxn>
                    <a:cxn ang="0">
                      <a:pos x="107" y="121"/>
                    </a:cxn>
                    <a:cxn ang="0">
                      <a:pos x="204" y="266"/>
                    </a:cxn>
                    <a:cxn ang="0">
                      <a:pos x="253" y="309"/>
                    </a:cxn>
                    <a:cxn ang="0">
                      <a:pos x="299" y="268"/>
                    </a:cxn>
                    <a:cxn ang="0">
                      <a:pos x="7" y="0"/>
                    </a:cxn>
                    <a:cxn ang="0">
                      <a:pos x="0" y="1"/>
                    </a:cxn>
                    <a:cxn ang="0">
                      <a:pos x="42" y="48"/>
                    </a:cxn>
                    <a:cxn ang="0">
                      <a:pos x="1" y="95"/>
                    </a:cxn>
                  </a:cxnLst>
                  <a:rect l="0" t="0" r="r" b="b"/>
                  <a:pathLst>
                    <a:path w="299" h="309">
                      <a:moveTo>
                        <a:pt x="1" y="95"/>
                      </a:moveTo>
                      <a:cubicBezTo>
                        <a:pt x="37" y="94"/>
                        <a:pt x="73" y="102"/>
                        <a:pt x="107" y="121"/>
                      </a:cubicBezTo>
                      <a:cubicBezTo>
                        <a:pt x="162" y="153"/>
                        <a:pt x="196" y="208"/>
                        <a:pt x="204" y="266"/>
                      </a:cubicBezTo>
                      <a:cubicBezTo>
                        <a:pt x="253" y="309"/>
                        <a:pt x="253" y="309"/>
                        <a:pt x="253" y="309"/>
                      </a:cubicBezTo>
                      <a:cubicBezTo>
                        <a:pt x="299" y="268"/>
                        <a:pt x="299" y="268"/>
                        <a:pt x="299" y="268"/>
                      </a:cubicBezTo>
                      <a:cubicBezTo>
                        <a:pt x="287" y="118"/>
                        <a:pt x="161" y="0"/>
                        <a:pt x="7" y="0"/>
                      </a:cubicBezTo>
                      <a:cubicBezTo>
                        <a:pt x="5" y="0"/>
                        <a:pt x="2" y="1"/>
                        <a:pt x="0" y="1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lnTo>
                        <a:pt x="1" y="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288000" tIns="0" rIns="0" bIns="0" anchor="ctr"/>
                <a:lstStyle/>
                <a:p>
                  <a:pPr defTabSz="801688" eaLnBrk="0" hangingPunct="0">
                    <a:defRPr/>
                  </a:pP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" name="_color1" descr="© INSCALE GmbH, 26.05.2010&#10;http://www.presentationload.com/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2812236" y="3573982"/>
                  <a:ext cx="1819097" cy="1867178"/>
                </a:xfrm>
                <a:custGeom>
                  <a:avLst/>
                  <a:gdLst/>
                  <a:ahLst/>
                  <a:cxnLst>
                    <a:cxn ang="0">
                      <a:pos x="299" y="215"/>
                    </a:cxn>
                    <a:cxn ang="0">
                      <a:pos x="192" y="188"/>
                    </a:cxn>
                    <a:cxn ang="0">
                      <a:pos x="95" y="41"/>
                    </a:cxn>
                    <a:cxn ang="0">
                      <a:pos x="47" y="0"/>
                    </a:cxn>
                    <a:cxn ang="0">
                      <a:pos x="0" y="42"/>
                    </a:cxn>
                    <a:cxn ang="0">
                      <a:pos x="291" y="309"/>
                    </a:cxn>
                    <a:cxn ang="0">
                      <a:pos x="301" y="309"/>
                    </a:cxn>
                    <a:cxn ang="0">
                      <a:pos x="258" y="261"/>
                    </a:cxn>
                    <a:cxn ang="0">
                      <a:pos x="299" y="215"/>
                    </a:cxn>
                  </a:cxnLst>
                  <a:rect l="0" t="0" r="r" b="b"/>
                  <a:pathLst>
                    <a:path w="301" h="309">
                      <a:moveTo>
                        <a:pt x="299" y="215"/>
                      </a:moveTo>
                      <a:cubicBezTo>
                        <a:pt x="263" y="216"/>
                        <a:pt x="226" y="208"/>
                        <a:pt x="192" y="188"/>
                      </a:cubicBezTo>
                      <a:cubicBezTo>
                        <a:pt x="136" y="156"/>
                        <a:pt x="102" y="101"/>
                        <a:pt x="95" y="41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0" y="42"/>
                        <a:pt x="0" y="42"/>
                        <a:pt x="0" y="42"/>
                      </a:cubicBezTo>
                      <a:cubicBezTo>
                        <a:pt x="13" y="191"/>
                        <a:pt x="138" y="309"/>
                        <a:pt x="291" y="309"/>
                      </a:cubicBezTo>
                      <a:cubicBezTo>
                        <a:pt x="295" y="309"/>
                        <a:pt x="298" y="309"/>
                        <a:pt x="301" y="309"/>
                      </a:cubicBezTo>
                      <a:cubicBezTo>
                        <a:pt x="258" y="261"/>
                        <a:pt x="258" y="261"/>
                        <a:pt x="258" y="261"/>
                      </a:cubicBezTo>
                      <a:lnTo>
                        <a:pt x="299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288000" tIns="0" rIns="0" bIns="0" anchor="ctr"/>
                <a:lstStyle/>
                <a:p>
                  <a:pPr defTabSz="801688" eaLnBrk="0" hangingPunct="0">
                    <a:defRPr/>
                  </a:pP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9" name="_color1" descr="© INSCALE GmbH, 26.05.2010&#10;http://www.presentationload.com/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4479074" y="3622063"/>
                  <a:ext cx="1867179" cy="1811083"/>
                </a:xfrm>
                <a:custGeom>
                  <a:avLst/>
                  <a:gdLst/>
                  <a:ahLst/>
                  <a:cxnLst>
                    <a:cxn ang="0">
                      <a:pos x="214" y="0"/>
                    </a:cxn>
                    <a:cxn ang="0">
                      <a:pos x="187" y="107"/>
                    </a:cxn>
                    <a:cxn ang="0">
                      <a:pos x="42" y="205"/>
                    </a:cxn>
                    <a:cxn ang="0">
                      <a:pos x="0" y="253"/>
                    </a:cxn>
                    <a:cxn ang="0">
                      <a:pos x="42" y="300"/>
                    </a:cxn>
                    <a:cxn ang="0">
                      <a:pos x="308" y="8"/>
                    </a:cxn>
                    <a:cxn ang="0">
                      <a:pos x="308" y="0"/>
                    </a:cxn>
                    <a:cxn ang="0">
                      <a:pos x="261" y="42"/>
                    </a:cxn>
                    <a:cxn ang="0">
                      <a:pos x="214" y="0"/>
                    </a:cxn>
                  </a:cxnLst>
                  <a:rect l="0" t="0" r="r" b="b"/>
                  <a:pathLst>
                    <a:path w="308" h="300">
                      <a:moveTo>
                        <a:pt x="214" y="0"/>
                      </a:moveTo>
                      <a:cubicBezTo>
                        <a:pt x="215" y="37"/>
                        <a:pt x="207" y="74"/>
                        <a:pt x="187" y="107"/>
                      </a:cubicBezTo>
                      <a:cubicBezTo>
                        <a:pt x="155" y="163"/>
                        <a:pt x="101" y="197"/>
                        <a:pt x="42" y="205"/>
                      </a:cubicBezTo>
                      <a:cubicBezTo>
                        <a:pt x="0" y="253"/>
                        <a:pt x="0" y="253"/>
                        <a:pt x="0" y="253"/>
                      </a:cubicBezTo>
                      <a:cubicBezTo>
                        <a:pt x="42" y="300"/>
                        <a:pt x="42" y="300"/>
                        <a:pt x="42" y="300"/>
                      </a:cubicBezTo>
                      <a:cubicBezTo>
                        <a:pt x="191" y="287"/>
                        <a:pt x="308" y="161"/>
                        <a:pt x="308" y="8"/>
                      </a:cubicBezTo>
                      <a:cubicBezTo>
                        <a:pt x="308" y="6"/>
                        <a:pt x="308" y="3"/>
                        <a:pt x="308" y="0"/>
                      </a:cubicBezTo>
                      <a:cubicBezTo>
                        <a:pt x="261" y="42"/>
                        <a:pt x="261" y="42"/>
                        <a:pt x="261" y="42"/>
                      </a:cubicBezTo>
                      <a:lnTo>
                        <a:pt x="214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288000" tIns="0" rIns="0" bIns="0" anchor="ctr"/>
                <a:lstStyle/>
                <a:p>
                  <a:pPr defTabSz="801688" eaLnBrk="0" hangingPunct="0">
                    <a:defRPr/>
                  </a:pPr>
                  <a:endParaRPr lang="en-US" b="1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" name="Rechteck 9"/>
                <p:cNvSpPr/>
                <p:nvPr/>
              </p:nvSpPr>
              <p:spPr bwMode="gray">
                <a:xfrm rot="19056193">
                  <a:off x="3227138" y="2329561"/>
                  <a:ext cx="2690802" cy="2690802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prstTxWarp prst="textArchUp">
                    <a:avLst/>
                  </a:prstTxWarp>
                </a:bodyPr>
                <a:lstStyle/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Marketing</a:t>
                  </a:r>
                </a:p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information system</a:t>
                  </a:r>
                  <a:endParaRPr lang="en-US" sz="1400" b="1" noProof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" name="Rechteck 10"/>
                <p:cNvSpPr/>
                <p:nvPr/>
              </p:nvSpPr>
              <p:spPr bwMode="gray">
                <a:xfrm rot="2884470">
                  <a:off x="3227138" y="2329561"/>
                  <a:ext cx="2690802" cy="2690802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prstTxWarp prst="textArchUp">
                    <a:avLst/>
                  </a:prstTxWarp>
                </a:bodyPr>
                <a:lstStyle/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Marketing</a:t>
                  </a:r>
                </a:p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planning system</a:t>
                  </a:r>
                  <a:endParaRPr lang="en-US" sz="1400" b="1" noProof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" name="Rechteck 11"/>
                <p:cNvSpPr/>
                <p:nvPr/>
              </p:nvSpPr>
              <p:spPr bwMode="gray">
                <a:xfrm rot="18900000">
                  <a:off x="3176220" y="2278643"/>
                  <a:ext cx="2792638" cy="2792638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prstTxWarp prst="textArchDown">
                    <a:avLst/>
                  </a:prstTxWarp>
                </a:bodyPr>
                <a:lstStyle/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Marketing organization</a:t>
                  </a:r>
                </a:p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and execution system</a:t>
                  </a:r>
                  <a:endParaRPr lang="en-US" sz="1400" b="1" noProof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" name="Rechteck 12"/>
                <p:cNvSpPr/>
                <p:nvPr/>
              </p:nvSpPr>
              <p:spPr bwMode="gray">
                <a:xfrm rot="2700000">
                  <a:off x="3185937" y="2255184"/>
                  <a:ext cx="2839556" cy="2839556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>
                  <a:prstTxWarp prst="textArchDown">
                    <a:avLst/>
                  </a:prstTxWarp>
                </a:bodyPr>
                <a:lstStyle/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Marketing control</a:t>
                  </a:r>
                </a:p>
                <a:p>
                  <a:pPr algn="ctr"/>
                  <a:r>
                    <a:rPr lang="en-US" sz="1400" b="1" noProof="1" smtClean="0">
                      <a:solidFill>
                        <a:srgbClr val="FFFFFF"/>
                      </a:solidFill>
                    </a:rPr>
                    <a:t>and guidance system</a:t>
                  </a:r>
                  <a:endParaRPr lang="en-US" sz="1400" b="1" noProof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15" name="Freeform 6"/>
              <p:cNvSpPr>
                <a:spLocks/>
              </p:cNvSpPr>
              <p:nvPr/>
            </p:nvSpPr>
            <p:spPr bwMode="gray">
              <a:xfrm rot="2700000">
                <a:off x="4031626" y="2357753"/>
                <a:ext cx="1086671" cy="1087449"/>
              </a:xfrm>
              <a:custGeom>
                <a:avLst/>
                <a:gdLst/>
                <a:ahLst/>
                <a:cxnLst>
                  <a:cxn ang="0">
                    <a:pos x="592" y="0"/>
                  </a:cxn>
                  <a:cxn ang="0">
                    <a:pos x="0" y="592"/>
                  </a:cxn>
                  <a:cxn ang="0">
                    <a:pos x="0" y="592"/>
                  </a:cxn>
                  <a:cxn ang="0">
                    <a:pos x="592" y="592"/>
                  </a:cxn>
                  <a:cxn ang="0">
                    <a:pos x="592" y="0"/>
                  </a:cxn>
                </a:cxnLst>
                <a:rect l="0" t="0" r="r" b="b"/>
                <a:pathLst>
                  <a:path w="592" h="592">
                    <a:moveTo>
                      <a:pt x="592" y="0"/>
                    </a:moveTo>
                    <a:cubicBezTo>
                      <a:pt x="265" y="0"/>
                      <a:pt x="0" y="265"/>
                      <a:pt x="0" y="592"/>
                    </a:cubicBezTo>
                    <a:cubicBezTo>
                      <a:pt x="0" y="592"/>
                      <a:pt x="0" y="592"/>
                      <a:pt x="0" y="592"/>
                    </a:cubicBezTo>
                    <a:cubicBezTo>
                      <a:pt x="592" y="592"/>
                      <a:pt x="592" y="592"/>
                      <a:pt x="592" y="592"/>
                    </a:cubicBezTo>
                    <a:lnTo>
                      <a:pt x="592" y="0"/>
                    </a:lnTo>
                    <a:close/>
                  </a:path>
                </a:pathLst>
              </a:custGeo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" name="Freeform 7"/>
              <p:cNvSpPr>
                <a:spLocks/>
              </p:cNvSpPr>
              <p:nvPr/>
            </p:nvSpPr>
            <p:spPr bwMode="gray">
              <a:xfrm rot="2700000">
                <a:off x="4799905" y="3126421"/>
                <a:ext cx="1087449" cy="1087449"/>
              </a:xfrm>
              <a:custGeom>
                <a:avLst/>
                <a:gdLst/>
                <a:ahLst/>
                <a:cxnLst>
                  <a:cxn ang="0">
                    <a:pos x="592" y="592"/>
                  </a:cxn>
                  <a:cxn ang="0">
                    <a:pos x="592" y="592"/>
                  </a:cxn>
                  <a:cxn ang="0">
                    <a:pos x="0" y="0"/>
                  </a:cxn>
                  <a:cxn ang="0">
                    <a:pos x="0" y="592"/>
                  </a:cxn>
                  <a:cxn ang="0">
                    <a:pos x="592" y="592"/>
                  </a:cxn>
                </a:cxnLst>
                <a:rect l="0" t="0" r="r" b="b"/>
                <a:pathLst>
                  <a:path w="592" h="592">
                    <a:moveTo>
                      <a:pt x="592" y="592"/>
                    </a:moveTo>
                    <a:cubicBezTo>
                      <a:pt x="592" y="592"/>
                      <a:pt x="592" y="592"/>
                      <a:pt x="592" y="592"/>
                    </a:cubicBezTo>
                    <a:cubicBezTo>
                      <a:pt x="592" y="265"/>
                      <a:pt x="327" y="0"/>
                      <a:pt x="0" y="0"/>
                    </a:cubicBezTo>
                    <a:cubicBezTo>
                      <a:pt x="0" y="592"/>
                      <a:pt x="0" y="592"/>
                      <a:pt x="0" y="592"/>
                    </a:cubicBezTo>
                    <a:lnTo>
                      <a:pt x="592" y="592"/>
                    </a:lnTo>
                    <a:close/>
                  </a:path>
                </a:pathLst>
              </a:custGeo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" name="Freeform 8"/>
              <p:cNvSpPr>
                <a:spLocks/>
              </p:cNvSpPr>
              <p:nvPr/>
            </p:nvSpPr>
            <p:spPr bwMode="gray">
              <a:xfrm rot="2700000">
                <a:off x="4031238" y="3895477"/>
                <a:ext cx="1087449" cy="10866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92"/>
                  </a:cxn>
                  <a:cxn ang="0">
                    <a:pos x="592" y="0"/>
                  </a:cxn>
                  <a:cxn ang="0">
                    <a:pos x="0" y="0"/>
                  </a:cxn>
                </a:cxnLst>
                <a:rect l="0" t="0" r="r" b="b"/>
                <a:pathLst>
                  <a:path w="592" h="592">
                    <a:moveTo>
                      <a:pt x="0" y="0"/>
                    </a:moveTo>
                    <a:cubicBezTo>
                      <a:pt x="0" y="592"/>
                      <a:pt x="0" y="592"/>
                      <a:pt x="0" y="592"/>
                    </a:cubicBezTo>
                    <a:cubicBezTo>
                      <a:pt x="327" y="592"/>
                      <a:pt x="592" y="327"/>
                      <a:pt x="59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" name="Freeform 9"/>
              <p:cNvSpPr>
                <a:spLocks/>
              </p:cNvSpPr>
              <p:nvPr/>
            </p:nvSpPr>
            <p:spPr bwMode="gray">
              <a:xfrm rot="2700000">
                <a:off x="3262959" y="3126809"/>
                <a:ext cx="1086671" cy="10866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92" y="592"/>
                  </a:cxn>
                  <a:cxn ang="0">
                    <a:pos x="592" y="0"/>
                  </a:cxn>
                  <a:cxn ang="0">
                    <a:pos x="0" y="0"/>
                  </a:cxn>
                </a:cxnLst>
                <a:rect l="0" t="0" r="r" b="b"/>
                <a:pathLst>
                  <a:path w="592" h="592">
                    <a:moveTo>
                      <a:pt x="0" y="0"/>
                    </a:moveTo>
                    <a:cubicBezTo>
                      <a:pt x="0" y="327"/>
                      <a:pt x="265" y="592"/>
                      <a:pt x="592" y="592"/>
                    </a:cubicBezTo>
                    <a:cubicBezTo>
                      <a:pt x="592" y="0"/>
                      <a:pt x="592" y="0"/>
                      <a:pt x="59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Textfeld 20"/>
              <p:cNvSpPr txBox="1"/>
              <p:nvPr/>
            </p:nvSpPr>
            <p:spPr>
              <a:xfrm>
                <a:off x="4252597" y="2686050"/>
                <a:ext cx="64472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100" b="1" noProof="1" smtClean="0"/>
                  <a:t>Product</a:t>
                </a:r>
                <a:endParaRPr lang="en-US" sz="1100" b="1" noProof="1"/>
              </a:p>
            </p:txBody>
          </p:sp>
          <p:sp>
            <p:nvSpPr>
              <p:cNvPr id="22" name="Textfeld 21"/>
              <p:cNvSpPr txBox="1"/>
              <p:nvPr/>
            </p:nvSpPr>
            <p:spPr>
              <a:xfrm>
                <a:off x="4004137" y="4362449"/>
                <a:ext cx="114165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100" b="1" noProof="1" smtClean="0"/>
                  <a:t>Sales promotion</a:t>
                </a:r>
                <a:endParaRPr lang="en-US" sz="1100" b="1" noProof="1"/>
              </a:p>
            </p:txBody>
          </p:sp>
          <p:sp>
            <p:nvSpPr>
              <p:cNvPr id="24" name="Textfeld 23"/>
              <p:cNvSpPr txBox="1"/>
              <p:nvPr/>
            </p:nvSpPr>
            <p:spPr>
              <a:xfrm rot="5400000">
                <a:off x="5216918" y="3539340"/>
                <a:ext cx="47481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100" b="1" noProof="1" smtClean="0"/>
                  <a:t>Price</a:t>
                </a:r>
                <a:endParaRPr lang="en-US" sz="1100" b="1" noProof="1"/>
              </a:p>
            </p:txBody>
          </p:sp>
          <p:sp>
            <p:nvSpPr>
              <p:cNvPr id="25" name="Textfeld 24"/>
              <p:cNvSpPr txBox="1"/>
              <p:nvPr/>
            </p:nvSpPr>
            <p:spPr>
              <a:xfrm rot="16200000">
                <a:off x="3283799" y="3539340"/>
                <a:ext cx="88517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100" b="1" noProof="1" smtClean="0"/>
                  <a:t>Distribution</a:t>
                </a:r>
                <a:endParaRPr lang="en-US" sz="1100" b="1" noProof="1"/>
              </a:p>
            </p:txBody>
          </p:sp>
          <p:sp>
            <p:nvSpPr>
              <p:cNvPr id="26" name="Ellipse 25"/>
              <p:cNvSpPr/>
              <p:nvPr/>
            </p:nvSpPr>
            <p:spPr bwMode="auto">
              <a:xfrm>
                <a:off x="4001310" y="3096768"/>
                <a:ext cx="1146754" cy="1146754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wrap="none"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Target 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customer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28" name="Textfeld 27"/>
            <p:cNvSpPr txBox="1"/>
            <p:nvPr/>
          </p:nvSpPr>
          <p:spPr>
            <a:xfrm>
              <a:off x="1498800" y="1899130"/>
              <a:ext cx="1213345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noProof="1" smtClean="0"/>
                <a:t>Demographic-</a:t>
              </a:r>
              <a:br>
                <a:rPr lang="en-US" sz="1400" noProof="1" smtClean="0"/>
              </a:br>
              <a:r>
                <a:rPr lang="en-US" sz="1400" noProof="1" smtClean="0"/>
                <a:t>economic </a:t>
              </a:r>
              <a:br>
                <a:rPr lang="en-US" sz="1400" noProof="1" smtClean="0"/>
              </a:br>
              <a:r>
                <a:rPr lang="en-US" sz="1400" noProof="1" smtClean="0"/>
                <a:t>environment</a:t>
              </a:r>
              <a:endParaRPr lang="en-US" sz="1400" noProof="1"/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1587606" y="4702496"/>
              <a:ext cx="112453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noProof="1" smtClean="0"/>
                <a:t>Political-</a:t>
              </a:r>
              <a:br>
                <a:rPr lang="en-US" sz="1400" noProof="1" smtClean="0"/>
              </a:br>
              <a:r>
                <a:rPr lang="en-US" sz="1400" noProof="1" smtClean="0"/>
                <a:t>legal </a:t>
              </a:r>
              <a:br>
                <a:rPr lang="en-US" sz="1400" noProof="1" smtClean="0"/>
              </a:br>
              <a:r>
                <a:rPr lang="en-US" sz="1400" noProof="1" smtClean="0"/>
                <a:t>environment</a:t>
              </a:r>
              <a:endParaRPr lang="en-US" sz="1400" noProof="1"/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429679" y="4702496"/>
              <a:ext cx="12101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socio-cultural </a:t>
              </a:r>
              <a:br>
                <a:rPr lang="en-US" sz="1400" noProof="1" smtClean="0"/>
              </a:br>
              <a:r>
                <a:rPr lang="en-US" sz="1400" noProof="1" smtClean="0"/>
                <a:t>environment </a:t>
              </a:r>
              <a:endParaRPr lang="en-US" sz="1400" noProof="1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429679" y="1899130"/>
              <a:ext cx="125059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Technologic-</a:t>
              </a:r>
              <a:br>
                <a:rPr lang="en-US" sz="1400" noProof="1" smtClean="0"/>
              </a:br>
              <a:r>
                <a:rPr lang="en-US" sz="1400" noProof="1" smtClean="0"/>
                <a:t>environmental</a:t>
              </a:r>
              <a:br>
                <a:rPr lang="en-US" sz="1400" noProof="1" smtClean="0"/>
              </a:br>
              <a:r>
                <a:rPr lang="en-US" sz="1400" noProof="1" smtClean="0"/>
                <a:t>environment</a:t>
              </a:r>
              <a:endParaRPr lang="en-US" sz="1400" noProof="1"/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2016121" y="3516257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Supplier</a:t>
              </a:r>
              <a:endParaRPr lang="en-US" sz="1200" noProof="1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6429679" y="3516257"/>
              <a:ext cx="11267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Interest groups</a:t>
              </a:r>
              <a:endParaRPr lang="en-US" sz="1200" noProof="1"/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3331180" y="1558827"/>
              <a:ext cx="24881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Participants of the commercial world</a:t>
              </a:r>
              <a:endParaRPr lang="en-US" sz="1200" noProof="1"/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4096648" y="5525314"/>
              <a:ext cx="9571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Competitors</a:t>
              </a:r>
              <a:endParaRPr lang="en-US" sz="12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34826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marketing as a sub-process (function) in a company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in the Company</a:t>
            </a:r>
          </a:p>
        </p:txBody>
      </p:sp>
      <p:grpSp>
        <p:nvGrpSpPr>
          <p:cNvPr id="38" name="Gruppieren 37"/>
          <p:cNvGrpSpPr/>
          <p:nvPr/>
        </p:nvGrpSpPr>
        <p:grpSpPr>
          <a:xfrm>
            <a:off x="323850" y="1555746"/>
            <a:ext cx="8660494" cy="4689235"/>
            <a:chOff x="323850" y="1555746"/>
            <a:chExt cx="8660494" cy="4689235"/>
          </a:xfrm>
        </p:grpSpPr>
        <p:grpSp>
          <p:nvGrpSpPr>
            <p:cNvPr id="47" name="Gruppieren 46"/>
            <p:cNvGrpSpPr/>
            <p:nvPr/>
          </p:nvGrpSpPr>
          <p:grpSpPr bwMode="gray">
            <a:xfrm>
              <a:off x="323850" y="1555746"/>
              <a:ext cx="8660494" cy="4046764"/>
              <a:chOff x="1226938" y="1555748"/>
              <a:chExt cx="6963784" cy="3630936"/>
            </a:xfrm>
          </p:grpSpPr>
          <p:sp>
            <p:nvSpPr>
              <p:cNvPr id="14" name="Gleichschenkliges Dreieck 13"/>
              <p:cNvSpPr/>
              <p:nvPr/>
            </p:nvSpPr>
            <p:spPr bwMode="gray">
              <a:xfrm>
                <a:off x="2704745" y="1644438"/>
                <a:ext cx="3451475" cy="1494051"/>
              </a:xfrm>
              <a:prstGeom prst="triangl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72000" bIns="72000" anchor="b" anchorCtr="1"/>
              <a:lstStyle/>
              <a:p>
                <a:pPr marL="190500" indent="-190500">
                  <a:lnSpc>
                    <a:spcPct val="95000"/>
                  </a:lnSpc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lanning</a:t>
                </a:r>
              </a:p>
              <a:p>
                <a:pPr marL="190500" indent="-190500">
                  <a:lnSpc>
                    <a:spcPct val="95000"/>
                  </a:lnSpc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Organization</a:t>
                </a:r>
              </a:p>
              <a:p>
                <a:pPr marL="190500" indent="-190500">
                  <a:lnSpc>
                    <a:spcPct val="95000"/>
                  </a:lnSpc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nagement</a:t>
                </a:r>
              </a:p>
              <a:p>
                <a:pPr marL="190500" indent="-190500">
                  <a:lnSpc>
                    <a:spcPct val="95000"/>
                  </a:lnSpc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Control</a:t>
                </a:r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2704745" y="3424712"/>
                <a:ext cx="3451475" cy="360000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Business core processes</a:t>
                </a:r>
              </a:p>
            </p:txBody>
          </p:sp>
          <p:grpSp>
            <p:nvGrpSpPr>
              <p:cNvPr id="8" name="Gruppieren 30"/>
              <p:cNvGrpSpPr/>
              <p:nvPr/>
            </p:nvGrpSpPr>
            <p:grpSpPr bwMode="gray">
              <a:xfrm>
                <a:off x="3257588" y="3189760"/>
                <a:ext cx="2492093" cy="183681"/>
                <a:chOff x="3165616" y="3203048"/>
                <a:chExt cx="2492093" cy="183681"/>
              </a:xfrm>
            </p:grpSpPr>
            <p:sp>
              <p:nvSpPr>
                <p:cNvPr id="27" name="Pfeil nach unten 26"/>
                <p:cNvSpPr/>
                <p:nvPr/>
              </p:nvSpPr>
              <p:spPr bwMode="gray">
                <a:xfrm>
                  <a:off x="4305441" y="3203048"/>
                  <a:ext cx="212443" cy="183681"/>
                </a:xfrm>
                <a:prstGeom prst="down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6" name="Pfeil nach unten 25"/>
                <p:cNvSpPr/>
                <p:nvPr/>
              </p:nvSpPr>
              <p:spPr bwMode="gray">
                <a:xfrm>
                  <a:off x="3165616" y="3203048"/>
                  <a:ext cx="212443" cy="183681"/>
                </a:xfrm>
                <a:prstGeom prst="down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8" name="Pfeil nach unten 27"/>
                <p:cNvSpPr/>
                <p:nvPr/>
              </p:nvSpPr>
              <p:spPr bwMode="gray">
                <a:xfrm>
                  <a:off x="5445266" y="3203048"/>
                  <a:ext cx="212443" cy="183681"/>
                </a:xfrm>
                <a:prstGeom prst="downArrow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37" name="Geschweifte Klammer links 36"/>
              <p:cNvSpPr/>
              <p:nvPr/>
            </p:nvSpPr>
            <p:spPr bwMode="gray">
              <a:xfrm>
                <a:off x="2354346" y="1555750"/>
                <a:ext cx="350399" cy="1582740"/>
              </a:xfrm>
              <a:prstGeom prst="leftBrace">
                <a:avLst>
                  <a:gd name="adj1" fmla="val 103227"/>
                  <a:gd name="adj2" fmla="val 50000"/>
                </a:avLst>
              </a:prstGeom>
              <a:ln>
                <a:solidFill>
                  <a:srgbClr val="C0C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0" name="Gruppieren 41"/>
              <p:cNvGrpSpPr/>
              <p:nvPr/>
            </p:nvGrpSpPr>
            <p:grpSpPr bwMode="gray">
              <a:xfrm>
                <a:off x="1934013" y="2559049"/>
                <a:ext cx="520700" cy="2030535"/>
                <a:chOff x="1574800" y="2559050"/>
                <a:chExt cx="520700" cy="2097088"/>
              </a:xfrm>
            </p:grpSpPr>
            <p:cxnSp>
              <p:nvCxnSpPr>
                <p:cNvPr id="39" name="Gerade Verbindung 38"/>
                <p:cNvCxnSpPr/>
                <p:nvPr/>
              </p:nvCxnSpPr>
              <p:spPr bwMode="gray">
                <a:xfrm rot="5400000">
                  <a:off x="527050" y="3606800"/>
                  <a:ext cx="2095500" cy="0"/>
                </a:xfrm>
                <a:prstGeom prst="line">
                  <a:avLst/>
                </a:prstGeom>
                <a:ln w="12700">
                  <a:solidFill>
                    <a:srgbClr val="C0C0C0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Gerade Verbindung mit Pfeil 40"/>
                <p:cNvCxnSpPr/>
                <p:nvPr/>
              </p:nvCxnSpPr>
              <p:spPr bwMode="gray">
                <a:xfrm>
                  <a:off x="1574801" y="4654550"/>
                  <a:ext cx="520699" cy="1588"/>
                </a:xfrm>
                <a:prstGeom prst="straightConnector1">
                  <a:avLst/>
                </a:prstGeom>
                <a:ln w="12700">
                  <a:solidFill>
                    <a:srgbClr val="C0C0C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3" name="Rechteck 42"/>
              <p:cNvSpPr/>
              <p:nvPr/>
            </p:nvSpPr>
            <p:spPr bwMode="gray">
              <a:xfrm>
                <a:off x="1523144" y="2144824"/>
                <a:ext cx="821733" cy="414226"/>
              </a:xfrm>
              <a:prstGeom prst="rect">
                <a:avLst/>
              </a:prstGeom>
            </p:spPr>
            <p:txBody>
              <a:bodyPr wrap="none" anchor="b" anchorCtr="0">
                <a:spAutoFit/>
              </a:bodyPr>
              <a:lstStyle/>
              <a:p>
                <a:pPr lvl="0" algn="ctr">
                  <a:buClr>
                    <a:srgbClr val="969696"/>
                  </a:buClr>
                  <a:defRPr/>
                </a:pPr>
                <a:r>
                  <a:rPr lang="en-US" sz="1200" noProof="1" smtClean="0">
                    <a:cs typeface="Arial" charset="0"/>
                  </a:rPr>
                  <a:t>Management</a:t>
                </a:r>
              </a:p>
              <a:p>
                <a:pPr lvl="0" algn="ctr">
                  <a:buClr>
                    <a:srgbClr val="969696"/>
                  </a:buClr>
                  <a:defRPr/>
                </a:pPr>
                <a:r>
                  <a:rPr lang="en-US" sz="1200" noProof="1" smtClean="0">
                    <a:cs typeface="Arial" charset="0"/>
                  </a:rPr>
                  <a:t>processes</a:t>
                </a:r>
              </a:p>
            </p:txBody>
          </p:sp>
          <p:grpSp>
            <p:nvGrpSpPr>
              <p:cNvPr id="42" name="Gruppieren 41"/>
              <p:cNvGrpSpPr/>
              <p:nvPr/>
            </p:nvGrpSpPr>
            <p:grpSpPr bwMode="gray">
              <a:xfrm>
                <a:off x="1226938" y="3813287"/>
                <a:ext cx="6568862" cy="1373397"/>
                <a:chOff x="1226938" y="3813287"/>
                <a:chExt cx="6568862" cy="1373397"/>
              </a:xfrm>
            </p:grpSpPr>
            <p:grpSp>
              <p:nvGrpSpPr>
                <p:cNvPr id="6" name="Gruppieren 20"/>
                <p:cNvGrpSpPr/>
                <p:nvPr/>
              </p:nvGrpSpPr>
              <p:grpSpPr bwMode="gray">
                <a:xfrm>
                  <a:off x="2704745" y="3813287"/>
                  <a:ext cx="3597778" cy="360000"/>
                  <a:chOff x="-1401510" y="4674550"/>
                  <a:chExt cx="3597778" cy="360000"/>
                </a:xfrm>
              </p:grpSpPr>
              <p:sp>
                <p:nvSpPr>
                  <p:cNvPr id="18" name="Eingekerbter Richtungspfeil 17"/>
                  <p:cNvSpPr/>
                  <p:nvPr/>
                </p:nvSpPr>
                <p:spPr bwMode="gray">
                  <a:xfrm>
                    <a:off x="-1401510" y="4674550"/>
                    <a:ext cx="1281869" cy="360000"/>
                  </a:xfrm>
                  <a:prstGeom prst="chevron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ocurement</a:t>
                    </a:r>
                  </a:p>
                </p:txBody>
              </p:sp>
              <p:sp>
                <p:nvSpPr>
                  <p:cNvPr id="19" name="Eingekerbter Richtungspfeil 18"/>
                  <p:cNvSpPr/>
                  <p:nvPr/>
                </p:nvSpPr>
                <p:spPr bwMode="gray">
                  <a:xfrm>
                    <a:off x="-243555" y="4674550"/>
                    <a:ext cx="1281869" cy="360000"/>
                  </a:xfrm>
                  <a:prstGeom prst="chevron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oduction</a:t>
                    </a:r>
                  </a:p>
                </p:txBody>
              </p:sp>
              <p:sp>
                <p:nvSpPr>
                  <p:cNvPr id="20" name="Eingekerbter Richtungspfeil 19"/>
                  <p:cNvSpPr/>
                  <p:nvPr/>
                </p:nvSpPr>
                <p:spPr bwMode="gray">
                  <a:xfrm>
                    <a:off x="914399" y="4674550"/>
                    <a:ext cx="1281869" cy="360000"/>
                  </a:xfrm>
                  <a:prstGeom prst="chevron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Marketing</a:t>
                    </a:r>
                  </a:p>
                </p:txBody>
              </p:sp>
            </p:grpSp>
            <p:grpSp>
              <p:nvGrpSpPr>
                <p:cNvPr id="7" name="Gruppieren 24"/>
                <p:cNvGrpSpPr/>
                <p:nvPr/>
              </p:nvGrpSpPr>
              <p:grpSpPr bwMode="gray">
                <a:xfrm>
                  <a:off x="2704745" y="4428584"/>
                  <a:ext cx="3597778" cy="758100"/>
                  <a:chOff x="-1798889" y="4708733"/>
                  <a:chExt cx="3597778" cy="758100"/>
                </a:xfrm>
              </p:grpSpPr>
              <p:sp>
                <p:nvSpPr>
                  <p:cNvPr id="22" name="Eingekerbter Richtungspfeil 21"/>
                  <p:cNvSpPr/>
                  <p:nvPr/>
                </p:nvSpPr>
                <p:spPr bwMode="gray">
                  <a:xfrm>
                    <a:off x="-1798889" y="4708733"/>
                    <a:ext cx="3597778" cy="360000"/>
                  </a:xfrm>
                  <a:prstGeom prst="chevron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Finance, F&amp;E, personal, </a:t>
                    </a:r>
                    <a:b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</a:b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controlling, administration</a:t>
                    </a:r>
                  </a:p>
                </p:txBody>
              </p:sp>
              <p:sp>
                <p:nvSpPr>
                  <p:cNvPr id="23" name="Rechteck 22"/>
                  <p:cNvSpPr/>
                  <p:nvPr/>
                </p:nvSpPr>
                <p:spPr bwMode="gray">
                  <a:xfrm>
                    <a:off x="-1798889" y="5106833"/>
                    <a:ext cx="3451475" cy="360000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FFFFFF"/>
                        </a:solidFill>
                        <a:cs typeface="Arial" charset="0"/>
                      </a:rPr>
                      <a:t>Supporting processes</a:t>
                    </a:r>
                  </a:p>
                </p:txBody>
              </p:sp>
            </p:grpSp>
            <p:grpSp>
              <p:nvGrpSpPr>
                <p:cNvPr id="9" name="Gruppieren 34"/>
                <p:cNvGrpSpPr/>
                <p:nvPr/>
              </p:nvGrpSpPr>
              <p:grpSpPr bwMode="gray">
                <a:xfrm>
                  <a:off x="3257588" y="4209095"/>
                  <a:ext cx="2492093" cy="183681"/>
                  <a:chOff x="3257588" y="3203048"/>
                  <a:chExt cx="2492093" cy="183681"/>
                </a:xfrm>
              </p:grpSpPr>
              <p:sp>
                <p:nvSpPr>
                  <p:cNvPr id="32" name="Pfeil nach oben 31"/>
                  <p:cNvSpPr/>
                  <p:nvPr/>
                </p:nvSpPr>
                <p:spPr bwMode="gray">
                  <a:xfrm>
                    <a:off x="3257588" y="3203048"/>
                    <a:ext cx="212443" cy="183681"/>
                  </a:xfrm>
                  <a:prstGeom prst="upArrow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3" name="Pfeil nach oben 32"/>
                  <p:cNvSpPr/>
                  <p:nvPr/>
                </p:nvSpPr>
                <p:spPr bwMode="gray">
                  <a:xfrm>
                    <a:off x="4397413" y="3203048"/>
                    <a:ext cx="212443" cy="183681"/>
                  </a:xfrm>
                  <a:prstGeom prst="upArrow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34" name="Pfeil nach oben 33"/>
                  <p:cNvSpPr/>
                  <p:nvPr/>
                </p:nvSpPr>
                <p:spPr bwMode="gray">
                  <a:xfrm>
                    <a:off x="5537238" y="3203048"/>
                    <a:ext cx="212443" cy="183681"/>
                  </a:xfrm>
                  <a:prstGeom prst="upArrow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</p:grpSp>
            <p:sp>
              <p:nvSpPr>
                <p:cNvPr id="36" name="Rechteck 35"/>
                <p:cNvSpPr/>
                <p:nvPr/>
              </p:nvSpPr>
              <p:spPr bwMode="gray">
                <a:xfrm>
                  <a:off x="1226938" y="3813287"/>
                  <a:ext cx="1414149" cy="36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200" b="1" noProof="1" smtClean="0">
                      <a:solidFill>
                        <a:schemeClr val="accent1">
                          <a:lumMod val="75000"/>
                        </a:schemeClr>
                      </a:solidFill>
                      <a:cs typeface="Arial" charset="0"/>
                    </a:rPr>
                    <a:t>Procurement market</a:t>
                  </a:r>
                </a:p>
              </p:txBody>
            </p:sp>
            <p:sp>
              <p:nvSpPr>
                <p:cNvPr id="44" name="Rechteck 43"/>
                <p:cNvSpPr/>
                <p:nvPr/>
              </p:nvSpPr>
              <p:spPr bwMode="gray">
                <a:xfrm>
                  <a:off x="6381651" y="3813287"/>
                  <a:ext cx="1414149" cy="36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 anchorCtr="0"/>
                <a:lstStyle/>
                <a:p>
                  <a:pPr algn="ctr">
                    <a:buClr>
                      <a:srgbClr val="969696"/>
                    </a:buClr>
                    <a:defRPr/>
                  </a:pPr>
                  <a:r>
                    <a:rPr lang="en-US" sz="1200" b="1" noProof="1" smtClean="0">
                      <a:solidFill>
                        <a:schemeClr val="accent1">
                          <a:lumMod val="75000"/>
                        </a:schemeClr>
                      </a:solidFill>
                      <a:cs typeface="Arial" charset="0"/>
                    </a:rPr>
                    <a:t>Market</a:t>
                  </a:r>
                </a:p>
              </p:txBody>
            </p:sp>
          </p:grpSp>
          <p:sp>
            <p:nvSpPr>
              <p:cNvPr id="45" name="Rechteck 44"/>
              <p:cNvSpPr/>
              <p:nvPr/>
            </p:nvSpPr>
            <p:spPr bwMode="gray">
              <a:xfrm>
                <a:off x="6058969" y="1555748"/>
                <a:ext cx="2131753" cy="82845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t" anchorCtr="0">
                <a:spAutoFit/>
              </a:bodyPr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200" b="1" noProof="1" smtClean="0">
                    <a:cs typeface="Arial" charset="0"/>
                  </a:rPr>
                  <a:t>Note: </a:t>
                </a:r>
                <a:r>
                  <a:rPr lang="en-US" sz="1200" noProof="1" smtClean="0">
                    <a:cs typeface="Arial" charset="0"/>
                  </a:rPr>
                  <a:t>If marketing is the central bottleneck, all processes have to act accordingly (subject heading "Market-Oriented Management"). By the way: </a:t>
                </a:r>
                <a:br>
                  <a:rPr lang="en-US" sz="1200" noProof="1" smtClean="0">
                    <a:cs typeface="Arial" charset="0"/>
                  </a:rPr>
                </a:br>
                <a:r>
                  <a:rPr lang="en-US" sz="1200" noProof="1" smtClean="0">
                    <a:cs typeface="Arial" charset="0"/>
                  </a:rPr>
                  <a:t>Each process can be a central bottleneck.</a:t>
                </a:r>
              </a:p>
            </p:txBody>
          </p:sp>
        </p:grpSp>
        <p:sp>
          <p:nvSpPr>
            <p:cNvPr id="46" name="Rechteck 45"/>
            <p:cNvSpPr/>
            <p:nvPr/>
          </p:nvSpPr>
          <p:spPr bwMode="gray">
            <a:xfrm>
              <a:off x="323850" y="5937204"/>
              <a:ext cx="8497092" cy="30777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>
              <a:spAutoFit/>
            </a:bodyPr>
            <a:lstStyle/>
            <a:p>
              <a:pPr>
                <a:buClr>
                  <a:srgbClr val="969696"/>
                </a:buClr>
                <a:defRPr/>
              </a:pPr>
              <a:r>
                <a:rPr lang="en-US" sz="1000" b="1" noProof="1" smtClean="0">
                  <a:solidFill>
                    <a:srgbClr val="969696"/>
                  </a:solidFill>
                  <a:cs typeface="Arial" charset="0"/>
                </a:rPr>
                <a:t>Note: </a:t>
              </a:r>
              <a:r>
                <a:rPr lang="en-US" sz="1000" noProof="1" smtClean="0">
                  <a:solidFill>
                    <a:srgbClr val="969696"/>
                  </a:solidFill>
                  <a:cs typeface="Arial" charset="0"/>
                </a:rPr>
                <a:t>Commercial companies have mainly just the two core processes Procurement and Marketing (Sales). In service companies no one speaks of production but of service performance; in technology-intensive companies is research and development usually the core process (in terms of contribution to value creation ).</a:t>
              </a:r>
            </a:p>
          </p:txBody>
        </p:sp>
        <p:sp>
          <p:nvSpPr>
            <p:cNvPr id="2" name="Rechteck 1"/>
            <p:cNvSpPr/>
            <p:nvPr/>
          </p:nvSpPr>
          <p:spPr bwMode="gray">
            <a:xfrm>
              <a:off x="3595316" y="2146197"/>
              <a:ext cx="146405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1700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Marketing control </a:t>
            </a:r>
            <a:r>
              <a:rPr lang="en-US" b="0" noProof="1" smtClean="0"/>
              <a:t>- Basic Scheme</a:t>
            </a:r>
            <a:endParaRPr lang="en-US" noProof="1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rketing control to varify structures, processes and results</a:t>
            </a:r>
            <a:endParaRPr lang="en-US" noProof="1"/>
          </a:p>
        </p:txBody>
      </p:sp>
      <p:grpSp>
        <p:nvGrpSpPr>
          <p:cNvPr id="2" name="Gruppieren 16"/>
          <p:cNvGrpSpPr/>
          <p:nvPr/>
        </p:nvGrpSpPr>
        <p:grpSpPr>
          <a:xfrm>
            <a:off x="615651" y="1555751"/>
            <a:ext cx="7872945" cy="4260962"/>
            <a:chOff x="615651" y="1555751"/>
            <a:chExt cx="7872945" cy="4260962"/>
          </a:xfrm>
        </p:grpSpPr>
        <p:sp>
          <p:nvSpPr>
            <p:cNvPr id="16395" name="Text Box 11"/>
            <p:cNvSpPr txBox="1">
              <a:spLocks noChangeArrowheads="1"/>
            </p:cNvSpPr>
            <p:nvPr/>
          </p:nvSpPr>
          <p:spPr bwMode="gray">
            <a:xfrm>
              <a:off x="5771316" y="4090030"/>
              <a:ext cx="2717280" cy="83099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Consequence 2: </a:t>
              </a:r>
              <a:br>
                <a:rPr lang="en-US" b="1" noProof="1" smtClean="0"/>
              </a:br>
              <a:r>
                <a:rPr lang="en-US" noProof="1" smtClean="0"/>
                <a:t>Change and adjustments of  current measures</a:t>
              </a:r>
              <a:endParaRPr lang="en-US" noProof="1"/>
            </a:p>
          </p:txBody>
        </p:sp>
        <p:sp>
          <p:nvSpPr>
            <p:cNvPr id="16396" name="Text Box 12"/>
            <p:cNvSpPr txBox="1">
              <a:spLocks noChangeArrowheads="1"/>
            </p:cNvSpPr>
            <p:nvPr/>
          </p:nvSpPr>
          <p:spPr bwMode="gray">
            <a:xfrm>
              <a:off x="615651" y="4090030"/>
              <a:ext cx="2717280" cy="83099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Consequence 1:</a:t>
              </a:r>
              <a:r>
                <a:rPr lang="en-US" noProof="1" smtClean="0"/>
                <a:t/>
              </a:r>
              <a:br>
                <a:rPr lang="en-US" noProof="1" smtClean="0"/>
              </a:br>
              <a:r>
                <a:rPr lang="en-US" noProof="1" smtClean="0"/>
                <a:t>Change and adjustments of objectives</a:t>
              </a:r>
              <a:endParaRPr lang="en-US" noProof="1"/>
            </a:p>
          </p:txBody>
        </p:sp>
        <p:sp>
          <p:nvSpPr>
            <p:cNvPr id="16" name="Text Box 12"/>
            <p:cNvSpPr txBox="1">
              <a:spLocks noChangeArrowheads="1"/>
            </p:cNvSpPr>
            <p:nvPr/>
          </p:nvSpPr>
          <p:spPr bwMode="gray">
            <a:xfrm>
              <a:off x="3741018" y="1699961"/>
              <a:ext cx="1661965" cy="320365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b="1" noProof="1" smtClean="0"/>
                <a:t>Input / Output</a:t>
              </a:r>
              <a:endParaRPr lang="en-US" b="1" noProof="1"/>
            </a:p>
          </p:txBody>
        </p:sp>
        <p:sp>
          <p:nvSpPr>
            <p:cNvPr id="16386" name="Oval 2"/>
            <p:cNvSpPr>
              <a:spLocks/>
            </p:cNvSpPr>
            <p:nvPr/>
          </p:nvSpPr>
          <p:spPr bwMode="gray">
            <a:xfrm>
              <a:off x="3676320" y="2149528"/>
              <a:ext cx="1791360" cy="17915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ompare</a:t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objectives</a:t>
              </a:r>
              <a:r>
                <a:rPr lang="en-US" b="1" noProof="1">
                  <a:solidFill>
                    <a:srgbClr val="FFFFFF"/>
                  </a:solidFill>
                  <a:cs typeface="Arial" charset="0"/>
                </a:rPr>
                <a:t>/</a:t>
              </a: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/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result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6387" name="Oval 3"/>
            <p:cNvSpPr>
              <a:spLocks/>
            </p:cNvSpPr>
            <p:nvPr/>
          </p:nvSpPr>
          <p:spPr bwMode="gray">
            <a:xfrm>
              <a:off x="1974291" y="1555752"/>
              <a:ext cx="1236960" cy="123708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Objectives</a:t>
              </a:r>
              <a:endParaRPr lang="en-US" sz="1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388" name="Oval 4"/>
            <p:cNvSpPr>
              <a:spLocks/>
            </p:cNvSpPr>
            <p:nvPr/>
          </p:nvSpPr>
          <p:spPr bwMode="gray">
            <a:xfrm>
              <a:off x="5932749" y="1555751"/>
              <a:ext cx="1236960" cy="123708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Observed results</a:t>
              </a:r>
              <a:endParaRPr lang="en-US" sz="1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389" name="Oval 5"/>
            <p:cNvSpPr>
              <a:spLocks/>
            </p:cNvSpPr>
            <p:nvPr/>
          </p:nvSpPr>
          <p:spPr bwMode="gray">
            <a:xfrm>
              <a:off x="3963690" y="4579623"/>
              <a:ext cx="1236960" cy="123709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Decisions about response</a:t>
              </a:r>
              <a:endParaRPr lang="en-US" sz="1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Pfeil nach oben und unten 29"/>
            <p:cNvSpPr/>
            <p:nvPr/>
          </p:nvSpPr>
          <p:spPr bwMode="auto">
            <a:xfrm>
              <a:off x="4498975" y="4016961"/>
              <a:ext cx="122400" cy="519320"/>
            </a:xfrm>
            <a:prstGeom prst="upDownArrow">
              <a:avLst/>
            </a:prstGeom>
            <a:solidFill>
              <a:srgbClr val="96969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32" name="Pfeil nach oben und unten 31"/>
            <p:cNvSpPr/>
            <p:nvPr/>
          </p:nvSpPr>
          <p:spPr bwMode="auto">
            <a:xfrm rot="4046475">
              <a:off x="5610084" y="2274866"/>
              <a:ext cx="122400" cy="519320"/>
            </a:xfrm>
            <a:prstGeom prst="upDownArrow">
              <a:avLst/>
            </a:prstGeom>
            <a:solidFill>
              <a:srgbClr val="96969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33" name="Pfeil nach oben und unten 32"/>
            <p:cNvSpPr/>
            <p:nvPr/>
          </p:nvSpPr>
          <p:spPr bwMode="auto">
            <a:xfrm rot="17553525" flipH="1">
              <a:off x="3383914" y="2310274"/>
              <a:ext cx="122400" cy="519320"/>
            </a:xfrm>
            <a:prstGeom prst="upDownArrow">
              <a:avLst/>
            </a:prstGeom>
            <a:solidFill>
              <a:srgbClr val="96969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36" name="Pfeil nach oben und unten 35"/>
            <p:cNvSpPr/>
            <p:nvPr/>
          </p:nvSpPr>
          <p:spPr bwMode="auto">
            <a:xfrm rot="19622406" flipH="1">
              <a:off x="3501988" y="2644145"/>
              <a:ext cx="122400" cy="2126172"/>
            </a:xfrm>
            <a:prstGeom prst="upDownArrow">
              <a:avLst/>
            </a:prstGeom>
            <a:solidFill>
              <a:srgbClr val="96969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37" name="Pfeil nach oben und unten 36"/>
            <p:cNvSpPr/>
            <p:nvPr/>
          </p:nvSpPr>
          <p:spPr bwMode="auto">
            <a:xfrm rot="1977594">
              <a:off x="5503798" y="2633715"/>
              <a:ext cx="123350" cy="2126172"/>
            </a:xfrm>
            <a:prstGeom prst="upDownArrow">
              <a:avLst/>
            </a:prstGeom>
            <a:solidFill>
              <a:srgbClr val="96969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854994"/>
            <a:ext cx="8820150" cy="336244"/>
          </a:xfrm>
        </p:spPr>
        <p:txBody>
          <a:bodyPr/>
          <a:lstStyle/>
          <a:p>
            <a:r>
              <a:rPr lang="en-US" noProof="1" smtClean="0"/>
              <a:t>The sum of all communications measures of a company </a:t>
            </a:r>
            <a:br>
              <a:rPr lang="en-US" noProof="1" smtClean="0"/>
            </a:br>
            <a:r>
              <a:rPr lang="en-US" noProof="1" smtClean="0"/>
              <a:t>(corporate communications)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any Communication</a:t>
            </a:r>
            <a:endParaRPr lang="en-US" b="0" noProof="1" smtClean="0"/>
          </a:p>
        </p:txBody>
      </p:sp>
      <p:grpSp>
        <p:nvGrpSpPr>
          <p:cNvPr id="38" name="Gruppieren 37"/>
          <p:cNvGrpSpPr/>
          <p:nvPr/>
        </p:nvGrpSpPr>
        <p:grpSpPr>
          <a:xfrm>
            <a:off x="1913556" y="1712033"/>
            <a:ext cx="6037541" cy="4583113"/>
            <a:chOff x="1913556" y="1568450"/>
            <a:chExt cx="6037541" cy="4583113"/>
          </a:xfrm>
        </p:grpSpPr>
        <p:pic>
          <p:nvPicPr>
            <p:cNvPr id="84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2905919" y="5446713"/>
              <a:ext cx="3332162" cy="704850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2" name="Gruppieren 38"/>
            <p:cNvGrpSpPr/>
            <p:nvPr/>
          </p:nvGrpSpPr>
          <p:grpSpPr>
            <a:xfrm>
              <a:off x="1913556" y="1568450"/>
              <a:ext cx="6037541" cy="4213225"/>
              <a:chOff x="1913556" y="1568450"/>
              <a:chExt cx="6037541" cy="4213225"/>
            </a:xfrm>
          </p:grpSpPr>
          <p:grpSp>
            <p:nvGrpSpPr>
              <p:cNvPr id="3" name="Gruppieren 84"/>
              <p:cNvGrpSpPr/>
              <p:nvPr/>
            </p:nvGrpSpPr>
            <p:grpSpPr bwMode="gray">
              <a:xfrm>
                <a:off x="3484563" y="1568450"/>
                <a:ext cx="2174875" cy="4213225"/>
                <a:chOff x="6057900" y="1568450"/>
                <a:chExt cx="2174875" cy="4213225"/>
              </a:xfrm>
            </p:grpSpPr>
            <p:grpSp>
              <p:nvGrpSpPr>
                <p:cNvPr id="4" name="Gruppieren 43"/>
                <p:cNvGrpSpPr/>
                <p:nvPr/>
              </p:nvGrpSpPr>
              <p:grpSpPr bwMode="gray">
                <a:xfrm>
                  <a:off x="6057900" y="1568450"/>
                  <a:ext cx="2174875" cy="4213225"/>
                  <a:chOff x="6057900" y="1568450"/>
                  <a:chExt cx="2174875" cy="4213225"/>
                </a:xfrm>
              </p:grpSpPr>
              <p:sp>
                <p:nvSpPr>
                  <p:cNvPr id="90" name="Oval 21" descr="© INSCALE GmbH, 26.05.2010&#10;http://www.presentationload.com/"/>
                  <p:cNvSpPr>
                    <a:spLocks noChangeArrowheads="1"/>
                  </p:cNvSpPr>
                  <p:nvPr/>
                </p:nvSpPr>
                <p:spPr bwMode="gray">
                  <a:xfrm>
                    <a:off x="6057900" y="5256213"/>
                    <a:ext cx="2174875" cy="28098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131313">
                          <a:gamma/>
                          <a:tint val="50588"/>
                          <a:invGamma/>
                        </a:srgbClr>
                      </a:gs>
                      <a:gs pos="100000">
                        <a:srgbClr val="131313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1" name="Freeform 2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057900" y="5397500"/>
                    <a:ext cx="2174875" cy="384175"/>
                  </a:xfrm>
                  <a:custGeom>
                    <a:avLst/>
                    <a:gdLst/>
                    <a:ahLst/>
                    <a:cxnLst>
                      <a:cxn ang="0">
                        <a:pos x="635" y="225"/>
                      </a:cxn>
                      <a:cxn ang="0">
                        <a:pos x="0" y="143"/>
                      </a:cxn>
                      <a:cxn ang="0">
                        <a:pos x="0" y="0"/>
                      </a:cxn>
                      <a:cxn ang="0">
                        <a:pos x="635" y="82"/>
                      </a:cxn>
                      <a:cxn ang="0">
                        <a:pos x="1271" y="0"/>
                      </a:cxn>
                      <a:cxn ang="0">
                        <a:pos x="1271" y="143"/>
                      </a:cxn>
                      <a:cxn ang="0">
                        <a:pos x="635" y="225"/>
                      </a:cxn>
                    </a:cxnLst>
                    <a:rect l="0" t="0" r="r" b="b"/>
                    <a:pathLst>
                      <a:path w="1271" h="225">
                        <a:moveTo>
                          <a:pt x="635" y="225"/>
                        </a:moveTo>
                        <a:cubicBezTo>
                          <a:pt x="284" y="225"/>
                          <a:pt x="0" y="188"/>
                          <a:pt x="0" y="143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46"/>
                          <a:pt x="284" y="82"/>
                          <a:pt x="635" y="82"/>
                        </a:cubicBezTo>
                        <a:cubicBezTo>
                          <a:pt x="986" y="82"/>
                          <a:pt x="1271" y="46"/>
                          <a:pt x="1271" y="0"/>
                        </a:cubicBezTo>
                        <a:cubicBezTo>
                          <a:pt x="1271" y="143"/>
                          <a:pt x="1271" y="143"/>
                          <a:pt x="1271" y="143"/>
                        </a:cubicBezTo>
                        <a:cubicBezTo>
                          <a:pt x="1271" y="188"/>
                          <a:pt x="986" y="225"/>
                          <a:pt x="635" y="225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5882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2" name="Oval 23" descr="© INSCALE GmbH, 26.05.2010&#10;http://www.presentationload.com/"/>
                  <p:cNvSpPr>
                    <a:spLocks noChangeArrowheads="1"/>
                  </p:cNvSpPr>
                  <p:nvPr/>
                </p:nvSpPr>
                <p:spPr bwMode="gray">
                  <a:xfrm>
                    <a:off x="6583363" y="5208588"/>
                    <a:ext cx="1123950" cy="14605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131313">
                          <a:gamma/>
                          <a:tint val="50588"/>
                          <a:invGamma/>
                        </a:srgbClr>
                      </a:gs>
                      <a:gs pos="100000">
                        <a:srgbClr val="131313"/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3" name="Freeform 24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583363" y="5280025"/>
                    <a:ext cx="1123950" cy="200025"/>
                  </a:xfrm>
                  <a:custGeom>
                    <a:avLst/>
                    <a:gdLst/>
                    <a:ahLst/>
                    <a:cxnLst>
                      <a:cxn ang="0">
                        <a:pos x="328" y="117"/>
                      </a:cxn>
                      <a:cxn ang="0">
                        <a:pos x="0" y="74"/>
                      </a:cxn>
                      <a:cxn ang="0">
                        <a:pos x="0" y="0"/>
                      </a:cxn>
                      <a:cxn ang="0">
                        <a:pos x="328" y="43"/>
                      </a:cxn>
                      <a:cxn ang="0">
                        <a:pos x="657" y="0"/>
                      </a:cxn>
                      <a:cxn ang="0">
                        <a:pos x="657" y="74"/>
                      </a:cxn>
                      <a:cxn ang="0">
                        <a:pos x="328" y="117"/>
                      </a:cxn>
                    </a:cxnLst>
                    <a:rect l="0" t="0" r="r" b="b"/>
                    <a:pathLst>
                      <a:path w="657" h="117">
                        <a:moveTo>
                          <a:pt x="328" y="117"/>
                        </a:moveTo>
                        <a:cubicBezTo>
                          <a:pt x="147" y="117"/>
                          <a:pt x="0" y="98"/>
                          <a:pt x="0" y="74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24"/>
                          <a:pt x="147" y="43"/>
                          <a:pt x="328" y="43"/>
                        </a:cubicBezTo>
                        <a:cubicBezTo>
                          <a:pt x="510" y="43"/>
                          <a:pt x="657" y="24"/>
                          <a:pt x="657" y="0"/>
                        </a:cubicBezTo>
                        <a:cubicBezTo>
                          <a:pt x="657" y="74"/>
                          <a:pt x="657" y="74"/>
                          <a:pt x="657" y="74"/>
                        </a:cubicBezTo>
                        <a:cubicBezTo>
                          <a:pt x="657" y="98"/>
                          <a:pt x="510" y="117"/>
                          <a:pt x="328" y="117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5882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4" name="Freeform 25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623050" y="5170488"/>
                    <a:ext cx="46038" cy="114300"/>
                  </a:xfrm>
                  <a:custGeom>
                    <a:avLst/>
                    <a:gdLst/>
                    <a:ahLst/>
                    <a:cxnLst>
                      <a:cxn ang="0">
                        <a:pos x="6" y="4"/>
                      </a:cxn>
                      <a:cxn ang="0">
                        <a:pos x="0" y="0"/>
                      </a:cxn>
                      <a:cxn ang="0">
                        <a:pos x="0" y="64"/>
                      </a:cxn>
                      <a:cxn ang="0">
                        <a:pos x="13" y="68"/>
                      </a:cxn>
                      <a:cxn ang="0">
                        <a:pos x="26" y="64"/>
                      </a:cxn>
                      <a:cxn ang="0">
                        <a:pos x="26" y="17"/>
                      </a:cxn>
                      <a:cxn ang="0">
                        <a:pos x="6" y="4"/>
                      </a:cxn>
                    </a:cxnLst>
                    <a:rect l="0" t="0" r="r" b="b"/>
                    <a:pathLst>
                      <a:path w="26" h="68">
                        <a:moveTo>
                          <a:pt x="6" y="4"/>
                        </a:moveTo>
                        <a:cubicBezTo>
                          <a:pt x="4" y="3"/>
                          <a:pt x="2" y="2"/>
                          <a:pt x="0" y="0"/>
                        </a:cubicBezTo>
                        <a:cubicBezTo>
                          <a:pt x="0" y="64"/>
                          <a:pt x="0" y="64"/>
                          <a:pt x="0" y="64"/>
                        </a:cubicBezTo>
                        <a:cubicBezTo>
                          <a:pt x="0" y="66"/>
                          <a:pt x="6" y="68"/>
                          <a:pt x="13" y="68"/>
                        </a:cubicBezTo>
                        <a:cubicBezTo>
                          <a:pt x="20" y="68"/>
                          <a:pt x="25" y="66"/>
                          <a:pt x="26" y="64"/>
                        </a:cubicBezTo>
                        <a:cubicBezTo>
                          <a:pt x="26" y="17"/>
                          <a:pt x="26" y="17"/>
                          <a:pt x="26" y="17"/>
                        </a:cubicBezTo>
                        <a:cubicBezTo>
                          <a:pt x="19" y="12"/>
                          <a:pt x="12" y="8"/>
                          <a:pt x="6" y="4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8B8B8B">
                          <a:gamma/>
                          <a:shade val="46275"/>
                          <a:invGamma/>
                        </a:srgbClr>
                      </a:gs>
                      <a:gs pos="50000">
                        <a:srgbClr val="8B8B8B"/>
                      </a:gs>
                      <a:gs pos="100000">
                        <a:srgbClr val="8B8B8B">
                          <a:gamma/>
                          <a:shade val="46275"/>
                          <a:invGamma/>
                        </a:srgbClr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5" name="Freeform 26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618413" y="5140325"/>
                    <a:ext cx="44450" cy="144463"/>
                  </a:xfrm>
                  <a:custGeom>
                    <a:avLst/>
                    <a:gdLst/>
                    <a:ahLst/>
                    <a:cxnLst>
                      <a:cxn ang="0">
                        <a:pos x="0" y="81"/>
                      </a:cxn>
                      <a:cxn ang="0">
                        <a:pos x="13" y="85"/>
                      </a:cxn>
                      <a:cxn ang="0">
                        <a:pos x="26" y="81"/>
                      </a:cxn>
                      <a:cxn ang="0">
                        <a:pos x="26" y="0"/>
                      </a:cxn>
                      <a:cxn ang="0">
                        <a:pos x="0" y="20"/>
                      </a:cxn>
                      <a:cxn ang="0">
                        <a:pos x="0" y="81"/>
                      </a:cxn>
                    </a:cxnLst>
                    <a:rect l="0" t="0" r="r" b="b"/>
                    <a:pathLst>
                      <a:path w="26" h="85">
                        <a:moveTo>
                          <a:pt x="0" y="81"/>
                        </a:moveTo>
                        <a:cubicBezTo>
                          <a:pt x="1" y="83"/>
                          <a:pt x="6" y="85"/>
                          <a:pt x="13" y="85"/>
                        </a:cubicBezTo>
                        <a:cubicBezTo>
                          <a:pt x="20" y="85"/>
                          <a:pt x="26" y="83"/>
                          <a:pt x="26" y="81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cubicBezTo>
                          <a:pt x="18" y="7"/>
                          <a:pt x="10" y="14"/>
                          <a:pt x="0" y="20"/>
                        </a:cubicBezTo>
                        <a:lnTo>
                          <a:pt x="0" y="81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8B8B8B">
                          <a:gamma/>
                          <a:shade val="46275"/>
                          <a:invGamma/>
                        </a:srgbClr>
                      </a:gs>
                      <a:gs pos="50000">
                        <a:srgbClr val="8B8B8B"/>
                      </a:gs>
                      <a:gs pos="100000">
                        <a:srgbClr val="8B8B8B">
                          <a:gamma/>
                          <a:shade val="46275"/>
                          <a:invGamma/>
                        </a:srgbClr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6" name="Oval 27" descr="© INSCALE GmbH, 26.05.2010&#10;http://www.presentationload.com/"/>
                  <p:cNvSpPr>
                    <a:spLocks noChangeArrowheads="1"/>
                  </p:cNvSpPr>
                  <p:nvPr/>
                </p:nvSpPr>
                <p:spPr bwMode="gray">
                  <a:xfrm>
                    <a:off x="6057900" y="1811338"/>
                    <a:ext cx="2174875" cy="28098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131313"/>
                      </a:gs>
                      <a:gs pos="100000">
                        <a:srgbClr val="131313">
                          <a:gamma/>
                          <a:tint val="50588"/>
                          <a:invGamma/>
                        </a:srgbClr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7" name="Freeform 2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057900" y="1568450"/>
                    <a:ext cx="2174875" cy="384175"/>
                  </a:xfrm>
                  <a:custGeom>
                    <a:avLst/>
                    <a:gdLst/>
                    <a:ahLst/>
                    <a:cxnLst>
                      <a:cxn ang="0">
                        <a:pos x="635" y="0"/>
                      </a:cxn>
                      <a:cxn ang="0">
                        <a:pos x="0" y="82"/>
                      </a:cxn>
                      <a:cxn ang="0">
                        <a:pos x="0" y="225"/>
                      </a:cxn>
                      <a:cxn ang="0">
                        <a:pos x="635" y="142"/>
                      </a:cxn>
                      <a:cxn ang="0">
                        <a:pos x="1271" y="225"/>
                      </a:cxn>
                      <a:cxn ang="0">
                        <a:pos x="1271" y="82"/>
                      </a:cxn>
                      <a:cxn ang="0">
                        <a:pos x="635" y="0"/>
                      </a:cxn>
                    </a:cxnLst>
                    <a:rect l="0" t="0" r="r" b="b"/>
                    <a:pathLst>
                      <a:path w="1271" h="225">
                        <a:moveTo>
                          <a:pt x="635" y="0"/>
                        </a:moveTo>
                        <a:cubicBezTo>
                          <a:pt x="284" y="0"/>
                          <a:pt x="0" y="36"/>
                          <a:pt x="0" y="82"/>
                        </a:cubicBezTo>
                        <a:cubicBezTo>
                          <a:pt x="0" y="225"/>
                          <a:pt x="0" y="225"/>
                          <a:pt x="0" y="225"/>
                        </a:cubicBezTo>
                        <a:cubicBezTo>
                          <a:pt x="0" y="179"/>
                          <a:pt x="284" y="142"/>
                          <a:pt x="635" y="142"/>
                        </a:cubicBezTo>
                        <a:cubicBezTo>
                          <a:pt x="986" y="142"/>
                          <a:pt x="1271" y="179"/>
                          <a:pt x="1271" y="225"/>
                        </a:cubicBezTo>
                        <a:cubicBezTo>
                          <a:pt x="1271" y="82"/>
                          <a:pt x="1271" y="82"/>
                          <a:pt x="1271" y="82"/>
                        </a:cubicBezTo>
                        <a:cubicBezTo>
                          <a:pt x="1271" y="36"/>
                          <a:pt x="986" y="0"/>
                          <a:pt x="635" y="0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5882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8" name="Oval 29" descr="© INSCALE GmbH, 26.05.2010&#10;http://www.presentationload.com/"/>
                  <p:cNvSpPr>
                    <a:spLocks noChangeArrowheads="1"/>
                  </p:cNvSpPr>
                  <p:nvPr/>
                </p:nvSpPr>
                <p:spPr bwMode="gray">
                  <a:xfrm>
                    <a:off x="6583363" y="1995488"/>
                    <a:ext cx="1123950" cy="144462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131313"/>
                      </a:gs>
                      <a:gs pos="100000">
                        <a:srgbClr val="131313">
                          <a:gamma/>
                          <a:tint val="50588"/>
                          <a:invGamma/>
                        </a:srgbClr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99" name="Freeform 3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583363" y="1870075"/>
                    <a:ext cx="1123950" cy="196850"/>
                  </a:xfrm>
                  <a:custGeom>
                    <a:avLst/>
                    <a:gdLst/>
                    <a:ahLst/>
                    <a:cxnLst>
                      <a:cxn ang="0">
                        <a:pos x="328" y="0"/>
                      </a:cxn>
                      <a:cxn ang="0">
                        <a:pos x="0" y="43"/>
                      </a:cxn>
                      <a:cxn ang="0">
                        <a:pos x="0" y="116"/>
                      </a:cxn>
                      <a:cxn ang="0">
                        <a:pos x="328" y="74"/>
                      </a:cxn>
                      <a:cxn ang="0">
                        <a:pos x="657" y="116"/>
                      </a:cxn>
                      <a:cxn ang="0">
                        <a:pos x="657" y="43"/>
                      </a:cxn>
                      <a:cxn ang="0">
                        <a:pos x="328" y="0"/>
                      </a:cxn>
                    </a:cxnLst>
                    <a:rect l="0" t="0" r="r" b="b"/>
                    <a:pathLst>
                      <a:path w="657" h="116">
                        <a:moveTo>
                          <a:pt x="328" y="0"/>
                        </a:moveTo>
                        <a:cubicBezTo>
                          <a:pt x="147" y="0"/>
                          <a:pt x="0" y="19"/>
                          <a:pt x="0" y="43"/>
                        </a:cubicBezTo>
                        <a:cubicBezTo>
                          <a:pt x="0" y="116"/>
                          <a:pt x="0" y="116"/>
                          <a:pt x="0" y="116"/>
                        </a:cubicBezTo>
                        <a:cubicBezTo>
                          <a:pt x="0" y="93"/>
                          <a:pt x="147" y="74"/>
                          <a:pt x="328" y="74"/>
                        </a:cubicBezTo>
                        <a:cubicBezTo>
                          <a:pt x="510" y="74"/>
                          <a:pt x="657" y="93"/>
                          <a:pt x="657" y="116"/>
                        </a:cubicBezTo>
                        <a:cubicBezTo>
                          <a:pt x="657" y="43"/>
                          <a:pt x="657" y="43"/>
                          <a:pt x="657" y="43"/>
                        </a:cubicBezTo>
                        <a:cubicBezTo>
                          <a:pt x="657" y="19"/>
                          <a:pt x="510" y="0"/>
                          <a:pt x="328" y="0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5882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0" name="Freeform 31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623050" y="2060575"/>
                    <a:ext cx="46038" cy="120650"/>
                  </a:xfrm>
                  <a:custGeom>
                    <a:avLst/>
                    <a:gdLst/>
                    <a:ahLst/>
                    <a:cxnLst>
                      <a:cxn ang="0">
                        <a:pos x="6" y="67"/>
                      </a:cxn>
                      <a:cxn ang="0">
                        <a:pos x="26" y="54"/>
                      </a:cxn>
                      <a:cxn ang="0">
                        <a:pos x="26" y="5"/>
                      </a:cxn>
                      <a:cxn ang="0">
                        <a:pos x="13" y="0"/>
                      </a:cxn>
                      <a:cxn ang="0">
                        <a:pos x="0" y="5"/>
                      </a:cxn>
                      <a:cxn ang="0">
                        <a:pos x="0" y="71"/>
                      </a:cxn>
                      <a:cxn ang="0">
                        <a:pos x="6" y="66"/>
                      </a:cxn>
                      <a:cxn ang="0">
                        <a:pos x="6" y="67"/>
                      </a:cxn>
                    </a:cxnLst>
                    <a:rect l="0" t="0" r="r" b="b"/>
                    <a:pathLst>
                      <a:path w="26" h="71">
                        <a:moveTo>
                          <a:pt x="6" y="67"/>
                        </a:moveTo>
                        <a:cubicBezTo>
                          <a:pt x="12" y="62"/>
                          <a:pt x="19" y="58"/>
                          <a:pt x="26" y="54"/>
                        </a:cubicBezTo>
                        <a:cubicBezTo>
                          <a:pt x="26" y="5"/>
                          <a:pt x="26" y="5"/>
                          <a:pt x="26" y="5"/>
                        </a:cubicBezTo>
                        <a:cubicBezTo>
                          <a:pt x="25" y="2"/>
                          <a:pt x="20" y="0"/>
                          <a:pt x="13" y="0"/>
                        </a:cubicBezTo>
                        <a:cubicBezTo>
                          <a:pt x="6" y="0"/>
                          <a:pt x="0" y="2"/>
                          <a:pt x="0" y="5"/>
                        </a:cubicBezTo>
                        <a:cubicBezTo>
                          <a:pt x="0" y="71"/>
                          <a:pt x="0" y="71"/>
                          <a:pt x="0" y="71"/>
                        </a:cubicBezTo>
                        <a:cubicBezTo>
                          <a:pt x="2" y="69"/>
                          <a:pt x="4" y="68"/>
                          <a:pt x="6" y="66"/>
                        </a:cubicBezTo>
                        <a:lnTo>
                          <a:pt x="6" y="67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8B8B8B">
                          <a:gamma/>
                          <a:shade val="46275"/>
                          <a:invGamma/>
                        </a:srgbClr>
                      </a:gs>
                      <a:gs pos="50000">
                        <a:srgbClr val="8B8B8B"/>
                      </a:gs>
                      <a:gs pos="100000">
                        <a:srgbClr val="8B8B8B">
                          <a:gamma/>
                          <a:shade val="46275"/>
                          <a:invGamma/>
                        </a:srgbClr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1" name="Freeform 3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618413" y="2060575"/>
                    <a:ext cx="44450" cy="149225"/>
                  </a:xfrm>
                  <a:custGeom>
                    <a:avLst/>
                    <a:gdLst/>
                    <a:ahLst/>
                    <a:cxnLst>
                      <a:cxn ang="0">
                        <a:pos x="26" y="5"/>
                      </a:cxn>
                      <a:cxn ang="0">
                        <a:pos x="13" y="0"/>
                      </a:cxn>
                      <a:cxn ang="0">
                        <a:pos x="0" y="5"/>
                      </a:cxn>
                      <a:cxn ang="0">
                        <a:pos x="0" y="67"/>
                      </a:cxn>
                      <a:cxn ang="0">
                        <a:pos x="26" y="87"/>
                      </a:cxn>
                      <a:cxn ang="0">
                        <a:pos x="26" y="5"/>
                      </a:cxn>
                    </a:cxnLst>
                    <a:rect l="0" t="0" r="r" b="b"/>
                    <a:pathLst>
                      <a:path w="26" h="87">
                        <a:moveTo>
                          <a:pt x="26" y="5"/>
                        </a:moveTo>
                        <a:cubicBezTo>
                          <a:pt x="26" y="2"/>
                          <a:pt x="20" y="0"/>
                          <a:pt x="13" y="0"/>
                        </a:cubicBezTo>
                        <a:cubicBezTo>
                          <a:pt x="6" y="0"/>
                          <a:pt x="1" y="2"/>
                          <a:pt x="0" y="5"/>
                        </a:cubicBezTo>
                        <a:cubicBezTo>
                          <a:pt x="0" y="67"/>
                          <a:pt x="0" y="67"/>
                          <a:pt x="0" y="67"/>
                        </a:cubicBezTo>
                        <a:cubicBezTo>
                          <a:pt x="10" y="74"/>
                          <a:pt x="18" y="80"/>
                          <a:pt x="26" y="87"/>
                        </a:cubicBezTo>
                        <a:lnTo>
                          <a:pt x="26" y="5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8B8B8B">
                          <a:gamma/>
                          <a:shade val="46275"/>
                          <a:invGamma/>
                        </a:srgbClr>
                      </a:gs>
                      <a:gs pos="50000">
                        <a:srgbClr val="8B8B8B"/>
                      </a:gs>
                      <a:gs pos="100000">
                        <a:srgbClr val="8B8B8B">
                          <a:gamma/>
                          <a:shade val="46275"/>
                          <a:invGamma/>
                        </a:srgbClr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2" name="Freeform 3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369050" y="2035175"/>
                    <a:ext cx="1512888" cy="3279775"/>
                  </a:xfrm>
                  <a:custGeom>
                    <a:avLst/>
                    <a:gdLst/>
                    <a:ahLst/>
                    <a:cxnLst>
                      <a:cxn ang="0">
                        <a:pos x="856" y="1472"/>
                      </a:cxn>
                      <a:cxn ang="0">
                        <a:pos x="764" y="1265"/>
                      </a:cxn>
                      <a:cxn ang="0">
                        <a:pos x="531" y="1025"/>
                      </a:cxn>
                      <a:cxn ang="0">
                        <a:pos x="472" y="959"/>
                      </a:cxn>
                      <a:cxn ang="0">
                        <a:pos x="531" y="894"/>
                      </a:cxn>
                      <a:cxn ang="0">
                        <a:pos x="764" y="654"/>
                      </a:cxn>
                      <a:cxn ang="0">
                        <a:pos x="856" y="447"/>
                      </a:cxn>
                      <a:cxn ang="0">
                        <a:pos x="857" y="447"/>
                      </a:cxn>
                      <a:cxn ang="0">
                        <a:pos x="803" y="155"/>
                      </a:cxn>
                      <a:cxn ang="0">
                        <a:pos x="801" y="153"/>
                      </a:cxn>
                      <a:cxn ang="0">
                        <a:pos x="786" y="133"/>
                      </a:cxn>
                      <a:cxn ang="0">
                        <a:pos x="786" y="133"/>
                      </a:cxn>
                      <a:cxn ang="0">
                        <a:pos x="729" y="81"/>
                      </a:cxn>
                      <a:cxn ang="0">
                        <a:pos x="728" y="82"/>
                      </a:cxn>
                      <a:cxn ang="0">
                        <a:pos x="443" y="0"/>
                      </a:cxn>
                      <a:cxn ang="0">
                        <a:pos x="443" y="0"/>
                      </a:cxn>
                      <a:cxn ang="0">
                        <a:pos x="442" y="0"/>
                      </a:cxn>
                      <a:cxn ang="0">
                        <a:pos x="440" y="0"/>
                      </a:cxn>
                      <a:cxn ang="0">
                        <a:pos x="440" y="0"/>
                      </a:cxn>
                      <a:cxn ang="0">
                        <a:pos x="155" y="82"/>
                      </a:cxn>
                      <a:cxn ang="0">
                        <a:pos x="155" y="81"/>
                      </a:cxn>
                      <a:cxn ang="0">
                        <a:pos x="98" y="133"/>
                      </a:cxn>
                      <a:cxn ang="0">
                        <a:pos x="97" y="133"/>
                      </a:cxn>
                      <a:cxn ang="0">
                        <a:pos x="82" y="153"/>
                      </a:cxn>
                      <a:cxn ang="0">
                        <a:pos x="81" y="155"/>
                      </a:cxn>
                      <a:cxn ang="0">
                        <a:pos x="27" y="447"/>
                      </a:cxn>
                      <a:cxn ang="0">
                        <a:pos x="27" y="447"/>
                      </a:cxn>
                      <a:cxn ang="0">
                        <a:pos x="62" y="568"/>
                      </a:cxn>
                      <a:cxn ang="0">
                        <a:pos x="61" y="568"/>
                      </a:cxn>
                      <a:cxn ang="0">
                        <a:pos x="65" y="573"/>
                      </a:cxn>
                      <a:cxn ang="0">
                        <a:pos x="113" y="647"/>
                      </a:cxn>
                      <a:cxn ang="0">
                        <a:pos x="351" y="894"/>
                      </a:cxn>
                      <a:cxn ang="0">
                        <a:pos x="411" y="959"/>
                      </a:cxn>
                      <a:cxn ang="0">
                        <a:pos x="351" y="1025"/>
                      </a:cxn>
                      <a:cxn ang="0">
                        <a:pos x="113" y="1272"/>
                      </a:cxn>
                      <a:cxn ang="0">
                        <a:pos x="65" y="1345"/>
                      </a:cxn>
                      <a:cxn ang="0">
                        <a:pos x="61" y="1351"/>
                      </a:cxn>
                      <a:cxn ang="0">
                        <a:pos x="62" y="1351"/>
                      </a:cxn>
                      <a:cxn ang="0">
                        <a:pos x="27" y="1472"/>
                      </a:cxn>
                      <a:cxn ang="0">
                        <a:pos x="27" y="1472"/>
                      </a:cxn>
                      <a:cxn ang="0">
                        <a:pos x="81" y="1763"/>
                      </a:cxn>
                      <a:cxn ang="0">
                        <a:pos x="82" y="1766"/>
                      </a:cxn>
                      <a:cxn ang="0">
                        <a:pos x="97" y="1786"/>
                      </a:cxn>
                      <a:cxn ang="0">
                        <a:pos x="98" y="1786"/>
                      </a:cxn>
                      <a:cxn ang="0">
                        <a:pos x="155" y="1837"/>
                      </a:cxn>
                      <a:cxn ang="0">
                        <a:pos x="155" y="1837"/>
                      </a:cxn>
                      <a:cxn ang="0">
                        <a:pos x="440" y="1918"/>
                      </a:cxn>
                      <a:cxn ang="0">
                        <a:pos x="440" y="1918"/>
                      </a:cxn>
                      <a:cxn ang="0">
                        <a:pos x="442" y="1918"/>
                      </a:cxn>
                      <a:cxn ang="0">
                        <a:pos x="443" y="1918"/>
                      </a:cxn>
                      <a:cxn ang="0">
                        <a:pos x="443" y="1918"/>
                      </a:cxn>
                      <a:cxn ang="0">
                        <a:pos x="728" y="1837"/>
                      </a:cxn>
                      <a:cxn ang="0">
                        <a:pos x="729" y="1837"/>
                      </a:cxn>
                      <a:cxn ang="0">
                        <a:pos x="786" y="1786"/>
                      </a:cxn>
                      <a:cxn ang="0">
                        <a:pos x="786" y="1786"/>
                      </a:cxn>
                      <a:cxn ang="0">
                        <a:pos x="801" y="1766"/>
                      </a:cxn>
                      <a:cxn ang="0">
                        <a:pos x="803" y="1763"/>
                      </a:cxn>
                      <a:cxn ang="0">
                        <a:pos x="857" y="1472"/>
                      </a:cxn>
                      <a:cxn ang="0">
                        <a:pos x="856" y="1472"/>
                      </a:cxn>
                    </a:cxnLst>
                    <a:rect l="0" t="0" r="r" b="b"/>
                    <a:pathLst>
                      <a:path w="884" h="1918">
                        <a:moveTo>
                          <a:pt x="856" y="1472"/>
                        </a:moveTo>
                        <a:cubicBezTo>
                          <a:pt x="848" y="1393"/>
                          <a:pt x="815" y="1322"/>
                          <a:pt x="764" y="1265"/>
                        </a:cubicBezTo>
                        <a:cubicBezTo>
                          <a:pt x="686" y="1163"/>
                          <a:pt x="581" y="1078"/>
                          <a:pt x="531" y="1025"/>
                        </a:cubicBezTo>
                        <a:cubicBezTo>
                          <a:pt x="505" y="997"/>
                          <a:pt x="473" y="977"/>
                          <a:pt x="472" y="959"/>
                        </a:cubicBezTo>
                        <a:cubicBezTo>
                          <a:pt x="473" y="942"/>
                          <a:pt x="505" y="921"/>
                          <a:pt x="531" y="894"/>
                        </a:cubicBezTo>
                        <a:cubicBezTo>
                          <a:pt x="581" y="841"/>
                          <a:pt x="686" y="755"/>
                          <a:pt x="764" y="654"/>
                        </a:cubicBezTo>
                        <a:cubicBezTo>
                          <a:pt x="815" y="597"/>
                          <a:pt x="848" y="525"/>
                          <a:pt x="856" y="447"/>
                        </a:cubicBezTo>
                        <a:cubicBezTo>
                          <a:pt x="857" y="447"/>
                          <a:pt x="857" y="447"/>
                          <a:pt x="857" y="447"/>
                        </a:cubicBezTo>
                        <a:cubicBezTo>
                          <a:pt x="857" y="447"/>
                          <a:pt x="884" y="278"/>
                          <a:pt x="803" y="155"/>
                        </a:cubicBezTo>
                        <a:cubicBezTo>
                          <a:pt x="802" y="155"/>
                          <a:pt x="802" y="154"/>
                          <a:pt x="801" y="153"/>
                        </a:cubicBezTo>
                        <a:cubicBezTo>
                          <a:pt x="796" y="146"/>
                          <a:pt x="791" y="139"/>
                          <a:pt x="786" y="133"/>
                        </a:cubicBezTo>
                        <a:cubicBezTo>
                          <a:pt x="786" y="133"/>
                          <a:pt x="786" y="133"/>
                          <a:pt x="786" y="133"/>
                        </a:cubicBezTo>
                        <a:cubicBezTo>
                          <a:pt x="770" y="114"/>
                          <a:pt x="751" y="96"/>
                          <a:pt x="729" y="81"/>
                        </a:cubicBezTo>
                        <a:cubicBezTo>
                          <a:pt x="728" y="82"/>
                          <a:pt x="728" y="82"/>
                          <a:pt x="728" y="82"/>
                        </a:cubicBezTo>
                        <a:cubicBezTo>
                          <a:pt x="657" y="32"/>
                          <a:pt x="556" y="1"/>
                          <a:pt x="443" y="0"/>
                        </a:cubicBezTo>
                        <a:cubicBezTo>
                          <a:pt x="443" y="0"/>
                          <a:pt x="443" y="0"/>
                          <a:pt x="443" y="0"/>
                        </a:cubicBezTo>
                        <a:cubicBezTo>
                          <a:pt x="442" y="0"/>
                          <a:pt x="442" y="0"/>
                          <a:pt x="442" y="0"/>
                        </a:cubicBezTo>
                        <a:cubicBezTo>
                          <a:pt x="441" y="0"/>
                          <a:pt x="441" y="0"/>
                          <a:pt x="440" y="0"/>
                        </a:cubicBezTo>
                        <a:cubicBezTo>
                          <a:pt x="440" y="0"/>
                          <a:pt x="440" y="0"/>
                          <a:pt x="440" y="0"/>
                        </a:cubicBezTo>
                        <a:cubicBezTo>
                          <a:pt x="328" y="1"/>
                          <a:pt x="226" y="32"/>
                          <a:pt x="155" y="82"/>
                        </a:cubicBezTo>
                        <a:cubicBezTo>
                          <a:pt x="155" y="81"/>
                          <a:pt x="155" y="81"/>
                          <a:pt x="155" y="81"/>
                        </a:cubicBezTo>
                        <a:cubicBezTo>
                          <a:pt x="132" y="96"/>
                          <a:pt x="113" y="114"/>
                          <a:pt x="98" y="133"/>
                        </a:cubicBezTo>
                        <a:cubicBezTo>
                          <a:pt x="98" y="133"/>
                          <a:pt x="98" y="133"/>
                          <a:pt x="97" y="133"/>
                        </a:cubicBezTo>
                        <a:cubicBezTo>
                          <a:pt x="92" y="139"/>
                          <a:pt x="87" y="146"/>
                          <a:pt x="82" y="153"/>
                        </a:cubicBezTo>
                        <a:cubicBezTo>
                          <a:pt x="82" y="154"/>
                          <a:pt x="81" y="155"/>
                          <a:pt x="81" y="155"/>
                        </a:cubicBezTo>
                        <a:cubicBezTo>
                          <a:pt x="0" y="278"/>
                          <a:pt x="27" y="447"/>
                          <a:pt x="27" y="447"/>
                        </a:cubicBezTo>
                        <a:cubicBezTo>
                          <a:pt x="27" y="447"/>
                          <a:pt x="27" y="447"/>
                          <a:pt x="27" y="447"/>
                        </a:cubicBezTo>
                        <a:cubicBezTo>
                          <a:pt x="31" y="490"/>
                          <a:pt x="44" y="530"/>
                          <a:pt x="62" y="568"/>
                        </a:cubicBezTo>
                        <a:cubicBezTo>
                          <a:pt x="61" y="568"/>
                          <a:pt x="61" y="568"/>
                          <a:pt x="61" y="568"/>
                        </a:cubicBezTo>
                        <a:cubicBezTo>
                          <a:pt x="62" y="570"/>
                          <a:pt x="64" y="571"/>
                          <a:pt x="65" y="573"/>
                        </a:cubicBezTo>
                        <a:cubicBezTo>
                          <a:pt x="78" y="600"/>
                          <a:pt x="94" y="624"/>
                          <a:pt x="113" y="647"/>
                        </a:cubicBezTo>
                        <a:cubicBezTo>
                          <a:pt x="191" y="751"/>
                          <a:pt x="300" y="840"/>
                          <a:pt x="351" y="894"/>
                        </a:cubicBezTo>
                        <a:cubicBezTo>
                          <a:pt x="377" y="921"/>
                          <a:pt x="410" y="942"/>
                          <a:pt x="411" y="959"/>
                        </a:cubicBezTo>
                        <a:cubicBezTo>
                          <a:pt x="410" y="977"/>
                          <a:pt x="377" y="997"/>
                          <a:pt x="351" y="1025"/>
                        </a:cubicBezTo>
                        <a:cubicBezTo>
                          <a:pt x="300" y="1079"/>
                          <a:pt x="191" y="1167"/>
                          <a:pt x="113" y="1272"/>
                        </a:cubicBezTo>
                        <a:cubicBezTo>
                          <a:pt x="94" y="1294"/>
                          <a:pt x="78" y="1319"/>
                          <a:pt x="65" y="1345"/>
                        </a:cubicBezTo>
                        <a:cubicBezTo>
                          <a:pt x="64" y="1347"/>
                          <a:pt x="62" y="1349"/>
                          <a:pt x="61" y="1351"/>
                        </a:cubicBezTo>
                        <a:cubicBezTo>
                          <a:pt x="62" y="1351"/>
                          <a:pt x="62" y="1351"/>
                          <a:pt x="62" y="1351"/>
                        </a:cubicBezTo>
                        <a:cubicBezTo>
                          <a:pt x="44" y="1388"/>
                          <a:pt x="31" y="1429"/>
                          <a:pt x="27" y="1472"/>
                        </a:cubicBezTo>
                        <a:cubicBezTo>
                          <a:pt x="27" y="1472"/>
                          <a:pt x="27" y="1472"/>
                          <a:pt x="27" y="1472"/>
                        </a:cubicBezTo>
                        <a:cubicBezTo>
                          <a:pt x="27" y="1472"/>
                          <a:pt x="0" y="1641"/>
                          <a:pt x="81" y="1763"/>
                        </a:cubicBezTo>
                        <a:cubicBezTo>
                          <a:pt x="81" y="1764"/>
                          <a:pt x="82" y="1765"/>
                          <a:pt x="82" y="1766"/>
                        </a:cubicBezTo>
                        <a:cubicBezTo>
                          <a:pt x="87" y="1773"/>
                          <a:pt x="92" y="1779"/>
                          <a:pt x="97" y="1786"/>
                        </a:cubicBezTo>
                        <a:cubicBezTo>
                          <a:pt x="98" y="1786"/>
                          <a:pt x="98" y="1786"/>
                          <a:pt x="98" y="1786"/>
                        </a:cubicBezTo>
                        <a:cubicBezTo>
                          <a:pt x="113" y="1805"/>
                          <a:pt x="132" y="1823"/>
                          <a:pt x="155" y="1837"/>
                        </a:cubicBezTo>
                        <a:cubicBezTo>
                          <a:pt x="155" y="1837"/>
                          <a:pt x="155" y="1837"/>
                          <a:pt x="155" y="1837"/>
                        </a:cubicBezTo>
                        <a:cubicBezTo>
                          <a:pt x="226" y="1887"/>
                          <a:pt x="328" y="1918"/>
                          <a:pt x="440" y="1918"/>
                        </a:cubicBezTo>
                        <a:cubicBezTo>
                          <a:pt x="440" y="1918"/>
                          <a:pt x="440" y="1918"/>
                          <a:pt x="440" y="1918"/>
                        </a:cubicBezTo>
                        <a:cubicBezTo>
                          <a:pt x="441" y="1918"/>
                          <a:pt x="441" y="1918"/>
                          <a:pt x="442" y="1918"/>
                        </a:cubicBezTo>
                        <a:cubicBezTo>
                          <a:pt x="442" y="1918"/>
                          <a:pt x="442" y="1918"/>
                          <a:pt x="443" y="1918"/>
                        </a:cubicBezTo>
                        <a:cubicBezTo>
                          <a:pt x="443" y="1918"/>
                          <a:pt x="443" y="1918"/>
                          <a:pt x="443" y="1918"/>
                        </a:cubicBezTo>
                        <a:cubicBezTo>
                          <a:pt x="556" y="1918"/>
                          <a:pt x="657" y="1887"/>
                          <a:pt x="728" y="1837"/>
                        </a:cubicBezTo>
                        <a:cubicBezTo>
                          <a:pt x="729" y="1837"/>
                          <a:pt x="729" y="1837"/>
                          <a:pt x="729" y="1837"/>
                        </a:cubicBezTo>
                        <a:cubicBezTo>
                          <a:pt x="751" y="1823"/>
                          <a:pt x="770" y="1805"/>
                          <a:pt x="786" y="1786"/>
                        </a:cubicBezTo>
                        <a:cubicBezTo>
                          <a:pt x="786" y="1786"/>
                          <a:pt x="786" y="1786"/>
                          <a:pt x="786" y="1786"/>
                        </a:cubicBezTo>
                        <a:cubicBezTo>
                          <a:pt x="791" y="1779"/>
                          <a:pt x="796" y="1773"/>
                          <a:pt x="801" y="1766"/>
                        </a:cubicBezTo>
                        <a:cubicBezTo>
                          <a:pt x="802" y="1765"/>
                          <a:pt x="802" y="1764"/>
                          <a:pt x="803" y="1763"/>
                        </a:cubicBezTo>
                        <a:cubicBezTo>
                          <a:pt x="884" y="1641"/>
                          <a:pt x="857" y="1472"/>
                          <a:pt x="857" y="1472"/>
                        </a:cubicBezTo>
                        <a:lnTo>
                          <a:pt x="856" y="1472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C0C0C0"/>
                      </a:gs>
                      <a:gs pos="50000">
                        <a:srgbClr val="C0C0C0">
                          <a:gamma/>
                          <a:tint val="12549"/>
                          <a:invGamma/>
                        </a:srgbClr>
                      </a:gs>
                      <a:gs pos="100000">
                        <a:srgbClr val="C0C0C0"/>
                      </a:gs>
                    </a:gsLst>
                    <a:lin ang="27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3" name="Freeform 37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402388" y="2606675"/>
                    <a:ext cx="579437" cy="966788"/>
                  </a:xfrm>
                  <a:custGeom>
                    <a:avLst/>
                    <a:gdLst/>
                    <a:ahLst/>
                    <a:cxnLst>
                      <a:cxn ang="0">
                        <a:pos x="5" y="0"/>
                      </a:cxn>
                      <a:cxn ang="0">
                        <a:pos x="8" y="113"/>
                      </a:cxn>
                      <a:cxn ang="0">
                        <a:pos x="8" y="113"/>
                      </a:cxn>
                      <a:cxn ang="0">
                        <a:pos x="43" y="234"/>
                      </a:cxn>
                      <a:cxn ang="0">
                        <a:pos x="42" y="234"/>
                      </a:cxn>
                      <a:cxn ang="0">
                        <a:pos x="45" y="239"/>
                      </a:cxn>
                      <a:cxn ang="0">
                        <a:pos x="93" y="313"/>
                      </a:cxn>
                      <a:cxn ang="0">
                        <a:pos x="297" y="525"/>
                      </a:cxn>
                      <a:cxn ang="0">
                        <a:pos x="338" y="566"/>
                      </a:cxn>
                      <a:cxn ang="0">
                        <a:pos x="117" y="313"/>
                      </a:cxn>
                      <a:cxn ang="0">
                        <a:pos x="69" y="239"/>
                      </a:cxn>
                      <a:cxn ang="0">
                        <a:pos x="66" y="234"/>
                      </a:cxn>
                      <a:cxn ang="0">
                        <a:pos x="66" y="234"/>
                      </a:cxn>
                      <a:cxn ang="0">
                        <a:pos x="31" y="113"/>
                      </a:cxn>
                      <a:cxn ang="0">
                        <a:pos x="31" y="113"/>
                      </a:cxn>
                      <a:cxn ang="0">
                        <a:pos x="31" y="110"/>
                      </a:cxn>
                      <a:cxn ang="0">
                        <a:pos x="20" y="80"/>
                      </a:cxn>
                      <a:cxn ang="0">
                        <a:pos x="5" y="0"/>
                      </a:cxn>
                    </a:cxnLst>
                    <a:rect l="0" t="0" r="r" b="b"/>
                    <a:pathLst>
                      <a:path w="338" h="566">
                        <a:moveTo>
                          <a:pt x="5" y="0"/>
                        </a:moveTo>
                        <a:cubicBezTo>
                          <a:pt x="0" y="64"/>
                          <a:pt x="8" y="113"/>
                          <a:pt x="8" y="113"/>
                        </a:cubicBezTo>
                        <a:cubicBezTo>
                          <a:pt x="8" y="113"/>
                          <a:pt x="8" y="113"/>
                          <a:pt x="8" y="113"/>
                        </a:cubicBezTo>
                        <a:cubicBezTo>
                          <a:pt x="12" y="156"/>
                          <a:pt x="25" y="196"/>
                          <a:pt x="43" y="234"/>
                        </a:cubicBezTo>
                        <a:cubicBezTo>
                          <a:pt x="42" y="234"/>
                          <a:pt x="42" y="234"/>
                          <a:pt x="42" y="234"/>
                        </a:cubicBezTo>
                        <a:cubicBezTo>
                          <a:pt x="43" y="236"/>
                          <a:pt x="44" y="237"/>
                          <a:pt x="45" y="239"/>
                        </a:cubicBezTo>
                        <a:cubicBezTo>
                          <a:pt x="59" y="265"/>
                          <a:pt x="75" y="290"/>
                          <a:pt x="93" y="313"/>
                        </a:cubicBezTo>
                        <a:cubicBezTo>
                          <a:pt x="157" y="397"/>
                          <a:pt x="241" y="472"/>
                          <a:pt x="297" y="525"/>
                        </a:cubicBezTo>
                        <a:cubicBezTo>
                          <a:pt x="338" y="566"/>
                          <a:pt x="338" y="566"/>
                          <a:pt x="338" y="566"/>
                        </a:cubicBezTo>
                        <a:cubicBezTo>
                          <a:pt x="286" y="517"/>
                          <a:pt x="172" y="386"/>
                          <a:pt x="117" y="313"/>
                        </a:cubicBezTo>
                        <a:cubicBezTo>
                          <a:pt x="98" y="290"/>
                          <a:pt x="82" y="265"/>
                          <a:pt x="69" y="239"/>
                        </a:cubicBezTo>
                        <a:cubicBezTo>
                          <a:pt x="68" y="237"/>
                          <a:pt x="67" y="236"/>
                          <a:pt x="66" y="234"/>
                        </a:cubicBezTo>
                        <a:cubicBezTo>
                          <a:pt x="66" y="234"/>
                          <a:pt x="66" y="234"/>
                          <a:pt x="66" y="234"/>
                        </a:cubicBezTo>
                        <a:cubicBezTo>
                          <a:pt x="48" y="196"/>
                          <a:pt x="36" y="156"/>
                          <a:pt x="31" y="113"/>
                        </a:cubicBezTo>
                        <a:cubicBezTo>
                          <a:pt x="31" y="113"/>
                          <a:pt x="31" y="113"/>
                          <a:pt x="31" y="113"/>
                        </a:cubicBezTo>
                        <a:cubicBezTo>
                          <a:pt x="31" y="113"/>
                          <a:pt x="31" y="112"/>
                          <a:pt x="31" y="110"/>
                        </a:cubicBezTo>
                        <a:cubicBezTo>
                          <a:pt x="28" y="100"/>
                          <a:pt x="24" y="89"/>
                          <a:pt x="20" y="80"/>
                        </a:cubicBezTo>
                        <a:cubicBezTo>
                          <a:pt x="9" y="56"/>
                          <a:pt x="6" y="16"/>
                          <a:pt x="5" y="0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969696"/>
                      </a:gs>
                      <a:gs pos="100000">
                        <a:srgbClr val="969696">
                          <a:gamma/>
                          <a:tint val="10588"/>
                          <a:invGamma/>
                        </a:srgbClr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4" name="Freeform 38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351713" y="3014663"/>
                    <a:ext cx="420687" cy="479425"/>
                  </a:xfrm>
                  <a:custGeom>
                    <a:avLst/>
                    <a:gdLst/>
                    <a:ahLst/>
                    <a:cxnLst>
                      <a:cxn ang="0">
                        <a:pos x="215" y="41"/>
                      </a:cxn>
                      <a:cxn ang="0">
                        <a:pos x="184" y="77"/>
                      </a:cxn>
                      <a:cxn ang="0">
                        <a:pos x="152" y="112"/>
                      </a:cxn>
                      <a:cxn ang="0">
                        <a:pos x="0" y="280"/>
                      </a:cxn>
                      <a:cxn ang="0">
                        <a:pos x="42" y="240"/>
                      </a:cxn>
                      <a:cxn ang="0">
                        <a:pos x="73" y="210"/>
                      </a:cxn>
                      <a:cxn ang="0">
                        <a:pos x="191" y="81"/>
                      </a:cxn>
                      <a:cxn ang="0">
                        <a:pos x="246" y="0"/>
                      </a:cxn>
                      <a:cxn ang="0">
                        <a:pos x="215" y="41"/>
                      </a:cxn>
                    </a:cxnLst>
                    <a:rect l="0" t="0" r="r" b="b"/>
                    <a:pathLst>
                      <a:path w="246" h="280">
                        <a:moveTo>
                          <a:pt x="215" y="41"/>
                        </a:moveTo>
                        <a:cubicBezTo>
                          <a:pt x="207" y="49"/>
                          <a:pt x="184" y="77"/>
                          <a:pt x="184" y="77"/>
                        </a:cubicBezTo>
                        <a:cubicBezTo>
                          <a:pt x="184" y="77"/>
                          <a:pt x="156" y="108"/>
                          <a:pt x="152" y="112"/>
                        </a:cubicBezTo>
                        <a:cubicBezTo>
                          <a:pt x="99" y="173"/>
                          <a:pt x="39" y="231"/>
                          <a:pt x="0" y="280"/>
                        </a:cubicBezTo>
                        <a:cubicBezTo>
                          <a:pt x="14" y="266"/>
                          <a:pt x="42" y="240"/>
                          <a:pt x="42" y="240"/>
                        </a:cubicBezTo>
                        <a:cubicBezTo>
                          <a:pt x="42" y="240"/>
                          <a:pt x="63" y="220"/>
                          <a:pt x="73" y="210"/>
                        </a:cubicBezTo>
                        <a:cubicBezTo>
                          <a:pt x="112" y="172"/>
                          <a:pt x="155" y="128"/>
                          <a:pt x="191" y="81"/>
                        </a:cubicBezTo>
                        <a:cubicBezTo>
                          <a:pt x="213" y="56"/>
                          <a:pt x="231" y="29"/>
                          <a:pt x="246" y="0"/>
                        </a:cubicBezTo>
                        <a:cubicBezTo>
                          <a:pt x="232" y="20"/>
                          <a:pt x="226" y="27"/>
                          <a:pt x="215" y="41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5F5F5F"/>
                      </a:gs>
                      <a:gs pos="100000">
                        <a:srgbClr val="5F5F5F">
                          <a:gamma/>
                          <a:tint val="20000"/>
                          <a:invGamma/>
                        </a:srgbClr>
                      </a:gs>
                    </a:gsLst>
                    <a:path path="rect">
                      <a:fillToRect l="100000" t="100000"/>
                    </a:path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5" name="Freeform 39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397625" y="3781425"/>
                    <a:ext cx="577850" cy="1017588"/>
                  </a:xfrm>
                  <a:custGeom>
                    <a:avLst/>
                    <a:gdLst/>
                    <a:ahLst/>
                    <a:cxnLst>
                      <a:cxn ang="0">
                        <a:pos x="34" y="449"/>
                      </a:cxn>
                      <a:cxn ang="0">
                        <a:pos x="34" y="449"/>
                      </a:cxn>
                      <a:cxn ang="0">
                        <a:pos x="34" y="449"/>
                      </a:cxn>
                      <a:cxn ang="0">
                        <a:pos x="34" y="449"/>
                      </a:cxn>
                      <a:cxn ang="0">
                        <a:pos x="69" y="329"/>
                      </a:cxn>
                      <a:cxn ang="0">
                        <a:pos x="69" y="329"/>
                      </a:cxn>
                      <a:cxn ang="0">
                        <a:pos x="72" y="323"/>
                      </a:cxn>
                      <a:cxn ang="0">
                        <a:pos x="120" y="250"/>
                      </a:cxn>
                      <a:cxn ang="0">
                        <a:pos x="259" y="85"/>
                      </a:cxn>
                      <a:cxn ang="0">
                        <a:pos x="337" y="0"/>
                      </a:cxn>
                      <a:cxn ang="0">
                        <a:pos x="335" y="3"/>
                      </a:cxn>
                      <a:cxn ang="0">
                        <a:pos x="96" y="250"/>
                      </a:cxn>
                      <a:cxn ang="0">
                        <a:pos x="48" y="323"/>
                      </a:cxn>
                      <a:cxn ang="0">
                        <a:pos x="45" y="329"/>
                      </a:cxn>
                      <a:cxn ang="0">
                        <a:pos x="46" y="329"/>
                      </a:cxn>
                      <a:cxn ang="0">
                        <a:pos x="11" y="449"/>
                      </a:cxn>
                      <a:cxn ang="0">
                        <a:pos x="11" y="449"/>
                      </a:cxn>
                      <a:cxn ang="0">
                        <a:pos x="12" y="595"/>
                      </a:cxn>
                      <a:cxn ang="0">
                        <a:pos x="25" y="588"/>
                      </a:cxn>
                      <a:cxn ang="0">
                        <a:pos x="30" y="560"/>
                      </a:cxn>
                      <a:cxn ang="0">
                        <a:pos x="30" y="495"/>
                      </a:cxn>
                    </a:cxnLst>
                    <a:rect l="0" t="0" r="r" b="b"/>
                    <a:pathLst>
                      <a:path w="337" h="595">
                        <a:moveTo>
                          <a:pt x="34" y="449"/>
                        </a:moveTo>
                        <a:cubicBezTo>
                          <a:pt x="34" y="449"/>
                          <a:pt x="34" y="449"/>
                          <a:pt x="34" y="449"/>
                        </a:cubicBezTo>
                        <a:cubicBezTo>
                          <a:pt x="34" y="449"/>
                          <a:pt x="34" y="449"/>
                          <a:pt x="34" y="449"/>
                        </a:cubicBezTo>
                        <a:cubicBezTo>
                          <a:pt x="34" y="449"/>
                          <a:pt x="34" y="449"/>
                          <a:pt x="34" y="449"/>
                        </a:cubicBezTo>
                        <a:cubicBezTo>
                          <a:pt x="39" y="407"/>
                          <a:pt x="51" y="366"/>
                          <a:pt x="69" y="329"/>
                        </a:cubicBezTo>
                        <a:cubicBezTo>
                          <a:pt x="69" y="329"/>
                          <a:pt x="69" y="329"/>
                          <a:pt x="69" y="329"/>
                        </a:cubicBezTo>
                        <a:cubicBezTo>
                          <a:pt x="70" y="327"/>
                          <a:pt x="71" y="325"/>
                          <a:pt x="72" y="323"/>
                        </a:cubicBezTo>
                        <a:cubicBezTo>
                          <a:pt x="85" y="297"/>
                          <a:pt x="101" y="272"/>
                          <a:pt x="120" y="250"/>
                        </a:cubicBezTo>
                        <a:cubicBezTo>
                          <a:pt x="161" y="196"/>
                          <a:pt x="208" y="134"/>
                          <a:pt x="259" y="85"/>
                        </a:cubicBezTo>
                        <a:cubicBezTo>
                          <a:pt x="259" y="85"/>
                          <a:pt x="321" y="30"/>
                          <a:pt x="337" y="0"/>
                        </a:cubicBezTo>
                        <a:cubicBezTo>
                          <a:pt x="336" y="1"/>
                          <a:pt x="336" y="2"/>
                          <a:pt x="335" y="3"/>
                        </a:cubicBezTo>
                        <a:cubicBezTo>
                          <a:pt x="284" y="57"/>
                          <a:pt x="175" y="145"/>
                          <a:pt x="96" y="250"/>
                        </a:cubicBezTo>
                        <a:cubicBezTo>
                          <a:pt x="78" y="272"/>
                          <a:pt x="62" y="297"/>
                          <a:pt x="48" y="323"/>
                        </a:cubicBezTo>
                        <a:cubicBezTo>
                          <a:pt x="47" y="325"/>
                          <a:pt x="46" y="327"/>
                          <a:pt x="45" y="329"/>
                        </a:cubicBezTo>
                        <a:cubicBezTo>
                          <a:pt x="46" y="329"/>
                          <a:pt x="46" y="329"/>
                          <a:pt x="46" y="329"/>
                        </a:cubicBezTo>
                        <a:cubicBezTo>
                          <a:pt x="28" y="366"/>
                          <a:pt x="15" y="407"/>
                          <a:pt x="11" y="449"/>
                        </a:cubicBezTo>
                        <a:cubicBezTo>
                          <a:pt x="11" y="449"/>
                          <a:pt x="11" y="449"/>
                          <a:pt x="11" y="449"/>
                        </a:cubicBezTo>
                        <a:cubicBezTo>
                          <a:pt x="11" y="449"/>
                          <a:pt x="0" y="515"/>
                          <a:pt x="12" y="595"/>
                        </a:cubicBezTo>
                        <a:cubicBezTo>
                          <a:pt x="17" y="594"/>
                          <a:pt x="21" y="593"/>
                          <a:pt x="25" y="588"/>
                        </a:cubicBezTo>
                        <a:cubicBezTo>
                          <a:pt x="31" y="580"/>
                          <a:pt x="29" y="572"/>
                          <a:pt x="30" y="560"/>
                        </a:cubicBezTo>
                        <a:cubicBezTo>
                          <a:pt x="30" y="495"/>
                          <a:pt x="30" y="495"/>
                          <a:pt x="30" y="495"/>
                        </a:cubicBezTo>
                      </a:path>
                    </a:pathLst>
                  </a:custGeom>
                  <a:gradFill rotWithShape="1">
                    <a:gsLst>
                      <a:gs pos="0">
                        <a:srgbClr val="B2B2B2"/>
                      </a:gs>
                      <a:gs pos="100000">
                        <a:srgbClr val="B2B2B2">
                          <a:gamma/>
                          <a:tint val="10196"/>
                          <a:invGamma/>
                        </a:srgbClr>
                      </a:gs>
                    </a:gsLst>
                    <a:path path="rect">
                      <a:fillToRect l="100000" b="100000"/>
                    </a:path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6" name="Freeform 40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165975" y="3644900"/>
                    <a:ext cx="307975" cy="327025"/>
                  </a:xfrm>
                  <a:custGeom>
                    <a:avLst/>
                    <a:gdLst/>
                    <a:ahLst/>
                    <a:cxnLst>
                      <a:cxn ang="0">
                        <a:pos x="123" y="147"/>
                      </a:cxn>
                      <a:cxn ang="0">
                        <a:pos x="153" y="174"/>
                      </a:cxn>
                      <a:cxn ang="0">
                        <a:pos x="179" y="191"/>
                      </a:cxn>
                      <a:cxn ang="0">
                        <a:pos x="66" y="83"/>
                      </a:cxn>
                      <a:cxn ang="0">
                        <a:pos x="7" y="17"/>
                      </a:cxn>
                      <a:cxn ang="0">
                        <a:pos x="16" y="0"/>
                      </a:cxn>
                      <a:cxn ang="0">
                        <a:pos x="1" y="23"/>
                      </a:cxn>
                      <a:cxn ang="0">
                        <a:pos x="17" y="51"/>
                      </a:cxn>
                      <a:cxn ang="0">
                        <a:pos x="47" y="79"/>
                      </a:cxn>
                    </a:cxnLst>
                    <a:rect l="0" t="0" r="r" b="b"/>
                    <a:pathLst>
                      <a:path w="179" h="191">
                        <a:moveTo>
                          <a:pt x="123" y="147"/>
                        </a:moveTo>
                        <a:cubicBezTo>
                          <a:pt x="123" y="147"/>
                          <a:pt x="143" y="165"/>
                          <a:pt x="153" y="174"/>
                        </a:cubicBezTo>
                        <a:cubicBezTo>
                          <a:pt x="160" y="181"/>
                          <a:pt x="170" y="187"/>
                          <a:pt x="179" y="191"/>
                        </a:cubicBezTo>
                        <a:cubicBezTo>
                          <a:pt x="134" y="148"/>
                          <a:pt x="92" y="111"/>
                          <a:pt x="66" y="83"/>
                        </a:cubicBezTo>
                        <a:cubicBezTo>
                          <a:pt x="40" y="55"/>
                          <a:pt x="8" y="35"/>
                          <a:pt x="7" y="17"/>
                        </a:cubicBezTo>
                        <a:cubicBezTo>
                          <a:pt x="7" y="12"/>
                          <a:pt x="11" y="6"/>
                          <a:pt x="16" y="0"/>
                        </a:cubicBezTo>
                        <a:cubicBezTo>
                          <a:pt x="8" y="2"/>
                          <a:pt x="2" y="14"/>
                          <a:pt x="1" y="23"/>
                        </a:cubicBezTo>
                        <a:cubicBezTo>
                          <a:pt x="0" y="37"/>
                          <a:pt x="17" y="51"/>
                          <a:pt x="17" y="51"/>
                        </a:cubicBezTo>
                        <a:cubicBezTo>
                          <a:pt x="47" y="79"/>
                          <a:pt x="47" y="79"/>
                          <a:pt x="47" y="79"/>
                        </a:cubicBezTo>
                      </a:path>
                    </a:pathLst>
                  </a:custGeom>
                  <a:gradFill rotWithShape="1">
                    <a:gsLst>
                      <a:gs pos="0">
                        <a:srgbClr val="5F5F5F"/>
                      </a:gs>
                      <a:gs pos="100000">
                        <a:srgbClr val="5F5F5F">
                          <a:gamma/>
                          <a:tint val="20000"/>
                          <a:invGamma/>
                        </a:srgbClr>
                      </a:gs>
                    </a:gsLst>
                    <a:path path="rect">
                      <a:fillToRect l="100000" t="100000"/>
                    </a:path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7" name="Freeform 42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7921625" y="1919288"/>
                    <a:ext cx="174625" cy="3506787"/>
                  </a:xfrm>
                  <a:custGeom>
                    <a:avLst/>
                    <a:gdLst/>
                    <a:ahLst/>
                    <a:cxnLst>
                      <a:cxn ang="0">
                        <a:pos x="51" y="2051"/>
                      </a:cxn>
                      <a:cxn ang="0">
                        <a:pos x="102" y="2032"/>
                      </a:cxn>
                      <a:cxn ang="0">
                        <a:pos x="102" y="19"/>
                      </a:cxn>
                      <a:cxn ang="0">
                        <a:pos x="51" y="0"/>
                      </a:cxn>
                      <a:cxn ang="0">
                        <a:pos x="0" y="19"/>
                      </a:cxn>
                      <a:cxn ang="0">
                        <a:pos x="0" y="2032"/>
                      </a:cxn>
                      <a:cxn ang="0">
                        <a:pos x="51" y="2051"/>
                      </a:cxn>
                    </a:cxnLst>
                    <a:rect l="0" t="0" r="r" b="b"/>
                    <a:pathLst>
                      <a:path w="102" h="2051">
                        <a:moveTo>
                          <a:pt x="51" y="2051"/>
                        </a:moveTo>
                        <a:cubicBezTo>
                          <a:pt x="78" y="2051"/>
                          <a:pt x="101" y="2043"/>
                          <a:pt x="102" y="2032"/>
                        </a:cubicBezTo>
                        <a:cubicBezTo>
                          <a:pt x="102" y="19"/>
                          <a:pt x="102" y="19"/>
                          <a:pt x="102" y="19"/>
                        </a:cubicBezTo>
                        <a:cubicBezTo>
                          <a:pt x="101" y="9"/>
                          <a:pt x="78" y="0"/>
                          <a:pt x="51" y="0"/>
                        </a:cubicBezTo>
                        <a:cubicBezTo>
                          <a:pt x="24" y="0"/>
                          <a:pt x="1" y="9"/>
                          <a:pt x="0" y="19"/>
                        </a:cubicBezTo>
                        <a:cubicBezTo>
                          <a:pt x="0" y="2032"/>
                          <a:pt x="0" y="2032"/>
                          <a:pt x="0" y="2032"/>
                        </a:cubicBezTo>
                        <a:cubicBezTo>
                          <a:pt x="1" y="2043"/>
                          <a:pt x="24" y="2051"/>
                          <a:pt x="51" y="2051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42353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  <p:sp>
                <p:nvSpPr>
                  <p:cNvPr id="108" name="Freeform 43" descr="© INSCALE GmbH, 26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6148388" y="1919288"/>
                    <a:ext cx="174625" cy="3506787"/>
                  </a:xfrm>
                  <a:custGeom>
                    <a:avLst/>
                    <a:gdLst/>
                    <a:ahLst/>
                    <a:cxnLst>
                      <a:cxn ang="0">
                        <a:pos x="51" y="2051"/>
                      </a:cxn>
                      <a:cxn ang="0">
                        <a:pos x="102" y="2032"/>
                      </a:cxn>
                      <a:cxn ang="0">
                        <a:pos x="102" y="19"/>
                      </a:cxn>
                      <a:cxn ang="0">
                        <a:pos x="51" y="0"/>
                      </a:cxn>
                      <a:cxn ang="0">
                        <a:pos x="0" y="19"/>
                      </a:cxn>
                      <a:cxn ang="0">
                        <a:pos x="0" y="2032"/>
                      </a:cxn>
                      <a:cxn ang="0">
                        <a:pos x="51" y="2051"/>
                      </a:cxn>
                    </a:cxnLst>
                    <a:rect l="0" t="0" r="r" b="b"/>
                    <a:pathLst>
                      <a:path w="102" h="2051">
                        <a:moveTo>
                          <a:pt x="51" y="2051"/>
                        </a:moveTo>
                        <a:cubicBezTo>
                          <a:pt x="78" y="2051"/>
                          <a:pt x="100" y="2043"/>
                          <a:pt x="102" y="2032"/>
                        </a:cubicBezTo>
                        <a:cubicBezTo>
                          <a:pt x="102" y="19"/>
                          <a:pt x="102" y="19"/>
                          <a:pt x="102" y="19"/>
                        </a:cubicBezTo>
                        <a:cubicBezTo>
                          <a:pt x="100" y="8"/>
                          <a:pt x="78" y="0"/>
                          <a:pt x="51" y="0"/>
                        </a:cubicBezTo>
                        <a:cubicBezTo>
                          <a:pt x="23" y="0"/>
                          <a:pt x="1" y="9"/>
                          <a:pt x="0" y="19"/>
                        </a:cubicBezTo>
                        <a:cubicBezTo>
                          <a:pt x="0" y="2032"/>
                          <a:pt x="0" y="2032"/>
                          <a:pt x="0" y="2032"/>
                        </a:cubicBezTo>
                        <a:cubicBezTo>
                          <a:pt x="1" y="2043"/>
                          <a:pt x="23" y="2051"/>
                          <a:pt x="51" y="2051"/>
                        </a:cubicBez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6E6E6E"/>
                      </a:gs>
                      <a:gs pos="50000">
                        <a:srgbClr val="6E6E6E">
                          <a:gamma/>
                          <a:tint val="42353"/>
                          <a:invGamma/>
                        </a:srgbClr>
                      </a:gs>
                      <a:gs pos="100000">
                        <a:srgbClr val="6E6E6E"/>
                      </a:gs>
                    </a:gsLst>
                    <a:lin ang="0" scaled="1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noProof="1"/>
                  </a:p>
                </p:txBody>
              </p:sp>
            </p:grpSp>
            <p:pic>
              <p:nvPicPr>
                <p:cNvPr id="87" name="Picture 43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gray">
                <a:xfrm>
                  <a:off x="6600825" y="2057400"/>
                  <a:ext cx="1044575" cy="682625"/>
                </a:xfrm>
                <a:prstGeom prst="rect">
                  <a:avLst/>
                </a:prstGeom>
                <a:noFill/>
                <a:ln w="9525">
                  <a:miter lim="800000"/>
                  <a:headEnd/>
                  <a:tailEnd/>
                </a:ln>
                <a:effectLst/>
              </p:spPr>
            </p:pic>
            <p:sp>
              <p:nvSpPr>
                <p:cNvPr id="88" name="Freeform 50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6584950" y="4802188"/>
                  <a:ext cx="1081088" cy="490537"/>
                </a:xfrm>
                <a:custGeom>
                  <a:avLst/>
                  <a:gdLst/>
                  <a:ahLst/>
                  <a:cxnLst>
                    <a:cxn ang="0">
                      <a:pos x="30" y="204"/>
                    </a:cxn>
                    <a:cxn ang="0">
                      <a:pos x="315" y="286"/>
                    </a:cxn>
                    <a:cxn ang="0">
                      <a:pos x="315" y="286"/>
                    </a:cxn>
                    <a:cxn ang="0">
                      <a:pos x="316" y="286"/>
                    </a:cxn>
                    <a:cxn ang="0">
                      <a:pos x="317" y="286"/>
                    </a:cxn>
                    <a:cxn ang="0">
                      <a:pos x="317" y="286"/>
                    </a:cxn>
                    <a:cxn ang="0">
                      <a:pos x="603" y="204"/>
                    </a:cxn>
                    <a:cxn ang="0">
                      <a:pos x="603" y="205"/>
                    </a:cxn>
                    <a:cxn ang="0">
                      <a:pos x="632" y="183"/>
                    </a:cxn>
                    <a:cxn ang="0">
                      <a:pos x="579" y="157"/>
                    </a:cxn>
                    <a:cxn ang="0">
                      <a:pos x="518" y="108"/>
                    </a:cxn>
                    <a:cxn ang="0">
                      <a:pos x="461" y="73"/>
                    </a:cxn>
                    <a:cxn ang="0">
                      <a:pos x="397" y="39"/>
                    </a:cxn>
                    <a:cxn ang="0">
                      <a:pos x="315" y="2"/>
                    </a:cxn>
                    <a:cxn ang="0">
                      <a:pos x="203" y="70"/>
                    </a:cxn>
                    <a:cxn ang="0">
                      <a:pos x="107" y="118"/>
                    </a:cxn>
                    <a:cxn ang="0">
                      <a:pos x="21" y="167"/>
                    </a:cxn>
                    <a:cxn ang="0">
                      <a:pos x="0" y="182"/>
                    </a:cxn>
                    <a:cxn ang="0">
                      <a:pos x="29" y="205"/>
                    </a:cxn>
                    <a:cxn ang="0">
                      <a:pos x="30" y="204"/>
                    </a:cxn>
                  </a:cxnLst>
                  <a:rect l="0" t="0" r="r" b="b"/>
                  <a:pathLst>
                    <a:path w="632" h="286">
                      <a:moveTo>
                        <a:pt x="30" y="204"/>
                      </a:moveTo>
                      <a:cubicBezTo>
                        <a:pt x="101" y="254"/>
                        <a:pt x="202" y="285"/>
                        <a:pt x="315" y="286"/>
                      </a:cubicBezTo>
                      <a:cubicBezTo>
                        <a:pt x="315" y="286"/>
                        <a:pt x="315" y="286"/>
                        <a:pt x="315" y="286"/>
                      </a:cubicBezTo>
                      <a:cubicBezTo>
                        <a:pt x="315" y="286"/>
                        <a:pt x="316" y="286"/>
                        <a:pt x="316" y="286"/>
                      </a:cubicBezTo>
                      <a:cubicBezTo>
                        <a:pt x="317" y="286"/>
                        <a:pt x="317" y="286"/>
                        <a:pt x="317" y="286"/>
                      </a:cubicBezTo>
                      <a:cubicBezTo>
                        <a:pt x="317" y="286"/>
                        <a:pt x="317" y="286"/>
                        <a:pt x="317" y="286"/>
                      </a:cubicBezTo>
                      <a:cubicBezTo>
                        <a:pt x="430" y="285"/>
                        <a:pt x="532" y="254"/>
                        <a:pt x="603" y="204"/>
                      </a:cubicBezTo>
                      <a:cubicBezTo>
                        <a:pt x="603" y="205"/>
                        <a:pt x="603" y="205"/>
                        <a:pt x="603" y="205"/>
                      </a:cubicBezTo>
                      <a:cubicBezTo>
                        <a:pt x="613" y="198"/>
                        <a:pt x="623" y="191"/>
                        <a:pt x="632" y="183"/>
                      </a:cubicBezTo>
                      <a:cubicBezTo>
                        <a:pt x="614" y="175"/>
                        <a:pt x="595" y="166"/>
                        <a:pt x="579" y="157"/>
                      </a:cubicBezTo>
                      <a:cubicBezTo>
                        <a:pt x="543" y="136"/>
                        <a:pt x="531" y="121"/>
                        <a:pt x="518" y="108"/>
                      </a:cubicBezTo>
                      <a:cubicBezTo>
                        <a:pt x="505" y="95"/>
                        <a:pt x="469" y="75"/>
                        <a:pt x="461" y="73"/>
                      </a:cubicBezTo>
                      <a:cubicBezTo>
                        <a:pt x="451" y="71"/>
                        <a:pt x="405" y="44"/>
                        <a:pt x="397" y="39"/>
                      </a:cubicBezTo>
                      <a:cubicBezTo>
                        <a:pt x="391" y="35"/>
                        <a:pt x="347" y="0"/>
                        <a:pt x="315" y="2"/>
                      </a:cubicBezTo>
                      <a:cubicBezTo>
                        <a:pt x="295" y="4"/>
                        <a:pt x="207" y="65"/>
                        <a:pt x="203" y="70"/>
                      </a:cubicBezTo>
                      <a:cubicBezTo>
                        <a:pt x="198" y="74"/>
                        <a:pt x="126" y="112"/>
                        <a:pt x="107" y="118"/>
                      </a:cubicBezTo>
                      <a:cubicBezTo>
                        <a:pt x="74" y="129"/>
                        <a:pt x="21" y="167"/>
                        <a:pt x="21" y="167"/>
                      </a:cubicBezTo>
                      <a:cubicBezTo>
                        <a:pt x="21" y="167"/>
                        <a:pt x="12" y="174"/>
                        <a:pt x="0" y="182"/>
                      </a:cubicBezTo>
                      <a:cubicBezTo>
                        <a:pt x="9" y="190"/>
                        <a:pt x="19" y="198"/>
                        <a:pt x="29" y="205"/>
                      </a:cubicBezTo>
                      <a:lnTo>
                        <a:pt x="30" y="204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89" name="Freeform 51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6451600" y="2673350"/>
                  <a:ext cx="1347788" cy="2138363"/>
                </a:xfrm>
                <a:custGeom>
                  <a:avLst/>
                  <a:gdLst/>
                  <a:ahLst/>
                  <a:cxnLst>
                    <a:cxn ang="0">
                      <a:pos x="394" y="0"/>
                    </a:cxn>
                    <a:cxn ang="0">
                      <a:pos x="0" y="48"/>
                    </a:cxn>
                    <a:cxn ang="0">
                      <a:pos x="1" y="50"/>
                    </a:cxn>
                    <a:cxn ang="0">
                      <a:pos x="3" y="74"/>
                    </a:cxn>
                    <a:cxn ang="0">
                      <a:pos x="3" y="74"/>
                    </a:cxn>
                    <a:cxn ang="0">
                      <a:pos x="38" y="194"/>
                    </a:cxn>
                    <a:cxn ang="0">
                      <a:pos x="38" y="194"/>
                    </a:cxn>
                    <a:cxn ang="0">
                      <a:pos x="41" y="200"/>
                    </a:cxn>
                    <a:cxn ang="0">
                      <a:pos x="89" y="273"/>
                    </a:cxn>
                    <a:cxn ang="0">
                      <a:pos x="327" y="520"/>
                    </a:cxn>
                    <a:cxn ang="0">
                      <a:pos x="388" y="586"/>
                    </a:cxn>
                    <a:cxn ang="0">
                      <a:pos x="388" y="586"/>
                    </a:cxn>
                    <a:cxn ang="0">
                      <a:pos x="387" y="586"/>
                    </a:cxn>
                    <a:cxn ang="0">
                      <a:pos x="388" y="586"/>
                    </a:cxn>
                    <a:cxn ang="0">
                      <a:pos x="398" y="1247"/>
                    </a:cxn>
                    <a:cxn ang="0">
                      <a:pos x="412" y="1250"/>
                    </a:cxn>
                    <a:cxn ang="0">
                      <a:pos x="402" y="581"/>
                    </a:cxn>
                    <a:cxn ang="0">
                      <a:pos x="460" y="520"/>
                    </a:cxn>
                    <a:cxn ang="0">
                      <a:pos x="693" y="281"/>
                    </a:cxn>
                    <a:cxn ang="0">
                      <a:pos x="785" y="74"/>
                    </a:cxn>
                    <a:cxn ang="0">
                      <a:pos x="785" y="74"/>
                    </a:cxn>
                    <a:cxn ang="0">
                      <a:pos x="788" y="48"/>
                    </a:cxn>
                    <a:cxn ang="0">
                      <a:pos x="788" y="48"/>
                    </a:cxn>
                    <a:cxn ang="0">
                      <a:pos x="394" y="0"/>
                    </a:cxn>
                  </a:cxnLst>
                  <a:rect l="0" t="0" r="r" b="b"/>
                  <a:pathLst>
                    <a:path w="788" h="1250">
                      <a:moveTo>
                        <a:pt x="394" y="0"/>
                      </a:moveTo>
                      <a:cubicBezTo>
                        <a:pt x="178" y="0"/>
                        <a:pt x="3" y="21"/>
                        <a:pt x="0" y="48"/>
                      </a:cubicBezTo>
                      <a:cubicBezTo>
                        <a:pt x="0" y="48"/>
                        <a:pt x="1" y="49"/>
                        <a:pt x="1" y="50"/>
                      </a:cubicBezTo>
                      <a:cubicBezTo>
                        <a:pt x="2" y="65"/>
                        <a:pt x="3" y="74"/>
                        <a:pt x="3" y="74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8" y="116"/>
                        <a:pt x="20" y="157"/>
                        <a:pt x="38" y="194"/>
                      </a:cubicBezTo>
                      <a:cubicBezTo>
                        <a:pt x="38" y="194"/>
                        <a:pt x="38" y="194"/>
                        <a:pt x="38" y="194"/>
                      </a:cubicBezTo>
                      <a:cubicBezTo>
                        <a:pt x="39" y="196"/>
                        <a:pt x="40" y="198"/>
                        <a:pt x="41" y="200"/>
                      </a:cubicBezTo>
                      <a:cubicBezTo>
                        <a:pt x="54" y="226"/>
                        <a:pt x="70" y="251"/>
                        <a:pt x="89" y="273"/>
                      </a:cubicBezTo>
                      <a:cubicBezTo>
                        <a:pt x="168" y="378"/>
                        <a:pt x="327" y="520"/>
                        <a:pt x="327" y="520"/>
                      </a:cubicBezTo>
                      <a:cubicBezTo>
                        <a:pt x="327" y="520"/>
                        <a:pt x="386" y="568"/>
                        <a:pt x="388" y="586"/>
                      </a:cubicBezTo>
                      <a:cubicBezTo>
                        <a:pt x="388" y="586"/>
                        <a:pt x="388" y="586"/>
                        <a:pt x="388" y="586"/>
                      </a:cubicBezTo>
                      <a:cubicBezTo>
                        <a:pt x="388" y="586"/>
                        <a:pt x="388" y="586"/>
                        <a:pt x="387" y="586"/>
                      </a:cubicBezTo>
                      <a:cubicBezTo>
                        <a:pt x="388" y="586"/>
                        <a:pt x="388" y="586"/>
                        <a:pt x="388" y="586"/>
                      </a:cubicBezTo>
                      <a:cubicBezTo>
                        <a:pt x="392" y="624"/>
                        <a:pt x="398" y="1000"/>
                        <a:pt x="398" y="1247"/>
                      </a:cubicBezTo>
                      <a:cubicBezTo>
                        <a:pt x="403" y="1248"/>
                        <a:pt x="407" y="1248"/>
                        <a:pt x="412" y="1250"/>
                      </a:cubicBezTo>
                      <a:cubicBezTo>
                        <a:pt x="406" y="996"/>
                        <a:pt x="397" y="599"/>
                        <a:pt x="402" y="581"/>
                      </a:cubicBezTo>
                      <a:cubicBezTo>
                        <a:pt x="411" y="561"/>
                        <a:pt x="460" y="520"/>
                        <a:pt x="460" y="520"/>
                      </a:cubicBezTo>
                      <a:cubicBezTo>
                        <a:pt x="460" y="520"/>
                        <a:pt x="615" y="382"/>
                        <a:pt x="693" y="281"/>
                      </a:cubicBezTo>
                      <a:cubicBezTo>
                        <a:pt x="743" y="223"/>
                        <a:pt x="777" y="152"/>
                        <a:pt x="785" y="74"/>
                      </a:cubicBezTo>
                      <a:cubicBezTo>
                        <a:pt x="785" y="74"/>
                        <a:pt x="785" y="74"/>
                        <a:pt x="785" y="74"/>
                      </a:cubicBezTo>
                      <a:cubicBezTo>
                        <a:pt x="785" y="74"/>
                        <a:pt x="787" y="64"/>
                        <a:pt x="788" y="48"/>
                      </a:cubicBezTo>
                      <a:cubicBezTo>
                        <a:pt x="788" y="48"/>
                        <a:pt x="788" y="48"/>
                        <a:pt x="788" y="48"/>
                      </a:cubicBezTo>
                      <a:cubicBezTo>
                        <a:pt x="788" y="22"/>
                        <a:pt x="612" y="0"/>
                        <a:pt x="394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  <a:lin ang="8100000" scaled="1"/>
                  <a:tileRect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  <p:sp>
            <p:nvSpPr>
              <p:cNvPr id="2055" name="Line 7"/>
              <p:cNvSpPr>
                <a:spLocks noChangeShapeType="1"/>
              </p:cNvSpPr>
              <p:nvPr/>
            </p:nvSpPr>
            <p:spPr bwMode="gray">
              <a:xfrm flipH="1">
                <a:off x="5117597" y="3678559"/>
                <a:ext cx="2591302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4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59" name="Oval 11"/>
              <p:cNvSpPr>
                <a:spLocks noChangeArrowheads="1"/>
              </p:cNvSpPr>
              <p:nvPr/>
            </p:nvSpPr>
            <p:spPr bwMode="gray">
              <a:xfrm>
                <a:off x="4076061" y="3187262"/>
                <a:ext cx="975252" cy="975600"/>
              </a:xfrm>
              <a:prstGeom prst="ellips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4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Textfeld 27"/>
              <p:cNvSpPr txBox="1"/>
              <p:nvPr/>
            </p:nvSpPr>
            <p:spPr bwMode="gray">
              <a:xfrm>
                <a:off x="6174441" y="3032228"/>
                <a:ext cx="1534458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1600" b="1" noProof="1" smtClean="0"/>
                  <a:t>Corporate</a:t>
                </a:r>
              </a:p>
              <a:p>
                <a:pPr algn="r"/>
                <a:r>
                  <a:rPr lang="en-US" sz="1600" b="1" noProof="1" smtClean="0"/>
                  <a:t>Communication</a:t>
                </a:r>
                <a:endParaRPr lang="en-US" sz="1600" b="1" noProof="1"/>
              </a:p>
            </p:txBody>
          </p:sp>
          <p:sp>
            <p:nvSpPr>
              <p:cNvPr id="30" name="Textfeld 29"/>
              <p:cNvSpPr txBox="1"/>
              <p:nvPr/>
            </p:nvSpPr>
            <p:spPr bwMode="gray">
              <a:xfrm>
                <a:off x="5659438" y="2093720"/>
                <a:ext cx="229165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noProof="1" smtClean="0"/>
                  <a:t>Performance potential, abilities, benefit, intention, values</a:t>
                </a:r>
                <a:endParaRPr lang="en-US" sz="1400" noProof="1"/>
              </a:p>
            </p:txBody>
          </p:sp>
          <p:sp>
            <p:nvSpPr>
              <p:cNvPr id="31" name="Textfeld 30"/>
              <p:cNvSpPr txBox="1"/>
              <p:nvPr/>
            </p:nvSpPr>
            <p:spPr bwMode="gray">
              <a:xfrm>
                <a:off x="5659438" y="4422996"/>
                <a:ext cx="229165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noProof="1" smtClean="0"/>
                  <a:t>Customer, employees, partners, suppliers, </a:t>
                </a:r>
                <a:br>
                  <a:rPr lang="en-US" sz="1400" noProof="1" smtClean="0"/>
                </a:br>
                <a:r>
                  <a:rPr lang="en-US" sz="1400" noProof="1" smtClean="0"/>
                  <a:t>public</a:t>
                </a:r>
                <a:endParaRPr lang="en-US" sz="1400" noProof="1"/>
              </a:p>
            </p:txBody>
          </p:sp>
          <p:sp>
            <p:nvSpPr>
              <p:cNvPr id="35" name="Pfeil nach unten 34"/>
              <p:cNvSpPr/>
              <p:nvPr/>
            </p:nvSpPr>
            <p:spPr bwMode="gray">
              <a:xfrm>
                <a:off x="2215997" y="2674834"/>
                <a:ext cx="658026" cy="2170631"/>
              </a:xfrm>
              <a:prstGeom prst="downArrow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4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Textfeld 35"/>
              <p:cNvSpPr txBox="1"/>
              <p:nvPr/>
            </p:nvSpPr>
            <p:spPr bwMode="gray">
              <a:xfrm>
                <a:off x="2013744" y="2305502"/>
                <a:ext cx="106253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00" b="1" noProof="1" smtClean="0"/>
                  <a:t>Self image</a:t>
                </a:r>
                <a:endParaRPr lang="en-US" sz="1600" b="1" noProof="1"/>
              </a:p>
            </p:txBody>
          </p:sp>
          <p:sp>
            <p:nvSpPr>
              <p:cNvPr id="37" name="Textfeld 36"/>
              <p:cNvSpPr txBox="1"/>
              <p:nvPr/>
            </p:nvSpPr>
            <p:spPr bwMode="gray">
              <a:xfrm>
                <a:off x="1913556" y="4887953"/>
                <a:ext cx="12629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00" b="1" noProof="1" smtClean="0"/>
                  <a:t>Public image</a:t>
                </a:r>
                <a:endParaRPr lang="en-US" sz="1600" b="1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4054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" name="Gruppieren 32"/>
          <p:cNvGrpSpPr/>
          <p:nvPr/>
        </p:nvGrpSpPr>
        <p:grpSpPr bwMode="gray">
          <a:xfrm>
            <a:off x="0" y="4976984"/>
            <a:ext cx="9144000" cy="1163782"/>
            <a:chOff x="0" y="4534215"/>
            <a:chExt cx="9144000" cy="1163782"/>
          </a:xfrm>
        </p:grpSpPr>
        <p:sp>
          <p:nvSpPr>
            <p:cNvPr id="1044" name="Rechteck 1043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045" name="Rechteck 1044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ulti-Channel-Marketing</a:t>
            </a:r>
            <a:endParaRPr lang="en-US" noProof="1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splay of different marketing channels</a:t>
            </a:r>
            <a:endParaRPr lang="en-US" noProof="1"/>
          </a:p>
        </p:txBody>
      </p:sp>
      <p:grpSp>
        <p:nvGrpSpPr>
          <p:cNvPr id="368" name="Gruppieren 367"/>
          <p:cNvGrpSpPr/>
          <p:nvPr/>
        </p:nvGrpSpPr>
        <p:grpSpPr>
          <a:xfrm>
            <a:off x="644930" y="1554954"/>
            <a:ext cx="7669955" cy="4292305"/>
            <a:chOff x="644930" y="1554954"/>
            <a:chExt cx="7669955" cy="4292305"/>
          </a:xfrm>
        </p:grpSpPr>
        <p:pic>
          <p:nvPicPr>
            <p:cNvPr id="1046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853508" y="5679577"/>
              <a:ext cx="1438572" cy="16768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1042" name="Gruppieren 1041"/>
            <p:cNvGrpSpPr/>
            <p:nvPr/>
          </p:nvGrpSpPr>
          <p:grpSpPr bwMode="gray">
            <a:xfrm>
              <a:off x="2446830" y="1554954"/>
              <a:ext cx="4253514" cy="4247359"/>
              <a:chOff x="2446830" y="1554954"/>
              <a:chExt cx="4253514" cy="4247359"/>
            </a:xfrm>
          </p:grpSpPr>
          <p:sp>
            <p:nvSpPr>
              <p:cNvPr id="16" name="Ellipse 15"/>
              <p:cNvSpPr/>
              <p:nvPr/>
            </p:nvSpPr>
            <p:spPr bwMode="gray">
              <a:xfrm>
                <a:off x="4153864" y="1554954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17" name="Ellipse 16"/>
              <p:cNvSpPr/>
              <p:nvPr/>
            </p:nvSpPr>
            <p:spPr bwMode="gray">
              <a:xfrm>
                <a:off x="5383187" y="2043718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18" name="Ellipse 17"/>
              <p:cNvSpPr/>
              <p:nvPr/>
            </p:nvSpPr>
            <p:spPr bwMode="gray">
              <a:xfrm>
                <a:off x="2937481" y="2043718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19" name="Ellipse 18"/>
              <p:cNvSpPr/>
              <p:nvPr/>
            </p:nvSpPr>
            <p:spPr bwMode="gray">
              <a:xfrm>
                <a:off x="5383187" y="4465162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20" name="Ellipse 19"/>
              <p:cNvSpPr/>
              <p:nvPr/>
            </p:nvSpPr>
            <p:spPr bwMode="gray">
              <a:xfrm>
                <a:off x="2937481" y="4465162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21" name="Ellipse 20"/>
              <p:cNvSpPr/>
              <p:nvPr/>
            </p:nvSpPr>
            <p:spPr bwMode="gray">
              <a:xfrm>
                <a:off x="4153864" y="4980345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23" name="Ellipse 22"/>
              <p:cNvSpPr/>
              <p:nvPr/>
            </p:nvSpPr>
            <p:spPr bwMode="gray">
              <a:xfrm>
                <a:off x="2446830" y="3267693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32" name="Ellipse 31"/>
              <p:cNvSpPr/>
              <p:nvPr/>
            </p:nvSpPr>
            <p:spPr bwMode="gray">
              <a:xfrm>
                <a:off x="3683492" y="2797349"/>
                <a:ext cx="1762568" cy="1762569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8400000"/>
                </a:lightRig>
              </a:scene3d>
              <a:sp3d>
                <a:bevelT w="501650" h="279400"/>
              </a:sp3d>
            </p:spPr>
            <p:txBody>
              <a:bodyPr wrap="none" rtlCol="0" anchor="ctr"/>
              <a:lstStyle/>
              <a:p>
                <a:pPr algn="ctr"/>
                <a:r>
                  <a:rPr lang="en-US" b="1" noProof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Multi-Channel</a:t>
                </a:r>
                <a:br>
                  <a:rPr lang="en-US" b="1" noProof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</a:br>
                <a:r>
                  <a:rPr lang="en-US" b="1" noProof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Marketing</a:t>
                </a:r>
                <a:endParaRPr lang="en-US" b="1" noProof="1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cxnSp>
            <p:nvCxnSpPr>
              <p:cNvPr id="38" name="Gerade Verbindung 37"/>
              <p:cNvCxnSpPr>
                <a:stCxn id="16" idx="4"/>
                <a:endCxn id="32" idx="0"/>
              </p:cNvCxnSpPr>
              <p:nvPr/>
            </p:nvCxnSpPr>
            <p:spPr bwMode="gray">
              <a:xfrm flipH="1">
                <a:off x="4564776" y="2376922"/>
                <a:ext cx="72" cy="420427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>
                <a:stCxn id="21" idx="0"/>
                <a:endCxn id="32" idx="4"/>
              </p:cNvCxnSpPr>
              <p:nvPr/>
            </p:nvCxnSpPr>
            <p:spPr bwMode="gray">
              <a:xfrm flipH="1" flipV="1">
                <a:off x="4564776" y="4559918"/>
                <a:ext cx="72" cy="420427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>
                <a:stCxn id="32" idx="6"/>
              </p:cNvCxnSpPr>
              <p:nvPr/>
            </p:nvCxnSpPr>
            <p:spPr bwMode="gray">
              <a:xfrm>
                <a:off x="5446060" y="3678634"/>
                <a:ext cx="429935" cy="43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>
                <a:stCxn id="23" idx="6"/>
                <a:endCxn id="32" idx="2"/>
              </p:cNvCxnSpPr>
              <p:nvPr/>
            </p:nvCxnSpPr>
            <p:spPr bwMode="gray">
              <a:xfrm flipV="1">
                <a:off x="3268798" y="3678634"/>
                <a:ext cx="414694" cy="43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>
                <a:stCxn id="32" idx="1"/>
                <a:endCxn id="18" idx="5"/>
              </p:cNvCxnSpPr>
              <p:nvPr/>
            </p:nvCxnSpPr>
            <p:spPr bwMode="gray">
              <a:xfrm flipH="1" flipV="1">
                <a:off x="3639074" y="2745312"/>
                <a:ext cx="302540" cy="310159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>
                <a:stCxn id="32" idx="7"/>
                <a:endCxn id="17" idx="3"/>
              </p:cNvCxnSpPr>
              <p:nvPr/>
            </p:nvCxnSpPr>
            <p:spPr bwMode="gray">
              <a:xfrm flipV="1">
                <a:off x="5187938" y="2745312"/>
                <a:ext cx="315624" cy="310159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>
                <a:stCxn id="32" idx="3"/>
                <a:endCxn id="20" idx="7"/>
              </p:cNvCxnSpPr>
              <p:nvPr/>
            </p:nvCxnSpPr>
            <p:spPr bwMode="gray">
              <a:xfrm flipH="1">
                <a:off x="3639074" y="4301796"/>
                <a:ext cx="302540" cy="283740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>
                <a:stCxn id="32" idx="5"/>
                <a:endCxn id="19" idx="1"/>
              </p:cNvCxnSpPr>
              <p:nvPr/>
            </p:nvCxnSpPr>
            <p:spPr bwMode="gray">
              <a:xfrm>
                <a:off x="5187938" y="4301796"/>
                <a:ext cx="315624" cy="283740"/>
              </a:xfrm>
              <a:prstGeom prst="line">
                <a:avLst/>
              </a:prstGeom>
              <a:ln>
                <a:solidFill>
                  <a:srgbClr val="64646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Ellipse 35"/>
              <p:cNvSpPr/>
              <p:nvPr/>
            </p:nvSpPr>
            <p:spPr bwMode="gray">
              <a:xfrm>
                <a:off x="5878376" y="3267693"/>
                <a:ext cx="821968" cy="82196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>
                  <a:rot lat="0" lon="0" rev="9000000"/>
                </a:lightRig>
              </a:scene3d>
              <a:sp3d>
                <a:bevelT w="298450" h="190500"/>
              </a:sp3d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pic>
            <p:nvPicPr>
              <p:cNvPr id="1030" name="Picture 6" descr="C:\Users\bastian.k\Desktop\twitter-logo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4584936" y="5259263"/>
                <a:ext cx="301757" cy="301757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1" name="Picture 7" descr="C:\Users\bastian.k\Desktop\facebook-logo-300x300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4268131" y="5254116"/>
                <a:ext cx="291955" cy="291955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32" name="Picture 8" descr="C:\Users\bastian.k\Desktop\Googlegermanlogo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gray">
              <a:xfrm>
                <a:off x="2494132" y="3551579"/>
                <a:ext cx="727699" cy="254197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707" name="Textfeld 706"/>
              <p:cNvSpPr txBox="1"/>
              <p:nvPr/>
            </p:nvSpPr>
            <p:spPr bwMode="gray">
              <a:xfrm>
                <a:off x="3043511" y="2088168"/>
                <a:ext cx="599844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600" b="1" noProof="1" smtClean="0">
                    <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@</a:t>
                </a:r>
                <a:endParaRPr lang="en-US" sz="3600" b="1" noProof="1">
                  <a:ln>
                    <a:solidFill>
                      <a:schemeClr val="tx1">
                        <a:lumMod val="75000"/>
                        <a:lumOff val="25000"/>
                      </a:schemeClr>
                    </a:solidFill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grpSp>
            <p:nvGrpSpPr>
              <p:cNvPr id="708" name="Gruppieren 707"/>
              <p:cNvGrpSpPr/>
              <p:nvPr/>
            </p:nvGrpSpPr>
            <p:grpSpPr bwMode="gray">
              <a:xfrm>
                <a:off x="4250810" y="1693390"/>
                <a:ext cx="640488" cy="568310"/>
                <a:chOff x="2403663" y="1670103"/>
                <a:chExt cx="4667278" cy="4141314"/>
              </a:xfrm>
            </p:grpSpPr>
            <p:grpSp>
              <p:nvGrpSpPr>
                <p:cNvPr id="709" name="Gruppieren 251"/>
                <p:cNvGrpSpPr/>
                <p:nvPr/>
              </p:nvGrpSpPr>
              <p:grpSpPr bwMode="gray">
                <a:xfrm>
                  <a:off x="2403663" y="2217488"/>
                  <a:ext cx="1649064" cy="2917806"/>
                  <a:chOff x="1832095" y="2117375"/>
                  <a:chExt cx="1338560" cy="2368407"/>
                </a:xfrm>
              </p:grpSpPr>
              <p:pic>
                <p:nvPicPr>
                  <p:cNvPr id="963" name="_effect" descr="C:\Users\marc.h\Desktop\Schatten-TEST.png"/>
                  <p:cNvPicPr>
                    <a:picLocks noChangeAspect="1" noChangeArrowheads="1"/>
                  </p:cNvPicPr>
                  <p:nvPr/>
                </p:nvPicPr>
                <p:blipFill>
                  <a:blip r:embed="rId6" cstate="print"/>
                  <a:srcRect/>
                  <a:stretch>
                    <a:fillRect/>
                  </a:stretch>
                </p:blipFill>
                <p:spPr bwMode="gray">
                  <a:xfrm>
                    <a:off x="1832095" y="3937210"/>
                    <a:ext cx="1338560" cy="548572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964" name="Gruppieren 312"/>
                  <p:cNvGrpSpPr/>
                  <p:nvPr/>
                </p:nvGrpSpPr>
                <p:grpSpPr bwMode="gray">
                  <a:xfrm>
                    <a:off x="2146262" y="2117371"/>
                    <a:ext cx="604495" cy="2211468"/>
                    <a:chOff x="-3870325" y="-19711987"/>
                    <a:chExt cx="5864225" cy="21453475"/>
                  </a:xfrm>
                </p:grpSpPr>
                <p:sp>
                  <p:nvSpPr>
                    <p:cNvPr id="965" name="Freeform 81"/>
                    <p:cNvSpPr>
                      <a:spLocks/>
                    </p:cNvSpPr>
                    <p:nvPr/>
                  </p:nvSpPr>
                  <p:spPr bwMode="gray">
                    <a:xfrm>
                      <a:off x="-3076575" y="-676275"/>
                      <a:ext cx="3457575" cy="1844675"/>
                    </a:xfrm>
                    <a:custGeom>
                      <a:avLst/>
                      <a:gdLst/>
                      <a:ahLst/>
                      <a:cxnLst>
                        <a:cxn ang="0">
                          <a:pos x="429" y="101"/>
                        </a:cxn>
                        <a:cxn ang="0">
                          <a:pos x="355" y="179"/>
                        </a:cxn>
                        <a:cxn ang="0">
                          <a:pos x="276" y="240"/>
                        </a:cxn>
                        <a:cxn ang="0">
                          <a:pos x="188" y="309"/>
                        </a:cxn>
                        <a:cxn ang="0">
                          <a:pos x="14" y="421"/>
                        </a:cxn>
                        <a:cxn ang="0">
                          <a:pos x="76" y="477"/>
                        </a:cxn>
                        <a:cxn ang="0">
                          <a:pos x="159" y="490"/>
                        </a:cxn>
                        <a:cxn ang="0">
                          <a:pos x="323" y="467"/>
                        </a:cxn>
                        <a:cxn ang="0">
                          <a:pos x="470" y="412"/>
                        </a:cxn>
                        <a:cxn ang="0">
                          <a:pos x="699" y="376"/>
                        </a:cxn>
                        <a:cxn ang="0">
                          <a:pos x="452" y="112"/>
                        </a:cxn>
                      </a:cxnLst>
                      <a:rect l="0" t="0" r="r" b="b"/>
                      <a:pathLst>
                        <a:path w="922" h="492">
                          <a:moveTo>
                            <a:pt x="429" y="101"/>
                          </a:moveTo>
                          <a:cubicBezTo>
                            <a:pt x="402" y="122"/>
                            <a:pt x="363" y="146"/>
                            <a:pt x="355" y="179"/>
                          </a:cubicBezTo>
                          <a:cubicBezTo>
                            <a:pt x="335" y="183"/>
                            <a:pt x="296" y="222"/>
                            <a:pt x="276" y="240"/>
                          </a:cubicBezTo>
                          <a:cubicBezTo>
                            <a:pt x="247" y="266"/>
                            <a:pt x="226" y="294"/>
                            <a:pt x="188" y="309"/>
                          </a:cubicBezTo>
                          <a:cubicBezTo>
                            <a:pt x="149" y="324"/>
                            <a:pt x="0" y="364"/>
                            <a:pt x="14" y="421"/>
                          </a:cubicBezTo>
                          <a:cubicBezTo>
                            <a:pt x="42" y="435"/>
                            <a:pt x="50" y="466"/>
                            <a:pt x="76" y="477"/>
                          </a:cubicBezTo>
                          <a:cubicBezTo>
                            <a:pt x="92" y="484"/>
                            <a:pt x="143" y="489"/>
                            <a:pt x="159" y="490"/>
                          </a:cubicBezTo>
                          <a:cubicBezTo>
                            <a:pt x="216" y="492"/>
                            <a:pt x="263" y="467"/>
                            <a:pt x="323" y="467"/>
                          </a:cubicBezTo>
                          <a:cubicBezTo>
                            <a:pt x="396" y="467"/>
                            <a:pt x="411" y="447"/>
                            <a:pt x="470" y="412"/>
                          </a:cubicBezTo>
                          <a:cubicBezTo>
                            <a:pt x="539" y="371"/>
                            <a:pt x="622" y="392"/>
                            <a:pt x="699" y="376"/>
                          </a:cubicBezTo>
                          <a:cubicBezTo>
                            <a:pt x="922" y="224"/>
                            <a:pt x="494" y="0"/>
                            <a:pt x="452" y="112"/>
                          </a:cubicBezTo>
                        </a:path>
                      </a:pathLst>
                    </a:custGeom>
                    <a:solidFill>
                      <a:srgbClr val="0B0C0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6" name="Freeform 82"/>
                    <p:cNvSpPr>
                      <a:spLocks/>
                    </p:cNvSpPr>
                    <p:nvPr/>
                  </p:nvSpPr>
                  <p:spPr bwMode="gray">
                    <a:xfrm>
                      <a:off x="-101600" y="-522287"/>
                      <a:ext cx="2095500" cy="2263775"/>
                    </a:xfrm>
                    <a:custGeom>
                      <a:avLst/>
                      <a:gdLst/>
                      <a:ahLst/>
                      <a:cxnLst>
                        <a:cxn ang="0">
                          <a:pos x="36" y="184"/>
                        </a:cxn>
                        <a:cxn ang="0">
                          <a:pos x="99" y="402"/>
                        </a:cxn>
                        <a:cxn ang="0">
                          <a:pos x="156" y="413"/>
                        </a:cxn>
                        <a:cxn ang="0">
                          <a:pos x="183" y="465"/>
                        </a:cxn>
                        <a:cxn ang="0">
                          <a:pos x="261" y="538"/>
                        </a:cxn>
                        <a:cxn ang="0">
                          <a:pos x="532" y="527"/>
                        </a:cxn>
                        <a:cxn ang="0">
                          <a:pos x="409" y="317"/>
                        </a:cxn>
                        <a:cxn ang="0">
                          <a:pos x="341" y="212"/>
                        </a:cxn>
                        <a:cxn ang="0">
                          <a:pos x="257" y="77"/>
                        </a:cxn>
                        <a:cxn ang="0">
                          <a:pos x="48" y="184"/>
                        </a:cxn>
                      </a:cxnLst>
                      <a:rect l="0" t="0" r="r" b="b"/>
                      <a:pathLst>
                        <a:path w="559" h="604">
                          <a:moveTo>
                            <a:pt x="36" y="184"/>
                          </a:moveTo>
                          <a:cubicBezTo>
                            <a:pt x="36" y="271"/>
                            <a:pt x="0" y="373"/>
                            <a:pt x="99" y="402"/>
                          </a:cubicBezTo>
                          <a:cubicBezTo>
                            <a:pt x="122" y="409"/>
                            <a:pt x="136" y="401"/>
                            <a:pt x="156" y="413"/>
                          </a:cubicBezTo>
                          <a:cubicBezTo>
                            <a:pt x="190" y="435"/>
                            <a:pt x="167" y="433"/>
                            <a:pt x="183" y="465"/>
                          </a:cubicBezTo>
                          <a:cubicBezTo>
                            <a:pt x="202" y="505"/>
                            <a:pt x="221" y="523"/>
                            <a:pt x="261" y="538"/>
                          </a:cubicBezTo>
                          <a:cubicBezTo>
                            <a:pt x="323" y="562"/>
                            <a:pt x="501" y="604"/>
                            <a:pt x="532" y="527"/>
                          </a:cubicBezTo>
                          <a:cubicBezTo>
                            <a:pt x="559" y="459"/>
                            <a:pt x="449" y="364"/>
                            <a:pt x="409" y="317"/>
                          </a:cubicBezTo>
                          <a:cubicBezTo>
                            <a:pt x="375" y="277"/>
                            <a:pt x="361" y="259"/>
                            <a:pt x="341" y="212"/>
                          </a:cubicBezTo>
                          <a:cubicBezTo>
                            <a:pt x="323" y="171"/>
                            <a:pt x="292" y="106"/>
                            <a:pt x="257" y="77"/>
                          </a:cubicBezTo>
                          <a:cubicBezTo>
                            <a:pt x="168" y="0"/>
                            <a:pt x="73" y="105"/>
                            <a:pt x="48" y="184"/>
                          </a:cubicBezTo>
                        </a:path>
                      </a:pathLst>
                    </a:custGeom>
                    <a:solidFill>
                      <a:srgbClr val="0004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7" name="Freeform 83"/>
                    <p:cNvSpPr>
                      <a:spLocks/>
                    </p:cNvSpPr>
                    <p:nvPr/>
                  </p:nvSpPr>
                  <p:spPr bwMode="gray">
                    <a:xfrm>
                      <a:off x="-1706563" y="61913"/>
                      <a:ext cx="382588" cy="393700"/>
                    </a:xfrm>
                    <a:custGeom>
                      <a:avLst/>
                      <a:gdLst/>
                      <a:ahLst/>
                      <a:cxnLst>
                        <a:cxn ang="0">
                          <a:pos x="31" y="41"/>
                        </a:cxn>
                        <a:cxn ang="0">
                          <a:pos x="2" y="74"/>
                        </a:cxn>
                        <a:cxn ang="0">
                          <a:pos x="30" y="76"/>
                        </a:cxn>
                        <a:cxn ang="0">
                          <a:pos x="31" y="91"/>
                        </a:cxn>
                        <a:cxn ang="0">
                          <a:pos x="31" y="45"/>
                        </a:cxn>
                      </a:cxnLst>
                      <a:rect l="0" t="0" r="r" b="b"/>
                      <a:pathLst>
                        <a:path w="102" h="105">
                          <a:moveTo>
                            <a:pt x="31" y="41"/>
                          </a:moveTo>
                          <a:cubicBezTo>
                            <a:pt x="12" y="42"/>
                            <a:pt x="0" y="55"/>
                            <a:pt x="2" y="74"/>
                          </a:cubicBezTo>
                          <a:cubicBezTo>
                            <a:pt x="10" y="72"/>
                            <a:pt x="22" y="77"/>
                            <a:pt x="30" y="76"/>
                          </a:cubicBezTo>
                          <a:cubicBezTo>
                            <a:pt x="30" y="80"/>
                            <a:pt x="31" y="86"/>
                            <a:pt x="31" y="91"/>
                          </a:cubicBezTo>
                          <a:cubicBezTo>
                            <a:pt x="102" y="105"/>
                            <a:pt x="90" y="0"/>
                            <a:pt x="31" y="45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8" name="Freeform 84"/>
                    <p:cNvSpPr>
                      <a:spLocks/>
                    </p:cNvSpPr>
                    <p:nvPr/>
                  </p:nvSpPr>
                  <p:spPr bwMode="gray">
                    <a:xfrm>
                      <a:off x="-1651000" y="249238"/>
                      <a:ext cx="1304925" cy="495300"/>
                    </a:xfrm>
                    <a:custGeom>
                      <a:avLst/>
                      <a:gdLst/>
                      <a:ahLst/>
                      <a:cxnLst>
                        <a:cxn ang="0">
                          <a:pos x="315" y="16"/>
                        </a:cxn>
                        <a:cxn ang="0">
                          <a:pos x="146" y="79"/>
                        </a:cxn>
                        <a:cxn ang="0">
                          <a:pos x="0" y="131"/>
                        </a:cxn>
                        <a:cxn ang="0">
                          <a:pos x="167" y="32"/>
                        </a:cxn>
                        <a:cxn ang="0">
                          <a:pos x="252" y="4"/>
                        </a:cxn>
                        <a:cxn ang="0">
                          <a:pos x="299" y="26"/>
                        </a:cxn>
                        <a:cxn ang="0">
                          <a:pos x="307" y="38"/>
                        </a:cxn>
                      </a:cxnLst>
                      <a:rect l="0" t="0" r="r" b="b"/>
                      <a:pathLst>
                        <a:path w="348" h="132">
                          <a:moveTo>
                            <a:pt x="315" y="16"/>
                          </a:moveTo>
                          <a:cubicBezTo>
                            <a:pt x="238" y="16"/>
                            <a:pt x="205" y="34"/>
                            <a:pt x="146" y="79"/>
                          </a:cubicBezTo>
                          <a:cubicBezTo>
                            <a:pt x="99" y="115"/>
                            <a:pt x="61" y="132"/>
                            <a:pt x="0" y="131"/>
                          </a:cubicBezTo>
                          <a:cubicBezTo>
                            <a:pt x="58" y="101"/>
                            <a:pt x="117" y="75"/>
                            <a:pt x="167" y="32"/>
                          </a:cubicBezTo>
                          <a:cubicBezTo>
                            <a:pt x="196" y="8"/>
                            <a:pt x="212" y="9"/>
                            <a:pt x="252" y="4"/>
                          </a:cubicBezTo>
                          <a:cubicBezTo>
                            <a:pt x="264" y="2"/>
                            <a:pt x="348" y="0"/>
                            <a:pt x="299" y="26"/>
                          </a:cubicBezTo>
                          <a:cubicBezTo>
                            <a:pt x="301" y="29"/>
                            <a:pt x="305" y="33"/>
                            <a:pt x="307" y="38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9" name="Freeform 85"/>
                    <p:cNvSpPr>
                      <a:spLocks/>
                    </p:cNvSpPr>
                    <p:nvPr/>
                  </p:nvSpPr>
                  <p:spPr bwMode="gray">
                    <a:xfrm>
                      <a:off x="1000125" y="419100"/>
                      <a:ext cx="949325" cy="911225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35"/>
                        </a:cxn>
                        <a:cxn ang="0">
                          <a:pos x="68" y="106"/>
                        </a:cxn>
                        <a:cxn ang="0">
                          <a:pos x="10" y="135"/>
                        </a:cxn>
                        <a:cxn ang="0">
                          <a:pos x="72" y="162"/>
                        </a:cxn>
                        <a:cxn ang="0">
                          <a:pos x="187" y="220"/>
                        </a:cxn>
                        <a:cxn ang="0">
                          <a:pos x="135" y="124"/>
                        </a:cxn>
                        <a:cxn ang="0">
                          <a:pos x="55" y="10"/>
                        </a:cxn>
                        <a:cxn ang="0">
                          <a:pos x="14" y="14"/>
                        </a:cxn>
                      </a:cxnLst>
                      <a:rect l="0" t="0" r="r" b="b"/>
                      <a:pathLst>
                        <a:path w="253" h="243">
                          <a:moveTo>
                            <a:pt x="35" y="35"/>
                          </a:moveTo>
                          <a:cubicBezTo>
                            <a:pt x="52" y="54"/>
                            <a:pt x="67" y="81"/>
                            <a:pt x="68" y="106"/>
                          </a:cubicBezTo>
                          <a:cubicBezTo>
                            <a:pt x="50" y="105"/>
                            <a:pt x="0" y="104"/>
                            <a:pt x="10" y="135"/>
                          </a:cubicBezTo>
                          <a:cubicBezTo>
                            <a:pt x="15" y="150"/>
                            <a:pt x="61" y="156"/>
                            <a:pt x="72" y="162"/>
                          </a:cubicBezTo>
                          <a:cubicBezTo>
                            <a:pt x="102" y="180"/>
                            <a:pt x="143" y="243"/>
                            <a:pt x="187" y="220"/>
                          </a:cubicBezTo>
                          <a:cubicBezTo>
                            <a:pt x="253" y="185"/>
                            <a:pt x="156" y="138"/>
                            <a:pt x="135" y="124"/>
                          </a:cubicBezTo>
                          <a:cubicBezTo>
                            <a:pt x="96" y="98"/>
                            <a:pt x="79" y="53"/>
                            <a:pt x="55" y="10"/>
                          </a:cubicBezTo>
                          <a:cubicBezTo>
                            <a:pt x="40" y="5"/>
                            <a:pt x="21" y="0"/>
                            <a:pt x="14" y="14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0" name="Freeform 86"/>
                    <p:cNvSpPr>
                      <a:spLocks/>
                    </p:cNvSpPr>
                    <p:nvPr/>
                  </p:nvSpPr>
                  <p:spPr bwMode="gray">
                    <a:xfrm>
                      <a:off x="47625" y="452438"/>
                      <a:ext cx="809625" cy="919163"/>
                    </a:xfrm>
                    <a:custGeom>
                      <a:avLst/>
                      <a:gdLst/>
                      <a:ahLst/>
                      <a:cxnLst>
                        <a:cxn ang="0">
                          <a:pos x="36" y="13"/>
                        </a:cxn>
                        <a:cxn ang="0">
                          <a:pos x="216" y="237"/>
                        </a:cxn>
                        <a:cxn ang="0">
                          <a:pos x="108" y="130"/>
                        </a:cxn>
                        <a:cxn ang="0">
                          <a:pos x="27" y="0"/>
                        </a:cxn>
                      </a:cxnLst>
                      <a:rect l="0" t="0" r="r" b="b"/>
                      <a:pathLst>
                        <a:path w="216" h="245">
                          <a:moveTo>
                            <a:pt x="36" y="13"/>
                          </a:moveTo>
                          <a:cubicBezTo>
                            <a:pt x="156" y="33"/>
                            <a:pt x="104" y="200"/>
                            <a:pt x="216" y="237"/>
                          </a:cubicBezTo>
                          <a:cubicBezTo>
                            <a:pt x="163" y="245"/>
                            <a:pt x="127" y="165"/>
                            <a:pt x="108" y="130"/>
                          </a:cubicBezTo>
                          <a:cubicBezTo>
                            <a:pt x="94" y="104"/>
                            <a:pt x="0" y="23"/>
                            <a:pt x="27" y="0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1" name="Freeform 87"/>
                    <p:cNvSpPr>
                      <a:spLocks/>
                    </p:cNvSpPr>
                    <p:nvPr/>
                  </p:nvSpPr>
                  <p:spPr bwMode="gray">
                    <a:xfrm>
                      <a:off x="1427163" y="1300163"/>
                      <a:ext cx="180975" cy="130175"/>
                    </a:xfrm>
                    <a:custGeom>
                      <a:avLst/>
                      <a:gdLst/>
                      <a:ahLst/>
                      <a:cxnLst>
                        <a:cxn ang="0">
                          <a:pos x="31" y="2"/>
                        </a:cxn>
                        <a:cxn ang="0">
                          <a:pos x="2" y="3"/>
                        </a:cxn>
                        <a:cxn ang="0">
                          <a:pos x="43" y="31"/>
                        </a:cxn>
                        <a:cxn ang="0">
                          <a:pos x="47" y="7"/>
                        </a:cxn>
                        <a:cxn ang="0">
                          <a:pos x="35" y="2"/>
                        </a:cxn>
                      </a:cxnLst>
                      <a:rect l="0" t="0" r="r" b="b"/>
                      <a:pathLst>
                        <a:path w="48" h="35">
                          <a:moveTo>
                            <a:pt x="31" y="2"/>
                          </a:moveTo>
                          <a:cubicBezTo>
                            <a:pt x="22" y="0"/>
                            <a:pt x="10" y="2"/>
                            <a:pt x="2" y="3"/>
                          </a:cubicBezTo>
                          <a:cubicBezTo>
                            <a:pt x="0" y="27"/>
                            <a:pt x="21" y="35"/>
                            <a:pt x="43" y="31"/>
                          </a:cubicBezTo>
                          <a:cubicBezTo>
                            <a:pt x="47" y="24"/>
                            <a:pt x="48" y="16"/>
                            <a:pt x="47" y="7"/>
                          </a:cubicBezTo>
                          <a:cubicBezTo>
                            <a:pt x="40" y="9"/>
                            <a:pt x="38" y="4"/>
                            <a:pt x="35" y="2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2" name="Freeform 88"/>
                    <p:cNvSpPr>
                      <a:spLocks/>
                    </p:cNvSpPr>
                    <p:nvPr/>
                  </p:nvSpPr>
                  <p:spPr bwMode="gray">
                    <a:xfrm>
                      <a:off x="614363" y="265113"/>
                      <a:ext cx="280988" cy="330200"/>
                    </a:xfrm>
                    <a:custGeom>
                      <a:avLst/>
                      <a:gdLst/>
                      <a:ahLst/>
                      <a:cxnLst>
                        <a:cxn ang="0">
                          <a:pos x="62" y="4"/>
                        </a:cxn>
                        <a:cxn ang="0">
                          <a:pos x="41" y="5"/>
                        </a:cxn>
                        <a:cxn ang="0">
                          <a:pos x="53" y="88"/>
                        </a:cxn>
                        <a:cxn ang="0">
                          <a:pos x="50" y="38"/>
                        </a:cxn>
                        <a:cxn ang="0">
                          <a:pos x="58" y="0"/>
                        </a:cxn>
                      </a:cxnLst>
                      <a:rect l="0" t="0" r="r" b="b"/>
                      <a:pathLst>
                        <a:path w="75" h="88">
                          <a:moveTo>
                            <a:pt x="62" y="4"/>
                          </a:moveTo>
                          <a:cubicBezTo>
                            <a:pt x="56" y="3"/>
                            <a:pt x="48" y="4"/>
                            <a:pt x="41" y="5"/>
                          </a:cubicBezTo>
                          <a:cubicBezTo>
                            <a:pt x="46" y="28"/>
                            <a:pt x="0" y="86"/>
                            <a:pt x="53" y="88"/>
                          </a:cubicBezTo>
                          <a:cubicBezTo>
                            <a:pt x="56" y="71"/>
                            <a:pt x="53" y="53"/>
                            <a:pt x="50" y="38"/>
                          </a:cubicBezTo>
                          <a:cubicBezTo>
                            <a:pt x="72" y="33"/>
                            <a:pt x="75" y="13"/>
                            <a:pt x="58" y="0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3" name="Freeform 89"/>
                    <p:cNvSpPr>
                      <a:spLocks/>
                    </p:cNvSpPr>
                    <p:nvPr/>
                  </p:nvSpPr>
                  <p:spPr bwMode="gray">
                    <a:xfrm>
                      <a:off x="-2847975" y="-150812"/>
                      <a:ext cx="1328738" cy="963613"/>
                    </a:xfrm>
                    <a:custGeom>
                      <a:avLst/>
                      <a:gdLst/>
                      <a:ahLst/>
                      <a:cxnLst>
                        <a:cxn ang="0">
                          <a:pos x="39" y="233"/>
                        </a:cxn>
                        <a:cxn ang="0">
                          <a:pos x="179" y="201"/>
                        </a:cxn>
                        <a:cxn ang="0">
                          <a:pos x="271" y="132"/>
                        </a:cxn>
                        <a:cxn ang="0">
                          <a:pos x="259" y="131"/>
                        </a:cxn>
                        <a:cxn ang="0">
                          <a:pos x="329" y="23"/>
                        </a:cxn>
                        <a:cxn ang="0">
                          <a:pos x="230" y="112"/>
                        </a:cxn>
                        <a:cxn ang="0">
                          <a:pos x="98" y="195"/>
                        </a:cxn>
                        <a:cxn ang="0">
                          <a:pos x="27" y="217"/>
                        </a:cxn>
                        <a:cxn ang="0">
                          <a:pos x="52" y="242"/>
                        </a:cxn>
                      </a:cxnLst>
                      <a:rect l="0" t="0" r="r" b="b"/>
                      <a:pathLst>
                        <a:path w="354" h="257">
                          <a:moveTo>
                            <a:pt x="39" y="233"/>
                          </a:moveTo>
                          <a:cubicBezTo>
                            <a:pt x="93" y="233"/>
                            <a:pt x="133" y="229"/>
                            <a:pt x="179" y="201"/>
                          </a:cubicBezTo>
                          <a:cubicBezTo>
                            <a:pt x="210" y="182"/>
                            <a:pt x="274" y="175"/>
                            <a:pt x="271" y="132"/>
                          </a:cubicBezTo>
                          <a:cubicBezTo>
                            <a:pt x="267" y="131"/>
                            <a:pt x="263" y="132"/>
                            <a:pt x="259" y="131"/>
                          </a:cubicBezTo>
                          <a:cubicBezTo>
                            <a:pt x="257" y="108"/>
                            <a:pt x="354" y="52"/>
                            <a:pt x="329" y="23"/>
                          </a:cubicBezTo>
                          <a:cubicBezTo>
                            <a:pt x="310" y="0"/>
                            <a:pt x="240" y="96"/>
                            <a:pt x="230" y="112"/>
                          </a:cubicBezTo>
                          <a:cubicBezTo>
                            <a:pt x="199" y="158"/>
                            <a:pt x="149" y="179"/>
                            <a:pt x="98" y="195"/>
                          </a:cubicBezTo>
                          <a:cubicBezTo>
                            <a:pt x="80" y="201"/>
                            <a:pt x="40" y="205"/>
                            <a:pt x="27" y="217"/>
                          </a:cubicBezTo>
                          <a:cubicBezTo>
                            <a:pt x="0" y="241"/>
                            <a:pt x="21" y="257"/>
                            <a:pt x="52" y="242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4" name="Freeform 90"/>
                    <p:cNvSpPr>
                      <a:spLocks/>
                    </p:cNvSpPr>
                    <p:nvPr/>
                  </p:nvSpPr>
                  <p:spPr bwMode="gray">
                    <a:xfrm>
                      <a:off x="-3046413" y="-11569700"/>
                      <a:ext cx="4418013" cy="12044363"/>
                    </a:xfrm>
                    <a:custGeom>
                      <a:avLst/>
                      <a:gdLst/>
                      <a:ahLst/>
                      <a:cxnLst>
                        <a:cxn ang="0">
                          <a:pos x="55" y="151"/>
                        </a:cxn>
                        <a:cxn ang="0">
                          <a:pos x="78" y="281"/>
                        </a:cxn>
                        <a:cxn ang="0">
                          <a:pos x="37" y="382"/>
                        </a:cxn>
                        <a:cxn ang="0">
                          <a:pos x="33" y="686"/>
                        </a:cxn>
                        <a:cxn ang="0">
                          <a:pos x="72" y="1082"/>
                        </a:cxn>
                        <a:cxn ang="0">
                          <a:pos x="100" y="1473"/>
                        </a:cxn>
                        <a:cxn ang="0">
                          <a:pos x="203" y="2087"/>
                        </a:cxn>
                        <a:cxn ang="0">
                          <a:pos x="268" y="2377"/>
                        </a:cxn>
                        <a:cxn ang="0">
                          <a:pos x="331" y="2676"/>
                        </a:cxn>
                        <a:cxn ang="0">
                          <a:pos x="331" y="2712"/>
                        </a:cxn>
                        <a:cxn ang="0">
                          <a:pos x="360" y="2865"/>
                        </a:cxn>
                        <a:cxn ang="0">
                          <a:pos x="398" y="3028"/>
                        </a:cxn>
                        <a:cxn ang="0">
                          <a:pos x="465" y="3046"/>
                        </a:cxn>
                        <a:cxn ang="0">
                          <a:pos x="551" y="3097"/>
                        </a:cxn>
                        <a:cxn ang="0">
                          <a:pos x="746" y="3164"/>
                        </a:cxn>
                        <a:cxn ang="0">
                          <a:pos x="765" y="2895"/>
                        </a:cxn>
                        <a:cxn ang="0">
                          <a:pos x="699" y="2595"/>
                        </a:cxn>
                        <a:cxn ang="0">
                          <a:pos x="664" y="2318"/>
                        </a:cxn>
                        <a:cxn ang="0">
                          <a:pos x="668" y="2009"/>
                        </a:cxn>
                        <a:cxn ang="0">
                          <a:pos x="635" y="1824"/>
                        </a:cxn>
                        <a:cxn ang="0">
                          <a:pos x="658" y="1638"/>
                        </a:cxn>
                        <a:cxn ang="0">
                          <a:pos x="613" y="1458"/>
                        </a:cxn>
                        <a:cxn ang="0">
                          <a:pos x="614" y="1261"/>
                        </a:cxn>
                        <a:cxn ang="0">
                          <a:pos x="681" y="1356"/>
                        </a:cxn>
                        <a:cxn ang="0">
                          <a:pos x="699" y="1501"/>
                        </a:cxn>
                        <a:cxn ang="0">
                          <a:pos x="742" y="1767"/>
                        </a:cxn>
                        <a:cxn ang="0">
                          <a:pos x="709" y="2110"/>
                        </a:cxn>
                        <a:cxn ang="0">
                          <a:pos x="720" y="2437"/>
                        </a:cxn>
                        <a:cxn ang="0">
                          <a:pos x="708" y="2657"/>
                        </a:cxn>
                        <a:cxn ang="0">
                          <a:pos x="681" y="2858"/>
                        </a:cxn>
                        <a:cxn ang="0">
                          <a:pos x="761" y="3062"/>
                        </a:cxn>
                        <a:cxn ang="0">
                          <a:pos x="888" y="3206"/>
                        </a:cxn>
                        <a:cxn ang="0">
                          <a:pos x="1108" y="3109"/>
                        </a:cxn>
                        <a:cxn ang="0">
                          <a:pos x="1125" y="2843"/>
                        </a:cxn>
                        <a:cxn ang="0">
                          <a:pos x="1125" y="2765"/>
                        </a:cxn>
                        <a:cxn ang="0">
                          <a:pos x="1108" y="2702"/>
                        </a:cxn>
                        <a:cxn ang="0">
                          <a:pos x="1148" y="2578"/>
                        </a:cxn>
                        <a:cxn ang="0">
                          <a:pos x="1148" y="2229"/>
                        </a:cxn>
                        <a:cxn ang="0">
                          <a:pos x="1153" y="2071"/>
                        </a:cxn>
                        <a:cxn ang="0">
                          <a:pos x="1125" y="1914"/>
                        </a:cxn>
                        <a:cxn ang="0">
                          <a:pos x="1148" y="1587"/>
                        </a:cxn>
                        <a:cxn ang="0">
                          <a:pos x="1142" y="1282"/>
                        </a:cxn>
                        <a:cxn ang="0">
                          <a:pos x="1153" y="1092"/>
                        </a:cxn>
                        <a:cxn ang="0">
                          <a:pos x="1125" y="911"/>
                        </a:cxn>
                        <a:cxn ang="0">
                          <a:pos x="1107" y="541"/>
                        </a:cxn>
                        <a:cxn ang="0">
                          <a:pos x="1024" y="168"/>
                        </a:cxn>
                        <a:cxn ang="0">
                          <a:pos x="731" y="17"/>
                        </a:cxn>
                        <a:cxn ang="0">
                          <a:pos x="152" y="79"/>
                        </a:cxn>
                        <a:cxn ang="0">
                          <a:pos x="72" y="151"/>
                        </a:cxn>
                      </a:cxnLst>
                      <a:rect l="0" t="0" r="r" b="b"/>
                      <a:pathLst>
                        <a:path w="1178" h="3212">
                          <a:moveTo>
                            <a:pt x="55" y="151"/>
                          </a:moveTo>
                          <a:cubicBezTo>
                            <a:pt x="49" y="196"/>
                            <a:pt x="81" y="231"/>
                            <a:pt x="78" y="281"/>
                          </a:cubicBezTo>
                          <a:cubicBezTo>
                            <a:pt x="75" y="326"/>
                            <a:pt x="52" y="346"/>
                            <a:pt x="37" y="382"/>
                          </a:cubicBezTo>
                          <a:cubicBezTo>
                            <a:pt x="0" y="468"/>
                            <a:pt x="24" y="594"/>
                            <a:pt x="33" y="686"/>
                          </a:cubicBezTo>
                          <a:cubicBezTo>
                            <a:pt x="45" y="819"/>
                            <a:pt x="58" y="950"/>
                            <a:pt x="72" y="1082"/>
                          </a:cubicBezTo>
                          <a:cubicBezTo>
                            <a:pt x="86" y="1213"/>
                            <a:pt x="107" y="1338"/>
                            <a:pt x="100" y="1473"/>
                          </a:cubicBezTo>
                          <a:cubicBezTo>
                            <a:pt x="90" y="1687"/>
                            <a:pt x="167" y="1885"/>
                            <a:pt x="203" y="2087"/>
                          </a:cubicBezTo>
                          <a:cubicBezTo>
                            <a:pt x="221" y="2184"/>
                            <a:pt x="253" y="2275"/>
                            <a:pt x="268" y="2377"/>
                          </a:cubicBezTo>
                          <a:cubicBezTo>
                            <a:pt x="282" y="2471"/>
                            <a:pt x="342" y="2574"/>
                            <a:pt x="331" y="2676"/>
                          </a:cubicBezTo>
                          <a:cubicBezTo>
                            <a:pt x="330" y="2688"/>
                            <a:pt x="331" y="2700"/>
                            <a:pt x="331" y="2712"/>
                          </a:cubicBezTo>
                          <a:cubicBezTo>
                            <a:pt x="268" y="2741"/>
                            <a:pt x="351" y="2832"/>
                            <a:pt x="360" y="2865"/>
                          </a:cubicBezTo>
                          <a:cubicBezTo>
                            <a:pt x="375" y="2925"/>
                            <a:pt x="339" y="2982"/>
                            <a:pt x="398" y="3028"/>
                          </a:cubicBezTo>
                          <a:cubicBezTo>
                            <a:pt x="420" y="3045"/>
                            <a:pt x="440" y="3037"/>
                            <a:pt x="465" y="3046"/>
                          </a:cubicBezTo>
                          <a:cubicBezTo>
                            <a:pt x="487" y="3054"/>
                            <a:pt x="527" y="3085"/>
                            <a:pt x="551" y="3097"/>
                          </a:cubicBezTo>
                          <a:cubicBezTo>
                            <a:pt x="609" y="3126"/>
                            <a:pt x="681" y="3156"/>
                            <a:pt x="746" y="3164"/>
                          </a:cubicBezTo>
                          <a:cubicBezTo>
                            <a:pt x="725" y="3072"/>
                            <a:pt x="773" y="2987"/>
                            <a:pt x="765" y="2895"/>
                          </a:cubicBezTo>
                          <a:cubicBezTo>
                            <a:pt x="757" y="2795"/>
                            <a:pt x="726" y="2690"/>
                            <a:pt x="699" y="2595"/>
                          </a:cubicBezTo>
                          <a:cubicBezTo>
                            <a:pt x="673" y="2503"/>
                            <a:pt x="654" y="2417"/>
                            <a:pt x="664" y="2318"/>
                          </a:cubicBezTo>
                          <a:cubicBezTo>
                            <a:pt x="673" y="2225"/>
                            <a:pt x="695" y="2102"/>
                            <a:pt x="668" y="2009"/>
                          </a:cubicBezTo>
                          <a:cubicBezTo>
                            <a:pt x="650" y="1949"/>
                            <a:pt x="625" y="1893"/>
                            <a:pt x="635" y="1824"/>
                          </a:cubicBezTo>
                          <a:cubicBezTo>
                            <a:pt x="646" y="1757"/>
                            <a:pt x="672" y="1710"/>
                            <a:pt x="658" y="1638"/>
                          </a:cubicBezTo>
                          <a:cubicBezTo>
                            <a:pt x="645" y="1572"/>
                            <a:pt x="613" y="1532"/>
                            <a:pt x="613" y="1458"/>
                          </a:cubicBezTo>
                          <a:cubicBezTo>
                            <a:pt x="613" y="1392"/>
                            <a:pt x="610" y="1326"/>
                            <a:pt x="614" y="1261"/>
                          </a:cubicBezTo>
                          <a:cubicBezTo>
                            <a:pt x="645" y="1296"/>
                            <a:pt x="669" y="1309"/>
                            <a:pt x="681" y="1356"/>
                          </a:cubicBezTo>
                          <a:cubicBezTo>
                            <a:pt x="693" y="1402"/>
                            <a:pt x="692" y="1455"/>
                            <a:pt x="699" y="1501"/>
                          </a:cubicBezTo>
                          <a:cubicBezTo>
                            <a:pt x="712" y="1593"/>
                            <a:pt x="742" y="1668"/>
                            <a:pt x="742" y="1767"/>
                          </a:cubicBezTo>
                          <a:cubicBezTo>
                            <a:pt x="742" y="1887"/>
                            <a:pt x="727" y="1996"/>
                            <a:pt x="709" y="2110"/>
                          </a:cubicBezTo>
                          <a:cubicBezTo>
                            <a:pt x="692" y="2218"/>
                            <a:pt x="720" y="2327"/>
                            <a:pt x="720" y="2437"/>
                          </a:cubicBezTo>
                          <a:cubicBezTo>
                            <a:pt x="720" y="2509"/>
                            <a:pt x="719" y="2585"/>
                            <a:pt x="708" y="2657"/>
                          </a:cubicBezTo>
                          <a:cubicBezTo>
                            <a:pt x="698" y="2726"/>
                            <a:pt x="676" y="2784"/>
                            <a:pt x="681" y="2858"/>
                          </a:cubicBezTo>
                          <a:cubicBezTo>
                            <a:pt x="685" y="2936"/>
                            <a:pt x="733" y="2993"/>
                            <a:pt x="761" y="3062"/>
                          </a:cubicBezTo>
                          <a:cubicBezTo>
                            <a:pt x="779" y="3106"/>
                            <a:pt x="832" y="3212"/>
                            <a:pt x="888" y="3206"/>
                          </a:cubicBezTo>
                          <a:cubicBezTo>
                            <a:pt x="920" y="3108"/>
                            <a:pt x="1051" y="3169"/>
                            <a:pt x="1108" y="3109"/>
                          </a:cubicBezTo>
                          <a:cubicBezTo>
                            <a:pt x="1178" y="3035"/>
                            <a:pt x="1133" y="2934"/>
                            <a:pt x="1125" y="2843"/>
                          </a:cubicBezTo>
                          <a:cubicBezTo>
                            <a:pt x="1123" y="2817"/>
                            <a:pt x="1129" y="2790"/>
                            <a:pt x="1125" y="2765"/>
                          </a:cubicBezTo>
                          <a:cubicBezTo>
                            <a:pt x="1122" y="2744"/>
                            <a:pt x="1107" y="2723"/>
                            <a:pt x="1108" y="2702"/>
                          </a:cubicBezTo>
                          <a:cubicBezTo>
                            <a:pt x="1111" y="2665"/>
                            <a:pt x="1139" y="2616"/>
                            <a:pt x="1148" y="2578"/>
                          </a:cubicBezTo>
                          <a:cubicBezTo>
                            <a:pt x="1175" y="2463"/>
                            <a:pt x="1153" y="2350"/>
                            <a:pt x="1148" y="2229"/>
                          </a:cubicBezTo>
                          <a:cubicBezTo>
                            <a:pt x="1145" y="2175"/>
                            <a:pt x="1151" y="2124"/>
                            <a:pt x="1153" y="2071"/>
                          </a:cubicBezTo>
                          <a:cubicBezTo>
                            <a:pt x="1156" y="2014"/>
                            <a:pt x="1131" y="1968"/>
                            <a:pt x="1125" y="1914"/>
                          </a:cubicBezTo>
                          <a:cubicBezTo>
                            <a:pt x="1112" y="1802"/>
                            <a:pt x="1143" y="1694"/>
                            <a:pt x="1148" y="1587"/>
                          </a:cubicBezTo>
                          <a:cubicBezTo>
                            <a:pt x="1153" y="1484"/>
                            <a:pt x="1137" y="1386"/>
                            <a:pt x="1142" y="1282"/>
                          </a:cubicBezTo>
                          <a:cubicBezTo>
                            <a:pt x="1145" y="1218"/>
                            <a:pt x="1154" y="1157"/>
                            <a:pt x="1153" y="1092"/>
                          </a:cubicBezTo>
                          <a:cubicBezTo>
                            <a:pt x="1153" y="1028"/>
                            <a:pt x="1131" y="969"/>
                            <a:pt x="1125" y="911"/>
                          </a:cubicBezTo>
                          <a:cubicBezTo>
                            <a:pt x="1114" y="786"/>
                            <a:pt x="1151" y="664"/>
                            <a:pt x="1107" y="541"/>
                          </a:cubicBezTo>
                          <a:cubicBezTo>
                            <a:pt x="1063" y="418"/>
                            <a:pt x="1051" y="297"/>
                            <a:pt x="1024" y="168"/>
                          </a:cubicBezTo>
                          <a:cubicBezTo>
                            <a:pt x="1000" y="52"/>
                            <a:pt x="839" y="26"/>
                            <a:pt x="731" y="17"/>
                          </a:cubicBezTo>
                          <a:cubicBezTo>
                            <a:pt x="534" y="0"/>
                            <a:pt x="335" y="29"/>
                            <a:pt x="152" y="79"/>
                          </a:cubicBezTo>
                          <a:cubicBezTo>
                            <a:pt x="146" y="114"/>
                            <a:pt x="107" y="143"/>
                            <a:pt x="72" y="151"/>
                          </a:cubicBezTo>
                        </a:path>
                      </a:pathLst>
                    </a:custGeom>
                    <a:solidFill>
                      <a:srgbClr val="585C5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5" name="Freeform 91"/>
                    <p:cNvSpPr>
                      <a:spLocks/>
                    </p:cNvSpPr>
                    <p:nvPr/>
                  </p:nvSpPr>
                  <p:spPr bwMode="gray">
                    <a:xfrm>
                      <a:off x="-2055813" y="-18129250"/>
                      <a:ext cx="1924050" cy="2647950"/>
                    </a:xfrm>
                    <a:custGeom>
                      <a:avLst/>
                      <a:gdLst/>
                      <a:ahLst/>
                      <a:cxnLst>
                        <a:cxn ang="0">
                          <a:pos x="122" y="205"/>
                        </a:cxn>
                        <a:cxn ang="0">
                          <a:pos x="141" y="437"/>
                        </a:cxn>
                        <a:cxn ang="0">
                          <a:pos x="214" y="683"/>
                        </a:cxn>
                        <a:cxn ang="0">
                          <a:pos x="488" y="510"/>
                        </a:cxn>
                        <a:cxn ang="0">
                          <a:pos x="407" y="124"/>
                        </a:cxn>
                        <a:cxn ang="0">
                          <a:pos x="143" y="184"/>
                        </a:cxn>
                      </a:cxnLst>
                      <a:rect l="0" t="0" r="r" b="b"/>
                      <a:pathLst>
                        <a:path w="513" h="706">
                          <a:moveTo>
                            <a:pt x="122" y="205"/>
                          </a:moveTo>
                          <a:cubicBezTo>
                            <a:pt x="137" y="280"/>
                            <a:pt x="146" y="354"/>
                            <a:pt x="141" y="437"/>
                          </a:cubicBezTo>
                          <a:cubicBezTo>
                            <a:pt x="0" y="522"/>
                            <a:pt x="74" y="660"/>
                            <a:pt x="214" y="683"/>
                          </a:cubicBezTo>
                          <a:cubicBezTo>
                            <a:pt x="351" y="706"/>
                            <a:pt x="455" y="646"/>
                            <a:pt x="488" y="510"/>
                          </a:cubicBezTo>
                          <a:cubicBezTo>
                            <a:pt x="513" y="407"/>
                            <a:pt x="455" y="214"/>
                            <a:pt x="407" y="124"/>
                          </a:cubicBezTo>
                          <a:cubicBezTo>
                            <a:pt x="342" y="0"/>
                            <a:pt x="146" y="43"/>
                            <a:pt x="143" y="184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6" name="Freeform 92"/>
                    <p:cNvSpPr>
                      <a:spLocks/>
                    </p:cNvSpPr>
                    <p:nvPr/>
                  </p:nvSpPr>
                  <p:spPr bwMode="gray">
                    <a:xfrm>
                      <a:off x="-409575" y="-17097375"/>
                      <a:ext cx="157163" cy="258763"/>
                    </a:xfrm>
                    <a:custGeom>
                      <a:avLst/>
                      <a:gdLst/>
                      <a:ahLst/>
                      <a:cxnLst>
                        <a:cxn ang="0">
                          <a:pos x="20" y="45"/>
                        </a:cxn>
                        <a:cxn ang="0">
                          <a:pos x="42" y="69"/>
                        </a:cxn>
                        <a:cxn ang="0">
                          <a:pos x="37" y="42"/>
                        </a:cxn>
                        <a:cxn ang="0">
                          <a:pos x="26" y="12"/>
                        </a:cxn>
                        <a:cxn ang="0">
                          <a:pos x="14" y="4"/>
                        </a:cxn>
                        <a:cxn ang="0">
                          <a:pos x="5" y="17"/>
                        </a:cxn>
                        <a:cxn ang="0">
                          <a:pos x="18" y="45"/>
                        </a:cxn>
                      </a:cxnLst>
                      <a:rect l="0" t="0" r="r" b="b"/>
                      <a:pathLst>
                        <a:path w="42" h="69">
                          <a:moveTo>
                            <a:pt x="20" y="45"/>
                          </a:moveTo>
                          <a:cubicBezTo>
                            <a:pt x="26" y="51"/>
                            <a:pt x="34" y="66"/>
                            <a:pt x="42" y="69"/>
                          </a:cubicBezTo>
                          <a:cubicBezTo>
                            <a:pt x="42" y="59"/>
                            <a:pt x="39" y="51"/>
                            <a:pt x="37" y="42"/>
                          </a:cubicBezTo>
                          <a:cubicBezTo>
                            <a:pt x="34" y="29"/>
                            <a:pt x="30" y="22"/>
                            <a:pt x="26" y="12"/>
                          </a:cubicBezTo>
                          <a:cubicBezTo>
                            <a:pt x="22" y="5"/>
                            <a:pt x="22" y="0"/>
                            <a:pt x="14" y="4"/>
                          </a:cubicBezTo>
                          <a:cubicBezTo>
                            <a:pt x="11" y="5"/>
                            <a:pt x="6" y="14"/>
                            <a:pt x="5" y="17"/>
                          </a:cubicBezTo>
                          <a:cubicBezTo>
                            <a:pt x="0" y="32"/>
                            <a:pt x="16" y="37"/>
                            <a:pt x="18" y="45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7" name="Freeform 93"/>
                    <p:cNvSpPr>
                      <a:spLocks/>
                    </p:cNvSpPr>
                    <p:nvPr/>
                  </p:nvSpPr>
                  <p:spPr bwMode="gray">
                    <a:xfrm>
                      <a:off x="-1587500" y="-17067212"/>
                      <a:ext cx="1296988" cy="7683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3" y="45"/>
                        </a:cxn>
                        <a:cxn ang="0">
                          <a:pos x="45" y="97"/>
                        </a:cxn>
                        <a:cxn ang="0">
                          <a:pos x="125" y="177"/>
                        </a:cxn>
                        <a:cxn ang="0">
                          <a:pos x="246" y="190"/>
                        </a:cxn>
                        <a:cxn ang="0">
                          <a:pos x="346" y="14"/>
                        </a:cxn>
                      </a:cxnLst>
                      <a:rect l="0" t="0" r="r" b="b"/>
                      <a:pathLst>
                        <a:path w="346" h="205">
                          <a:moveTo>
                            <a:pt x="0" y="0"/>
                          </a:moveTo>
                          <a:cubicBezTo>
                            <a:pt x="7" y="19"/>
                            <a:pt x="13" y="29"/>
                            <a:pt x="23" y="45"/>
                          </a:cubicBezTo>
                          <a:cubicBezTo>
                            <a:pt x="33" y="62"/>
                            <a:pt x="33" y="82"/>
                            <a:pt x="45" y="97"/>
                          </a:cubicBezTo>
                          <a:cubicBezTo>
                            <a:pt x="70" y="127"/>
                            <a:pt x="87" y="157"/>
                            <a:pt x="125" y="177"/>
                          </a:cubicBezTo>
                          <a:cubicBezTo>
                            <a:pt x="150" y="191"/>
                            <a:pt x="216" y="205"/>
                            <a:pt x="246" y="190"/>
                          </a:cubicBezTo>
                          <a:cubicBezTo>
                            <a:pt x="303" y="163"/>
                            <a:pt x="346" y="38"/>
                            <a:pt x="346" y="14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8" name="Freeform 94"/>
                    <p:cNvSpPr>
                      <a:spLocks/>
                    </p:cNvSpPr>
                    <p:nvPr/>
                  </p:nvSpPr>
                  <p:spPr bwMode="gray">
                    <a:xfrm>
                      <a:off x="-2055813" y="-19629437"/>
                      <a:ext cx="2047875" cy="3203575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367"/>
                        </a:cxn>
                        <a:cxn ang="0">
                          <a:pos x="1" y="422"/>
                        </a:cxn>
                        <a:cxn ang="0">
                          <a:pos x="43" y="495"/>
                        </a:cxn>
                        <a:cxn ang="0">
                          <a:pos x="63" y="525"/>
                        </a:cxn>
                        <a:cxn ang="0">
                          <a:pos x="76" y="578"/>
                        </a:cxn>
                        <a:cxn ang="0">
                          <a:pos x="132" y="702"/>
                        </a:cxn>
                        <a:cxn ang="0">
                          <a:pos x="171" y="746"/>
                        </a:cxn>
                        <a:cxn ang="0">
                          <a:pos x="251" y="827"/>
                        </a:cxn>
                        <a:cxn ang="0">
                          <a:pos x="372" y="840"/>
                        </a:cxn>
                        <a:cxn ang="0">
                          <a:pos x="473" y="692"/>
                        </a:cxn>
                        <a:cxn ang="0">
                          <a:pos x="511" y="599"/>
                        </a:cxn>
                        <a:cxn ang="0">
                          <a:pos x="529" y="410"/>
                        </a:cxn>
                        <a:cxn ang="0">
                          <a:pos x="372" y="60"/>
                        </a:cxn>
                        <a:cxn ang="0">
                          <a:pos x="112" y="89"/>
                        </a:cxn>
                        <a:cxn ang="0">
                          <a:pos x="40" y="216"/>
                        </a:cxn>
                        <a:cxn ang="0">
                          <a:pos x="48" y="367"/>
                        </a:cxn>
                      </a:cxnLst>
                      <a:rect l="0" t="0" r="r" b="b"/>
                      <a:pathLst>
                        <a:path w="546" h="854">
                          <a:moveTo>
                            <a:pt x="48" y="367"/>
                          </a:moveTo>
                          <a:cubicBezTo>
                            <a:pt x="6" y="358"/>
                            <a:pt x="2" y="391"/>
                            <a:pt x="1" y="422"/>
                          </a:cubicBezTo>
                          <a:cubicBezTo>
                            <a:pt x="0" y="467"/>
                            <a:pt x="17" y="469"/>
                            <a:pt x="43" y="495"/>
                          </a:cubicBezTo>
                          <a:cubicBezTo>
                            <a:pt x="51" y="503"/>
                            <a:pt x="54" y="517"/>
                            <a:pt x="63" y="525"/>
                          </a:cubicBezTo>
                          <a:cubicBezTo>
                            <a:pt x="75" y="534"/>
                            <a:pt x="67" y="564"/>
                            <a:pt x="76" y="578"/>
                          </a:cubicBezTo>
                          <a:cubicBezTo>
                            <a:pt x="92" y="600"/>
                            <a:pt x="122" y="686"/>
                            <a:pt x="132" y="702"/>
                          </a:cubicBezTo>
                          <a:cubicBezTo>
                            <a:pt x="142" y="719"/>
                            <a:pt x="159" y="731"/>
                            <a:pt x="171" y="746"/>
                          </a:cubicBezTo>
                          <a:cubicBezTo>
                            <a:pt x="196" y="777"/>
                            <a:pt x="213" y="806"/>
                            <a:pt x="251" y="827"/>
                          </a:cubicBezTo>
                          <a:cubicBezTo>
                            <a:pt x="277" y="840"/>
                            <a:pt x="342" y="854"/>
                            <a:pt x="372" y="840"/>
                          </a:cubicBezTo>
                          <a:cubicBezTo>
                            <a:pt x="400" y="826"/>
                            <a:pt x="464" y="716"/>
                            <a:pt x="473" y="692"/>
                          </a:cubicBezTo>
                          <a:cubicBezTo>
                            <a:pt x="485" y="660"/>
                            <a:pt x="498" y="628"/>
                            <a:pt x="511" y="599"/>
                          </a:cubicBezTo>
                          <a:cubicBezTo>
                            <a:pt x="537" y="542"/>
                            <a:pt x="521" y="470"/>
                            <a:pt x="529" y="410"/>
                          </a:cubicBezTo>
                          <a:cubicBezTo>
                            <a:pt x="546" y="285"/>
                            <a:pt x="466" y="132"/>
                            <a:pt x="372" y="60"/>
                          </a:cubicBezTo>
                          <a:cubicBezTo>
                            <a:pt x="294" y="0"/>
                            <a:pt x="170" y="12"/>
                            <a:pt x="112" y="89"/>
                          </a:cubicBezTo>
                          <a:cubicBezTo>
                            <a:pt x="88" y="120"/>
                            <a:pt x="55" y="179"/>
                            <a:pt x="40" y="216"/>
                          </a:cubicBezTo>
                          <a:cubicBezTo>
                            <a:pt x="28" y="248"/>
                            <a:pt x="1" y="298"/>
                            <a:pt x="48" y="367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79" name="Freeform 95"/>
                    <p:cNvSpPr>
                      <a:spLocks/>
                    </p:cNvSpPr>
                    <p:nvPr/>
                  </p:nvSpPr>
                  <p:spPr bwMode="gray">
                    <a:xfrm>
                      <a:off x="-3870325" y="-16865600"/>
                      <a:ext cx="5691188" cy="6361113"/>
                    </a:xfrm>
                    <a:custGeom>
                      <a:avLst/>
                      <a:gdLst/>
                      <a:ahLst/>
                      <a:cxnLst>
                        <a:cxn ang="0">
                          <a:pos x="568" y="110"/>
                        </a:cxn>
                        <a:cxn ang="0">
                          <a:pos x="365" y="239"/>
                        </a:cxn>
                        <a:cxn ang="0">
                          <a:pos x="185" y="357"/>
                        </a:cxn>
                        <a:cxn ang="0">
                          <a:pos x="67" y="567"/>
                        </a:cxn>
                        <a:cxn ang="0">
                          <a:pos x="74" y="680"/>
                        </a:cxn>
                        <a:cxn ang="0">
                          <a:pos x="62" y="820"/>
                        </a:cxn>
                        <a:cxn ang="0">
                          <a:pos x="5" y="1011"/>
                        </a:cxn>
                        <a:cxn ang="0">
                          <a:pos x="16" y="1237"/>
                        </a:cxn>
                        <a:cxn ang="0">
                          <a:pos x="101" y="1406"/>
                        </a:cxn>
                        <a:cxn ang="0">
                          <a:pos x="264" y="1417"/>
                        </a:cxn>
                        <a:cxn ang="0">
                          <a:pos x="276" y="1591"/>
                        </a:cxn>
                        <a:cxn ang="0">
                          <a:pos x="731" y="1681"/>
                        </a:cxn>
                        <a:cxn ang="0">
                          <a:pos x="968" y="1655"/>
                        </a:cxn>
                        <a:cxn ang="0">
                          <a:pos x="1154" y="1631"/>
                        </a:cxn>
                        <a:cxn ang="0">
                          <a:pos x="1283" y="1569"/>
                        </a:cxn>
                        <a:cxn ang="0">
                          <a:pos x="1447" y="1147"/>
                        </a:cxn>
                        <a:cxn ang="0">
                          <a:pos x="1509" y="617"/>
                        </a:cxn>
                        <a:cxn ang="0">
                          <a:pos x="1492" y="398"/>
                        </a:cxn>
                        <a:cxn ang="0">
                          <a:pos x="1417" y="202"/>
                        </a:cxn>
                        <a:cxn ang="0">
                          <a:pos x="1014" y="53"/>
                        </a:cxn>
                        <a:cxn ang="0">
                          <a:pos x="745" y="222"/>
                        </a:cxn>
                        <a:cxn ang="0">
                          <a:pos x="608" y="70"/>
                        </a:cxn>
                        <a:cxn ang="0">
                          <a:pos x="535" y="133"/>
                        </a:cxn>
                      </a:cxnLst>
                      <a:rect l="0" t="0" r="r" b="b"/>
                      <a:pathLst>
                        <a:path w="1518" h="1696">
                          <a:moveTo>
                            <a:pt x="568" y="110"/>
                          </a:moveTo>
                          <a:cubicBezTo>
                            <a:pt x="491" y="130"/>
                            <a:pt x="436" y="199"/>
                            <a:pt x="365" y="239"/>
                          </a:cubicBezTo>
                          <a:cubicBezTo>
                            <a:pt x="303" y="273"/>
                            <a:pt x="246" y="311"/>
                            <a:pt x="185" y="357"/>
                          </a:cubicBezTo>
                          <a:cubicBezTo>
                            <a:pt x="127" y="401"/>
                            <a:pt x="49" y="492"/>
                            <a:pt x="67" y="567"/>
                          </a:cubicBezTo>
                          <a:cubicBezTo>
                            <a:pt x="79" y="619"/>
                            <a:pt x="85" y="626"/>
                            <a:pt x="74" y="680"/>
                          </a:cubicBezTo>
                          <a:cubicBezTo>
                            <a:pt x="65" y="726"/>
                            <a:pt x="69" y="773"/>
                            <a:pt x="62" y="820"/>
                          </a:cubicBezTo>
                          <a:cubicBezTo>
                            <a:pt x="52" y="884"/>
                            <a:pt x="11" y="945"/>
                            <a:pt x="5" y="1011"/>
                          </a:cubicBezTo>
                          <a:cubicBezTo>
                            <a:pt x="0" y="1079"/>
                            <a:pt x="9" y="1168"/>
                            <a:pt x="16" y="1237"/>
                          </a:cubicBezTo>
                          <a:cubicBezTo>
                            <a:pt x="22" y="1288"/>
                            <a:pt x="46" y="1388"/>
                            <a:pt x="101" y="1406"/>
                          </a:cubicBezTo>
                          <a:cubicBezTo>
                            <a:pt x="173" y="1429"/>
                            <a:pt x="202" y="1362"/>
                            <a:pt x="264" y="1417"/>
                          </a:cubicBezTo>
                          <a:cubicBezTo>
                            <a:pt x="255" y="1448"/>
                            <a:pt x="169" y="1479"/>
                            <a:pt x="276" y="1591"/>
                          </a:cubicBezTo>
                          <a:cubicBezTo>
                            <a:pt x="319" y="1637"/>
                            <a:pt x="670" y="1696"/>
                            <a:pt x="731" y="1681"/>
                          </a:cubicBezTo>
                          <a:cubicBezTo>
                            <a:pt x="804" y="1663"/>
                            <a:pt x="915" y="1665"/>
                            <a:pt x="968" y="1655"/>
                          </a:cubicBezTo>
                          <a:cubicBezTo>
                            <a:pt x="1014" y="1646"/>
                            <a:pt x="1154" y="1630"/>
                            <a:pt x="1154" y="1631"/>
                          </a:cubicBezTo>
                          <a:cubicBezTo>
                            <a:pt x="1151" y="1611"/>
                            <a:pt x="1278" y="1590"/>
                            <a:pt x="1283" y="1569"/>
                          </a:cubicBezTo>
                          <a:cubicBezTo>
                            <a:pt x="1362" y="1451"/>
                            <a:pt x="1355" y="1386"/>
                            <a:pt x="1447" y="1147"/>
                          </a:cubicBezTo>
                          <a:cubicBezTo>
                            <a:pt x="1509" y="985"/>
                            <a:pt x="1518" y="806"/>
                            <a:pt x="1509" y="617"/>
                          </a:cubicBezTo>
                          <a:cubicBezTo>
                            <a:pt x="1505" y="543"/>
                            <a:pt x="1492" y="476"/>
                            <a:pt x="1492" y="398"/>
                          </a:cubicBezTo>
                          <a:cubicBezTo>
                            <a:pt x="1492" y="311"/>
                            <a:pt x="1485" y="256"/>
                            <a:pt x="1417" y="202"/>
                          </a:cubicBezTo>
                          <a:cubicBezTo>
                            <a:pt x="1308" y="115"/>
                            <a:pt x="1156" y="67"/>
                            <a:pt x="1014" y="53"/>
                          </a:cubicBezTo>
                          <a:cubicBezTo>
                            <a:pt x="988" y="0"/>
                            <a:pt x="813" y="250"/>
                            <a:pt x="745" y="222"/>
                          </a:cubicBezTo>
                          <a:cubicBezTo>
                            <a:pt x="667" y="189"/>
                            <a:pt x="574" y="100"/>
                            <a:pt x="608" y="70"/>
                          </a:cubicBezTo>
                          <a:cubicBezTo>
                            <a:pt x="588" y="98"/>
                            <a:pt x="551" y="100"/>
                            <a:pt x="535" y="133"/>
                          </a:cubicBezTo>
                        </a:path>
                      </a:pathLst>
                    </a:custGeom>
                    <a:solidFill>
                      <a:srgbClr val="DAE3E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0" name="Freeform 96"/>
                    <p:cNvSpPr>
                      <a:spLocks/>
                    </p:cNvSpPr>
                    <p:nvPr/>
                  </p:nvSpPr>
                  <p:spPr bwMode="gray">
                    <a:xfrm>
                      <a:off x="-577850" y="-16665575"/>
                      <a:ext cx="1341438" cy="857250"/>
                    </a:xfrm>
                    <a:custGeom>
                      <a:avLst/>
                      <a:gdLst/>
                      <a:ahLst/>
                      <a:cxnLst>
                        <a:cxn ang="0">
                          <a:pos x="97" y="0"/>
                        </a:cxn>
                        <a:cxn ang="0">
                          <a:pos x="303" y="60"/>
                        </a:cxn>
                        <a:cxn ang="0">
                          <a:pos x="358" y="106"/>
                        </a:cxn>
                        <a:cxn ang="0">
                          <a:pos x="203" y="76"/>
                        </a:cxn>
                        <a:cxn ang="0">
                          <a:pos x="136" y="173"/>
                        </a:cxn>
                        <a:cxn ang="0">
                          <a:pos x="21" y="223"/>
                        </a:cxn>
                        <a:cxn ang="0">
                          <a:pos x="58" y="105"/>
                        </a:cxn>
                        <a:cxn ang="0">
                          <a:pos x="131" y="13"/>
                        </a:cxn>
                      </a:cxnLst>
                      <a:rect l="0" t="0" r="r" b="b"/>
                      <a:pathLst>
                        <a:path w="358" h="229">
                          <a:moveTo>
                            <a:pt x="97" y="0"/>
                          </a:moveTo>
                          <a:cubicBezTo>
                            <a:pt x="155" y="28"/>
                            <a:pt x="241" y="50"/>
                            <a:pt x="303" y="60"/>
                          </a:cubicBezTo>
                          <a:cubicBezTo>
                            <a:pt x="315" y="77"/>
                            <a:pt x="339" y="97"/>
                            <a:pt x="358" y="106"/>
                          </a:cubicBezTo>
                          <a:cubicBezTo>
                            <a:pt x="309" y="97"/>
                            <a:pt x="254" y="70"/>
                            <a:pt x="203" y="76"/>
                          </a:cubicBezTo>
                          <a:cubicBezTo>
                            <a:pt x="136" y="84"/>
                            <a:pt x="190" y="147"/>
                            <a:pt x="136" y="173"/>
                          </a:cubicBezTo>
                          <a:cubicBezTo>
                            <a:pt x="106" y="119"/>
                            <a:pt x="62" y="229"/>
                            <a:pt x="21" y="223"/>
                          </a:cubicBezTo>
                          <a:cubicBezTo>
                            <a:pt x="0" y="173"/>
                            <a:pt x="31" y="144"/>
                            <a:pt x="58" y="105"/>
                          </a:cubicBezTo>
                          <a:cubicBezTo>
                            <a:pt x="76" y="79"/>
                            <a:pt x="92" y="8"/>
                            <a:pt x="131" y="13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1" name="Freeform 97"/>
                    <p:cNvSpPr>
                      <a:spLocks/>
                    </p:cNvSpPr>
                    <p:nvPr/>
                  </p:nvSpPr>
                  <p:spPr bwMode="gray">
                    <a:xfrm>
                      <a:off x="-1238250" y="-13482637"/>
                      <a:ext cx="390525" cy="850900"/>
                    </a:xfrm>
                    <a:custGeom>
                      <a:avLst/>
                      <a:gdLst/>
                      <a:ahLst/>
                      <a:cxnLst>
                        <a:cxn ang="0">
                          <a:pos x="79" y="17"/>
                        </a:cxn>
                        <a:cxn ang="0">
                          <a:pos x="3" y="131"/>
                        </a:cxn>
                        <a:cxn ang="0">
                          <a:pos x="45" y="227"/>
                        </a:cxn>
                        <a:cxn ang="0">
                          <a:pos x="99" y="21"/>
                        </a:cxn>
                        <a:cxn ang="0">
                          <a:pos x="87" y="0"/>
                        </a:cxn>
                      </a:cxnLst>
                      <a:rect l="0" t="0" r="r" b="b"/>
                      <a:pathLst>
                        <a:path w="104" h="227">
                          <a:moveTo>
                            <a:pt x="79" y="17"/>
                          </a:moveTo>
                          <a:cubicBezTo>
                            <a:pt x="44" y="66"/>
                            <a:pt x="6" y="63"/>
                            <a:pt x="3" y="131"/>
                          </a:cubicBezTo>
                          <a:cubicBezTo>
                            <a:pt x="0" y="185"/>
                            <a:pt x="11" y="194"/>
                            <a:pt x="45" y="227"/>
                          </a:cubicBezTo>
                          <a:cubicBezTo>
                            <a:pt x="42" y="170"/>
                            <a:pt x="3" y="39"/>
                            <a:pt x="99" y="21"/>
                          </a:cubicBezTo>
                          <a:cubicBezTo>
                            <a:pt x="104" y="6"/>
                            <a:pt x="97" y="5"/>
                            <a:pt x="87" y="0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2" name="Freeform 98"/>
                    <p:cNvSpPr>
                      <a:spLocks/>
                    </p:cNvSpPr>
                    <p:nvPr/>
                  </p:nvSpPr>
                  <p:spPr bwMode="gray">
                    <a:xfrm>
                      <a:off x="-3536950" y="-14465300"/>
                      <a:ext cx="738188" cy="492125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197" y="131"/>
                        </a:cxn>
                        <a:cxn ang="0">
                          <a:pos x="84" y="73"/>
                        </a:cxn>
                        <a:cxn ang="0">
                          <a:pos x="12" y="5"/>
                        </a:cxn>
                        <a:cxn ang="0">
                          <a:pos x="41" y="5"/>
                        </a:cxn>
                      </a:cxnLst>
                      <a:rect l="0" t="0" r="r" b="b"/>
                      <a:pathLst>
                        <a:path w="197" h="131">
                          <a:moveTo>
                            <a:pt x="12" y="0"/>
                          </a:moveTo>
                          <a:cubicBezTo>
                            <a:pt x="72" y="19"/>
                            <a:pt x="176" y="59"/>
                            <a:pt x="197" y="131"/>
                          </a:cubicBezTo>
                          <a:cubicBezTo>
                            <a:pt x="156" y="116"/>
                            <a:pt x="123" y="90"/>
                            <a:pt x="84" y="73"/>
                          </a:cubicBezTo>
                          <a:cubicBezTo>
                            <a:pt x="54" y="61"/>
                            <a:pt x="0" y="51"/>
                            <a:pt x="12" y="5"/>
                          </a:cubicBezTo>
                          <a:cubicBezTo>
                            <a:pt x="21" y="4"/>
                            <a:pt x="33" y="2"/>
                            <a:pt x="41" y="5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3" name="Freeform 99"/>
                    <p:cNvSpPr>
                      <a:spLocks/>
                    </p:cNvSpPr>
                    <p:nvPr/>
                  </p:nvSpPr>
                  <p:spPr bwMode="gray">
                    <a:xfrm>
                      <a:off x="-2806700" y="-10966450"/>
                      <a:ext cx="3787775" cy="825500"/>
                    </a:xfrm>
                    <a:custGeom>
                      <a:avLst/>
                      <a:gdLst/>
                      <a:ahLst/>
                      <a:cxnLst>
                        <a:cxn ang="0">
                          <a:pos x="37" y="13"/>
                        </a:cxn>
                        <a:cxn ang="0">
                          <a:pos x="132" y="45"/>
                        </a:cxn>
                        <a:cxn ang="0">
                          <a:pos x="245" y="69"/>
                        </a:cxn>
                        <a:cxn ang="0">
                          <a:pos x="470" y="86"/>
                        </a:cxn>
                        <a:cxn ang="0">
                          <a:pos x="735" y="69"/>
                        </a:cxn>
                        <a:cxn ang="0">
                          <a:pos x="976" y="37"/>
                        </a:cxn>
                        <a:cxn ang="0">
                          <a:pos x="986" y="148"/>
                        </a:cxn>
                        <a:cxn ang="0">
                          <a:pos x="842" y="187"/>
                        </a:cxn>
                        <a:cxn ang="0">
                          <a:pos x="577" y="215"/>
                        </a:cxn>
                        <a:cxn ang="0">
                          <a:pos x="311" y="194"/>
                        </a:cxn>
                        <a:cxn ang="0">
                          <a:pos x="183" y="159"/>
                        </a:cxn>
                        <a:cxn ang="0">
                          <a:pos x="29" y="121"/>
                        </a:cxn>
                        <a:cxn ang="0">
                          <a:pos x="14" y="120"/>
                        </a:cxn>
                        <a:cxn ang="0">
                          <a:pos x="3" y="24"/>
                        </a:cxn>
                      </a:cxnLst>
                      <a:rect l="0" t="0" r="r" b="b"/>
                      <a:pathLst>
                        <a:path w="1010" h="220">
                          <a:moveTo>
                            <a:pt x="37" y="13"/>
                          </a:moveTo>
                          <a:cubicBezTo>
                            <a:pt x="73" y="16"/>
                            <a:pt x="98" y="32"/>
                            <a:pt x="132" y="45"/>
                          </a:cubicBezTo>
                          <a:cubicBezTo>
                            <a:pt x="171" y="59"/>
                            <a:pt x="206" y="60"/>
                            <a:pt x="245" y="69"/>
                          </a:cubicBezTo>
                          <a:cubicBezTo>
                            <a:pt x="317" y="84"/>
                            <a:pt x="391" y="82"/>
                            <a:pt x="470" y="86"/>
                          </a:cubicBezTo>
                          <a:cubicBezTo>
                            <a:pt x="563" y="90"/>
                            <a:pt x="652" y="100"/>
                            <a:pt x="735" y="69"/>
                          </a:cubicBezTo>
                          <a:cubicBezTo>
                            <a:pt x="797" y="46"/>
                            <a:pt x="909" y="0"/>
                            <a:pt x="976" y="37"/>
                          </a:cubicBezTo>
                          <a:cubicBezTo>
                            <a:pt x="975" y="87"/>
                            <a:pt x="1010" y="114"/>
                            <a:pt x="986" y="148"/>
                          </a:cubicBezTo>
                          <a:cubicBezTo>
                            <a:pt x="970" y="172"/>
                            <a:pt x="869" y="180"/>
                            <a:pt x="842" y="187"/>
                          </a:cubicBezTo>
                          <a:cubicBezTo>
                            <a:pt x="756" y="211"/>
                            <a:pt x="672" y="215"/>
                            <a:pt x="577" y="215"/>
                          </a:cubicBezTo>
                          <a:cubicBezTo>
                            <a:pt x="485" y="215"/>
                            <a:pt x="395" y="220"/>
                            <a:pt x="311" y="194"/>
                          </a:cubicBezTo>
                          <a:cubicBezTo>
                            <a:pt x="267" y="180"/>
                            <a:pt x="226" y="169"/>
                            <a:pt x="183" y="159"/>
                          </a:cubicBezTo>
                          <a:cubicBezTo>
                            <a:pt x="140" y="150"/>
                            <a:pt x="67" y="141"/>
                            <a:pt x="29" y="121"/>
                          </a:cubicBezTo>
                          <a:cubicBezTo>
                            <a:pt x="18" y="115"/>
                            <a:pt x="26" y="124"/>
                            <a:pt x="14" y="120"/>
                          </a:cubicBezTo>
                          <a:cubicBezTo>
                            <a:pt x="9" y="91"/>
                            <a:pt x="0" y="52"/>
                            <a:pt x="3" y="24"/>
                          </a:cubicBezTo>
                        </a:path>
                      </a:pathLst>
                    </a:custGeom>
                    <a:solidFill>
                      <a:srgbClr val="0B0C0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4" name="Freeform 100"/>
                    <p:cNvSpPr>
                      <a:spLocks/>
                    </p:cNvSpPr>
                    <p:nvPr/>
                  </p:nvSpPr>
                  <p:spPr bwMode="gray">
                    <a:xfrm>
                      <a:off x="-1778000" y="-10768012"/>
                      <a:ext cx="884238" cy="638175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31"/>
                        </a:cxn>
                        <a:cxn ang="0">
                          <a:pos x="170" y="141"/>
                        </a:cxn>
                        <a:cxn ang="0">
                          <a:pos x="184" y="39"/>
                        </a:cxn>
                        <a:cxn ang="0">
                          <a:pos x="137" y="26"/>
                        </a:cxn>
                        <a:cxn ang="0">
                          <a:pos x="206" y="20"/>
                        </a:cxn>
                        <a:cxn ang="0">
                          <a:pos x="198" y="152"/>
                        </a:cxn>
                        <a:cxn ang="0">
                          <a:pos x="156" y="168"/>
                        </a:cxn>
                        <a:cxn ang="0">
                          <a:pos x="13" y="151"/>
                        </a:cxn>
                        <a:cxn ang="0">
                          <a:pos x="12" y="40"/>
                        </a:cxn>
                        <a:cxn ang="0">
                          <a:pos x="156" y="13"/>
                        </a:cxn>
                        <a:cxn ang="0">
                          <a:pos x="141" y="37"/>
                        </a:cxn>
                        <a:cxn ang="0">
                          <a:pos x="37" y="61"/>
                        </a:cxn>
                      </a:cxnLst>
                      <a:rect l="0" t="0" r="r" b="b"/>
                      <a:pathLst>
                        <a:path w="236" h="170">
                          <a:moveTo>
                            <a:pt x="32" y="131"/>
                          </a:moveTo>
                          <a:cubicBezTo>
                            <a:pt x="61" y="144"/>
                            <a:pt x="154" y="156"/>
                            <a:pt x="170" y="141"/>
                          </a:cubicBezTo>
                          <a:cubicBezTo>
                            <a:pt x="171" y="124"/>
                            <a:pt x="186" y="58"/>
                            <a:pt x="184" y="39"/>
                          </a:cubicBezTo>
                          <a:cubicBezTo>
                            <a:pt x="164" y="29"/>
                            <a:pt x="137" y="52"/>
                            <a:pt x="137" y="26"/>
                          </a:cubicBezTo>
                          <a:cubicBezTo>
                            <a:pt x="137" y="2"/>
                            <a:pt x="198" y="20"/>
                            <a:pt x="206" y="20"/>
                          </a:cubicBezTo>
                          <a:cubicBezTo>
                            <a:pt x="236" y="20"/>
                            <a:pt x="202" y="124"/>
                            <a:pt x="198" y="152"/>
                          </a:cubicBezTo>
                          <a:cubicBezTo>
                            <a:pt x="195" y="170"/>
                            <a:pt x="180" y="166"/>
                            <a:pt x="156" y="168"/>
                          </a:cubicBezTo>
                          <a:cubicBezTo>
                            <a:pt x="123" y="169"/>
                            <a:pt x="46" y="162"/>
                            <a:pt x="13" y="151"/>
                          </a:cubicBezTo>
                          <a:cubicBezTo>
                            <a:pt x="0" y="147"/>
                            <a:pt x="2" y="88"/>
                            <a:pt x="12" y="40"/>
                          </a:cubicBezTo>
                          <a:cubicBezTo>
                            <a:pt x="20" y="0"/>
                            <a:pt x="123" y="20"/>
                            <a:pt x="156" y="13"/>
                          </a:cubicBezTo>
                          <a:cubicBezTo>
                            <a:pt x="172" y="10"/>
                            <a:pt x="143" y="23"/>
                            <a:pt x="141" y="37"/>
                          </a:cubicBezTo>
                          <a:cubicBezTo>
                            <a:pt x="124" y="38"/>
                            <a:pt x="30" y="30"/>
                            <a:pt x="37" y="61"/>
                          </a:cubicBezTo>
                        </a:path>
                      </a:pathLst>
                    </a:custGeom>
                    <a:solidFill>
                      <a:srgbClr val="DBDC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5" name="Freeform 101"/>
                    <p:cNvSpPr>
                      <a:spLocks/>
                    </p:cNvSpPr>
                    <p:nvPr/>
                  </p:nvSpPr>
                  <p:spPr bwMode="gray">
                    <a:xfrm>
                      <a:off x="-2228850" y="-19711987"/>
                      <a:ext cx="2320925" cy="2089150"/>
                    </a:xfrm>
                    <a:custGeom>
                      <a:avLst/>
                      <a:gdLst/>
                      <a:ahLst/>
                      <a:cxnLst>
                        <a:cxn ang="0">
                          <a:pos x="111" y="540"/>
                        </a:cxn>
                        <a:cxn ang="0">
                          <a:pos x="94" y="541"/>
                        </a:cxn>
                        <a:cxn ang="0">
                          <a:pos x="81" y="432"/>
                        </a:cxn>
                        <a:cxn ang="0">
                          <a:pos x="67" y="390"/>
                        </a:cxn>
                        <a:cxn ang="0">
                          <a:pos x="33" y="348"/>
                        </a:cxn>
                        <a:cxn ang="0">
                          <a:pos x="81" y="145"/>
                        </a:cxn>
                        <a:cxn ang="0">
                          <a:pos x="48" y="144"/>
                        </a:cxn>
                        <a:cxn ang="0">
                          <a:pos x="131" y="76"/>
                        </a:cxn>
                        <a:cxn ang="0">
                          <a:pos x="115" y="57"/>
                        </a:cxn>
                        <a:cxn ang="0">
                          <a:pos x="190" y="34"/>
                        </a:cxn>
                        <a:cxn ang="0">
                          <a:pos x="263" y="1"/>
                        </a:cxn>
                        <a:cxn ang="0">
                          <a:pos x="426" y="51"/>
                        </a:cxn>
                        <a:cxn ang="0">
                          <a:pos x="428" y="27"/>
                        </a:cxn>
                        <a:cxn ang="0">
                          <a:pos x="469" y="77"/>
                        </a:cxn>
                        <a:cxn ang="0">
                          <a:pos x="530" y="110"/>
                        </a:cxn>
                        <a:cxn ang="0">
                          <a:pos x="596" y="229"/>
                        </a:cxn>
                        <a:cxn ang="0">
                          <a:pos x="608" y="388"/>
                        </a:cxn>
                        <a:cxn ang="0">
                          <a:pos x="572" y="557"/>
                        </a:cxn>
                        <a:cxn ang="0">
                          <a:pos x="546" y="457"/>
                        </a:cxn>
                        <a:cxn ang="0">
                          <a:pos x="550" y="313"/>
                        </a:cxn>
                        <a:cxn ang="0">
                          <a:pos x="482" y="216"/>
                        </a:cxn>
                        <a:cxn ang="0">
                          <a:pos x="348" y="216"/>
                        </a:cxn>
                        <a:cxn ang="0">
                          <a:pos x="327" y="191"/>
                        </a:cxn>
                        <a:cxn ang="0">
                          <a:pos x="334" y="228"/>
                        </a:cxn>
                        <a:cxn ang="0">
                          <a:pos x="250" y="188"/>
                        </a:cxn>
                        <a:cxn ang="0">
                          <a:pos x="179" y="230"/>
                        </a:cxn>
                        <a:cxn ang="0">
                          <a:pos x="127" y="322"/>
                        </a:cxn>
                        <a:cxn ang="0">
                          <a:pos x="123" y="377"/>
                        </a:cxn>
                        <a:cxn ang="0">
                          <a:pos x="111" y="426"/>
                        </a:cxn>
                        <a:cxn ang="0">
                          <a:pos x="111" y="540"/>
                        </a:cxn>
                      </a:cxnLst>
                      <a:rect l="0" t="0" r="r" b="b"/>
                      <a:pathLst>
                        <a:path w="619" h="557">
                          <a:moveTo>
                            <a:pt x="111" y="540"/>
                          </a:moveTo>
                          <a:cubicBezTo>
                            <a:pt x="85" y="549"/>
                            <a:pt x="102" y="543"/>
                            <a:pt x="94" y="541"/>
                          </a:cubicBezTo>
                          <a:cubicBezTo>
                            <a:pt x="82" y="499"/>
                            <a:pt x="79" y="474"/>
                            <a:pt x="81" y="432"/>
                          </a:cubicBezTo>
                          <a:cubicBezTo>
                            <a:pt x="82" y="415"/>
                            <a:pt x="95" y="378"/>
                            <a:pt x="67" y="390"/>
                          </a:cubicBezTo>
                          <a:cubicBezTo>
                            <a:pt x="56" y="395"/>
                            <a:pt x="44" y="366"/>
                            <a:pt x="33" y="348"/>
                          </a:cubicBezTo>
                          <a:cubicBezTo>
                            <a:pt x="0" y="293"/>
                            <a:pt x="48" y="189"/>
                            <a:pt x="81" y="145"/>
                          </a:cubicBezTo>
                          <a:cubicBezTo>
                            <a:pt x="71" y="147"/>
                            <a:pt x="58" y="142"/>
                            <a:pt x="48" y="144"/>
                          </a:cubicBezTo>
                          <a:cubicBezTo>
                            <a:pt x="52" y="107"/>
                            <a:pt x="97" y="82"/>
                            <a:pt x="131" y="76"/>
                          </a:cubicBezTo>
                          <a:cubicBezTo>
                            <a:pt x="125" y="71"/>
                            <a:pt x="121" y="61"/>
                            <a:pt x="115" y="57"/>
                          </a:cubicBezTo>
                          <a:cubicBezTo>
                            <a:pt x="142" y="51"/>
                            <a:pt x="168" y="47"/>
                            <a:pt x="190" y="34"/>
                          </a:cubicBezTo>
                          <a:cubicBezTo>
                            <a:pt x="220" y="15"/>
                            <a:pt x="222" y="1"/>
                            <a:pt x="263" y="1"/>
                          </a:cubicBezTo>
                          <a:cubicBezTo>
                            <a:pt x="327" y="0"/>
                            <a:pt x="377" y="13"/>
                            <a:pt x="426" y="51"/>
                          </a:cubicBezTo>
                          <a:cubicBezTo>
                            <a:pt x="426" y="44"/>
                            <a:pt x="429" y="34"/>
                            <a:pt x="428" y="27"/>
                          </a:cubicBezTo>
                          <a:cubicBezTo>
                            <a:pt x="443" y="40"/>
                            <a:pt x="453" y="63"/>
                            <a:pt x="469" y="77"/>
                          </a:cubicBezTo>
                          <a:cubicBezTo>
                            <a:pt x="489" y="96"/>
                            <a:pt x="509" y="94"/>
                            <a:pt x="530" y="110"/>
                          </a:cubicBezTo>
                          <a:cubicBezTo>
                            <a:pt x="558" y="130"/>
                            <a:pt x="581" y="197"/>
                            <a:pt x="596" y="229"/>
                          </a:cubicBezTo>
                          <a:cubicBezTo>
                            <a:pt x="617" y="274"/>
                            <a:pt x="619" y="337"/>
                            <a:pt x="608" y="388"/>
                          </a:cubicBezTo>
                          <a:cubicBezTo>
                            <a:pt x="599" y="429"/>
                            <a:pt x="611" y="534"/>
                            <a:pt x="572" y="557"/>
                          </a:cubicBezTo>
                          <a:cubicBezTo>
                            <a:pt x="575" y="530"/>
                            <a:pt x="547" y="490"/>
                            <a:pt x="546" y="457"/>
                          </a:cubicBezTo>
                          <a:cubicBezTo>
                            <a:pt x="544" y="409"/>
                            <a:pt x="556" y="362"/>
                            <a:pt x="550" y="313"/>
                          </a:cubicBezTo>
                          <a:cubicBezTo>
                            <a:pt x="545" y="273"/>
                            <a:pt x="525" y="227"/>
                            <a:pt x="482" y="216"/>
                          </a:cubicBezTo>
                          <a:cubicBezTo>
                            <a:pt x="438" y="205"/>
                            <a:pt x="391" y="230"/>
                            <a:pt x="348" y="216"/>
                          </a:cubicBezTo>
                          <a:cubicBezTo>
                            <a:pt x="343" y="205"/>
                            <a:pt x="333" y="200"/>
                            <a:pt x="327" y="191"/>
                          </a:cubicBezTo>
                          <a:cubicBezTo>
                            <a:pt x="328" y="206"/>
                            <a:pt x="326" y="217"/>
                            <a:pt x="334" y="228"/>
                          </a:cubicBezTo>
                          <a:cubicBezTo>
                            <a:pt x="306" y="232"/>
                            <a:pt x="273" y="204"/>
                            <a:pt x="250" y="188"/>
                          </a:cubicBezTo>
                          <a:cubicBezTo>
                            <a:pt x="267" y="225"/>
                            <a:pt x="201" y="212"/>
                            <a:pt x="179" y="230"/>
                          </a:cubicBezTo>
                          <a:cubicBezTo>
                            <a:pt x="152" y="252"/>
                            <a:pt x="134" y="290"/>
                            <a:pt x="127" y="322"/>
                          </a:cubicBezTo>
                          <a:cubicBezTo>
                            <a:pt x="124" y="339"/>
                            <a:pt x="130" y="360"/>
                            <a:pt x="123" y="377"/>
                          </a:cubicBezTo>
                          <a:cubicBezTo>
                            <a:pt x="116" y="396"/>
                            <a:pt x="116" y="408"/>
                            <a:pt x="111" y="426"/>
                          </a:cubicBezTo>
                          <a:cubicBezTo>
                            <a:pt x="102" y="466"/>
                            <a:pt x="123" y="521"/>
                            <a:pt x="111" y="540"/>
                          </a:cubicBezTo>
                        </a:path>
                      </a:pathLst>
                    </a:custGeom>
                    <a:solidFill>
                      <a:srgbClr val="F4CF7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6" name="Freeform 102"/>
                    <p:cNvSpPr>
                      <a:spLocks/>
                    </p:cNvSpPr>
                    <p:nvPr/>
                  </p:nvSpPr>
                  <p:spPr bwMode="gray">
                    <a:xfrm>
                      <a:off x="-2928938" y="-12233275"/>
                      <a:ext cx="4244975" cy="1217613"/>
                    </a:xfrm>
                    <a:custGeom>
                      <a:avLst/>
                      <a:gdLst/>
                      <a:ahLst/>
                      <a:cxnLst>
                        <a:cxn ang="0">
                          <a:pos x="638" y="9"/>
                        </a:cxn>
                        <a:cxn ang="0">
                          <a:pos x="47" y="123"/>
                        </a:cxn>
                        <a:cxn ang="0">
                          <a:pos x="2" y="190"/>
                        </a:cxn>
                        <a:cxn ang="0">
                          <a:pos x="70" y="218"/>
                        </a:cxn>
                        <a:cxn ang="0">
                          <a:pos x="146" y="221"/>
                        </a:cxn>
                        <a:cxn ang="0">
                          <a:pos x="208" y="208"/>
                        </a:cxn>
                        <a:cxn ang="0">
                          <a:pos x="275" y="196"/>
                        </a:cxn>
                        <a:cxn ang="0">
                          <a:pos x="319" y="164"/>
                        </a:cxn>
                        <a:cxn ang="0">
                          <a:pos x="408" y="142"/>
                        </a:cxn>
                        <a:cxn ang="0">
                          <a:pos x="552" y="92"/>
                        </a:cxn>
                        <a:cxn ang="0">
                          <a:pos x="630" y="77"/>
                        </a:cxn>
                        <a:cxn ang="0">
                          <a:pos x="645" y="122"/>
                        </a:cxn>
                        <a:cxn ang="0">
                          <a:pos x="794" y="120"/>
                        </a:cxn>
                        <a:cxn ang="0">
                          <a:pos x="785" y="229"/>
                        </a:cxn>
                        <a:cxn ang="0">
                          <a:pos x="869" y="199"/>
                        </a:cxn>
                        <a:cxn ang="0">
                          <a:pos x="943" y="241"/>
                        </a:cxn>
                        <a:cxn ang="0">
                          <a:pos x="1008" y="325"/>
                        </a:cxn>
                        <a:cxn ang="0">
                          <a:pos x="1077" y="230"/>
                        </a:cxn>
                        <a:cxn ang="0">
                          <a:pos x="1107" y="121"/>
                        </a:cxn>
                        <a:cxn ang="0">
                          <a:pos x="661" y="15"/>
                        </a:cxn>
                      </a:cxnLst>
                      <a:rect l="0" t="0" r="r" b="b"/>
                      <a:pathLst>
                        <a:path w="1132" h="325">
                          <a:moveTo>
                            <a:pt x="638" y="9"/>
                          </a:moveTo>
                          <a:cubicBezTo>
                            <a:pt x="608" y="0"/>
                            <a:pt x="87" y="112"/>
                            <a:pt x="47" y="123"/>
                          </a:cubicBezTo>
                          <a:cubicBezTo>
                            <a:pt x="1" y="135"/>
                            <a:pt x="0" y="143"/>
                            <a:pt x="2" y="190"/>
                          </a:cubicBezTo>
                          <a:cubicBezTo>
                            <a:pt x="27" y="195"/>
                            <a:pt x="45" y="213"/>
                            <a:pt x="70" y="218"/>
                          </a:cubicBezTo>
                          <a:cubicBezTo>
                            <a:pt x="93" y="222"/>
                            <a:pt x="120" y="221"/>
                            <a:pt x="146" y="221"/>
                          </a:cubicBezTo>
                          <a:cubicBezTo>
                            <a:pt x="172" y="221"/>
                            <a:pt x="185" y="215"/>
                            <a:pt x="208" y="208"/>
                          </a:cubicBezTo>
                          <a:cubicBezTo>
                            <a:pt x="230" y="201"/>
                            <a:pt x="254" y="205"/>
                            <a:pt x="275" y="196"/>
                          </a:cubicBezTo>
                          <a:cubicBezTo>
                            <a:pt x="291" y="189"/>
                            <a:pt x="304" y="174"/>
                            <a:pt x="319" y="164"/>
                          </a:cubicBezTo>
                          <a:cubicBezTo>
                            <a:pt x="348" y="144"/>
                            <a:pt x="372" y="145"/>
                            <a:pt x="408" y="142"/>
                          </a:cubicBezTo>
                          <a:cubicBezTo>
                            <a:pt x="462" y="139"/>
                            <a:pt x="503" y="113"/>
                            <a:pt x="552" y="92"/>
                          </a:cubicBezTo>
                          <a:cubicBezTo>
                            <a:pt x="576" y="82"/>
                            <a:pt x="598" y="73"/>
                            <a:pt x="630" y="77"/>
                          </a:cubicBezTo>
                          <a:cubicBezTo>
                            <a:pt x="667" y="83"/>
                            <a:pt x="672" y="100"/>
                            <a:pt x="645" y="122"/>
                          </a:cubicBezTo>
                          <a:cubicBezTo>
                            <a:pt x="695" y="127"/>
                            <a:pt x="744" y="83"/>
                            <a:pt x="794" y="120"/>
                          </a:cubicBezTo>
                          <a:cubicBezTo>
                            <a:pt x="850" y="162"/>
                            <a:pt x="786" y="184"/>
                            <a:pt x="785" y="229"/>
                          </a:cubicBezTo>
                          <a:cubicBezTo>
                            <a:pt x="815" y="220"/>
                            <a:pt x="835" y="204"/>
                            <a:pt x="869" y="199"/>
                          </a:cubicBezTo>
                          <a:cubicBezTo>
                            <a:pt x="898" y="195"/>
                            <a:pt x="958" y="201"/>
                            <a:pt x="943" y="241"/>
                          </a:cubicBezTo>
                          <a:cubicBezTo>
                            <a:pt x="987" y="214"/>
                            <a:pt x="1045" y="292"/>
                            <a:pt x="1008" y="325"/>
                          </a:cubicBezTo>
                          <a:cubicBezTo>
                            <a:pt x="1040" y="304"/>
                            <a:pt x="1072" y="267"/>
                            <a:pt x="1077" y="230"/>
                          </a:cubicBezTo>
                          <a:cubicBezTo>
                            <a:pt x="1080" y="207"/>
                            <a:pt x="1132" y="121"/>
                            <a:pt x="1107" y="121"/>
                          </a:cubicBezTo>
                          <a:cubicBezTo>
                            <a:pt x="931" y="121"/>
                            <a:pt x="680" y="24"/>
                            <a:pt x="661" y="15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7" name="Freeform 103"/>
                    <p:cNvSpPr>
                      <a:spLocks/>
                    </p:cNvSpPr>
                    <p:nvPr/>
                  </p:nvSpPr>
                  <p:spPr bwMode="gray">
                    <a:xfrm>
                      <a:off x="985838" y="-13890625"/>
                      <a:ext cx="704850" cy="19526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87"/>
                        </a:cxn>
                        <a:cxn ang="0">
                          <a:pos x="27" y="416"/>
                        </a:cxn>
                        <a:cxn ang="0">
                          <a:pos x="159" y="275"/>
                        </a:cxn>
                        <a:cxn ang="0">
                          <a:pos x="185" y="0"/>
                        </a:cxn>
                        <a:cxn ang="0">
                          <a:pos x="184" y="32"/>
                        </a:cxn>
                        <a:cxn ang="0">
                          <a:pos x="79" y="45"/>
                        </a:cxn>
                        <a:cxn ang="0">
                          <a:pos x="145" y="101"/>
                        </a:cxn>
                        <a:cxn ang="0">
                          <a:pos x="79" y="167"/>
                        </a:cxn>
                        <a:cxn ang="0">
                          <a:pos x="78" y="147"/>
                        </a:cxn>
                        <a:cxn ang="0">
                          <a:pos x="123" y="229"/>
                        </a:cxn>
                        <a:cxn ang="0">
                          <a:pos x="45" y="208"/>
                        </a:cxn>
                        <a:cxn ang="0">
                          <a:pos x="57" y="310"/>
                        </a:cxn>
                        <a:cxn ang="0">
                          <a:pos x="39" y="415"/>
                        </a:cxn>
                      </a:cxnLst>
                      <a:rect l="0" t="0" r="r" b="b"/>
                      <a:pathLst>
                        <a:path w="188" h="521">
                          <a:moveTo>
                            <a:pt x="0" y="387"/>
                          </a:moveTo>
                          <a:cubicBezTo>
                            <a:pt x="3" y="405"/>
                            <a:pt x="5" y="416"/>
                            <a:pt x="27" y="416"/>
                          </a:cubicBezTo>
                          <a:cubicBezTo>
                            <a:pt x="65" y="521"/>
                            <a:pt x="154" y="307"/>
                            <a:pt x="159" y="275"/>
                          </a:cubicBezTo>
                          <a:cubicBezTo>
                            <a:pt x="172" y="182"/>
                            <a:pt x="185" y="98"/>
                            <a:pt x="185" y="0"/>
                          </a:cubicBezTo>
                          <a:cubicBezTo>
                            <a:pt x="188" y="10"/>
                            <a:pt x="185" y="22"/>
                            <a:pt x="184" y="32"/>
                          </a:cubicBezTo>
                          <a:cubicBezTo>
                            <a:pt x="152" y="49"/>
                            <a:pt x="115" y="43"/>
                            <a:pt x="79" y="45"/>
                          </a:cubicBezTo>
                          <a:cubicBezTo>
                            <a:pt x="72" y="81"/>
                            <a:pt x="114" y="101"/>
                            <a:pt x="145" y="101"/>
                          </a:cubicBezTo>
                          <a:cubicBezTo>
                            <a:pt x="156" y="149"/>
                            <a:pt x="126" y="176"/>
                            <a:pt x="79" y="167"/>
                          </a:cubicBezTo>
                          <a:cubicBezTo>
                            <a:pt x="78" y="160"/>
                            <a:pt x="78" y="154"/>
                            <a:pt x="78" y="147"/>
                          </a:cubicBezTo>
                          <a:cubicBezTo>
                            <a:pt x="84" y="180"/>
                            <a:pt x="120" y="198"/>
                            <a:pt x="123" y="229"/>
                          </a:cubicBezTo>
                          <a:cubicBezTo>
                            <a:pt x="86" y="236"/>
                            <a:pt x="82" y="201"/>
                            <a:pt x="45" y="208"/>
                          </a:cubicBezTo>
                          <a:cubicBezTo>
                            <a:pt x="72" y="270"/>
                            <a:pt x="99" y="239"/>
                            <a:pt x="57" y="310"/>
                          </a:cubicBezTo>
                          <a:cubicBezTo>
                            <a:pt x="37" y="345"/>
                            <a:pt x="24" y="373"/>
                            <a:pt x="39" y="415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8" name="Freeform 104"/>
                    <p:cNvSpPr>
                      <a:spLocks/>
                    </p:cNvSpPr>
                    <p:nvPr/>
                  </p:nvSpPr>
                  <p:spPr bwMode="gray">
                    <a:xfrm>
                      <a:off x="-3746500" y="-11974512"/>
                      <a:ext cx="715963" cy="4572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6"/>
                        </a:cxn>
                        <a:cxn ang="0">
                          <a:pos x="191" y="8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191" h="122">
                          <a:moveTo>
                            <a:pt x="0" y="6"/>
                          </a:moveTo>
                          <a:cubicBezTo>
                            <a:pt x="46" y="112"/>
                            <a:pt x="71" y="122"/>
                            <a:pt x="191" y="83"/>
                          </a:cubicBezTo>
                          <a:cubicBezTo>
                            <a:pt x="131" y="41"/>
                            <a:pt x="34" y="99"/>
                            <a:pt x="0" y="0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89" name="Freeform 105"/>
                    <p:cNvSpPr>
                      <a:spLocks/>
                    </p:cNvSpPr>
                    <p:nvPr/>
                  </p:nvSpPr>
                  <p:spPr bwMode="gray">
                    <a:xfrm>
                      <a:off x="798513" y="-15954375"/>
                      <a:ext cx="1109663" cy="1612900"/>
                    </a:xfrm>
                    <a:custGeom>
                      <a:avLst/>
                      <a:gdLst/>
                      <a:ahLst/>
                      <a:cxnLst>
                        <a:cxn ang="0">
                          <a:pos x="241" y="346"/>
                        </a:cxn>
                        <a:cxn ang="0">
                          <a:pos x="101" y="430"/>
                        </a:cxn>
                        <a:cxn ang="0">
                          <a:pos x="180" y="359"/>
                        </a:cxn>
                        <a:cxn ang="0">
                          <a:pos x="223" y="257"/>
                        </a:cxn>
                        <a:cxn ang="0">
                          <a:pos x="140" y="316"/>
                        </a:cxn>
                        <a:cxn ang="0">
                          <a:pos x="39" y="356"/>
                        </a:cxn>
                        <a:cxn ang="0">
                          <a:pos x="207" y="194"/>
                        </a:cxn>
                        <a:cxn ang="0">
                          <a:pos x="0" y="272"/>
                        </a:cxn>
                        <a:cxn ang="0">
                          <a:pos x="151" y="156"/>
                        </a:cxn>
                        <a:cxn ang="0">
                          <a:pos x="169" y="20"/>
                        </a:cxn>
                        <a:cxn ang="0">
                          <a:pos x="235" y="352"/>
                        </a:cxn>
                      </a:cxnLst>
                      <a:rect l="0" t="0" r="r" b="b"/>
                      <a:pathLst>
                        <a:path w="296" h="430">
                          <a:moveTo>
                            <a:pt x="241" y="346"/>
                          </a:moveTo>
                          <a:cubicBezTo>
                            <a:pt x="189" y="354"/>
                            <a:pt x="151" y="409"/>
                            <a:pt x="101" y="430"/>
                          </a:cubicBezTo>
                          <a:cubicBezTo>
                            <a:pt x="111" y="403"/>
                            <a:pt x="157" y="381"/>
                            <a:pt x="180" y="359"/>
                          </a:cubicBezTo>
                          <a:cubicBezTo>
                            <a:pt x="218" y="323"/>
                            <a:pt x="217" y="308"/>
                            <a:pt x="223" y="257"/>
                          </a:cubicBezTo>
                          <a:cubicBezTo>
                            <a:pt x="184" y="250"/>
                            <a:pt x="168" y="297"/>
                            <a:pt x="140" y="316"/>
                          </a:cubicBezTo>
                          <a:cubicBezTo>
                            <a:pt x="111" y="337"/>
                            <a:pt x="72" y="351"/>
                            <a:pt x="39" y="356"/>
                          </a:cubicBezTo>
                          <a:cubicBezTo>
                            <a:pt x="74" y="291"/>
                            <a:pt x="247" y="304"/>
                            <a:pt x="207" y="194"/>
                          </a:cubicBezTo>
                          <a:cubicBezTo>
                            <a:pt x="179" y="117"/>
                            <a:pt x="51" y="243"/>
                            <a:pt x="0" y="272"/>
                          </a:cubicBezTo>
                          <a:cubicBezTo>
                            <a:pt x="44" y="228"/>
                            <a:pt x="97" y="189"/>
                            <a:pt x="151" y="156"/>
                          </a:cubicBezTo>
                          <a:cubicBezTo>
                            <a:pt x="234" y="106"/>
                            <a:pt x="185" y="93"/>
                            <a:pt x="169" y="20"/>
                          </a:cubicBezTo>
                          <a:cubicBezTo>
                            <a:pt x="266" y="0"/>
                            <a:pt x="296" y="307"/>
                            <a:pt x="235" y="352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0" name="Freeform 106"/>
                    <p:cNvSpPr>
                      <a:spLocks/>
                    </p:cNvSpPr>
                    <p:nvPr/>
                  </p:nvSpPr>
                  <p:spPr bwMode="gray">
                    <a:xfrm>
                      <a:off x="-2224088" y="-12871450"/>
                      <a:ext cx="1916113" cy="985838"/>
                    </a:xfrm>
                    <a:custGeom>
                      <a:avLst/>
                      <a:gdLst/>
                      <a:ahLst/>
                      <a:cxnLst>
                        <a:cxn ang="0">
                          <a:pos x="45" y="8"/>
                        </a:cxn>
                        <a:cxn ang="0">
                          <a:pos x="249" y="97"/>
                        </a:cxn>
                        <a:cxn ang="0">
                          <a:pos x="511" y="195"/>
                        </a:cxn>
                        <a:cxn ang="0">
                          <a:pos x="394" y="176"/>
                        </a:cxn>
                        <a:cxn ang="0">
                          <a:pos x="252" y="117"/>
                        </a:cxn>
                        <a:cxn ang="0">
                          <a:pos x="0" y="3"/>
                        </a:cxn>
                      </a:cxnLst>
                      <a:rect l="0" t="0" r="r" b="b"/>
                      <a:pathLst>
                        <a:path w="511" h="263">
                          <a:moveTo>
                            <a:pt x="45" y="8"/>
                          </a:moveTo>
                          <a:cubicBezTo>
                            <a:pt x="120" y="0"/>
                            <a:pt x="186" y="70"/>
                            <a:pt x="249" y="97"/>
                          </a:cubicBezTo>
                          <a:cubicBezTo>
                            <a:pt x="327" y="130"/>
                            <a:pt x="427" y="177"/>
                            <a:pt x="511" y="195"/>
                          </a:cubicBezTo>
                          <a:cubicBezTo>
                            <a:pt x="494" y="263"/>
                            <a:pt x="420" y="190"/>
                            <a:pt x="394" y="176"/>
                          </a:cubicBezTo>
                          <a:cubicBezTo>
                            <a:pt x="349" y="152"/>
                            <a:pt x="299" y="136"/>
                            <a:pt x="252" y="117"/>
                          </a:cubicBezTo>
                          <a:cubicBezTo>
                            <a:pt x="166" y="82"/>
                            <a:pt x="61" y="69"/>
                            <a:pt x="0" y="3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1" name="Freeform 107"/>
                    <p:cNvSpPr>
                      <a:spLocks/>
                    </p:cNvSpPr>
                    <p:nvPr/>
                  </p:nvSpPr>
                  <p:spPr bwMode="gray">
                    <a:xfrm>
                      <a:off x="-1689100" y="-16235362"/>
                      <a:ext cx="1609725" cy="784225"/>
                    </a:xfrm>
                    <a:custGeom>
                      <a:avLst/>
                      <a:gdLst/>
                      <a:ahLst/>
                      <a:cxnLst>
                        <a:cxn ang="0">
                          <a:pos x="51" y="147"/>
                        </a:cxn>
                        <a:cxn ang="0">
                          <a:pos x="46" y="209"/>
                        </a:cxn>
                        <a:cxn ang="0">
                          <a:pos x="103" y="160"/>
                        </a:cxn>
                        <a:cxn ang="0">
                          <a:pos x="178" y="177"/>
                        </a:cxn>
                        <a:cxn ang="0">
                          <a:pos x="220" y="172"/>
                        </a:cxn>
                        <a:cxn ang="0">
                          <a:pos x="254" y="161"/>
                        </a:cxn>
                        <a:cxn ang="0">
                          <a:pos x="309" y="192"/>
                        </a:cxn>
                        <a:cxn ang="0">
                          <a:pos x="309" y="122"/>
                        </a:cxn>
                        <a:cxn ang="0">
                          <a:pos x="394" y="23"/>
                        </a:cxn>
                        <a:cxn ang="0">
                          <a:pos x="262" y="71"/>
                        </a:cxn>
                        <a:cxn ang="0">
                          <a:pos x="106" y="63"/>
                        </a:cxn>
                        <a:cxn ang="0">
                          <a:pos x="14" y="54"/>
                        </a:cxn>
                        <a:cxn ang="0">
                          <a:pos x="47" y="109"/>
                        </a:cxn>
                      </a:cxnLst>
                      <a:rect l="0" t="0" r="r" b="b"/>
                      <a:pathLst>
                        <a:path w="429" h="209">
                          <a:moveTo>
                            <a:pt x="51" y="147"/>
                          </a:moveTo>
                          <a:cubicBezTo>
                            <a:pt x="51" y="168"/>
                            <a:pt x="52" y="189"/>
                            <a:pt x="46" y="209"/>
                          </a:cubicBezTo>
                          <a:cubicBezTo>
                            <a:pt x="56" y="199"/>
                            <a:pt x="91" y="163"/>
                            <a:pt x="103" y="160"/>
                          </a:cubicBezTo>
                          <a:cubicBezTo>
                            <a:pt x="123" y="156"/>
                            <a:pt x="152" y="177"/>
                            <a:pt x="178" y="177"/>
                          </a:cubicBezTo>
                          <a:cubicBezTo>
                            <a:pt x="193" y="177"/>
                            <a:pt x="206" y="175"/>
                            <a:pt x="220" y="172"/>
                          </a:cubicBezTo>
                          <a:cubicBezTo>
                            <a:pt x="224" y="172"/>
                            <a:pt x="260" y="161"/>
                            <a:pt x="254" y="161"/>
                          </a:cubicBezTo>
                          <a:cubicBezTo>
                            <a:pt x="281" y="162"/>
                            <a:pt x="280" y="184"/>
                            <a:pt x="309" y="192"/>
                          </a:cubicBezTo>
                          <a:cubicBezTo>
                            <a:pt x="308" y="169"/>
                            <a:pt x="308" y="145"/>
                            <a:pt x="309" y="122"/>
                          </a:cubicBezTo>
                          <a:cubicBezTo>
                            <a:pt x="341" y="127"/>
                            <a:pt x="429" y="56"/>
                            <a:pt x="394" y="23"/>
                          </a:cubicBezTo>
                          <a:cubicBezTo>
                            <a:pt x="369" y="0"/>
                            <a:pt x="289" y="64"/>
                            <a:pt x="262" y="71"/>
                          </a:cubicBezTo>
                          <a:cubicBezTo>
                            <a:pt x="212" y="84"/>
                            <a:pt x="153" y="86"/>
                            <a:pt x="106" y="63"/>
                          </a:cubicBezTo>
                          <a:cubicBezTo>
                            <a:pt x="86" y="53"/>
                            <a:pt x="32" y="18"/>
                            <a:pt x="14" y="54"/>
                          </a:cubicBezTo>
                          <a:cubicBezTo>
                            <a:pt x="0" y="81"/>
                            <a:pt x="33" y="99"/>
                            <a:pt x="47" y="109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2" name="Freeform 108"/>
                    <p:cNvSpPr>
                      <a:spLocks/>
                    </p:cNvSpPr>
                    <p:nvPr/>
                  </p:nvSpPr>
                  <p:spPr bwMode="gray">
                    <a:xfrm>
                      <a:off x="-1463675" y="-15713075"/>
                      <a:ext cx="768350" cy="2320925"/>
                    </a:xfrm>
                    <a:custGeom>
                      <a:avLst/>
                      <a:gdLst/>
                      <a:ahLst/>
                      <a:cxnLst>
                        <a:cxn ang="0">
                          <a:pos x="181" y="8"/>
                        </a:cxn>
                        <a:cxn ang="0">
                          <a:pos x="160" y="135"/>
                        </a:cxn>
                        <a:cxn ang="0">
                          <a:pos x="184" y="283"/>
                        </a:cxn>
                        <a:cxn ang="0">
                          <a:pos x="177" y="607"/>
                        </a:cxn>
                        <a:cxn ang="0">
                          <a:pos x="89" y="578"/>
                        </a:cxn>
                        <a:cxn ang="0">
                          <a:pos x="80" y="359"/>
                        </a:cxn>
                        <a:cxn ang="0">
                          <a:pos x="89" y="142"/>
                        </a:cxn>
                        <a:cxn ang="0">
                          <a:pos x="160" y="0"/>
                        </a:cxn>
                      </a:cxnLst>
                      <a:rect l="0" t="0" r="r" b="b"/>
                      <a:pathLst>
                        <a:path w="205" h="619">
                          <a:moveTo>
                            <a:pt x="181" y="8"/>
                          </a:moveTo>
                          <a:cubicBezTo>
                            <a:pt x="205" y="54"/>
                            <a:pt x="155" y="85"/>
                            <a:pt x="160" y="135"/>
                          </a:cubicBezTo>
                          <a:cubicBezTo>
                            <a:pt x="164" y="182"/>
                            <a:pt x="179" y="232"/>
                            <a:pt x="184" y="283"/>
                          </a:cubicBezTo>
                          <a:cubicBezTo>
                            <a:pt x="194" y="382"/>
                            <a:pt x="205" y="514"/>
                            <a:pt x="177" y="607"/>
                          </a:cubicBezTo>
                          <a:cubicBezTo>
                            <a:pt x="200" y="619"/>
                            <a:pt x="122" y="584"/>
                            <a:pt x="89" y="578"/>
                          </a:cubicBezTo>
                          <a:cubicBezTo>
                            <a:pt x="0" y="563"/>
                            <a:pt x="72" y="442"/>
                            <a:pt x="80" y="359"/>
                          </a:cubicBezTo>
                          <a:cubicBezTo>
                            <a:pt x="86" y="286"/>
                            <a:pt x="78" y="214"/>
                            <a:pt x="89" y="142"/>
                          </a:cubicBezTo>
                          <a:cubicBezTo>
                            <a:pt x="96" y="92"/>
                            <a:pt x="103" y="15"/>
                            <a:pt x="160" y="0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3" name="Freeform 109"/>
                    <p:cNvSpPr>
                      <a:spLocks/>
                    </p:cNvSpPr>
                    <p:nvPr/>
                  </p:nvSpPr>
                  <p:spPr bwMode="gray">
                    <a:xfrm>
                      <a:off x="-1673225" y="-12009437"/>
                      <a:ext cx="955675" cy="1216025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291"/>
                        </a:cxn>
                        <a:cxn ang="0">
                          <a:pos x="22" y="324"/>
                        </a:cxn>
                        <a:cxn ang="0">
                          <a:pos x="203" y="218"/>
                        </a:cxn>
                        <a:cxn ang="0">
                          <a:pos x="241" y="118"/>
                        </a:cxn>
                        <a:cxn ang="0">
                          <a:pos x="249" y="1"/>
                        </a:cxn>
                        <a:cxn ang="0">
                          <a:pos x="119" y="151"/>
                        </a:cxn>
                        <a:cxn ang="0">
                          <a:pos x="0" y="308"/>
                        </a:cxn>
                      </a:cxnLst>
                      <a:rect l="0" t="0" r="r" b="b"/>
                      <a:pathLst>
                        <a:path w="255" h="324">
                          <a:moveTo>
                            <a:pt x="26" y="291"/>
                          </a:moveTo>
                          <a:cubicBezTo>
                            <a:pt x="22" y="301"/>
                            <a:pt x="23" y="314"/>
                            <a:pt x="22" y="324"/>
                          </a:cubicBezTo>
                          <a:cubicBezTo>
                            <a:pt x="74" y="321"/>
                            <a:pt x="165" y="255"/>
                            <a:pt x="203" y="218"/>
                          </a:cubicBezTo>
                          <a:cubicBezTo>
                            <a:pt x="237" y="187"/>
                            <a:pt x="239" y="163"/>
                            <a:pt x="241" y="118"/>
                          </a:cubicBezTo>
                          <a:cubicBezTo>
                            <a:pt x="243" y="81"/>
                            <a:pt x="255" y="36"/>
                            <a:pt x="249" y="1"/>
                          </a:cubicBezTo>
                          <a:cubicBezTo>
                            <a:pt x="195" y="0"/>
                            <a:pt x="144" y="111"/>
                            <a:pt x="119" y="151"/>
                          </a:cubicBezTo>
                          <a:cubicBezTo>
                            <a:pt x="83" y="207"/>
                            <a:pt x="30" y="254"/>
                            <a:pt x="0" y="308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4" name="Freeform 110"/>
                    <p:cNvSpPr>
                      <a:spLocks/>
                    </p:cNvSpPr>
                    <p:nvPr/>
                  </p:nvSpPr>
                  <p:spPr bwMode="gray">
                    <a:xfrm>
                      <a:off x="-593725" y="-14671675"/>
                      <a:ext cx="574675" cy="1274763"/>
                    </a:xfrm>
                    <a:custGeom>
                      <a:avLst/>
                      <a:gdLst/>
                      <a:ahLst/>
                      <a:cxnLst>
                        <a:cxn ang="0">
                          <a:pos x="101" y="300"/>
                        </a:cxn>
                        <a:cxn ang="0">
                          <a:pos x="152" y="103"/>
                        </a:cxn>
                        <a:cxn ang="0">
                          <a:pos x="59" y="250"/>
                        </a:cxn>
                        <a:cxn ang="0">
                          <a:pos x="84" y="0"/>
                        </a:cxn>
                        <a:cxn ang="0">
                          <a:pos x="5" y="332"/>
                        </a:cxn>
                        <a:cxn ang="0">
                          <a:pos x="93" y="334"/>
                        </a:cxn>
                      </a:cxnLst>
                      <a:rect l="0" t="0" r="r" b="b"/>
                      <a:pathLst>
                        <a:path w="153" h="340">
                          <a:moveTo>
                            <a:pt x="101" y="300"/>
                          </a:moveTo>
                          <a:cubicBezTo>
                            <a:pt x="98" y="233"/>
                            <a:pt x="153" y="169"/>
                            <a:pt x="152" y="103"/>
                          </a:cubicBezTo>
                          <a:cubicBezTo>
                            <a:pt x="119" y="151"/>
                            <a:pt x="76" y="194"/>
                            <a:pt x="59" y="250"/>
                          </a:cubicBezTo>
                          <a:cubicBezTo>
                            <a:pt x="59" y="196"/>
                            <a:pt x="68" y="55"/>
                            <a:pt x="84" y="0"/>
                          </a:cubicBezTo>
                          <a:cubicBezTo>
                            <a:pt x="43" y="50"/>
                            <a:pt x="0" y="290"/>
                            <a:pt x="5" y="332"/>
                          </a:cubicBezTo>
                          <a:cubicBezTo>
                            <a:pt x="52" y="340"/>
                            <a:pt x="44" y="336"/>
                            <a:pt x="93" y="334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5" name="Freeform 111"/>
                    <p:cNvSpPr>
                      <a:spLocks/>
                    </p:cNvSpPr>
                    <p:nvPr/>
                  </p:nvSpPr>
                  <p:spPr bwMode="gray">
                    <a:xfrm>
                      <a:off x="-1819275" y="-16100425"/>
                      <a:ext cx="1258888" cy="2697163"/>
                    </a:xfrm>
                    <a:custGeom>
                      <a:avLst/>
                      <a:gdLst/>
                      <a:ahLst/>
                      <a:cxnLst>
                        <a:cxn ang="0">
                          <a:pos x="173" y="120"/>
                        </a:cxn>
                        <a:cxn ang="0">
                          <a:pos x="146" y="37"/>
                        </a:cxn>
                        <a:cxn ang="0">
                          <a:pos x="287" y="110"/>
                        </a:cxn>
                        <a:cxn ang="0">
                          <a:pos x="246" y="222"/>
                        </a:cxn>
                        <a:cxn ang="0">
                          <a:pos x="263" y="351"/>
                        </a:cxn>
                        <a:cxn ang="0">
                          <a:pos x="269" y="650"/>
                        </a:cxn>
                        <a:cxn ang="0">
                          <a:pos x="207" y="701"/>
                        </a:cxn>
                        <a:cxn ang="0">
                          <a:pos x="89" y="672"/>
                        </a:cxn>
                        <a:cxn ang="0">
                          <a:pos x="5" y="660"/>
                        </a:cxn>
                        <a:cxn ang="0">
                          <a:pos x="44" y="362"/>
                        </a:cxn>
                        <a:cxn ang="0">
                          <a:pos x="173" y="120"/>
                        </a:cxn>
                      </a:cxnLst>
                      <a:rect l="0" t="0" r="r" b="b"/>
                      <a:pathLst>
                        <a:path w="336" h="719">
                          <a:moveTo>
                            <a:pt x="173" y="120"/>
                          </a:moveTo>
                          <a:cubicBezTo>
                            <a:pt x="153" y="99"/>
                            <a:pt x="142" y="70"/>
                            <a:pt x="146" y="37"/>
                          </a:cubicBezTo>
                          <a:cubicBezTo>
                            <a:pt x="218" y="0"/>
                            <a:pt x="336" y="3"/>
                            <a:pt x="287" y="110"/>
                          </a:cubicBezTo>
                          <a:cubicBezTo>
                            <a:pt x="268" y="154"/>
                            <a:pt x="242" y="168"/>
                            <a:pt x="246" y="222"/>
                          </a:cubicBezTo>
                          <a:cubicBezTo>
                            <a:pt x="249" y="265"/>
                            <a:pt x="263" y="304"/>
                            <a:pt x="263" y="351"/>
                          </a:cubicBezTo>
                          <a:cubicBezTo>
                            <a:pt x="263" y="452"/>
                            <a:pt x="269" y="550"/>
                            <a:pt x="269" y="650"/>
                          </a:cubicBezTo>
                          <a:cubicBezTo>
                            <a:pt x="269" y="716"/>
                            <a:pt x="265" y="719"/>
                            <a:pt x="207" y="701"/>
                          </a:cubicBezTo>
                          <a:cubicBezTo>
                            <a:pt x="168" y="688"/>
                            <a:pt x="130" y="681"/>
                            <a:pt x="89" y="672"/>
                          </a:cubicBezTo>
                          <a:cubicBezTo>
                            <a:pt x="61" y="666"/>
                            <a:pt x="34" y="663"/>
                            <a:pt x="5" y="660"/>
                          </a:cubicBezTo>
                          <a:cubicBezTo>
                            <a:pt x="0" y="563"/>
                            <a:pt x="10" y="449"/>
                            <a:pt x="44" y="362"/>
                          </a:cubicBezTo>
                          <a:cubicBezTo>
                            <a:pt x="72" y="289"/>
                            <a:pt x="189" y="204"/>
                            <a:pt x="173" y="120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6" name="Freeform 112"/>
                    <p:cNvSpPr>
                      <a:spLocks/>
                    </p:cNvSpPr>
                    <p:nvPr/>
                  </p:nvSpPr>
                  <p:spPr bwMode="gray">
                    <a:xfrm>
                      <a:off x="-2124075" y="-12166600"/>
                      <a:ext cx="1339850" cy="1365250"/>
                    </a:xfrm>
                    <a:custGeom>
                      <a:avLst/>
                      <a:gdLst/>
                      <a:ahLst/>
                      <a:cxnLst>
                        <a:cxn ang="0">
                          <a:pos x="66" y="53"/>
                        </a:cxn>
                        <a:cxn ang="0">
                          <a:pos x="28" y="270"/>
                        </a:cxn>
                        <a:cxn ang="0">
                          <a:pos x="121" y="364"/>
                        </a:cxn>
                        <a:cxn ang="0">
                          <a:pos x="323" y="227"/>
                        </a:cxn>
                        <a:cxn ang="0">
                          <a:pos x="343" y="0"/>
                        </a:cxn>
                        <a:cxn ang="0">
                          <a:pos x="66" y="53"/>
                        </a:cxn>
                      </a:cxnLst>
                      <a:rect l="0" t="0" r="r" b="b"/>
                      <a:pathLst>
                        <a:path w="357" h="364">
                          <a:moveTo>
                            <a:pt x="66" y="53"/>
                          </a:moveTo>
                          <a:cubicBezTo>
                            <a:pt x="73" y="113"/>
                            <a:pt x="0" y="234"/>
                            <a:pt x="28" y="270"/>
                          </a:cubicBezTo>
                          <a:cubicBezTo>
                            <a:pt x="56" y="307"/>
                            <a:pt x="103" y="349"/>
                            <a:pt x="121" y="364"/>
                          </a:cubicBezTo>
                          <a:cubicBezTo>
                            <a:pt x="121" y="364"/>
                            <a:pt x="302" y="256"/>
                            <a:pt x="323" y="227"/>
                          </a:cubicBezTo>
                          <a:cubicBezTo>
                            <a:pt x="357" y="182"/>
                            <a:pt x="346" y="58"/>
                            <a:pt x="343" y="0"/>
                          </a:cubicBezTo>
                          <a:cubicBezTo>
                            <a:pt x="241" y="17"/>
                            <a:pt x="183" y="36"/>
                            <a:pt x="66" y="53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7" name="Freeform 113"/>
                    <p:cNvSpPr>
                      <a:spLocks/>
                    </p:cNvSpPr>
                    <p:nvPr/>
                  </p:nvSpPr>
                  <p:spPr bwMode="gray">
                    <a:xfrm>
                      <a:off x="-1755775" y="-16681450"/>
                      <a:ext cx="633413" cy="1219200"/>
                    </a:xfrm>
                    <a:custGeom>
                      <a:avLst/>
                      <a:gdLst/>
                      <a:ahLst/>
                      <a:cxnLst>
                        <a:cxn ang="0">
                          <a:pos x="62" y="0"/>
                        </a:cxn>
                        <a:cxn ang="0">
                          <a:pos x="95" y="84"/>
                        </a:cxn>
                        <a:cxn ang="0">
                          <a:pos x="167" y="164"/>
                        </a:cxn>
                        <a:cxn ang="0">
                          <a:pos x="42" y="325"/>
                        </a:cxn>
                        <a:cxn ang="0">
                          <a:pos x="62" y="0"/>
                        </a:cxn>
                      </a:cxnLst>
                      <a:rect l="0" t="0" r="r" b="b"/>
                      <a:pathLst>
                        <a:path w="169" h="325">
                          <a:moveTo>
                            <a:pt x="62" y="0"/>
                          </a:moveTo>
                          <a:cubicBezTo>
                            <a:pt x="66" y="35"/>
                            <a:pt x="73" y="58"/>
                            <a:pt x="95" y="84"/>
                          </a:cubicBezTo>
                          <a:cubicBezTo>
                            <a:pt x="105" y="97"/>
                            <a:pt x="169" y="155"/>
                            <a:pt x="167" y="164"/>
                          </a:cubicBezTo>
                          <a:cubicBezTo>
                            <a:pt x="161" y="183"/>
                            <a:pt x="63" y="289"/>
                            <a:pt x="42" y="325"/>
                          </a:cubicBezTo>
                          <a:cubicBezTo>
                            <a:pt x="0" y="295"/>
                            <a:pt x="10" y="21"/>
                            <a:pt x="62" y="0"/>
                          </a:cubicBezTo>
                        </a:path>
                      </a:pathLst>
                    </a:custGeom>
                    <a:solidFill>
                      <a:srgbClr val="E4EFF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8" name="Freeform 114"/>
                    <p:cNvSpPr>
                      <a:spLocks/>
                    </p:cNvSpPr>
                    <p:nvPr/>
                  </p:nvSpPr>
                  <p:spPr bwMode="gray">
                    <a:xfrm>
                      <a:off x="-1020763" y="-16843375"/>
                      <a:ext cx="1027113" cy="11938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06"/>
                        </a:cxn>
                        <a:cxn ang="0">
                          <a:pos x="152" y="318"/>
                        </a:cxn>
                        <a:cxn ang="0">
                          <a:pos x="246" y="132"/>
                        </a:cxn>
                        <a:cxn ang="0">
                          <a:pos x="206" y="0"/>
                        </a:cxn>
                        <a:cxn ang="0">
                          <a:pos x="0" y="206"/>
                        </a:cxn>
                      </a:cxnLst>
                      <a:rect l="0" t="0" r="r" b="b"/>
                      <a:pathLst>
                        <a:path w="274" h="318">
                          <a:moveTo>
                            <a:pt x="0" y="206"/>
                          </a:moveTo>
                          <a:cubicBezTo>
                            <a:pt x="43" y="235"/>
                            <a:pt x="108" y="288"/>
                            <a:pt x="152" y="318"/>
                          </a:cubicBezTo>
                          <a:cubicBezTo>
                            <a:pt x="181" y="255"/>
                            <a:pt x="222" y="196"/>
                            <a:pt x="246" y="132"/>
                          </a:cubicBezTo>
                          <a:cubicBezTo>
                            <a:pt x="273" y="61"/>
                            <a:pt x="274" y="51"/>
                            <a:pt x="206" y="0"/>
                          </a:cubicBezTo>
                          <a:cubicBezTo>
                            <a:pt x="166" y="79"/>
                            <a:pt x="89" y="176"/>
                            <a:pt x="0" y="206"/>
                          </a:cubicBezTo>
                        </a:path>
                      </a:pathLst>
                    </a:custGeom>
                    <a:solidFill>
                      <a:srgbClr val="E4EFF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99" name="Freeform 115"/>
                    <p:cNvSpPr>
                      <a:spLocks/>
                    </p:cNvSpPr>
                    <p:nvPr/>
                  </p:nvSpPr>
                  <p:spPr bwMode="gray">
                    <a:xfrm>
                      <a:off x="-2689225" y="-14930437"/>
                      <a:ext cx="322263" cy="1849438"/>
                    </a:xfrm>
                    <a:custGeom>
                      <a:avLst/>
                      <a:gdLst/>
                      <a:ahLst/>
                      <a:cxnLst>
                        <a:cxn ang="0">
                          <a:pos x="84" y="355"/>
                        </a:cxn>
                        <a:cxn ang="0">
                          <a:pos x="62" y="283"/>
                        </a:cxn>
                        <a:cxn ang="0">
                          <a:pos x="56" y="186"/>
                        </a:cxn>
                        <a:cxn ang="0">
                          <a:pos x="39" y="0"/>
                        </a:cxn>
                        <a:cxn ang="0">
                          <a:pos x="28" y="298"/>
                        </a:cxn>
                        <a:cxn ang="0">
                          <a:pos x="22" y="446"/>
                        </a:cxn>
                        <a:cxn ang="0">
                          <a:pos x="79" y="349"/>
                        </a:cxn>
                      </a:cxnLst>
                      <a:rect l="0" t="0" r="r" b="b"/>
                      <a:pathLst>
                        <a:path w="86" h="493">
                          <a:moveTo>
                            <a:pt x="84" y="355"/>
                          </a:moveTo>
                          <a:cubicBezTo>
                            <a:pt x="86" y="322"/>
                            <a:pt x="68" y="310"/>
                            <a:pt x="62" y="283"/>
                          </a:cubicBezTo>
                          <a:cubicBezTo>
                            <a:pt x="57" y="259"/>
                            <a:pt x="58" y="217"/>
                            <a:pt x="56" y="186"/>
                          </a:cubicBezTo>
                          <a:cubicBezTo>
                            <a:pt x="54" y="132"/>
                            <a:pt x="72" y="37"/>
                            <a:pt x="39" y="0"/>
                          </a:cubicBezTo>
                          <a:cubicBezTo>
                            <a:pt x="6" y="91"/>
                            <a:pt x="23" y="203"/>
                            <a:pt x="28" y="298"/>
                          </a:cubicBezTo>
                          <a:cubicBezTo>
                            <a:pt x="30" y="331"/>
                            <a:pt x="0" y="422"/>
                            <a:pt x="22" y="446"/>
                          </a:cubicBezTo>
                          <a:cubicBezTo>
                            <a:pt x="64" y="493"/>
                            <a:pt x="83" y="381"/>
                            <a:pt x="79" y="349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0" name="Freeform 116"/>
                    <p:cNvSpPr>
                      <a:spLocks/>
                    </p:cNvSpPr>
                    <p:nvPr/>
                  </p:nvSpPr>
                  <p:spPr bwMode="gray">
                    <a:xfrm>
                      <a:off x="55563" y="-15409862"/>
                      <a:ext cx="742950" cy="1765300"/>
                    </a:xfrm>
                    <a:custGeom>
                      <a:avLst/>
                      <a:gdLst/>
                      <a:ahLst/>
                      <a:cxnLst>
                        <a:cxn ang="0">
                          <a:pos x="51" y="415"/>
                        </a:cxn>
                        <a:cxn ang="0">
                          <a:pos x="101" y="195"/>
                        </a:cxn>
                        <a:cxn ang="0">
                          <a:pos x="198" y="0"/>
                        </a:cxn>
                        <a:cxn ang="0">
                          <a:pos x="84" y="201"/>
                        </a:cxn>
                        <a:cxn ang="0">
                          <a:pos x="12" y="420"/>
                        </a:cxn>
                        <a:cxn ang="0">
                          <a:pos x="73" y="426"/>
                        </a:cxn>
                      </a:cxnLst>
                      <a:rect l="0" t="0" r="r" b="b"/>
                      <a:pathLst>
                        <a:path w="198" h="471">
                          <a:moveTo>
                            <a:pt x="51" y="415"/>
                          </a:moveTo>
                          <a:cubicBezTo>
                            <a:pt x="95" y="346"/>
                            <a:pt x="66" y="265"/>
                            <a:pt x="101" y="195"/>
                          </a:cubicBezTo>
                          <a:cubicBezTo>
                            <a:pt x="135" y="128"/>
                            <a:pt x="176" y="73"/>
                            <a:pt x="198" y="0"/>
                          </a:cubicBezTo>
                          <a:cubicBezTo>
                            <a:pt x="139" y="59"/>
                            <a:pt x="110" y="125"/>
                            <a:pt x="84" y="201"/>
                          </a:cubicBezTo>
                          <a:cubicBezTo>
                            <a:pt x="64" y="262"/>
                            <a:pt x="0" y="357"/>
                            <a:pt x="12" y="420"/>
                          </a:cubicBezTo>
                          <a:cubicBezTo>
                            <a:pt x="34" y="430"/>
                            <a:pt x="65" y="471"/>
                            <a:pt x="73" y="426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1" name="Freeform 117"/>
                    <p:cNvSpPr>
                      <a:spLocks/>
                    </p:cNvSpPr>
                    <p:nvPr/>
                  </p:nvSpPr>
                  <p:spPr bwMode="gray">
                    <a:xfrm>
                      <a:off x="-2835275" y="-13689012"/>
                      <a:ext cx="922338" cy="858838"/>
                    </a:xfrm>
                    <a:custGeom>
                      <a:avLst/>
                      <a:gdLst/>
                      <a:ahLst/>
                      <a:cxnLst>
                        <a:cxn ang="0">
                          <a:pos x="191" y="226"/>
                        </a:cxn>
                        <a:cxn ang="0">
                          <a:pos x="246" y="45"/>
                        </a:cxn>
                        <a:cxn ang="0">
                          <a:pos x="94" y="51"/>
                        </a:cxn>
                        <a:cxn ang="0">
                          <a:pos x="55" y="135"/>
                        </a:cxn>
                        <a:cxn ang="0">
                          <a:pos x="60" y="211"/>
                        </a:cxn>
                        <a:cxn ang="0">
                          <a:pos x="197" y="221"/>
                        </a:cxn>
                      </a:cxnLst>
                      <a:rect l="0" t="0" r="r" b="b"/>
                      <a:pathLst>
                        <a:path w="246" h="229">
                          <a:moveTo>
                            <a:pt x="191" y="226"/>
                          </a:moveTo>
                          <a:cubicBezTo>
                            <a:pt x="186" y="181"/>
                            <a:pt x="206" y="61"/>
                            <a:pt x="246" y="45"/>
                          </a:cubicBezTo>
                          <a:cubicBezTo>
                            <a:pt x="243" y="3"/>
                            <a:pt x="105" y="0"/>
                            <a:pt x="94" y="51"/>
                          </a:cubicBezTo>
                          <a:cubicBezTo>
                            <a:pt x="29" y="52"/>
                            <a:pt x="54" y="92"/>
                            <a:pt x="55" y="135"/>
                          </a:cubicBezTo>
                          <a:cubicBezTo>
                            <a:pt x="0" y="149"/>
                            <a:pt x="26" y="194"/>
                            <a:pt x="60" y="211"/>
                          </a:cubicBezTo>
                          <a:cubicBezTo>
                            <a:pt x="97" y="229"/>
                            <a:pt x="153" y="221"/>
                            <a:pt x="197" y="221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2" name="Freeform 118"/>
                    <p:cNvSpPr>
                      <a:spLocks/>
                    </p:cNvSpPr>
                    <p:nvPr/>
                  </p:nvSpPr>
                  <p:spPr bwMode="gray">
                    <a:xfrm>
                      <a:off x="-387350" y="-13857287"/>
                      <a:ext cx="649288" cy="449263"/>
                    </a:xfrm>
                    <a:custGeom>
                      <a:avLst/>
                      <a:gdLst/>
                      <a:ahLst/>
                      <a:cxnLst>
                        <a:cxn ang="0">
                          <a:pos x="17" y="119"/>
                        </a:cxn>
                        <a:cxn ang="0">
                          <a:pos x="173" y="102"/>
                        </a:cxn>
                        <a:cxn ang="0">
                          <a:pos x="162" y="7"/>
                        </a:cxn>
                        <a:cxn ang="0">
                          <a:pos x="74" y="36"/>
                        </a:cxn>
                        <a:cxn ang="0">
                          <a:pos x="0" y="114"/>
                        </a:cxn>
                      </a:cxnLst>
                      <a:rect l="0" t="0" r="r" b="b"/>
                      <a:pathLst>
                        <a:path w="173" h="120">
                          <a:moveTo>
                            <a:pt x="17" y="119"/>
                          </a:moveTo>
                          <a:cubicBezTo>
                            <a:pt x="67" y="120"/>
                            <a:pt x="119" y="104"/>
                            <a:pt x="173" y="102"/>
                          </a:cubicBezTo>
                          <a:cubicBezTo>
                            <a:pt x="170" y="72"/>
                            <a:pt x="171" y="37"/>
                            <a:pt x="162" y="7"/>
                          </a:cubicBezTo>
                          <a:cubicBezTo>
                            <a:pt x="108" y="3"/>
                            <a:pt x="110" y="0"/>
                            <a:pt x="74" y="36"/>
                          </a:cubicBezTo>
                          <a:cubicBezTo>
                            <a:pt x="53" y="57"/>
                            <a:pt x="19" y="88"/>
                            <a:pt x="0" y="114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3" name="Freeform 119"/>
                    <p:cNvSpPr>
                      <a:spLocks/>
                    </p:cNvSpPr>
                    <p:nvPr/>
                  </p:nvSpPr>
                  <p:spPr bwMode="gray">
                    <a:xfrm>
                      <a:off x="-2798763" y="-13155612"/>
                      <a:ext cx="742950" cy="355600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0"/>
                        </a:cxn>
                        <a:cxn ang="0">
                          <a:pos x="95" y="65"/>
                        </a:cxn>
                        <a:cxn ang="0">
                          <a:pos x="162" y="65"/>
                        </a:cxn>
                        <a:cxn ang="0">
                          <a:pos x="183" y="26"/>
                        </a:cxn>
                        <a:cxn ang="0">
                          <a:pos x="177" y="86"/>
                        </a:cxn>
                        <a:cxn ang="0">
                          <a:pos x="32" y="59"/>
                        </a:cxn>
                        <a:cxn ang="0">
                          <a:pos x="27" y="0"/>
                        </a:cxn>
                      </a:cxnLst>
                      <a:rect l="0" t="0" r="r" b="b"/>
                      <a:pathLst>
                        <a:path w="198" h="95">
                          <a:moveTo>
                            <a:pt x="27" y="0"/>
                          </a:moveTo>
                          <a:cubicBezTo>
                            <a:pt x="14" y="38"/>
                            <a:pt x="64" y="59"/>
                            <a:pt x="95" y="65"/>
                          </a:cubicBezTo>
                          <a:cubicBezTo>
                            <a:pt x="111" y="67"/>
                            <a:pt x="147" y="70"/>
                            <a:pt x="162" y="65"/>
                          </a:cubicBezTo>
                          <a:cubicBezTo>
                            <a:pt x="179" y="58"/>
                            <a:pt x="180" y="41"/>
                            <a:pt x="183" y="26"/>
                          </a:cubicBezTo>
                          <a:cubicBezTo>
                            <a:pt x="185" y="52"/>
                            <a:pt x="198" y="77"/>
                            <a:pt x="177" y="86"/>
                          </a:cubicBezTo>
                          <a:cubicBezTo>
                            <a:pt x="157" y="95"/>
                            <a:pt x="55" y="79"/>
                            <a:pt x="32" y="59"/>
                          </a:cubicBezTo>
                          <a:cubicBezTo>
                            <a:pt x="18" y="45"/>
                            <a:pt x="0" y="16"/>
                            <a:pt x="27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4" name="Freeform 120"/>
                    <p:cNvSpPr>
                      <a:spLocks/>
                    </p:cNvSpPr>
                    <p:nvPr/>
                  </p:nvSpPr>
                  <p:spPr bwMode="gray">
                    <a:xfrm>
                      <a:off x="-304800" y="-13796962"/>
                      <a:ext cx="581025" cy="446088"/>
                    </a:xfrm>
                    <a:custGeom>
                      <a:avLst/>
                      <a:gdLst/>
                      <a:ahLst/>
                      <a:cxnLst>
                        <a:cxn ang="0">
                          <a:pos x="134" y="0"/>
                        </a:cxn>
                        <a:cxn ang="0">
                          <a:pos x="97" y="79"/>
                        </a:cxn>
                        <a:cxn ang="0">
                          <a:pos x="0" y="106"/>
                        </a:cxn>
                        <a:cxn ang="0">
                          <a:pos x="66" y="107"/>
                        </a:cxn>
                        <a:cxn ang="0">
                          <a:pos x="125" y="95"/>
                        </a:cxn>
                        <a:cxn ang="0">
                          <a:pos x="151" y="56"/>
                        </a:cxn>
                        <a:cxn ang="0">
                          <a:pos x="139" y="0"/>
                        </a:cxn>
                      </a:cxnLst>
                      <a:rect l="0" t="0" r="r" b="b"/>
                      <a:pathLst>
                        <a:path w="155" h="119">
                          <a:moveTo>
                            <a:pt x="134" y="0"/>
                          </a:moveTo>
                          <a:cubicBezTo>
                            <a:pt x="134" y="41"/>
                            <a:pt x="139" y="64"/>
                            <a:pt x="97" y="79"/>
                          </a:cubicBezTo>
                          <a:cubicBezTo>
                            <a:pt x="68" y="88"/>
                            <a:pt x="23" y="82"/>
                            <a:pt x="0" y="106"/>
                          </a:cubicBezTo>
                          <a:cubicBezTo>
                            <a:pt x="16" y="119"/>
                            <a:pt x="48" y="113"/>
                            <a:pt x="66" y="107"/>
                          </a:cubicBezTo>
                          <a:cubicBezTo>
                            <a:pt x="88" y="101"/>
                            <a:pt x="102" y="99"/>
                            <a:pt x="125" y="95"/>
                          </a:cubicBezTo>
                          <a:cubicBezTo>
                            <a:pt x="155" y="91"/>
                            <a:pt x="154" y="85"/>
                            <a:pt x="151" y="56"/>
                          </a:cubicBezTo>
                          <a:cubicBezTo>
                            <a:pt x="149" y="37"/>
                            <a:pt x="149" y="13"/>
                            <a:pt x="139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5" name="Freeform 121"/>
                    <p:cNvSpPr>
                      <a:spLocks/>
                    </p:cNvSpPr>
                    <p:nvPr/>
                  </p:nvSpPr>
                  <p:spPr bwMode="gray">
                    <a:xfrm>
                      <a:off x="-1882775" y="-12166600"/>
                      <a:ext cx="1046163" cy="322263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53"/>
                        </a:cxn>
                        <a:cxn ang="0">
                          <a:pos x="0" y="84"/>
                        </a:cxn>
                        <a:cxn ang="0">
                          <a:pos x="160" y="64"/>
                        </a:cxn>
                        <a:cxn ang="0">
                          <a:pos x="239" y="50"/>
                        </a:cxn>
                        <a:cxn ang="0">
                          <a:pos x="278" y="3"/>
                        </a:cxn>
                        <a:cxn ang="0">
                          <a:pos x="141" y="22"/>
                        </a:cxn>
                        <a:cxn ang="0">
                          <a:pos x="0" y="48"/>
                        </a:cxn>
                      </a:cxnLst>
                      <a:rect l="0" t="0" r="r" b="b"/>
                      <a:pathLst>
                        <a:path w="279" h="86">
                          <a:moveTo>
                            <a:pt x="3" y="53"/>
                          </a:moveTo>
                          <a:cubicBezTo>
                            <a:pt x="4" y="64"/>
                            <a:pt x="2" y="75"/>
                            <a:pt x="0" y="84"/>
                          </a:cubicBezTo>
                          <a:cubicBezTo>
                            <a:pt x="53" y="86"/>
                            <a:pt x="113" y="82"/>
                            <a:pt x="160" y="64"/>
                          </a:cubicBezTo>
                          <a:cubicBezTo>
                            <a:pt x="187" y="53"/>
                            <a:pt x="208" y="55"/>
                            <a:pt x="239" y="50"/>
                          </a:cubicBezTo>
                          <a:cubicBezTo>
                            <a:pt x="274" y="45"/>
                            <a:pt x="279" y="39"/>
                            <a:pt x="278" y="3"/>
                          </a:cubicBezTo>
                          <a:cubicBezTo>
                            <a:pt x="229" y="0"/>
                            <a:pt x="186" y="13"/>
                            <a:pt x="141" y="22"/>
                          </a:cubicBezTo>
                          <a:cubicBezTo>
                            <a:pt x="95" y="32"/>
                            <a:pt x="46" y="37"/>
                            <a:pt x="0" y="48"/>
                          </a:cubicBezTo>
                        </a:path>
                      </a:pathLst>
                    </a:custGeom>
                    <a:solidFill>
                      <a:srgbClr val="EAAC1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6" name="Freeform 122"/>
                    <p:cNvSpPr>
                      <a:spLocks/>
                    </p:cNvSpPr>
                    <p:nvPr/>
                  </p:nvSpPr>
                  <p:spPr bwMode="gray">
                    <a:xfrm>
                      <a:off x="-1695450" y="-7954962"/>
                      <a:ext cx="2128838" cy="3386138"/>
                    </a:xfrm>
                    <a:custGeom>
                      <a:avLst/>
                      <a:gdLst/>
                      <a:ahLst/>
                      <a:cxnLst>
                        <a:cxn ang="0">
                          <a:pos x="133" y="38"/>
                        </a:cxn>
                        <a:cxn ang="0">
                          <a:pos x="301" y="292"/>
                        </a:cxn>
                        <a:cxn ang="0">
                          <a:pos x="568" y="540"/>
                        </a:cxn>
                        <a:cxn ang="0">
                          <a:pos x="508" y="490"/>
                        </a:cxn>
                        <a:cxn ang="0">
                          <a:pos x="430" y="429"/>
                        </a:cxn>
                        <a:cxn ang="0">
                          <a:pos x="319" y="372"/>
                        </a:cxn>
                        <a:cxn ang="0">
                          <a:pos x="373" y="448"/>
                        </a:cxn>
                        <a:cxn ang="0">
                          <a:pos x="415" y="515"/>
                        </a:cxn>
                        <a:cxn ang="0">
                          <a:pos x="513" y="648"/>
                        </a:cxn>
                        <a:cxn ang="0">
                          <a:pos x="375" y="524"/>
                        </a:cxn>
                        <a:cxn ang="0">
                          <a:pos x="430" y="653"/>
                        </a:cxn>
                        <a:cxn ang="0">
                          <a:pos x="478" y="768"/>
                        </a:cxn>
                        <a:cxn ang="0">
                          <a:pos x="388" y="646"/>
                        </a:cxn>
                        <a:cxn ang="0">
                          <a:pos x="332" y="541"/>
                        </a:cxn>
                        <a:cxn ang="0">
                          <a:pos x="252" y="296"/>
                        </a:cxn>
                        <a:cxn ang="0">
                          <a:pos x="257" y="642"/>
                        </a:cxn>
                        <a:cxn ang="0">
                          <a:pos x="208" y="718"/>
                        </a:cxn>
                        <a:cxn ang="0">
                          <a:pos x="175" y="781"/>
                        </a:cxn>
                        <a:cxn ang="0">
                          <a:pos x="41" y="903"/>
                        </a:cxn>
                        <a:cxn ang="0">
                          <a:pos x="99" y="803"/>
                        </a:cxn>
                        <a:cxn ang="0">
                          <a:pos x="10" y="736"/>
                        </a:cxn>
                        <a:cxn ang="0">
                          <a:pos x="87" y="642"/>
                        </a:cxn>
                        <a:cxn ang="0">
                          <a:pos x="71" y="498"/>
                        </a:cxn>
                        <a:cxn ang="0">
                          <a:pos x="54" y="334"/>
                        </a:cxn>
                        <a:cxn ang="0">
                          <a:pos x="112" y="489"/>
                        </a:cxn>
                        <a:cxn ang="0">
                          <a:pos x="167" y="363"/>
                        </a:cxn>
                        <a:cxn ang="0">
                          <a:pos x="151" y="172"/>
                        </a:cxn>
                        <a:cxn ang="0">
                          <a:pos x="117" y="0"/>
                        </a:cxn>
                        <a:cxn ang="0">
                          <a:pos x="129" y="42"/>
                        </a:cxn>
                      </a:cxnLst>
                      <a:rect l="0" t="0" r="r" b="b"/>
                      <a:pathLst>
                        <a:path w="568" h="903">
                          <a:moveTo>
                            <a:pt x="133" y="38"/>
                          </a:moveTo>
                          <a:cubicBezTo>
                            <a:pt x="146" y="122"/>
                            <a:pt x="232" y="241"/>
                            <a:pt x="301" y="292"/>
                          </a:cubicBezTo>
                          <a:cubicBezTo>
                            <a:pt x="401" y="367"/>
                            <a:pt x="496" y="440"/>
                            <a:pt x="568" y="540"/>
                          </a:cubicBezTo>
                          <a:cubicBezTo>
                            <a:pt x="537" y="529"/>
                            <a:pt x="530" y="512"/>
                            <a:pt x="508" y="490"/>
                          </a:cubicBezTo>
                          <a:cubicBezTo>
                            <a:pt x="486" y="467"/>
                            <a:pt x="454" y="454"/>
                            <a:pt x="430" y="429"/>
                          </a:cubicBezTo>
                          <a:cubicBezTo>
                            <a:pt x="415" y="414"/>
                            <a:pt x="325" y="293"/>
                            <a:pt x="319" y="372"/>
                          </a:cubicBezTo>
                          <a:cubicBezTo>
                            <a:pt x="316" y="408"/>
                            <a:pt x="352" y="428"/>
                            <a:pt x="373" y="448"/>
                          </a:cubicBezTo>
                          <a:cubicBezTo>
                            <a:pt x="394" y="468"/>
                            <a:pt x="400" y="487"/>
                            <a:pt x="415" y="515"/>
                          </a:cubicBezTo>
                          <a:cubicBezTo>
                            <a:pt x="439" y="560"/>
                            <a:pt x="478" y="604"/>
                            <a:pt x="513" y="648"/>
                          </a:cubicBezTo>
                          <a:cubicBezTo>
                            <a:pt x="464" y="628"/>
                            <a:pt x="411" y="567"/>
                            <a:pt x="375" y="524"/>
                          </a:cubicBezTo>
                          <a:cubicBezTo>
                            <a:pt x="370" y="573"/>
                            <a:pt x="407" y="615"/>
                            <a:pt x="430" y="653"/>
                          </a:cubicBezTo>
                          <a:cubicBezTo>
                            <a:pt x="452" y="690"/>
                            <a:pt x="456" y="733"/>
                            <a:pt x="478" y="768"/>
                          </a:cubicBezTo>
                          <a:cubicBezTo>
                            <a:pt x="430" y="762"/>
                            <a:pt x="407" y="682"/>
                            <a:pt x="388" y="646"/>
                          </a:cubicBezTo>
                          <a:cubicBezTo>
                            <a:pt x="365" y="606"/>
                            <a:pt x="341" y="586"/>
                            <a:pt x="332" y="541"/>
                          </a:cubicBezTo>
                          <a:cubicBezTo>
                            <a:pt x="313" y="451"/>
                            <a:pt x="310" y="365"/>
                            <a:pt x="252" y="296"/>
                          </a:cubicBezTo>
                          <a:cubicBezTo>
                            <a:pt x="268" y="402"/>
                            <a:pt x="308" y="535"/>
                            <a:pt x="257" y="642"/>
                          </a:cubicBezTo>
                          <a:cubicBezTo>
                            <a:pt x="242" y="672"/>
                            <a:pt x="229" y="692"/>
                            <a:pt x="208" y="718"/>
                          </a:cubicBezTo>
                          <a:cubicBezTo>
                            <a:pt x="189" y="742"/>
                            <a:pt x="189" y="756"/>
                            <a:pt x="175" y="781"/>
                          </a:cubicBezTo>
                          <a:cubicBezTo>
                            <a:pt x="156" y="818"/>
                            <a:pt x="83" y="902"/>
                            <a:pt x="41" y="903"/>
                          </a:cubicBezTo>
                          <a:cubicBezTo>
                            <a:pt x="55" y="863"/>
                            <a:pt x="107" y="862"/>
                            <a:pt x="99" y="803"/>
                          </a:cubicBezTo>
                          <a:cubicBezTo>
                            <a:pt x="61" y="803"/>
                            <a:pt x="17" y="776"/>
                            <a:pt x="10" y="736"/>
                          </a:cubicBezTo>
                          <a:cubicBezTo>
                            <a:pt x="0" y="684"/>
                            <a:pt x="63" y="680"/>
                            <a:pt x="87" y="642"/>
                          </a:cubicBezTo>
                          <a:cubicBezTo>
                            <a:pt x="115" y="596"/>
                            <a:pt x="88" y="545"/>
                            <a:pt x="71" y="498"/>
                          </a:cubicBezTo>
                          <a:cubicBezTo>
                            <a:pt x="51" y="445"/>
                            <a:pt x="50" y="392"/>
                            <a:pt x="54" y="334"/>
                          </a:cubicBezTo>
                          <a:cubicBezTo>
                            <a:pt x="95" y="325"/>
                            <a:pt x="87" y="460"/>
                            <a:pt x="112" y="489"/>
                          </a:cubicBezTo>
                          <a:cubicBezTo>
                            <a:pt x="166" y="551"/>
                            <a:pt x="167" y="403"/>
                            <a:pt x="167" y="363"/>
                          </a:cubicBezTo>
                          <a:cubicBezTo>
                            <a:pt x="168" y="296"/>
                            <a:pt x="170" y="232"/>
                            <a:pt x="151" y="172"/>
                          </a:cubicBezTo>
                          <a:cubicBezTo>
                            <a:pt x="134" y="120"/>
                            <a:pt x="115" y="56"/>
                            <a:pt x="117" y="0"/>
                          </a:cubicBezTo>
                          <a:cubicBezTo>
                            <a:pt x="121" y="11"/>
                            <a:pt x="126" y="29"/>
                            <a:pt x="129" y="42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7" name="Freeform 123"/>
                    <p:cNvSpPr>
                      <a:spLocks/>
                    </p:cNvSpPr>
                    <p:nvPr/>
                  </p:nvSpPr>
                  <p:spPr bwMode="gray">
                    <a:xfrm>
                      <a:off x="-1717675" y="-1122362"/>
                      <a:ext cx="854075" cy="655638"/>
                    </a:xfrm>
                    <a:custGeom>
                      <a:avLst/>
                      <a:gdLst/>
                      <a:ahLst/>
                      <a:cxnLst>
                        <a:cxn ang="0">
                          <a:pos x="228" y="175"/>
                        </a:cxn>
                        <a:cxn ang="0">
                          <a:pos x="130" y="75"/>
                        </a:cxn>
                        <a:cxn ang="0">
                          <a:pos x="0" y="0"/>
                        </a:cxn>
                        <a:cxn ang="0">
                          <a:pos x="54" y="54"/>
                        </a:cxn>
                        <a:cxn ang="0">
                          <a:pos x="60" y="137"/>
                        </a:cxn>
                        <a:cxn ang="0">
                          <a:pos x="152" y="137"/>
                        </a:cxn>
                        <a:cxn ang="0">
                          <a:pos x="228" y="167"/>
                        </a:cxn>
                      </a:cxnLst>
                      <a:rect l="0" t="0" r="r" b="b"/>
                      <a:pathLst>
                        <a:path w="228" h="175">
                          <a:moveTo>
                            <a:pt x="228" y="175"/>
                          </a:moveTo>
                          <a:cubicBezTo>
                            <a:pt x="209" y="136"/>
                            <a:pt x="165" y="105"/>
                            <a:pt x="130" y="75"/>
                          </a:cubicBezTo>
                          <a:cubicBezTo>
                            <a:pt x="90" y="42"/>
                            <a:pt x="34" y="30"/>
                            <a:pt x="0" y="0"/>
                          </a:cubicBezTo>
                          <a:cubicBezTo>
                            <a:pt x="4" y="32"/>
                            <a:pt x="37" y="32"/>
                            <a:pt x="54" y="54"/>
                          </a:cubicBezTo>
                          <a:cubicBezTo>
                            <a:pt x="72" y="77"/>
                            <a:pt x="70" y="113"/>
                            <a:pt x="60" y="137"/>
                          </a:cubicBezTo>
                          <a:cubicBezTo>
                            <a:pt x="90" y="149"/>
                            <a:pt x="120" y="134"/>
                            <a:pt x="152" y="137"/>
                          </a:cubicBezTo>
                          <a:cubicBezTo>
                            <a:pt x="180" y="141"/>
                            <a:pt x="203" y="157"/>
                            <a:pt x="228" y="167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8" name="Freeform 124"/>
                    <p:cNvSpPr>
                      <a:spLocks/>
                    </p:cNvSpPr>
                    <p:nvPr/>
                  </p:nvSpPr>
                  <p:spPr bwMode="gray">
                    <a:xfrm>
                      <a:off x="-87313" y="-639762"/>
                      <a:ext cx="1308100" cy="571500"/>
                    </a:xfrm>
                    <a:custGeom>
                      <a:avLst/>
                      <a:gdLst/>
                      <a:ahLst/>
                      <a:cxnLst>
                        <a:cxn ang="0">
                          <a:pos x="42" y="122"/>
                        </a:cxn>
                        <a:cxn ang="0">
                          <a:pos x="232" y="0"/>
                        </a:cxn>
                        <a:cxn ang="0">
                          <a:pos x="324" y="43"/>
                        </a:cxn>
                        <a:cxn ang="0">
                          <a:pos x="309" y="147"/>
                        </a:cxn>
                        <a:cxn ang="0">
                          <a:pos x="271" y="66"/>
                        </a:cxn>
                        <a:cxn ang="0">
                          <a:pos x="186" y="56"/>
                        </a:cxn>
                        <a:cxn ang="0">
                          <a:pos x="93" y="89"/>
                        </a:cxn>
                        <a:cxn ang="0">
                          <a:pos x="0" y="152"/>
                        </a:cxn>
                      </a:cxnLst>
                      <a:rect l="0" t="0" r="r" b="b"/>
                      <a:pathLst>
                        <a:path w="349" h="152">
                          <a:moveTo>
                            <a:pt x="42" y="122"/>
                          </a:moveTo>
                          <a:cubicBezTo>
                            <a:pt x="99" y="79"/>
                            <a:pt x="159" y="0"/>
                            <a:pt x="232" y="0"/>
                          </a:cubicBezTo>
                          <a:cubicBezTo>
                            <a:pt x="263" y="0"/>
                            <a:pt x="304" y="17"/>
                            <a:pt x="324" y="43"/>
                          </a:cubicBezTo>
                          <a:cubicBezTo>
                            <a:pt x="344" y="70"/>
                            <a:pt x="349" y="138"/>
                            <a:pt x="309" y="147"/>
                          </a:cubicBezTo>
                          <a:cubicBezTo>
                            <a:pt x="303" y="117"/>
                            <a:pt x="295" y="86"/>
                            <a:pt x="271" y="66"/>
                          </a:cubicBezTo>
                          <a:cubicBezTo>
                            <a:pt x="239" y="41"/>
                            <a:pt x="220" y="47"/>
                            <a:pt x="186" y="56"/>
                          </a:cubicBezTo>
                          <a:cubicBezTo>
                            <a:pt x="152" y="65"/>
                            <a:pt x="122" y="71"/>
                            <a:pt x="93" y="89"/>
                          </a:cubicBezTo>
                          <a:cubicBezTo>
                            <a:pt x="62" y="107"/>
                            <a:pt x="34" y="141"/>
                            <a:pt x="0" y="152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09" name="Freeform 125"/>
                    <p:cNvSpPr>
                      <a:spLocks/>
                    </p:cNvSpPr>
                    <p:nvPr/>
                  </p:nvSpPr>
                  <p:spPr bwMode="gray">
                    <a:xfrm>
                      <a:off x="-2501900" y="-6432550"/>
                      <a:ext cx="2092325" cy="4953000"/>
                    </a:xfrm>
                    <a:custGeom>
                      <a:avLst/>
                      <a:gdLst/>
                      <a:ahLst/>
                      <a:cxnLst>
                        <a:cxn ang="0">
                          <a:pos x="542" y="1169"/>
                        </a:cxn>
                        <a:cxn ang="0">
                          <a:pos x="541" y="1266"/>
                        </a:cxn>
                        <a:cxn ang="0">
                          <a:pos x="455" y="1312"/>
                        </a:cxn>
                        <a:cxn ang="0">
                          <a:pos x="398" y="1245"/>
                        </a:cxn>
                        <a:cxn ang="0">
                          <a:pos x="336" y="1160"/>
                        </a:cxn>
                        <a:cxn ang="0">
                          <a:pos x="233" y="990"/>
                        </a:cxn>
                        <a:cxn ang="0">
                          <a:pos x="155" y="793"/>
                        </a:cxn>
                        <a:cxn ang="0">
                          <a:pos x="27" y="404"/>
                        </a:cxn>
                        <a:cxn ang="0">
                          <a:pos x="23" y="185"/>
                        </a:cxn>
                        <a:cxn ang="0">
                          <a:pos x="6" y="0"/>
                        </a:cxn>
                        <a:cxn ang="0">
                          <a:pos x="10" y="170"/>
                        </a:cxn>
                        <a:cxn ang="0">
                          <a:pos x="44" y="346"/>
                        </a:cxn>
                        <a:cxn ang="0">
                          <a:pos x="106" y="591"/>
                        </a:cxn>
                        <a:cxn ang="0">
                          <a:pos x="276" y="1025"/>
                        </a:cxn>
                        <a:cxn ang="0">
                          <a:pos x="386" y="1213"/>
                        </a:cxn>
                        <a:cxn ang="0">
                          <a:pos x="482" y="1240"/>
                        </a:cxn>
                        <a:cxn ang="0">
                          <a:pos x="530" y="1148"/>
                        </a:cxn>
                      </a:cxnLst>
                      <a:rect l="0" t="0" r="r" b="b"/>
                      <a:pathLst>
                        <a:path w="558" h="1321">
                          <a:moveTo>
                            <a:pt x="542" y="1169"/>
                          </a:moveTo>
                          <a:cubicBezTo>
                            <a:pt x="558" y="1191"/>
                            <a:pt x="555" y="1242"/>
                            <a:pt x="541" y="1266"/>
                          </a:cubicBezTo>
                          <a:cubicBezTo>
                            <a:pt x="530" y="1287"/>
                            <a:pt x="479" y="1321"/>
                            <a:pt x="455" y="1312"/>
                          </a:cubicBezTo>
                          <a:cubicBezTo>
                            <a:pt x="444" y="1308"/>
                            <a:pt x="405" y="1254"/>
                            <a:pt x="398" y="1245"/>
                          </a:cubicBezTo>
                          <a:cubicBezTo>
                            <a:pt x="377" y="1220"/>
                            <a:pt x="353" y="1189"/>
                            <a:pt x="336" y="1160"/>
                          </a:cubicBezTo>
                          <a:cubicBezTo>
                            <a:pt x="303" y="1104"/>
                            <a:pt x="260" y="1050"/>
                            <a:pt x="233" y="990"/>
                          </a:cubicBezTo>
                          <a:cubicBezTo>
                            <a:pt x="205" y="927"/>
                            <a:pt x="177" y="855"/>
                            <a:pt x="155" y="793"/>
                          </a:cubicBezTo>
                          <a:cubicBezTo>
                            <a:pt x="111" y="667"/>
                            <a:pt x="41" y="541"/>
                            <a:pt x="27" y="404"/>
                          </a:cubicBezTo>
                          <a:cubicBezTo>
                            <a:pt x="20" y="326"/>
                            <a:pt x="43" y="261"/>
                            <a:pt x="23" y="185"/>
                          </a:cubicBezTo>
                          <a:cubicBezTo>
                            <a:pt x="6" y="123"/>
                            <a:pt x="0" y="66"/>
                            <a:pt x="6" y="0"/>
                          </a:cubicBezTo>
                          <a:cubicBezTo>
                            <a:pt x="6" y="58"/>
                            <a:pt x="11" y="114"/>
                            <a:pt x="10" y="170"/>
                          </a:cubicBezTo>
                          <a:cubicBezTo>
                            <a:pt x="10" y="236"/>
                            <a:pt x="29" y="286"/>
                            <a:pt x="44" y="346"/>
                          </a:cubicBezTo>
                          <a:cubicBezTo>
                            <a:pt x="65" y="427"/>
                            <a:pt x="79" y="511"/>
                            <a:pt x="106" y="591"/>
                          </a:cubicBezTo>
                          <a:cubicBezTo>
                            <a:pt x="157" y="739"/>
                            <a:pt x="225" y="885"/>
                            <a:pt x="276" y="1025"/>
                          </a:cubicBezTo>
                          <a:cubicBezTo>
                            <a:pt x="306" y="1106"/>
                            <a:pt x="317" y="1165"/>
                            <a:pt x="386" y="1213"/>
                          </a:cubicBezTo>
                          <a:cubicBezTo>
                            <a:pt x="412" y="1230"/>
                            <a:pt x="449" y="1254"/>
                            <a:pt x="482" y="1240"/>
                          </a:cubicBezTo>
                          <a:cubicBezTo>
                            <a:pt x="523" y="1224"/>
                            <a:pt x="518" y="1182"/>
                            <a:pt x="530" y="1148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0" name="Freeform 126"/>
                    <p:cNvSpPr>
                      <a:spLocks/>
                    </p:cNvSpPr>
                    <p:nvPr/>
                  </p:nvSpPr>
                  <p:spPr bwMode="gray">
                    <a:xfrm>
                      <a:off x="-1466850" y="-1479550"/>
                      <a:ext cx="854075" cy="693738"/>
                    </a:xfrm>
                    <a:custGeom>
                      <a:avLst/>
                      <a:gdLst/>
                      <a:ahLst/>
                      <a:cxnLst>
                        <a:cxn ang="0">
                          <a:pos x="13" y="30"/>
                        </a:cxn>
                        <a:cxn ang="0">
                          <a:pos x="228" y="181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28" h="185">
                          <a:moveTo>
                            <a:pt x="13" y="30"/>
                          </a:moveTo>
                          <a:cubicBezTo>
                            <a:pt x="80" y="65"/>
                            <a:pt x="145" y="185"/>
                            <a:pt x="228" y="181"/>
                          </a:cubicBezTo>
                          <a:cubicBezTo>
                            <a:pt x="216" y="68"/>
                            <a:pt x="79" y="39"/>
                            <a:pt x="0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1" name="Freeform 127"/>
                    <p:cNvSpPr>
                      <a:spLocks/>
                    </p:cNvSpPr>
                    <p:nvPr/>
                  </p:nvSpPr>
                  <p:spPr bwMode="gray">
                    <a:xfrm>
                      <a:off x="-1069975" y="-7924800"/>
                      <a:ext cx="1316038" cy="647700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0"/>
                        </a:cxn>
                        <a:cxn ang="0">
                          <a:pos x="156" y="77"/>
                        </a:cxn>
                        <a:cxn ang="0">
                          <a:pos x="351" y="12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351" h="173">
                          <a:moveTo>
                            <a:pt x="4" y="0"/>
                          </a:moveTo>
                          <a:cubicBezTo>
                            <a:pt x="61" y="17"/>
                            <a:pt x="98" y="62"/>
                            <a:pt x="156" y="77"/>
                          </a:cubicBezTo>
                          <a:cubicBezTo>
                            <a:pt x="212" y="92"/>
                            <a:pt x="304" y="90"/>
                            <a:pt x="351" y="123"/>
                          </a:cubicBezTo>
                          <a:cubicBezTo>
                            <a:pt x="231" y="173"/>
                            <a:pt x="90" y="60"/>
                            <a:pt x="0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2" name="Freeform 128"/>
                    <p:cNvSpPr>
                      <a:spLocks/>
                    </p:cNvSpPr>
                    <p:nvPr/>
                  </p:nvSpPr>
                  <p:spPr bwMode="gray">
                    <a:xfrm>
                      <a:off x="22225" y="-1809750"/>
                      <a:ext cx="441325" cy="627063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71"/>
                        </a:cxn>
                        <a:cxn ang="0">
                          <a:pos x="97" y="4"/>
                        </a:cxn>
                        <a:cxn ang="0">
                          <a:pos x="25" y="167"/>
                        </a:cxn>
                        <a:cxn ang="0">
                          <a:pos x="46" y="64"/>
                        </a:cxn>
                        <a:cxn ang="0">
                          <a:pos x="0" y="80"/>
                        </a:cxn>
                      </a:cxnLst>
                      <a:rect l="0" t="0" r="r" b="b"/>
                      <a:pathLst>
                        <a:path w="118" h="167">
                          <a:moveTo>
                            <a:pt x="5" y="71"/>
                          </a:moveTo>
                          <a:cubicBezTo>
                            <a:pt x="22" y="46"/>
                            <a:pt x="63" y="0"/>
                            <a:pt x="97" y="4"/>
                          </a:cubicBezTo>
                          <a:cubicBezTo>
                            <a:pt x="118" y="70"/>
                            <a:pt x="64" y="119"/>
                            <a:pt x="25" y="167"/>
                          </a:cubicBezTo>
                          <a:cubicBezTo>
                            <a:pt x="38" y="136"/>
                            <a:pt x="85" y="96"/>
                            <a:pt x="46" y="64"/>
                          </a:cubicBezTo>
                          <a:cubicBezTo>
                            <a:pt x="27" y="58"/>
                            <a:pt x="9" y="63"/>
                            <a:pt x="0" y="8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3" name="Freeform 129"/>
                    <p:cNvSpPr>
                      <a:spLocks/>
                    </p:cNvSpPr>
                    <p:nvPr/>
                  </p:nvSpPr>
                  <p:spPr bwMode="gray">
                    <a:xfrm>
                      <a:off x="969963" y="-4073525"/>
                      <a:ext cx="304800" cy="2241550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17"/>
                        </a:cxn>
                        <a:cxn ang="0">
                          <a:pos x="5" y="295"/>
                        </a:cxn>
                        <a:cxn ang="0">
                          <a:pos x="9" y="460"/>
                        </a:cxn>
                        <a:cxn ang="0">
                          <a:pos x="18" y="598"/>
                        </a:cxn>
                        <a:cxn ang="0">
                          <a:pos x="64" y="309"/>
                        </a:cxn>
                        <a:cxn ang="0">
                          <a:pos x="26" y="0"/>
                        </a:cxn>
                      </a:cxnLst>
                      <a:rect l="0" t="0" r="r" b="b"/>
                      <a:pathLst>
                        <a:path w="81" h="598">
                          <a:moveTo>
                            <a:pt x="26" y="17"/>
                          </a:moveTo>
                          <a:cubicBezTo>
                            <a:pt x="26" y="112"/>
                            <a:pt x="0" y="198"/>
                            <a:pt x="5" y="295"/>
                          </a:cubicBezTo>
                          <a:cubicBezTo>
                            <a:pt x="8" y="348"/>
                            <a:pt x="4" y="406"/>
                            <a:pt x="9" y="460"/>
                          </a:cubicBezTo>
                          <a:cubicBezTo>
                            <a:pt x="13" y="505"/>
                            <a:pt x="31" y="551"/>
                            <a:pt x="18" y="598"/>
                          </a:cubicBezTo>
                          <a:cubicBezTo>
                            <a:pt x="81" y="529"/>
                            <a:pt x="65" y="399"/>
                            <a:pt x="64" y="309"/>
                          </a:cubicBezTo>
                          <a:cubicBezTo>
                            <a:pt x="63" y="204"/>
                            <a:pt x="15" y="103"/>
                            <a:pt x="26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4" name="Freeform 130"/>
                    <p:cNvSpPr>
                      <a:spLocks/>
                    </p:cNvSpPr>
                    <p:nvPr/>
                  </p:nvSpPr>
                  <p:spPr bwMode="gray">
                    <a:xfrm>
                      <a:off x="708025" y="-8191500"/>
                      <a:ext cx="501650" cy="3529013"/>
                    </a:xfrm>
                    <a:custGeom>
                      <a:avLst/>
                      <a:gdLst/>
                      <a:ahLst/>
                      <a:cxnLst>
                        <a:cxn ang="0">
                          <a:pos x="134" y="67"/>
                        </a:cxn>
                        <a:cxn ang="0">
                          <a:pos x="0" y="182"/>
                        </a:cxn>
                        <a:cxn ang="0">
                          <a:pos x="104" y="333"/>
                        </a:cxn>
                        <a:cxn ang="0">
                          <a:pos x="66" y="544"/>
                        </a:cxn>
                        <a:cxn ang="0">
                          <a:pos x="92" y="760"/>
                        </a:cxn>
                        <a:cxn ang="0">
                          <a:pos x="100" y="857"/>
                        </a:cxn>
                        <a:cxn ang="0">
                          <a:pos x="46" y="941"/>
                        </a:cxn>
                        <a:cxn ang="0">
                          <a:pos x="130" y="751"/>
                        </a:cxn>
                        <a:cxn ang="0">
                          <a:pos x="126" y="498"/>
                        </a:cxn>
                        <a:cxn ang="0">
                          <a:pos x="126" y="0"/>
                        </a:cxn>
                      </a:cxnLst>
                      <a:rect l="0" t="0" r="r" b="b"/>
                      <a:pathLst>
                        <a:path w="134" h="941">
                          <a:moveTo>
                            <a:pt x="134" y="67"/>
                          </a:moveTo>
                          <a:cubicBezTo>
                            <a:pt x="99" y="118"/>
                            <a:pt x="41" y="139"/>
                            <a:pt x="0" y="182"/>
                          </a:cubicBezTo>
                          <a:cubicBezTo>
                            <a:pt x="74" y="171"/>
                            <a:pt x="105" y="277"/>
                            <a:pt x="104" y="333"/>
                          </a:cubicBezTo>
                          <a:cubicBezTo>
                            <a:pt x="104" y="412"/>
                            <a:pt x="83" y="473"/>
                            <a:pt x="66" y="544"/>
                          </a:cubicBezTo>
                          <a:cubicBezTo>
                            <a:pt x="49" y="619"/>
                            <a:pt x="82" y="689"/>
                            <a:pt x="92" y="760"/>
                          </a:cubicBezTo>
                          <a:cubicBezTo>
                            <a:pt x="96" y="789"/>
                            <a:pt x="103" y="828"/>
                            <a:pt x="100" y="857"/>
                          </a:cubicBezTo>
                          <a:cubicBezTo>
                            <a:pt x="96" y="902"/>
                            <a:pt x="66" y="902"/>
                            <a:pt x="46" y="941"/>
                          </a:cubicBezTo>
                          <a:cubicBezTo>
                            <a:pt x="123" y="926"/>
                            <a:pt x="133" y="817"/>
                            <a:pt x="130" y="751"/>
                          </a:cubicBezTo>
                          <a:cubicBezTo>
                            <a:pt x="126" y="669"/>
                            <a:pt x="126" y="582"/>
                            <a:pt x="126" y="498"/>
                          </a:cubicBezTo>
                          <a:cubicBezTo>
                            <a:pt x="126" y="332"/>
                            <a:pt x="126" y="166"/>
                            <a:pt x="126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5" name="Freeform 131"/>
                    <p:cNvSpPr>
                      <a:spLocks/>
                    </p:cNvSpPr>
                    <p:nvPr/>
                  </p:nvSpPr>
                  <p:spPr bwMode="gray">
                    <a:xfrm>
                      <a:off x="198438" y="-10363200"/>
                      <a:ext cx="1046163" cy="1816100"/>
                    </a:xfrm>
                    <a:custGeom>
                      <a:avLst/>
                      <a:gdLst/>
                      <a:ahLst/>
                      <a:cxnLst>
                        <a:cxn ang="0">
                          <a:pos x="160" y="42"/>
                        </a:cxn>
                        <a:cxn ang="0">
                          <a:pos x="98" y="97"/>
                        </a:cxn>
                        <a:cxn ang="0">
                          <a:pos x="0" y="135"/>
                        </a:cxn>
                        <a:cxn ang="0">
                          <a:pos x="113" y="136"/>
                        </a:cxn>
                        <a:cxn ang="0">
                          <a:pos x="38" y="244"/>
                        </a:cxn>
                        <a:cxn ang="0">
                          <a:pos x="152" y="244"/>
                        </a:cxn>
                        <a:cxn ang="0">
                          <a:pos x="173" y="358"/>
                        </a:cxn>
                        <a:cxn ang="0">
                          <a:pos x="106" y="430"/>
                        </a:cxn>
                        <a:cxn ang="0">
                          <a:pos x="186" y="448"/>
                        </a:cxn>
                        <a:cxn ang="0">
                          <a:pos x="207" y="477"/>
                        </a:cxn>
                        <a:cxn ang="0">
                          <a:pos x="257" y="481"/>
                        </a:cxn>
                        <a:cxn ang="0">
                          <a:pos x="236" y="233"/>
                        </a:cxn>
                        <a:cxn ang="0">
                          <a:pos x="194" y="131"/>
                        </a:cxn>
                        <a:cxn ang="0">
                          <a:pos x="173" y="0"/>
                        </a:cxn>
                      </a:cxnLst>
                      <a:rect l="0" t="0" r="r" b="b"/>
                      <a:pathLst>
                        <a:path w="279" h="484">
                          <a:moveTo>
                            <a:pt x="160" y="42"/>
                          </a:moveTo>
                          <a:cubicBezTo>
                            <a:pt x="137" y="59"/>
                            <a:pt x="123" y="82"/>
                            <a:pt x="98" y="97"/>
                          </a:cubicBezTo>
                          <a:cubicBezTo>
                            <a:pt x="67" y="115"/>
                            <a:pt x="23" y="110"/>
                            <a:pt x="0" y="135"/>
                          </a:cubicBezTo>
                          <a:cubicBezTo>
                            <a:pt x="27" y="146"/>
                            <a:pt x="84" y="151"/>
                            <a:pt x="113" y="136"/>
                          </a:cubicBezTo>
                          <a:cubicBezTo>
                            <a:pt x="109" y="175"/>
                            <a:pt x="67" y="217"/>
                            <a:pt x="38" y="244"/>
                          </a:cubicBezTo>
                          <a:cubicBezTo>
                            <a:pt x="71" y="268"/>
                            <a:pt x="117" y="259"/>
                            <a:pt x="152" y="244"/>
                          </a:cubicBezTo>
                          <a:cubicBezTo>
                            <a:pt x="168" y="277"/>
                            <a:pt x="184" y="320"/>
                            <a:pt x="173" y="358"/>
                          </a:cubicBezTo>
                          <a:cubicBezTo>
                            <a:pt x="163" y="391"/>
                            <a:pt x="129" y="404"/>
                            <a:pt x="106" y="430"/>
                          </a:cubicBezTo>
                          <a:cubicBezTo>
                            <a:pt x="142" y="433"/>
                            <a:pt x="162" y="428"/>
                            <a:pt x="186" y="448"/>
                          </a:cubicBezTo>
                          <a:cubicBezTo>
                            <a:pt x="197" y="457"/>
                            <a:pt x="188" y="467"/>
                            <a:pt x="207" y="477"/>
                          </a:cubicBezTo>
                          <a:cubicBezTo>
                            <a:pt x="220" y="484"/>
                            <a:pt x="242" y="483"/>
                            <a:pt x="257" y="481"/>
                          </a:cubicBezTo>
                          <a:cubicBezTo>
                            <a:pt x="279" y="401"/>
                            <a:pt x="265" y="309"/>
                            <a:pt x="236" y="233"/>
                          </a:cubicBezTo>
                          <a:cubicBezTo>
                            <a:pt x="223" y="198"/>
                            <a:pt x="203" y="165"/>
                            <a:pt x="194" y="131"/>
                          </a:cubicBezTo>
                          <a:cubicBezTo>
                            <a:pt x="183" y="88"/>
                            <a:pt x="190" y="41"/>
                            <a:pt x="173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6" name="Freeform 132"/>
                    <p:cNvSpPr>
                      <a:spLocks/>
                    </p:cNvSpPr>
                    <p:nvPr/>
                  </p:nvSpPr>
                  <p:spPr bwMode="gray">
                    <a:xfrm>
                      <a:off x="-1928813" y="-10028237"/>
                      <a:ext cx="690563" cy="1974850"/>
                    </a:xfrm>
                    <a:custGeom>
                      <a:avLst/>
                      <a:gdLst/>
                      <a:ahLst/>
                      <a:cxnLst>
                        <a:cxn ang="0">
                          <a:pos x="153" y="21"/>
                        </a:cxn>
                        <a:cxn ang="0">
                          <a:pos x="149" y="307"/>
                        </a:cxn>
                        <a:cxn ang="0">
                          <a:pos x="148" y="423"/>
                        </a:cxn>
                        <a:cxn ang="0">
                          <a:pos x="173" y="527"/>
                        </a:cxn>
                        <a:cxn ang="0">
                          <a:pos x="127" y="334"/>
                        </a:cxn>
                        <a:cxn ang="0">
                          <a:pos x="0" y="219"/>
                        </a:cxn>
                        <a:cxn ang="0">
                          <a:pos x="111" y="219"/>
                        </a:cxn>
                        <a:cxn ang="0">
                          <a:pos x="128" y="159"/>
                        </a:cxn>
                        <a:cxn ang="0">
                          <a:pos x="76" y="118"/>
                        </a:cxn>
                        <a:cxn ang="0">
                          <a:pos x="146" y="89"/>
                        </a:cxn>
                        <a:cxn ang="0">
                          <a:pos x="166" y="0"/>
                        </a:cxn>
                      </a:cxnLst>
                      <a:rect l="0" t="0" r="r" b="b"/>
                      <a:pathLst>
                        <a:path w="184" h="527">
                          <a:moveTo>
                            <a:pt x="153" y="21"/>
                          </a:moveTo>
                          <a:cubicBezTo>
                            <a:pt x="184" y="90"/>
                            <a:pt x="153" y="230"/>
                            <a:pt x="149" y="307"/>
                          </a:cubicBezTo>
                          <a:cubicBezTo>
                            <a:pt x="147" y="346"/>
                            <a:pt x="141" y="385"/>
                            <a:pt x="148" y="423"/>
                          </a:cubicBezTo>
                          <a:cubicBezTo>
                            <a:pt x="156" y="460"/>
                            <a:pt x="180" y="487"/>
                            <a:pt x="173" y="527"/>
                          </a:cubicBezTo>
                          <a:cubicBezTo>
                            <a:pt x="136" y="491"/>
                            <a:pt x="143" y="384"/>
                            <a:pt x="127" y="334"/>
                          </a:cubicBezTo>
                          <a:cubicBezTo>
                            <a:pt x="112" y="284"/>
                            <a:pt x="51" y="241"/>
                            <a:pt x="0" y="219"/>
                          </a:cubicBezTo>
                          <a:cubicBezTo>
                            <a:pt x="34" y="218"/>
                            <a:pt x="84" y="248"/>
                            <a:pt x="111" y="219"/>
                          </a:cubicBezTo>
                          <a:cubicBezTo>
                            <a:pt x="121" y="208"/>
                            <a:pt x="131" y="174"/>
                            <a:pt x="128" y="159"/>
                          </a:cubicBezTo>
                          <a:cubicBezTo>
                            <a:pt x="120" y="128"/>
                            <a:pt x="97" y="140"/>
                            <a:pt x="76" y="118"/>
                          </a:cubicBezTo>
                          <a:cubicBezTo>
                            <a:pt x="93" y="93"/>
                            <a:pt x="125" y="108"/>
                            <a:pt x="146" y="89"/>
                          </a:cubicBezTo>
                          <a:cubicBezTo>
                            <a:pt x="165" y="70"/>
                            <a:pt x="168" y="25"/>
                            <a:pt x="166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7" name="Freeform 133"/>
                    <p:cNvSpPr>
                      <a:spLocks/>
                    </p:cNvSpPr>
                    <p:nvPr/>
                  </p:nvSpPr>
                  <p:spPr bwMode="gray">
                    <a:xfrm>
                      <a:off x="-3011488" y="-10186987"/>
                      <a:ext cx="482600" cy="506413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0"/>
                        </a:cxn>
                        <a:cxn ang="0">
                          <a:pos x="129" y="34"/>
                        </a:cxn>
                        <a:cxn ang="0">
                          <a:pos x="67" y="59"/>
                        </a:cxn>
                        <a:cxn ang="0">
                          <a:pos x="101" y="105"/>
                        </a:cxn>
                        <a:cxn ang="0">
                          <a:pos x="8" y="130"/>
                        </a:cxn>
                        <a:cxn ang="0">
                          <a:pos x="49" y="4"/>
                        </a:cxn>
                      </a:cxnLst>
                      <a:rect l="0" t="0" r="r" b="b"/>
                      <a:pathLst>
                        <a:path w="129" h="135">
                          <a:moveTo>
                            <a:pt x="53" y="0"/>
                          </a:moveTo>
                          <a:cubicBezTo>
                            <a:pt x="72" y="15"/>
                            <a:pt x="106" y="33"/>
                            <a:pt x="129" y="34"/>
                          </a:cubicBezTo>
                          <a:cubicBezTo>
                            <a:pt x="125" y="56"/>
                            <a:pt x="88" y="55"/>
                            <a:pt x="67" y="59"/>
                          </a:cubicBezTo>
                          <a:cubicBezTo>
                            <a:pt x="59" y="85"/>
                            <a:pt x="72" y="107"/>
                            <a:pt x="101" y="105"/>
                          </a:cubicBezTo>
                          <a:cubicBezTo>
                            <a:pt x="76" y="109"/>
                            <a:pt x="36" y="135"/>
                            <a:pt x="8" y="130"/>
                          </a:cubicBezTo>
                          <a:cubicBezTo>
                            <a:pt x="0" y="92"/>
                            <a:pt x="19" y="27"/>
                            <a:pt x="49" y="4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8" name="Freeform 134"/>
                    <p:cNvSpPr>
                      <a:spLocks/>
                    </p:cNvSpPr>
                    <p:nvPr/>
                  </p:nvSpPr>
                  <p:spPr bwMode="gray">
                    <a:xfrm>
                      <a:off x="-668338" y="-1020762"/>
                      <a:ext cx="517525" cy="1327150"/>
                    </a:xfrm>
                    <a:custGeom>
                      <a:avLst/>
                      <a:gdLst/>
                      <a:ahLst/>
                      <a:cxnLst>
                        <a:cxn ang="0">
                          <a:pos x="113" y="220"/>
                        </a:cxn>
                        <a:cxn ang="0">
                          <a:pos x="83" y="0"/>
                        </a:cxn>
                        <a:cxn ang="0">
                          <a:pos x="29" y="190"/>
                        </a:cxn>
                        <a:cxn ang="0">
                          <a:pos x="20" y="250"/>
                        </a:cxn>
                        <a:cxn ang="0">
                          <a:pos x="27" y="300"/>
                        </a:cxn>
                        <a:cxn ang="0">
                          <a:pos x="8" y="305"/>
                        </a:cxn>
                        <a:cxn ang="0">
                          <a:pos x="112" y="351"/>
                        </a:cxn>
                        <a:cxn ang="0">
                          <a:pos x="121" y="203"/>
                        </a:cxn>
                      </a:cxnLst>
                      <a:rect l="0" t="0" r="r" b="b"/>
                      <a:pathLst>
                        <a:path w="138" h="354">
                          <a:moveTo>
                            <a:pt x="113" y="220"/>
                          </a:moveTo>
                          <a:cubicBezTo>
                            <a:pt x="84" y="153"/>
                            <a:pt x="83" y="76"/>
                            <a:pt x="83" y="0"/>
                          </a:cubicBezTo>
                          <a:cubicBezTo>
                            <a:pt x="71" y="48"/>
                            <a:pt x="22" y="132"/>
                            <a:pt x="29" y="190"/>
                          </a:cubicBezTo>
                          <a:cubicBezTo>
                            <a:pt x="67" y="202"/>
                            <a:pt x="68" y="259"/>
                            <a:pt x="20" y="250"/>
                          </a:cubicBezTo>
                          <a:cubicBezTo>
                            <a:pt x="18" y="269"/>
                            <a:pt x="25" y="283"/>
                            <a:pt x="27" y="300"/>
                          </a:cubicBezTo>
                          <a:cubicBezTo>
                            <a:pt x="20" y="301"/>
                            <a:pt x="16" y="305"/>
                            <a:pt x="8" y="305"/>
                          </a:cubicBezTo>
                          <a:cubicBezTo>
                            <a:pt x="0" y="345"/>
                            <a:pt x="83" y="354"/>
                            <a:pt x="112" y="351"/>
                          </a:cubicBezTo>
                          <a:cubicBezTo>
                            <a:pt x="114" y="306"/>
                            <a:pt x="138" y="244"/>
                            <a:pt x="121" y="203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19" name="Freeform 135"/>
                    <p:cNvSpPr>
                      <a:spLocks/>
                    </p:cNvSpPr>
                    <p:nvPr/>
                  </p:nvSpPr>
                  <p:spPr bwMode="gray">
                    <a:xfrm>
                      <a:off x="-604838" y="-2014537"/>
                      <a:ext cx="479425" cy="1439863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"/>
                        </a:cxn>
                        <a:cxn ang="0">
                          <a:pos x="44" y="237"/>
                        </a:cxn>
                        <a:cxn ang="0">
                          <a:pos x="104" y="313"/>
                        </a:cxn>
                        <a:cxn ang="0">
                          <a:pos x="87" y="122"/>
                        </a:cxn>
                        <a:cxn ang="0">
                          <a:pos x="28" y="0"/>
                        </a:cxn>
                      </a:cxnLst>
                      <a:rect l="0" t="0" r="r" b="b"/>
                      <a:pathLst>
                        <a:path w="128" h="384">
                          <a:moveTo>
                            <a:pt x="24" y="4"/>
                          </a:moveTo>
                          <a:cubicBezTo>
                            <a:pt x="0" y="68"/>
                            <a:pt x="31" y="173"/>
                            <a:pt x="44" y="237"/>
                          </a:cubicBezTo>
                          <a:cubicBezTo>
                            <a:pt x="49" y="263"/>
                            <a:pt x="60" y="384"/>
                            <a:pt x="104" y="313"/>
                          </a:cubicBezTo>
                          <a:cubicBezTo>
                            <a:pt x="128" y="274"/>
                            <a:pt x="104" y="160"/>
                            <a:pt x="87" y="122"/>
                          </a:cubicBezTo>
                          <a:cubicBezTo>
                            <a:pt x="67" y="76"/>
                            <a:pt x="36" y="50"/>
                            <a:pt x="28" y="0"/>
                          </a:cubicBezTo>
                        </a:path>
                      </a:pathLst>
                    </a:custGeom>
                    <a:solidFill>
                      <a:srgbClr val="3B3E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0" name="Freeform 136"/>
                    <p:cNvSpPr>
                      <a:spLocks/>
                    </p:cNvSpPr>
                    <p:nvPr/>
                  </p:nvSpPr>
                  <p:spPr bwMode="gray">
                    <a:xfrm>
                      <a:off x="-2559050" y="-12211050"/>
                      <a:ext cx="1046163" cy="311150"/>
                    </a:xfrm>
                    <a:custGeom>
                      <a:avLst/>
                      <a:gdLst/>
                      <a:ahLst/>
                      <a:cxnLst>
                        <a:cxn ang="0">
                          <a:pos x="258" y="20"/>
                        </a:cxn>
                        <a:cxn ang="0">
                          <a:pos x="110" y="7"/>
                        </a:cxn>
                        <a:cxn ang="0">
                          <a:pos x="0" y="83"/>
                        </a:cxn>
                        <a:cxn ang="0">
                          <a:pos x="122" y="41"/>
                        </a:cxn>
                        <a:cxn ang="0">
                          <a:pos x="279" y="20"/>
                        </a:cxn>
                      </a:cxnLst>
                      <a:rect l="0" t="0" r="r" b="b"/>
                      <a:pathLst>
                        <a:path w="279" h="83">
                          <a:moveTo>
                            <a:pt x="258" y="20"/>
                          </a:moveTo>
                          <a:cubicBezTo>
                            <a:pt x="206" y="20"/>
                            <a:pt x="162" y="0"/>
                            <a:pt x="110" y="7"/>
                          </a:cubicBezTo>
                          <a:cubicBezTo>
                            <a:pt x="77" y="12"/>
                            <a:pt x="7" y="47"/>
                            <a:pt x="0" y="83"/>
                          </a:cubicBezTo>
                          <a:cubicBezTo>
                            <a:pt x="44" y="75"/>
                            <a:pt x="78" y="45"/>
                            <a:pt x="122" y="41"/>
                          </a:cubicBezTo>
                          <a:cubicBezTo>
                            <a:pt x="168" y="37"/>
                            <a:pt x="243" y="51"/>
                            <a:pt x="279" y="20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1" name="Freeform 137"/>
                    <p:cNvSpPr>
                      <a:spLocks/>
                    </p:cNvSpPr>
                    <p:nvPr/>
                  </p:nvSpPr>
                  <p:spPr bwMode="gray">
                    <a:xfrm>
                      <a:off x="-3270250" y="-12414250"/>
                      <a:ext cx="600075" cy="454025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16"/>
                        </a:cxn>
                        <a:cxn ang="0">
                          <a:pos x="160" y="0"/>
                        </a:cxn>
                        <a:cxn ang="0">
                          <a:pos x="0" y="121"/>
                        </a:cxn>
                      </a:cxnLst>
                      <a:rect l="0" t="0" r="r" b="b"/>
                      <a:pathLst>
                        <a:path w="160" h="121">
                          <a:moveTo>
                            <a:pt x="4" y="116"/>
                          </a:moveTo>
                          <a:cubicBezTo>
                            <a:pt x="36" y="75"/>
                            <a:pt x="109" y="19"/>
                            <a:pt x="160" y="0"/>
                          </a:cubicBezTo>
                          <a:cubicBezTo>
                            <a:pt x="136" y="36"/>
                            <a:pt x="44" y="115"/>
                            <a:pt x="0" y="121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2" name="Freeform 138"/>
                    <p:cNvSpPr>
                      <a:spLocks/>
                    </p:cNvSpPr>
                    <p:nvPr/>
                  </p:nvSpPr>
                  <p:spPr bwMode="gray">
                    <a:xfrm>
                      <a:off x="-3713163" y="-13385800"/>
                      <a:ext cx="944563" cy="746125"/>
                    </a:xfrm>
                    <a:custGeom>
                      <a:avLst/>
                      <a:gdLst/>
                      <a:ahLst/>
                      <a:cxnLst>
                        <a:cxn ang="0">
                          <a:pos x="207" y="101"/>
                        </a:cxn>
                        <a:cxn ang="0">
                          <a:pos x="30" y="0"/>
                        </a:cxn>
                        <a:cxn ang="0">
                          <a:pos x="101" y="114"/>
                        </a:cxn>
                        <a:cxn ang="0">
                          <a:pos x="0" y="152"/>
                        </a:cxn>
                        <a:cxn ang="0">
                          <a:pos x="126" y="138"/>
                        </a:cxn>
                        <a:cxn ang="0">
                          <a:pos x="252" y="126"/>
                        </a:cxn>
                        <a:cxn ang="0">
                          <a:pos x="223" y="92"/>
                        </a:cxn>
                      </a:cxnLst>
                      <a:rect l="0" t="0" r="r" b="b"/>
                      <a:pathLst>
                        <a:path w="252" h="199">
                          <a:moveTo>
                            <a:pt x="207" y="101"/>
                          </a:moveTo>
                          <a:cubicBezTo>
                            <a:pt x="131" y="101"/>
                            <a:pt x="92" y="34"/>
                            <a:pt x="30" y="0"/>
                          </a:cubicBezTo>
                          <a:cubicBezTo>
                            <a:pt x="40" y="43"/>
                            <a:pt x="84" y="73"/>
                            <a:pt x="101" y="114"/>
                          </a:cubicBezTo>
                          <a:cubicBezTo>
                            <a:pt x="70" y="130"/>
                            <a:pt x="38" y="157"/>
                            <a:pt x="0" y="152"/>
                          </a:cubicBezTo>
                          <a:cubicBezTo>
                            <a:pt x="11" y="199"/>
                            <a:pt x="102" y="157"/>
                            <a:pt x="126" y="138"/>
                          </a:cubicBezTo>
                          <a:cubicBezTo>
                            <a:pt x="175" y="100"/>
                            <a:pt x="199" y="115"/>
                            <a:pt x="252" y="126"/>
                          </a:cubicBezTo>
                          <a:cubicBezTo>
                            <a:pt x="250" y="111"/>
                            <a:pt x="236" y="100"/>
                            <a:pt x="223" y="92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3" name="Freeform 139"/>
                    <p:cNvSpPr>
                      <a:spLocks/>
                    </p:cNvSpPr>
                    <p:nvPr/>
                  </p:nvSpPr>
                  <p:spPr bwMode="gray">
                    <a:xfrm>
                      <a:off x="-3349625" y="-15114587"/>
                      <a:ext cx="498475" cy="4953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3"/>
                        </a:cxn>
                        <a:cxn ang="0">
                          <a:pos x="126" y="126"/>
                        </a:cxn>
                        <a:cxn ang="0">
                          <a:pos x="66" y="77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133" h="132">
                          <a:moveTo>
                            <a:pt x="0" y="13"/>
                          </a:moveTo>
                          <a:cubicBezTo>
                            <a:pt x="26" y="71"/>
                            <a:pt x="52" y="132"/>
                            <a:pt x="126" y="126"/>
                          </a:cubicBezTo>
                          <a:cubicBezTo>
                            <a:pt x="133" y="95"/>
                            <a:pt x="87" y="89"/>
                            <a:pt x="66" y="77"/>
                          </a:cubicBezTo>
                          <a:cubicBezTo>
                            <a:pt x="34" y="59"/>
                            <a:pt x="12" y="43"/>
                            <a:pt x="12" y="0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4" name="Freeform 140"/>
                    <p:cNvSpPr>
                      <a:spLocks/>
                    </p:cNvSpPr>
                    <p:nvPr/>
                  </p:nvSpPr>
                  <p:spPr bwMode="gray">
                    <a:xfrm>
                      <a:off x="-3035300" y="-11566525"/>
                      <a:ext cx="304800" cy="600075"/>
                    </a:xfrm>
                    <a:custGeom>
                      <a:avLst/>
                      <a:gdLst/>
                      <a:ahLst/>
                      <a:cxnLst>
                        <a:cxn ang="0">
                          <a:pos x="72" y="55"/>
                        </a:cxn>
                        <a:cxn ang="0">
                          <a:pos x="76" y="151"/>
                        </a:cxn>
                        <a:cxn ang="0">
                          <a:pos x="4" y="80"/>
                        </a:cxn>
                        <a:cxn ang="0">
                          <a:pos x="68" y="68"/>
                        </a:cxn>
                      </a:cxnLst>
                      <a:rect l="0" t="0" r="r" b="b"/>
                      <a:pathLst>
                        <a:path w="81" h="160">
                          <a:moveTo>
                            <a:pt x="72" y="55"/>
                          </a:moveTo>
                          <a:cubicBezTo>
                            <a:pt x="61" y="108"/>
                            <a:pt x="27" y="104"/>
                            <a:pt x="76" y="151"/>
                          </a:cubicBezTo>
                          <a:cubicBezTo>
                            <a:pt x="37" y="160"/>
                            <a:pt x="0" y="117"/>
                            <a:pt x="4" y="80"/>
                          </a:cubicBezTo>
                          <a:cubicBezTo>
                            <a:pt x="10" y="31"/>
                            <a:pt x="81" y="0"/>
                            <a:pt x="68" y="68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25" name="Freeform 141"/>
                    <p:cNvSpPr>
                      <a:spLocks/>
                    </p:cNvSpPr>
                    <p:nvPr/>
                  </p:nvSpPr>
                  <p:spPr bwMode="gray">
                    <a:xfrm>
                      <a:off x="-1174750" y="-15687675"/>
                      <a:ext cx="423863" cy="173038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13"/>
                        </a:cxn>
                        <a:cxn ang="0">
                          <a:pos x="113" y="0"/>
                        </a:cxn>
                        <a:cxn ang="0">
                          <a:pos x="92" y="32"/>
                        </a:cxn>
                        <a:cxn ang="0">
                          <a:pos x="56" y="45"/>
                        </a:cxn>
                        <a:cxn ang="0">
                          <a:pos x="42" y="40"/>
                        </a:cxn>
                        <a:cxn ang="0">
                          <a:pos x="20" y="37"/>
                        </a:cxn>
                        <a:cxn ang="0">
                          <a:pos x="0" y="12"/>
                        </a:cxn>
                      </a:cxnLst>
                      <a:rect l="0" t="0" r="r" b="b"/>
                      <a:pathLst>
                        <a:path w="113" h="46">
                          <a:moveTo>
                            <a:pt x="5" y="13"/>
                          </a:moveTo>
                          <a:cubicBezTo>
                            <a:pt x="41" y="29"/>
                            <a:pt x="80" y="18"/>
                            <a:pt x="113" y="0"/>
                          </a:cubicBezTo>
                          <a:cubicBezTo>
                            <a:pt x="107" y="10"/>
                            <a:pt x="102" y="26"/>
                            <a:pt x="92" y="32"/>
                          </a:cubicBezTo>
                          <a:cubicBezTo>
                            <a:pt x="84" y="37"/>
                            <a:pt x="66" y="46"/>
                            <a:pt x="56" y="45"/>
                          </a:cubicBezTo>
                          <a:cubicBezTo>
                            <a:pt x="50" y="45"/>
                            <a:pt x="47" y="42"/>
                            <a:pt x="42" y="40"/>
                          </a:cubicBezTo>
                          <a:cubicBezTo>
                            <a:pt x="35" y="38"/>
                            <a:pt x="27" y="39"/>
                            <a:pt x="20" y="37"/>
                          </a:cubicBezTo>
                          <a:cubicBezTo>
                            <a:pt x="11" y="34"/>
                            <a:pt x="3" y="21"/>
                            <a:pt x="0" y="12"/>
                          </a:cubicBezTo>
                        </a:path>
                      </a:pathLst>
                    </a:custGeom>
                    <a:solidFill>
                      <a:srgbClr val="EAAC1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3" name="Freeform 142"/>
                    <p:cNvSpPr>
                      <a:spLocks/>
                    </p:cNvSpPr>
                    <p:nvPr/>
                  </p:nvSpPr>
                  <p:spPr bwMode="gray">
                    <a:xfrm>
                      <a:off x="-1246188" y="-11239500"/>
                      <a:ext cx="1897063" cy="614363"/>
                    </a:xfrm>
                    <a:custGeom>
                      <a:avLst/>
                      <a:gdLst/>
                      <a:ahLst/>
                      <a:cxnLst>
                        <a:cxn ang="0">
                          <a:pos x="433" y="0"/>
                        </a:cxn>
                        <a:cxn ang="0">
                          <a:pos x="331" y="121"/>
                        </a:cxn>
                        <a:cxn ang="0">
                          <a:pos x="135" y="122"/>
                        </a:cxn>
                        <a:cxn ang="0">
                          <a:pos x="17" y="73"/>
                        </a:cxn>
                        <a:cxn ang="0">
                          <a:pos x="95" y="95"/>
                        </a:cxn>
                      </a:cxnLst>
                      <a:rect l="0" t="0" r="r" b="b"/>
                      <a:pathLst>
                        <a:path w="506" h="164">
                          <a:moveTo>
                            <a:pt x="433" y="0"/>
                          </a:moveTo>
                          <a:cubicBezTo>
                            <a:pt x="506" y="50"/>
                            <a:pt x="358" y="108"/>
                            <a:pt x="331" y="121"/>
                          </a:cubicBezTo>
                          <a:cubicBezTo>
                            <a:pt x="253" y="160"/>
                            <a:pt x="212" y="126"/>
                            <a:pt x="135" y="122"/>
                          </a:cubicBezTo>
                          <a:cubicBezTo>
                            <a:pt x="91" y="119"/>
                            <a:pt x="0" y="164"/>
                            <a:pt x="17" y="73"/>
                          </a:cubicBezTo>
                          <a:cubicBezTo>
                            <a:pt x="48" y="50"/>
                            <a:pt x="76" y="69"/>
                            <a:pt x="95" y="95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4" name="Freeform 143"/>
                    <p:cNvSpPr>
                      <a:spLocks/>
                    </p:cNvSpPr>
                    <p:nvPr/>
                  </p:nvSpPr>
                  <p:spPr bwMode="gray">
                    <a:xfrm>
                      <a:off x="-825500" y="-11150600"/>
                      <a:ext cx="592138" cy="2032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4"/>
                        </a:cxn>
                        <a:cxn ang="0">
                          <a:pos x="106" y="0"/>
                        </a:cxn>
                        <a:cxn ang="0">
                          <a:pos x="90" y="42"/>
                        </a:cxn>
                        <a:cxn ang="0">
                          <a:pos x="156" y="5"/>
                        </a:cxn>
                        <a:cxn ang="0">
                          <a:pos x="158" y="25"/>
                        </a:cxn>
                      </a:cxnLst>
                      <a:rect l="0" t="0" r="r" b="b"/>
                      <a:pathLst>
                        <a:path w="158" h="54">
                          <a:moveTo>
                            <a:pt x="0" y="54"/>
                          </a:moveTo>
                          <a:cubicBezTo>
                            <a:pt x="44" y="50"/>
                            <a:pt x="68" y="17"/>
                            <a:pt x="106" y="0"/>
                          </a:cubicBezTo>
                          <a:cubicBezTo>
                            <a:pt x="100" y="16"/>
                            <a:pt x="103" y="28"/>
                            <a:pt x="90" y="42"/>
                          </a:cubicBezTo>
                          <a:cubicBezTo>
                            <a:pt x="115" y="37"/>
                            <a:pt x="136" y="19"/>
                            <a:pt x="156" y="5"/>
                          </a:cubicBezTo>
                          <a:cubicBezTo>
                            <a:pt x="157" y="11"/>
                            <a:pt x="158" y="18"/>
                            <a:pt x="158" y="25"/>
                          </a:cubicBezTo>
                        </a:path>
                      </a:pathLst>
                    </a:custGeom>
                    <a:solidFill>
                      <a:srgbClr val="C3D3D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5" name="Freeform 144"/>
                    <p:cNvSpPr>
                      <a:spLocks/>
                    </p:cNvSpPr>
                    <p:nvPr/>
                  </p:nvSpPr>
                  <p:spPr bwMode="gray">
                    <a:xfrm>
                      <a:off x="-417513" y="-19359562"/>
                      <a:ext cx="180975" cy="488950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0"/>
                        </a:cxn>
                        <a:cxn ang="0">
                          <a:pos x="21" y="30"/>
                        </a:cxn>
                        <a:cxn ang="0">
                          <a:pos x="15" y="26"/>
                        </a:cxn>
                        <a:cxn ang="0">
                          <a:pos x="6" y="53"/>
                        </a:cxn>
                        <a:cxn ang="0">
                          <a:pos x="12" y="75"/>
                        </a:cxn>
                        <a:cxn ang="0">
                          <a:pos x="4" y="72"/>
                        </a:cxn>
                        <a:cxn ang="0">
                          <a:pos x="7" y="108"/>
                        </a:cxn>
                        <a:cxn ang="0">
                          <a:pos x="3" y="105"/>
                        </a:cxn>
                        <a:cxn ang="0">
                          <a:pos x="1" y="122"/>
                        </a:cxn>
                        <a:cxn ang="0">
                          <a:pos x="16" y="130"/>
                        </a:cxn>
                        <a:cxn ang="0">
                          <a:pos x="16" y="114"/>
                        </a:cxn>
                        <a:cxn ang="0">
                          <a:pos x="26" y="121"/>
                        </a:cxn>
                        <a:cxn ang="0">
                          <a:pos x="27" y="100"/>
                        </a:cxn>
                        <a:cxn ang="0">
                          <a:pos x="34" y="105"/>
                        </a:cxn>
                        <a:cxn ang="0">
                          <a:pos x="34" y="69"/>
                        </a:cxn>
                        <a:cxn ang="0">
                          <a:pos x="48" y="78"/>
                        </a:cxn>
                        <a:cxn ang="0">
                          <a:pos x="39" y="48"/>
                        </a:cxn>
                        <a:cxn ang="0">
                          <a:pos x="37" y="23"/>
                        </a:cxn>
                        <a:cxn ang="0">
                          <a:pos x="42" y="23"/>
                        </a:cxn>
                        <a:cxn ang="0">
                          <a:pos x="40" y="13"/>
                        </a:cxn>
                        <a:cxn ang="0">
                          <a:pos x="33" y="8"/>
                        </a:cxn>
                        <a:cxn ang="0">
                          <a:pos x="12" y="0"/>
                        </a:cxn>
                      </a:cxnLst>
                      <a:rect l="0" t="0" r="r" b="b"/>
                      <a:pathLst>
                        <a:path w="48" h="130">
                          <a:moveTo>
                            <a:pt x="12" y="0"/>
                          </a:moveTo>
                          <a:cubicBezTo>
                            <a:pt x="22" y="7"/>
                            <a:pt x="21" y="18"/>
                            <a:pt x="21" y="30"/>
                          </a:cubicBezTo>
                          <a:cubicBezTo>
                            <a:pt x="19" y="29"/>
                            <a:pt x="17" y="28"/>
                            <a:pt x="15" y="26"/>
                          </a:cubicBezTo>
                          <a:cubicBezTo>
                            <a:pt x="14" y="30"/>
                            <a:pt x="20" y="66"/>
                            <a:pt x="6" y="53"/>
                          </a:cubicBezTo>
                          <a:cubicBezTo>
                            <a:pt x="6" y="61"/>
                            <a:pt x="8" y="68"/>
                            <a:pt x="12" y="75"/>
                          </a:cubicBezTo>
                          <a:cubicBezTo>
                            <a:pt x="9" y="76"/>
                            <a:pt x="7" y="74"/>
                            <a:pt x="4" y="72"/>
                          </a:cubicBezTo>
                          <a:cubicBezTo>
                            <a:pt x="3" y="84"/>
                            <a:pt x="5" y="97"/>
                            <a:pt x="7" y="108"/>
                          </a:cubicBezTo>
                          <a:cubicBezTo>
                            <a:pt x="6" y="107"/>
                            <a:pt x="5" y="107"/>
                            <a:pt x="3" y="105"/>
                          </a:cubicBezTo>
                          <a:cubicBezTo>
                            <a:pt x="3" y="113"/>
                            <a:pt x="0" y="115"/>
                            <a:pt x="1" y="122"/>
                          </a:cubicBezTo>
                          <a:cubicBezTo>
                            <a:pt x="5" y="124"/>
                            <a:pt x="11" y="127"/>
                            <a:pt x="16" y="130"/>
                          </a:cubicBezTo>
                          <a:cubicBezTo>
                            <a:pt x="16" y="125"/>
                            <a:pt x="16" y="120"/>
                            <a:pt x="16" y="114"/>
                          </a:cubicBezTo>
                          <a:cubicBezTo>
                            <a:pt x="19" y="116"/>
                            <a:pt x="22" y="119"/>
                            <a:pt x="26" y="121"/>
                          </a:cubicBezTo>
                          <a:cubicBezTo>
                            <a:pt x="26" y="114"/>
                            <a:pt x="27" y="107"/>
                            <a:pt x="27" y="100"/>
                          </a:cubicBezTo>
                          <a:cubicBezTo>
                            <a:pt x="30" y="101"/>
                            <a:pt x="32" y="103"/>
                            <a:pt x="34" y="105"/>
                          </a:cubicBezTo>
                          <a:cubicBezTo>
                            <a:pt x="39" y="97"/>
                            <a:pt x="35" y="78"/>
                            <a:pt x="34" y="69"/>
                          </a:cubicBezTo>
                          <a:cubicBezTo>
                            <a:pt x="35" y="73"/>
                            <a:pt x="44" y="76"/>
                            <a:pt x="48" y="78"/>
                          </a:cubicBezTo>
                          <a:cubicBezTo>
                            <a:pt x="48" y="68"/>
                            <a:pt x="40" y="59"/>
                            <a:pt x="39" y="48"/>
                          </a:cubicBezTo>
                          <a:cubicBezTo>
                            <a:pt x="46" y="47"/>
                            <a:pt x="38" y="28"/>
                            <a:pt x="37" y="23"/>
                          </a:cubicBezTo>
                          <a:cubicBezTo>
                            <a:pt x="38" y="23"/>
                            <a:pt x="40" y="23"/>
                            <a:pt x="42" y="23"/>
                          </a:cubicBezTo>
                          <a:cubicBezTo>
                            <a:pt x="42" y="23"/>
                            <a:pt x="40" y="14"/>
                            <a:pt x="40" y="13"/>
                          </a:cubicBezTo>
                          <a:cubicBezTo>
                            <a:pt x="38" y="11"/>
                            <a:pt x="36" y="9"/>
                            <a:pt x="33" y="8"/>
                          </a:cubicBezTo>
                          <a:cubicBezTo>
                            <a:pt x="28" y="5"/>
                            <a:pt x="17" y="1"/>
                            <a:pt x="12" y="0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6" name="Freeform 145"/>
                    <p:cNvSpPr>
                      <a:spLocks/>
                    </p:cNvSpPr>
                    <p:nvPr/>
                  </p:nvSpPr>
                  <p:spPr bwMode="gray">
                    <a:xfrm>
                      <a:off x="-95250" y="-19073812"/>
                      <a:ext cx="184150" cy="1450975"/>
                    </a:xfrm>
                    <a:custGeom>
                      <a:avLst/>
                      <a:gdLst/>
                      <a:ahLst/>
                      <a:cxnLst>
                        <a:cxn ang="0">
                          <a:pos x="1" y="0"/>
                        </a:cxn>
                        <a:cxn ang="0">
                          <a:pos x="9" y="38"/>
                        </a:cxn>
                        <a:cxn ang="0">
                          <a:pos x="22" y="74"/>
                        </a:cxn>
                        <a:cxn ang="0">
                          <a:pos x="32" y="176"/>
                        </a:cxn>
                        <a:cxn ang="0">
                          <a:pos x="26" y="162"/>
                        </a:cxn>
                        <a:cxn ang="0">
                          <a:pos x="25" y="188"/>
                        </a:cxn>
                        <a:cxn ang="0">
                          <a:pos x="25" y="222"/>
                        </a:cxn>
                        <a:cxn ang="0">
                          <a:pos x="15" y="250"/>
                        </a:cxn>
                        <a:cxn ang="0">
                          <a:pos x="19" y="273"/>
                        </a:cxn>
                        <a:cxn ang="0">
                          <a:pos x="14" y="252"/>
                        </a:cxn>
                        <a:cxn ang="0">
                          <a:pos x="11" y="328"/>
                        </a:cxn>
                        <a:cxn ang="0">
                          <a:pos x="8" y="362"/>
                        </a:cxn>
                        <a:cxn ang="0">
                          <a:pos x="2" y="387"/>
                        </a:cxn>
                        <a:cxn ang="0">
                          <a:pos x="21" y="363"/>
                        </a:cxn>
                        <a:cxn ang="0">
                          <a:pos x="31" y="328"/>
                        </a:cxn>
                        <a:cxn ang="0">
                          <a:pos x="34" y="285"/>
                        </a:cxn>
                        <a:cxn ang="0">
                          <a:pos x="38" y="241"/>
                        </a:cxn>
                        <a:cxn ang="0">
                          <a:pos x="45" y="196"/>
                        </a:cxn>
                        <a:cxn ang="0">
                          <a:pos x="46" y="157"/>
                        </a:cxn>
                        <a:cxn ang="0">
                          <a:pos x="43" y="117"/>
                        </a:cxn>
                        <a:cxn ang="0">
                          <a:pos x="36" y="81"/>
                        </a:cxn>
                        <a:cxn ang="0">
                          <a:pos x="1" y="0"/>
                        </a:cxn>
                      </a:cxnLst>
                      <a:rect l="0" t="0" r="r" b="b"/>
                      <a:pathLst>
                        <a:path w="49" h="387">
                          <a:moveTo>
                            <a:pt x="1" y="0"/>
                          </a:moveTo>
                          <a:cubicBezTo>
                            <a:pt x="0" y="12"/>
                            <a:pt x="8" y="27"/>
                            <a:pt x="9" y="38"/>
                          </a:cubicBezTo>
                          <a:cubicBezTo>
                            <a:pt x="11" y="50"/>
                            <a:pt x="18" y="62"/>
                            <a:pt x="22" y="74"/>
                          </a:cubicBezTo>
                          <a:cubicBezTo>
                            <a:pt x="33" y="104"/>
                            <a:pt x="38" y="143"/>
                            <a:pt x="32" y="176"/>
                          </a:cubicBezTo>
                          <a:cubicBezTo>
                            <a:pt x="31" y="171"/>
                            <a:pt x="26" y="168"/>
                            <a:pt x="26" y="162"/>
                          </a:cubicBezTo>
                          <a:cubicBezTo>
                            <a:pt x="27" y="171"/>
                            <a:pt x="25" y="180"/>
                            <a:pt x="25" y="188"/>
                          </a:cubicBezTo>
                          <a:cubicBezTo>
                            <a:pt x="25" y="199"/>
                            <a:pt x="27" y="212"/>
                            <a:pt x="25" y="222"/>
                          </a:cubicBezTo>
                          <a:cubicBezTo>
                            <a:pt x="23" y="231"/>
                            <a:pt x="16" y="241"/>
                            <a:pt x="15" y="250"/>
                          </a:cubicBezTo>
                          <a:cubicBezTo>
                            <a:pt x="14" y="258"/>
                            <a:pt x="17" y="266"/>
                            <a:pt x="19" y="273"/>
                          </a:cubicBezTo>
                          <a:cubicBezTo>
                            <a:pt x="19" y="267"/>
                            <a:pt x="16" y="258"/>
                            <a:pt x="14" y="252"/>
                          </a:cubicBezTo>
                          <a:cubicBezTo>
                            <a:pt x="2" y="276"/>
                            <a:pt x="11" y="303"/>
                            <a:pt x="11" y="328"/>
                          </a:cubicBezTo>
                          <a:cubicBezTo>
                            <a:pt x="11" y="340"/>
                            <a:pt x="10" y="351"/>
                            <a:pt x="8" y="362"/>
                          </a:cubicBezTo>
                          <a:cubicBezTo>
                            <a:pt x="7" y="370"/>
                            <a:pt x="6" y="380"/>
                            <a:pt x="2" y="387"/>
                          </a:cubicBezTo>
                          <a:cubicBezTo>
                            <a:pt x="7" y="378"/>
                            <a:pt x="17" y="373"/>
                            <a:pt x="21" y="363"/>
                          </a:cubicBezTo>
                          <a:cubicBezTo>
                            <a:pt x="26" y="351"/>
                            <a:pt x="29" y="340"/>
                            <a:pt x="31" y="328"/>
                          </a:cubicBezTo>
                          <a:cubicBezTo>
                            <a:pt x="33" y="314"/>
                            <a:pt x="32" y="299"/>
                            <a:pt x="34" y="285"/>
                          </a:cubicBezTo>
                          <a:cubicBezTo>
                            <a:pt x="35" y="270"/>
                            <a:pt x="38" y="256"/>
                            <a:pt x="38" y="241"/>
                          </a:cubicBezTo>
                          <a:cubicBezTo>
                            <a:pt x="39" y="226"/>
                            <a:pt x="41" y="210"/>
                            <a:pt x="45" y="196"/>
                          </a:cubicBezTo>
                          <a:cubicBezTo>
                            <a:pt x="49" y="182"/>
                            <a:pt x="46" y="172"/>
                            <a:pt x="46" y="157"/>
                          </a:cubicBezTo>
                          <a:cubicBezTo>
                            <a:pt x="46" y="143"/>
                            <a:pt x="46" y="131"/>
                            <a:pt x="43" y="117"/>
                          </a:cubicBezTo>
                          <a:cubicBezTo>
                            <a:pt x="42" y="106"/>
                            <a:pt x="40" y="92"/>
                            <a:pt x="36" y="81"/>
                          </a:cubicBezTo>
                          <a:cubicBezTo>
                            <a:pt x="30" y="67"/>
                            <a:pt x="9" y="10"/>
                            <a:pt x="1" y="0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7" name="Freeform 146"/>
                    <p:cNvSpPr>
                      <a:spLocks/>
                    </p:cNvSpPr>
                    <p:nvPr/>
                  </p:nvSpPr>
                  <p:spPr bwMode="gray">
                    <a:xfrm>
                      <a:off x="-2160588" y="-18788062"/>
                      <a:ext cx="220663" cy="557213"/>
                    </a:xfrm>
                    <a:custGeom>
                      <a:avLst/>
                      <a:gdLst/>
                      <a:ahLst/>
                      <a:cxnLst>
                        <a:cxn ang="0">
                          <a:pos x="59" y="142"/>
                        </a:cxn>
                        <a:cxn ang="0">
                          <a:pos x="50" y="113"/>
                        </a:cxn>
                        <a:cxn ang="0">
                          <a:pos x="54" y="79"/>
                        </a:cxn>
                        <a:cxn ang="0">
                          <a:pos x="39" y="97"/>
                        </a:cxn>
                        <a:cxn ang="0">
                          <a:pos x="38" y="63"/>
                        </a:cxn>
                        <a:cxn ang="0">
                          <a:pos x="18" y="73"/>
                        </a:cxn>
                        <a:cxn ang="0">
                          <a:pos x="21" y="0"/>
                        </a:cxn>
                        <a:cxn ang="0">
                          <a:pos x="2" y="34"/>
                        </a:cxn>
                        <a:cxn ang="0">
                          <a:pos x="1" y="72"/>
                        </a:cxn>
                        <a:cxn ang="0">
                          <a:pos x="14" y="106"/>
                        </a:cxn>
                        <a:cxn ang="0">
                          <a:pos x="22" y="122"/>
                        </a:cxn>
                        <a:cxn ang="0">
                          <a:pos x="29" y="140"/>
                        </a:cxn>
                        <a:cxn ang="0">
                          <a:pos x="38" y="147"/>
                        </a:cxn>
                        <a:cxn ang="0">
                          <a:pos x="38" y="149"/>
                        </a:cxn>
                        <a:cxn ang="0">
                          <a:pos x="49" y="144"/>
                        </a:cxn>
                        <a:cxn ang="0">
                          <a:pos x="59" y="142"/>
                        </a:cxn>
                      </a:cxnLst>
                      <a:rect l="0" t="0" r="r" b="b"/>
                      <a:pathLst>
                        <a:path w="59" h="149">
                          <a:moveTo>
                            <a:pt x="59" y="142"/>
                          </a:moveTo>
                          <a:cubicBezTo>
                            <a:pt x="57" y="132"/>
                            <a:pt x="50" y="124"/>
                            <a:pt x="50" y="113"/>
                          </a:cubicBezTo>
                          <a:cubicBezTo>
                            <a:pt x="49" y="101"/>
                            <a:pt x="52" y="90"/>
                            <a:pt x="54" y="79"/>
                          </a:cubicBezTo>
                          <a:cubicBezTo>
                            <a:pt x="46" y="78"/>
                            <a:pt x="38" y="90"/>
                            <a:pt x="39" y="97"/>
                          </a:cubicBezTo>
                          <a:cubicBezTo>
                            <a:pt x="34" y="86"/>
                            <a:pt x="31" y="73"/>
                            <a:pt x="38" y="63"/>
                          </a:cubicBezTo>
                          <a:cubicBezTo>
                            <a:pt x="29" y="59"/>
                            <a:pt x="23" y="68"/>
                            <a:pt x="18" y="73"/>
                          </a:cubicBezTo>
                          <a:cubicBezTo>
                            <a:pt x="11" y="49"/>
                            <a:pt x="16" y="24"/>
                            <a:pt x="21" y="0"/>
                          </a:cubicBezTo>
                          <a:cubicBezTo>
                            <a:pt x="9" y="4"/>
                            <a:pt x="3" y="23"/>
                            <a:pt x="2" y="34"/>
                          </a:cubicBezTo>
                          <a:cubicBezTo>
                            <a:pt x="1" y="46"/>
                            <a:pt x="0" y="61"/>
                            <a:pt x="1" y="72"/>
                          </a:cubicBezTo>
                          <a:cubicBezTo>
                            <a:pt x="3" y="85"/>
                            <a:pt x="7" y="95"/>
                            <a:pt x="14" y="106"/>
                          </a:cubicBezTo>
                          <a:cubicBezTo>
                            <a:pt x="17" y="111"/>
                            <a:pt x="20" y="117"/>
                            <a:pt x="22" y="122"/>
                          </a:cubicBezTo>
                          <a:cubicBezTo>
                            <a:pt x="25" y="127"/>
                            <a:pt x="26" y="135"/>
                            <a:pt x="29" y="140"/>
                          </a:cubicBezTo>
                          <a:cubicBezTo>
                            <a:pt x="31" y="144"/>
                            <a:pt x="34" y="146"/>
                            <a:pt x="38" y="147"/>
                          </a:cubicBezTo>
                          <a:cubicBezTo>
                            <a:pt x="38" y="148"/>
                            <a:pt x="38" y="148"/>
                            <a:pt x="38" y="149"/>
                          </a:cubicBezTo>
                          <a:cubicBezTo>
                            <a:pt x="43" y="149"/>
                            <a:pt x="45" y="146"/>
                            <a:pt x="49" y="144"/>
                          </a:cubicBezTo>
                          <a:cubicBezTo>
                            <a:pt x="52" y="143"/>
                            <a:pt x="57" y="142"/>
                            <a:pt x="59" y="142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8" name="Freeform 147"/>
                    <p:cNvSpPr>
                      <a:spLocks/>
                    </p:cNvSpPr>
                    <p:nvPr/>
                  </p:nvSpPr>
                  <p:spPr bwMode="gray">
                    <a:xfrm>
                      <a:off x="-2044700" y="-19318287"/>
                      <a:ext cx="280988" cy="1762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8"/>
                        </a:cxn>
                        <a:cxn ang="0">
                          <a:pos x="75" y="1"/>
                        </a:cxn>
                        <a:cxn ang="0">
                          <a:pos x="58" y="18"/>
                        </a:cxn>
                        <a:cxn ang="0">
                          <a:pos x="40" y="34"/>
                        </a:cxn>
                        <a:cxn ang="0">
                          <a:pos x="0" y="38"/>
                        </a:cxn>
                      </a:cxnLst>
                      <a:rect l="0" t="0" r="r" b="b"/>
                      <a:pathLst>
                        <a:path w="75" h="47">
                          <a:moveTo>
                            <a:pt x="0" y="38"/>
                          </a:moveTo>
                          <a:cubicBezTo>
                            <a:pt x="20" y="17"/>
                            <a:pt x="45" y="0"/>
                            <a:pt x="75" y="1"/>
                          </a:cubicBezTo>
                          <a:cubicBezTo>
                            <a:pt x="75" y="7"/>
                            <a:pt x="62" y="15"/>
                            <a:pt x="58" y="18"/>
                          </a:cubicBezTo>
                          <a:cubicBezTo>
                            <a:pt x="52" y="23"/>
                            <a:pt x="46" y="28"/>
                            <a:pt x="40" y="34"/>
                          </a:cubicBezTo>
                          <a:cubicBezTo>
                            <a:pt x="27" y="47"/>
                            <a:pt x="16" y="38"/>
                            <a:pt x="0" y="38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39" name="Freeform 148"/>
                    <p:cNvSpPr>
                      <a:spLocks/>
                    </p:cNvSpPr>
                    <p:nvPr/>
                  </p:nvSpPr>
                  <p:spPr bwMode="gray">
                    <a:xfrm>
                      <a:off x="-1789113" y="-19535775"/>
                      <a:ext cx="295275" cy="11747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"/>
                        </a:cxn>
                        <a:cxn ang="0">
                          <a:pos x="39" y="16"/>
                        </a:cxn>
                        <a:cxn ang="0">
                          <a:pos x="79" y="0"/>
                        </a:cxn>
                        <a:cxn ang="0">
                          <a:pos x="55" y="14"/>
                        </a:cxn>
                        <a:cxn ang="0">
                          <a:pos x="41" y="20"/>
                        </a:cxn>
                        <a:cxn ang="0">
                          <a:pos x="13" y="29"/>
                        </a:cxn>
                        <a:cxn ang="0">
                          <a:pos x="0" y="11"/>
                        </a:cxn>
                      </a:cxnLst>
                      <a:rect l="0" t="0" r="r" b="b"/>
                      <a:pathLst>
                        <a:path w="79" h="31">
                          <a:moveTo>
                            <a:pt x="0" y="10"/>
                          </a:moveTo>
                          <a:cubicBezTo>
                            <a:pt x="5" y="19"/>
                            <a:pt x="31" y="17"/>
                            <a:pt x="39" y="16"/>
                          </a:cubicBezTo>
                          <a:cubicBezTo>
                            <a:pt x="53" y="13"/>
                            <a:pt x="66" y="4"/>
                            <a:pt x="79" y="0"/>
                          </a:cubicBezTo>
                          <a:cubicBezTo>
                            <a:pt x="77" y="5"/>
                            <a:pt x="61" y="11"/>
                            <a:pt x="55" y="14"/>
                          </a:cubicBezTo>
                          <a:cubicBezTo>
                            <a:pt x="51" y="17"/>
                            <a:pt x="46" y="18"/>
                            <a:pt x="41" y="20"/>
                          </a:cubicBezTo>
                          <a:cubicBezTo>
                            <a:pt x="33" y="24"/>
                            <a:pt x="23" y="31"/>
                            <a:pt x="13" y="29"/>
                          </a:cubicBezTo>
                          <a:cubicBezTo>
                            <a:pt x="10" y="22"/>
                            <a:pt x="7" y="14"/>
                            <a:pt x="0" y="11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1040" name="Freeform 149"/>
                    <p:cNvSpPr>
                      <a:spLocks/>
                    </p:cNvSpPr>
                    <p:nvPr/>
                  </p:nvSpPr>
                  <p:spPr bwMode="gray">
                    <a:xfrm>
                      <a:off x="-2052638" y="-19335750"/>
                      <a:ext cx="652463" cy="704850"/>
                    </a:xfrm>
                    <a:custGeom>
                      <a:avLst/>
                      <a:gdLst/>
                      <a:ahLst/>
                      <a:cxnLst>
                        <a:cxn ang="0">
                          <a:pos x="42" y="93"/>
                        </a:cxn>
                        <a:cxn ang="0">
                          <a:pos x="94" y="38"/>
                        </a:cxn>
                        <a:cxn ang="0">
                          <a:pos x="174" y="20"/>
                        </a:cxn>
                        <a:cxn ang="0">
                          <a:pos x="117" y="11"/>
                        </a:cxn>
                        <a:cxn ang="0">
                          <a:pos x="152" y="7"/>
                        </a:cxn>
                        <a:cxn ang="0">
                          <a:pos x="0" y="160"/>
                        </a:cxn>
                        <a:cxn ang="0">
                          <a:pos x="11" y="142"/>
                        </a:cxn>
                        <a:cxn ang="0">
                          <a:pos x="14" y="188"/>
                        </a:cxn>
                        <a:cxn ang="0">
                          <a:pos x="76" y="74"/>
                        </a:cxn>
                      </a:cxnLst>
                      <a:rect l="0" t="0" r="r" b="b"/>
                      <a:pathLst>
                        <a:path w="174" h="188">
                          <a:moveTo>
                            <a:pt x="42" y="93"/>
                          </a:moveTo>
                          <a:cubicBezTo>
                            <a:pt x="64" y="80"/>
                            <a:pt x="71" y="52"/>
                            <a:pt x="94" y="38"/>
                          </a:cubicBezTo>
                          <a:cubicBezTo>
                            <a:pt x="120" y="21"/>
                            <a:pt x="148" y="30"/>
                            <a:pt x="174" y="20"/>
                          </a:cubicBezTo>
                          <a:cubicBezTo>
                            <a:pt x="164" y="5"/>
                            <a:pt x="134" y="6"/>
                            <a:pt x="117" y="11"/>
                          </a:cubicBezTo>
                          <a:cubicBezTo>
                            <a:pt x="128" y="11"/>
                            <a:pt x="140" y="9"/>
                            <a:pt x="152" y="7"/>
                          </a:cubicBezTo>
                          <a:cubicBezTo>
                            <a:pt x="65" y="0"/>
                            <a:pt x="0" y="79"/>
                            <a:pt x="0" y="160"/>
                          </a:cubicBezTo>
                          <a:cubicBezTo>
                            <a:pt x="2" y="148"/>
                            <a:pt x="3" y="151"/>
                            <a:pt x="11" y="142"/>
                          </a:cubicBezTo>
                          <a:cubicBezTo>
                            <a:pt x="12" y="158"/>
                            <a:pt x="4" y="174"/>
                            <a:pt x="14" y="188"/>
                          </a:cubicBezTo>
                          <a:cubicBezTo>
                            <a:pt x="24" y="154"/>
                            <a:pt x="39" y="86"/>
                            <a:pt x="76" y="74"/>
                          </a:cubicBezTo>
                        </a:path>
                      </a:pathLst>
                    </a:custGeom>
                    <a:solidFill>
                      <a:srgbClr val="EFC36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</p:grpSp>
            </p:grpSp>
            <p:grpSp>
              <p:nvGrpSpPr>
                <p:cNvPr id="710" name="Gruppieren 346"/>
                <p:cNvGrpSpPr/>
                <p:nvPr/>
              </p:nvGrpSpPr>
              <p:grpSpPr bwMode="gray">
                <a:xfrm>
                  <a:off x="2778084" y="2040691"/>
                  <a:ext cx="1954738" cy="3435420"/>
                  <a:chOff x="1114177" y="2133283"/>
                  <a:chExt cx="1338560" cy="2352499"/>
                </a:xfrm>
              </p:grpSpPr>
              <p:pic>
                <p:nvPicPr>
                  <p:cNvPr id="941" name="_effect" descr="C:\Users\marc.h\Desktop\Schatten-TEST.png"/>
                  <p:cNvPicPr>
                    <a:picLocks noChangeAspect="1" noChangeArrowheads="1"/>
                  </p:cNvPicPr>
                  <p:nvPr/>
                </p:nvPicPr>
                <p:blipFill>
                  <a:blip r:embed="rId7" cstate="print"/>
                  <a:srcRect/>
                  <a:stretch>
                    <a:fillRect/>
                  </a:stretch>
                </p:blipFill>
                <p:spPr bwMode="gray">
                  <a:xfrm>
                    <a:off x="1114177" y="3937210"/>
                    <a:ext cx="1338560" cy="548572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942" name="Gruppieren 115"/>
                  <p:cNvGrpSpPr/>
                  <p:nvPr/>
                </p:nvGrpSpPr>
                <p:grpSpPr bwMode="gray">
                  <a:xfrm>
                    <a:off x="1525501" y="2133271"/>
                    <a:ext cx="573881" cy="2264904"/>
                    <a:chOff x="-12514263" y="5757863"/>
                    <a:chExt cx="5384800" cy="21251863"/>
                  </a:xfrm>
                </p:grpSpPr>
                <p:sp>
                  <p:nvSpPr>
                    <p:cNvPr id="943" name="Freeform 205"/>
                    <p:cNvSpPr>
                      <a:spLocks/>
                    </p:cNvSpPr>
                    <p:nvPr/>
                  </p:nvSpPr>
                  <p:spPr bwMode="gray">
                    <a:xfrm>
                      <a:off x="-11737975" y="23155276"/>
                      <a:ext cx="2659063" cy="2005013"/>
                    </a:xfrm>
                    <a:custGeom>
                      <a:avLst/>
                      <a:gdLst/>
                      <a:ahLst/>
                      <a:cxnLst>
                        <a:cxn ang="0">
                          <a:pos x="290" y="257"/>
                        </a:cxn>
                        <a:cxn ang="0">
                          <a:pos x="277" y="298"/>
                        </a:cxn>
                        <a:cxn ang="0">
                          <a:pos x="0" y="426"/>
                        </a:cxn>
                        <a:cxn ang="0">
                          <a:pos x="604" y="217"/>
                        </a:cxn>
                        <a:cxn ang="0">
                          <a:pos x="534" y="72"/>
                        </a:cxn>
                        <a:cxn ang="0">
                          <a:pos x="300" y="267"/>
                        </a:cxn>
                      </a:cxnLst>
                      <a:rect l="0" t="0" r="r" b="b"/>
                      <a:pathLst>
                        <a:path w="709" h="535">
                          <a:moveTo>
                            <a:pt x="290" y="257"/>
                          </a:moveTo>
                          <a:cubicBezTo>
                            <a:pt x="287" y="272"/>
                            <a:pt x="284" y="284"/>
                            <a:pt x="277" y="298"/>
                          </a:cubicBezTo>
                          <a:cubicBezTo>
                            <a:pt x="216" y="301"/>
                            <a:pt x="45" y="386"/>
                            <a:pt x="0" y="426"/>
                          </a:cubicBezTo>
                          <a:cubicBezTo>
                            <a:pt x="256" y="535"/>
                            <a:pt x="433" y="357"/>
                            <a:pt x="604" y="217"/>
                          </a:cubicBezTo>
                          <a:cubicBezTo>
                            <a:pt x="709" y="131"/>
                            <a:pt x="678" y="0"/>
                            <a:pt x="534" y="72"/>
                          </a:cubicBezTo>
                          <a:cubicBezTo>
                            <a:pt x="444" y="117"/>
                            <a:pt x="385" y="213"/>
                            <a:pt x="300" y="267"/>
                          </a:cubicBezTo>
                        </a:path>
                      </a:pathLst>
                    </a:custGeom>
                    <a:solidFill>
                      <a:srgbClr val="0B0C0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4" name="Freeform 206"/>
                    <p:cNvSpPr>
                      <a:spLocks/>
                    </p:cNvSpPr>
                    <p:nvPr/>
                  </p:nvSpPr>
                  <p:spPr bwMode="gray">
                    <a:xfrm>
                      <a:off x="-10729913" y="24560213"/>
                      <a:ext cx="1092200" cy="2449513"/>
                    </a:xfrm>
                    <a:custGeom>
                      <a:avLst/>
                      <a:gdLst/>
                      <a:ahLst/>
                      <a:cxnLst>
                        <a:cxn ang="0">
                          <a:pos x="104" y="43"/>
                        </a:cxn>
                        <a:cxn ang="0">
                          <a:pos x="7" y="355"/>
                        </a:cxn>
                        <a:cxn ang="0">
                          <a:pos x="179" y="559"/>
                        </a:cxn>
                        <a:cxn ang="0">
                          <a:pos x="276" y="226"/>
                        </a:cxn>
                        <a:cxn ang="0">
                          <a:pos x="241" y="45"/>
                        </a:cxn>
                        <a:cxn ang="0">
                          <a:pos x="93" y="64"/>
                        </a:cxn>
                      </a:cxnLst>
                      <a:rect l="0" t="0" r="r" b="b"/>
                      <a:pathLst>
                        <a:path w="291" h="653">
                          <a:moveTo>
                            <a:pt x="104" y="43"/>
                          </a:moveTo>
                          <a:cubicBezTo>
                            <a:pt x="75" y="149"/>
                            <a:pt x="14" y="245"/>
                            <a:pt x="7" y="355"/>
                          </a:cubicBezTo>
                          <a:cubicBezTo>
                            <a:pt x="0" y="471"/>
                            <a:pt x="45" y="653"/>
                            <a:pt x="179" y="559"/>
                          </a:cubicBezTo>
                          <a:cubicBezTo>
                            <a:pt x="291" y="480"/>
                            <a:pt x="276" y="353"/>
                            <a:pt x="276" y="226"/>
                          </a:cubicBezTo>
                          <a:cubicBezTo>
                            <a:pt x="276" y="170"/>
                            <a:pt x="287" y="86"/>
                            <a:pt x="241" y="45"/>
                          </a:cubicBezTo>
                          <a:cubicBezTo>
                            <a:pt x="200" y="7"/>
                            <a:pt x="103" y="0"/>
                            <a:pt x="93" y="64"/>
                          </a:cubicBezTo>
                        </a:path>
                      </a:pathLst>
                    </a:custGeom>
                    <a:solidFill>
                      <a:srgbClr val="0B0C0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5" name="Freeform 208"/>
                    <p:cNvSpPr>
                      <a:spLocks/>
                    </p:cNvSpPr>
                    <p:nvPr/>
                  </p:nvSpPr>
                  <p:spPr bwMode="gray">
                    <a:xfrm>
                      <a:off x="-10890250" y="20656551"/>
                      <a:ext cx="1382713" cy="4429125"/>
                    </a:xfrm>
                    <a:custGeom>
                      <a:avLst/>
                      <a:gdLst/>
                      <a:ahLst/>
                      <a:cxnLst>
                        <a:cxn ang="0">
                          <a:pos x="107" y="95"/>
                        </a:cxn>
                        <a:cxn ang="0">
                          <a:pos x="150" y="600"/>
                        </a:cxn>
                        <a:cxn ang="0">
                          <a:pos x="104" y="834"/>
                        </a:cxn>
                        <a:cxn ang="0">
                          <a:pos x="10" y="1020"/>
                        </a:cxn>
                        <a:cxn ang="0">
                          <a:pos x="303" y="818"/>
                        </a:cxn>
                        <a:cxn ang="0">
                          <a:pos x="311" y="331"/>
                        </a:cxn>
                        <a:cxn ang="0">
                          <a:pos x="128" y="84"/>
                        </a:cxn>
                      </a:cxnLst>
                      <a:rect l="0" t="0" r="r" b="b"/>
                      <a:pathLst>
                        <a:path w="369" h="1181">
                          <a:moveTo>
                            <a:pt x="107" y="95"/>
                          </a:moveTo>
                          <a:cubicBezTo>
                            <a:pt x="88" y="263"/>
                            <a:pt x="141" y="436"/>
                            <a:pt x="150" y="600"/>
                          </a:cubicBezTo>
                          <a:cubicBezTo>
                            <a:pt x="154" y="691"/>
                            <a:pt x="139" y="756"/>
                            <a:pt x="104" y="834"/>
                          </a:cubicBezTo>
                          <a:cubicBezTo>
                            <a:pt x="88" y="868"/>
                            <a:pt x="0" y="986"/>
                            <a:pt x="10" y="1020"/>
                          </a:cubicBezTo>
                          <a:cubicBezTo>
                            <a:pt x="55" y="1181"/>
                            <a:pt x="284" y="864"/>
                            <a:pt x="303" y="818"/>
                          </a:cubicBezTo>
                          <a:cubicBezTo>
                            <a:pt x="369" y="655"/>
                            <a:pt x="311" y="508"/>
                            <a:pt x="311" y="331"/>
                          </a:cubicBezTo>
                          <a:cubicBezTo>
                            <a:pt x="311" y="185"/>
                            <a:pt x="325" y="0"/>
                            <a:pt x="128" y="84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6" name="Freeform 209"/>
                    <p:cNvSpPr>
                      <a:spLocks/>
                    </p:cNvSpPr>
                    <p:nvPr/>
                  </p:nvSpPr>
                  <p:spPr bwMode="gray">
                    <a:xfrm>
                      <a:off x="-10534650" y="19604038"/>
                      <a:ext cx="1924050" cy="6808788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107"/>
                        </a:cxn>
                        <a:cxn ang="0">
                          <a:pos x="72" y="128"/>
                        </a:cxn>
                        <a:cxn ang="0">
                          <a:pos x="55" y="527"/>
                        </a:cxn>
                        <a:cxn ang="0">
                          <a:pos x="74" y="927"/>
                        </a:cxn>
                        <a:cxn ang="0">
                          <a:pos x="84" y="1333"/>
                        </a:cxn>
                        <a:cxn ang="0">
                          <a:pos x="13" y="1718"/>
                        </a:cxn>
                        <a:cxn ang="0">
                          <a:pos x="227" y="1419"/>
                        </a:cxn>
                        <a:cxn ang="0">
                          <a:pos x="323" y="913"/>
                        </a:cxn>
                        <a:cxn ang="0">
                          <a:pos x="152" y="10"/>
                        </a:cxn>
                        <a:cxn ang="0">
                          <a:pos x="22" y="107"/>
                        </a:cxn>
                      </a:cxnLst>
                      <a:rect l="0" t="0" r="r" b="b"/>
                      <a:pathLst>
                        <a:path w="513" h="1816">
                          <a:moveTo>
                            <a:pt x="33" y="107"/>
                          </a:moveTo>
                          <a:cubicBezTo>
                            <a:pt x="50" y="111"/>
                            <a:pt x="61" y="111"/>
                            <a:pt x="72" y="128"/>
                          </a:cubicBezTo>
                          <a:cubicBezTo>
                            <a:pt x="2" y="236"/>
                            <a:pt x="61" y="405"/>
                            <a:pt x="55" y="527"/>
                          </a:cubicBezTo>
                          <a:cubicBezTo>
                            <a:pt x="48" y="663"/>
                            <a:pt x="39" y="794"/>
                            <a:pt x="74" y="927"/>
                          </a:cubicBezTo>
                          <a:cubicBezTo>
                            <a:pt x="106" y="1049"/>
                            <a:pt x="115" y="1208"/>
                            <a:pt x="84" y="1333"/>
                          </a:cubicBezTo>
                          <a:cubicBezTo>
                            <a:pt x="53" y="1461"/>
                            <a:pt x="0" y="1580"/>
                            <a:pt x="13" y="1718"/>
                          </a:cubicBezTo>
                          <a:cubicBezTo>
                            <a:pt x="257" y="1816"/>
                            <a:pt x="225" y="1584"/>
                            <a:pt x="227" y="1419"/>
                          </a:cubicBezTo>
                          <a:cubicBezTo>
                            <a:pt x="228" y="1237"/>
                            <a:pt x="298" y="1084"/>
                            <a:pt x="323" y="913"/>
                          </a:cubicBezTo>
                          <a:cubicBezTo>
                            <a:pt x="356" y="690"/>
                            <a:pt x="513" y="59"/>
                            <a:pt x="152" y="10"/>
                          </a:cubicBezTo>
                          <a:cubicBezTo>
                            <a:pt x="82" y="0"/>
                            <a:pt x="13" y="27"/>
                            <a:pt x="22" y="107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7" name="Freeform 210"/>
                    <p:cNvSpPr>
                      <a:spLocks/>
                    </p:cNvSpPr>
                    <p:nvPr/>
                  </p:nvSpPr>
                  <p:spPr bwMode="gray">
                    <a:xfrm>
                      <a:off x="-10474325" y="20915313"/>
                      <a:ext cx="1395413" cy="682625"/>
                    </a:xfrm>
                    <a:custGeom>
                      <a:avLst/>
                      <a:gdLst/>
                      <a:ahLst/>
                      <a:cxnLst>
                        <a:cxn ang="0">
                          <a:pos x="39" y="182"/>
                        </a:cxn>
                        <a:cxn ang="0">
                          <a:pos x="190" y="115"/>
                        </a:cxn>
                        <a:cxn ang="0">
                          <a:pos x="368" y="76"/>
                        </a:cxn>
                        <a:cxn ang="0">
                          <a:pos x="360" y="6"/>
                        </a:cxn>
                        <a:cxn ang="0">
                          <a:pos x="22" y="174"/>
                        </a:cxn>
                      </a:cxnLst>
                      <a:rect l="0" t="0" r="r" b="b"/>
                      <a:pathLst>
                        <a:path w="372" h="182">
                          <a:moveTo>
                            <a:pt x="39" y="182"/>
                          </a:moveTo>
                          <a:cubicBezTo>
                            <a:pt x="68" y="131"/>
                            <a:pt x="139" y="128"/>
                            <a:pt x="190" y="115"/>
                          </a:cubicBezTo>
                          <a:cubicBezTo>
                            <a:pt x="243" y="102"/>
                            <a:pt x="313" y="78"/>
                            <a:pt x="368" y="76"/>
                          </a:cubicBezTo>
                          <a:cubicBezTo>
                            <a:pt x="372" y="55"/>
                            <a:pt x="368" y="24"/>
                            <a:pt x="360" y="6"/>
                          </a:cubicBezTo>
                          <a:cubicBezTo>
                            <a:pt x="289" y="0"/>
                            <a:pt x="0" y="91"/>
                            <a:pt x="22" y="174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8" name="Freeform 211"/>
                    <p:cNvSpPr>
                      <a:spLocks/>
                    </p:cNvSpPr>
                    <p:nvPr/>
                  </p:nvSpPr>
                  <p:spPr bwMode="gray">
                    <a:xfrm>
                      <a:off x="-11891963" y="14690726"/>
                      <a:ext cx="3630613" cy="6772275"/>
                    </a:xfrm>
                    <a:custGeom>
                      <a:avLst/>
                      <a:gdLst/>
                      <a:ahLst/>
                      <a:cxnLst>
                        <a:cxn ang="0">
                          <a:pos x="42" y="334"/>
                        </a:cxn>
                        <a:cxn ang="0">
                          <a:pos x="13" y="540"/>
                        </a:cxn>
                        <a:cxn ang="0">
                          <a:pos x="24" y="745"/>
                        </a:cxn>
                        <a:cxn ang="0">
                          <a:pos x="67" y="934"/>
                        </a:cxn>
                        <a:cxn ang="0">
                          <a:pos x="107" y="1131"/>
                        </a:cxn>
                        <a:cxn ang="0">
                          <a:pos x="111" y="1148"/>
                        </a:cxn>
                        <a:cxn ang="0">
                          <a:pos x="175" y="1326"/>
                        </a:cxn>
                        <a:cxn ang="0">
                          <a:pos x="187" y="1544"/>
                        </a:cxn>
                        <a:cxn ang="0">
                          <a:pos x="198" y="1649"/>
                        </a:cxn>
                        <a:cxn ang="0">
                          <a:pos x="264" y="1720"/>
                        </a:cxn>
                        <a:cxn ang="0">
                          <a:pos x="438" y="1780"/>
                        </a:cxn>
                        <a:cxn ang="0">
                          <a:pos x="551" y="1757"/>
                        </a:cxn>
                        <a:cxn ang="0">
                          <a:pos x="670" y="1729"/>
                        </a:cxn>
                        <a:cxn ang="0">
                          <a:pos x="812" y="1652"/>
                        </a:cxn>
                        <a:cxn ang="0">
                          <a:pos x="787" y="1427"/>
                        </a:cxn>
                        <a:cxn ang="0">
                          <a:pos x="821" y="1210"/>
                        </a:cxn>
                        <a:cxn ang="0">
                          <a:pos x="901" y="960"/>
                        </a:cxn>
                        <a:cxn ang="0">
                          <a:pos x="908" y="958"/>
                        </a:cxn>
                        <a:cxn ang="0">
                          <a:pos x="946" y="496"/>
                        </a:cxn>
                        <a:cxn ang="0">
                          <a:pos x="887" y="275"/>
                        </a:cxn>
                        <a:cxn ang="0">
                          <a:pos x="792" y="194"/>
                        </a:cxn>
                        <a:cxn ang="0">
                          <a:pos x="615" y="71"/>
                        </a:cxn>
                        <a:cxn ang="0">
                          <a:pos x="221" y="8"/>
                        </a:cxn>
                        <a:cxn ang="0">
                          <a:pos x="73" y="64"/>
                        </a:cxn>
                        <a:cxn ang="0">
                          <a:pos x="50" y="221"/>
                        </a:cxn>
                        <a:cxn ang="0">
                          <a:pos x="46" y="346"/>
                        </a:cxn>
                      </a:cxnLst>
                      <a:rect l="0" t="0" r="r" b="b"/>
                      <a:pathLst>
                        <a:path w="968" h="1806">
                          <a:moveTo>
                            <a:pt x="42" y="334"/>
                          </a:moveTo>
                          <a:cubicBezTo>
                            <a:pt x="0" y="373"/>
                            <a:pt x="13" y="485"/>
                            <a:pt x="13" y="540"/>
                          </a:cubicBezTo>
                          <a:cubicBezTo>
                            <a:pt x="13" y="610"/>
                            <a:pt x="12" y="679"/>
                            <a:pt x="24" y="745"/>
                          </a:cubicBezTo>
                          <a:cubicBezTo>
                            <a:pt x="37" y="811"/>
                            <a:pt x="42" y="875"/>
                            <a:pt x="67" y="934"/>
                          </a:cubicBezTo>
                          <a:cubicBezTo>
                            <a:pt x="94" y="997"/>
                            <a:pt x="83" y="1069"/>
                            <a:pt x="107" y="1131"/>
                          </a:cubicBezTo>
                          <a:cubicBezTo>
                            <a:pt x="109" y="1137"/>
                            <a:pt x="110" y="1141"/>
                            <a:pt x="111" y="1148"/>
                          </a:cubicBezTo>
                          <a:cubicBezTo>
                            <a:pt x="145" y="1153"/>
                            <a:pt x="172" y="1293"/>
                            <a:pt x="175" y="1326"/>
                          </a:cubicBezTo>
                          <a:cubicBezTo>
                            <a:pt x="181" y="1397"/>
                            <a:pt x="190" y="1472"/>
                            <a:pt x="187" y="1544"/>
                          </a:cubicBezTo>
                          <a:cubicBezTo>
                            <a:pt x="185" y="1580"/>
                            <a:pt x="176" y="1620"/>
                            <a:pt x="198" y="1649"/>
                          </a:cubicBezTo>
                          <a:cubicBezTo>
                            <a:pt x="216" y="1673"/>
                            <a:pt x="244" y="1699"/>
                            <a:pt x="264" y="1720"/>
                          </a:cubicBezTo>
                          <a:cubicBezTo>
                            <a:pt x="316" y="1774"/>
                            <a:pt x="365" y="1806"/>
                            <a:pt x="438" y="1780"/>
                          </a:cubicBezTo>
                          <a:cubicBezTo>
                            <a:pt x="475" y="1767"/>
                            <a:pt x="511" y="1762"/>
                            <a:pt x="551" y="1757"/>
                          </a:cubicBezTo>
                          <a:cubicBezTo>
                            <a:pt x="594" y="1753"/>
                            <a:pt x="630" y="1737"/>
                            <a:pt x="670" y="1729"/>
                          </a:cubicBezTo>
                          <a:cubicBezTo>
                            <a:pt x="734" y="1716"/>
                            <a:pt x="793" y="1731"/>
                            <a:pt x="812" y="1652"/>
                          </a:cubicBezTo>
                          <a:cubicBezTo>
                            <a:pt x="829" y="1577"/>
                            <a:pt x="803" y="1495"/>
                            <a:pt x="787" y="1427"/>
                          </a:cubicBezTo>
                          <a:cubicBezTo>
                            <a:pt x="770" y="1350"/>
                            <a:pt x="788" y="1278"/>
                            <a:pt x="821" y="1210"/>
                          </a:cubicBezTo>
                          <a:cubicBezTo>
                            <a:pt x="858" y="1131"/>
                            <a:pt x="876" y="1045"/>
                            <a:pt x="901" y="960"/>
                          </a:cubicBezTo>
                          <a:cubicBezTo>
                            <a:pt x="903" y="959"/>
                            <a:pt x="905" y="959"/>
                            <a:pt x="908" y="958"/>
                          </a:cubicBezTo>
                          <a:cubicBezTo>
                            <a:pt x="953" y="813"/>
                            <a:pt x="968" y="648"/>
                            <a:pt x="946" y="496"/>
                          </a:cubicBezTo>
                          <a:cubicBezTo>
                            <a:pt x="935" y="423"/>
                            <a:pt x="924" y="342"/>
                            <a:pt x="887" y="275"/>
                          </a:cubicBezTo>
                          <a:cubicBezTo>
                            <a:pt x="868" y="241"/>
                            <a:pt x="824" y="214"/>
                            <a:pt x="792" y="194"/>
                          </a:cubicBezTo>
                          <a:cubicBezTo>
                            <a:pt x="733" y="157"/>
                            <a:pt x="680" y="98"/>
                            <a:pt x="615" y="71"/>
                          </a:cubicBezTo>
                          <a:cubicBezTo>
                            <a:pt x="493" y="20"/>
                            <a:pt x="350" y="18"/>
                            <a:pt x="221" y="8"/>
                          </a:cubicBezTo>
                          <a:cubicBezTo>
                            <a:pt x="159" y="3"/>
                            <a:pt x="96" y="0"/>
                            <a:pt x="73" y="64"/>
                          </a:cubicBezTo>
                          <a:cubicBezTo>
                            <a:pt x="57" y="110"/>
                            <a:pt x="54" y="170"/>
                            <a:pt x="50" y="221"/>
                          </a:cubicBezTo>
                          <a:cubicBezTo>
                            <a:pt x="46" y="260"/>
                            <a:pt x="27" y="311"/>
                            <a:pt x="46" y="346"/>
                          </a:cubicBezTo>
                        </a:path>
                      </a:pathLst>
                    </a:custGeom>
                    <a:solidFill>
                      <a:srgbClr val="33333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9" name="Freeform 212"/>
                    <p:cNvSpPr>
                      <a:spLocks/>
                    </p:cNvSpPr>
                    <p:nvPr/>
                  </p:nvSpPr>
                  <p:spPr bwMode="gray">
                    <a:xfrm>
                      <a:off x="-12514263" y="9583738"/>
                      <a:ext cx="4768850" cy="6877050"/>
                    </a:xfrm>
                    <a:custGeom>
                      <a:avLst/>
                      <a:gdLst/>
                      <a:ahLst/>
                      <a:cxnLst>
                        <a:cxn ang="0">
                          <a:pos x="284" y="116"/>
                        </a:cxn>
                        <a:cxn ang="0">
                          <a:pos x="119" y="164"/>
                        </a:cxn>
                        <a:cxn ang="0">
                          <a:pos x="19" y="304"/>
                        </a:cxn>
                        <a:cxn ang="0">
                          <a:pos x="15" y="605"/>
                        </a:cxn>
                        <a:cxn ang="0">
                          <a:pos x="11" y="836"/>
                        </a:cxn>
                        <a:cxn ang="0">
                          <a:pos x="34" y="954"/>
                        </a:cxn>
                        <a:cxn ang="0">
                          <a:pos x="49" y="1111"/>
                        </a:cxn>
                        <a:cxn ang="0">
                          <a:pos x="102" y="1211"/>
                        </a:cxn>
                        <a:cxn ang="0">
                          <a:pos x="159" y="1322"/>
                        </a:cxn>
                        <a:cxn ang="0">
                          <a:pos x="140" y="1413"/>
                        </a:cxn>
                        <a:cxn ang="0">
                          <a:pos x="172" y="1411"/>
                        </a:cxn>
                        <a:cxn ang="0">
                          <a:pos x="163" y="1623"/>
                        </a:cxn>
                        <a:cxn ang="0">
                          <a:pos x="163" y="1697"/>
                        </a:cxn>
                        <a:cxn ang="0">
                          <a:pos x="259" y="1725"/>
                        </a:cxn>
                        <a:cxn ang="0">
                          <a:pos x="458" y="1520"/>
                        </a:cxn>
                        <a:cxn ang="0">
                          <a:pos x="611" y="1769"/>
                        </a:cxn>
                        <a:cxn ang="0">
                          <a:pos x="958" y="1761"/>
                        </a:cxn>
                        <a:cxn ang="0">
                          <a:pos x="1130" y="1711"/>
                        </a:cxn>
                        <a:cxn ang="0">
                          <a:pos x="1098" y="1515"/>
                        </a:cxn>
                        <a:cxn ang="0">
                          <a:pos x="1075" y="1401"/>
                        </a:cxn>
                        <a:cxn ang="0">
                          <a:pos x="1031" y="1297"/>
                        </a:cxn>
                        <a:cxn ang="0">
                          <a:pos x="1014" y="1091"/>
                        </a:cxn>
                        <a:cxn ang="0">
                          <a:pos x="1019" y="1052"/>
                        </a:cxn>
                        <a:cxn ang="0">
                          <a:pos x="1041" y="1026"/>
                        </a:cxn>
                        <a:cxn ang="0">
                          <a:pos x="1062" y="857"/>
                        </a:cxn>
                        <a:cxn ang="0">
                          <a:pos x="1094" y="840"/>
                        </a:cxn>
                        <a:cxn ang="0">
                          <a:pos x="1114" y="785"/>
                        </a:cxn>
                        <a:cxn ang="0">
                          <a:pos x="1158" y="692"/>
                        </a:cxn>
                        <a:cxn ang="0">
                          <a:pos x="1252" y="249"/>
                        </a:cxn>
                        <a:cxn ang="0">
                          <a:pos x="973" y="56"/>
                        </a:cxn>
                        <a:cxn ang="0">
                          <a:pos x="507" y="45"/>
                        </a:cxn>
                        <a:cxn ang="0">
                          <a:pos x="276" y="124"/>
                        </a:cxn>
                      </a:cxnLst>
                      <a:rect l="0" t="0" r="r" b="b"/>
                      <a:pathLst>
                        <a:path w="1272" h="1834">
                          <a:moveTo>
                            <a:pt x="284" y="116"/>
                          </a:moveTo>
                          <a:cubicBezTo>
                            <a:pt x="230" y="134"/>
                            <a:pt x="174" y="145"/>
                            <a:pt x="119" y="164"/>
                          </a:cubicBezTo>
                          <a:cubicBezTo>
                            <a:pt x="55" y="185"/>
                            <a:pt x="27" y="234"/>
                            <a:pt x="19" y="304"/>
                          </a:cubicBezTo>
                          <a:cubicBezTo>
                            <a:pt x="7" y="403"/>
                            <a:pt x="27" y="506"/>
                            <a:pt x="15" y="605"/>
                          </a:cubicBezTo>
                          <a:cubicBezTo>
                            <a:pt x="6" y="680"/>
                            <a:pt x="0" y="761"/>
                            <a:pt x="11" y="836"/>
                          </a:cubicBezTo>
                          <a:cubicBezTo>
                            <a:pt x="16" y="875"/>
                            <a:pt x="30" y="914"/>
                            <a:pt x="34" y="954"/>
                          </a:cubicBezTo>
                          <a:cubicBezTo>
                            <a:pt x="39" y="1004"/>
                            <a:pt x="25" y="1066"/>
                            <a:pt x="49" y="1111"/>
                          </a:cubicBezTo>
                          <a:cubicBezTo>
                            <a:pt x="68" y="1147"/>
                            <a:pt x="85" y="1170"/>
                            <a:pt x="102" y="1211"/>
                          </a:cubicBezTo>
                          <a:cubicBezTo>
                            <a:pt x="116" y="1246"/>
                            <a:pt x="122" y="1303"/>
                            <a:pt x="159" y="1322"/>
                          </a:cubicBezTo>
                          <a:cubicBezTo>
                            <a:pt x="166" y="1350"/>
                            <a:pt x="134" y="1377"/>
                            <a:pt x="140" y="1413"/>
                          </a:cubicBezTo>
                          <a:cubicBezTo>
                            <a:pt x="150" y="1411"/>
                            <a:pt x="161" y="1416"/>
                            <a:pt x="172" y="1411"/>
                          </a:cubicBezTo>
                          <a:cubicBezTo>
                            <a:pt x="170" y="1482"/>
                            <a:pt x="175" y="1554"/>
                            <a:pt x="163" y="1623"/>
                          </a:cubicBezTo>
                          <a:cubicBezTo>
                            <a:pt x="158" y="1657"/>
                            <a:pt x="142" y="1682"/>
                            <a:pt x="163" y="1697"/>
                          </a:cubicBezTo>
                          <a:cubicBezTo>
                            <a:pt x="184" y="1711"/>
                            <a:pt x="234" y="1719"/>
                            <a:pt x="259" y="1725"/>
                          </a:cubicBezTo>
                          <a:cubicBezTo>
                            <a:pt x="380" y="1756"/>
                            <a:pt x="441" y="1620"/>
                            <a:pt x="458" y="1520"/>
                          </a:cubicBezTo>
                          <a:cubicBezTo>
                            <a:pt x="497" y="1620"/>
                            <a:pt x="504" y="1720"/>
                            <a:pt x="611" y="1769"/>
                          </a:cubicBezTo>
                          <a:cubicBezTo>
                            <a:pt x="683" y="1803"/>
                            <a:pt x="904" y="1834"/>
                            <a:pt x="958" y="1761"/>
                          </a:cubicBezTo>
                          <a:cubicBezTo>
                            <a:pt x="995" y="1754"/>
                            <a:pt x="1116" y="1737"/>
                            <a:pt x="1130" y="1711"/>
                          </a:cubicBezTo>
                          <a:cubicBezTo>
                            <a:pt x="1156" y="1664"/>
                            <a:pt x="1107" y="1562"/>
                            <a:pt x="1098" y="1515"/>
                          </a:cubicBezTo>
                          <a:cubicBezTo>
                            <a:pt x="1090" y="1476"/>
                            <a:pt x="1086" y="1438"/>
                            <a:pt x="1075" y="1401"/>
                          </a:cubicBezTo>
                          <a:cubicBezTo>
                            <a:pt x="1064" y="1365"/>
                            <a:pt x="1045" y="1333"/>
                            <a:pt x="1031" y="1297"/>
                          </a:cubicBezTo>
                          <a:cubicBezTo>
                            <a:pt x="1005" y="1233"/>
                            <a:pt x="1006" y="1160"/>
                            <a:pt x="1014" y="1091"/>
                          </a:cubicBezTo>
                          <a:cubicBezTo>
                            <a:pt x="1016" y="1077"/>
                            <a:pt x="1017" y="1066"/>
                            <a:pt x="1019" y="1052"/>
                          </a:cubicBezTo>
                          <a:cubicBezTo>
                            <a:pt x="1033" y="1046"/>
                            <a:pt x="1034" y="1039"/>
                            <a:pt x="1041" y="1026"/>
                          </a:cubicBezTo>
                          <a:cubicBezTo>
                            <a:pt x="1007" y="987"/>
                            <a:pt x="1028" y="886"/>
                            <a:pt x="1062" y="857"/>
                          </a:cubicBezTo>
                          <a:cubicBezTo>
                            <a:pt x="1071" y="850"/>
                            <a:pt x="1084" y="851"/>
                            <a:pt x="1094" y="840"/>
                          </a:cubicBezTo>
                          <a:cubicBezTo>
                            <a:pt x="1103" y="830"/>
                            <a:pt x="1108" y="798"/>
                            <a:pt x="1114" y="785"/>
                          </a:cubicBezTo>
                          <a:cubicBezTo>
                            <a:pt x="1128" y="751"/>
                            <a:pt x="1144" y="725"/>
                            <a:pt x="1158" y="692"/>
                          </a:cubicBezTo>
                          <a:cubicBezTo>
                            <a:pt x="1218" y="547"/>
                            <a:pt x="1272" y="410"/>
                            <a:pt x="1252" y="249"/>
                          </a:cubicBezTo>
                          <a:cubicBezTo>
                            <a:pt x="1237" y="131"/>
                            <a:pt x="1073" y="71"/>
                            <a:pt x="973" y="56"/>
                          </a:cubicBezTo>
                          <a:cubicBezTo>
                            <a:pt x="820" y="34"/>
                            <a:pt x="664" y="0"/>
                            <a:pt x="507" y="45"/>
                          </a:cubicBezTo>
                          <a:cubicBezTo>
                            <a:pt x="436" y="65"/>
                            <a:pt x="326" y="68"/>
                            <a:pt x="276" y="124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0" name="Freeform 213"/>
                    <p:cNvSpPr>
                      <a:spLocks/>
                    </p:cNvSpPr>
                    <p:nvPr/>
                  </p:nvSpPr>
                  <p:spPr bwMode="gray">
                    <a:xfrm>
                      <a:off x="-8805863" y="10167938"/>
                      <a:ext cx="1676400" cy="5910263"/>
                    </a:xfrm>
                    <a:custGeom>
                      <a:avLst/>
                      <a:gdLst/>
                      <a:ahLst/>
                      <a:cxnLst>
                        <a:cxn ang="0">
                          <a:pos x="190" y="4"/>
                        </a:cxn>
                        <a:cxn ang="0">
                          <a:pos x="286" y="141"/>
                        </a:cxn>
                        <a:cxn ang="0">
                          <a:pos x="308" y="225"/>
                        </a:cxn>
                        <a:cxn ang="0">
                          <a:pos x="348" y="290"/>
                        </a:cxn>
                        <a:cxn ang="0">
                          <a:pos x="323" y="322"/>
                        </a:cxn>
                        <a:cxn ang="0">
                          <a:pos x="338" y="364"/>
                        </a:cxn>
                        <a:cxn ang="0">
                          <a:pos x="373" y="438"/>
                        </a:cxn>
                        <a:cxn ang="0">
                          <a:pos x="388" y="605"/>
                        </a:cxn>
                        <a:cxn ang="0">
                          <a:pos x="412" y="681"/>
                        </a:cxn>
                        <a:cxn ang="0">
                          <a:pos x="412" y="782"/>
                        </a:cxn>
                        <a:cxn ang="0">
                          <a:pos x="444" y="959"/>
                        </a:cxn>
                        <a:cxn ang="0">
                          <a:pos x="444" y="1012"/>
                        </a:cxn>
                        <a:cxn ang="0">
                          <a:pos x="421" y="1053"/>
                        </a:cxn>
                        <a:cxn ang="0">
                          <a:pos x="396" y="1145"/>
                        </a:cxn>
                        <a:cxn ang="0">
                          <a:pos x="365" y="1230"/>
                        </a:cxn>
                        <a:cxn ang="0">
                          <a:pos x="328" y="1327"/>
                        </a:cxn>
                        <a:cxn ang="0">
                          <a:pos x="238" y="1434"/>
                        </a:cxn>
                        <a:cxn ang="0">
                          <a:pos x="149" y="1555"/>
                        </a:cxn>
                        <a:cxn ang="0">
                          <a:pos x="98" y="1572"/>
                        </a:cxn>
                        <a:cxn ang="0">
                          <a:pos x="53" y="1504"/>
                        </a:cxn>
                        <a:cxn ang="0">
                          <a:pos x="33" y="1399"/>
                        </a:cxn>
                        <a:cxn ang="0">
                          <a:pos x="98" y="1226"/>
                        </a:cxn>
                        <a:cxn ang="0">
                          <a:pos x="150" y="1068"/>
                        </a:cxn>
                        <a:cxn ang="0">
                          <a:pos x="163" y="968"/>
                        </a:cxn>
                        <a:cxn ang="0">
                          <a:pos x="170" y="927"/>
                        </a:cxn>
                        <a:cxn ang="0">
                          <a:pos x="146" y="895"/>
                        </a:cxn>
                        <a:cxn ang="0">
                          <a:pos x="89" y="730"/>
                        </a:cxn>
                        <a:cxn ang="0">
                          <a:pos x="1" y="560"/>
                        </a:cxn>
                        <a:cxn ang="0">
                          <a:pos x="36" y="449"/>
                        </a:cxn>
                        <a:cxn ang="0">
                          <a:pos x="77" y="288"/>
                        </a:cxn>
                        <a:cxn ang="0">
                          <a:pos x="117" y="55"/>
                        </a:cxn>
                        <a:cxn ang="0">
                          <a:pos x="186" y="0"/>
                        </a:cxn>
                      </a:cxnLst>
                      <a:rect l="0" t="0" r="r" b="b"/>
                      <a:pathLst>
                        <a:path w="447" h="1576">
                          <a:moveTo>
                            <a:pt x="190" y="4"/>
                          </a:moveTo>
                          <a:cubicBezTo>
                            <a:pt x="243" y="37"/>
                            <a:pt x="273" y="80"/>
                            <a:pt x="286" y="141"/>
                          </a:cubicBezTo>
                          <a:cubicBezTo>
                            <a:pt x="295" y="183"/>
                            <a:pt x="280" y="198"/>
                            <a:pt x="308" y="225"/>
                          </a:cubicBezTo>
                          <a:cubicBezTo>
                            <a:pt x="325" y="242"/>
                            <a:pt x="356" y="253"/>
                            <a:pt x="348" y="290"/>
                          </a:cubicBezTo>
                          <a:cubicBezTo>
                            <a:pt x="344" y="306"/>
                            <a:pt x="325" y="309"/>
                            <a:pt x="323" y="322"/>
                          </a:cubicBezTo>
                          <a:cubicBezTo>
                            <a:pt x="320" y="342"/>
                            <a:pt x="332" y="347"/>
                            <a:pt x="338" y="364"/>
                          </a:cubicBezTo>
                          <a:cubicBezTo>
                            <a:pt x="349" y="393"/>
                            <a:pt x="356" y="414"/>
                            <a:pt x="373" y="438"/>
                          </a:cubicBezTo>
                          <a:cubicBezTo>
                            <a:pt x="413" y="497"/>
                            <a:pt x="381" y="536"/>
                            <a:pt x="388" y="605"/>
                          </a:cubicBezTo>
                          <a:cubicBezTo>
                            <a:pt x="391" y="638"/>
                            <a:pt x="408" y="653"/>
                            <a:pt x="412" y="681"/>
                          </a:cubicBezTo>
                          <a:cubicBezTo>
                            <a:pt x="417" y="714"/>
                            <a:pt x="403" y="748"/>
                            <a:pt x="412" y="782"/>
                          </a:cubicBezTo>
                          <a:cubicBezTo>
                            <a:pt x="427" y="838"/>
                            <a:pt x="444" y="898"/>
                            <a:pt x="444" y="959"/>
                          </a:cubicBezTo>
                          <a:cubicBezTo>
                            <a:pt x="444" y="976"/>
                            <a:pt x="447" y="996"/>
                            <a:pt x="444" y="1012"/>
                          </a:cubicBezTo>
                          <a:cubicBezTo>
                            <a:pt x="439" y="1035"/>
                            <a:pt x="431" y="1035"/>
                            <a:pt x="421" y="1053"/>
                          </a:cubicBezTo>
                          <a:cubicBezTo>
                            <a:pt x="404" y="1082"/>
                            <a:pt x="401" y="1111"/>
                            <a:pt x="396" y="1145"/>
                          </a:cubicBezTo>
                          <a:cubicBezTo>
                            <a:pt x="390" y="1181"/>
                            <a:pt x="382" y="1200"/>
                            <a:pt x="365" y="1230"/>
                          </a:cubicBezTo>
                          <a:cubicBezTo>
                            <a:pt x="344" y="1266"/>
                            <a:pt x="341" y="1288"/>
                            <a:pt x="328" y="1327"/>
                          </a:cubicBezTo>
                          <a:cubicBezTo>
                            <a:pt x="312" y="1374"/>
                            <a:pt x="273" y="1403"/>
                            <a:pt x="238" y="1434"/>
                          </a:cubicBezTo>
                          <a:cubicBezTo>
                            <a:pt x="203" y="1465"/>
                            <a:pt x="173" y="1514"/>
                            <a:pt x="149" y="1555"/>
                          </a:cubicBezTo>
                          <a:cubicBezTo>
                            <a:pt x="131" y="1561"/>
                            <a:pt x="119" y="1576"/>
                            <a:pt x="98" y="1572"/>
                          </a:cubicBezTo>
                          <a:cubicBezTo>
                            <a:pt x="95" y="1541"/>
                            <a:pt x="66" y="1528"/>
                            <a:pt x="53" y="1504"/>
                          </a:cubicBezTo>
                          <a:cubicBezTo>
                            <a:pt x="36" y="1472"/>
                            <a:pt x="31" y="1436"/>
                            <a:pt x="33" y="1399"/>
                          </a:cubicBezTo>
                          <a:cubicBezTo>
                            <a:pt x="37" y="1332"/>
                            <a:pt x="75" y="1284"/>
                            <a:pt x="98" y="1226"/>
                          </a:cubicBezTo>
                          <a:cubicBezTo>
                            <a:pt x="118" y="1176"/>
                            <a:pt x="141" y="1118"/>
                            <a:pt x="150" y="1068"/>
                          </a:cubicBezTo>
                          <a:cubicBezTo>
                            <a:pt x="156" y="1034"/>
                            <a:pt x="157" y="999"/>
                            <a:pt x="163" y="968"/>
                          </a:cubicBezTo>
                          <a:cubicBezTo>
                            <a:pt x="166" y="955"/>
                            <a:pt x="174" y="944"/>
                            <a:pt x="170" y="927"/>
                          </a:cubicBezTo>
                          <a:cubicBezTo>
                            <a:pt x="165" y="905"/>
                            <a:pt x="157" y="910"/>
                            <a:pt x="146" y="895"/>
                          </a:cubicBezTo>
                          <a:cubicBezTo>
                            <a:pt x="108" y="841"/>
                            <a:pt x="108" y="790"/>
                            <a:pt x="89" y="730"/>
                          </a:cubicBezTo>
                          <a:cubicBezTo>
                            <a:pt x="70" y="666"/>
                            <a:pt x="2" y="640"/>
                            <a:pt x="1" y="560"/>
                          </a:cubicBezTo>
                          <a:cubicBezTo>
                            <a:pt x="0" y="517"/>
                            <a:pt x="20" y="487"/>
                            <a:pt x="36" y="449"/>
                          </a:cubicBezTo>
                          <a:cubicBezTo>
                            <a:pt x="58" y="398"/>
                            <a:pt x="72" y="345"/>
                            <a:pt x="77" y="288"/>
                          </a:cubicBezTo>
                          <a:cubicBezTo>
                            <a:pt x="85" y="209"/>
                            <a:pt x="60" y="115"/>
                            <a:pt x="117" y="55"/>
                          </a:cubicBezTo>
                          <a:cubicBezTo>
                            <a:pt x="138" y="34"/>
                            <a:pt x="164" y="18"/>
                            <a:pt x="186" y="0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1" name="Freeform 214"/>
                    <p:cNvSpPr>
                      <a:spLocks/>
                    </p:cNvSpPr>
                    <p:nvPr/>
                  </p:nvSpPr>
                  <p:spPr bwMode="gray">
                    <a:xfrm>
                      <a:off x="-12274550" y="11315701"/>
                      <a:ext cx="1162050" cy="2009775"/>
                    </a:xfrm>
                    <a:custGeom>
                      <a:avLst/>
                      <a:gdLst/>
                      <a:ahLst/>
                      <a:cxnLst>
                        <a:cxn ang="0">
                          <a:pos x="148" y="0"/>
                        </a:cxn>
                        <a:cxn ang="0">
                          <a:pos x="154" y="269"/>
                        </a:cxn>
                        <a:cxn ang="0">
                          <a:pos x="310" y="452"/>
                        </a:cxn>
                        <a:cxn ang="0">
                          <a:pos x="131" y="0"/>
                        </a:cxn>
                      </a:cxnLst>
                      <a:rect l="0" t="0" r="r" b="b"/>
                      <a:pathLst>
                        <a:path w="310" h="536">
                          <a:moveTo>
                            <a:pt x="148" y="0"/>
                          </a:moveTo>
                          <a:cubicBezTo>
                            <a:pt x="148" y="85"/>
                            <a:pt x="124" y="195"/>
                            <a:pt x="154" y="269"/>
                          </a:cubicBezTo>
                          <a:cubicBezTo>
                            <a:pt x="182" y="338"/>
                            <a:pt x="254" y="405"/>
                            <a:pt x="310" y="452"/>
                          </a:cubicBezTo>
                          <a:cubicBezTo>
                            <a:pt x="222" y="536"/>
                            <a:pt x="0" y="98"/>
                            <a:pt x="131" y="0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2" name="Freeform 215"/>
                    <p:cNvSpPr>
                      <a:spLocks/>
                    </p:cNvSpPr>
                    <p:nvPr/>
                  </p:nvSpPr>
                  <p:spPr bwMode="gray">
                    <a:xfrm>
                      <a:off x="-10691813" y="10321926"/>
                      <a:ext cx="1900238" cy="2689225"/>
                    </a:xfrm>
                    <a:custGeom>
                      <a:avLst/>
                      <a:gdLst/>
                      <a:ahLst/>
                      <a:cxnLst>
                        <a:cxn ang="0">
                          <a:pos x="8" y="701"/>
                        </a:cxn>
                        <a:cxn ang="0">
                          <a:pos x="292" y="372"/>
                        </a:cxn>
                        <a:cxn ang="0">
                          <a:pos x="507" y="0"/>
                        </a:cxn>
                        <a:cxn ang="0">
                          <a:pos x="466" y="56"/>
                        </a:cxn>
                        <a:cxn ang="0">
                          <a:pos x="428" y="121"/>
                        </a:cxn>
                        <a:cxn ang="0">
                          <a:pos x="365" y="251"/>
                        </a:cxn>
                        <a:cxn ang="0">
                          <a:pos x="232" y="514"/>
                        </a:cxn>
                        <a:cxn ang="0">
                          <a:pos x="0" y="717"/>
                        </a:cxn>
                      </a:cxnLst>
                      <a:rect l="0" t="0" r="r" b="b"/>
                      <a:pathLst>
                        <a:path w="507" h="717">
                          <a:moveTo>
                            <a:pt x="8" y="701"/>
                          </a:moveTo>
                          <a:cubicBezTo>
                            <a:pt x="126" y="642"/>
                            <a:pt x="212" y="486"/>
                            <a:pt x="292" y="372"/>
                          </a:cubicBezTo>
                          <a:cubicBezTo>
                            <a:pt x="352" y="287"/>
                            <a:pt x="402" y="8"/>
                            <a:pt x="507" y="0"/>
                          </a:cubicBezTo>
                          <a:cubicBezTo>
                            <a:pt x="502" y="35"/>
                            <a:pt x="481" y="30"/>
                            <a:pt x="466" y="56"/>
                          </a:cubicBezTo>
                          <a:cubicBezTo>
                            <a:pt x="456" y="72"/>
                            <a:pt x="439" y="102"/>
                            <a:pt x="428" y="121"/>
                          </a:cubicBezTo>
                          <a:cubicBezTo>
                            <a:pt x="400" y="166"/>
                            <a:pt x="384" y="201"/>
                            <a:pt x="365" y="251"/>
                          </a:cubicBezTo>
                          <a:cubicBezTo>
                            <a:pt x="327" y="350"/>
                            <a:pt x="276" y="423"/>
                            <a:pt x="232" y="514"/>
                          </a:cubicBezTo>
                          <a:cubicBezTo>
                            <a:pt x="135" y="568"/>
                            <a:pt x="118" y="700"/>
                            <a:pt x="0" y="717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3" name="Freeform 216"/>
                    <p:cNvSpPr>
                      <a:spLocks/>
                    </p:cNvSpPr>
                    <p:nvPr/>
                  </p:nvSpPr>
                  <p:spPr bwMode="gray">
                    <a:xfrm>
                      <a:off x="-12109450" y="8926513"/>
                      <a:ext cx="3465513" cy="3694113"/>
                    </a:xfrm>
                    <a:custGeom>
                      <a:avLst/>
                      <a:gdLst/>
                      <a:ahLst/>
                      <a:cxnLst>
                        <a:cxn ang="0">
                          <a:pos x="657" y="363"/>
                        </a:cxn>
                        <a:cxn ang="0">
                          <a:pos x="462" y="673"/>
                        </a:cxn>
                        <a:cxn ang="0">
                          <a:pos x="333" y="985"/>
                        </a:cxn>
                        <a:cxn ang="0">
                          <a:pos x="236" y="354"/>
                        </a:cxn>
                        <a:cxn ang="0">
                          <a:pos x="0" y="385"/>
                        </a:cxn>
                        <a:cxn ang="0">
                          <a:pos x="155" y="269"/>
                        </a:cxn>
                        <a:cxn ang="0">
                          <a:pos x="272" y="118"/>
                        </a:cxn>
                        <a:cxn ang="0">
                          <a:pos x="655" y="53"/>
                        </a:cxn>
                        <a:cxn ang="0">
                          <a:pos x="924" y="405"/>
                        </a:cxn>
                        <a:cxn ang="0">
                          <a:pos x="647" y="374"/>
                        </a:cxn>
                      </a:cxnLst>
                      <a:rect l="0" t="0" r="r" b="b"/>
                      <a:pathLst>
                        <a:path w="924" h="985">
                          <a:moveTo>
                            <a:pt x="657" y="363"/>
                          </a:moveTo>
                          <a:cubicBezTo>
                            <a:pt x="602" y="466"/>
                            <a:pt x="523" y="569"/>
                            <a:pt x="462" y="673"/>
                          </a:cubicBezTo>
                          <a:cubicBezTo>
                            <a:pt x="412" y="727"/>
                            <a:pt x="334" y="908"/>
                            <a:pt x="333" y="985"/>
                          </a:cubicBezTo>
                          <a:cubicBezTo>
                            <a:pt x="183" y="931"/>
                            <a:pt x="225" y="479"/>
                            <a:pt x="236" y="354"/>
                          </a:cubicBezTo>
                          <a:cubicBezTo>
                            <a:pt x="139" y="320"/>
                            <a:pt x="90" y="383"/>
                            <a:pt x="0" y="385"/>
                          </a:cubicBezTo>
                          <a:cubicBezTo>
                            <a:pt x="25" y="359"/>
                            <a:pt x="111" y="310"/>
                            <a:pt x="155" y="269"/>
                          </a:cubicBezTo>
                          <a:cubicBezTo>
                            <a:pt x="203" y="225"/>
                            <a:pt x="232" y="156"/>
                            <a:pt x="272" y="118"/>
                          </a:cubicBezTo>
                          <a:cubicBezTo>
                            <a:pt x="370" y="25"/>
                            <a:pt x="531" y="0"/>
                            <a:pt x="655" y="53"/>
                          </a:cubicBezTo>
                          <a:cubicBezTo>
                            <a:pt x="729" y="164"/>
                            <a:pt x="911" y="267"/>
                            <a:pt x="924" y="405"/>
                          </a:cubicBezTo>
                          <a:cubicBezTo>
                            <a:pt x="842" y="413"/>
                            <a:pt x="739" y="374"/>
                            <a:pt x="647" y="374"/>
                          </a:cubicBezTo>
                        </a:path>
                      </a:pathLst>
                    </a:custGeom>
                    <a:solidFill>
                      <a:srgbClr val="EDEBEC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4" name="Freeform 217"/>
                    <p:cNvSpPr>
                      <a:spLocks/>
                    </p:cNvSpPr>
                    <p:nvPr/>
                  </p:nvSpPr>
                  <p:spPr bwMode="gray">
                    <a:xfrm>
                      <a:off x="-10977563" y="7891463"/>
                      <a:ext cx="1387475" cy="3170238"/>
                    </a:xfrm>
                    <a:custGeom>
                      <a:avLst/>
                      <a:gdLst/>
                      <a:ahLst/>
                      <a:cxnLst>
                        <a:cxn ang="0">
                          <a:pos x="65" y="209"/>
                        </a:cxn>
                        <a:cxn ang="0">
                          <a:pos x="15" y="456"/>
                        </a:cxn>
                        <a:cxn ang="0">
                          <a:pos x="76" y="845"/>
                        </a:cxn>
                        <a:cxn ang="0">
                          <a:pos x="347" y="411"/>
                        </a:cxn>
                        <a:cxn ang="0">
                          <a:pos x="313" y="166"/>
                        </a:cxn>
                        <a:cxn ang="0">
                          <a:pos x="65" y="209"/>
                        </a:cxn>
                      </a:cxnLst>
                      <a:rect l="0" t="0" r="r" b="b"/>
                      <a:pathLst>
                        <a:path w="370" h="845">
                          <a:moveTo>
                            <a:pt x="65" y="209"/>
                          </a:moveTo>
                          <a:cubicBezTo>
                            <a:pt x="37" y="364"/>
                            <a:pt x="31" y="299"/>
                            <a:pt x="15" y="456"/>
                          </a:cubicBezTo>
                          <a:cubicBezTo>
                            <a:pt x="0" y="610"/>
                            <a:pt x="23" y="766"/>
                            <a:pt x="76" y="845"/>
                          </a:cubicBezTo>
                          <a:cubicBezTo>
                            <a:pt x="198" y="720"/>
                            <a:pt x="370" y="495"/>
                            <a:pt x="347" y="411"/>
                          </a:cubicBezTo>
                          <a:cubicBezTo>
                            <a:pt x="326" y="334"/>
                            <a:pt x="333" y="247"/>
                            <a:pt x="313" y="166"/>
                          </a:cubicBezTo>
                          <a:cubicBezTo>
                            <a:pt x="270" y="0"/>
                            <a:pt x="129" y="113"/>
                            <a:pt x="65" y="209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5" name="Freeform 218"/>
                    <p:cNvSpPr>
                      <a:spLocks/>
                    </p:cNvSpPr>
                    <p:nvPr/>
                  </p:nvSpPr>
                  <p:spPr bwMode="gray">
                    <a:xfrm>
                      <a:off x="-11336338" y="6861176"/>
                      <a:ext cx="1660525" cy="2741613"/>
                    </a:xfrm>
                    <a:custGeom>
                      <a:avLst/>
                      <a:gdLst/>
                      <a:ahLst/>
                      <a:cxnLst>
                        <a:cxn ang="0">
                          <a:pos x="34" y="0"/>
                        </a:cxn>
                        <a:cxn ang="0">
                          <a:pos x="151" y="571"/>
                        </a:cxn>
                        <a:cxn ang="0">
                          <a:pos x="423" y="467"/>
                        </a:cxn>
                      </a:cxnLst>
                      <a:rect l="0" t="0" r="r" b="b"/>
                      <a:pathLst>
                        <a:path w="443" h="731">
                          <a:moveTo>
                            <a:pt x="34" y="0"/>
                          </a:moveTo>
                          <a:cubicBezTo>
                            <a:pt x="0" y="121"/>
                            <a:pt x="95" y="464"/>
                            <a:pt x="151" y="571"/>
                          </a:cubicBezTo>
                          <a:cubicBezTo>
                            <a:pt x="202" y="731"/>
                            <a:pt x="443" y="654"/>
                            <a:pt x="423" y="467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6" name="Freeform 219"/>
                    <p:cNvSpPr>
                      <a:spLocks/>
                    </p:cNvSpPr>
                    <p:nvPr/>
                  </p:nvSpPr>
                  <p:spPr bwMode="gray">
                    <a:xfrm>
                      <a:off x="-11385550" y="5757863"/>
                      <a:ext cx="2643188" cy="3578225"/>
                    </a:xfrm>
                    <a:custGeom>
                      <a:avLst/>
                      <a:gdLst/>
                      <a:ahLst/>
                      <a:cxnLst>
                        <a:cxn ang="0">
                          <a:pos x="540" y="466"/>
                        </a:cxn>
                        <a:cxn ang="0">
                          <a:pos x="379" y="71"/>
                        </a:cxn>
                        <a:cxn ang="0">
                          <a:pos x="34" y="284"/>
                        </a:cxn>
                        <a:cxn ang="0">
                          <a:pos x="77" y="757"/>
                        </a:cxn>
                        <a:cxn ang="0">
                          <a:pos x="411" y="821"/>
                        </a:cxn>
                        <a:cxn ang="0">
                          <a:pos x="541" y="486"/>
                        </a:cxn>
                        <a:cxn ang="0">
                          <a:pos x="529" y="456"/>
                        </a:cxn>
                      </a:cxnLst>
                      <a:rect l="0" t="0" r="r" b="b"/>
                      <a:pathLst>
                        <a:path w="705" h="954">
                          <a:moveTo>
                            <a:pt x="540" y="466"/>
                          </a:moveTo>
                          <a:cubicBezTo>
                            <a:pt x="583" y="312"/>
                            <a:pt x="527" y="143"/>
                            <a:pt x="379" y="71"/>
                          </a:cubicBezTo>
                          <a:cubicBezTo>
                            <a:pt x="233" y="0"/>
                            <a:pt x="70" y="158"/>
                            <a:pt x="34" y="284"/>
                          </a:cubicBezTo>
                          <a:cubicBezTo>
                            <a:pt x="0" y="404"/>
                            <a:pt x="21" y="650"/>
                            <a:pt x="77" y="757"/>
                          </a:cubicBezTo>
                          <a:cubicBezTo>
                            <a:pt x="152" y="900"/>
                            <a:pt x="298" y="954"/>
                            <a:pt x="411" y="821"/>
                          </a:cubicBezTo>
                          <a:cubicBezTo>
                            <a:pt x="450" y="776"/>
                            <a:pt x="705" y="503"/>
                            <a:pt x="541" y="486"/>
                          </a:cubicBezTo>
                          <a:cubicBezTo>
                            <a:pt x="544" y="469"/>
                            <a:pt x="538" y="463"/>
                            <a:pt x="529" y="456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7" name="Freeform 220"/>
                    <p:cNvSpPr>
                      <a:spLocks/>
                    </p:cNvSpPr>
                    <p:nvPr/>
                  </p:nvSpPr>
                  <p:spPr bwMode="gray">
                    <a:xfrm>
                      <a:off x="-10306050" y="5870576"/>
                      <a:ext cx="1131888" cy="1927225"/>
                    </a:xfrm>
                    <a:custGeom>
                      <a:avLst/>
                      <a:gdLst/>
                      <a:ahLst/>
                      <a:cxnLst>
                        <a:cxn ang="0">
                          <a:pos x="78" y="130"/>
                        </a:cxn>
                        <a:cxn ang="0">
                          <a:pos x="216" y="282"/>
                        </a:cxn>
                        <a:cxn ang="0">
                          <a:pos x="232" y="496"/>
                        </a:cxn>
                        <a:cxn ang="0">
                          <a:pos x="284" y="336"/>
                        </a:cxn>
                        <a:cxn ang="0">
                          <a:pos x="256" y="153"/>
                        </a:cxn>
                        <a:cxn ang="0">
                          <a:pos x="135" y="36"/>
                        </a:cxn>
                        <a:cxn ang="0">
                          <a:pos x="38" y="13"/>
                        </a:cxn>
                        <a:cxn ang="0">
                          <a:pos x="10" y="98"/>
                        </a:cxn>
                        <a:cxn ang="0">
                          <a:pos x="78" y="130"/>
                        </a:cxn>
                      </a:cxnLst>
                      <a:rect l="0" t="0" r="r" b="b"/>
                      <a:pathLst>
                        <a:path w="302" h="514">
                          <a:moveTo>
                            <a:pt x="78" y="130"/>
                          </a:moveTo>
                          <a:cubicBezTo>
                            <a:pt x="136" y="173"/>
                            <a:pt x="189" y="210"/>
                            <a:pt x="216" y="282"/>
                          </a:cubicBezTo>
                          <a:cubicBezTo>
                            <a:pt x="240" y="345"/>
                            <a:pt x="241" y="427"/>
                            <a:pt x="232" y="496"/>
                          </a:cubicBezTo>
                          <a:cubicBezTo>
                            <a:pt x="289" y="514"/>
                            <a:pt x="276" y="368"/>
                            <a:pt x="284" y="336"/>
                          </a:cubicBezTo>
                          <a:cubicBezTo>
                            <a:pt x="302" y="266"/>
                            <a:pt x="300" y="217"/>
                            <a:pt x="256" y="153"/>
                          </a:cubicBezTo>
                          <a:cubicBezTo>
                            <a:pt x="224" y="105"/>
                            <a:pt x="184" y="67"/>
                            <a:pt x="135" y="36"/>
                          </a:cubicBezTo>
                          <a:cubicBezTo>
                            <a:pt x="112" y="22"/>
                            <a:pt x="65" y="0"/>
                            <a:pt x="38" y="13"/>
                          </a:cubicBezTo>
                          <a:cubicBezTo>
                            <a:pt x="14" y="25"/>
                            <a:pt x="0" y="74"/>
                            <a:pt x="10" y="98"/>
                          </a:cubicBezTo>
                          <a:cubicBezTo>
                            <a:pt x="20" y="121"/>
                            <a:pt x="56" y="129"/>
                            <a:pt x="78" y="130"/>
                          </a:cubicBezTo>
                        </a:path>
                      </a:pathLst>
                    </a:custGeom>
                    <a:solidFill>
                      <a:srgbClr val="38291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8" name="Freeform 221"/>
                    <p:cNvSpPr>
                      <a:spLocks/>
                    </p:cNvSpPr>
                    <p:nvPr/>
                  </p:nvSpPr>
                  <p:spPr bwMode="gray">
                    <a:xfrm>
                      <a:off x="-11415713" y="5799138"/>
                      <a:ext cx="1690688" cy="2160588"/>
                    </a:xfrm>
                    <a:custGeom>
                      <a:avLst/>
                      <a:gdLst/>
                      <a:ahLst/>
                      <a:cxnLst>
                        <a:cxn ang="0">
                          <a:pos x="370" y="157"/>
                        </a:cxn>
                        <a:cxn ang="0">
                          <a:pos x="151" y="329"/>
                        </a:cxn>
                        <a:cxn ang="0">
                          <a:pos x="23" y="576"/>
                        </a:cxn>
                        <a:cxn ang="0">
                          <a:pos x="11" y="500"/>
                        </a:cxn>
                        <a:cxn ang="0">
                          <a:pos x="0" y="499"/>
                        </a:cxn>
                        <a:cxn ang="0">
                          <a:pos x="56" y="165"/>
                        </a:cxn>
                        <a:cxn ang="0">
                          <a:pos x="330" y="16"/>
                        </a:cxn>
                        <a:cxn ang="0">
                          <a:pos x="370" y="157"/>
                        </a:cxn>
                      </a:cxnLst>
                      <a:rect l="0" t="0" r="r" b="b"/>
                      <a:pathLst>
                        <a:path w="451" h="576">
                          <a:moveTo>
                            <a:pt x="370" y="157"/>
                          </a:moveTo>
                          <a:cubicBezTo>
                            <a:pt x="280" y="183"/>
                            <a:pt x="205" y="258"/>
                            <a:pt x="151" y="329"/>
                          </a:cubicBezTo>
                          <a:cubicBezTo>
                            <a:pt x="104" y="393"/>
                            <a:pt x="34" y="493"/>
                            <a:pt x="23" y="576"/>
                          </a:cubicBezTo>
                          <a:cubicBezTo>
                            <a:pt x="6" y="557"/>
                            <a:pt x="12" y="526"/>
                            <a:pt x="11" y="500"/>
                          </a:cubicBezTo>
                          <a:cubicBezTo>
                            <a:pt x="7" y="499"/>
                            <a:pt x="4" y="500"/>
                            <a:pt x="0" y="499"/>
                          </a:cubicBezTo>
                          <a:cubicBezTo>
                            <a:pt x="18" y="386"/>
                            <a:pt x="1" y="273"/>
                            <a:pt x="56" y="165"/>
                          </a:cubicBezTo>
                          <a:cubicBezTo>
                            <a:pt x="100" y="77"/>
                            <a:pt x="228" y="0"/>
                            <a:pt x="330" y="16"/>
                          </a:cubicBezTo>
                          <a:cubicBezTo>
                            <a:pt x="408" y="28"/>
                            <a:pt x="451" y="128"/>
                            <a:pt x="370" y="157"/>
                          </a:cubicBezTo>
                        </a:path>
                      </a:pathLst>
                    </a:custGeom>
                    <a:solidFill>
                      <a:srgbClr val="4C392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59" name="Freeform 222"/>
                    <p:cNvSpPr>
                      <a:spLocks/>
                    </p:cNvSpPr>
                    <p:nvPr/>
                  </p:nvSpPr>
                  <p:spPr bwMode="gray">
                    <a:xfrm>
                      <a:off x="-11168063" y="12928601"/>
                      <a:ext cx="393700" cy="363538"/>
                    </a:xfrm>
                    <a:custGeom>
                      <a:avLst/>
                      <a:gdLst/>
                      <a:ahLst/>
                      <a:cxnLst>
                        <a:cxn ang="0">
                          <a:pos x="95" y="22"/>
                        </a:cxn>
                        <a:cxn ang="0">
                          <a:pos x="93" y="77"/>
                        </a:cxn>
                        <a:cxn ang="0">
                          <a:pos x="95" y="30"/>
                        </a:cxn>
                      </a:cxnLst>
                      <a:rect l="0" t="0" r="r" b="b"/>
                      <a:pathLst>
                        <a:path w="105" h="97">
                          <a:moveTo>
                            <a:pt x="95" y="22"/>
                          </a:moveTo>
                          <a:cubicBezTo>
                            <a:pt x="0" y="0"/>
                            <a:pt x="11" y="97"/>
                            <a:pt x="93" y="77"/>
                          </a:cubicBezTo>
                          <a:cubicBezTo>
                            <a:pt x="105" y="57"/>
                            <a:pt x="101" y="43"/>
                            <a:pt x="95" y="30"/>
                          </a:cubicBezTo>
                        </a:path>
                      </a:pathLst>
                    </a:custGeom>
                    <a:solidFill>
                      <a:srgbClr val="4D4D4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0" name="Freeform 223"/>
                    <p:cNvSpPr>
                      <a:spLocks/>
                    </p:cNvSpPr>
                    <p:nvPr/>
                  </p:nvSpPr>
                  <p:spPr bwMode="gray">
                    <a:xfrm>
                      <a:off x="-10966450" y="13839826"/>
                      <a:ext cx="225425" cy="292100"/>
                    </a:xfrm>
                    <a:custGeom>
                      <a:avLst/>
                      <a:gdLst/>
                      <a:ahLst/>
                      <a:cxnLst>
                        <a:cxn ang="0">
                          <a:pos x="57" y="21"/>
                        </a:cxn>
                        <a:cxn ang="0">
                          <a:pos x="18" y="6"/>
                        </a:cxn>
                        <a:cxn ang="0">
                          <a:pos x="40" y="78"/>
                        </a:cxn>
                        <a:cxn ang="0">
                          <a:pos x="57" y="37"/>
                        </a:cxn>
                      </a:cxnLst>
                      <a:rect l="0" t="0" r="r" b="b"/>
                      <a:pathLst>
                        <a:path w="60" h="78">
                          <a:moveTo>
                            <a:pt x="57" y="21"/>
                          </a:moveTo>
                          <a:cubicBezTo>
                            <a:pt x="45" y="10"/>
                            <a:pt x="38" y="0"/>
                            <a:pt x="18" y="6"/>
                          </a:cubicBezTo>
                          <a:cubicBezTo>
                            <a:pt x="0" y="35"/>
                            <a:pt x="9" y="63"/>
                            <a:pt x="40" y="78"/>
                          </a:cubicBezTo>
                          <a:cubicBezTo>
                            <a:pt x="60" y="68"/>
                            <a:pt x="57" y="57"/>
                            <a:pt x="57" y="37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1" name="Freeform 224"/>
                    <p:cNvSpPr>
                      <a:spLocks/>
                    </p:cNvSpPr>
                    <p:nvPr/>
                  </p:nvSpPr>
                  <p:spPr bwMode="gray">
                    <a:xfrm>
                      <a:off x="-9634538" y="14068426"/>
                      <a:ext cx="1173163" cy="1057275"/>
                    </a:xfrm>
                    <a:custGeom>
                      <a:avLst/>
                      <a:gdLst/>
                      <a:ahLst/>
                      <a:cxnLst>
                        <a:cxn ang="0">
                          <a:pos x="8" y="0"/>
                        </a:cxn>
                        <a:cxn ang="0">
                          <a:pos x="112" y="180"/>
                        </a:cxn>
                        <a:cxn ang="0">
                          <a:pos x="313" y="273"/>
                        </a:cxn>
                        <a:cxn ang="0">
                          <a:pos x="111" y="212"/>
                        </a:cxn>
                        <a:cxn ang="0">
                          <a:pos x="0" y="16"/>
                        </a:cxn>
                      </a:cxnLst>
                      <a:rect l="0" t="0" r="r" b="b"/>
                      <a:pathLst>
                        <a:path w="313" h="282">
                          <a:moveTo>
                            <a:pt x="8" y="0"/>
                          </a:moveTo>
                          <a:cubicBezTo>
                            <a:pt x="64" y="63"/>
                            <a:pt x="12" y="138"/>
                            <a:pt x="112" y="180"/>
                          </a:cubicBezTo>
                          <a:cubicBezTo>
                            <a:pt x="169" y="203"/>
                            <a:pt x="302" y="196"/>
                            <a:pt x="313" y="273"/>
                          </a:cubicBezTo>
                          <a:cubicBezTo>
                            <a:pt x="272" y="282"/>
                            <a:pt x="151" y="228"/>
                            <a:pt x="111" y="212"/>
                          </a:cubicBezTo>
                          <a:cubicBezTo>
                            <a:pt x="27" y="178"/>
                            <a:pt x="7" y="101"/>
                            <a:pt x="0" y="16"/>
                          </a:cubicBezTo>
                        </a:path>
                      </a:pathLst>
                    </a:custGeom>
                    <a:solidFill>
                      <a:srgbClr val="4D4D4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62" name="Freeform 225"/>
                    <p:cNvSpPr>
                      <a:spLocks/>
                    </p:cNvSpPr>
                    <p:nvPr/>
                  </p:nvSpPr>
                  <p:spPr bwMode="gray">
                    <a:xfrm>
                      <a:off x="-12042775" y="14008101"/>
                      <a:ext cx="646113" cy="919163"/>
                    </a:xfrm>
                    <a:custGeom>
                      <a:avLst/>
                      <a:gdLst/>
                      <a:ahLst/>
                      <a:cxnLst>
                        <a:cxn ang="0">
                          <a:pos x="110" y="0"/>
                        </a:cxn>
                        <a:cxn ang="0">
                          <a:pos x="0" y="226"/>
                        </a:cxn>
                        <a:cxn ang="0">
                          <a:pos x="118" y="16"/>
                        </a:cxn>
                      </a:cxnLst>
                      <a:rect l="0" t="0" r="r" b="b"/>
                      <a:pathLst>
                        <a:path w="172" h="245">
                          <a:moveTo>
                            <a:pt x="110" y="0"/>
                          </a:moveTo>
                          <a:cubicBezTo>
                            <a:pt x="115" y="91"/>
                            <a:pt x="69" y="180"/>
                            <a:pt x="0" y="226"/>
                          </a:cubicBezTo>
                          <a:cubicBezTo>
                            <a:pt x="97" y="245"/>
                            <a:pt x="172" y="88"/>
                            <a:pt x="118" y="16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</p:grpSp>
            </p:grpSp>
            <p:grpSp>
              <p:nvGrpSpPr>
                <p:cNvPr id="711" name="Gruppieren 451"/>
                <p:cNvGrpSpPr/>
                <p:nvPr/>
              </p:nvGrpSpPr>
              <p:grpSpPr bwMode="gray">
                <a:xfrm>
                  <a:off x="5384246" y="2217483"/>
                  <a:ext cx="1686695" cy="2957465"/>
                  <a:chOff x="-1137816" y="2138743"/>
                  <a:chExt cx="1338560" cy="2347039"/>
                </a:xfrm>
              </p:grpSpPr>
              <p:pic>
                <p:nvPicPr>
                  <p:cNvPr id="860" name="_effect" descr="C:\Users\marc.h\Desktop\Schatten-TEST.png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gray">
                  <a:xfrm>
                    <a:off x="-1137816" y="3937210"/>
                    <a:ext cx="1338560" cy="548572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861" name="Gruppieren 136"/>
                  <p:cNvGrpSpPr/>
                  <p:nvPr/>
                </p:nvGrpSpPr>
                <p:grpSpPr bwMode="gray">
                  <a:xfrm>
                    <a:off x="-783753" y="2138744"/>
                    <a:ext cx="715750" cy="2167659"/>
                    <a:chOff x="-4095750" y="5688013"/>
                    <a:chExt cx="6791325" cy="20567650"/>
                  </a:xfrm>
                </p:grpSpPr>
                <p:sp>
                  <p:nvSpPr>
                    <p:cNvPr id="862" name="Freeform 267"/>
                    <p:cNvSpPr>
                      <a:spLocks/>
                    </p:cNvSpPr>
                    <p:nvPr/>
                  </p:nvSpPr>
                  <p:spPr bwMode="gray">
                    <a:xfrm>
                      <a:off x="1247775" y="10442576"/>
                      <a:ext cx="641350" cy="3325813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41"/>
                        </a:cxn>
                        <a:cxn ang="0">
                          <a:pos x="0" y="275"/>
                        </a:cxn>
                        <a:cxn ang="0">
                          <a:pos x="34" y="498"/>
                        </a:cxn>
                        <a:cxn ang="0">
                          <a:pos x="1" y="887"/>
                        </a:cxn>
                        <a:cxn ang="0">
                          <a:pos x="35" y="736"/>
                        </a:cxn>
                        <a:cxn ang="0">
                          <a:pos x="18" y="415"/>
                        </a:cxn>
                        <a:cxn ang="0">
                          <a:pos x="24" y="211"/>
                        </a:cxn>
                        <a:cxn ang="0">
                          <a:pos x="29" y="0"/>
                        </a:cxn>
                      </a:cxnLst>
                      <a:rect l="0" t="0" r="r" b="b"/>
                      <a:pathLst>
                        <a:path w="171" h="887">
                          <a:moveTo>
                            <a:pt x="12" y="41"/>
                          </a:moveTo>
                          <a:cubicBezTo>
                            <a:pt x="37" y="97"/>
                            <a:pt x="0" y="207"/>
                            <a:pt x="0" y="275"/>
                          </a:cubicBezTo>
                          <a:cubicBezTo>
                            <a:pt x="0" y="361"/>
                            <a:pt x="6" y="422"/>
                            <a:pt x="34" y="498"/>
                          </a:cubicBezTo>
                          <a:cubicBezTo>
                            <a:pt x="80" y="621"/>
                            <a:pt x="171" y="811"/>
                            <a:pt x="1" y="887"/>
                          </a:cubicBezTo>
                          <a:cubicBezTo>
                            <a:pt x="13" y="832"/>
                            <a:pt x="35" y="802"/>
                            <a:pt x="35" y="736"/>
                          </a:cubicBezTo>
                          <a:cubicBezTo>
                            <a:pt x="35" y="631"/>
                            <a:pt x="28" y="520"/>
                            <a:pt x="18" y="415"/>
                          </a:cubicBezTo>
                          <a:cubicBezTo>
                            <a:pt x="11" y="345"/>
                            <a:pt x="18" y="278"/>
                            <a:pt x="24" y="211"/>
                          </a:cubicBezTo>
                          <a:cubicBezTo>
                            <a:pt x="30" y="144"/>
                            <a:pt x="7" y="62"/>
                            <a:pt x="29" y="0"/>
                          </a:cubicBezTo>
                        </a:path>
                      </a:pathLst>
                    </a:custGeom>
                    <a:solidFill>
                      <a:srgbClr val="1B242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3" name="Freeform 268"/>
                    <p:cNvSpPr>
                      <a:spLocks/>
                    </p:cNvSpPr>
                    <p:nvPr/>
                  </p:nvSpPr>
                  <p:spPr bwMode="gray">
                    <a:xfrm>
                      <a:off x="-3135313" y="23976013"/>
                      <a:ext cx="1889125" cy="2017713"/>
                    </a:xfrm>
                    <a:custGeom>
                      <a:avLst/>
                      <a:gdLst/>
                      <a:ahLst/>
                      <a:cxnLst>
                        <a:cxn ang="0">
                          <a:pos x="453" y="0"/>
                        </a:cxn>
                        <a:cxn ang="0">
                          <a:pos x="491" y="43"/>
                        </a:cxn>
                        <a:cxn ang="0">
                          <a:pos x="503" y="116"/>
                        </a:cxn>
                        <a:cxn ang="0">
                          <a:pos x="451" y="228"/>
                        </a:cxn>
                        <a:cxn ang="0">
                          <a:pos x="385" y="327"/>
                        </a:cxn>
                        <a:cxn ang="0">
                          <a:pos x="343" y="382"/>
                        </a:cxn>
                        <a:cxn ang="0">
                          <a:pos x="324" y="452"/>
                        </a:cxn>
                        <a:cxn ang="0">
                          <a:pos x="196" y="515"/>
                        </a:cxn>
                        <a:cxn ang="0">
                          <a:pos x="56" y="537"/>
                        </a:cxn>
                        <a:cxn ang="0">
                          <a:pos x="4" y="531"/>
                        </a:cxn>
                        <a:cxn ang="0">
                          <a:pos x="44" y="415"/>
                        </a:cxn>
                        <a:cxn ang="0">
                          <a:pos x="94" y="301"/>
                        </a:cxn>
                        <a:cxn ang="0">
                          <a:pos x="205" y="239"/>
                        </a:cxn>
                        <a:cxn ang="0">
                          <a:pos x="318" y="133"/>
                        </a:cxn>
                        <a:cxn ang="0">
                          <a:pos x="372" y="26"/>
                        </a:cxn>
                        <a:cxn ang="0">
                          <a:pos x="471" y="11"/>
                        </a:cxn>
                      </a:cxnLst>
                      <a:rect l="0" t="0" r="r" b="b"/>
                      <a:pathLst>
                        <a:path w="504" h="538">
                          <a:moveTo>
                            <a:pt x="453" y="0"/>
                          </a:moveTo>
                          <a:cubicBezTo>
                            <a:pt x="468" y="18"/>
                            <a:pt x="482" y="20"/>
                            <a:pt x="491" y="43"/>
                          </a:cubicBezTo>
                          <a:cubicBezTo>
                            <a:pt x="500" y="66"/>
                            <a:pt x="502" y="91"/>
                            <a:pt x="503" y="116"/>
                          </a:cubicBezTo>
                          <a:cubicBezTo>
                            <a:pt x="504" y="156"/>
                            <a:pt x="497" y="220"/>
                            <a:pt x="451" y="228"/>
                          </a:cubicBezTo>
                          <a:cubicBezTo>
                            <a:pt x="427" y="259"/>
                            <a:pt x="408" y="295"/>
                            <a:pt x="385" y="327"/>
                          </a:cubicBezTo>
                          <a:cubicBezTo>
                            <a:pt x="373" y="344"/>
                            <a:pt x="349" y="362"/>
                            <a:pt x="343" y="382"/>
                          </a:cubicBezTo>
                          <a:cubicBezTo>
                            <a:pt x="334" y="411"/>
                            <a:pt x="345" y="427"/>
                            <a:pt x="324" y="452"/>
                          </a:cubicBezTo>
                          <a:cubicBezTo>
                            <a:pt x="289" y="493"/>
                            <a:pt x="242" y="495"/>
                            <a:pt x="196" y="515"/>
                          </a:cubicBezTo>
                          <a:cubicBezTo>
                            <a:pt x="151" y="535"/>
                            <a:pt x="109" y="535"/>
                            <a:pt x="56" y="537"/>
                          </a:cubicBezTo>
                          <a:cubicBezTo>
                            <a:pt x="42" y="538"/>
                            <a:pt x="19" y="532"/>
                            <a:pt x="4" y="531"/>
                          </a:cubicBezTo>
                          <a:cubicBezTo>
                            <a:pt x="0" y="499"/>
                            <a:pt x="30" y="441"/>
                            <a:pt x="44" y="415"/>
                          </a:cubicBezTo>
                          <a:cubicBezTo>
                            <a:pt x="62" y="381"/>
                            <a:pt x="70" y="333"/>
                            <a:pt x="94" y="301"/>
                          </a:cubicBezTo>
                          <a:cubicBezTo>
                            <a:pt x="120" y="267"/>
                            <a:pt x="170" y="258"/>
                            <a:pt x="205" y="239"/>
                          </a:cubicBezTo>
                          <a:cubicBezTo>
                            <a:pt x="250" y="213"/>
                            <a:pt x="288" y="178"/>
                            <a:pt x="318" y="133"/>
                          </a:cubicBezTo>
                          <a:cubicBezTo>
                            <a:pt x="340" y="101"/>
                            <a:pt x="341" y="52"/>
                            <a:pt x="372" y="26"/>
                          </a:cubicBezTo>
                          <a:cubicBezTo>
                            <a:pt x="398" y="5"/>
                            <a:pt x="439" y="6"/>
                            <a:pt x="471" y="11"/>
                          </a:cubicBezTo>
                        </a:path>
                      </a:pathLst>
                    </a:custGeom>
                    <a:solidFill>
                      <a:srgbClr val="2B2B3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4" name="Freeform 269"/>
                    <p:cNvSpPr>
                      <a:spLocks/>
                    </p:cNvSpPr>
                    <p:nvPr/>
                  </p:nvSpPr>
                  <p:spPr bwMode="gray">
                    <a:xfrm>
                      <a:off x="-2787650" y="15524163"/>
                      <a:ext cx="2917825" cy="9955213"/>
                    </a:xfrm>
                    <a:custGeom>
                      <a:avLst/>
                      <a:gdLst/>
                      <a:ahLst/>
                      <a:cxnLst>
                        <a:cxn ang="0">
                          <a:pos x="751" y="46"/>
                        </a:cxn>
                        <a:cxn ang="0">
                          <a:pos x="715" y="302"/>
                        </a:cxn>
                        <a:cxn ang="0">
                          <a:pos x="696" y="587"/>
                        </a:cxn>
                        <a:cxn ang="0">
                          <a:pos x="681" y="884"/>
                        </a:cxn>
                        <a:cxn ang="0">
                          <a:pos x="689" y="1016"/>
                        </a:cxn>
                        <a:cxn ang="0">
                          <a:pos x="651" y="1113"/>
                        </a:cxn>
                        <a:cxn ang="0">
                          <a:pos x="622" y="1298"/>
                        </a:cxn>
                        <a:cxn ang="0">
                          <a:pos x="568" y="1465"/>
                        </a:cxn>
                        <a:cxn ang="0">
                          <a:pos x="547" y="1679"/>
                        </a:cxn>
                        <a:cxn ang="0">
                          <a:pos x="424" y="2026"/>
                        </a:cxn>
                        <a:cxn ang="0">
                          <a:pos x="377" y="2201"/>
                        </a:cxn>
                        <a:cxn ang="0">
                          <a:pos x="377" y="2291"/>
                        </a:cxn>
                        <a:cxn ang="0">
                          <a:pos x="374" y="2408"/>
                        </a:cxn>
                        <a:cxn ang="0">
                          <a:pos x="286" y="2521"/>
                        </a:cxn>
                        <a:cxn ang="0">
                          <a:pos x="211" y="2655"/>
                        </a:cxn>
                        <a:cxn ang="0">
                          <a:pos x="12" y="2581"/>
                        </a:cxn>
                        <a:cxn ang="0">
                          <a:pos x="113" y="2475"/>
                        </a:cxn>
                        <a:cxn ang="0">
                          <a:pos x="210" y="2354"/>
                        </a:cxn>
                        <a:cxn ang="0">
                          <a:pos x="252" y="1741"/>
                        </a:cxn>
                        <a:cxn ang="0">
                          <a:pos x="270" y="1473"/>
                        </a:cxn>
                        <a:cxn ang="0">
                          <a:pos x="283" y="1380"/>
                        </a:cxn>
                        <a:cxn ang="0">
                          <a:pos x="345" y="1184"/>
                        </a:cxn>
                        <a:cxn ang="0">
                          <a:pos x="354" y="1079"/>
                        </a:cxn>
                        <a:cxn ang="0">
                          <a:pos x="372" y="967"/>
                        </a:cxn>
                        <a:cxn ang="0">
                          <a:pos x="357" y="676"/>
                        </a:cxn>
                        <a:cxn ang="0">
                          <a:pos x="358" y="8"/>
                        </a:cxn>
                        <a:cxn ang="0">
                          <a:pos x="778" y="50"/>
                        </a:cxn>
                      </a:cxnLst>
                      <a:rect l="0" t="0" r="r" b="b"/>
                      <a:pathLst>
                        <a:path w="778" h="2655">
                          <a:moveTo>
                            <a:pt x="751" y="46"/>
                          </a:moveTo>
                          <a:cubicBezTo>
                            <a:pt x="750" y="133"/>
                            <a:pt x="733" y="218"/>
                            <a:pt x="715" y="302"/>
                          </a:cubicBezTo>
                          <a:cubicBezTo>
                            <a:pt x="694" y="393"/>
                            <a:pt x="701" y="495"/>
                            <a:pt x="696" y="587"/>
                          </a:cubicBezTo>
                          <a:cubicBezTo>
                            <a:pt x="692" y="687"/>
                            <a:pt x="680" y="784"/>
                            <a:pt x="681" y="884"/>
                          </a:cubicBezTo>
                          <a:cubicBezTo>
                            <a:pt x="681" y="929"/>
                            <a:pt x="689" y="970"/>
                            <a:pt x="689" y="1016"/>
                          </a:cubicBezTo>
                          <a:cubicBezTo>
                            <a:pt x="688" y="1062"/>
                            <a:pt x="669" y="1075"/>
                            <a:pt x="651" y="1113"/>
                          </a:cubicBezTo>
                          <a:cubicBezTo>
                            <a:pt x="634" y="1151"/>
                            <a:pt x="641" y="1272"/>
                            <a:pt x="622" y="1298"/>
                          </a:cubicBezTo>
                          <a:cubicBezTo>
                            <a:pt x="592" y="1340"/>
                            <a:pt x="568" y="1404"/>
                            <a:pt x="568" y="1465"/>
                          </a:cubicBezTo>
                          <a:cubicBezTo>
                            <a:pt x="568" y="1538"/>
                            <a:pt x="568" y="1609"/>
                            <a:pt x="547" y="1679"/>
                          </a:cubicBezTo>
                          <a:cubicBezTo>
                            <a:pt x="529" y="1741"/>
                            <a:pt x="445" y="1972"/>
                            <a:pt x="424" y="2026"/>
                          </a:cubicBezTo>
                          <a:cubicBezTo>
                            <a:pt x="402" y="2084"/>
                            <a:pt x="382" y="2137"/>
                            <a:pt x="377" y="2201"/>
                          </a:cubicBezTo>
                          <a:cubicBezTo>
                            <a:pt x="374" y="2231"/>
                            <a:pt x="370" y="2262"/>
                            <a:pt x="377" y="2291"/>
                          </a:cubicBezTo>
                          <a:cubicBezTo>
                            <a:pt x="384" y="2320"/>
                            <a:pt x="384" y="2374"/>
                            <a:pt x="374" y="2408"/>
                          </a:cubicBezTo>
                          <a:cubicBezTo>
                            <a:pt x="358" y="2461"/>
                            <a:pt x="327" y="2480"/>
                            <a:pt x="286" y="2521"/>
                          </a:cubicBezTo>
                          <a:cubicBezTo>
                            <a:pt x="255" y="2552"/>
                            <a:pt x="255" y="2616"/>
                            <a:pt x="211" y="2655"/>
                          </a:cubicBezTo>
                          <a:cubicBezTo>
                            <a:pt x="211" y="2655"/>
                            <a:pt x="0" y="2611"/>
                            <a:pt x="12" y="2581"/>
                          </a:cubicBezTo>
                          <a:cubicBezTo>
                            <a:pt x="29" y="2541"/>
                            <a:pt x="79" y="2502"/>
                            <a:pt x="113" y="2475"/>
                          </a:cubicBezTo>
                          <a:cubicBezTo>
                            <a:pt x="148" y="2445"/>
                            <a:pt x="189" y="2396"/>
                            <a:pt x="210" y="2354"/>
                          </a:cubicBezTo>
                          <a:cubicBezTo>
                            <a:pt x="236" y="2303"/>
                            <a:pt x="255" y="1803"/>
                            <a:pt x="252" y="1741"/>
                          </a:cubicBezTo>
                          <a:cubicBezTo>
                            <a:pt x="251" y="1710"/>
                            <a:pt x="264" y="1503"/>
                            <a:pt x="270" y="1473"/>
                          </a:cubicBezTo>
                          <a:cubicBezTo>
                            <a:pt x="277" y="1436"/>
                            <a:pt x="286" y="1414"/>
                            <a:pt x="283" y="1380"/>
                          </a:cubicBezTo>
                          <a:cubicBezTo>
                            <a:pt x="278" y="1310"/>
                            <a:pt x="329" y="1249"/>
                            <a:pt x="345" y="1184"/>
                          </a:cubicBezTo>
                          <a:cubicBezTo>
                            <a:pt x="354" y="1152"/>
                            <a:pt x="350" y="1112"/>
                            <a:pt x="354" y="1079"/>
                          </a:cubicBezTo>
                          <a:cubicBezTo>
                            <a:pt x="357" y="1041"/>
                            <a:pt x="368" y="1005"/>
                            <a:pt x="372" y="967"/>
                          </a:cubicBezTo>
                          <a:cubicBezTo>
                            <a:pt x="382" y="870"/>
                            <a:pt x="373" y="768"/>
                            <a:pt x="357" y="676"/>
                          </a:cubicBezTo>
                          <a:cubicBezTo>
                            <a:pt x="321" y="456"/>
                            <a:pt x="347" y="227"/>
                            <a:pt x="358" y="8"/>
                          </a:cubicBezTo>
                          <a:cubicBezTo>
                            <a:pt x="506" y="0"/>
                            <a:pt x="644" y="5"/>
                            <a:pt x="778" y="50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5" name="Freeform 270"/>
                    <p:cNvSpPr>
                      <a:spLocks/>
                    </p:cNvSpPr>
                    <p:nvPr/>
                  </p:nvSpPr>
                  <p:spPr bwMode="gray">
                    <a:xfrm>
                      <a:off x="-1133475" y="7926388"/>
                      <a:ext cx="2122488" cy="3573463"/>
                    </a:xfrm>
                    <a:custGeom>
                      <a:avLst/>
                      <a:gdLst/>
                      <a:ahLst/>
                      <a:cxnLst>
                        <a:cxn ang="0">
                          <a:pos x="136" y="59"/>
                        </a:cxn>
                        <a:cxn ang="0">
                          <a:pos x="84" y="133"/>
                        </a:cxn>
                        <a:cxn ang="0">
                          <a:pos x="53" y="222"/>
                        </a:cxn>
                        <a:cxn ang="0">
                          <a:pos x="12" y="339"/>
                        </a:cxn>
                        <a:cxn ang="0">
                          <a:pos x="3" y="386"/>
                        </a:cxn>
                        <a:cxn ang="0">
                          <a:pos x="46" y="494"/>
                        </a:cxn>
                        <a:cxn ang="0">
                          <a:pos x="96" y="654"/>
                        </a:cxn>
                        <a:cxn ang="0">
                          <a:pos x="136" y="714"/>
                        </a:cxn>
                        <a:cxn ang="0">
                          <a:pos x="142" y="820"/>
                        </a:cxn>
                        <a:cxn ang="0">
                          <a:pos x="260" y="931"/>
                        </a:cxn>
                        <a:cxn ang="0">
                          <a:pos x="377" y="829"/>
                        </a:cxn>
                        <a:cxn ang="0">
                          <a:pos x="429" y="674"/>
                        </a:cxn>
                        <a:cxn ang="0">
                          <a:pos x="471" y="538"/>
                        </a:cxn>
                        <a:cxn ang="0">
                          <a:pos x="534" y="445"/>
                        </a:cxn>
                        <a:cxn ang="0">
                          <a:pos x="560" y="355"/>
                        </a:cxn>
                        <a:cxn ang="0">
                          <a:pos x="514" y="238"/>
                        </a:cxn>
                        <a:cxn ang="0">
                          <a:pos x="436" y="124"/>
                        </a:cxn>
                        <a:cxn ang="0">
                          <a:pos x="322" y="4"/>
                        </a:cxn>
                        <a:cxn ang="0">
                          <a:pos x="179" y="36"/>
                        </a:cxn>
                      </a:cxnLst>
                      <a:rect l="0" t="0" r="r" b="b"/>
                      <a:pathLst>
                        <a:path w="566" h="953">
                          <a:moveTo>
                            <a:pt x="136" y="59"/>
                          </a:moveTo>
                          <a:cubicBezTo>
                            <a:pt x="136" y="88"/>
                            <a:pt x="99" y="110"/>
                            <a:pt x="84" y="133"/>
                          </a:cubicBezTo>
                          <a:cubicBezTo>
                            <a:pt x="65" y="163"/>
                            <a:pt x="62" y="189"/>
                            <a:pt x="53" y="222"/>
                          </a:cubicBezTo>
                          <a:cubicBezTo>
                            <a:pt x="43" y="258"/>
                            <a:pt x="23" y="300"/>
                            <a:pt x="12" y="339"/>
                          </a:cubicBezTo>
                          <a:cubicBezTo>
                            <a:pt x="7" y="356"/>
                            <a:pt x="4" y="368"/>
                            <a:pt x="3" y="386"/>
                          </a:cubicBezTo>
                          <a:cubicBezTo>
                            <a:pt x="0" y="439"/>
                            <a:pt x="30" y="452"/>
                            <a:pt x="46" y="494"/>
                          </a:cubicBezTo>
                          <a:cubicBezTo>
                            <a:pt x="66" y="547"/>
                            <a:pt x="69" y="601"/>
                            <a:pt x="96" y="654"/>
                          </a:cubicBezTo>
                          <a:cubicBezTo>
                            <a:pt x="106" y="675"/>
                            <a:pt x="127" y="692"/>
                            <a:pt x="136" y="714"/>
                          </a:cubicBezTo>
                          <a:cubicBezTo>
                            <a:pt x="148" y="744"/>
                            <a:pt x="137" y="786"/>
                            <a:pt x="142" y="820"/>
                          </a:cubicBezTo>
                          <a:cubicBezTo>
                            <a:pt x="153" y="889"/>
                            <a:pt x="176" y="953"/>
                            <a:pt x="260" y="931"/>
                          </a:cubicBezTo>
                          <a:cubicBezTo>
                            <a:pt x="282" y="880"/>
                            <a:pt x="342" y="868"/>
                            <a:pt x="377" y="829"/>
                          </a:cubicBezTo>
                          <a:cubicBezTo>
                            <a:pt x="417" y="784"/>
                            <a:pt x="421" y="730"/>
                            <a:pt x="429" y="674"/>
                          </a:cubicBezTo>
                          <a:cubicBezTo>
                            <a:pt x="435" y="631"/>
                            <a:pt x="447" y="575"/>
                            <a:pt x="471" y="538"/>
                          </a:cubicBezTo>
                          <a:cubicBezTo>
                            <a:pt x="494" y="502"/>
                            <a:pt x="520" y="487"/>
                            <a:pt x="534" y="445"/>
                          </a:cubicBezTo>
                          <a:cubicBezTo>
                            <a:pt x="544" y="414"/>
                            <a:pt x="557" y="388"/>
                            <a:pt x="560" y="355"/>
                          </a:cubicBezTo>
                          <a:cubicBezTo>
                            <a:pt x="566" y="305"/>
                            <a:pt x="541" y="281"/>
                            <a:pt x="514" y="238"/>
                          </a:cubicBezTo>
                          <a:cubicBezTo>
                            <a:pt x="487" y="197"/>
                            <a:pt x="453" y="170"/>
                            <a:pt x="436" y="124"/>
                          </a:cubicBezTo>
                          <a:cubicBezTo>
                            <a:pt x="413" y="64"/>
                            <a:pt x="396" y="10"/>
                            <a:pt x="322" y="4"/>
                          </a:cubicBezTo>
                          <a:cubicBezTo>
                            <a:pt x="271" y="0"/>
                            <a:pt x="227" y="27"/>
                            <a:pt x="179" y="36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6" name="Freeform 271"/>
                    <p:cNvSpPr>
                      <a:spLocks/>
                    </p:cNvSpPr>
                    <p:nvPr/>
                  </p:nvSpPr>
                  <p:spPr bwMode="gray">
                    <a:xfrm>
                      <a:off x="-304800" y="23855363"/>
                      <a:ext cx="1431925" cy="2400300"/>
                    </a:xfrm>
                    <a:custGeom>
                      <a:avLst/>
                      <a:gdLst/>
                      <a:ahLst/>
                      <a:cxnLst>
                        <a:cxn ang="0">
                          <a:pos x="99" y="26"/>
                        </a:cxn>
                        <a:cxn ang="0">
                          <a:pos x="29" y="111"/>
                        </a:cxn>
                        <a:cxn ang="0">
                          <a:pos x="8" y="172"/>
                        </a:cxn>
                        <a:cxn ang="0">
                          <a:pos x="31" y="239"/>
                        </a:cxn>
                        <a:cxn ang="0">
                          <a:pos x="78" y="368"/>
                        </a:cxn>
                        <a:cxn ang="0">
                          <a:pos x="93" y="429"/>
                        </a:cxn>
                        <a:cxn ang="0">
                          <a:pos x="99" y="508"/>
                        </a:cxn>
                        <a:cxn ang="0">
                          <a:pos x="209" y="588"/>
                        </a:cxn>
                        <a:cxn ang="0">
                          <a:pos x="370" y="639"/>
                        </a:cxn>
                        <a:cxn ang="0">
                          <a:pos x="377" y="496"/>
                        </a:cxn>
                        <a:cxn ang="0">
                          <a:pos x="362" y="438"/>
                        </a:cxn>
                        <a:cxn ang="0">
                          <a:pos x="327" y="390"/>
                        </a:cxn>
                        <a:cxn ang="0">
                          <a:pos x="279" y="275"/>
                        </a:cxn>
                        <a:cxn ang="0">
                          <a:pos x="238" y="146"/>
                        </a:cxn>
                        <a:cxn ang="0">
                          <a:pos x="186" y="38"/>
                        </a:cxn>
                        <a:cxn ang="0">
                          <a:pos x="81" y="26"/>
                        </a:cxn>
                      </a:cxnLst>
                      <a:rect l="0" t="0" r="r" b="b"/>
                      <a:pathLst>
                        <a:path w="382" h="640">
                          <a:moveTo>
                            <a:pt x="99" y="26"/>
                          </a:moveTo>
                          <a:cubicBezTo>
                            <a:pt x="49" y="19"/>
                            <a:pt x="36" y="75"/>
                            <a:pt x="29" y="111"/>
                          </a:cubicBezTo>
                          <a:cubicBezTo>
                            <a:pt x="25" y="132"/>
                            <a:pt x="13" y="152"/>
                            <a:pt x="8" y="172"/>
                          </a:cubicBezTo>
                          <a:cubicBezTo>
                            <a:pt x="0" y="203"/>
                            <a:pt x="19" y="212"/>
                            <a:pt x="31" y="239"/>
                          </a:cubicBezTo>
                          <a:cubicBezTo>
                            <a:pt x="49" y="281"/>
                            <a:pt x="70" y="324"/>
                            <a:pt x="78" y="368"/>
                          </a:cubicBezTo>
                          <a:cubicBezTo>
                            <a:pt x="82" y="389"/>
                            <a:pt x="89" y="408"/>
                            <a:pt x="93" y="429"/>
                          </a:cubicBezTo>
                          <a:cubicBezTo>
                            <a:pt x="98" y="453"/>
                            <a:pt x="91" y="484"/>
                            <a:pt x="99" y="508"/>
                          </a:cubicBezTo>
                          <a:cubicBezTo>
                            <a:pt x="113" y="556"/>
                            <a:pt x="168" y="570"/>
                            <a:pt x="209" y="588"/>
                          </a:cubicBezTo>
                          <a:cubicBezTo>
                            <a:pt x="259" y="609"/>
                            <a:pt x="315" y="640"/>
                            <a:pt x="370" y="639"/>
                          </a:cubicBezTo>
                          <a:cubicBezTo>
                            <a:pt x="376" y="592"/>
                            <a:pt x="382" y="545"/>
                            <a:pt x="377" y="496"/>
                          </a:cubicBezTo>
                          <a:cubicBezTo>
                            <a:pt x="375" y="474"/>
                            <a:pt x="372" y="457"/>
                            <a:pt x="362" y="438"/>
                          </a:cubicBezTo>
                          <a:cubicBezTo>
                            <a:pt x="352" y="421"/>
                            <a:pt x="338" y="407"/>
                            <a:pt x="327" y="390"/>
                          </a:cubicBezTo>
                          <a:cubicBezTo>
                            <a:pt x="306" y="355"/>
                            <a:pt x="294" y="313"/>
                            <a:pt x="279" y="275"/>
                          </a:cubicBezTo>
                          <a:cubicBezTo>
                            <a:pt x="263" y="233"/>
                            <a:pt x="245" y="189"/>
                            <a:pt x="238" y="146"/>
                          </a:cubicBezTo>
                          <a:cubicBezTo>
                            <a:pt x="232" y="107"/>
                            <a:pt x="215" y="66"/>
                            <a:pt x="186" y="38"/>
                          </a:cubicBezTo>
                          <a:cubicBezTo>
                            <a:pt x="162" y="15"/>
                            <a:pt x="107" y="0"/>
                            <a:pt x="81" y="26"/>
                          </a:cubicBezTo>
                        </a:path>
                      </a:pathLst>
                    </a:custGeom>
                    <a:solidFill>
                      <a:srgbClr val="2B2B3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7" name="Freeform 272"/>
                    <p:cNvSpPr>
                      <a:spLocks/>
                    </p:cNvSpPr>
                    <p:nvPr/>
                  </p:nvSpPr>
                  <p:spPr bwMode="gray">
                    <a:xfrm>
                      <a:off x="-117475" y="15621001"/>
                      <a:ext cx="1766888" cy="10001250"/>
                    </a:xfrm>
                    <a:custGeom>
                      <a:avLst/>
                      <a:gdLst/>
                      <a:ahLst/>
                      <a:cxnLst>
                        <a:cxn ang="0">
                          <a:pos x="66" y="16"/>
                        </a:cxn>
                        <a:cxn ang="0">
                          <a:pos x="48" y="498"/>
                        </a:cxn>
                        <a:cxn ang="0">
                          <a:pos x="84" y="980"/>
                        </a:cxn>
                        <a:cxn ang="0">
                          <a:pos x="89" y="1181"/>
                        </a:cxn>
                        <a:cxn ang="0">
                          <a:pos x="62" y="1388"/>
                        </a:cxn>
                        <a:cxn ang="0">
                          <a:pos x="66" y="1789"/>
                        </a:cxn>
                        <a:cxn ang="0">
                          <a:pos x="20" y="2297"/>
                        </a:cxn>
                        <a:cxn ang="0">
                          <a:pos x="4" y="2358"/>
                        </a:cxn>
                        <a:cxn ang="0">
                          <a:pos x="48" y="2479"/>
                        </a:cxn>
                        <a:cxn ang="0">
                          <a:pos x="91" y="2636"/>
                        </a:cxn>
                        <a:cxn ang="0">
                          <a:pos x="273" y="2631"/>
                        </a:cxn>
                        <a:cxn ang="0">
                          <a:pos x="201" y="2214"/>
                        </a:cxn>
                        <a:cxn ang="0">
                          <a:pos x="364" y="1357"/>
                        </a:cxn>
                        <a:cxn ang="0">
                          <a:pos x="353" y="1118"/>
                        </a:cxn>
                        <a:cxn ang="0">
                          <a:pos x="407" y="761"/>
                        </a:cxn>
                        <a:cxn ang="0">
                          <a:pos x="434" y="515"/>
                        </a:cxn>
                        <a:cxn ang="0">
                          <a:pos x="407" y="8"/>
                        </a:cxn>
                        <a:cxn ang="0">
                          <a:pos x="66" y="7"/>
                        </a:cxn>
                      </a:cxnLst>
                      <a:rect l="0" t="0" r="r" b="b"/>
                      <a:pathLst>
                        <a:path w="471" h="2667">
                          <a:moveTo>
                            <a:pt x="66" y="16"/>
                          </a:moveTo>
                          <a:cubicBezTo>
                            <a:pt x="97" y="171"/>
                            <a:pt x="48" y="335"/>
                            <a:pt x="48" y="498"/>
                          </a:cubicBezTo>
                          <a:cubicBezTo>
                            <a:pt x="48" y="668"/>
                            <a:pt x="53" y="823"/>
                            <a:pt x="84" y="980"/>
                          </a:cubicBezTo>
                          <a:cubicBezTo>
                            <a:pt x="97" y="1046"/>
                            <a:pt x="92" y="1111"/>
                            <a:pt x="89" y="1181"/>
                          </a:cubicBezTo>
                          <a:cubicBezTo>
                            <a:pt x="85" y="1254"/>
                            <a:pt x="89" y="1324"/>
                            <a:pt x="62" y="1388"/>
                          </a:cubicBezTo>
                          <a:cubicBezTo>
                            <a:pt x="0" y="1540"/>
                            <a:pt x="59" y="1653"/>
                            <a:pt x="66" y="1789"/>
                          </a:cubicBezTo>
                          <a:cubicBezTo>
                            <a:pt x="72" y="1893"/>
                            <a:pt x="35" y="2179"/>
                            <a:pt x="20" y="2297"/>
                          </a:cubicBezTo>
                          <a:cubicBezTo>
                            <a:pt x="19" y="2307"/>
                            <a:pt x="1" y="2333"/>
                            <a:pt x="4" y="2358"/>
                          </a:cubicBezTo>
                          <a:cubicBezTo>
                            <a:pt x="8" y="2405"/>
                            <a:pt x="36" y="2460"/>
                            <a:pt x="48" y="2479"/>
                          </a:cubicBezTo>
                          <a:cubicBezTo>
                            <a:pt x="75" y="2521"/>
                            <a:pt x="52" y="2613"/>
                            <a:pt x="91" y="2636"/>
                          </a:cubicBezTo>
                          <a:cubicBezTo>
                            <a:pt x="144" y="2667"/>
                            <a:pt x="273" y="2631"/>
                            <a:pt x="273" y="2631"/>
                          </a:cubicBezTo>
                          <a:cubicBezTo>
                            <a:pt x="232" y="2565"/>
                            <a:pt x="185" y="2354"/>
                            <a:pt x="201" y="2214"/>
                          </a:cubicBezTo>
                          <a:cubicBezTo>
                            <a:pt x="216" y="2078"/>
                            <a:pt x="371" y="1520"/>
                            <a:pt x="364" y="1357"/>
                          </a:cubicBezTo>
                          <a:cubicBezTo>
                            <a:pt x="359" y="1232"/>
                            <a:pt x="343" y="1241"/>
                            <a:pt x="353" y="1118"/>
                          </a:cubicBezTo>
                          <a:cubicBezTo>
                            <a:pt x="359" y="1043"/>
                            <a:pt x="391" y="831"/>
                            <a:pt x="407" y="761"/>
                          </a:cubicBezTo>
                          <a:cubicBezTo>
                            <a:pt x="426" y="679"/>
                            <a:pt x="434" y="601"/>
                            <a:pt x="434" y="515"/>
                          </a:cubicBezTo>
                          <a:cubicBezTo>
                            <a:pt x="434" y="360"/>
                            <a:pt x="471" y="144"/>
                            <a:pt x="407" y="8"/>
                          </a:cubicBezTo>
                          <a:cubicBezTo>
                            <a:pt x="295" y="0"/>
                            <a:pt x="179" y="7"/>
                            <a:pt x="66" y="7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8" name="Freeform 273"/>
                    <p:cNvSpPr>
                      <a:spLocks/>
                    </p:cNvSpPr>
                    <p:nvPr/>
                  </p:nvSpPr>
                  <p:spPr bwMode="gray">
                    <a:xfrm>
                      <a:off x="-71438" y="19408776"/>
                      <a:ext cx="1577975" cy="2628900"/>
                    </a:xfrm>
                    <a:custGeom>
                      <a:avLst/>
                      <a:gdLst/>
                      <a:ahLst/>
                      <a:cxnLst>
                        <a:cxn ang="0">
                          <a:pos x="54" y="701"/>
                        </a:cxn>
                        <a:cxn ang="0">
                          <a:pos x="71" y="427"/>
                        </a:cxn>
                        <a:cxn ang="0">
                          <a:pos x="195" y="194"/>
                        </a:cxn>
                        <a:cxn ang="0">
                          <a:pos x="329" y="35"/>
                        </a:cxn>
                        <a:cxn ang="0">
                          <a:pos x="88" y="121"/>
                        </a:cxn>
                        <a:cxn ang="0">
                          <a:pos x="72" y="275"/>
                        </a:cxn>
                        <a:cxn ang="0">
                          <a:pos x="24" y="409"/>
                        </a:cxn>
                        <a:cxn ang="0">
                          <a:pos x="54" y="701"/>
                        </a:cxn>
                      </a:cxnLst>
                      <a:rect l="0" t="0" r="r" b="b"/>
                      <a:pathLst>
                        <a:path w="421" h="701">
                          <a:moveTo>
                            <a:pt x="54" y="701"/>
                          </a:moveTo>
                          <a:cubicBezTo>
                            <a:pt x="64" y="608"/>
                            <a:pt x="46" y="519"/>
                            <a:pt x="71" y="427"/>
                          </a:cubicBezTo>
                          <a:cubicBezTo>
                            <a:pt x="89" y="362"/>
                            <a:pt x="145" y="234"/>
                            <a:pt x="195" y="194"/>
                          </a:cubicBezTo>
                          <a:cubicBezTo>
                            <a:pt x="230" y="166"/>
                            <a:pt x="421" y="104"/>
                            <a:pt x="329" y="35"/>
                          </a:cubicBezTo>
                          <a:cubicBezTo>
                            <a:pt x="283" y="0"/>
                            <a:pt x="115" y="77"/>
                            <a:pt x="88" y="121"/>
                          </a:cubicBezTo>
                          <a:cubicBezTo>
                            <a:pt x="65" y="159"/>
                            <a:pt x="78" y="232"/>
                            <a:pt x="72" y="275"/>
                          </a:cubicBezTo>
                          <a:cubicBezTo>
                            <a:pt x="64" y="323"/>
                            <a:pt x="34" y="361"/>
                            <a:pt x="24" y="409"/>
                          </a:cubicBezTo>
                          <a:cubicBezTo>
                            <a:pt x="0" y="523"/>
                            <a:pt x="41" y="601"/>
                            <a:pt x="54" y="701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69" name="Freeform 274"/>
                    <p:cNvSpPr>
                      <a:spLocks/>
                    </p:cNvSpPr>
                    <p:nvPr/>
                  </p:nvSpPr>
                  <p:spPr bwMode="gray">
                    <a:xfrm>
                      <a:off x="-1557338" y="19745326"/>
                      <a:ext cx="1219200" cy="1957388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109"/>
                        </a:cxn>
                        <a:cxn ang="0">
                          <a:pos x="107" y="178"/>
                        </a:cxn>
                        <a:cxn ang="0">
                          <a:pos x="205" y="237"/>
                        </a:cxn>
                        <a:cxn ang="0">
                          <a:pos x="210" y="390"/>
                        </a:cxn>
                        <a:cxn ang="0">
                          <a:pos x="216" y="522"/>
                        </a:cxn>
                        <a:cxn ang="0">
                          <a:pos x="246" y="337"/>
                        </a:cxn>
                        <a:cxn ang="0">
                          <a:pos x="300" y="163"/>
                        </a:cxn>
                        <a:cxn ang="0">
                          <a:pos x="199" y="43"/>
                        </a:cxn>
                        <a:cxn ang="0">
                          <a:pos x="0" y="62"/>
                        </a:cxn>
                      </a:cxnLst>
                      <a:rect l="0" t="0" r="r" b="b"/>
                      <a:pathLst>
                        <a:path w="325" h="522">
                          <a:moveTo>
                            <a:pt x="23" y="109"/>
                          </a:moveTo>
                          <a:cubicBezTo>
                            <a:pt x="61" y="126"/>
                            <a:pt x="76" y="155"/>
                            <a:pt x="107" y="178"/>
                          </a:cubicBezTo>
                          <a:cubicBezTo>
                            <a:pt x="135" y="199"/>
                            <a:pt x="186" y="202"/>
                            <a:pt x="205" y="237"/>
                          </a:cubicBezTo>
                          <a:cubicBezTo>
                            <a:pt x="226" y="276"/>
                            <a:pt x="204" y="345"/>
                            <a:pt x="210" y="390"/>
                          </a:cubicBezTo>
                          <a:cubicBezTo>
                            <a:pt x="217" y="436"/>
                            <a:pt x="241" y="473"/>
                            <a:pt x="216" y="522"/>
                          </a:cubicBezTo>
                          <a:cubicBezTo>
                            <a:pt x="263" y="493"/>
                            <a:pt x="243" y="387"/>
                            <a:pt x="246" y="337"/>
                          </a:cubicBezTo>
                          <a:cubicBezTo>
                            <a:pt x="249" y="268"/>
                            <a:pt x="280" y="226"/>
                            <a:pt x="300" y="163"/>
                          </a:cubicBezTo>
                          <a:cubicBezTo>
                            <a:pt x="325" y="84"/>
                            <a:pt x="269" y="64"/>
                            <a:pt x="199" y="43"/>
                          </a:cubicBezTo>
                          <a:cubicBezTo>
                            <a:pt x="152" y="29"/>
                            <a:pt x="25" y="0"/>
                            <a:pt x="0" y="62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0" name="Freeform 275"/>
                    <p:cNvSpPr>
                      <a:spLocks/>
                    </p:cNvSpPr>
                    <p:nvPr/>
                  </p:nvSpPr>
                  <p:spPr bwMode="gray">
                    <a:xfrm>
                      <a:off x="-1920875" y="9531351"/>
                      <a:ext cx="4233863" cy="5718175"/>
                    </a:xfrm>
                    <a:custGeom>
                      <a:avLst/>
                      <a:gdLst/>
                      <a:ahLst/>
                      <a:cxnLst>
                        <a:cxn ang="0">
                          <a:pos x="22" y="1482"/>
                        </a:cxn>
                        <a:cxn ang="0">
                          <a:pos x="50" y="1171"/>
                        </a:cxn>
                        <a:cxn ang="0">
                          <a:pos x="103" y="1012"/>
                        </a:cxn>
                        <a:cxn ang="0">
                          <a:pos x="220" y="880"/>
                        </a:cxn>
                        <a:cxn ang="0">
                          <a:pos x="268" y="712"/>
                        </a:cxn>
                        <a:cxn ang="0">
                          <a:pos x="237" y="502"/>
                        </a:cxn>
                        <a:cxn ang="0">
                          <a:pos x="190" y="437"/>
                        </a:cxn>
                        <a:cxn ang="0">
                          <a:pos x="227" y="56"/>
                        </a:cxn>
                        <a:cxn ang="0">
                          <a:pos x="390" y="296"/>
                        </a:cxn>
                        <a:cxn ang="0">
                          <a:pos x="507" y="220"/>
                        </a:cxn>
                        <a:cxn ang="0">
                          <a:pos x="642" y="179"/>
                        </a:cxn>
                        <a:cxn ang="0">
                          <a:pos x="792" y="489"/>
                        </a:cxn>
                        <a:cxn ang="0">
                          <a:pos x="954" y="897"/>
                        </a:cxn>
                        <a:cxn ang="0">
                          <a:pos x="1032" y="950"/>
                        </a:cxn>
                        <a:cxn ang="0">
                          <a:pos x="1051" y="1086"/>
                        </a:cxn>
                        <a:cxn ang="0">
                          <a:pos x="1111" y="1312"/>
                        </a:cxn>
                        <a:cxn ang="0">
                          <a:pos x="1126" y="1481"/>
                        </a:cxn>
                        <a:cxn ang="0">
                          <a:pos x="870" y="1517"/>
                        </a:cxn>
                        <a:cxn ang="0">
                          <a:pos x="624" y="1499"/>
                        </a:cxn>
                        <a:cxn ang="0">
                          <a:pos x="344" y="1505"/>
                        </a:cxn>
                        <a:cxn ang="0">
                          <a:pos x="222" y="1504"/>
                        </a:cxn>
                        <a:cxn ang="0">
                          <a:pos x="122" y="1395"/>
                        </a:cxn>
                        <a:cxn ang="0">
                          <a:pos x="22" y="1476"/>
                        </a:cxn>
                      </a:cxnLst>
                      <a:rect l="0" t="0" r="r" b="b"/>
                      <a:pathLst>
                        <a:path w="1129" h="1525">
                          <a:moveTo>
                            <a:pt x="22" y="1482"/>
                          </a:moveTo>
                          <a:cubicBezTo>
                            <a:pt x="57" y="1380"/>
                            <a:pt x="0" y="1268"/>
                            <a:pt x="50" y="1171"/>
                          </a:cubicBezTo>
                          <a:cubicBezTo>
                            <a:pt x="78" y="1116"/>
                            <a:pt x="86" y="1070"/>
                            <a:pt x="103" y="1012"/>
                          </a:cubicBezTo>
                          <a:cubicBezTo>
                            <a:pt x="127" y="930"/>
                            <a:pt x="156" y="924"/>
                            <a:pt x="220" y="880"/>
                          </a:cubicBezTo>
                          <a:cubicBezTo>
                            <a:pt x="287" y="833"/>
                            <a:pt x="283" y="799"/>
                            <a:pt x="268" y="712"/>
                          </a:cubicBezTo>
                          <a:cubicBezTo>
                            <a:pt x="256" y="646"/>
                            <a:pt x="263" y="566"/>
                            <a:pt x="237" y="502"/>
                          </a:cubicBezTo>
                          <a:cubicBezTo>
                            <a:pt x="226" y="474"/>
                            <a:pt x="204" y="462"/>
                            <a:pt x="190" y="437"/>
                          </a:cubicBezTo>
                          <a:cubicBezTo>
                            <a:pt x="147" y="359"/>
                            <a:pt x="119" y="106"/>
                            <a:pt x="227" y="56"/>
                          </a:cubicBezTo>
                          <a:cubicBezTo>
                            <a:pt x="346" y="0"/>
                            <a:pt x="336" y="256"/>
                            <a:pt x="390" y="296"/>
                          </a:cubicBezTo>
                          <a:cubicBezTo>
                            <a:pt x="455" y="344"/>
                            <a:pt x="484" y="256"/>
                            <a:pt x="507" y="220"/>
                          </a:cubicBezTo>
                          <a:cubicBezTo>
                            <a:pt x="534" y="178"/>
                            <a:pt x="590" y="161"/>
                            <a:pt x="642" y="179"/>
                          </a:cubicBezTo>
                          <a:cubicBezTo>
                            <a:pt x="769" y="223"/>
                            <a:pt x="784" y="376"/>
                            <a:pt x="792" y="489"/>
                          </a:cubicBezTo>
                          <a:cubicBezTo>
                            <a:pt x="804" y="649"/>
                            <a:pt x="825" y="792"/>
                            <a:pt x="954" y="897"/>
                          </a:cubicBezTo>
                          <a:cubicBezTo>
                            <a:pt x="976" y="915"/>
                            <a:pt x="1018" y="925"/>
                            <a:pt x="1032" y="950"/>
                          </a:cubicBezTo>
                          <a:cubicBezTo>
                            <a:pt x="1050" y="982"/>
                            <a:pt x="1046" y="1048"/>
                            <a:pt x="1051" y="1086"/>
                          </a:cubicBezTo>
                          <a:cubicBezTo>
                            <a:pt x="1060" y="1168"/>
                            <a:pt x="1091" y="1231"/>
                            <a:pt x="1111" y="1312"/>
                          </a:cubicBezTo>
                          <a:cubicBezTo>
                            <a:pt x="1125" y="1367"/>
                            <a:pt x="1129" y="1423"/>
                            <a:pt x="1126" y="1481"/>
                          </a:cubicBezTo>
                          <a:cubicBezTo>
                            <a:pt x="1041" y="1476"/>
                            <a:pt x="952" y="1509"/>
                            <a:pt x="870" y="1517"/>
                          </a:cubicBezTo>
                          <a:cubicBezTo>
                            <a:pt x="789" y="1525"/>
                            <a:pt x="705" y="1503"/>
                            <a:pt x="624" y="1499"/>
                          </a:cubicBezTo>
                          <a:cubicBezTo>
                            <a:pt x="530" y="1496"/>
                            <a:pt x="437" y="1506"/>
                            <a:pt x="344" y="1505"/>
                          </a:cubicBezTo>
                          <a:cubicBezTo>
                            <a:pt x="316" y="1505"/>
                            <a:pt x="244" y="1518"/>
                            <a:pt x="222" y="1504"/>
                          </a:cubicBezTo>
                          <a:cubicBezTo>
                            <a:pt x="164" y="1467"/>
                            <a:pt x="229" y="1376"/>
                            <a:pt x="122" y="1395"/>
                          </a:cubicBezTo>
                          <a:cubicBezTo>
                            <a:pt x="130" y="1436"/>
                            <a:pt x="58" y="1476"/>
                            <a:pt x="22" y="1476"/>
                          </a:cubicBezTo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1" name="Freeform 276"/>
                    <p:cNvSpPr>
                      <a:spLocks/>
                    </p:cNvSpPr>
                    <p:nvPr/>
                  </p:nvSpPr>
                  <p:spPr bwMode="gray">
                    <a:xfrm>
                      <a:off x="-1741488" y="14217651"/>
                      <a:ext cx="4021138" cy="6184900"/>
                    </a:xfrm>
                    <a:custGeom>
                      <a:avLst/>
                      <a:gdLst/>
                      <a:ahLst/>
                      <a:cxnLst>
                        <a:cxn ang="0">
                          <a:pos x="49" y="197"/>
                        </a:cxn>
                        <a:cxn ang="0">
                          <a:pos x="5" y="390"/>
                        </a:cxn>
                        <a:cxn ang="0">
                          <a:pos x="15" y="591"/>
                        </a:cxn>
                        <a:cxn ang="0">
                          <a:pos x="40" y="1036"/>
                        </a:cxn>
                        <a:cxn ang="0">
                          <a:pos x="40" y="1450"/>
                        </a:cxn>
                        <a:cxn ang="0">
                          <a:pos x="93" y="1609"/>
                        </a:cxn>
                        <a:cxn ang="0">
                          <a:pos x="338" y="1617"/>
                        </a:cxn>
                        <a:cxn ang="0">
                          <a:pos x="522" y="1555"/>
                        </a:cxn>
                        <a:cxn ang="0">
                          <a:pos x="741" y="1503"/>
                        </a:cxn>
                        <a:cxn ang="0">
                          <a:pos x="917" y="1442"/>
                        </a:cxn>
                        <a:cxn ang="0">
                          <a:pos x="932" y="1343"/>
                        </a:cxn>
                        <a:cxn ang="0">
                          <a:pos x="972" y="1249"/>
                        </a:cxn>
                        <a:cxn ang="0">
                          <a:pos x="1014" y="820"/>
                        </a:cxn>
                        <a:cxn ang="0">
                          <a:pos x="1039" y="379"/>
                        </a:cxn>
                        <a:cxn ang="0">
                          <a:pos x="987" y="100"/>
                        </a:cxn>
                        <a:cxn ang="0">
                          <a:pos x="680" y="21"/>
                        </a:cxn>
                        <a:cxn ang="0">
                          <a:pos x="338" y="30"/>
                        </a:cxn>
                        <a:cxn ang="0">
                          <a:pos x="40" y="109"/>
                        </a:cxn>
                      </a:cxnLst>
                      <a:rect l="0" t="0" r="r" b="b"/>
                      <a:pathLst>
                        <a:path w="1072" h="1649">
                          <a:moveTo>
                            <a:pt x="49" y="197"/>
                          </a:moveTo>
                          <a:cubicBezTo>
                            <a:pt x="49" y="268"/>
                            <a:pt x="9" y="321"/>
                            <a:pt x="5" y="390"/>
                          </a:cubicBezTo>
                          <a:cubicBezTo>
                            <a:pt x="1" y="463"/>
                            <a:pt x="23" y="516"/>
                            <a:pt x="15" y="591"/>
                          </a:cubicBezTo>
                          <a:cubicBezTo>
                            <a:pt x="0" y="742"/>
                            <a:pt x="40" y="880"/>
                            <a:pt x="40" y="1036"/>
                          </a:cubicBezTo>
                          <a:cubicBezTo>
                            <a:pt x="40" y="1175"/>
                            <a:pt x="58" y="1322"/>
                            <a:pt x="40" y="1450"/>
                          </a:cubicBezTo>
                          <a:cubicBezTo>
                            <a:pt x="30" y="1526"/>
                            <a:pt x="4" y="1558"/>
                            <a:pt x="93" y="1609"/>
                          </a:cubicBezTo>
                          <a:cubicBezTo>
                            <a:pt x="163" y="1649"/>
                            <a:pt x="272" y="1628"/>
                            <a:pt x="338" y="1617"/>
                          </a:cubicBezTo>
                          <a:cubicBezTo>
                            <a:pt x="401" y="1607"/>
                            <a:pt x="459" y="1564"/>
                            <a:pt x="522" y="1555"/>
                          </a:cubicBezTo>
                          <a:cubicBezTo>
                            <a:pt x="611" y="1543"/>
                            <a:pt x="669" y="1531"/>
                            <a:pt x="741" y="1503"/>
                          </a:cubicBezTo>
                          <a:cubicBezTo>
                            <a:pt x="801" y="1480"/>
                            <a:pt x="887" y="1491"/>
                            <a:pt x="917" y="1442"/>
                          </a:cubicBezTo>
                          <a:cubicBezTo>
                            <a:pt x="926" y="1426"/>
                            <a:pt x="927" y="1364"/>
                            <a:pt x="932" y="1343"/>
                          </a:cubicBezTo>
                          <a:cubicBezTo>
                            <a:pt x="942" y="1309"/>
                            <a:pt x="962" y="1280"/>
                            <a:pt x="972" y="1249"/>
                          </a:cubicBezTo>
                          <a:cubicBezTo>
                            <a:pt x="1013" y="1120"/>
                            <a:pt x="986" y="953"/>
                            <a:pt x="1014" y="820"/>
                          </a:cubicBezTo>
                          <a:cubicBezTo>
                            <a:pt x="1044" y="674"/>
                            <a:pt x="1047" y="525"/>
                            <a:pt x="1039" y="379"/>
                          </a:cubicBezTo>
                          <a:cubicBezTo>
                            <a:pt x="1035" y="279"/>
                            <a:pt x="1072" y="163"/>
                            <a:pt x="987" y="100"/>
                          </a:cubicBezTo>
                          <a:cubicBezTo>
                            <a:pt x="918" y="49"/>
                            <a:pt x="767" y="37"/>
                            <a:pt x="680" y="21"/>
                          </a:cubicBezTo>
                          <a:cubicBezTo>
                            <a:pt x="564" y="0"/>
                            <a:pt x="454" y="26"/>
                            <a:pt x="338" y="30"/>
                          </a:cubicBezTo>
                          <a:cubicBezTo>
                            <a:pt x="253" y="34"/>
                            <a:pt x="102" y="49"/>
                            <a:pt x="40" y="109"/>
                          </a:cubicBezTo>
                        </a:path>
                      </a:pathLst>
                    </a:custGeom>
                    <a:solidFill>
                      <a:srgbClr val="3F3B3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2" name="Freeform 277"/>
                    <p:cNvSpPr>
                      <a:spLocks/>
                    </p:cNvSpPr>
                    <p:nvPr/>
                  </p:nvSpPr>
                  <p:spPr bwMode="gray">
                    <a:xfrm>
                      <a:off x="-1141413" y="14004926"/>
                      <a:ext cx="1987550" cy="806450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132"/>
                        </a:cxn>
                        <a:cxn ang="0">
                          <a:pos x="251" y="195"/>
                        </a:cxn>
                        <a:cxn ang="0">
                          <a:pos x="252" y="168"/>
                        </a:cxn>
                        <a:cxn ang="0">
                          <a:pos x="345" y="208"/>
                        </a:cxn>
                        <a:cxn ang="0">
                          <a:pos x="462" y="196"/>
                        </a:cxn>
                        <a:cxn ang="0">
                          <a:pos x="526" y="132"/>
                        </a:cxn>
                        <a:cxn ang="0">
                          <a:pos x="440" y="60"/>
                        </a:cxn>
                        <a:cxn ang="0">
                          <a:pos x="221" y="9"/>
                        </a:cxn>
                        <a:cxn ang="0">
                          <a:pos x="0" y="108"/>
                        </a:cxn>
                      </a:cxnLst>
                      <a:rect l="0" t="0" r="r" b="b"/>
                      <a:pathLst>
                        <a:path w="530" h="215">
                          <a:moveTo>
                            <a:pt x="35" y="132"/>
                          </a:moveTo>
                          <a:cubicBezTo>
                            <a:pt x="56" y="196"/>
                            <a:pt x="194" y="198"/>
                            <a:pt x="251" y="195"/>
                          </a:cubicBezTo>
                          <a:cubicBezTo>
                            <a:pt x="250" y="187"/>
                            <a:pt x="253" y="176"/>
                            <a:pt x="252" y="168"/>
                          </a:cubicBezTo>
                          <a:cubicBezTo>
                            <a:pt x="306" y="141"/>
                            <a:pt x="309" y="199"/>
                            <a:pt x="345" y="208"/>
                          </a:cubicBezTo>
                          <a:cubicBezTo>
                            <a:pt x="371" y="215"/>
                            <a:pt x="434" y="201"/>
                            <a:pt x="462" y="196"/>
                          </a:cubicBezTo>
                          <a:cubicBezTo>
                            <a:pt x="500" y="189"/>
                            <a:pt x="530" y="182"/>
                            <a:pt x="526" y="132"/>
                          </a:cubicBezTo>
                          <a:cubicBezTo>
                            <a:pt x="522" y="79"/>
                            <a:pt x="479" y="76"/>
                            <a:pt x="440" y="60"/>
                          </a:cubicBezTo>
                          <a:cubicBezTo>
                            <a:pt x="364" y="31"/>
                            <a:pt x="304" y="16"/>
                            <a:pt x="221" y="9"/>
                          </a:cubicBezTo>
                          <a:cubicBezTo>
                            <a:pt x="115" y="0"/>
                            <a:pt x="78" y="59"/>
                            <a:pt x="0" y="108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3" name="Freeform 278"/>
                    <p:cNvSpPr>
                      <a:spLocks/>
                    </p:cNvSpPr>
                    <p:nvPr/>
                  </p:nvSpPr>
                  <p:spPr bwMode="gray">
                    <a:xfrm>
                      <a:off x="-1774825" y="8439151"/>
                      <a:ext cx="3055938" cy="6232525"/>
                    </a:xfrm>
                    <a:custGeom>
                      <a:avLst/>
                      <a:gdLst/>
                      <a:ahLst/>
                      <a:cxnLst>
                        <a:cxn ang="0">
                          <a:pos x="256" y="0"/>
                        </a:cxn>
                        <a:cxn ang="0">
                          <a:pos x="124" y="102"/>
                        </a:cxn>
                        <a:cxn ang="0">
                          <a:pos x="0" y="191"/>
                        </a:cxn>
                        <a:cxn ang="0">
                          <a:pos x="169" y="149"/>
                        </a:cxn>
                        <a:cxn ang="0">
                          <a:pos x="238" y="254"/>
                        </a:cxn>
                        <a:cxn ang="0">
                          <a:pos x="205" y="535"/>
                        </a:cxn>
                        <a:cxn ang="0">
                          <a:pos x="194" y="880"/>
                        </a:cxn>
                        <a:cxn ang="0">
                          <a:pos x="209" y="1027"/>
                        </a:cxn>
                        <a:cxn ang="0">
                          <a:pos x="213" y="1130"/>
                        </a:cxn>
                        <a:cxn ang="0">
                          <a:pos x="232" y="1246"/>
                        </a:cxn>
                        <a:cxn ang="0">
                          <a:pos x="178" y="1344"/>
                        </a:cxn>
                        <a:cxn ang="0">
                          <a:pos x="198" y="1395"/>
                        </a:cxn>
                        <a:cxn ang="0">
                          <a:pos x="198" y="1467"/>
                        </a:cxn>
                        <a:cxn ang="0">
                          <a:pos x="251" y="1638"/>
                        </a:cxn>
                        <a:cxn ang="0">
                          <a:pos x="338" y="1660"/>
                        </a:cxn>
                        <a:cxn ang="0">
                          <a:pos x="411" y="1585"/>
                        </a:cxn>
                        <a:cxn ang="0">
                          <a:pos x="434" y="1403"/>
                        </a:cxn>
                        <a:cxn ang="0">
                          <a:pos x="454" y="1613"/>
                        </a:cxn>
                        <a:cxn ang="0">
                          <a:pos x="514" y="1660"/>
                        </a:cxn>
                        <a:cxn ang="0">
                          <a:pos x="626" y="1655"/>
                        </a:cxn>
                        <a:cxn ang="0">
                          <a:pos x="615" y="1451"/>
                        </a:cxn>
                        <a:cxn ang="0">
                          <a:pos x="639" y="1083"/>
                        </a:cxn>
                        <a:cxn ang="0">
                          <a:pos x="623" y="546"/>
                        </a:cxn>
                        <a:cxn ang="0">
                          <a:pos x="630" y="346"/>
                        </a:cxn>
                        <a:cxn ang="0">
                          <a:pos x="600" y="215"/>
                        </a:cxn>
                        <a:cxn ang="0">
                          <a:pos x="654" y="176"/>
                        </a:cxn>
                        <a:cxn ang="0">
                          <a:pos x="705" y="202"/>
                        </a:cxn>
                        <a:cxn ang="0">
                          <a:pos x="760" y="225"/>
                        </a:cxn>
                        <a:cxn ang="0">
                          <a:pos x="813" y="265"/>
                        </a:cxn>
                        <a:cxn ang="0">
                          <a:pos x="779" y="202"/>
                        </a:cxn>
                        <a:cxn ang="0">
                          <a:pos x="746" y="129"/>
                        </a:cxn>
                        <a:cxn ang="0">
                          <a:pos x="607" y="23"/>
                        </a:cxn>
                        <a:cxn ang="0">
                          <a:pos x="576" y="191"/>
                        </a:cxn>
                        <a:cxn ang="0">
                          <a:pos x="483" y="316"/>
                        </a:cxn>
                        <a:cxn ang="0">
                          <a:pos x="427" y="480"/>
                        </a:cxn>
                        <a:cxn ang="0">
                          <a:pos x="393" y="654"/>
                        </a:cxn>
                        <a:cxn ang="0">
                          <a:pos x="381" y="479"/>
                        </a:cxn>
                        <a:cxn ang="0">
                          <a:pos x="350" y="331"/>
                        </a:cxn>
                        <a:cxn ang="0">
                          <a:pos x="272" y="187"/>
                        </a:cxn>
                        <a:cxn ang="0">
                          <a:pos x="182" y="78"/>
                        </a:cxn>
                      </a:cxnLst>
                      <a:rect l="0" t="0" r="r" b="b"/>
                      <a:pathLst>
                        <a:path w="815" h="1662">
                          <a:moveTo>
                            <a:pt x="256" y="0"/>
                          </a:moveTo>
                          <a:cubicBezTo>
                            <a:pt x="211" y="40"/>
                            <a:pt x="171" y="69"/>
                            <a:pt x="124" y="102"/>
                          </a:cubicBezTo>
                          <a:cubicBezTo>
                            <a:pt x="87" y="129"/>
                            <a:pt x="50" y="196"/>
                            <a:pt x="0" y="191"/>
                          </a:cubicBezTo>
                          <a:cubicBezTo>
                            <a:pt x="63" y="237"/>
                            <a:pt x="121" y="165"/>
                            <a:pt x="169" y="149"/>
                          </a:cubicBezTo>
                          <a:cubicBezTo>
                            <a:pt x="204" y="186"/>
                            <a:pt x="255" y="201"/>
                            <a:pt x="238" y="254"/>
                          </a:cubicBezTo>
                          <a:cubicBezTo>
                            <a:pt x="209" y="343"/>
                            <a:pt x="205" y="438"/>
                            <a:pt x="205" y="535"/>
                          </a:cubicBezTo>
                          <a:cubicBezTo>
                            <a:pt x="206" y="650"/>
                            <a:pt x="189" y="764"/>
                            <a:pt x="194" y="880"/>
                          </a:cubicBezTo>
                          <a:cubicBezTo>
                            <a:pt x="196" y="931"/>
                            <a:pt x="209" y="976"/>
                            <a:pt x="209" y="1027"/>
                          </a:cubicBezTo>
                          <a:cubicBezTo>
                            <a:pt x="209" y="1062"/>
                            <a:pt x="209" y="1096"/>
                            <a:pt x="213" y="1130"/>
                          </a:cubicBezTo>
                          <a:cubicBezTo>
                            <a:pt x="217" y="1168"/>
                            <a:pt x="234" y="1209"/>
                            <a:pt x="232" y="1246"/>
                          </a:cubicBezTo>
                          <a:cubicBezTo>
                            <a:pt x="212" y="1257"/>
                            <a:pt x="178" y="1320"/>
                            <a:pt x="178" y="1344"/>
                          </a:cubicBezTo>
                          <a:cubicBezTo>
                            <a:pt x="178" y="1362"/>
                            <a:pt x="194" y="1378"/>
                            <a:pt x="198" y="1395"/>
                          </a:cubicBezTo>
                          <a:cubicBezTo>
                            <a:pt x="203" y="1417"/>
                            <a:pt x="196" y="1444"/>
                            <a:pt x="198" y="1467"/>
                          </a:cubicBezTo>
                          <a:cubicBezTo>
                            <a:pt x="200" y="1524"/>
                            <a:pt x="198" y="1610"/>
                            <a:pt x="251" y="1638"/>
                          </a:cubicBezTo>
                          <a:cubicBezTo>
                            <a:pt x="278" y="1652"/>
                            <a:pt x="306" y="1660"/>
                            <a:pt x="338" y="1660"/>
                          </a:cubicBezTo>
                          <a:cubicBezTo>
                            <a:pt x="391" y="1660"/>
                            <a:pt x="400" y="1638"/>
                            <a:pt x="411" y="1585"/>
                          </a:cubicBezTo>
                          <a:cubicBezTo>
                            <a:pt x="423" y="1528"/>
                            <a:pt x="392" y="1448"/>
                            <a:pt x="434" y="1403"/>
                          </a:cubicBezTo>
                          <a:cubicBezTo>
                            <a:pt x="458" y="1464"/>
                            <a:pt x="436" y="1549"/>
                            <a:pt x="454" y="1613"/>
                          </a:cubicBezTo>
                          <a:cubicBezTo>
                            <a:pt x="467" y="1658"/>
                            <a:pt x="471" y="1662"/>
                            <a:pt x="514" y="1660"/>
                          </a:cubicBezTo>
                          <a:cubicBezTo>
                            <a:pt x="550" y="1658"/>
                            <a:pt x="590" y="1654"/>
                            <a:pt x="626" y="1655"/>
                          </a:cubicBezTo>
                          <a:cubicBezTo>
                            <a:pt x="633" y="1591"/>
                            <a:pt x="612" y="1518"/>
                            <a:pt x="615" y="1451"/>
                          </a:cubicBezTo>
                          <a:cubicBezTo>
                            <a:pt x="621" y="1327"/>
                            <a:pt x="650" y="1208"/>
                            <a:pt x="639" y="1083"/>
                          </a:cubicBezTo>
                          <a:cubicBezTo>
                            <a:pt x="623" y="910"/>
                            <a:pt x="596" y="718"/>
                            <a:pt x="623" y="546"/>
                          </a:cubicBezTo>
                          <a:cubicBezTo>
                            <a:pt x="680" y="550"/>
                            <a:pt x="641" y="384"/>
                            <a:pt x="630" y="346"/>
                          </a:cubicBezTo>
                          <a:cubicBezTo>
                            <a:pt x="618" y="305"/>
                            <a:pt x="571" y="247"/>
                            <a:pt x="600" y="215"/>
                          </a:cubicBezTo>
                          <a:cubicBezTo>
                            <a:pt x="608" y="206"/>
                            <a:pt x="646" y="179"/>
                            <a:pt x="654" y="176"/>
                          </a:cubicBezTo>
                          <a:cubicBezTo>
                            <a:pt x="695" y="163"/>
                            <a:pt x="682" y="184"/>
                            <a:pt x="705" y="202"/>
                          </a:cubicBezTo>
                          <a:cubicBezTo>
                            <a:pt x="723" y="216"/>
                            <a:pt x="741" y="215"/>
                            <a:pt x="760" y="225"/>
                          </a:cubicBezTo>
                          <a:cubicBezTo>
                            <a:pt x="779" y="235"/>
                            <a:pt x="792" y="256"/>
                            <a:pt x="813" y="265"/>
                          </a:cubicBezTo>
                          <a:cubicBezTo>
                            <a:pt x="815" y="238"/>
                            <a:pt x="791" y="223"/>
                            <a:pt x="779" y="202"/>
                          </a:cubicBezTo>
                          <a:cubicBezTo>
                            <a:pt x="767" y="180"/>
                            <a:pt x="764" y="150"/>
                            <a:pt x="746" y="129"/>
                          </a:cubicBezTo>
                          <a:cubicBezTo>
                            <a:pt x="708" y="85"/>
                            <a:pt x="641" y="69"/>
                            <a:pt x="607" y="23"/>
                          </a:cubicBezTo>
                          <a:cubicBezTo>
                            <a:pt x="592" y="80"/>
                            <a:pt x="607" y="139"/>
                            <a:pt x="576" y="191"/>
                          </a:cubicBezTo>
                          <a:cubicBezTo>
                            <a:pt x="548" y="236"/>
                            <a:pt x="505" y="268"/>
                            <a:pt x="483" y="316"/>
                          </a:cubicBezTo>
                          <a:cubicBezTo>
                            <a:pt x="459" y="368"/>
                            <a:pt x="446" y="424"/>
                            <a:pt x="427" y="480"/>
                          </a:cubicBezTo>
                          <a:cubicBezTo>
                            <a:pt x="411" y="527"/>
                            <a:pt x="428" y="620"/>
                            <a:pt x="393" y="654"/>
                          </a:cubicBezTo>
                          <a:cubicBezTo>
                            <a:pt x="376" y="608"/>
                            <a:pt x="381" y="529"/>
                            <a:pt x="381" y="479"/>
                          </a:cubicBezTo>
                          <a:cubicBezTo>
                            <a:pt x="380" y="421"/>
                            <a:pt x="381" y="374"/>
                            <a:pt x="350" y="331"/>
                          </a:cubicBezTo>
                          <a:cubicBezTo>
                            <a:pt x="317" y="282"/>
                            <a:pt x="287" y="242"/>
                            <a:pt x="272" y="187"/>
                          </a:cubicBezTo>
                          <a:cubicBezTo>
                            <a:pt x="262" y="153"/>
                            <a:pt x="229" y="68"/>
                            <a:pt x="182" y="78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4" name="Freeform 279"/>
                    <p:cNvSpPr>
                      <a:spLocks/>
                    </p:cNvSpPr>
                    <p:nvPr/>
                  </p:nvSpPr>
                  <p:spPr bwMode="gray">
                    <a:xfrm>
                      <a:off x="-2914650" y="13449301"/>
                      <a:ext cx="1031875" cy="720725"/>
                    </a:xfrm>
                    <a:custGeom>
                      <a:avLst/>
                      <a:gdLst/>
                      <a:ahLst/>
                      <a:cxnLst>
                        <a:cxn ang="0">
                          <a:pos x="135" y="191"/>
                        </a:cxn>
                        <a:cxn ang="0">
                          <a:pos x="188" y="4"/>
                        </a:cxn>
                        <a:cxn ang="0">
                          <a:pos x="234" y="116"/>
                        </a:cxn>
                        <a:cxn ang="0">
                          <a:pos x="129" y="191"/>
                        </a:cxn>
                      </a:cxnLst>
                      <a:rect l="0" t="0" r="r" b="b"/>
                      <a:pathLst>
                        <a:path w="275" h="192">
                          <a:moveTo>
                            <a:pt x="135" y="191"/>
                          </a:moveTo>
                          <a:cubicBezTo>
                            <a:pt x="0" y="192"/>
                            <a:pt x="88" y="10"/>
                            <a:pt x="188" y="4"/>
                          </a:cubicBezTo>
                          <a:cubicBezTo>
                            <a:pt x="259" y="0"/>
                            <a:pt x="275" y="74"/>
                            <a:pt x="234" y="116"/>
                          </a:cubicBezTo>
                          <a:cubicBezTo>
                            <a:pt x="207" y="143"/>
                            <a:pt x="162" y="165"/>
                            <a:pt x="129" y="191"/>
                          </a:cubicBezTo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5" name="Freeform 280"/>
                    <p:cNvSpPr>
                      <a:spLocks/>
                    </p:cNvSpPr>
                    <p:nvPr/>
                  </p:nvSpPr>
                  <p:spPr bwMode="gray">
                    <a:xfrm>
                      <a:off x="400050" y="14341476"/>
                      <a:ext cx="1808163" cy="1276350"/>
                    </a:xfrm>
                    <a:custGeom>
                      <a:avLst/>
                      <a:gdLst/>
                      <a:ahLst/>
                      <a:cxnLst>
                        <a:cxn ang="0">
                          <a:pos x="460" y="287"/>
                        </a:cxn>
                        <a:cxn ang="0">
                          <a:pos x="232" y="257"/>
                        </a:cxn>
                        <a:cxn ang="0">
                          <a:pos x="11" y="327"/>
                        </a:cxn>
                        <a:cxn ang="0">
                          <a:pos x="15" y="236"/>
                        </a:cxn>
                        <a:cxn ang="0">
                          <a:pos x="0" y="235"/>
                        </a:cxn>
                        <a:cxn ang="0">
                          <a:pos x="482" y="228"/>
                        </a:cxn>
                        <a:cxn ang="0">
                          <a:pos x="466" y="235"/>
                        </a:cxn>
                      </a:cxnLst>
                      <a:rect l="0" t="0" r="r" b="b"/>
                      <a:pathLst>
                        <a:path w="482" h="340">
                          <a:moveTo>
                            <a:pt x="460" y="287"/>
                          </a:moveTo>
                          <a:cubicBezTo>
                            <a:pt x="386" y="340"/>
                            <a:pt x="304" y="274"/>
                            <a:pt x="232" y="257"/>
                          </a:cubicBezTo>
                          <a:cubicBezTo>
                            <a:pt x="132" y="232"/>
                            <a:pt x="95" y="302"/>
                            <a:pt x="11" y="327"/>
                          </a:cubicBezTo>
                          <a:cubicBezTo>
                            <a:pt x="11" y="297"/>
                            <a:pt x="20" y="267"/>
                            <a:pt x="15" y="236"/>
                          </a:cubicBezTo>
                          <a:cubicBezTo>
                            <a:pt x="11" y="235"/>
                            <a:pt x="4" y="236"/>
                            <a:pt x="0" y="235"/>
                          </a:cubicBezTo>
                          <a:cubicBezTo>
                            <a:pt x="109" y="206"/>
                            <a:pt x="473" y="0"/>
                            <a:pt x="482" y="228"/>
                          </a:cubicBezTo>
                          <a:cubicBezTo>
                            <a:pt x="476" y="229"/>
                            <a:pt x="472" y="232"/>
                            <a:pt x="466" y="235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6" name="Freeform 281"/>
                    <p:cNvSpPr>
                      <a:spLocks/>
                    </p:cNvSpPr>
                    <p:nvPr/>
                  </p:nvSpPr>
                  <p:spPr bwMode="gray">
                    <a:xfrm>
                      <a:off x="-1665288" y="14825663"/>
                      <a:ext cx="1098550" cy="91916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9"/>
                        </a:cxn>
                        <a:cxn ang="0">
                          <a:pos x="98" y="182"/>
                        </a:cxn>
                        <a:cxn ang="0">
                          <a:pos x="293" y="240"/>
                        </a:cxn>
                        <a:cxn ang="0">
                          <a:pos x="227" y="19"/>
                        </a:cxn>
                        <a:cxn ang="0">
                          <a:pos x="75" y="6"/>
                        </a:cxn>
                        <a:cxn ang="0">
                          <a:pos x="0" y="76"/>
                        </a:cxn>
                      </a:cxnLst>
                      <a:rect l="0" t="0" r="r" b="b"/>
                      <a:pathLst>
                        <a:path w="293" h="245">
                          <a:moveTo>
                            <a:pt x="0" y="59"/>
                          </a:moveTo>
                          <a:cubicBezTo>
                            <a:pt x="40" y="113"/>
                            <a:pt x="22" y="156"/>
                            <a:pt x="98" y="182"/>
                          </a:cubicBezTo>
                          <a:cubicBezTo>
                            <a:pt x="149" y="199"/>
                            <a:pt x="239" y="245"/>
                            <a:pt x="293" y="240"/>
                          </a:cubicBezTo>
                          <a:cubicBezTo>
                            <a:pt x="214" y="196"/>
                            <a:pt x="232" y="106"/>
                            <a:pt x="227" y="19"/>
                          </a:cubicBezTo>
                          <a:cubicBezTo>
                            <a:pt x="177" y="14"/>
                            <a:pt x="128" y="0"/>
                            <a:pt x="75" y="6"/>
                          </a:cubicBezTo>
                          <a:cubicBezTo>
                            <a:pt x="11" y="14"/>
                            <a:pt x="36" y="33"/>
                            <a:pt x="0" y="76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7" name="Freeform 282"/>
                    <p:cNvSpPr>
                      <a:spLocks/>
                    </p:cNvSpPr>
                    <p:nvPr/>
                  </p:nvSpPr>
                  <p:spPr bwMode="gray">
                    <a:xfrm>
                      <a:off x="-739775" y="15628938"/>
                      <a:ext cx="2692400" cy="2411413"/>
                    </a:xfrm>
                    <a:custGeom>
                      <a:avLst/>
                      <a:gdLst/>
                      <a:ahLst/>
                      <a:cxnLst>
                        <a:cxn ang="0">
                          <a:pos x="653" y="225"/>
                        </a:cxn>
                        <a:cxn ang="0">
                          <a:pos x="513" y="353"/>
                        </a:cxn>
                        <a:cxn ang="0">
                          <a:pos x="361" y="480"/>
                        </a:cxn>
                        <a:cxn ang="0">
                          <a:pos x="0" y="621"/>
                        </a:cxn>
                        <a:cxn ang="0">
                          <a:pos x="435" y="305"/>
                        </a:cxn>
                        <a:cxn ang="0">
                          <a:pos x="573" y="104"/>
                        </a:cxn>
                        <a:cxn ang="0">
                          <a:pos x="675" y="21"/>
                        </a:cxn>
                        <a:cxn ang="0">
                          <a:pos x="682" y="153"/>
                        </a:cxn>
                        <a:cxn ang="0">
                          <a:pos x="589" y="283"/>
                        </a:cxn>
                      </a:cxnLst>
                      <a:rect l="0" t="0" r="r" b="b"/>
                      <a:pathLst>
                        <a:path w="718" h="643">
                          <a:moveTo>
                            <a:pt x="653" y="225"/>
                          </a:moveTo>
                          <a:cubicBezTo>
                            <a:pt x="637" y="279"/>
                            <a:pt x="556" y="321"/>
                            <a:pt x="513" y="353"/>
                          </a:cubicBezTo>
                          <a:cubicBezTo>
                            <a:pt x="459" y="393"/>
                            <a:pt x="411" y="438"/>
                            <a:pt x="361" y="480"/>
                          </a:cubicBezTo>
                          <a:cubicBezTo>
                            <a:pt x="264" y="561"/>
                            <a:pt x="132" y="643"/>
                            <a:pt x="0" y="621"/>
                          </a:cubicBezTo>
                          <a:cubicBezTo>
                            <a:pt x="150" y="549"/>
                            <a:pt x="337" y="442"/>
                            <a:pt x="435" y="305"/>
                          </a:cubicBezTo>
                          <a:cubicBezTo>
                            <a:pt x="483" y="238"/>
                            <a:pt x="524" y="167"/>
                            <a:pt x="573" y="104"/>
                          </a:cubicBezTo>
                          <a:cubicBezTo>
                            <a:pt x="593" y="77"/>
                            <a:pt x="630" y="0"/>
                            <a:pt x="675" y="21"/>
                          </a:cubicBezTo>
                          <a:cubicBezTo>
                            <a:pt x="718" y="41"/>
                            <a:pt x="695" y="127"/>
                            <a:pt x="682" y="153"/>
                          </a:cubicBezTo>
                          <a:cubicBezTo>
                            <a:pt x="663" y="191"/>
                            <a:pt x="626" y="263"/>
                            <a:pt x="589" y="283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8" name="Freeform 283"/>
                    <p:cNvSpPr>
                      <a:spLocks/>
                    </p:cNvSpPr>
                    <p:nvPr/>
                  </p:nvSpPr>
                  <p:spPr bwMode="gray">
                    <a:xfrm>
                      <a:off x="-477838" y="16422688"/>
                      <a:ext cx="2482850" cy="3222625"/>
                    </a:xfrm>
                    <a:custGeom>
                      <a:avLst/>
                      <a:gdLst/>
                      <a:ahLst/>
                      <a:cxnLst>
                        <a:cxn ang="0">
                          <a:pos x="554" y="112"/>
                        </a:cxn>
                        <a:cxn ang="0">
                          <a:pos x="436" y="323"/>
                        </a:cxn>
                        <a:cxn ang="0">
                          <a:pos x="315" y="511"/>
                        </a:cxn>
                        <a:cxn ang="0">
                          <a:pos x="0" y="859"/>
                        </a:cxn>
                        <a:cxn ang="0">
                          <a:pos x="223" y="732"/>
                        </a:cxn>
                        <a:cxn ang="0">
                          <a:pos x="459" y="529"/>
                        </a:cxn>
                        <a:cxn ang="0">
                          <a:pos x="344" y="782"/>
                        </a:cxn>
                        <a:cxn ang="0">
                          <a:pos x="548" y="387"/>
                        </a:cxn>
                        <a:cxn ang="0">
                          <a:pos x="596" y="169"/>
                        </a:cxn>
                        <a:cxn ang="0">
                          <a:pos x="652" y="8"/>
                        </a:cxn>
                        <a:cxn ang="0">
                          <a:pos x="542" y="137"/>
                        </a:cxn>
                        <a:cxn ang="0">
                          <a:pos x="449" y="258"/>
                        </a:cxn>
                      </a:cxnLst>
                      <a:rect l="0" t="0" r="r" b="b"/>
                      <a:pathLst>
                        <a:path w="662" h="859">
                          <a:moveTo>
                            <a:pt x="554" y="112"/>
                          </a:moveTo>
                          <a:cubicBezTo>
                            <a:pt x="559" y="166"/>
                            <a:pt x="462" y="270"/>
                            <a:pt x="436" y="323"/>
                          </a:cubicBezTo>
                          <a:cubicBezTo>
                            <a:pt x="401" y="390"/>
                            <a:pt x="359" y="448"/>
                            <a:pt x="315" y="511"/>
                          </a:cubicBezTo>
                          <a:cubicBezTo>
                            <a:pt x="222" y="646"/>
                            <a:pt x="129" y="762"/>
                            <a:pt x="0" y="859"/>
                          </a:cubicBezTo>
                          <a:cubicBezTo>
                            <a:pt x="79" y="822"/>
                            <a:pt x="156" y="788"/>
                            <a:pt x="223" y="732"/>
                          </a:cubicBezTo>
                          <a:cubicBezTo>
                            <a:pt x="301" y="667"/>
                            <a:pt x="376" y="588"/>
                            <a:pt x="459" y="529"/>
                          </a:cubicBezTo>
                          <a:cubicBezTo>
                            <a:pt x="464" y="635"/>
                            <a:pt x="411" y="705"/>
                            <a:pt x="344" y="782"/>
                          </a:cubicBezTo>
                          <a:cubicBezTo>
                            <a:pt x="477" y="691"/>
                            <a:pt x="524" y="541"/>
                            <a:pt x="548" y="387"/>
                          </a:cubicBezTo>
                          <a:cubicBezTo>
                            <a:pt x="561" y="307"/>
                            <a:pt x="569" y="239"/>
                            <a:pt x="596" y="169"/>
                          </a:cubicBezTo>
                          <a:cubicBezTo>
                            <a:pt x="616" y="117"/>
                            <a:pt x="662" y="68"/>
                            <a:pt x="652" y="8"/>
                          </a:cubicBezTo>
                          <a:cubicBezTo>
                            <a:pt x="607" y="0"/>
                            <a:pt x="572" y="106"/>
                            <a:pt x="542" y="137"/>
                          </a:cubicBezTo>
                          <a:cubicBezTo>
                            <a:pt x="507" y="173"/>
                            <a:pt x="454" y="204"/>
                            <a:pt x="449" y="258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79" name="Freeform 284"/>
                    <p:cNvSpPr>
                      <a:spLocks/>
                    </p:cNvSpPr>
                    <p:nvPr/>
                  </p:nvSpPr>
                  <p:spPr bwMode="gray">
                    <a:xfrm>
                      <a:off x="1765300" y="14338301"/>
                      <a:ext cx="817563" cy="2287588"/>
                    </a:xfrm>
                    <a:custGeom>
                      <a:avLst/>
                      <a:gdLst/>
                      <a:ahLst/>
                      <a:cxnLst>
                        <a:cxn ang="0">
                          <a:pos x="99" y="1"/>
                        </a:cxn>
                        <a:cxn ang="0">
                          <a:pos x="61" y="160"/>
                        </a:cxn>
                        <a:cxn ang="0">
                          <a:pos x="40" y="273"/>
                        </a:cxn>
                        <a:cxn ang="0">
                          <a:pos x="23" y="348"/>
                        </a:cxn>
                        <a:cxn ang="0">
                          <a:pos x="7" y="447"/>
                        </a:cxn>
                        <a:cxn ang="0">
                          <a:pos x="79" y="361"/>
                        </a:cxn>
                        <a:cxn ang="0">
                          <a:pos x="56" y="501"/>
                        </a:cxn>
                        <a:cxn ang="0">
                          <a:pos x="48" y="556"/>
                        </a:cxn>
                        <a:cxn ang="0">
                          <a:pos x="58" y="610"/>
                        </a:cxn>
                        <a:cxn ang="0">
                          <a:pos x="109" y="467"/>
                        </a:cxn>
                        <a:cxn ang="0">
                          <a:pos x="109" y="594"/>
                        </a:cxn>
                        <a:cxn ang="0">
                          <a:pos x="147" y="493"/>
                        </a:cxn>
                        <a:cxn ang="0">
                          <a:pos x="155" y="570"/>
                        </a:cxn>
                        <a:cxn ang="0">
                          <a:pos x="211" y="327"/>
                        </a:cxn>
                        <a:cxn ang="0">
                          <a:pos x="206" y="178"/>
                        </a:cxn>
                        <a:cxn ang="0">
                          <a:pos x="208" y="124"/>
                        </a:cxn>
                        <a:cxn ang="0">
                          <a:pos x="201" y="89"/>
                        </a:cxn>
                        <a:cxn ang="0">
                          <a:pos x="191" y="35"/>
                        </a:cxn>
                        <a:cxn ang="0">
                          <a:pos x="100" y="1"/>
                        </a:cxn>
                      </a:cxnLst>
                      <a:rect l="0" t="0" r="r" b="b"/>
                      <a:pathLst>
                        <a:path w="218" h="610">
                          <a:moveTo>
                            <a:pt x="99" y="1"/>
                          </a:moveTo>
                          <a:cubicBezTo>
                            <a:pt x="91" y="55"/>
                            <a:pt x="75" y="107"/>
                            <a:pt x="61" y="160"/>
                          </a:cubicBezTo>
                          <a:cubicBezTo>
                            <a:pt x="51" y="197"/>
                            <a:pt x="46" y="235"/>
                            <a:pt x="40" y="273"/>
                          </a:cubicBezTo>
                          <a:cubicBezTo>
                            <a:pt x="36" y="298"/>
                            <a:pt x="27" y="323"/>
                            <a:pt x="23" y="348"/>
                          </a:cubicBezTo>
                          <a:cubicBezTo>
                            <a:pt x="21" y="356"/>
                            <a:pt x="0" y="440"/>
                            <a:pt x="7" y="447"/>
                          </a:cubicBezTo>
                          <a:cubicBezTo>
                            <a:pt x="37" y="449"/>
                            <a:pt x="71" y="360"/>
                            <a:pt x="79" y="361"/>
                          </a:cubicBezTo>
                          <a:cubicBezTo>
                            <a:pt x="83" y="379"/>
                            <a:pt x="59" y="484"/>
                            <a:pt x="56" y="501"/>
                          </a:cubicBezTo>
                          <a:cubicBezTo>
                            <a:pt x="53" y="519"/>
                            <a:pt x="50" y="538"/>
                            <a:pt x="48" y="556"/>
                          </a:cubicBezTo>
                          <a:cubicBezTo>
                            <a:pt x="46" y="571"/>
                            <a:pt x="36" y="609"/>
                            <a:pt x="58" y="610"/>
                          </a:cubicBezTo>
                          <a:cubicBezTo>
                            <a:pt x="69" y="610"/>
                            <a:pt x="101" y="480"/>
                            <a:pt x="109" y="467"/>
                          </a:cubicBezTo>
                          <a:cubicBezTo>
                            <a:pt x="115" y="476"/>
                            <a:pt x="96" y="592"/>
                            <a:pt x="109" y="594"/>
                          </a:cubicBezTo>
                          <a:cubicBezTo>
                            <a:pt x="130" y="596"/>
                            <a:pt x="143" y="502"/>
                            <a:pt x="147" y="493"/>
                          </a:cubicBezTo>
                          <a:cubicBezTo>
                            <a:pt x="147" y="495"/>
                            <a:pt x="141" y="559"/>
                            <a:pt x="155" y="570"/>
                          </a:cubicBezTo>
                          <a:cubicBezTo>
                            <a:pt x="172" y="569"/>
                            <a:pt x="218" y="396"/>
                            <a:pt x="211" y="327"/>
                          </a:cubicBezTo>
                          <a:cubicBezTo>
                            <a:pt x="205" y="276"/>
                            <a:pt x="204" y="228"/>
                            <a:pt x="206" y="178"/>
                          </a:cubicBezTo>
                          <a:cubicBezTo>
                            <a:pt x="207" y="161"/>
                            <a:pt x="209" y="142"/>
                            <a:pt x="208" y="124"/>
                          </a:cubicBezTo>
                          <a:cubicBezTo>
                            <a:pt x="207" y="112"/>
                            <a:pt x="202" y="101"/>
                            <a:pt x="201" y="89"/>
                          </a:cubicBezTo>
                          <a:cubicBezTo>
                            <a:pt x="199" y="74"/>
                            <a:pt x="200" y="49"/>
                            <a:pt x="191" y="35"/>
                          </a:cubicBezTo>
                          <a:cubicBezTo>
                            <a:pt x="173" y="9"/>
                            <a:pt x="130" y="0"/>
                            <a:pt x="100" y="1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0" name="Freeform 285"/>
                    <p:cNvSpPr>
                      <a:spLocks/>
                    </p:cNvSpPr>
                    <p:nvPr/>
                  </p:nvSpPr>
                  <p:spPr bwMode="gray">
                    <a:xfrm>
                      <a:off x="-863600" y="6575426"/>
                      <a:ext cx="1585913" cy="2251075"/>
                    </a:xfrm>
                    <a:custGeom>
                      <a:avLst/>
                      <a:gdLst/>
                      <a:ahLst/>
                      <a:cxnLst>
                        <a:cxn ang="0">
                          <a:pos x="6" y="213"/>
                        </a:cxn>
                        <a:cxn ang="0">
                          <a:pos x="35" y="379"/>
                        </a:cxn>
                        <a:cxn ang="0">
                          <a:pos x="76" y="526"/>
                        </a:cxn>
                        <a:cxn ang="0">
                          <a:pos x="199" y="599"/>
                        </a:cxn>
                        <a:cxn ang="0">
                          <a:pos x="330" y="527"/>
                        </a:cxn>
                        <a:cxn ang="0">
                          <a:pos x="374" y="392"/>
                        </a:cxn>
                        <a:cxn ang="0">
                          <a:pos x="329" y="70"/>
                        </a:cxn>
                        <a:cxn ang="0">
                          <a:pos x="158" y="0"/>
                        </a:cxn>
                        <a:cxn ang="0">
                          <a:pos x="0" y="85"/>
                        </a:cxn>
                      </a:cxnLst>
                      <a:rect l="0" t="0" r="r" b="b"/>
                      <a:pathLst>
                        <a:path w="423" h="600">
                          <a:moveTo>
                            <a:pt x="6" y="213"/>
                          </a:moveTo>
                          <a:cubicBezTo>
                            <a:pt x="0" y="277"/>
                            <a:pt x="15" y="323"/>
                            <a:pt x="35" y="379"/>
                          </a:cubicBezTo>
                          <a:cubicBezTo>
                            <a:pt x="53" y="428"/>
                            <a:pt x="42" y="480"/>
                            <a:pt x="76" y="526"/>
                          </a:cubicBezTo>
                          <a:cubicBezTo>
                            <a:pt x="102" y="561"/>
                            <a:pt x="152" y="597"/>
                            <a:pt x="199" y="599"/>
                          </a:cubicBezTo>
                          <a:cubicBezTo>
                            <a:pt x="244" y="600"/>
                            <a:pt x="305" y="565"/>
                            <a:pt x="330" y="527"/>
                          </a:cubicBezTo>
                          <a:cubicBezTo>
                            <a:pt x="356" y="487"/>
                            <a:pt x="352" y="434"/>
                            <a:pt x="374" y="392"/>
                          </a:cubicBezTo>
                          <a:cubicBezTo>
                            <a:pt x="423" y="295"/>
                            <a:pt x="402" y="146"/>
                            <a:pt x="329" y="70"/>
                          </a:cubicBezTo>
                          <a:cubicBezTo>
                            <a:pt x="281" y="20"/>
                            <a:pt x="227" y="0"/>
                            <a:pt x="158" y="0"/>
                          </a:cubicBezTo>
                          <a:cubicBezTo>
                            <a:pt x="115" y="0"/>
                            <a:pt x="3" y="73"/>
                            <a:pt x="0" y="85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1" name="Freeform 286"/>
                    <p:cNvSpPr>
                      <a:spLocks/>
                    </p:cNvSpPr>
                    <p:nvPr/>
                  </p:nvSpPr>
                  <p:spPr bwMode="gray">
                    <a:xfrm>
                      <a:off x="-971550" y="5983288"/>
                      <a:ext cx="1795463" cy="2549525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242"/>
                        </a:cxn>
                        <a:cxn ang="0">
                          <a:pos x="39" y="429"/>
                        </a:cxn>
                        <a:cxn ang="0">
                          <a:pos x="86" y="596"/>
                        </a:cxn>
                        <a:cxn ang="0">
                          <a:pos x="225" y="678"/>
                        </a:cxn>
                        <a:cxn ang="0">
                          <a:pos x="373" y="597"/>
                        </a:cxn>
                        <a:cxn ang="0">
                          <a:pos x="423" y="444"/>
                        </a:cxn>
                        <a:cxn ang="0">
                          <a:pos x="372" y="79"/>
                        </a:cxn>
                        <a:cxn ang="0">
                          <a:pos x="178" y="0"/>
                        </a:cxn>
                        <a:cxn ang="0">
                          <a:pos x="0" y="97"/>
                        </a:cxn>
                      </a:cxnLst>
                      <a:rect l="0" t="0" r="r" b="b"/>
                      <a:pathLst>
                        <a:path w="479" h="680">
                          <a:moveTo>
                            <a:pt x="7" y="242"/>
                          </a:moveTo>
                          <a:cubicBezTo>
                            <a:pt x="0" y="314"/>
                            <a:pt x="16" y="366"/>
                            <a:pt x="39" y="429"/>
                          </a:cubicBezTo>
                          <a:cubicBezTo>
                            <a:pt x="59" y="485"/>
                            <a:pt x="47" y="544"/>
                            <a:pt x="86" y="596"/>
                          </a:cubicBezTo>
                          <a:cubicBezTo>
                            <a:pt x="115" y="635"/>
                            <a:pt x="172" y="677"/>
                            <a:pt x="225" y="678"/>
                          </a:cubicBezTo>
                          <a:cubicBezTo>
                            <a:pt x="276" y="680"/>
                            <a:pt x="346" y="640"/>
                            <a:pt x="373" y="597"/>
                          </a:cubicBezTo>
                          <a:cubicBezTo>
                            <a:pt x="403" y="552"/>
                            <a:pt x="398" y="492"/>
                            <a:pt x="423" y="444"/>
                          </a:cubicBezTo>
                          <a:cubicBezTo>
                            <a:pt x="479" y="334"/>
                            <a:pt x="455" y="166"/>
                            <a:pt x="372" y="79"/>
                          </a:cubicBezTo>
                          <a:cubicBezTo>
                            <a:pt x="318" y="23"/>
                            <a:pt x="257" y="0"/>
                            <a:pt x="178" y="0"/>
                          </a:cubicBezTo>
                          <a:cubicBezTo>
                            <a:pt x="130" y="0"/>
                            <a:pt x="3" y="83"/>
                            <a:pt x="0" y="97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2" name="Freeform 287"/>
                    <p:cNvSpPr>
                      <a:spLocks/>
                    </p:cNvSpPr>
                    <p:nvPr/>
                  </p:nvSpPr>
                  <p:spPr bwMode="gray">
                    <a:xfrm>
                      <a:off x="-117475" y="11623676"/>
                      <a:ext cx="1038225" cy="2324100"/>
                    </a:xfrm>
                    <a:custGeom>
                      <a:avLst/>
                      <a:gdLst/>
                      <a:ahLst/>
                      <a:cxnLst>
                        <a:cxn ang="0">
                          <a:pos x="200" y="59"/>
                        </a:cxn>
                        <a:cxn ang="0">
                          <a:pos x="101" y="65"/>
                        </a:cxn>
                        <a:cxn ang="0">
                          <a:pos x="38" y="19"/>
                        </a:cxn>
                        <a:cxn ang="0">
                          <a:pos x="61" y="201"/>
                        </a:cxn>
                        <a:cxn ang="0">
                          <a:pos x="95" y="293"/>
                        </a:cxn>
                        <a:cxn ang="0">
                          <a:pos x="54" y="404"/>
                        </a:cxn>
                        <a:cxn ang="0">
                          <a:pos x="78" y="522"/>
                        </a:cxn>
                        <a:cxn ang="0">
                          <a:pos x="176" y="615"/>
                        </a:cxn>
                        <a:cxn ang="0">
                          <a:pos x="253" y="464"/>
                        </a:cxn>
                        <a:cxn ang="0">
                          <a:pos x="276" y="286"/>
                        </a:cxn>
                        <a:cxn ang="0">
                          <a:pos x="203" y="78"/>
                        </a:cxn>
                        <a:cxn ang="0">
                          <a:pos x="85" y="57"/>
                        </a:cxn>
                        <a:cxn ang="0">
                          <a:pos x="25" y="48"/>
                        </a:cxn>
                      </a:cxnLst>
                      <a:rect l="0" t="0" r="r" b="b"/>
                      <a:pathLst>
                        <a:path w="277" h="620">
                          <a:moveTo>
                            <a:pt x="200" y="59"/>
                          </a:moveTo>
                          <a:cubicBezTo>
                            <a:pt x="175" y="76"/>
                            <a:pt x="127" y="78"/>
                            <a:pt x="101" y="65"/>
                          </a:cubicBezTo>
                          <a:cubicBezTo>
                            <a:pt x="75" y="52"/>
                            <a:pt x="68" y="17"/>
                            <a:pt x="38" y="19"/>
                          </a:cubicBezTo>
                          <a:cubicBezTo>
                            <a:pt x="26" y="65"/>
                            <a:pt x="135" y="171"/>
                            <a:pt x="61" y="201"/>
                          </a:cubicBezTo>
                          <a:cubicBezTo>
                            <a:pt x="46" y="250"/>
                            <a:pt x="96" y="253"/>
                            <a:pt x="95" y="293"/>
                          </a:cubicBezTo>
                          <a:cubicBezTo>
                            <a:pt x="95" y="334"/>
                            <a:pt x="49" y="349"/>
                            <a:pt x="54" y="404"/>
                          </a:cubicBezTo>
                          <a:cubicBezTo>
                            <a:pt x="57" y="438"/>
                            <a:pt x="68" y="488"/>
                            <a:pt x="78" y="522"/>
                          </a:cubicBezTo>
                          <a:cubicBezTo>
                            <a:pt x="89" y="562"/>
                            <a:pt x="124" y="620"/>
                            <a:pt x="176" y="615"/>
                          </a:cubicBezTo>
                          <a:cubicBezTo>
                            <a:pt x="249" y="607"/>
                            <a:pt x="253" y="521"/>
                            <a:pt x="253" y="464"/>
                          </a:cubicBezTo>
                          <a:cubicBezTo>
                            <a:pt x="253" y="398"/>
                            <a:pt x="276" y="352"/>
                            <a:pt x="276" y="286"/>
                          </a:cubicBezTo>
                          <a:cubicBezTo>
                            <a:pt x="276" y="197"/>
                            <a:pt x="277" y="138"/>
                            <a:pt x="203" y="78"/>
                          </a:cubicBezTo>
                          <a:cubicBezTo>
                            <a:pt x="173" y="54"/>
                            <a:pt x="115" y="6"/>
                            <a:pt x="85" y="57"/>
                          </a:cubicBezTo>
                          <a:cubicBezTo>
                            <a:pt x="70" y="18"/>
                            <a:pt x="0" y="0"/>
                            <a:pt x="25" y="48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3" name="Freeform 288"/>
                    <p:cNvSpPr>
                      <a:spLocks/>
                    </p:cNvSpPr>
                    <p:nvPr/>
                  </p:nvSpPr>
                  <p:spPr bwMode="gray">
                    <a:xfrm>
                      <a:off x="-219075" y="10855326"/>
                      <a:ext cx="657225" cy="704850"/>
                    </a:xfrm>
                    <a:custGeom>
                      <a:avLst/>
                      <a:gdLst/>
                      <a:ahLst/>
                      <a:cxnLst>
                        <a:cxn ang="0">
                          <a:pos x="157" y="183"/>
                        </a:cxn>
                        <a:cxn ang="0">
                          <a:pos x="75" y="20"/>
                        </a:cxn>
                        <a:cxn ang="0">
                          <a:pos x="87" y="118"/>
                        </a:cxn>
                        <a:cxn ang="0">
                          <a:pos x="175" y="188"/>
                        </a:cxn>
                      </a:cxnLst>
                      <a:rect l="0" t="0" r="r" b="b"/>
                      <a:pathLst>
                        <a:path w="175" h="188">
                          <a:moveTo>
                            <a:pt x="157" y="183"/>
                          </a:moveTo>
                          <a:cubicBezTo>
                            <a:pt x="117" y="174"/>
                            <a:pt x="0" y="57"/>
                            <a:pt x="75" y="20"/>
                          </a:cubicBezTo>
                          <a:cubicBezTo>
                            <a:pt x="116" y="0"/>
                            <a:pt x="82" y="106"/>
                            <a:pt x="87" y="118"/>
                          </a:cubicBezTo>
                          <a:cubicBezTo>
                            <a:pt x="99" y="149"/>
                            <a:pt x="147" y="167"/>
                            <a:pt x="175" y="188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4" name="Freeform 289"/>
                    <p:cNvSpPr>
                      <a:spLocks/>
                    </p:cNvSpPr>
                    <p:nvPr/>
                  </p:nvSpPr>
                  <p:spPr bwMode="gray">
                    <a:xfrm>
                      <a:off x="-1287463" y="11717338"/>
                      <a:ext cx="1196975" cy="3367088"/>
                    </a:xfrm>
                    <a:custGeom>
                      <a:avLst/>
                      <a:gdLst/>
                      <a:ahLst/>
                      <a:cxnLst>
                        <a:cxn ang="0">
                          <a:pos x="127" y="122"/>
                        </a:cxn>
                        <a:cxn ang="0">
                          <a:pos x="144" y="227"/>
                        </a:cxn>
                        <a:cxn ang="0">
                          <a:pos x="198" y="308"/>
                        </a:cxn>
                        <a:cxn ang="0">
                          <a:pos x="319" y="472"/>
                        </a:cxn>
                        <a:cxn ang="0">
                          <a:pos x="157" y="339"/>
                        </a:cxn>
                        <a:cxn ang="0">
                          <a:pos x="169" y="594"/>
                        </a:cxn>
                        <a:cxn ang="0">
                          <a:pos x="238" y="695"/>
                        </a:cxn>
                        <a:cxn ang="0">
                          <a:pos x="259" y="829"/>
                        </a:cxn>
                        <a:cxn ang="0">
                          <a:pos x="74" y="397"/>
                        </a:cxn>
                        <a:cxn ang="0">
                          <a:pos x="4" y="128"/>
                        </a:cxn>
                        <a:cxn ang="0">
                          <a:pos x="161" y="35"/>
                        </a:cxn>
                        <a:cxn ang="0">
                          <a:pos x="92" y="134"/>
                        </a:cxn>
                        <a:cxn ang="0">
                          <a:pos x="156" y="210"/>
                        </a:cxn>
                      </a:cxnLst>
                      <a:rect l="0" t="0" r="r" b="b"/>
                      <a:pathLst>
                        <a:path w="319" h="898">
                          <a:moveTo>
                            <a:pt x="127" y="122"/>
                          </a:moveTo>
                          <a:cubicBezTo>
                            <a:pt x="148" y="154"/>
                            <a:pt x="133" y="189"/>
                            <a:pt x="144" y="227"/>
                          </a:cubicBezTo>
                          <a:cubicBezTo>
                            <a:pt x="152" y="254"/>
                            <a:pt x="181" y="284"/>
                            <a:pt x="198" y="308"/>
                          </a:cubicBezTo>
                          <a:cubicBezTo>
                            <a:pt x="238" y="364"/>
                            <a:pt x="288" y="410"/>
                            <a:pt x="319" y="472"/>
                          </a:cubicBezTo>
                          <a:cubicBezTo>
                            <a:pt x="273" y="430"/>
                            <a:pt x="238" y="326"/>
                            <a:pt x="157" y="339"/>
                          </a:cubicBezTo>
                          <a:cubicBezTo>
                            <a:pt x="137" y="420"/>
                            <a:pt x="112" y="529"/>
                            <a:pt x="169" y="594"/>
                          </a:cubicBezTo>
                          <a:cubicBezTo>
                            <a:pt x="198" y="626"/>
                            <a:pt x="227" y="651"/>
                            <a:pt x="238" y="695"/>
                          </a:cubicBezTo>
                          <a:cubicBezTo>
                            <a:pt x="249" y="737"/>
                            <a:pt x="209" y="810"/>
                            <a:pt x="259" y="829"/>
                          </a:cubicBezTo>
                          <a:cubicBezTo>
                            <a:pt x="43" y="898"/>
                            <a:pt x="109" y="499"/>
                            <a:pt x="74" y="397"/>
                          </a:cubicBezTo>
                          <a:cubicBezTo>
                            <a:pt x="43" y="305"/>
                            <a:pt x="0" y="232"/>
                            <a:pt x="4" y="128"/>
                          </a:cubicBezTo>
                          <a:cubicBezTo>
                            <a:pt x="9" y="0"/>
                            <a:pt x="83" y="57"/>
                            <a:pt x="161" y="35"/>
                          </a:cubicBezTo>
                          <a:cubicBezTo>
                            <a:pt x="179" y="98"/>
                            <a:pt x="85" y="76"/>
                            <a:pt x="92" y="134"/>
                          </a:cubicBezTo>
                          <a:cubicBezTo>
                            <a:pt x="93" y="151"/>
                            <a:pt x="147" y="202"/>
                            <a:pt x="156" y="210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5" name="Freeform 290"/>
                    <p:cNvSpPr>
                      <a:spLocks/>
                    </p:cNvSpPr>
                    <p:nvPr/>
                  </p:nvSpPr>
                  <p:spPr bwMode="gray">
                    <a:xfrm>
                      <a:off x="193675" y="8870951"/>
                      <a:ext cx="919163" cy="884238"/>
                    </a:xfrm>
                    <a:custGeom>
                      <a:avLst/>
                      <a:gdLst/>
                      <a:ahLst/>
                      <a:cxnLst>
                        <a:cxn ang="0">
                          <a:pos x="123" y="39"/>
                        </a:cxn>
                        <a:cxn ang="0">
                          <a:pos x="6" y="236"/>
                        </a:cxn>
                        <a:cxn ang="0">
                          <a:pos x="166" y="139"/>
                        </a:cxn>
                        <a:cxn ang="0">
                          <a:pos x="77" y="69"/>
                        </a:cxn>
                      </a:cxnLst>
                      <a:rect l="0" t="0" r="r" b="b"/>
                      <a:pathLst>
                        <a:path w="245" h="236">
                          <a:moveTo>
                            <a:pt x="123" y="39"/>
                          </a:moveTo>
                          <a:cubicBezTo>
                            <a:pt x="55" y="75"/>
                            <a:pt x="0" y="158"/>
                            <a:pt x="6" y="236"/>
                          </a:cubicBezTo>
                          <a:cubicBezTo>
                            <a:pt x="33" y="141"/>
                            <a:pt x="109" y="197"/>
                            <a:pt x="166" y="139"/>
                          </a:cubicBezTo>
                          <a:cubicBezTo>
                            <a:pt x="245" y="58"/>
                            <a:pt x="100" y="0"/>
                            <a:pt x="77" y="69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6" name="Freeform 291"/>
                    <p:cNvSpPr>
                      <a:spLocks/>
                    </p:cNvSpPr>
                    <p:nvPr/>
                  </p:nvSpPr>
                  <p:spPr bwMode="gray">
                    <a:xfrm>
                      <a:off x="1919287" y="14533563"/>
                      <a:ext cx="655638" cy="809625"/>
                    </a:xfrm>
                    <a:custGeom>
                      <a:avLst/>
                      <a:gdLst/>
                      <a:ahLst/>
                      <a:cxnLst>
                        <a:cxn ang="0">
                          <a:pos x="172" y="35"/>
                        </a:cxn>
                        <a:cxn ang="0">
                          <a:pos x="143" y="88"/>
                        </a:cxn>
                        <a:cxn ang="0">
                          <a:pos x="87" y="125"/>
                        </a:cxn>
                        <a:cxn ang="0">
                          <a:pos x="43" y="172"/>
                        </a:cxn>
                        <a:cxn ang="0">
                          <a:pos x="1" y="216"/>
                        </a:cxn>
                        <a:cxn ang="0">
                          <a:pos x="9" y="154"/>
                        </a:cxn>
                        <a:cxn ang="0">
                          <a:pos x="39" y="100"/>
                        </a:cxn>
                        <a:cxn ang="0">
                          <a:pos x="55" y="65"/>
                        </a:cxn>
                        <a:cxn ang="0">
                          <a:pos x="119" y="20"/>
                        </a:cxn>
                        <a:cxn ang="0">
                          <a:pos x="158" y="13"/>
                        </a:cxn>
                        <a:cxn ang="0">
                          <a:pos x="175" y="33"/>
                        </a:cxn>
                        <a:cxn ang="0">
                          <a:pos x="169" y="33"/>
                        </a:cxn>
                      </a:cxnLst>
                      <a:rect l="0" t="0" r="r" b="b"/>
                      <a:pathLst>
                        <a:path w="175" h="216">
                          <a:moveTo>
                            <a:pt x="172" y="35"/>
                          </a:moveTo>
                          <a:cubicBezTo>
                            <a:pt x="174" y="49"/>
                            <a:pt x="152" y="77"/>
                            <a:pt x="143" y="88"/>
                          </a:cubicBezTo>
                          <a:cubicBezTo>
                            <a:pt x="128" y="106"/>
                            <a:pt x="103" y="110"/>
                            <a:pt x="87" y="125"/>
                          </a:cubicBezTo>
                          <a:cubicBezTo>
                            <a:pt x="70" y="141"/>
                            <a:pt x="57" y="153"/>
                            <a:pt x="43" y="172"/>
                          </a:cubicBezTo>
                          <a:cubicBezTo>
                            <a:pt x="30" y="188"/>
                            <a:pt x="19" y="207"/>
                            <a:pt x="1" y="216"/>
                          </a:cubicBezTo>
                          <a:cubicBezTo>
                            <a:pt x="0" y="196"/>
                            <a:pt x="6" y="174"/>
                            <a:pt x="9" y="154"/>
                          </a:cubicBezTo>
                          <a:cubicBezTo>
                            <a:pt x="12" y="132"/>
                            <a:pt x="30" y="120"/>
                            <a:pt x="39" y="100"/>
                          </a:cubicBezTo>
                          <a:cubicBezTo>
                            <a:pt x="45" y="88"/>
                            <a:pt x="48" y="76"/>
                            <a:pt x="55" y="65"/>
                          </a:cubicBezTo>
                          <a:cubicBezTo>
                            <a:pt x="71" y="41"/>
                            <a:pt x="95" y="34"/>
                            <a:pt x="119" y="20"/>
                          </a:cubicBezTo>
                          <a:cubicBezTo>
                            <a:pt x="135" y="10"/>
                            <a:pt x="141" y="0"/>
                            <a:pt x="158" y="13"/>
                          </a:cubicBezTo>
                          <a:cubicBezTo>
                            <a:pt x="164" y="18"/>
                            <a:pt x="168" y="29"/>
                            <a:pt x="175" y="33"/>
                          </a:cubicBezTo>
                          <a:cubicBezTo>
                            <a:pt x="173" y="33"/>
                            <a:pt x="171" y="33"/>
                            <a:pt x="169" y="33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7" name="Freeform 292"/>
                    <p:cNvSpPr>
                      <a:spLocks/>
                    </p:cNvSpPr>
                    <p:nvPr/>
                  </p:nvSpPr>
                  <p:spPr bwMode="gray">
                    <a:xfrm>
                      <a:off x="-4095750" y="8386763"/>
                      <a:ext cx="6791325" cy="7204075"/>
                    </a:xfrm>
                    <a:custGeom>
                      <a:avLst/>
                      <a:gdLst/>
                      <a:ahLst/>
                      <a:cxnLst>
                        <a:cxn ang="0">
                          <a:pos x="1156" y="1557"/>
                        </a:cxn>
                        <a:cxn ang="0">
                          <a:pos x="1157" y="1117"/>
                        </a:cxn>
                        <a:cxn ang="0">
                          <a:pos x="1207" y="345"/>
                        </a:cxn>
                        <a:cxn ang="0">
                          <a:pos x="1346" y="124"/>
                        </a:cxn>
                        <a:cxn ang="0">
                          <a:pos x="1642" y="268"/>
                        </a:cxn>
                        <a:cxn ang="0">
                          <a:pos x="1689" y="578"/>
                        </a:cxn>
                        <a:cxn ang="0">
                          <a:pos x="1731" y="1101"/>
                        </a:cxn>
                        <a:cxn ang="0">
                          <a:pos x="1767" y="1289"/>
                        </a:cxn>
                        <a:cxn ang="0">
                          <a:pos x="1788" y="1685"/>
                        </a:cxn>
                        <a:cxn ang="0">
                          <a:pos x="1359" y="1806"/>
                        </a:cxn>
                        <a:cxn ang="0">
                          <a:pos x="993" y="1908"/>
                        </a:cxn>
                        <a:cxn ang="0">
                          <a:pos x="575" y="1568"/>
                        </a:cxn>
                        <a:cxn ang="0">
                          <a:pos x="611" y="1378"/>
                        </a:cxn>
                        <a:cxn ang="0">
                          <a:pos x="603" y="1284"/>
                        </a:cxn>
                        <a:cxn ang="0">
                          <a:pos x="618" y="1144"/>
                        </a:cxn>
                        <a:cxn ang="0">
                          <a:pos x="559" y="922"/>
                        </a:cxn>
                        <a:cxn ang="0">
                          <a:pos x="493" y="703"/>
                        </a:cxn>
                        <a:cxn ang="0">
                          <a:pos x="412" y="759"/>
                        </a:cxn>
                        <a:cxn ang="0">
                          <a:pos x="330" y="915"/>
                        </a:cxn>
                        <a:cxn ang="0">
                          <a:pos x="345" y="1062"/>
                        </a:cxn>
                        <a:cxn ang="0">
                          <a:pos x="472" y="1291"/>
                        </a:cxn>
                        <a:cxn ang="0">
                          <a:pos x="571" y="1381"/>
                        </a:cxn>
                        <a:cxn ang="0">
                          <a:pos x="487" y="1410"/>
                        </a:cxn>
                        <a:cxn ang="0">
                          <a:pos x="480" y="1558"/>
                        </a:cxn>
                        <a:cxn ang="0">
                          <a:pos x="282" y="1383"/>
                        </a:cxn>
                        <a:cxn ang="0">
                          <a:pos x="143" y="1207"/>
                        </a:cxn>
                        <a:cxn ang="0">
                          <a:pos x="79" y="1097"/>
                        </a:cxn>
                        <a:cxn ang="0">
                          <a:pos x="100" y="755"/>
                        </a:cxn>
                        <a:cxn ang="0">
                          <a:pos x="276" y="475"/>
                        </a:cxn>
                        <a:cxn ang="0">
                          <a:pos x="384" y="353"/>
                        </a:cxn>
                        <a:cxn ang="0">
                          <a:pos x="477" y="185"/>
                        </a:cxn>
                        <a:cxn ang="0">
                          <a:pos x="741" y="87"/>
                        </a:cxn>
                        <a:cxn ang="0">
                          <a:pos x="851" y="189"/>
                        </a:cxn>
                        <a:cxn ang="0">
                          <a:pos x="817" y="548"/>
                        </a:cxn>
                        <a:cxn ang="0">
                          <a:pos x="848" y="856"/>
                        </a:cxn>
                        <a:cxn ang="0">
                          <a:pos x="898" y="1421"/>
                        </a:cxn>
                        <a:cxn ang="0">
                          <a:pos x="993" y="1908"/>
                        </a:cxn>
                      </a:cxnLst>
                      <a:rect l="0" t="0" r="r" b="b"/>
                      <a:pathLst>
                        <a:path w="1811" h="1921">
                          <a:moveTo>
                            <a:pt x="1143" y="1908"/>
                          </a:moveTo>
                          <a:cubicBezTo>
                            <a:pt x="1187" y="1827"/>
                            <a:pt x="1155" y="1642"/>
                            <a:pt x="1156" y="1557"/>
                          </a:cubicBezTo>
                          <a:cubicBezTo>
                            <a:pt x="1156" y="1504"/>
                            <a:pt x="1169" y="1457"/>
                            <a:pt x="1171" y="1405"/>
                          </a:cubicBezTo>
                          <a:cubicBezTo>
                            <a:pt x="1176" y="1314"/>
                            <a:pt x="1164" y="1210"/>
                            <a:pt x="1157" y="1117"/>
                          </a:cubicBezTo>
                          <a:cubicBezTo>
                            <a:pt x="1144" y="955"/>
                            <a:pt x="1127" y="801"/>
                            <a:pt x="1151" y="642"/>
                          </a:cubicBezTo>
                          <a:cubicBezTo>
                            <a:pt x="1166" y="540"/>
                            <a:pt x="1176" y="444"/>
                            <a:pt x="1207" y="345"/>
                          </a:cubicBezTo>
                          <a:cubicBezTo>
                            <a:pt x="1231" y="269"/>
                            <a:pt x="1215" y="188"/>
                            <a:pt x="1232" y="111"/>
                          </a:cubicBezTo>
                          <a:cubicBezTo>
                            <a:pt x="1251" y="26"/>
                            <a:pt x="1303" y="94"/>
                            <a:pt x="1346" y="124"/>
                          </a:cubicBezTo>
                          <a:cubicBezTo>
                            <a:pt x="1380" y="148"/>
                            <a:pt x="1405" y="164"/>
                            <a:pt x="1444" y="185"/>
                          </a:cubicBezTo>
                          <a:cubicBezTo>
                            <a:pt x="1510" y="219"/>
                            <a:pt x="1571" y="248"/>
                            <a:pt x="1642" y="268"/>
                          </a:cubicBezTo>
                          <a:cubicBezTo>
                            <a:pt x="1655" y="321"/>
                            <a:pt x="1645" y="379"/>
                            <a:pt x="1667" y="430"/>
                          </a:cubicBezTo>
                          <a:cubicBezTo>
                            <a:pt x="1689" y="480"/>
                            <a:pt x="1686" y="520"/>
                            <a:pt x="1689" y="578"/>
                          </a:cubicBezTo>
                          <a:cubicBezTo>
                            <a:pt x="1693" y="635"/>
                            <a:pt x="1709" y="688"/>
                            <a:pt x="1709" y="749"/>
                          </a:cubicBezTo>
                          <a:cubicBezTo>
                            <a:pt x="1709" y="805"/>
                            <a:pt x="1723" y="1043"/>
                            <a:pt x="1731" y="1101"/>
                          </a:cubicBezTo>
                          <a:cubicBezTo>
                            <a:pt x="1735" y="1130"/>
                            <a:pt x="1723" y="1157"/>
                            <a:pt x="1737" y="1184"/>
                          </a:cubicBezTo>
                          <a:cubicBezTo>
                            <a:pt x="1755" y="1221"/>
                            <a:pt x="1763" y="1248"/>
                            <a:pt x="1767" y="1289"/>
                          </a:cubicBezTo>
                          <a:cubicBezTo>
                            <a:pt x="1773" y="1343"/>
                            <a:pt x="1758" y="1392"/>
                            <a:pt x="1780" y="1443"/>
                          </a:cubicBezTo>
                          <a:cubicBezTo>
                            <a:pt x="1811" y="1510"/>
                            <a:pt x="1788" y="1606"/>
                            <a:pt x="1788" y="1685"/>
                          </a:cubicBezTo>
                          <a:cubicBezTo>
                            <a:pt x="1788" y="1712"/>
                            <a:pt x="1603" y="1756"/>
                            <a:pt x="1605" y="1823"/>
                          </a:cubicBezTo>
                          <a:cubicBezTo>
                            <a:pt x="1457" y="1829"/>
                            <a:pt x="1505" y="1792"/>
                            <a:pt x="1359" y="1806"/>
                          </a:cubicBezTo>
                          <a:cubicBezTo>
                            <a:pt x="1319" y="1810"/>
                            <a:pt x="1240" y="1879"/>
                            <a:pt x="1143" y="1908"/>
                          </a:cubicBezTo>
                          <a:cubicBezTo>
                            <a:pt x="1097" y="1921"/>
                            <a:pt x="1043" y="1908"/>
                            <a:pt x="993" y="1908"/>
                          </a:cubicBezTo>
                          <a:cubicBezTo>
                            <a:pt x="820" y="1907"/>
                            <a:pt x="643" y="1809"/>
                            <a:pt x="572" y="1806"/>
                          </a:cubicBezTo>
                          <a:cubicBezTo>
                            <a:pt x="567" y="1725"/>
                            <a:pt x="575" y="1645"/>
                            <a:pt x="575" y="1568"/>
                          </a:cubicBezTo>
                          <a:cubicBezTo>
                            <a:pt x="575" y="1529"/>
                            <a:pt x="555" y="1500"/>
                            <a:pt x="559" y="1460"/>
                          </a:cubicBezTo>
                          <a:cubicBezTo>
                            <a:pt x="564" y="1421"/>
                            <a:pt x="591" y="1408"/>
                            <a:pt x="611" y="1378"/>
                          </a:cubicBezTo>
                          <a:cubicBezTo>
                            <a:pt x="620" y="1364"/>
                            <a:pt x="650" y="1313"/>
                            <a:pt x="641" y="1297"/>
                          </a:cubicBezTo>
                          <a:cubicBezTo>
                            <a:pt x="631" y="1281"/>
                            <a:pt x="612" y="1296"/>
                            <a:pt x="603" y="1284"/>
                          </a:cubicBezTo>
                          <a:cubicBezTo>
                            <a:pt x="597" y="1275"/>
                            <a:pt x="602" y="1244"/>
                            <a:pt x="602" y="1234"/>
                          </a:cubicBezTo>
                          <a:cubicBezTo>
                            <a:pt x="604" y="1202"/>
                            <a:pt x="620" y="1177"/>
                            <a:pt x="618" y="1144"/>
                          </a:cubicBezTo>
                          <a:cubicBezTo>
                            <a:pt x="615" y="1108"/>
                            <a:pt x="597" y="1065"/>
                            <a:pt x="586" y="1031"/>
                          </a:cubicBezTo>
                          <a:cubicBezTo>
                            <a:pt x="575" y="996"/>
                            <a:pt x="561" y="963"/>
                            <a:pt x="559" y="922"/>
                          </a:cubicBezTo>
                          <a:cubicBezTo>
                            <a:pt x="557" y="867"/>
                            <a:pt x="557" y="827"/>
                            <a:pt x="539" y="775"/>
                          </a:cubicBezTo>
                          <a:cubicBezTo>
                            <a:pt x="533" y="757"/>
                            <a:pt x="522" y="701"/>
                            <a:pt x="493" y="703"/>
                          </a:cubicBezTo>
                          <a:cubicBezTo>
                            <a:pt x="480" y="704"/>
                            <a:pt x="468" y="733"/>
                            <a:pt x="459" y="740"/>
                          </a:cubicBezTo>
                          <a:cubicBezTo>
                            <a:pt x="446" y="749"/>
                            <a:pt x="427" y="752"/>
                            <a:pt x="412" y="759"/>
                          </a:cubicBezTo>
                          <a:cubicBezTo>
                            <a:pt x="409" y="783"/>
                            <a:pt x="385" y="811"/>
                            <a:pt x="369" y="832"/>
                          </a:cubicBezTo>
                          <a:cubicBezTo>
                            <a:pt x="349" y="860"/>
                            <a:pt x="347" y="887"/>
                            <a:pt x="330" y="915"/>
                          </a:cubicBezTo>
                          <a:cubicBezTo>
                            <a:pt x="314" y="943"/>
                            <a:pt x="284" y="944"/>
                            <a:pt x="297" y="985"/>
                          </a:cubicBezTo>
                          <a:cubicBezTo>
                            <a:pt x="306" y="1013"/>
                            <a:pt x="331" y="1037"/>
                            <a:pt x="345" y="1062"/>
                          </a:cubicBezTo>
                          <a:cubicBezTo>
                            <a:pt x="376" y="1117"/>
                            <a:pt x="387" y="1181"/>
                            <a:pt x="426" y="1230"/>
                          </a:cubicBezTo>
                          <a:cubicBezTo>
                            <a:pt x="442" y="1250"/>
                            <a:pt x="454" y="1272"/>
                            <a:pt x="472" y="1291"/>
                          </a:cubicBezTo>
                          <a:cubicBezTo>
                            <a:pt x="492" y="1314"/>
                            <a:pt x="514" y="1324"/>
                            <a:pt x="537" y="1347"/>
                          </a:cubicBezTo>
                          <a:cubicBezTo>
                            <a:pt x="548" y="1358"/>
                            <a:pt x="562" y="1368"/>
                            <a:pt x="571" y="1381"/>
                          </a:cubicBezTo>
                          <a:cubicBezTo>
                            <a:pt x="546" y="1382"/>
                            <a:pt x="522" y="1371"/>
                            <a:pt x="500" y="1385"/>
                          </a:cubicBezTo>
                          <a:cubicBezTo>
                            <a:pt x="496" y="1387"/>
                            <a:pt x="490" y="1406"/>
                            <a:pt x="487" y="1410"/>
                          </a:cubicBezTo>
                          <a:cubicBezTo>
                            <a:pt x="478" y="1420"/>
                            <a:pt x="460" y="1431"/>
                            <a:pt x="455" y="1445"/>
                          </a:cubicBezTo>
                          <a:cubicBezTo>
                            <a:pt x="445" y="1471"/>
                            <a:pt x="445" y="1555"/>
                            <a:pt x="480" y="1558"/>
                          </a:cubicBezTo>
                          <a:cubicBezTo>
                            <a:pt x="413" y="1576"/>
                            <a:pt x="366" y="1524"/>
                            <a:pt x="330" y="1475"/>
                          </a:cubicBezTo>
                          <a:cubicBezTo>
                            <a:pt x="308" y="1444"/>
                            <a:pt x="298" y="1414"/>
                            <a:pt x="282" y="1383"/>
                          </a:cubicBezTo>
                          <a:cubicBezTo>
                            <a:pt x="266" y="1354"/>
                            <a:pt x="236" y="1333"/>
                            <a:pt x="217" y="1308"/>
                          </a:cubicBezTo>
                          <a:cubicBezTo>
                            <a:pt x="192" y="1273"/>
                            <a:pt x="170" y="1239"/>
                            <a:pt x="143" y="1207"/>
                          </a:cubicBezTo>
                          <a:cubicBezTo>
                            <a:pt x="124" y="1186"/>
                            <a:pt x="113" y="1183"/>
                            <a:pt x="100" y="1158"/>
                          </a:cubicBezTo>
                          <a:cubicBezTo>
                            <a:pt x="91" y="1138"/>
                            <a:pt x="90" y="1117"/>
                            <a:pt x="79" y="1097"/>
                          </a:cubicBezTo>
                          <a:cubicBezTo>
                            <a:pt x="50" y="1043"/>
                            <a:pt x="0" y="1002"/>
                            <a:pt x="6" y="934"/>
                          </a:cubicBezTo>
                          <a:cubicBezTo>
                            <a:pt x="12" y="858"/>
                            <a:pt x="60" y="813"/>
                            <a:pt x="100" y="755"/>
                          </a:cubicBezTo>
                          <a:cubicBezTo>
                            <a:pt x="146" y="688"/>
                            <a:pt x="165" y="616"/>
                            <a:pt x="232" y="564"/>
                          </a:cubicBezTo>
                          <a:cubicBezTo>
                            <a:pt x="271" y="535"/>
                            <a:pt x="257" y="517"/>
                            <a:pt x="276" y="475"/>
                          </a:cubicBezTo>
                          <a:cubicBezTo>
                            <a:pt x="288" y="448"/>
                            <a:pt x="310" y="432"/>
                            <a:pt x="333" y="411"/>
                          </a:cubicBezTo>
                          <a:cubicBezTo>
                            <a:pt x="354" y="391"/>
                            <a:pt x="372" y="386"/>
                            <a:pt x="384" y="353"/>
                          </a:cubicBezTo>
                          <a:cubicBezTo>
                            <a:pt x="395" y="323"/>
                            <a:pt x="404" y="294"/>
                            <a:pt x="418" y="264"/>
                          </a:cubicBezTo>
                          <a:cubicBezTo>
                            <a:pt x="430" y="237"/>
                            <a:pt x="453" y="198"/>
                            <a:pt x="477" y="185"/>
                          </a:cubicBezTo>
                          <a:cubicBezTo>
                            <a:pt x="506" y="171"/>
                            <a:pt x="536" y="183"/>
                            <a:pt x="567" y="178"/>
                          </a:cubicBezTo>
                          <a:cubicBezTo>
                            <a:pt x="633" y="166"/>
                            <a:pt x="686" y="122"/>
                            <a:pt x="741" y="87"/>
                          </a:cubicBezTo>
                          <a:cubicBezTo>
                            <a:pt x="777" y="64"/>
                            <a:pt x="893" y="0"/>
                            <a:pt x="887" y="85"/>
                          </a:cubicBezTo>
                          <a:cubicBezTo>
                            <a:pt x="884" y="118"/>
                            <a:pt x="859" y="155"/>
                            <a:pt x="851" y="189"/>
                          </a:cubicBezTo>
                          <a:cubicBezTo>
                            <a:pt x="842" y="225"/>
                            <a:pt x="840" y="262"/>
                            <a:pt x="836" y="299"/>
                          </a:cubicBezTo>
                          <a:cubicBezTo>
                            <a:pt x="827" y="383"/>
                            <a:pt x="813" y="461"/>
                            <a:pt x="817" y="548"/>
                          </a:cubicBezTo>
                          <a:cubicBezTo>
                            <a:pt x="819" y="607"/>
                            <a:pt x="824" y="667"/>
                            <a:pt x="824" y="728"/>
                          </a:cubicBezTo>
                          <a:cubicBezTo>
                            <a:pt x="825" y="777"/>
                            <a:pt x="840" y="808"/>
                            <a:pt x="848" y="856"/>
                          </a:cubicBezTo>
                          <a:cubicBezTo>
                            <a:pt x="870" y="995"/>
                            <a:pt x="855" y="1139"/>
                            <a:pt x="876" y="1280"/>
                          </a:cubicBezTo>
                          <a:cubicBezTo>
                            <a:pt x="882" y="1324"/>
                            <a:pt x="896" y="1372"/>
                            <a:pt x="898" y="1421"/>
                          </a:cubicBezTo>
                          <a:cubicBezTo>
                            <a:pt x="901" y="1479"/>
                            <a:pt x="897" y="1538"/>
                            <a:pt x="902" y="1596"/>
                          </a:cubicBezTo>
                          <a:cubicBezTo>
                            <a:pt x="910" y="1675"/>
                            <a:pt x="896" y="1821"/>
                            <a:pt x="993" y="1908"/>
                          </a:cubicBezTo>
                        </a:path>
                      </a:pathLst>
                    </a:custGeom>
                    <a:solidFill>
                      <a:schemeClr val="accent5">
                        <a:lumMod val="75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8" name="Freeform 293"/>
                    <p:cNvSpPr>
                      <a:spLocks/>
                    </p:cNvSpPr>
                    <p:nvPr/>
                  </p:nvSpPr>
                  <p:spPr bwMode="gray">
                    <a:xfrm>
                      <a:off x="490537" y="8915401"/>
                      <a:ext cx="633413" cy="593725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03"/>
                        </a:cxn>
                        <a:cxn ang="0">
                          <a:pos x="86" y="106"/>
                        </a:cxn>
                        <a:cxn ang="0">
                          <a:pos x="163" y="158"/>
                        </a:cxn>
                        <a:cxn ang="0">
                          <a:pos x="109" y="28"/>
                        </a:cxn>
                        <a:cxn ang="0">
                          <a:pos x="35" y="6"/>
                        </a:cxn>
                        <a:cxn ang="0">
                          <a:pos x="0" y="68"/>
                        </a:cxn>
                      </a:cxnLst>
                      <a:rect l="0" t="0" r="r" b="b"/>
                      <a:pathLst>
                        <a:path w="169" h="158">
                          <a:moveTo>
                            <a:pt x="4" y="103"/>
                          </a:moveTo>
                          <a:cubicBezTo>
                            <a:pt x="49" y="98"/>
                            <a:pt x="42" y="81"/>
                            <a:pt x="86" y="106"/>
                          </a:cubicBezTo>
                          <a:cubicBezTo>
                            <a:pt x="114" y="122"/>
                            <a:pt x="137" y="140"/>
                            <a:pt x="163" y="158"/>
                          </a:cubicBezTo>
                          <a:cubicBezTo>
                            <a:pt x="169" y="119"/>
                            <a:pt x="141" y="50"/>
                            <a:pt x="109" y="28"/>
                          </a:cubicBezTo>
                          <a:cubicBezTo>
                            <a:pt x="98" y="21"/>
                            <a:pt x="47" y="0"/>
                            <a:pt x="35" y="6"/>
                          </a:cubicBezTo>
                          <a:cubicBezTo>
                            <a:pt x="15" y="14"/>
                            <a:pt x="17" y="56"/>
                            <a:pt x="0" y="68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89" name="Freeform 294"/>
                    <p:cNvSpPr>
                      <a:spLocks/>
                    </p:cNvSpPr>
                    <p:nvPr/>
                  </p:nvSpPr>
                  <p:spPr bwMode="gray">
                    <a:xfrm>
                      <a:off x="-1816100" y="8859838"/>
                      <a:ext cx="866775" cy="465138"/>
                    </a:xfrm>
                    <a:custGeom>
                      <a:avLst/>
                      <a:gdLst/>
                      <a:ahLst/>
                      <a:cxnLst>
                        <a:cxn ang="0">
                          <a:pos x="65" y="64"/>
                        </a:cxn>
                        <a:cxn ang="0">
                          <a:pos x="0" y="114"/>
                        </a:cxn>
                        <a:cxn ang="0">
                          <a:pos x="108" y="103"/>
                        </a:cxn>
                        <a:cxn ang="0">
                          <a:pos x="191" y="71"/>
                        </a:cxn>
                        <a:cxn ang="0">
                          <a:pos x="225" y="60"/>
                        </a:cxn>
                        <a:cxn ang="0">
                          <a:pos x="209" y="18"/>
                        </a:cxn>
                        <a:cxn ang="0">
                          <a:pos x="112" y="25"/>
                        </a:cxn>
                      </a:cxnLst>
                      <a:rect l="0" t="0" r="r" b="b"/>
                      <a:pathLst>
                        <a:path w="231" h="124">
                          <a:moveTo>
                            <a:pt x="65" y="64"/>
                          </a:moveTo>
                          <a:cubicBezTo>
                            <a:pt x="50" y="98"/>
                            <a:pt x="31" y="101"/>
                            <a:pt x="0" y="114"/>
                          </a:cubicBezTo>
                          <a:cubicBezTo>
                            <a:pt x="37" y="124"/>
                            <a:pt x="75" y="121"/>
                            <a:pt x="108" y="103"/>
                          </a:cubicBezTo>
                          <a:cubicBezTo>
                            <a:pt x="145" y="82"/>
                            <a:pt x="149" y="74"/>
                            <a:pt x="191" y="71"/>
                          </a:cubicBezTo>
                          <a:cubicBezTo>
                            <a:pt x="208" y="69"/>
                            <a:pt x="216" y="84"/>
                            <a:pt x="225" y="60"/>
                          </a:cubicBezTo>
                          <a:cubicBezTo>
                            <a:pt x="231" y="44"/>
                            <a:pt x="219" y="25"/>
                            <a:pt x="209" y="18"/>
                          </a:cubicBezTo>
                          <a:cubicBezTo>
                            <a:pt x="185" y="0"/>
                            <a:pt x="132" y="6"/>
                            <a:pt x="112" y="25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0" name="Freeform 295"/>
                    <p:cNvSpPr>
                      <a:spLocks/>
                    </p:cNvSpPr>
                    <p:nvPr/>
                  </p:nvSpPr>
                  <p:spPr bwMode="gray">
                    <a:xfrm>
                      <a:off x="823912" y="8807451"/>
                      <a:ext cx="1225550" cy="828675"/>
                    </a:xfrm>
                    <a:custGeom>
                      <a:avLst/>
                      <a:gdLst/>
                      <a:ahLst/>
                      <a:cxnLst>
                        <a:cxn ang="0">
                          <a:pos x="55" y="74"/>
                        </a:cxn>
                        <a:cxn ang="0">
                          <a:pos x="128" y="114"/>
                        </a:cxn>
                        <a:cxn ang="0">
                          <a:pos x="183" y="167"/>
                        </a:cxn>
                        <a:cxn ang="0">
                          <a:pos x="164" y="125"/>
                        </a:cxn>
                        <a:cxn ang="0">
                          <a:pos x="327" y="15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327" h="221">
                          <a:moveTo>
                            <a:pt x="55" y="74"/>
                          </a:moveTo>
                          <a:cubicBezTo>
                            <a:pt x="78" y="91"/>
                            <a:pt x="106" y="95"/>
                            <a:pt x="128" y="114"/>
                          </a:cubicBezTo>
                          <a:cubicBezTo>
                            <a:pt x="146" y="131"/>
                            <a:pt x="159" y="161"/>
                            <a:pt x="183" y="167"/>
                          </a:cubicBezTo>
                          <a:cubicBezTo>
                            <a:pt x="178" y="152"/>
                            <a:pt x="167" y="141"/>
                            <a:pt x="164" y="125"/>
                          </a:cubicBezTo>
                          <a:cubicBezTo>
                            <a:pt x="209" y="117"/>
                            <a:pt x="280" y="221"/>
                            <a:pt x="327" y="153"/>
                          </a:cubicBezTo>
                          <a:cubicBezTo>
                            <a:pt x="209" y="137"/>
                            <a:pt x="122" y="16"/>
                            <a:pt x="0" y="0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1" name="Freeform 296"/>
                    <p:cNvSpPr>
                      <a:spLocks/>
                    </p:cNvSpPr>
                    <p:nvPr/>
                  </p:nvSpPr>
                  <p:spPr bwMode="gray">
                    <a:xfrm>
                      <a:off x="-1804988" y="8394701"/>
                      <a:ext cx="3055938" cy="2590800"/>
                    </a:xfrm>
                    <a:custGeom>
                      <a:avLst/>
                      <a:gdLst/>
                      <a:ahLst/>
                      <a:cxnLst>
                        <a:cxn ang="0">
                          <a:pos x="130" y="73"/>
                        </a:cxn>
                        <a:cxn ang="0">
                          <a:pos x="0" y="192"/>
                        </a:cxn>
                        <a:cxn ang="0">
                          <a:pos x="170" y="150"/>
                        </a:cxn>
                        <a:cxn ang="0">
                          <a:pos x="238" y="256"/>
                        </a:cxn>
                        <a:cxn ang="0">
                          <a:pos x="213" y="547"/>
                        </a:cxn>
                        <a:cxn ang="0">
                          <a:pos x="580" y="403"/>
                        </a:cxn>
                        <a:cxn ang="0">
                          <a:pos x="600" y="217"/>
                        </a:cxn>
                        <a:cxn ang="0">
                          <a:pos x="655" y="177"/>
                        </a:cxn>
                        <a:cxn ang="0">
                          <a:pos x="705" y="203"/>
                        </a:cxn>
                        <a:cxn ang="0">
                          <a:pos x="760" y="226"/>
                        </a:cxn>
                        <a:cxn ang="0">
                          <a:pos x="813" y="266"/>
                        </a:cxn>
                        <a:cxn ang="0">
                          <a:pos x="779" y="203"/>
                        </a:cxn>
                        <a:cxn ang="0">
                          <a:pos x="746" y="131"/>
                        </a:cxn>
                        <a:cxn ang="0">
                          <a:pos x="619" y="7"/>
                        </a:cxn>
                        <a:cxn ang="0">
                          <a:pos x="576" y="192"/>
                        </a:cxn>
                        <a:cxn ang="0">
                          <a:pos x="483" y="318"/>
                        </a:cxn>
                        <a:cxn ang="0">
                          <a:pos x="407" y="480"/>
                        </a:cxn>
                        <a:cxn ang="0">
                          <a:pos x="407" y="691"/>
                        </a:cxn>
                        <a:cxn ang="0">
                          <a:pos x="381" y="481"/>
                        </a:cxn>
                        <a:cxn ang="0">
                          <a:pos x="350" y="332"/>
                        </a:cxn>
                        <a:cxn ang="0">
                          <a:pos x="272" y="188"/>
                        </a:cxn>
                        <a:cxn ang="0">
                          <a:pos x="260" y="0"/>
                        </a:cxn>
                      </a:cxnLst>
                      <a:rect l="0" t="0" r="r" b="b"/>
                      <a:pathLst>
                        <a:path w="815" h="691">
                          <a:moveTo>
                            <a:pt x="130" y="73"/>
                          </a:moveTo>
                          <a:cubicBezTo>
                            <a:pt x="93" y="100"/>
                            <a:pt x="50" y="197"/>
                            <a:pt x="0" y="192"/>
                          </a:cubicBezTo>
                          <a:cubicBezTo>
                            <a:pt x="64" y="238"/>
                            <a:pt x="121" y="166"/>
                            <a:pt x="170" y="150"/>
                          </a:cubicBezTo>
                          <a:cubicBezTo>
                            <a:pt x="204" y="188"/>
                            <a:pt x="255" y="202"/>
                            <a:pt x="238" y="256"/>
                          </a:cubicBezTo>
                          <a:cubicBezTo>
                            <a:pt x="209" y="344"/>
                            <a:pt x="213" y="450"/>
                            <a:pt x="213" y="547"/>
                          </a:cubicBezTo>
                          <a:cubicBezTo>
                            <a:pt x="214" y="662"/>
                            <a:pt x="591" y="441"/>
                            <a:pt x="580" y="403"/>
                          </a:cubicBezTo>
                          <a:cubicBezTo>
                            <a:pt x="567" y="362"/>
                            <a:pt x="571" y="248"/>
                            <a:pt x="600" y="217"/>
                          </a:cubicBezTo>
                          <a:cubicBezTo>
                            <a:pt x="609" y="207"/>
                            <a:pt x="646" y="180"/>
                            <a:pt x="655" y="177"/>
                          </a:cubicBezTo>
                          <a:cubicBezTo>
                            <a:pt x="695" y="164"/>
                            <a:pt x="682" y="185"/>
                            <a:pt x="705" y="203"/>
                          </a:cubicBezTo>
                          <a:cubicBezTo>
                            <a:pt x="723" y="217"/>
                            <a:pt x="741" y="217"/>
                            <a:pt x="760" y="226"/>
                          </a:cubicBezTo>
                          <a:cubicBezTo>
                            <a:pt x="779" y="236"/>
                            <a:pt x="792" y="257"/>
                            <a:pt x="813" y="266"/>
                          </a:cubicBezTo>
                          <a:cubicBezTo>
                            <a:pt x="815" y="239"/>
                            <a:pt x="791" y="224"/>
                            <a:pt x="779" y="203"/>
                          </a:cubicBezTo>
                          <a:cubicBezTo>
                            <a:pt x="767" y="182"/>
                            <a:pt x="764" y="151"/>
                            <a:pt x="746" y="131"/>
                          </a:cubicBezTo>
                          <a:cubicBezTo>
                            <a:pt x="708" y="87"/>
                            <a:pt x="652" y="52"/>
                            <a:pt x="619" y="7"/>
                          </a:cubicBezTo>
                          <a:cubicBezTo>
                            <a:pt x="603" y="63"/>
                            <a:pt x="607" y="140"/>
                            <a:pt x="576" y="192"/>
                          </a:cubicBezTo>
                          <a:cubicBezTo>
                            <a:pt x="549" y="237"/>
                            <a:pt x="505" y="270"/>
                            <a:pt x="483" y="318"/>
                          </a:cubicBezTo>
                          <a:cubicBezTo>
                            <a:pt x="459" y="369"/>
                            <a:pt x="425" y="424"/>
                            <a:pt x="407" y="480"/>
                          </a:cubicBezTo>
                          <a:cubicBezTo>
                            <a:pt x="390" y="527"/>
                            <a:pt x="571" y="551"/>
                            <a:pt x="407" y="691"/>
                          </a:cubicBezTo>
                          <a:cubicBezTo>
                            <a:pt x="389" y="645"/>
                            <a:pt x="381" y="530"/>
                            <a:pt x="381" y="481"/>
                          </a:cubicBezTo>
                          <a:cubicBezTo>
                            <a:pt x="380" y="423"/>
                            <a:pt x="381" y="376"/>
                            <a:pt x="350" y="332"/>
                          </a:cubicBezTo>
                          <a:cubicBezTo>
                            <a:pt x="317" y="283"/>
                            <a:pt x="287" y="244"/>
                            <a:pt x="272" y="188"/>
                          </a:cubicBezTo>
                          <a:cubicBezTo>
                            <a:pt x="262" y="154"/>
                            <a:pt x="292" y="7"/>
                            <a:pt x="260" y="0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2" name="Freeform 297"/>
                    <p:cNvSpPr>
                      <a:spLocks/>
                    </p:cNvSpPr>
                    <p:nvPr/>
                  </p:nvSpPr>
                  <p:spPr bwMode="gray">
                    <a:xfrm>
                      <a:off x="-1519238" y="8405813"/>
                      <a:ext cx="812800" cy="48736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30"/>
                        </a:cxn>
                        <a:cxn ang="0">
                          <a:pos x="86" y="76"/>
                        </a:cxn>
                        <a:cxn ang="0">
                          <a:pos x="74" y="103"/>
                        </a:cxn>
                        <a:cxn ang="0">
                          <a:pos x="124" y="62"/>
                        </a:cxn>
                        <a:cxn ang="0">
                          <a:pos x="127" y="91"/>
                        </a:cxn>
                        <a:cxn ang="0">
                          <a:pos x="163" y="64"/>
                        </a:cxn>
                        <a:cxn ang="0">
                          <a:pos x="173" y="91"/>
                        </a:cxn>
                        <a:cxn ang="0">
                          <a:pos x="187" y="71"/>
                        </a:cxn>
                        <a:cxn ang="0">
                          <a:pos x="208" y="93"/>
                        </a:cxn>
                        <a:cxn ang="0">
                          <a:pos x="176" y="22"/>
                        </a:cxn>
                        <a:cxn ang="0">
                          <a:pos x="107" y="26"/>
                        </a:cxn>
                        <a:cxn ang="0">
                          <a:pos x="15" y="101"/>
                        </a:cxn>
                      </a:cxnLst>
                      <a:rect l="0" t="0" r="r" b="b"/>
                      <a:pathLst>
                        <a:path w="217" h="130">
                          <a:moveTo>
                            <a:pt x="0" y="130"/>
                          </a:moveTo>
                          <a:cubicBezTo>
                            <a:pt x="23" y="129"/>
                            <a:pt x="76" y="97"/>
                            <a:pt x="86" y="76"/>
                          </a:cubicBezTo>
                          <a:cubicBezTo>
                            <a:pt x="87" y="87"/>
                            <a:pt x="82" y="97"/>
                            <a:pt x="74" y="103"/>
                          </a:cubicBezTo>
                          <a:cubicBezTo>
                            <a:pt x="105" y="108"/>
                            <a:pt x="94" y="54"/>
                            <a:pt x="124" y="62"/>
                          </a:cubicBezTo>
                          <a:cubicBezTo>
                            <a:pt x="128" y="71"/>
                            <a:pt x="126" y="81"/>
                            <a:pt x="127" y="91"/>
                          </a:cubicBezTo>
                          <a:cubicBezTo>
                            <a:pt x="143" y="91"/>
                            <a:pt x="150" y="71"/>
                            <a:pt x="163" y="64"/>
                          </a:cubicBezTo>
                          <a:cubicBezTo>
                            <a:pt x="162" y="74"/>
                            <a:pt x="166" y="85"/>
                            <a:pt x="173" y="91"/>
                          </a:cubicBezTo>
                          <a:cubicBezTo>
                            <a:pt x="176" y="84"/>
                            <a:pt x="180" y="76"/>
                            <a:pt x="187" y="71"/>
                          </a:cubicBezTo>
                          <a:cubicBezTo>
                            <a:pt x="187" y="85"/>
                            <a:pt x="190" y="97"/>
                            <a:pt x="208" y="93"/>
                          </a:cubicBezTo>
                          <a:cubicBezTo>
                            <a:pt x="217" y="68"/>
                            <a:pt x="196" y="37"/>
                            <a:pt x="176" y="22"/>
                          </a:cubicBezTo>
                          <a:cubicBezTo>
                            <a:pt x="149" y="0"/>
                            <a:pt x="132" y="11"/>
                            <a:pt x="107" y="26"/>
                          </a:cubicBezTo>
                          <a:cubicBezTo>
                            <a:pt x="69" y="50"/>
                            <a:pt x="40" y="62"/>
                            <a:pt x="15" y="101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3" name="Freeform 298"/>
                    <p:cNvSpPr>
                      <a:spLocks/>
                    </p:cNvSpPr>
                    <p:nvPr/>
                  </p:nvSpPr>
                  <p:spPr bwMode="gray">
                    <a:xfrm>
                      <a:off x="411162" y="8405813"/>
                      <a:ext cx="735013" cy="803275"/>
                    </a:xfrm>
                    <a:custGeom>
                      <a:avLst/>
                      <a:gdLst/>
                      <a:ahLst/>
                      <a:cxnLst>
                        <a:cxn ang="0">
                          <a:pos x="11" y="66"/>
                        </a:cxn>
                        <a:cxn ang="0">
                          <a:pos x="9" y="126"/>
                        </a:cxn>
                        <a:cxn ang="0">
                          <a:pos x="40" y="105"/>
                        </a:cxn>
                        <a:cxn ang="0">
                          <a:pos x="69" y="78"/>
                        </a:cxn>
                        <a:cxn ang="0">
                          <a:pos x="142" y="142"/>
                        </a:cxn>
                        <a:cxn ang="0">
                          <a:pos x="196" y="212"/>
                        </a:cxn>
                        <a:cxn ang="0">
                          <a:pos x="165" y="144"/>
                        </a:cxn>
                        <a:cxn ang="0">
                          <a:pos x="124" y="71"/>
                        </a:cxn>
                        <a:cxn ang="0">
                          <a:pos x="54" y="7"/>
                        </a:cxn>
                        <a:cxn ang="0">
                          <a:pos x="3" y="72"/>
                        </a:cxn>
                        <a:cxn ang="0">
                          <a:pos x="13" y="78"/>
                        </a:cxn>
                      </a:cxnLst>
                      <a:rect l="0" t="0" r="r" b="b"/>
                      <a:pathLst>
                        <a:path w="196" h="214">
                          <a:moveTo>
                            <a:pt x="11" y="66"/>
                          </a:moveTo>
                          <a:cubicBezTo>
                            <a:pt x="20" y="73"/>
                            <a:pt x="13" y="114"/>
                            <a:pt x="9" y="126"/>
                          </a:cubicBezTo>
                          <a:cubicBezTo>
                            <a:pt x="20" y="122"/>
                            <a:pt x="31" y="112"/>
                            <a:pt x="40" y="105"/>
                          </a:cubicBezTo>
                          <a:cubicBezTo>
                            <a:pt x="49" y="98"/>
                            <a:pt x="60" y="81"/>
                            <a:pt x="69" y="78"/>
                          </a:cubicBezTo>
                          <a:cubicBezTo>
                            <a:pt x="86" y="109"/>
                            <a:pt x="122" y="118"/>
                            <a:pt x="142" y="142"/>
                          </a:cubicBezTo>
                          <a:cubicBezTo>
                            <a:pt x="155" y="158"/>
                            <a:pt x="171" y="214"/>
                            <a:pt x="196" y="212"/>
                          </a:cubicBezTo>
                          <a:cubicBezTo>
                            <a:pt x="189" y="191"/>
                            <a:pt x="175" y="165"/>
                            <a:pt x="165" y="144"/>
                          </a:cubicBezTo>
                          <a:cubicBezTo>
                            <a:pt x="153" y="120"/>
                            <a:pt x="138" y="95"/>
                            <a:pt x="124" y="71"/>
                          </a:cubicBezTo>
                          <a:cubicBezTo>
                            <a:pt x="108" y="45"/>
                            <a:pt x="85" y="13"/>
                            <a:pt x="54" y="7"/>
                          </a:cubicBezTo>
                          <a:cubicBezTo>
                            <a:pt x="17" y="0"/>
                            <a:pt x="0" y="40"/>
                            <a:pt x="3" y="72"/>
                          </a:cubicBezTo>
                          <a:cubicBezTo>
                            <a:pt x="7" y="73"/>
                            <a:pt x="10" y="77"/>
                            <a:pt x="13" y="78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4" name="Freeform 299"/>
                    <p:cNvSpPr>
                      <a:spLocks/>
                    </p:cNvSpPr>
                    <p:nvPr/>
                  </p:nvSpPr>
                  <p:spPr bwMode="gray">
                    <a:xfrm>
                      <a:off x="-1095375" y="9036051"/>
                      <a:ext cx="547688" cy="8096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46" y="216"/>
                        </a:cxn>
                        <a:cxn ang="0">
                          <a:pos x="53" y="131"/>
                        </a:cxn>
                        <a:cxn ang="0">
                          <a:pos x="28" y="193"/>
                        </a:cxn>
                      </a:cxnLst>
                      <a:rect l="0" t="0" r="r" b="b"/>
                      <a:pathLst>
                        <a:path w="146" h="216">
                          <a:moveTo>
                            <a:pt x="0" y="0"/>
                          </a:moveTo>
                          <a:cubicBezTo>
                            <a:pt x="40" y="3"/>
                            <a:pt x="144" y="168"/>
                            <a:pt x="146" y="216"/>
                          </a:cubicBezTo>
                          <a:cubicBezTo>
                            <a:pt x="134" y="178"/>
                            <a:pt x="97" y="126"/>
                            <a:pt x="53" y="131"/>
                          </a:cubicBezTo>
                          <a:cubicBezTo>
                            <a:pt x="54" y="153"/>
                            <a:pt x="29" y="170"/>
                            <a:pt x="28" y="193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5" name="Freeform 300"/>
                    <p:cNvSpPr>
                      <a:spLocks/>
                    </p:cNvSpPr>
                    <p:nvPr/>
                  </p:nvSpPr>
                  <p:spPr bwMode="gray">
                    <a:xfrm>
                      <a:off x="-2127250" y="5688013"/>
                      <a:ext cx="3724275" cy="3937000"/>
                    </a:xfrm>
                    <a:custGeom>
                      <a:avLst/>
                      <a:gdLst/>
                      <a:ahLst/>
                      <a:cxnLst>
                        <a:cxn ang="0">
                          <a:pos x="440" y="222"/>
                        </a:cxn>
                        <a:cxn ang="0">
                          <a:pos x="433" y="840"/>
                        </a:cxn>
                        <a:cxn ang="0">
                          <a:pos x="406" y="823"/>
                        </a:cxn>
                        <a:cxn ang="0">
                          <a:pos x="394" y="795"/>
                        </a:cxn>
                        <a:cxn ang="0">
                          <a:pos x="392" y="829"/>
                        </a:cxn>
                        <a:cxn ang="0">
                          <a:pos x="358" y="794"/>
                        </a:cxn>
                        <a:cxn ang="0">
                          <a:pos x="346" y="807"/>
                        </a:cxn>
                        <a:cxn ang="0">
                          <a:pos x="318" y="754"/>
                        </a:cxn>
                        <a:cxn ang="0">
                          <a:pos x="277" y="805"/>
                        </a:cxn>
                        <a:cxn ang="0">
                          <a:pos x="269" y="772"/>
                        </a:cxn>
                        <a:cxn ang="0">
                          <a:pos x="164" y="840"/>
                        </a:cxn>
                        <a:cxn ang="0">
                          <a:pos x="8" y="869"/>
                        </a:cxn>
                        <a:cxn ang="0">
                          <a:pos x="0" y="837"/>
                        </a:cxn>
                        <a:cxn ang="0">
                          <a:pos x="94" y="830"/>
                        </a:cxn>
                        <a:cxn ang="0">
                          <a:pos x="79" y="750"/>
                        </a:cxn>
                        <a:cxn ang="0">
                          <a:pos x="223" y="718"/>
                        </a:cxn>
                        <a:cxn ang="0">
                          <a:pos x="222" y="584"/>
                        </a:cxn>
                        <a:cxn ang="0">
                          <a:pos x="201" y="445"/>
                        </a:cxn>
                        <a:cxn ang="0">
                          <a:pos x="223" y="332"/>
                        </a:cxn>
                        <a:cxn ang="0">
                          <a:pos x="254" y="281"/>
                        </a:cxn>
                        <a:cxn ang="0">
                          <a:pos x="264" y="216"/>
                        </a:cxn>
                        <a:cxn ang="0">
                          <a:pos x="334" y="121"/>
                        </a:cxn>
                        <a:cxn ang="0">
                          <a:pos x="405" y="46"/>
                        </a:cxn>
                        <a:cxn ang="0">
                          <a:pos x="371" y="46"/>
                        </a:cxn>
                        <a:cxn ang="0">
                          <a:pos x="637" y="36"/>
                        </a:cxn>
                        <a:cxn ang="0">
                          <a:pos x="792" y="214"/>
                        </a:cxn>
                        <a:cxn ang="0">
                          <a:pos x="820" y="344"/>
                        </a:cxn>
                        <a:cxn ang="0">
                          <a:pos x="843" y="479"/>
                        </a:cxn>
                        <a:cxn ang="0">
                          <a:pos x="808" y="760"/>
                        </a:cxn>
                        <a:cxn ang="0">
                          <a:pos x="966" y="826"/>
                        </a:cxn>
                        <a:cxn ang="0">
                          <a:pos x="903" y="870"/>
                        </a:cxn>
                        <a:cxn ang="0">
                          <a:pos x="993" y="854"/>
                        </a:cxn>
                        <a:cxn ang="0">
                          <a:pos x="721" y="748"/>
                        </a:cxn>
                        <a:cxn ang="0">
                          <a:pos x="636" y="1034"/>
                        </a:cxn>
                        <a:cxn ang="0">
                          <a:pos x="592" y="1030"/>
                        </a:cxn>
                        <a:cxn ang="0">
                          <a:pos x="609" y="1050"/>
                        </a:cxn>
                        <a:cxn ang="0">
                          <a:pos x="692" y="403"/>
                        </a:cxn>
                        <a:cxn ang="0">
                          <a:pos x="685" y="421"/>
                        </a:cxn>
                        <a:cxn ang="0">
                          <a:pos x="643" y="363"/>
                        </a:cxn>
                        <a:cxn ang="0">
                          <a:pos x="626" y="384"/>
                        </a:cxn>
                        <a:cxn ang="0">
                          <a:pos x="575" y="384"/>
                        </a:cxn>
                        <a:cxn ang="0">
                          <a:pos x="458" y="228"/>
                        </a:cxn>
                        <a:cxn ang="0">
                          <a:pos x="513" y="339"/>
                        </a:cxn>
                        <a:cxn ang="0">
                          <a:pos x="440" y="233"/>
                        </a:cxn>
                      </a:cxnLst>
                      <a:rect l="0" t="0" r="r" b="b"/>
                      <a:pathLst>
                        <a:path w="993" h="1050">
                          <a:moveTo>
                            <a:pt x="440" y="222"/>
                          </a:moveTo>
                          <a:cubicBezTo>
                            <a:pt x="185" y="237"/>
                            <a:pt x="447" y="729"/>
                            <a:pt x="433" y="840"/>
                          </a:cubicBezTo>
                          <a:cubicBezTo>
                            <a:pt x="426" y="837"/>
                            <a:pt x="411" y="827"/>
                            <a:pt x="406" y="823"/>
                          </a:cubicBezTo>
                          <a:cubicBezTo>
                            <a:pt x="403" y="812"/>
                            <a:pt x="397" y="803"/>
                            <a:pt x="394" y="795"/>
                          </a:cubicBezTo>
                          <a:cubicBezTo>
                            <a:pt x="395" y="805"/>
                            <a:pt x="392" y="818"/>
                            <a:pt x="392" y="829"/>
                          </a:cubicBezTo>
                          <a:cubicBezTo>
                            <a:pt x="372" y="827"/>
                            <a:pt x="362" y="814"/>
                            <a:pt x="358" y="794"/>
                          </a:cubicBezTo>
                          <a:cubicBezTo>
                            <a:pt x="361" y="788"/>
                            <a:pt x="348" y="805"/>
                            <a:pt x="346" y="807"/>
                          </a:cubicBezTo>
                          <a:cubicBezTo>
                            <a:pt x="333" y="793"/>
                            <a:pt x="328" y="771"/>
                            <a:pt x="318" y="754"/>
                          </a:cubicBezTo>
                          <a:cubicBezTo>
                            <a:pt x="309" y="777"/>
                            <a:pt x="297" y="794"/>
                            <a:pt x="277" y="805"/>
                          </a:cubicBezTo>
                          <a:cubicBezTo>
                            <a:pt x="276" y="792"/>
                            <a:pt x="270" y="785"/>
                            <a:pt x="269" y="772"/>
                          </a:cubicBezTo>
                          <a:cubicBezTo>
                            <a:pt x="234" y="790"/>
                            <a:pt x="198" y="817"/>
                            <a:pt x="164" y="840"/>
                          </a:cubicBezTo>
                          <a:cubicBezTo>
                            <a:pt x="115" y="872"/>
                            <a:pt x="76" y="873"/>
                            <a:pt x="8" y="869"/>
                          </a:cubicBezTo>
                          <a:cubicBezTo>
                            <a:pt x="6" y="864"/>
                            <a:pt x="1" y="842"/>
                            <a:pt x="0" y="837"/>
                          </a:cubicBezTo>
                          <a:cubicBezTo>
                            <a:pt x="30" y="855"/>
                            <a:pt x="82" y="872"/>
                            <a:pt x="94" y="830"/>
                          </a:cubicBezTo>
                          <a:cubicBezTo>
                            <a:pt x="63" y="819"/>
                            <a:pt x="66" y="773"/>
                            <a:pt x="79" y="750"/>
                          </a:cubicBezTo>
                          <a:cubicBezTo>
                            <a:pt x="89" y="853"/>
                            <a:pt x="214" y="801"/>
                            <a:pt x="223" y="718"/>
                          </a:cubicBezTo>
                          <a:cubicBezTo>
                            <a:pt x="228" y="675"/>
                            <a:pt x="224" y="627"/>
                            <a:pt x="222" y="584"/>
                          </a:cubicBezTo>
                          <a:cubicBezTo>
                            <a:pt x="220" y="537"/>
                            <a:pt x="193" y="491"/>
                            <a:pt x="201" y="445"/>
                          </a:cubicBezTo>
                          <a:cubicBezTo>
                            <a:pt x="235" y="418"/>
                            <a:pt x="212" y="372"/>
                            <a:pt x="223" y="332"/>
                          </a:cubicBezTo>
                          <a:cubicBezTo>
                            <a:pt x="227" y="316"/>
                            <a:pt x="248" y="299"/>
                            <a:pt x="254" y="281"/>
                          </a:cubicBezTo>
                          <a:cubicBezTo>
                            <a:pt x="262" y="262"/>
                            <a:pt x="258" y="237"/>
                            <a:pt x="264" y="216"/>
                          </a:cubicBezTo>
                          <a:cubicBezTo>
                            <a:pt x="275" y="176"/>
                            <a:pt x="304" y="148"/>
                            <a:pt x="334" y="121"/>
                          </a:cubicBezTo>
                          <a:cubicBezTo>
                            <a:pt x="358" y="99"/>
                            <a:pt x="389" y="56"/>
                            <a:pt x="405" y="46"/>
                          </a:cubicBezTo>
                          <a:cubicBezTo>
                            <a:pt x="394" y="47"/>
                            <a:pt x="382" y="44"/>
                            <a:pt x="371" y="46"/>
                          </a:cubicBezTo>
                          <a:cubicBezTo>
                            <a:pt x="449" y="27"/>
                            <a:pt x="559" y="0"/>
                            <a:pt x="637" y="36"/>
                          </a:cubicBezTo>
                          <a:cubicBezTo>
                            <a:pt x="697" y="63"/>
                            <a:pt x="760" y="158"/>
                            <a:pt x="792" y="214"/>
                          </a:cubicBezTo>
                          <a:cubicBezTo>
                            <a:pt x="817" y="258"/>
                            <a:pt x="820" y="291"/>
                            <a:pt x="820" y="344"/>
                          </a:cubicBezTo>
                          <a:cubicBezTo>
                            <a:pt x="819" y="396"/>
                            <a:pt x="835" y="430"/>
                            <a:pt x="843" y="479"/>
                          </a:cubicBezTo>
                          <a:cubicBezTo>
                            <a:pt x="858" y="576"/>
                            <a:pt x="787" y="667"/>
                            <a:pt x="808" y="760"/>
                          </a:cubicBezTo>
                          <a:cubicBezTo>
                            <a:pt x="822" y="825"/>
                            <a:pt x="909" y="889"/>
                            <a:pt x="966" y="826"/>
                          </a:cubicBezTo>
                          <a:cubicBezTo>
                            <a:pt x="960" y="855"/>
                            <a:pt x="930" y="864"/>
                            <a:pt x="903" y="870"/>
                          </a:cubicBezTo>
                          <a:cubicBezTo>
                            <a:pt x="935" y="870"/>
                            <a:pt x="970" y="879"/>
                            <a:pt x="993" y="854"/>
                          </a:cubicBezTo>
                          <a:cubicBezTo>
                            <a:pt x="922" y="976"/>
                            <a:pt x="782" y="783"/>
                            <a:pt x="721" y="748"/>
                          </a:cubicBezTo>
                          <a:cubicBezTo>
                            <a:pt x="697" y="823"/>
                            <a:pt x="491" y="954"/>
                            <a:pt x="636" y="1034"/>
                          </a:cubicBezTo>
                          <a:cubicBezTo>
                            <a:pt x="622" y="1031"/>
                            <a:pt x="607" y="1033"/>
                            <a:pt x="592" y="1030"/>
                          </a:cubicBezTo>
                          <a:cubicBezTo>
                            <a:pt x="597" y="1038"/>
                            <a:pt x="600" y="1045"/>
                            <a:pt x="609" y="1050"/>
                          </a:cubicBezTo>
                          <a:cubicBezTo>
                            <a:pt x="375" y="971"/>
                            <a:pt x="854" y="481"/>
                            <a:pt x="692" y="403"/>
                          </a:cubicBezTo>
                          <a:cubicBezTo>
                            <a:pt x="690" y="411"/>
                            <a:pt x="686" y="417"/>
                            <a:pt x="685" y="421"/>
                          </a:cubicBezTo>
                          <a:cubicBezTo>
                            <a:pt x="670" y="405"/>
                            <a:pt x="651" y="383"/>
                            <a:pt x="643" y="363"/>
                          </a:cubicBezTo>
                          <a:cubicBezTo>
                            <a:pt x="639" y="369"/>
                            <a:pt x="630" y="374"/>
                            <a:pt x="626" y="384"/>
                          </a:cubicBezTo>
                          <a:cubicBezTo>
                            <a:pt x="612" y="388"/>
                            <a:pt x="588" y="388"/>
                            <a:pt x="575" y="384"/>
                          </a:cubicBezTo>
                          <a:cubicBezTo>
                            <a:pt x="549" y="344"/>
                            <a:pt x="530" y="218"/>
                            <a:pt x="458" y="228"/>
                          </a:cubicBezTo>
                          <a:cubicBezTo>
                            <a:pt x="447" y="273"/>
                            <a:pt x="482" y="314"/>
                            <a:pt x="513" y="339"/>
                          </a:cubicBezTo>
                          <a:cubicBezTo>
                            <a:pt x="476" y="315"/>
                            <a:pt x="435" y="284"/>
                            <a:pt x="440" y="233"/>
                          </a:cubicBezTo>
                        </a:path>
                      </a:pathLst>
                    </a:custGeom>
                    <a:solidFill>
                      <a:srgbClr val="736357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6" name="Freeform 301"/>
                    <p:cNvSpPr>
                      <a:spLocks/>
                    </p:cNvSpPr>
                    <p:nvPr/>
                  </p:nvSpPr>
                  <p:spPr bwMode="gray">
                    <a:xfrm>
                      <a:off x="-2127250" y="5688013"/>
                      <a:ext cx="3724275" cy="3937000"/>
                    </a:xfrm>
                    <a:custGeom>
                      <a:avLst/>
                      <a:gdLst/>
                      <a:ahLst/>
                      <a:cxnLst>
                        <a:cxn ang="0">
                          <a:pos x="440" y="222"/>
                        </a:cxn>
                        <a:cxn ang="0">
                          <a:pos x="433" y="840"/>
                        </a:cxn>
                        <a:cxn ang="0">
                          <a:pos x="406" y="823"/>
                        </a:cxn>
                        <a:cxn ang="0">
                          <a:pos x="394" y="795"/>
                        </a:cxn>
                        <a:cxn ang="0">
                          <a:pos x="392" y="829"/>
                        </a:cxn>
                        <a:cxn ang="0">
                          <a:pos x="358" y="794"/>
                        </a:cxn>
                        <a:cxn ang="0">
                          <a:pos x="346" y="807"/>
                        </a:cxn>
                        <a:cxn ang="0">
                          <a:pos x="318" y="754"/>
                        </a:cxn>
                        <a:cxn ang="0">
                          <a:pos x="277" y="805"/>
                        </a:cxn>
                        <a:cxn ang="0">
                          <a:pos x="269" y="772"/>
                        </a:cxn>
                        <a:cxn ang="0">
                          <a:pos x="164" y="840"/>
                        </a:cxn>
                        <a:cxn ang="0">
                          <a:pos x="8" y="869"/>
                        </a:cxn>
                        <a:cxn ang="0">
                          <a:pos x="0" y="837"/>
                        </a:cxn>
                        <a:cxn ang="0">
                          <a:pos x="94" y="830"/>
                        </a:cxn>
                        <a:cxn ang="0">
                          <a:pos x="79" y="750"/>
                        </a:cxn>
                        <a:cxn ang="0">
                          <a:pos x="223" y="718"/>
                        </a:cxn>
                        <a:cxn ang="0">
                          <a:pos x="222" y="584"/>
                        </a:cxn>
                        <a:cxn ang="0">
                          <a:pos x="201" y="445"/>
                        </a:cxn>
                        <a:cxn ang="0">
                          <a:pos x="223" y="332"/>
                        </a:cxn>
                        <a:cxn ang="0">
                          <a:pos x="254" y="281"/>
                        </a:cxn>
                        <a:cxn ang="0">
                          <a:pos x="264" y="216"/>
                        </a:cxn>
                        <a:cxn ang="0">
                          <a:pos x="334" y="121"/>
                        </a:cxn>
                        <a:cxn ang="0">
                          <a:pos x="405" y="46"/>
                        </a:cxn>
                        <a:cxn ang="0">
                          <a:pos x="371" y="46"/>
                        </a:cxn>
                        <a:cxn ang="0">
                          <a:pos x="637" y="36"/>
                        </a:cxn>
                        <a:cxn ang="0">
                          <a:pos x="792" y="214"/>
                        </a:cxn>
                        <a:cxn ang="0">
                          <a:pos x="820" y="344"/>
                        </a:cxn>
                        <a:cxn ang="0">
                          <a:pos x="843" y="479"/>
                        </a:cxn>
                        <a:cxn ang="0">
                          <a:pos x="808" y="760"/>
                        </a:cxn>
                        <a:cxn ang="0">
                          <a:pos x="966" y="826"/>
                        </a:cxn>
                        <a:cxn ang="0">
                          <a:pos x="903" y="870"/>
                        </a:cxn>
                        <a:cxn ang="0">
                          <a:pos x="993" y="854"/>
                        </a:cxn>
                        <a:cxn ang="0">
                          <a:pos x="721" y="748"/>
                        </a:cxn>
                        <a:cxn ang="0">
                          <a:pos x="636" y="1034"/>
                        </a:cxn>
                        <a:cxn ang="0">
                          <a:pos x="592" y="1030"/>
                        </a:cxn>
                        <a:cxn ang="0">
                          <a:pos x="609" y="1050"/>
                        </a:cxn>
                        <a:cxn ang="0">
                          <a:pos x="692" y="403"/>
                        </a:cxn>
                        <a:cxn ang="0">
                          <a:pos x="685" y="421"/>
                        </a:cxn>
                        <a:cxn ang="0">
                          <a:pos x="643" y="363"/>
                        </a:cxn>
                        <a:cxn ang="0">
                          <a:pos x="626" y="384"/>
                        </a:cxn>
                        <a:cxn ang="0">
                          <a:pos x="575" y="384"/>
                        </a:cxn>
                        <a:cxn ang="0">
                          <a:pos x="458" y="228"/>
                        </a:cxn>
                        <a:cxn ang="0">
                          <a:pos x="513" y="339"/>
                        </a:cxn>
                        <a:cxn ang="0">
                          <a:pos x="440" y="233"/>
                        </a:cxn>
                      </a:cxnLst>
                      <a:rect l="0" t="0" r="r" b="b"/>
                      <a:pathLst>
                        <a:path w="993" h="1050">
                          <a:moveTo>
                            <a:pt x="440" y="222"/>
                          </a:moveTo>
                          <a:cubicBezTo>
                            <a:pt x="185" y="237"/>
                            <a:pt x="447" y="729"/>
                            <a:pt x="433" y="840"/>
                          </a:cubicBezTo>
                          <a:cubicBezTo>
                            <a:pt x="426" y="837"/>
                            <a:pt x="411" y="827"/>
                            <a:pt x="406" y="823"/>
                          </a:cubicBezTo>
                          <a:cubicBezTo>
                            <a:pt x="403" y="812"/>
                            <a:pt x="397" y="803"/>
                            <a:pt x="394" y="795"/>
                          </a:cubicBezTo>
                          <a:cubicBezTo>
                            <a:pt x="395" y="805"/>
                            <a:pt x="392" y="818"/>
                            <a:pt x="392" y="829"/>
                          </a:cubicBezTo>
                          <a:cubicBezTo>
                            <a:pt x="372" y="827"/>
                            <a:pt x="362" y="814"/>
                            <a:pt x="358" y="794"/>
                          </a:cubicBezTo>
                          <a:cubicBezTo>
                            <a:pt x="361" y="788"/>
                            <a:pt x="348" y="805"/>
                            <a:pt x="346" y="807"/>
                          </a:cubicBezTo>
                          <a:cubicBezTo>
                            <a:pt x="333" y="793"/>
                            <a:pt x="328" y="771"/>
                            <a:pt x="318" y="754"/>
                          </a:cubicBezTo>
                          <a:cubicBezTo>
                            <a:pt x="309" y="777"/>
                            <a:pt x="297" y="794"/>
                            <a:pt x="277" y="805"/>
                          </a:cubicBezTo>
                          <a:cubicBezTo>
                            <a:pt x="276" y="792"/>
                            <a:pt x="270" y="785"/>
                            <a:pt x="269" y="772"/>
                          </a:cubicBezTo>
                          <a:cubicBezTo>
                            <a:pt x="234" y="790"/>
                            <a:pt x="198" y="817"/>
                            <a:pt x="164" y="840"/>
                          </a:cubicBezTo>
                          <a:cubicBezTo>
                            <a:pt x="115" y="872"/>
                            <a:pt x="76" y="873"/>
                            <a:pt x="8" y="869"/>
                          </a:cubicBezTo>
                          <a:cubicBezTo>
                            <a:pt x="6" y="864"/>
                            <a:pt x="1" y="842"/>
                            <a:pt x="0" y="837"/>
                          </a:cubicBezTo>
                          <a:cubicBezTo>
                            <a:pt x="30" y="855"/>
                            <a:pt x="82" y="872"/>
                            <a:pt x="94" y="830"/>
                          </a:cubicBezTo>
                          <a:cubicBezTo>
                            <a:pt x="63" y="819"/>
                            <a:pt x="66" y="773"/>
                            <a:pt x="79" y="750"/>
                          </a:cubicBezTo>
                          <a:cubicBezTo>
                            <a:pt x="89" y="853"/>
                            <a:pt x="214" y="801"/>
                            <a:pt x="223" y="718"/>
                          </a:cubicBezTo>
                          <a:cubicBezTo>
                            <a:pt x="228" y="675"/>
                            <a:pt x="224" y="627"/>
                            <a:pt x="222" y="584"/>
                          </a:cubicBezTo>
                          <a:cubicBezTo>
                            <a:pt x="220" y="537"/>
                            <a:pt x="193" y="491"/>
                            <a:pt x="201" y="445"/>
                          </a:cubicBezTo>
                          <a:cubicBezTo>
                            <a:pt x="235" y="418"/>
                            <a:pt x="212" y="372"/>
                            <a:pt x="223" y="332"/>
                          </a:cubicBezTo>
                          <a:cubicBezTo>
                            <a:pt x="227" y="316"/>
                            <a:pt x="248" y="299"/>
                            <a:pt x="254" y="281"/>
                          </a:cubicBezTo>
                          <a:cubicBezTo>
                            <a:pt x="262" y="262"/>
                            <a:pt x="258" y="237"/>
                            <a:pt x="264" y="216"/>
                          </a:cubicBezTo>
                          <a:cubicBezTo>
                            <a:pt x="275" y="176"/>
                            <a:pt x="304" y="148"/>
                            <a:pt x="334" y="121"/>
                          </a:cubicBezTo>
                          <a:cubicBezTo>
                            <a:pt x="358" y="99"/>
                            <a:pt x="389" y="56"/>
                            <a:pt x="405" y="46"/>
                          </a:cubicBezTo>
                          <a:cubicBezTo>
                            <a:pt x="394" y="47"/>
                            <a:pt x="382" y="44"/>
                            <a:pt x="371" y="46"/>
                          </a:cubicBezTo>
                          <a:cubicBezTo>
                            <a:pt x="449" y="27"/>
                            <a:pt x="559" y="0"/>
                            <a:pt x="637" y="36"/>
                          </a:cubicBezTo>
                          <a:cubicBezTo>
                            <a:pt x="697" y="63"/>
                            <a:pt x="760" y="158"/>
                            <a:pt x="792" y="214"/>
                          </a:cubicBezTo>
                          <a:cubicBezTo>
                            <a:pt x="817" y="258"/>
                            <a:pt x="820" y="291"/>
                            <a:pt x="820" y="344"/>
                          </a:cubicBezTo>
                          <a:cubicBezTo>
                            <a:pt x="819" y="396"/>
                            <a:pt x="835" y="430"/>
                            <a:pt x="843" y="479"/>
                          </a:cubicBezTo>
                          <a:cubicBezTo>
                            <a:pt x="858" y="576"/>
                            <a:pt x="787" y="667"/>
                            <a:pt x="808" y="760"/>
                          </a:cubicBezTo>
                          <a:cubicBezTo>
                            <a:pt x="822" y="825"/>
                            <a:pt x="909" y="889"/>
                            <a:pt x="966" y="826"/>
                          </a:cubicBezTo>
                          <a:cubicBezTo>
                            <a:pt x="960" y="855"/>
                            <a:pt x="930" y="864"/>
                            <a:pt x="903" y="870"/>
                          </a:cubicBezTo>
                          <a:cubicBezTo>
                            <a:pt x="935" y="870"/>
                            <a:pt x="970" y="879"/>
                            <a:pt x="993" y="854"/>
                          </a:cubicBezTo>
                          <a:cubicBezTo>
                            <a:pt x="922" y="976"/>
                            <a:pt x="782" y="783"/>
                            <a:pt x="721" y="748"/>
                          </a:cubicBezTo>
                          <a:cubicBezTo>
                            <a:pt x="697" y="823"/>
                            <a:pt x="491" y="954"/>
                            <a:pt x="636" y="1034"/>
                          </a:cubicBezTo>
                          <a:cubicBezTo>
                            <a:pt x="622" y="1031"/>
                            <a:pt x="607" y="1033"/>
                            <a:pt x="592" y="1030"/>
                          </a:cubicBezTo>
                          <a:cubicBezTo>
                            <a:pt x="597" y="1038"/>
                            <a:pt x="600" y="1045"/>
                            <a:pt x="609" y="1050"/>
                          </a:cubicBezTo>
                          <a:cubicBezTo>
                            <a:pt x="375" y="971"/>
                            <a:pt x="854" y="481"/>
                            <a:pt x="692" y="403"/>
                          </a:cubicBezTo>
                          <a:cubicBezTo>
                            <a:pt x="690" y="411"/>
                            <a:pt x="686" y="417"/>
                            <a:pt x="685" y="421"/>
                          </a:cubicBezTo>
                          <a:cubicBezTo>
                            <a:pt x="670" y="405"/>
                            <a:pt x="651" y="383"/>
                            <a:pt x="643" y="363"/>
                          </a:cubicBezTo>
                          <a:cubicBezTo>
                            <a:pt x="639" y="369"/>
                            <a:pt x="630" y="374"/>
                            <a:pt x="626" y="384"/>
                          </a:cubicBezTo>
                          <a:cubicBezTo>
                            <a:pt x="612" y="388"/>
                            <a:pt x="588" y="388"/>
                            <a:pt x="575" y="384"/>
                          </a:cubicBezTo>
                          <a:cubicBezTo>
                            <a:pt x="549" y="344"/>
                            <a:pt x="530" y="218"/>
                            <a:pt x="458" y="228"/>
                          </a:cubicBezTo>
                          <a:cubicBezTo>
                            <a:pt x="447" y="273"/>
                            <a:pt x="482" y="314"/>
                            <a:pt x="513" y="339"/>
                          </a:cubicBezTo>
                          <a:cubicBezTo>
                            <a:pt x="476" y="315"/>
                            <a:pt x="435" y="284"/>
                            <a:pt x="440" y="233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7" name="Freeform 302"/>
                    <p:cNvSpPr>
                      <a:spLocks/>
                    </p:cNvSpPr>
                    <p:nvPr/>
                  </p:nvSpPr>
                  <p:spPr bwMode="gray">
                    <a:xfrm>
                      <a:off x="-1965325" y="13963651"/>
                      <a:ext cx="746125" cy="757238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47"/>
                        </a:cxn>
                        <a:cxn ang="0">
                          <a:pos x="16" y="105"/>
                        </a:cxn>
                        <a:cxn ang="0">
                          <a:pos x="128" y="168"/>
                        </a:cxn>
                        <a:cxn ang="0">
                          <a:pos x="176" y="188"/>
                        </a:cxn>
                        <a:cxn ang="0">
                          <a:pos x="171" y="138"/>
                        </a:cxn>
                        <a:cxn ang="0">
                          <a:pos x="86" y="71"/>
                        </a:cxn>
                        <a:cxn ang="0">
                          <a:pos x="186" y="58"/>
                        </a:cxn>
                        <a:cxn ang="0">
                          <a:pos x="97" y="16"/>
                        </a:cxn>
                        <a:cxn ang="0">
                          <a:pos x="39" y="4"/>
                        </a:cxn>
                        <a:cxn ang="0">
                          <a:pos x="0" y="43"/>
                        </a:cxn>
                      </a:cxnLst>
                      <a:rect l="0" t="0" r="r" b="b"/>
                      <a:pathLst>
                        <a:path w="199" h="202">
                          <a:moveTo>
                            <a:pt x="4" y="47"/>
                          </a:moveTo>
                          <a:cubicBezTo>
                            <a:pt x="14" y="65"/>
                            <a:pt x="16" y="85"/>
                            <a:pt x="16" y="105"/>
                          </a:cubicBezTo>
                          <a:cubicBezTo>
                            <a:pt x="64" y="87"/>
                            <a:pt x="95" y="139"/>
                            <a:pt x="128" y="168"/>
                          </a:cubicBezTo>
                          <a:cubicBezTo>
                            <a:pt x="142" y="181"/>
                            <a:pt x="157" y="202"/>
                            <a:pt x="176" y="188"/>
                          </a:cubicBezTo>
                          <a:cubicBezTo>
                            <a:pt x="193" y="176"/>
                            <a:pt x="181" y="151"/>
                            <a:pt x="171" y="138"/>
                          </a:cubicBezTo>
                          <a:cubicBezTo>
                            <a:pt x="154" y="117"/>
                            <a:pt x="88" y="99"/>
                            <a:pt x="86" y="71"/>
                          </a:cubicBezTo>
                          <a:cubicBezTo>
                            <a:pt x="83" y="30"/>
                            <a:pt x="159" y="61"/>
                            <a:pt x="186" y="58"/>
                          </a:cubicBezTo>
                          <a:cubicBezTo>
                            <a:pt x="199" y="12"/>
                            <a:pt x="125" y="20"/>
                            <a:pt x="97" y="16"/>
                          </a:cubicBezTo>
                          <a:cubicBezTo>
                            <a:pt x="82" y="14"/>
                            <a:pt x="53" y="0"/>
                            <a:pt x="39" y="4"/>
                          </a:cubicBezTo>
                          <a:cubicBezTo>
                            <a:pt x="22" y="9"/>
                            <a:pt x="12" y="35"/>
                            <a:pt x="0" y="43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8" name="Freeform 303"/>
                    <p:cNvSpPr>
                      <a:spLocks/>
                    </p:cNvSpPr>
                    <p:nvPr/>
                  </p:nvSpPr>
                  <p:spPr bwMode="gray">
                    <a:xfrm>
                      <a:off x="-2424113" y="13239751"/>
                      <a:ext cx="1387475" cy="993775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216"/>
                        </a:cxn>
                        <a:cxn ang="0">
                          <a:pos x="1" y="259"/>
                        </a:cxn>
                        <a:cxn ang="0">
                          <a:pos x="78" y="255"/>
                        </a:cxn>
                        <a:cxn ang="0">
                          <a:pos x="144" y="224"/>
                        </a:cxn>
                        <a:cxn ang="0">
                          <a:pos x="185" y="214"/>
                        </a:cxn>
                        <a:cxn ang="0">
                          <a:pos x="299" y="219"/>
                        </a:cxn>
                        <a:cxn ang="0">
                          <a:pos x="193" y="179"/>
                        </a:cxn>
                        <a:cxn ang="0">
                          <a:pos x="180" y="165"/>
                        </a:cxn>
                        <a:cxn ang="0">
                          <a:pos x="335" y="197"/>
                        </a:cxn>
                        <a:cxn ang="0">
                          <a:pos x="265" y="146"/>
                        </a:cxn>
                        <a:cxn ang="0">
                          <a:pos x="184" y="122"/>
                        </a:cxn>
                        <a:cxn ang="0">
                          <a:pos x="284" y="114"/>
                        </a:cxn>
                        <a:cxn ang="0">
                          <a:pos x="370" y="142"/>
                        </a:cxn>
                        <a:cxn ang="0">
                          <a:pos x="285" y="82"/>
                        </a:cxn>
                        <a:cxn ang="0">
                          <a:pos x="191" y="66"/>
                        </a:cxn>
                        <a:cxn ang="0">
                          <a:pos x="339" y="34"/>
                        </a:cxn>
                        <a:cxn ang="0">
                          <a:pos x="241" y="3"/>
                        </a:cxn>
                        <a:cxn ang="0">
                          <a:pos x="143" y="48"/>
                        </a:cxn>
                        <a:cxn ang="0">
                          <a:pos x="4" y="216"/>
                        </a:cxn>
                      </a:cxnLst>
                      <a:rect l="0" t="0" r="r" b="b"/>
                      <a:pathLst>
                        <a:path w="370" h="265">
                          <a:moveTo>
                            <a:pt x="4" y="216"/>
                          </a:moveTo>
                          <a:cubicBezTo>
                            <a:pt x="2" y="231"/>
                            <a:pt x="0" y="243"/>
                            <a:pt x="1" y="259"/>
                          </a:cubicBezTo>
                          <a:cubicBezTo>
                            <a:pt x="28" y="265"/>
                            <a:pt x="53" y="263"/>
                            <a:pt x="78" y="255"/>
                          </a:cubicBezTo>
                          <a:cubicBezTo>
                            <a:pt x="98" y="250"/>
                            <a:pt x="133" y="240"/>
                            <a:pt x="144" y="224"/>
                          </a:cubicBezTo>
                          <a:cubicBezTo>
                            <a:pt x="147" y="219"/>
                            <a:pt x="175" y="214"/>
                            <a:pt x="185" y="214"/>
                          </a:cubicBezTo>
                          <a:cubicBezTo>
                            <a:pt x="229" y="214"/>
                            <a:pt x="302" y="248"/>
                            <a:pt x="299" y="219"/>
                          </a:cubicBezTo>
                          <a:cubicBezTo>
                            <a:pt x="296" y="213"/>
                            <a:pt x="226" y="193"/>
                            <a:pt x="193" y="179"/>
                          </a:cubicBezTo>
                          <a:cubicBezTo>
                            <a:pt x="181" y="173"/>
                            <a:pt x="178" y="167"/>
                            <a:pt x="180" y="165"/>
                          </a:cubicBezTo>
                          <a:cubicBezTo>
                            <a:pt x="200" y="139"/>
                            <a:pt x="329" y="219"/>
                            <a:pt x="335" y="197"/>
                          </a:cubicBezTo>
                          <a:cubicBezTo>
                            <a:pt x="334" y="181"/>
                            <a:pt x="293" y="161"/>
                            <a:pt x="265" y="146"/>
                          </a:cubicBezTo>
                          <a:cubicBezTo>
                            <a:pt x="241" y="133"/>
                            <a:pt x="214" y="125"/>
                            <a:pt x="184" y="122"/>
                          </a:cubicBezTo>
                          <a:cubicBezTo>
                            <a:pt x="186" y="93"/>
                            <a:pt x="237" y="103"/>
                            <a:pt x="284" y="114"/>
                          </a:cubicBezTo>
                          <a:cubicBezTo>
                            <a:pt x="326" y="127"/>
                            <a:pt x="367" y="149"/>
                            <a:pt x="370" y="142"/>
                          </a:cubicBezTo>
                          <a:cubicBezTo>
                            <a:pt x="370" y="119"/>
                            <a:pt x="306" y="92"/>
                            <a:pt x="285" y="82"/>
                          </a:cubicBezTo>
                          <a:cubicBezTo>
                            <a:pt x="262" y="72"/>
                            <a:pt x="204" y="81"/>
                            <a:pt x="191" y="66"/>
                          </a:cubicBezTo>
                          <a:cubicBezTo>
                            <a:pt x="212" y="5"/>
                            <a:pt x="338" y="49"/>
                            <a:pt x="339" y="34"/>
                          </a:cubicBezTo>
                          <a:cubicBezTo>
                            <a:pt x="336" y="15"/>
                            <a:pt x="265" y="4"/>
                            <a:pt x="241" y="3"/>
                          </a:cubicBezTo>
                          <a:cubicBezTo>
                            <a:pt x="191" y="0"/>
                            <a:pt x="179" y="20"/>
                            <a:pt x="143" y="48"/>
                          </a:cubicBezTo>
                          <a:cubicBezTo>
                            <a:pt x="89" y="90"/>
                            <a:pt x="0" y="130"/>
                            <a:pt x="4" y="216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99" name="Oval 304"/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-417513" y="15395576"/>
                      <a:ext cx="668338" cy="671513"/>
                    </a:xfrm>
                    <a:prstGeom prst="ellipse">
                      <a:avLst/>
                    </a:prstGeom>
                    <a:solidFill>
                      <a:srgbClr val="3F3B3B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0" name="Freeform 305"/>
                    <p:cNvSpPr>
                      <a:spLocks/>
                    </p:cNvSpPr>
                    <p:nvPr/>
                  </p:nvSpPr>
                  <p:spPr bwMode="gray">
                    <a:xfrm>
                      <a:off x="-533400" y="15692438"/>
                      <a:ext cx="2347913" cy="1858963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461"/>
                        </a:cxn>
                        <a:cxn ang="0">
                          <a:pos x="189" y="375"/>
                        </a:cxn>
                        <a:cxn ang="0">
                          <a:pos x="347" y="276"/>
                        </a:cxn>
                        <a:cxn ang="0">
                          <a:pos x="497" y="157"/>
                        </a:cxn>
                        <a:cxn ang="0">
                          <a:pos x="625" y="12"/>
                        </a:cxn>
                        <a:cxn ang="0">
                          <a:pos x="452" y="111"/>
                        </a:cxn>
                        <a:cxn ang="0">
                          <a:pos x="268" y="240"/>
                        </a:cxn>
                        <a:cxn ang="0">
                          <a:pos x="0" y="496"/>
                        </a:cxn>
                      </a:cxnLst>
                      <a:rect l="0" t="0" r="r" b="b"/>
                      <a:pathLst>
                        <a:path w="626" h="496">
                          <a:moveTo>
                            <a:pt x="24" y="461"/>
                          </a:moveTo>
                          <a:cubicBezTo>
                            <a:pt x="83" y="466"/>
                            <a:pt x="144" y="404"/>
                            <a:pt x="189" y="375"/>
                          </a:cubicBezTo>
                          <a:cubicBezTo>
                            <a:pt x="240" y="343"/>
                            <a:pt x="297" y="313"/>
                            <a:pt x="347" y="276"/>
                          </a:cubicBezTo>
                          <a:cubicBezTo>
                            <a:pt x="397" y="237"/>
                            <a:pt x="450" y="200"/>
                            <a:pt x="497" y="157"/>
                          </a:cubicBezTo>
                          <a:cubicBezTo>
                            <a:pt x="535" y="123"/>
                            <a:pt x="626" y="64"/>
                            <a:pt x="625" y="12"/>
                          </a:cubicBezTo>
                          <a:cubicBezTo>
                            <a:pt x="557" y="0"/>
                            <a:pt x="498" y="71"/>
                            <a:pt x="452" y="111"/>
                          </a:cubicBezTo>
                          <a:cubicBezTo>
                            <a:pt x="395" y="159"/>
                            <a:pt x="326" y="191"/>
                            <a:pt x="268" y="240"/>
                          </a:cubicBezTo>
                          <a:cubicBezTo>
                            <a:pt x="172" y="320"/>
                            <a:pt x="62" y="387"/>
                            <a:pt x="0" y="496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1" name="Freeform 306"/>
                    <p:cNvSpPr>
                      <a:spLocks/>
                    </p:cNvSpPr>
                    <p:nvPr/>
                  </p:nvSpPr>
                  <p:spPr bwMode="gray">
                    <a:xfrm>
                      <a:off x="-1835150" y="15640051"/>
                      <a:ext cx="1890713" cy="989013"/>
                    </a:xfrm>
                    <a:custGeom>
                      <a:avLst/>
                      <a:gdLst/>
                      <a:ahLst/>
                      <a:cxnLst>
                        <a:cxn ang="0">
                          <a:pos x="103" y="46"/>
                        </a:cxn>
                        <a:cxn ang="0">
                          <a:pos x="179" y="82"/>
                        </a:cxn>
                        <a:cxn ang="0">
                          <a:pos x="290" y="87"/>
                        </a:cxn>
                        <a:cxn ang="0">
                          <a:pos x="500" y="41"/>
                        </a:cxn>
                        <a:cxn ang="0">
                          <a:pos x="354" y="146"/>
                        </a:cxn>
                        <a:cxn ang="0">
                          <a:pos x="91" y="90"/>
                        </a:cxn>
                        <a:cxn ang="0">
                          <a:pos x="202" y="238"/>
                        </a:cxn>
                        <a:cxn ang="0">
                          <a:pos x="86" y="0"/>
                        </a:cxn>
                      </a:cxnLst>
                      <a:rect l="0" t="0" r="r" b="b"/>
                      <a:pathLst>
                        <a:path w="504" h="264">
                          <a:moveTo>
                            <a:pt x="103" y="46"/>
                          </a:moveTo>
                          <a:cubicBezTo>
                            <a:pt x="131" y="56"/>
                            <a:pt x="151" y="74"/>
                            <a:pt x="179" y="82"/>
                          </a:cubicBezTo>
                          <a:cubicBezTo>
                            <a:pt x="213" y="90"/>
                            <a:pt x="253" y="88"/>
                            <a:pt x="290" y="87"/>
                          </a:cubicBezTo>
                          <a:cubicBezTo>
                            <a:pt x="369" y="86"/>
                            <a:pt x="426" y="47"/>
                            <a:pt x="500" y="41"/>
                          </a:cubicBezTo>
                          <a:cubicBezTo>
                            <a:pt x="504" y="138"/>
                            <a:pt x="442" y="146"/>
                            <a:pt x="354" y="146"/>
                          </a:cubicBezTo>
                          <a:cubicBezTo>
                            <a:pt x="248" y="146"/>
                            <a:pt x="177" y="138"/>
                            <a:pt x="91" y="90"/>
                          </a:cubicBezTo>
                          <a:cubicBezTo>
                            <a:pt x="93" y="164"/>
                            <a:pt x="164" y="188"/>
                            <a:pt x="202" y="238"/>
                          </a:cubicBezTo>
                          <a:cubicBezTo>
                            <a:pt x="89" y="264"/>
                            <a:pt x="0" y="69"/>
                            <a:pt x="86" y="0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2" name="Freeform 307"/>
                    <p:cNvSpPr>
                      <a:spLocks/>
                    </p:cNvSpPr>
                    <p:nvPr/>
                  </p:nvSpPr>
                  <p:spPr bwMode="gray">
                    <a:xfrm>
                      <a:off x="246062" y="17765713"/>
                      <a:ext cx="1792288" cy="2166938"/>
                    </a:xfrm>
                    <a:custGeom>
                      <a:avLst/>
                      <a:gdLst/>
                      <a:ahLst/>
                      <a:cxnLst>
                        <a:cxn ang="0">
                          <a:pos x="437" y="187"/>
                        </a:cxn>
                        <a:cxn ang="0">
                          <a:pos x="383" y="519"/>
                        </a:cxn>
                        <a:cxn ang="0">
                          <a:pos x="192" y="543"/>
                        </a:cxn>
                        <a:cxn ang="0">
                          <a:pos x="0" y="577"/>
                        </a:cxn>
                        <a:cxn ang="0">
                          <a:pos x="197" y="484"/>
                        </a:cxn>
                        <a:cxn ang="0">
                          <a:pos x="330" y="356"/>
                        </a:cxn>
                        <a:cxn ang="0">
                          <a:pos x="408" y="175"/>
                        </a:cxn>
                        <a:cxn ang="0">
                          <a:pos x="443" y="0"/>
                        </a:cxn>
                      </a:cxnLst>
                      <a:rect l="0" t="0" r="r" b="b"/>
                      <a:pathLst>
                        <a:path w="478" h="578">
                          <a:moveTo>
                            <a:pt x="437" y="187"/>
                          </a:moveTo>
                          <a:cubicBezTo>
                            <a:pt x="478" y="282"/>
                            <a:pt x="415" y="429"/>
                            <a:pt x="383" y="519"/>
                          </a:cubicBezTo>
                          <a:cubicBezTo>
                            <a:pt x="320" y="532"/>
                            <a:pt x="254" y="532"/>
                            <a:pt x="192" y="543"/>
                          </a:cubicBezTo>
                          <a:cubicBezTo>
                            <a:pt x="129" y="555"/>
                            <a:pt x="64" y="578"/>
                            <a:pt x="0" y="577"/>
                          </a:cubicBezTo>
                          <a:cubicBezTo>
                            <a:pt x="46" y="530"/>
                            <a:pt x="137" y="510"/>
                            <a:pt x="197" y="484"/>
                          </a:cubicBezTo>
                          <a:cubicBezTo>
                            <a:pt x="264" y="456"/>
                            <a:pt x="295" y="423"/>
                            <a:pt x="330" y="356"/>
                          </a:cubicBezTo>
                          <a:cubicBezTo>
                            <a:pt x="359" y="301"/>
                            <a:pt x="389" y="237"/>
                            <a:pt x="408" y="175"/>
                          </a:cubicBezTo>
                          <a:cubicBezTo>
                            <a:pt x="425" y="118"/>
                            <a:pt x="419" y="53"/>
                            <a:pt x="443" y="0"/>
                          </a:cubicBezTo>
                        </a:path>
                      </a:pathLst>
                    </a:custGeom>
                    <a:solidFill>
                      <a:srgbClr val="56535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3" name="Freeform 308"/>
                    <p:cNvSpPr>
                      <a:spLocks/>
                    </p:cNvSpPr>
                    <p:nvPr/>
                  </p:nvSpPr>
                  <p:spPr bwMode="gray">
                    <a:xfrm>
                      <a:off x="1371600" y="10360026"/>
                      <a:ext cx="363538" cy="34909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9"/>
                        </a:cxn>
                        <a:cxn ang="0">
                          <a:pos x="12" y="235"/>
                        </a:cxn>
                        <a:cxn ang="0">
                          <a:pos x="30" y="450"/>
                        </a:cxn>
                        <a:cxn ang="0">
                          <a:pos x="18" y="666"/>
                        </a:cxn>
                        <a:cxn ang="0">
                          <a:pos x="12" y="771"/>
                        </a:cxn>
                        <a:cxn ang="0">
                          <a:pos x="94" y="931"/>
                        </a:cxn>
                        <a:cxn ang="0">
                          <a:pos x="94" y="666"/>
                        </a:cxn>
                        <a:cxn ang="0">
                          <a:pos x="83" y="399"/>
                        </a:cxn>
                        <a:cxn ang="0">
                          <a:pos x="29" y="158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97" h="931">
                          <a:moveTo>
                            <a:pt x="0" y="29"/>
                          </a:moveTo>
                          <a:cubicBezTo>
                            <a:pt x="33" y="79"/>
                            <a:pt x="3" y="174"/>
                            <a:pt x="12" y="235"/>
                          </a:cubicBezTo>
                          <a:cubicBezTo>
                            <a:pt x="23" y="307"/>
                            <a:pt x="19" y="379"/>
                            <a:pt x="30" y="450"/>
                          </a:cubicBezTo>
                          <a:cubicBezTo>
                            <a:pt x="41" y="525"/>
                            <a:pt x="24" y="593"/>
                            <a:pt x="18" y="666"/>
                          </a:cubicBezTo>
                          <a:cubicBezTo>
                            <a:pt x="15" y="694"/>
                            <a:pt x="7" y="748"/>
                            <a:pt x="12" y="771"/>
                          </a:cubicBezTo>
                          <a:cubicBezTo>
                            <a:pt x="20" y="804"/>
                            <a:pt x="76" y="906"/>
                            <a:pt x="94" y="931"/>
                          </a:cubicBezTo>
                          <a:cubicBezTo>
                            <a:pt x="97" y="875"/>
                            <a:pt x="93" y="728"/>
                            <a:pt x="94" y="666"/>
                          </a:cubicBezTo>
                          <a:cubicBezTo>
                            <a:pt x="95" y="576"/>
                            <a:pt x="90" y="487"/>
                            <a:pt x="83" y="399"/>
                          </a:cubicBezTo>
                          <a:cubicBezTo>
                            <a:pt x="75" y="317"/>
                            <a:pt x="42" y="239"/>
                            <a:pt x="29" y="158"/>
                          </a:cubicBezTo>
                          <a:cubicBezTo>
                            <a:pt x="20" y="97"/>
                            <a:pt x="25" y="55"/>
                            <a:pt x="0" y="0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4" name="Freeform 309"/>
                    <p:cNvSpPr>
                      <a:spLocks/>
                    </p:cNvSpPr>
                    <p:nvPr/>
                  </p:nvSpPr>
                  <p:spPr bwMode="gray">
                    <a:xfrm>
                      <a:off x="479425" y="13655676"/>
                      <a:ext cx="1484313" cy="1492250"/>
                    </a:xfrm>
                    <a:custGeom>
                      <a:avLst/>
                      <a:gdLst/>
                      <a:ahLst/>
                      <a:cxnLst>
                        <a:cxn ang="0">
                          <a:pos x="330" y="55"/>
                        </a:cxn>
                        <a:cxn ang="0">
                          <a:pos x="318" y="109"/>
                        </a:cxn>
                        <a:cxn ang="0">
                          <a:pos x="108" y="33"/>
                        </a:cxn>
                        <a:cxn ang="0">
                          <a:pos x="209" y="113"/>
                        </a:cxn>
                        <a:cxn ang="0">
                          <a:pos x="243" y="164"/>
                        </a:cxn>
                        <a:cxn ang="0">
                          <a:pos x="287" y="214"/>
                        </a:cxn>
                        <a:cxn ang="0">
                          <a:pos x="221" y="219"/>
                        </a:cxn>
                        <a:cxn ang="0">
                          <a:pos x="256" y="289"/>
                        </a:cxn>
                        <a:cxn ang="0">
                          <a:pos x="170" y="329"/>
                        </a:cxn>
                        <a:cxn ang="0">
                          <a:pos x="0" y="398"/>
                        </a:cxn>
                        <a:cxn ang="0">
                          <a:pos x="194" y="344"/>
                        </a:cxn>
                        <a:cxn ang="0">
                          <a:pos x="314" y="351"/>
                        </a:cxn>
                        <a:cxn ang="0">
                          <a:pos x="396" y="370"/>
                        </a:cxn>
                        <a:cxn ang="0">
                          <a:pos x="357" y="238"/>
                        </a:cxn>
                        <a:cxn ang="0">
                          <a:pos x="330" y="98"/>
                        </a:cxn>
                      </a:cxnLst>
                      <a:rect l="0" t="0" r="r" b="b"/>
                      <a:pathLst>
                        <a:path w="396" h="398">
                          <a:moveTo>
                            <a:pt x="330" y="55"/>
                          </a:moveTo>
                          <a:cubicBezTo>
                            <a:pt x="319" y="72"/>
                            <a:pt x="324" y="91"/>
                            <a:pt x="318" y="109"/>
                          </a:cubicBezTo>
                          <a:cubicBezTo>
                            <a:pt x="238" y="165"/>
                            <a:pt x="183" y="0"/>
                            <a:pt x="108" y="33"/>
                          </a:cubicBezTo>
                          <a:cubicBezTo>
                            <a:pt x="96" y="79"/>
                            <a:pt x="186" y="88"/>
                            <a:pt x="209" y="113"/>
                          </a:cubicBezTo>
                          <a:cubicBezTo>
                            <a:pt x="222" y="129"/>
                            <a:pt x="223" y="147"/>
                            <a:pt x="243" y="164"/>
                          </a:cubicBezTo>
                          <a:cubicBezTo>
                            <a:pt x="262" y="180"/>
                            <a:pt x="285" y="188"/>
                            <a:pt x="287" y="214"/>
                          </a:cubicBezTo>
                          <a:cubicBezTo>
                            <a:pt x="266" y="222"/>
                            <a:pt x="243" y="218"/>
                            <a:pt x="221" y="219"/>
                          </a:cubicBezTo>
                          <a:cubicBezTo>
                            <a:pt x="210" y="261"/>
                            <a:pt x="255" y="250"/>
                            <a:pt x="256" y="289"/>
                          </a:cubicBezTo>
                          <a:cubicBezTo>
                            <a:pt x="257" y="338"/>
                            <a:pt x="204" y="331"/>
                            <a:pt x="170" y="329"/>
                          </a:cubicBezTo>
                          <a:cubicBezTo>
                            <a:pt x="94" y="325"/>
                            <a:pt x="33" y="326"/>
                            <a:pt x="0" y="398"/>
                          </a:cubicBezTo>
                          <a:cubicBezTo>
                            <a:pt x="21" y="350"/>
                            <a:pt x="148" y="348"/>
                            <a:pt x="194" y="344"/>
                          </a:cubicBezTo>
                          <a:cubicBezTo>
                            <a:pt x="237" y="339"/>
                            <a:pt x="273" y="340"/>
                            <a:pt x="314" y="351"/>
                          </a:cubicBezTo>
                          <a:cubicBezTo>
                            <a:pt x="341" y="357"/>
                            <a:pt x="369" y="383"/>
                            <a:pt x="396" y="370"/>
                          </a:cubicBezTo>
                          <a:cubicBezTo>
                            <a:pt x="384" y="326"/>
                            <a:pt x="364" y="287"/>
                            <a:pt x="357" y="238"/>
                          </a:cubicBezTo>
                          <a:cubicBezTo>
                            <a:pt x="351" y="193"/>
                            <a:pt x="326" y="145"/>
                            <a:pt x="330" y="98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5" name="Freeform 310"/>
                    <p:cNvSpPr>
                      <a:spLocks/>
                    </p:cNvSpPr>
                    <p:nvPr/>
                  </p:nvSpPr>
                  <p:spPr bwMode="gray">
                    <a:xfrm>
                      <a:off x="-3533775" y="11672888"/>
                      <a:ext cx="1027113" cy="1357313"/>
                    </a:xfrm>
                    <a:custGeom>
                      <a:avLst/>
                      <a:gdLst/>
                      <a:ahLst/>
                      <a:cxnLst>
                        <a:cxn ang="0">
                          <a:pos x="173" y="43"/>
                        </a:cxn>
                        <a:cxn ang="0">
                          <a:pos x="47" y="57"/>
                        </a:cxn>
                        <a:cxn ang="0">
                          <a:pos x="133" y="133"/>
                        </a:cxn>
                        <a:cxn ang="0">
                          <a:pos x="181" y="236"/>
                        </a:cxn>
                        <a:cxn ang="0">
                          <a:pos x="122" y="311"/>
                        </a:cxn>
                        <a:cxn ang="0">
                          <a:pos x="211" y="320"/>
                        </a:cxn>
                        <a:cxn ang="0">
                          <a:pos x="274" y="362"/>
                        </a:cxn>
                        <a:cxn ang="0">
                          <a:pos x="197" y="182"/>
                        </a:cxn>
                        <a:cxn ang="0">
                          <a:pos x="144" y="94"/>
                        </a:cxn>
                        <a:cxn ang="0">
                          <a:pos x="192" y="0"/>
                        </a:cxn>
                      </a:cxnLst>
                      <a:rect l="0" t="0" r="r" b="b"/>
                      <a:pathLst>
                        <a:path w="274" h="362">
                          <a:moveTo>
                            <a:pt x="173" y="43"/>
                          </a:moveTo>
                          <a:cubicBezTo>
                            <a:pt x="131" y="91"/>
                            <a:pt x="76" y="24"/>
                            <a:pt x="47" y="57"/>
                          </a:cubicBezTo>
                          <a:cubicBezTo>
                            <a:pt x="0" y="111"/>
                            <a:pt x="107" y="119"/>
                            <a:pt x="133" y="133"/>
                          </a:cubicBezTo>
                          <a:cubicBezTo>
                            <a:pt x="142" y="171"/>
                            <a:pt x="169" y="200"/>
                            <a:pt x="181" y="236"/>
                          </a:cubicBezTo>
                          <a:cubicBezTo>
                            <a:pt x="206" y="307"/>
                            <a:pt x="107" y="248"/>
                            <a:pt x="122" y="311"/>
                          </a:cubicBezTo>
                          <a:cubicBezTo>
                            <a:pt x="156" y="316"/>
                            <a:pt x="179" y="302"/>
                            <a:pt x="211" y="320"/>
                          </a:cubicBezTo>
                          <a:cubicBezTo>
                            <a:pt x="235" y="334"/>
                            <a:pt x="245" y="354"/>
                            <a:pt x="274" y="362"/>
                          </a:cubicBezTo>
                          <a:cubicBezTo>
                            <a:pt x="232" y="335"/>
                            <a:pt x="223" y="229"/>
                            <a:pt x="197" y="182"/>
                          </a:cubicBezTo>
                          <a:cubicBezTo>
                            <a:pt x="181" y="153"/>
                            <a:pt x="150" y="128"/>
                            <a:pt x="144" y="94"/>
                          </a:cubicBezTo>
                          <a:cubicBezTo>
                            <a:pt x="136" y="43"/>
                            <a:pt x="186" y="43"/>
                            <a:pt x="192" y="0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6" name="Freeform 311"/>
                    <p:cNvSpPr>
                      <a:spLocks/>
                    </p:cNvSpPr>
                    <p:nvPr/>
                  </p:nvSpPr>
                  <p:spPr bwMode="gray">
                    <a:xfrm>
                      <a:off x="-2686050" y="10748963"/>
                      <a:ext cx="685800" cy="747713"/>
                    </a:xfrm>
                    <a:custGeom>
                      <a:avLst/>
                      <a:gdLst/>
                      <a:ahLst/>
                      <a:cxnLst>
                        <a:cxn ang="0">
                          <a:pos x="180" y="199"/>
                        </a:cxn>
                        <a:cxn ang="0">
                          <a:pos x="162" y="77"/>
                        </a:cxn>
                        <a:cxn ang="0">
                          <a:pos x="76" y="28"/>
                        </a:cxn>
                        <a:cxn ang="0">
                          <a:pos x="28" y="94"/>
                        </a:cxn>
                        <a:cxn ang="0">
                          <a:pos x="2" y="175"/>
                        </a:cxn>
                        <a:cxn ang="0">
                          <a:pos x="20" y="148"/>
                        </a:cxn>
                        <a:cxn ang="0">
                          <a:pos x="52" y="125"/>
                        </a:cxn>
                        <a:cxn ang="0">
                          <a:pos x="114" y="78"/>
                        </a:cxn>
                        <a:cxn ang="0">
                          <a:pos x="180" y="191"/>
                        </a:cxn>
                      </a:cxnLst>
                      <a:rect l="0" t="0" r="r" b="b"/>
                      <a:pathLst>
                        <a:path w="183" h="199">
                          <a:moveTo>
                            <a:pt x="180" y="199"/>
                          </a:moveTo>
                          <a:cubicBezTo>
                            <a:pt x="180" y="154"/>
                            <a:pt x="183" y="115"/>
                            <a:pt x="162" y="77"/>
                          </a:cubicBezTo>
                          <a:cubicBezTo>
                            <a:pt x="145" y="47"/>
                            <a:pt x="112" y="0"/>
                            <a:pt x="76" y="28"/>
                          </a:cubicBezTo>
                          <a:cubicBezTo>
                            <a:pt x="72" y="76"/>
                            <a:pt x="57" y="67"/>
                            <a:pt x="28" y="94"/>
                          </a:cubicBezTo>
                          <a:cubicBezTo>
                            <a:pt x="0" y="120"/>
                            <a:pt x="25" y="147"/>
                            <a:pt x="2" y="175"/>
                          </a:cubicBezTo>
                          <a:cubicBezTo>
                            <a:pt x="12" y="169"/>
                            <a:pt x="14" y="155"/>
                            <a:pt x="20" y="148"/>
                          </a:cubicBezTo>
                          <a:cubicBezTo>
                            <a:pt x="34" y="135"/>
                            <a:pt x="36" y="135"/>
                            <a:pt x="52" y="125"/>
                          </a:cubicBezTo>
                          <a:cubicBezTo>
                            <a:pt x="66" y="117"/>
                            <a:pt x="101" y="80"/>
                            <a:pt x="114" y="78"/>
                          </a:cubicBezTo>
                          <a:cubicBezTo>
                            <a:pt x="164" y="70"/>
                            <a:pt x="158" y="165"/>
                            <a:pt x="180" y="191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7" name="Freeform 312"/>
                    <p:cNvSpPr>
                      <a:spLocks/>
                    </p:cNvSpPr>
                    <p:nvPr/>
                  </p:nvSpPr>
                  <p:spPr bwMode="gray">
                    <a:xfrm>
                      <a:off x="-3184525" y="10048876"/>
                      <a:ext cx="209550" cy="603250"/>
                    </a:xfrm>
                    <a:custGeom>
                      <a:avLst/>
                      <a:gdLst/>
                      <a:ahLst/>
                      <a:cxnLst>
                        <a:cxn ang="0">
                          <a:pos x="56" y="0"/>
                        </a:cxn>
                        <a:cxn ang="0">
                          <a:pos x="34" y="89"/>
                        </a:cxn>
                        <a:cxn ang="0">
                          <a:pos x="10" y="155"/>
                        </a:cxn>
                        <a:cxn ang="0">
                          <a:pos x="21" y="78"/>
                        </a:cxn>
                      </a:cxnLst>
                      <a:rect l="0" t="0" r="r" b="b"/>
                      <a:pathLst>
                        <a:path w="56" h="161">
                          <a:moveTo>
                            <a:pt x="56" y="0"/>
                          </a:moveTo>
                          <a:cubicBezTo>
                            <a:pt x="49" y="35"/>
                            <a:pt x="30" y="47"/>
                            <a:pt x="34" y="89"/>
                          </a:cubicBezTo>
                          <a:cubicBezTo>
                            <a:pt x="36" y="112"/>
                            <a:pt x="55" y="161"/>
                            <a:pt x="10" y="155"/>
                          </a:cubicBezTo>
                          <a:cubicBezTo>
                            <a:pt x="0" y="123"/>
                            <a:pt x="14" y="107"/>
                            <a:pt x="21" y="78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8" name="Freeform 313"/>
                    <p:cNvSpPr>
                      <a:spLocks/>
                    </p:cNvSpPr>
                    <p:nvPr/>
                  </p:nvSpPr>
                  <p:spPr bwMode="gray">
                    <a:xfrm>
                      <a:off x="2098675" y="12576176"/>
                      <a:ext cx="338138" cy="584200"/>
                    </a:xfrm>
                    <a:custGeom>
                      <a:avLst/>
                      <a:gdLst/>
                      <a:ahLst/>
                      <a:cxnLst>
                        <a:cxn ang="0">
                          <a:pos x="77" y="0"/>
                        </a:cxn>
                        <a:cxn ang="0">
                          <a:pos x="12" y="144"/>
                        </a:cxn>
                        <a:cxn ang="0">
                          <a:pos x="73" y="20"/>
                        </a:cxn>
                      </a:cxnLst>
                      <a:rect l="0" t="0" r="r" b="b"/>
                      <a:pathLst>
                        <a:path w="90" h="156">
                          <a:moveTo>
                            <a:pt x="77" y="0"/>
                          </a:moveTo>
                          <a:cubicBezTo>
                            <a:pt x="90" y="55"/>
                            <a:pt x="0" y="75"/>
                            <a:pt x="12" y="144"/>
                          </a:cubicBezTo>
                          <a:cubicBezTo>
                            <a:pt x="69" y="156"/>
                            <a:pt x="57" y="50"/>
                            <a:pt x="73" y="20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09" name="Freeform 314"/>
                    <p:cNvSpPr>
                      <a:spLocks/>
                    </p:cNvSpPr>
                    <p:nvPr/>
                  </p:nvSpPr>
                  <p:spPr bwMode="gray">
                    <a:xfrm>
                      <a:off x="-2006600" y="11877676"/>
                      <a:ext cx="688975" cy="1328738"/>
                    </a:xfrm>
                    <a:custGeom>
                      <a:avLst/>
                      <a:gdLst/>
                      <a:ahLst/>
                      <a:cxnLst>
                        <a:cxn ang="0">
                          <a:pos x="46" y="323"/>
                        </a:cxn>
                        <a:cxn ang="0">
                          <a:pos x="81" y="249"/>
                        </a:cxn>
                        <a:cxn ang="0">
                          <a:pos x="166" y="244"/>
                        </a:cxn>
                        <a:cxn ang="0">
                          <a:pos x="74" y="139"/>
                        </a:cxn>
                        <a:cxn ang="0">
                          <a:pos x="0" y="0"/>
                        </a:cxn>
                        <a:cxn ang="0">
                          <a:pos x="30" y="85"/>
                        </a:cxn>
                        <a:cxn ang="0">
                          <a:pos x="49" y="179"/>
                        </a:cxn>
                        <a:cxn ang="0">
                          <a:pos x="50" y="272"/>
                        </a:cxn>
                        <a:cxn ang="0">
                          <a:pos x="50" y="354"/>
                        </a:cxn>
                      </a:cxnLst>
                      <a:rect l="0" t="0" r="r" b="b"/>
                      <a:pathLst>
                        <a:path w="184" h="354">
                          <a:moveTo>
                            <a:pt x="46" y="323"/>
                          </a:moveTo>
                          <a:cubicBezTo>
                            <a:pt x="53" y="297"/>
                            <a:pt x="55" y="264"/>
                            <a:pt x="81" y="249"/>
                          </a:cubicBezTo>
                          <a:cubicBezTo>
                            <a:pt x="108" y="232"/>
                            <a:pt x="137" y="249"/>
                            <a:pt x="166" y="244"/>
                          </a:cubicBezTo>
                          <a:cubicBezTo>
                            <a:pt x="184" y="213"/>
                            <a:pt x="93" y="159"/>
                            <a:pt x="74" y="139"/>
                          </a:cubicBezTo>
                          <a:cubicBezTo>
                            <a:pt x="48" y="109"/>
                            <a:pt x="33" y="11"/>
                            <a:pt x="0" y="0"/>
                          </a:cubicBezTo>
                          <a:cubicBezTo>
                            <a:pt x="1" y="28"/>
                            <a:pt x="21" y="59"/>
                            <a:pt x="30" y="85"/>
                          </a:cubicBezTo>
                          <a:cubicBezTo>
                            <a:pt x="41" y="115"/>
                            <a:pt x="43" y="150"/>
                            <a:pt x="49" y="179"/>
                          </a:cubicBezTo>
                          <a:cubicBezTo>
                            <a:pt x="56" y="213"/>
                            <a:pt x="59" y="237"/>
                            <a:pt x="50" y="272"/>
                          </a:cubicBezTo>
                          <a:cubicBezTo>
                            <a:pt x="44" y="296"/>
                            <a:pt x="23" y="334"/>
                            <a:pt x="50" y="354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0" name="Freeform 315"/>
                    <p:cNvSpPr>
                      <a:spLocks/>
                    </p:cNvSpPr>
                    <p:nvPr/>
                  </p:nvSpPr>
                  <p:spPr bwMode="gray">
                    <a:xfrm>
                      <a:off x="1614487" y="9932988"/>
                      <a:ext cx="654050" cy="1104900"/>
                    </a:xfrm>
                    <a:custGeom>
                      <a:avLst/>
                      <a:gdLst/>
                      <a:ahLst/>
                      <a:cxnLst>
                        <a:cxn ang="0">
                          <a:pos x="128" y="0"/>
                        </a:cxn>
                        <a:cxn ang="0">
                          <a:pos x="79" y="98"/>
                        </a:cxn>
                        <a:cxn ang="0">
                          <a:pos x="20" y="175"/>
                        </a:cxn>
                        <a:cxn ang="0">
                          <a:pos x="109" y="179"/>
                        </a:cxn>
                        <a:cxn ang="0">
                          <a:pos x="74" y="238"/>
                        </a:cxn>
                        <a:cxn ang="0">
                          <a:pos x="82" y="288"/>
                        </a:cxn>
                        <a:cxn ang="0">
                          <a:pos x="136" y="8"/>
                        </a:cxn>
                      </a:cxnLst>
                      <a:rect l="0" t="0" r="r" b="b"/>
                      <a:pathLst>
                        <a:path w="174" h="295">
                          <a:moveTo>
                            <a:pt x="128" y="0"/>
                          </a:moveTo>
                          <a:cubicBezTo>
                            <a:pt x="134" y="41"/>
                            <a:pt x="105" y="72"/>
                            <a:pt x="79" y="98"/>
                          </a:cubicBezTo>
                          <a:cubicBezTo>
                            <a:pt x="60" y="117"/>
                            <a:pt x="0" y="144"/>
                            <a:pt x="20" y="175"/>
                          </a:cubicBezTo>
                          <a:cubicBezTo>
                            <a:pt x="45" y="214"/>
                            <a:pt x="99" y="149"/>
                            <a:pt x="109" y="179"/>
                          </a:cubicBezTo>
                          <a:cubicBezTo>
                            <a:pt x="115" y="197"/>
                            <a:pt x="77" y="221"/>
                            <a:pt x="74" y="238"/>
                          </a:cubicBezTo>
                          <a:cubicBezTo>
                            <a:pt x="72" y="248"/>
                            <a:pt x="83" y="273"/>
                            <a:pt x="82" y="288"/>
                          </a:cubicBezTo>
                          <a:cubicBezTo>
                            <a:pt x="174" y="295"/>
                            <a:pt x="147" y="64"/>
                            <a:pt x="136" y="8"/>
                          </a:cubicBezTo>
                        </a:path>
                      </a:pathLst>
                    </a:custGeom>
                    <a:solidFill>
                      <a:srgbClr val="0D1214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1" name="Freeform 316"/>
                    <p:cNvSpPr>
                      <a:spLocks/>
                    </p:cNvSpPr>
                    <p:nvPr/>
                  </p:nvSpPr>
                  <p:spPr bwMode="gray">
                    <a:xfrm>
                      <a:off x="-1208088" y="6396038"/>
                      <a:ext cx="584200" cy="2230438"/>
                    </a:xfrm>
                    <a:custGeom>
                      <a:avLst/>
                      <a:gdLst/>
                      <a:ahLst/>
                      <a:cxnLst>
                        <a:cxn ang="0">
                          <a:pos x="98" y="68"/>
                        </a:cxn>
                        <a:cxn ang="0">
                          <a:pos x="66" y="108"/>
                        </a:cxn>
                        <a:cxn ang="0">
                          <a:pos x="55" y="169"/>
                        </a:cxn>
                        <a:cxn ang="0">
                          <a:pos x="75" y="304"/>
                        </a:cxn>
                        <a:cxn ang="0">
                          <a:pos x="107" y="414"/>
                        </a:cxn>
                        <a:cxn ang="0">
                          <a:pos x="116" y="472"/>
                        </a:cxn>
                        <a:cxn ang="0">
                          <a:pos x="108" y="530"/>
                        </a:cxn>
                        <a:cxn ang="0">
                          <a:pos x="119" y="561"/>
                        </a:cxn>
                        <a:cxn ang="0">
                          <a:pos x="123" y="595"/>
                        </a:cxn>
                        <a:cxn ang="0">
                          <a:pos x="66" y="384"/>
                        </a:cxn>
                        <a:cxn ang="0">
                          <a:pos x="47" y="296"/>
                        </a:cxn>
                        <a:cxn ang="0">
                          <a:pos x="41" y="197"/>
                        </a:cxn>
                        <a:cxn ang="0">
                          <a:pos x="8" y="267"/>
                        </a:cxn>
                        <a:cxn ang="0">
                          <a:pos x="18" y="344"/>
                        </a:cxn>
                        <a:cxn ang="0">
                          <a:pos x="1" y="212"/>
                        </a:cxn>
                        <a:cxn ang="0">
                          <a:pos x="37" y="108"/>
                        </a:cxn>
                        <a:cxn ang="0">
                          <a:pos x="40" y="123"/>
                        </a:cxn>
                        <a:cxn ang="0">
                          <a:pos x="57" y="86"/>
                        </a:cxn>
                        <a:cxn ang="0">
                          <a:pos x="84" y="50"/>
                        </a:cxn>
                        <a:cxn ang="0">
                          <a:pos x="118" y="16"/>
                        </a:cxn>
                        <a:cxn ang="0">
                          <a:pos x="156" y="0"/>
                        </a:cxn>
                        <a:cxn ang="0">
                          <a:pos x="77" y="107"/>
                        </a:cxn>
                      </a:cxnLst>
                      <a:rect l="0" t="0" r="r" b="b"/>
                      <a:pathLst>
                        <a:path w="156" h="595">
                          <a:moveTo>
                            <a:pt x="98" y="68"/>
                          </a:moveTo>
                          <a:cubicBezTo>
                            <a:pt x="93" y="84"/>
                            <a:pt x="74" y="93"/>
                            <a:pt x="66" y="108"/>
                          </a:cubicBezTo>
                          <a:cubicBezTo>
                            <a:pt x="54" y="127"/>
                            <a:pt x="54" y="147"/>
                            <a:pt x="55" y="169"/>
                          </a:cubicBezTo>
                          <a:cubicBezTo>
                            <a:pt x="57" y="215"/>
                            <a:pt x="72" y="259"/>
                            <a:pt x="75" y="304"/>
                          </a:cubicBezTo>
                          <a:cubicBezTo>
                            <a:pt x="77" y="343"/>
                            <a:pt x="94" y="379"/>
                            <a:pt x="107" y="414"/>
                          </a:cubicBezTo>
                          <a:cubicBezTo>
                            <a:pt x="113" y="431"/>
                            <a:pt x="118" y="452"/>
                            <a:pt x="116" y="472"/>
                          </a:cubicBezTo>
                          <a:cubicBezTo>
                            <a:pt x="113" y="491"/>
                            <a:pt x="104" y="509"/>
                            <a:pt x="108" y="530"/>
                          </a:cubicBezTo>
                          <a:cubicBezTo>
                            <a:pt x="110" y="540"/>
                            <a:pt x="117" y="550"/>
                            <a:pt x="119" y="561"/>
                          </a:cubicBezTo>
                          <a:cubicBezTo>
                            <a:pt x="122" y="572"/>
                            <a:pt x="120" y="584"/>
                            <a:pt x="123" y="595"/>
                          </a:cubicBezTo>
                          <a:cubicBezTo>
                            <a:pt x="121" y="524"/>
                            <a:pt x="92" y="450"/>
                            <a:pt x="66" y="384"/>
                          </a:cubicBezTo>
                          <a:cubicBezTo>
                            <a:pt x="55" y="353"/>
                            <a:pt x="49" y="330"/>
                            <a:pt x="47" y="296"/>
                          </a:cubicBezTo>
                          <a:cubicBezTo>
                            <a:pt x="46" y="262"/>
                            <a:pt x="46" y="230"/>
                            <a:pt x="41" y="197"/>
                          </a:cubicBezTo>
                          <a:cubicBezTo>
                            <a:pt x="28" y="213"/>
                            <a:pt x="12" y="245"/>
                            <a:pt x="8" y="267"/>
                          </a:cubicBezTo>
                          <a:cubicBezTo>
                            <a:pt x="4" y="295"/>
                            <a:pt x="22" y="318"/>
                            <a:pt x="18" y="344"/>
                          </a:cubicBezTo>
                          <a:cubicBezTo>
                            <a:pt x="2" y="306"/>
                            <a:pt x="1" y="253"/>
                            <a:pt x="1" y="212"/>
                          </a:cubicBezTo>
                          <a:cubicBezTo>
                            <a:pt x="0" y="180"/>
                            <a:pt x="16" y="132"/>
                            <a:pt x="37" y="108"/>
                          </a:cubicBezTo>
                          <a:cubicBezTo>
                            <a:pt x="37" y="113"/>
                            <a:pt x="40" y="117"/>
                            <a:pt x="40" y="123"/>
                          </a:cubicBezTo>
                          <a:cubicBezTo>
                            <a:pt x="46" y="113"/>
                            <a:pt x="50" y="96"/>
                            <a:pt x="57" y="86"/>
                          </a:cubicBezTo>
                          <a:cubicBezTo>
                            <a:pt x="66" y="73"/>
                            <a:pt x="76" y="63"/>
                            <a:pt x="84" y="50"/>
                          </a:cubicBezTo>
                          <a:cubicBezTo>
                            <a:pt x="94" y="34"/>
                            <a:pt x="102" y="25"/>
                            <a:pt x="118" y="16"/>
                          </a:cubicBezTo>
                          <a:cubicBezTo>
                            <a:pt x="129" y="9"/>
                            <a:pt x="144" y="8"/>
                            <a:pt x="156" y="0"/>
                          </a:cubicBezTo>
                          <a:cubicBezTo>
                            <a:pt x="129" y="36"/>
                            <a:pt x="96" y="70"/>
                            <a:pt x="77" y="107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2" name="Freeform 317"/>
                    <p:cNvSpPr>
                      <a:spLocks/>
                    </p:cNvSpPr>
                    <p:nvPr/>
                  </p:nvSpPr>
                  <p:spPr bwMode="gray">
                    <a:xfrm>
                      <a:off x="-1208088" y="6396038"/>
                      <a:ext cx="584200" cy="2230438"/>
                    </a:xfrm>
                    <a:custGeom>
                      <a:avLst/>
                      <a:gdLst/>
                      <a:ahLst/>
                      <a:cxnLst>
                        <a:cxn ang="0">
                          <a:pos x="98" y="68"/>
                        </a:cxn>
                        <a:cxn ang="0">
                          <a:pos x="66" y="108"/>
                        </a:cxn>
                        <a:cxn ang="0">
                          <a:pos x="55" y="169"/>
                        </a:cxn>
                        <a:cxn ang="0">
                          <a:pos x="75" y="304"/>
                        </a:cxn>
                        <a:cxn ang="0">
                          <a:pos x="107" y="414"/>
                        </a:cxn>
                        <a:cxn ang="0">
                          <a:pos x="116" y="472"/>
                        </a:cxn>
                        <a:cxn ang="0">
                          <a:pos x="108" y="530"/>
                        </a:cxn>
                        <a:cxn ang="0">
                          <a:pos x="119" y="561"/>
                        </a:cxn>
                        <a:cxn ang="0">
                          <a:pos x="123" y="595"/>
                        </a:cxn>
                        <a:cxn ang="0">
                          <a:pos x="66" y="384"/>
                        </a:cxn>
                        <a:cxn ang="0">
                          <a:pos x="47" y="296"/>
                        </a:cxn>
                        <a:cxn ang="0">
                          <a:pos x="41" y="197"/>
                        </a:cxn>
                        <a:cxn ang="0">
                          <a:pos x="8" y="267"/>
                        </a:cxn>
                        <a:cxn ang="0">
                          <a:pos x="18" y="344"/>
                        </a:cxn>
                        <a:cxn ang="0">
                          <a:pos x="1" y="212"/>
                        </a:cxn>
                        <a:cxn ang="0">
                          <a:pos x="37" y="108"/>
                        </a:cxn>
                        <a:cxn ang="0">
                          <a:pos x="40" y="123"/>
                        </a:cxn>
                        <a:cxn ang="0">
                          <a:pos x="57" y="86"/>
                        </a:cxn>
                        <a:cxn ang="0">
                          <a:pos x="84" y="50"/>
                        </a:cxn>
                        <a:cxn ang="0">
                          <a:pos x="118" y="16"/>
                        </a:cxn>
                        <a:cxn ang="0">
                          <a:pos x="156" y="0"/>
                        </a:cxn>
                        <a:cxn ang="0">
                          <a:pos x="77" y="107"/>
                        </a:cxn>
                      </a:cxnLst>
                      <a:rect l="0" t="0" r="r" b="b"/>
                      <a:pathLst>
                        <a:path w="156" h="595">
                          <a:moveTo>
                            <a:pt x="98" y="68"/>
                          </a:moveTo>
                          <a:cubicBezTo>
                            <a:pt x="93" y="84"/>
                            <a:pt x="74" y="93"/>
                            <a:pt x="66" y="108"/>
                          </a:cubicBezTo>
                          <a:cubicBezTo>
                            <a:pt x="54" y="127"/>
                            <a:pt x="54" y="147"/>
                            <a:pt x="55" y="169"/>
                          </a:cubicBezTo>
                          <a:cubicBezTo>
                            <a:pt x="57" y="215"/>
                            <a:pt x="72" y="259"/>
                            <a:pt x="75" y="304"/>
                          </a:cubicBezTo>
                          <a:cubicBezTo>
                            <a:pt x="77" y="343"/>
                            <a:pt x="94" y="379"/>
                            <a:pt x="107" y="414"/>
                          </a:cubicBezTo>
                          <a:cubicBezTo>
                            <a:pt x="113" y="431"/>
                            <a:pt x="118" y="452"/>
                            <a:pt x="116" y="472"/>
                          </a:cubicBezTo>
                          <a:cubicBezTo>
                            <a:pt x="113" y="491"/>
                            <a:pt x="104" y="509"/>
                            <a:pt x="108" y="530"/>
                          </a:cubicBezTo>
                          <a:cubicBezTo>
                            <a:pt x="110" y="540"/>
                            <a:pt x="117" y="550"/>
                            <a:pt x="119" y="561"/>
                          </a:cubicBezTo>
                          <a:cubicBezTo>
                            <a:pt x="122" y="572"/>
                            <a:pt x="120" y="584"/>
                            <a:pt x="123" y="595"/>
                          </a:cubicBezTo>
                          <a:cubicBezTo>
                            <a:pt x="121" y="524"/>
                            <a:pt x="92" y="450"/>
                            <a:pt x="66" y="384"/>
                          </a:cubicBezTo>
                          <a:cubicBezTo>
                            <a:pt x="55" y="353"/>
                            <a:pt x="49" y="330"/>
                            <a:pt x="47" y="296"/>
                          </a:cubicBezTo>
                          <a:cubicBezTo>
                            <a:pt x="46" y="262"/>
                            <a:pt x="46" y="230"/>
                            <a:pt x="41" y="197"/>
                          </a:cubicBezTo>
                          <a:cubicBezTo>
                            <a:pt x="28" y="213"/>
                            <a:pt x="12" y="245"/>
                            <a:pt x="8" y="267"/>
                          </a:cubicBezTo>
                          <a:cubicBezTo>
                            <a:pt x="4" y="295"/>
                            <a:pt x="22" y="318"/>
                            <a:pt x="18" y="344"/>
                          </a:cubicBezTo>
                          <a:cubicBezTo>
                            <a:pt x="2" y="306"/>
                            <a:pt x="1" y="253"/>
                            <a:pt x="1" y="212"/>
                          </a:cubicBezTo>
                          <a:cubicBezTo>
                            <a:pt x="0" y="180"/>
                            <a:pt x="16" y="132"/>
                            <a:pt x="37" y="108"/>
                          </a:cubicBezTo>
                          <a:cubicBezTo>
                            <a:pt x="37" y="113"/>
                            <a:pt x="40" y="117"/>
                            <a:pt x="40" y="123"/>
                          </a:cubicBezTo>
                          <a:cubicBezTo>
                            <a:pt x="46" y="113"/>
                            <a:pt x="50" y="96"/>
                            <a:pt x="57" y="86"/>
                          </a:cubicBezTo>
                          <a:cubicBezTo>
                            <a:pt x="66" y="73"/>
                            <a:pt x="76" y="63"/>
                            <a:pt x="84" y="50"/>
                          </a:cubicBezTo>
                          <a:cubicBezTo>
                            <a:pt x="94" y="34"/>
                            <a:pt x="102" y="25"/>
                            <a:pt x="118" y="16"/>
                          </a:cubicBezTo>
                          <a:cubicBezTo>
                            <a:pt x="129" y="9"/>
                            <a:pt x="144" y="8"/>
                            <a:pt x="156" y="0"/>
                          </a:cubicBezTo>
                          <a:cubicBezTo>
                            <a:pt x="129" y="36"/>
                            <a:pt x="96" y="70"/>
                            <a:pt x="77" y="107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3" name="Freeform 318"/>
                    <p:cNvSpPr>
                      <a:spLocks/>
                    </p:cNvSpPr>
                    <p:nvPr/>
                  </p:nvSpPr>
                  <p:spPr bwMode="gray">
                    <a:xfrm>
                      <a:off x="-1841500" y="7648576"/>
                      <a:ext cx="730250" cy="11779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29"/>
                        </a:cxn>
                        <a:cxn ang="0">
                          <a:pos x="8" y="266"/>
                        </a:cxn>
                        <a:cxn ang="0">
                          <a:pos x="30" y="295"/>
                        </a:cxn>
                        <a:cxn ang="0">
                          <a:pos x="173" y="221"/>
                        </a:cxn>
                        <a:cxn ang="0">
                          <a:pos x="189" y="109"/>
                        </a:cxn>
                        <a:cxn ang="0">
                          <a:pos x="170" y="54"/>
                        </a:cxn>
                        <a:cxn ang="0">
                          <a:pos x="168" y="0"/>
                        </a:cxn>
                        <a:cxn ang="0">
                          <a:pos x="170" y="69"/>
                        </a:cxn>
                        <a:cxn ang="0">
                          <a:pos x="164" y="148"/>
                        </a:cxn>
                        <a:cxn ang="0">
                          <a:pos x="152" y="60"/>
                        </a:cxn>
                        <a:cxn ang="0">
                          <a:pos x="142" y="151"/>
                        </a:cxn>
                        <a:cxn ang="0">
                          <a:pos x="126" y="233"/>
                        </a:cxn>
                        <a:cxn ang="0">
                          <a:pos x="55" y="282"/>
                        </a:cxn>
                        <a:cxn ang="0">
                          <a:pos x="6" y="227"/>
                        </a:cxn>
                      </a:cxnLst>
                      <a:rect l="0" t="0" r="r" b="b"/>
                      <a:pathLst>
                        <a:path w="195" h="314">
                          <a:moveTo>
                            <a:pt x="0" y="229"/>
                          </a:moveTo>
                          <a:cubicBezTo>
                            <a:pt x="2" y="238"/>
                            <a:pt x="4" y="256"/>
                            <a:pt x="8" y="266"/>
                          </a:cubicBezTo>
                          <a:cubicBezTo>
                            <a:pt x="13" y="277"/>
                            <a:pt x="25" y="283"/>
                            <a:pt x="30" y="295"/>
                          </a:cubicBezTo>
                          <a:cubicBezTo>
                            <a:pt x="87" y="314"/>
                            <a:pt x="154" y="274"/>
                            <a:pt x="173" y="221"/>
                          </a:cubicBezTo>
                          <a:cubicBezTo>
                            <a:pt x="184" y="193"/>
                            <a:pt x="195" y="140"/>
                            <a:pt x="189" y="109"/>
                          </a:cubicBezTo>
                          <a:cubicBezTo>
                            <a:pt x="186" y="90"/>
                            <a:pt x="173" y="72"/>
                            <a:pt x="170" y="54"/>
                          </a:cubicBezTo>
                          <a:cubicBezTo>
                            <a:pt x="166" y="36"/>
                            <a:pt x="168" y="18"/>
                            <a:pt x="168" y="0"/>
                          </a:cubicBezTo>
                          <a:cubicBezTo>
                            <a:pt x="168" y="24"/>
                            <a:pt x="171" y="48"/>
                            <a:pt x="170" y="69"/>
                          </a:cubicBezTo>
                          <a:cubicBezTo>
                            <a:pt x="168" y="95"/>
                            <a:pt x="163" y="121"/>
                            <a:pt x="164" y="148"/>
                          </a:cubicBezTo>
                          <a:cubicBezTo>
                            <a:pt x="146" y="127"/>
                            <a:pt x="152" y="86"/>
                            <a:pt x="152" y="60"/>
                          </a:cubicBezTo>
                          <a:cubicBezTo>
                            <a:pt x="145" y="89"/>
                            <a:pt x="142" y="120"/>
                            <a:pt x="142" y="151"/>
                          </a:cubicBezTo>
                          <a:cubicBezTo>
                            <a:pt x="142" y="182"/>
                            <a:pt x="146" y="211"/>
                            <a:pt x="126" y="233"/>
                          </a:cubicBezTo>
                          <a:cubicBezTo>
                            <a:pt x="106" y="255"/>
                            <a:pt x="87" y="277"/>
                            <a:pt x="55" y="282"/>
                          </a:cubicBezTo>
                          <a:cubicBezTo>
                            <a:pt x="23" y="286"/>
                            <a:pt x="9" y="252"/>
                            <a:pt x="6" y="227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4" name="Freeform 319"/>
                    <p:cNvSpPr>
                      <a:spLocks/>
                    </p:cNvSpPr>
                    <p:nvPr/>
                  </p:nvSpPr>
                  <p:spPr bwMode="gray">
                    <a:xfrm>
                      <a:off x="-1841500" y="7648576"/>
                      <a:ext cx="730250" cy="11779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29"/>
                        </a:cxn>
                        <a:cxn ang="0">
                          <a:pos x="8" y="266"/>
                        </a:cxn>
                        <a:cxn ang="0">
                          <a:pos x="30" y="295"/>
                        </a:cxn>
                        <a:cxn ang="0">
                          <a:pos x="173" y="221"/>
                        </a:cxn>
                        <a:cxn ang="0">
                          <a:pos x="189" y="109"/>
                        </a:cxn>
                        <a:cxn ang="0">
                          <a:pos x="170" y="54"/>
                        </a:cxn>
                        <a:cxn ang="0">
                          <a:pos x="168" y="0"/>
                        </a:cxn>
                        <a:cxn ang="0">
                          <a:pos x="170" y="69"/>
                        </a:cxn>
                        <a:cxn ang="0">
                          <a:pos x="164" y="148"/>
                        </a:cxn>
                        <a:cxn ang="0">
                          <a:pos x="152" y="60"/>
                        </a:cxn>
                        <a:cxn ang="0">
                          <a:pos x="142" y="151"/>
                        </a:cxn>
                        <a:cxn ang="0">
                          <a:pos x="126" y="233"/>
                        </a:cxn>
                        <a:cxn ang="0">
                          <a:pos x="55" y="282"/>
                        </a:cxn>
                        <a:cxn ang="0">
                          <a:pos x="6" y="227"/>
                        </a:cxn>
                      </a:cxnLst>
                      <a:rect l="0" t="0" r="r" b="b"/>
                      <a:pathLst>
                        <a:path w="195" h="314">
                          <a:moveTo>
                            <a:pt x="0" y="229"/>
                          </a:moveTo>
                          <a:cubicBezTo>
                            <a:pt x="2" y="238"/>
                            <a:pt x="4" y="256"/>
                            <a:pt x="8" y="266"/>
                          </a:cubicBezTo>
                          <a:cubicBezTo>
                            <a:pt x="13" y="277"/>
                            <a:pt x="25" y="283"/>
                            <a:pt x="30" y="295"/>
                          </a:cubicBezTo>
                          <a:cubicBezTo>
                            <a:pt x="87" y="314"/>
                            <a:pt x="154" y="274"/>
                            <a:pt x="173" y="221"/>
                          </a:cubicBezTo>
                          <a:cubicBezTo>
                            <a:pt x="184" y="193"/>
                            <a:pt x="195" y="140"/>
                            <a:pt x="189" y="109"/>
                          </a:cubicBezTo>
                          <a:cubicBezTo>
                            <a:pt x="186" y="90"/>
                            <a:pt x="173" y="72"/>
                            <a:pt x="170" y="54"/>
                          </a:cubicBezTo>
                          <a:cubicBezTo>
                            <a:pt x="166" y="36"/>
                            <a:pt x="168" y="18"/>
                            <a:pt x="168" y="0"/>
                          </a:cubicBezTo>
                          <a:cubicBezTo>
                            <a:pt x="168" y="24"/>
                            <a:pt x="171" y="48"/>
                            <a:pt x="170" y="69"/>
                          </a:cubicBezTo>
                          <a:cubicBezTo>
                            <a:pt x="168" y="95"/>
                            <a:pt x="163" y="121"/>
                            <a:pt x="164" y="148"/>
                          </a:cubicBezTo>
                          <a:cubicBezTo>
                            <a:pt x="146" y="127"/>
                            <a:pt x="152" y="86"/>
                            <a:pt x="152" y="60"/>
                          </a:cubicBezTo>
                          <a:cubicBezTo>
                            <a:pt x="145" y="89"/>
                            <a:pt x="142" y="120"/>
                            <a:pt x="142" y="151"/>
                          </a:cubicBezTo>
                          <a:cubicBezTo>
                            <a:pt x="142" y="182"/>
                            <a:pt x="146" y="211"/>
                            <a:pt x="126" y="233"/>
                          </a:cubicBezTo>
                          <a:cubicBezTo>
                            <a:pt x="106" y="255"/>
                            <a:pt x="87" y="277"/>
                            <a:pt x="55" y="282"/>
                          </a:cubicBezTo>
                          <a:cubicBezTo>
                            <a:pt x="23" y="286"/>
                            <a:pt x="9" y="252"/>
                            <a:pt x="6" y="227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5" name="Freeform 320"/>
                    <p:cNvSpPr>
                      <a:spLocks/>
                    </p:cNvSpPr>
                    <p:nvPr/>
                  </p:nvSpPr>
                  <p:spPr bwMode="gray">
                    <a:xfrm>
                      <a:off x="-2127250" y="8799513"/>
                      <a:ext cx="446088" cy="1841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"/>
                        </a:cxn>
                        <a:cxn ang="0">
                          <a:pos x="0" y="17"/>
                        </a:cxn>
                        <a:cxn ang="0">
                          <a:pos x="119" y="2"/>
                        </a:cxn>
                        <a:cxn ang="0">
                          <a:pos x="59" y="23"/>
                        </a:cxn>
                        <a:cxn ang="0">
                          <a:pos x="0" y="6"/>
                        </a:cxn>
                      </a:cxnLst>
                      <a:rect l="0" t="0" r="r" b="b"/>
                      <a:pathLst>
                        <a:path w="119" h="49">
                          <a:moveTo>
                            <a:pt x="0" y="10"/>
                          </a:moveTo>
                          <a:cubicBezTo>
                            <a:pt x="0" y="12"/>
                            <a:pt x="0" y="15"/>
                            <a:pt x="0" y="17"/>
                          </a:cubicBezTo>
                          <a:cubicBezTo>
                            <a:pt x="40" y="33"/>
                            <a:pt x="93" y="49"/>
                            <a:pt x="119" y="2"/>
                          </a:cubicBezTo>
                          <a:cubicBezTo>
                            <a:pt x="91" y="0"/>
                            <a:pt x="82" y="16"/>
                            <a:pt x="59" y="23"/>
                          </a:cubicBezTo>
                          <a:cubicBezTo>
                            <a:pt x="29" y="33"/>
                            <a:pt x="26" y="6"/>
                            <a:pt x="0" y="6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6" name="Freeform 321"/>
                    <p:cNvSpPr>
                      <a:spLocks/>
                    </p:cNvSpPr>
                    <p:nvPr/>
                  </p:nvSpPr>
                  <p:spPr bwMode="gray">
                    <a:xfrm>
                      <a:off x="-2127250" y="8799513"/>
                      <a:ext cx="446088" cy="1841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"/>
                        </a:cxn>
                        <a:cxn ang="0">
                          <a:pos x="0" y="17"/>
                        </a:cxn>
                        <a:cxn ang="0">
                          <a:pos x="119" y="2"/>
                        </a:cxn>
                        <a:cxn ang="0">
                          <a:pos x="59" y="23"/>
                        </a:cxn>
                        <a:cxn ang="0">
                          <a:pos x="0" y="6"/>
                        </a:cxn>
                      </a:cxnLst>
                      <a:rect l="0" t="0" r="r" b="b"/>
                      <a:pathLst>
                        <a:path w="119" h="49">
                          <a:moveTo>
                            <a:pt x="0" y="10"/>
                          </a:moveTo>
                          <a:cubicBezTo>
                            <a:pt x="0" y="12"/>
                            <a:pt x="0" y="15"/>
                            <a:pt x="0" y="17"/>
                          </a:cubicBezTo>
                          <a:cubicBezTo>
                            <a:pt x="40" y="33"/>
                            <a:pt x="93" y="49"/>
                            <a:pt x="119" y="2"/>
                          </a:cubicBezTo>
                          <a:cubicBezTo>
                            <a:pt x="91" y="0"/>
                            <a:pt x="82" y="16"/>
                            <a:pt x="59" y="23"/>
                          </a:cubicBezTo>
                          <a:cubicBezTo>
                            <a:pt x="29" y="33"/>
                            <a:pt x="26" y="6"/>
                            <a:pt x="0" y="6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7" name="Freeform 322"/>
                    <p:cNvSpPr>
                      <a:spLocks/>
                    </p:cNvSpPr>
                    <p:nvPr/>
                  </p:nvSpPr>
                  <p:spPr bwMode="gray">
                    <a:xfrm>
                      <a:off x="-1103313" y="8147051"/>
                      <a:ext cx="173038" cy="558800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149"/>
                        </a:cxn>
                        <a:cxn ang="0">
                          <a:pos x="31" y="0"/>
                        </a:cxn>
                        <a:cxn ang="0">
                          <a:pos x="43" y="90"/>
                        </a:cxn>
                        <a:cxn ang="0">
                          <a:pos x="0" y="149"/>
                        </a:cxn>
                      </a:cxnLst>
                      <a:rect l="0" t="0" r="r" b="b"/>
                      <a:pathLst>
                        <a:path w="46" h="149">
                          <a:moveTo>
                            <a:pt x="2" y="149"/>
                          </a:moveTo>
                          <a:cubicBezTo>
                            <a:pt x="44" y="125"/>
                            <a:pt x="31" y="38"/>
                            <a:pt x="31" y="0"/>
                          </a:cubicBezTo>
                          <a:cubicBezTo>
                            <a:pt x="30" y="32"/>
                            <a:pt x="41" y="59"/>
                            <a:pt x="43" y="90"/>
                          </a:cubicBezTo>
                          <a:cubicBezTo>
                            <a:pt x="46" y="121"/>
                            <a:pt x="26" y="137"/>
                            <a:pt x="0" y="149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8" name="Freeform 323"/>
                    <p:cNvSpPr>
                      <a:spLocks/>
                    </p:cNvSpPr>
                    <p:nvPr/>
                  </p:nvSpPr>
                  <p:spPr bwMode="gray">
                    <a:xfrm>
                      <a:off x="-1103313" y="8147051"/>
                      <a:ext cx="173038" cy="558800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149"/>
                        </a:cxn>
                        <a:cxn ang="0">
                          <a:pos x="31" y="0"/>
                        </a:cxn>
                        <a:cxn ang="0">
                          <a:pos x="43" y="90"/>
                        </a:cxn>
                        <a:cxn ang="0">
                          <a:pos x="0" y="149"/>
                        </a:cxn>
                      </a:cxnLst>
                      <a:rect l="0" t="0" r="r" b="b"/>
                      <a:pathLst>
                        <a:path w="46" h="149">
                          <a:moveTo>
                            <a:pt x="2" y="149"/>
                          </a:moveTo>
                          <a:cubicBezTo>
                            <a:pt x="44" y="125"/>
                            <a:pt x="31" y="38"/>
                            <a:pt x="31" y="0"/>
                          </a:cubicBezTo>
                          <a:cubicBezTo>
                            <a:pt x="30" y="32"/>
                            <a:pt x="41" y="59"/>
                            <a:pt x="43" y="90"/>
                          </a:cubicBezTo>
                          <a:cubicBezTo>
                            <a:pt x="46" y="121"/>
                            <a:pt x="26" y="137"/>
                            <a:pt x="0" y="149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19" name="Freeform 324"/>
                    <p:cNvSpPr>
                      <a:spLocks/>
                    </p:cNvSpPr>
                    <p:nvPr/>
                  </p:nvSpPr>
                  <p:spPr bwMode="gray">
                    <a:xfrm>
                      <a:off x="-847725" y="8450263"/>
                      <a:ext cx="52388" cy="266700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58"/>
                        </a:cxn>
                        <a:cxn ang="0">
                          <a:pos x="4" y="0"/>
                        </a:cxn>
                        <a:cxn ang="0">
                          <a:pos x="2" y="71"/>
                        </a:cxn>
                        <a:cxn ang="0">
                          <a:pos x="8" y="60"/>
                        </a:cxn>
                      </a:cxnLst>
                      <a:rect l="0" t="0" r="r" b="b"/>
                      <a:pathLst>
                        <a:path w="14" h="71">
                          <a:moveTo>
                            <a:pt x="14" y="58"/>
                          </a:moveTo>
                          <a:cubicBezTo>
                            <a:pt x="14" y="40"/>
                            <a:pt x="13" y="15"/>
                            <a:pt x="4" y="0"/>
                          </a:cubicBezTo>
                          <a:cubicBezTo>
                            <a:pt x="4" y="24"/>
                            <a:pt x="0" y="48"/>
                            <a:pt x="2" y="71"/>
                          </a:cubicBezTo>
                          <a:cubicBezTo>
                            <a:pt x="3" y="65"/>
                            <a:pt x="5" y="65"/>
                            <a:pt x="8" y="60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0" name="Freeform 325"/>
                    <p:cNvSpPr>
                      <a:spLocks/>
                    </p:cNvSpPr>
                    <p:nvPr/>
                  </p:nvSpPr>
                  <p:spPr bwMode="gray">
                    <a:xfrm>
                      <a:off x="-847725" y="8450263"/>
                      <a:ext cx="52388" cy="266700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58"/>
                        </a:cxn>
                        <a:cxn ang="0">
                          <a:pos x="4" y="0"/>
                        </a:cxn>
                        <a:cxn ang="0">
                          <a:pos x="2" y="71"/>
                        </a:cxn>
                        <a:cxn ang="0">
                          <a:pos x="8" y="60"/>
                        </a:cxn>
                      </a:cxnLst>
                      <a:rect l="0" t="0" r="r" b="b"/>
                      <a:pathLst>
                        <a:path w="14" h="71">
                          <a:moveTo>
                            <a:pt x="14" y="58"/>
                          </a:moveTo>
                          <a:cubicBezTo>
                            <a:pt x="14" y="40"/>
                            <a:pt x="13" y="15"/>
                            <a:pt x="4" y="0"/>
                          </a:cubicBezTo>
                          <a:cubicBezTo>
                            <a:pt x="4" y="24"/>
                            <a:pt x="0" y="48"/>
                            <a:pt x="2" y="71"/>
                          </a:cubicBezTo>
                          <a:cubicBezTo>
                            <a:pt x="3" y="65"/>
                            <a:pt x="5" y="65"/>
                            <a:pt x="8" y="60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1" name="Freeform 326"/>
                    <p:cNvSpPr>
                      <a:spLocks/>
                    </p:cNvSpPr>
                    <p:nvPr/>
                  </p:nvSpPr>
                  <p:spPr bwMode="gray">
                    <a:xfrm>
                      <a:off x="576262" y="7712076"/>
                      <a:ext cx="352425" cy="105727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06"/>
                        </a:cxn>
                        <a:cxn ang="0">
                          <a:pos x="45" y="119"/>
                        </a:cxn>
                        <a:cxn ang="0">
                          <a:pos x="68" y="62"/>
                        </a:cxn>
                        <a:cxn ang="0">
                          <a:pos x="92" y="0"/>
                        </a:cxn>
                        <a:cxn ang="0">
                          <a:pos x="64" y="91"/>
                        </a:cxn>
                        <a:cxn ang="0">
                          <a:pos x="45" y="173"/>
                        </a:cxn>
                        <a:cxn ang="0">
                          <a:pos x="51" y="239"/>
                        </a:cxn>
                        <a:cxn ang="0">
                          <a:pos x="83" y="282"/>
                        </a:cxn>
                        <a:cxn ang="0">
                          <a:pos x="45" y="247"/>
                        </a:cxn>
                        <a:cxn ang="0">
                          <a:pos x="0" y="212"/>
                        </a:cxn>
                      </a:cxnLst>
                      <a:rect l="0" t="0" r="r" b="b"/>
                      <a:pathLst>
                        <a:path w="94" h="282">
                          <a:moveTo>
                            <a:pt x="2" y="206"/>
                          </a:moveTo>
                          <a:cubicBezTo>
                            <a:pt x="16" y="177"/>
                            <a:pt x="32" y="149"/>
                            <a:pt x="45" y="119"/>
                          </a:cubicBezTo>
                          <a:cubicBezTo>
                            <a:pt x="53" y="101"/>
                            <a:pt x="60" y="81"/>
                            <a:pt x="68" y="62"/>
                          </a:cubicBezTo>
                          <a:cubicBezTo>
                            <a:pt x="76" y="43"/>
                            <a:pt x="90" y="21"/>
                            <a:pt x="92" y="0"/>
                          </a:cubicBezTo>
                          <a:cubicBezTo>
                            <a:pt x="94" y="35"/>
                            <a:pt x="76" y="61"/>
                            <a:pt x="64" y="91"/>
                          </a:cubicBezTo>
                          <a:cubicBezTo>
                            <a:pt x="54" y="118"/>
                            <a:pt x="48" y="146"/>
                            <a:pt x="45" y="173"/>
                          </a:cubicBezTo>
                          <a:cubicBezTo>
                            <a:pt x="43" y="195"/>
                            <a:pt x="38" y="221"/>
                            <a:pt x="51" y="239"/>
                          </a:cubicBezTo>
                          <a:cubicBezTo>
                            <a:pt x="61" y="253"/>
                            <a:pt x="79" y="265"/>
                            <a:pt x="83" y="282"/>
                          </a:cubicBezTo>
                          <a:cubicBezTo>
                            <a:pt x="70" y="271"/>
                            <a:pt x="59" y="258"/>
                            <a:pt x="45" y="247"/>
                          </a:cubicBezTo>
                          <a:cubicBezTo>
                            <a:pt x="32" y="237"/>
                            <a:pt x="10" y="225"/>
                            <a:pt x="0" y="212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2" name="Freeform 327"/>
                    <p:cNvSpPr>
                      <a:spLocks/>
                    </p:cNvSpPr>
                    <p:nvPr/>
                  </p:nvSpPr>
                  <p:spPr bwMode="gray">
                    <a:xfrm>
                      <a:off x="576262" y="7712076"/>
                      <a:ext cx="352425" cy="105727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06"/>
                        </a:cxn>
                        <a:cxn ang="0">
                          <a:pos x="45" y="119"/>
                        </a:cxn>
                        <a:cxn ang="0">
                          <a:pos x="68" y="62"/>
                        </a:cxn>
                        <a:cxn ang="0">
                          <a:pos x="92" y="0"/>
                        </a:cxn>
                        <a:cxn ang="0">
                          <a:pos x="64" y="91"/>
                        </a:cxn>
                        <a:cxn ang="0">
                          <a:pos x="45" y="173"/>
                        </a:cxn>
                        <a:cxn ang="0">
                          <a:pos x="51" y="239"/>
                        </a:cxn>
                        <a:cxn ang="0">
                          <a:pos x="83" y="282"/>
                        </a:cxn>
                        <a:cxn ang="0">
                          <a:pos x="45" y="247"/>
                        </a:cxn>
                        <a:cxn ang="0">
                          <a:pos x="0" y="212"/>
                        </a:cxn>
                      </a:cxnLst>
                      <a:rect l="0" t="0" r="r" b="b"/>
                      <a:pathLst>
                        <a:path w="94" h="282">
                          <a:moveTo>
                            <a:pt x="2" y="206"/>
                          </a:moveTo>
                          <a:cubicBezTo>
                            <a:pt x="16" y="177"/>
                            <a:pt x="32" y="149"/>
                            <a:pt x="45" y="119"/>
                          </a:cubicBezTo>
                          <a:cubicBezTo>
                            <a:pt x="53" y="101"/>
                            <a:pt x="60" y="81"/>
                            <a:pt x="68" y="62"/>
                          </a:cubicBezTo>
                          <a:cubicBezTo>
                            <a:pt x="76" y="43"/>
                            <a:pt x="90" y="21"/>
                            <a:pt x="92" y="0"/>
                          </a:cubicBezTo>
                          <a:cubicBezTo>
                            <a:pt x="94" y="35"/>
                            <a:pt x="76" y="61"/>
                            <a:pt x="64" y="91"/>
                          </a:cubicBezTo>
                          <a:cubicBezTo>
                            <a:pt x="54" y="118"/>
                            <a:pt x="48" y="146"/>
                            <a:pt x="45" y="173"/>
                          </a:cubicBezTo>
                          <a:cubicBezTo>
                            <a:pt x="43" y="195"/>
                            <a:pt x="38" y="221"/>
                            <a:pt x="51" y="239"/>
                          </a:cubicBezTo>
                          <a:cubicBezTo>
                            <a:pt x="61" y="253"/>
                            <a:pt x="79" y="265"/>
                            <a:pt x="83" y="282"/>
                          </a:cubicBezTo>
                          <a:cubicBezTo>
                            <a:pt x="70" y="271"/>
                            <a:pt x="59" y="258"/>
                            <a:pt x="45" y="247"/>
                          </a:cubicBezTo>
                          <a:cubicBezTo>
                            <a:pt x="32" y="237"/>
                            <a:pt x="10" y="225"/>
                            <a:pt x="0" y="212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3" name="Freeform 328"/>
                    <p:cNvSpPr>
                      <a:spLocks/>
                    </p:cNvSpPr>
                    <p:nvPr/>
                  </p:nvSpPr>
                  <p:spPr bwMode="gray">
                    <a:xfrm>
                      <a:off x="1090612" y="8821738"/>
                      <a:ext cx="385763" cy="131763"/>
                    </a:xfrm>
                    <a:custGeom>
                      <a:avLst/>
                      <a:gdLst/>
                      <a:ahLst/>
                      <a:cxnLst>
                        <a:cxn ang="0">
                          <a:pos x="58" y="31"/>
                        </a:cxn>
                        <a:cxn ang="0">
                          <a:pos x="0" y="0"/>
                        </a:cxn>
                        <a:cxn ang="0">
                          <a:pos x="103" y="1"/>
                        </a:cxn>
                        <a:cxn ang="0">
                          <a:pos x="54" y="35"/>
                        </a:cxn>
                      </a:cxnLst>
                      <a:rect l="0" t="0" r="r" b="b"/>
                      <a:pathLst>
                        <a:path w="103" h="35">
                          <a:moveTo>
                            <a:pt x="58" y="31"/>
                          </a:moveTo>
                          <a:cubicBezTo>
                            <a:pt x="43" y="30"/>
                            <a:pt x="9" y="15"/>
                            <a:pt x="0" y="0"/>
                          </a:cubicBezTo>
                          <a:cubicBezTo>
                            <a:pt x="33" y="15"/>
                            <a:pt x="71" y="24"/>
                            <a:pt x="103" y="1"/>
                          </a:cubicBezTo>
                          <a:cubicBezTo>
                            <a:pt x="100" y="13"/>
                            <a:pt x="67" y="35"/>
                            <a:pt x="54" y="35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4" name="Freeform 329"/>
                    <p:cNvSpPr>
                      <a:spLocks/>
                    </p:cNvSpPr>
                    <p:nvPr/>
                  </p:nvSpPr>
                  <p:spPr bwMode="gray">
                    <a:xfrm>
                      <a:off x="1090612" y="8821738"/>
                      <a:ext cx="385763" cy="131763"/>
                    </a:xfrm>
                    <a:custGeom>
                      <a:avLst/>
                      <a:gdLst/>
                      <a:ahLst/>
                      <a:cxnLst>
                        <a:cxn ang="0">
                          <a:pos x="58" y="31"/>
                        </a:cxn>
                        <a:cxn ang="0">
                          <a:pos x="0" y="0"/>
                        </a:cxn>
                        <a:cxn ang="0">
                          <a:pos x="103" y="1"/>
                        </a:cxn>
                        <a:cxn ang="0">
                          <a:pos x="54" y="35"/>
                        </a:cxn>
                      </a:cxnLst>
                      <a:rect l="0" t="0" r="r" b="b"/>
                      <a:pathLst>
                        <a:path w="103" h="35">
                          <a:moveTo>
                            <a:pt x="58" y="31"/>
                          </a:moveTo>
                          <a:cubicBezTo>
                            <a:pt x="43" y="30"/>
                            <a:pt x="9" y="15"/>
                            <a:pt x="0" y="0"/>
                          </a:cubicBezTo>
                          <a:cubicBezTo>
                            <a:pt x="33" y="15"/>
                            <a:pt x="71" y="24"/>
                            <a:pt x="103" y="1"/>
                          </a:cubicBezTo>
                          <a:cubicBezTo>
                            <a:pt x="100" y="13"/>
                            <a:pt x="67" y="35"/>
                            <a:pt x="54" y="35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5" name="Freeform 330"/>
                    <p:cNvSpPr>
                      <a:spLocks/>
                    </p:cNvSpPr>
                    <p:nvPr/>
                  </p:nvSpPr>
                  <p:spPr bwMode="gray">
                    <a:xfrm>
                      <a:off x="-431800" y="6511926"/>
                      <a:ext cx="641350" cy="63817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"/>
                        </a:cxn>
                        <a:cxn ang="0">
                          <a:pos x="45" y="1"/>
                        </a:cxn>
                        <a:cxn ang="0">
                          <a:pos x="96" y="95"/>
                        </a:cxn>
                        <a:cxn ang="0">
                          <a:pos x="171" y="160"/>
                        </a:cxn>
                        <a:cxn ang="0">
                          <a:pos x="105" y="152"/>
                        </a:cxn>
                        <a:cxn ang="0">
                          <a:pos x="78" y="94"/>
                        </a:cxn>
                        <a:cxn ang="0">
                          <a:pos x="0" y="4"/>
                        </a:cxn>
                      </a:cxnLst>
                      <a:rect l="0" t="0" r="r" b="b"/>
                      <a:pathLst>
                        <a:path w="171" h="170">
                          <a:moveTo>
                            <a:pt x="2" y="2"/>
                          </a:moveTo>
                          <a:cubicBezTo>
                            <a:pt x="16" y="2"/>
                            <a:pt x="30" y="0"/>
                            <a:pt x="45" y="1"/>
                          </a:cubicBezTo>
                          <a:cubicBezTo>
                            <a:pt x="65" y="33"/>
                            <a:pt x="86" y="58"/>
                            <a:pt x="96" y="95"/>
                          </a:cubicBezTo>
                          <a:cubicBezTo>
                            <a:pt x="108" y="139"/>
                            <a:pt x="121" y="160"/>
                            <a:pt x="171" y="160"/>
                          </a:cubicBezTo>
                          <a:cubicBezTo>
                            <a:pt x="146" y="163"/>
                            <a:pt x="122" y="170"/>
                            <a:pt x="105" y="152"/>
                          </a:cubicBezTo>
                          <a:cubicBezTo>
                            <a:pt x="90" y="136"/>
                            <a:pt x="86" y="114"/>
                            <a:pt x="78" y="94"/>
                          </a:cubicBezTo>
                          <a:cubicBezTo>
                            <a:pt x="65" y="60"/>
                            <a:pt x="48" y="2"/>
                            <a:pt x="0" y="4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6" name="Freeform 331"/>
                    <p:cNvSpPr>
                      <a:spLocks/>
                    </p:cNvSpPr>
                    <p:nvPr/>
                  </p:nvSpPr>
                  <p:spPr bwMode="gray">
                    <a:xfrm>
                      <a:off x="-431800" y="6511926"/>
                      <a:ext cx="641350" cy="63817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"/>
                        </a:cxn>
                        <a:cxn ang="0">
                          <a:pos x="45" y="1"/>
                        </a:cxn>
                        <a:cxn ang="0">
                          <a:pos x="96" y="95"/>
                        </a:cxn>
                        <a:cxn ang="0">
                          <a:pos x="171" y="160"/>
                        </a:cxn>
                        <a:cxn ang="0">
                          <a:pos x="105" y="152"/>
                        </a:cxn>
                        <a:cxn ang="0">
                          <a:pos x="78" y="94"/>
                        </a:cxn>
                        <a:cxn ang="0">
                          <a:pos x="0" y="4"/>
                        </a:cxn>
                      </a:cxnLst>
                      <a:rect l="0" t="0" r="r" b="b"/>
                      <a:pathLst>
                        <a:path w="171" h="170">
                          <a:moveTo>
                            <a:pt x="2" y="2"/>
                          </a:moveTo>
                          <a:cubicBezTo>
                            <a:pt x="16" y="2"/>
                            <a:pt x="30" y="0"/>
                            <a:pt x="45" y="1"/>
                          </a:cubicBezTo>
                          <a:cubicBezTo>
                            <a:pt x="65" y="33"/>
                            <a:pt x="86" y="58"/>
                            <a:pt x="96" y="95"/>
                          </a:cubicBezTo>
                          <a:cubicBezTo>
                            <a:pt x="108" y="139"/>
                            <a:pt x="121" y="160"/>
                            <a:pt x="171" y="160"/>
                          </a:cubicBezTo>
                          <a:cubicBezTo>
                            <a:pt x="146" y="163"/>
                            <a:pt x="122" y="170"/>
                            <a:pt x="105" y="152"/>
                          </a:cubicBezTo>
                          <a:cubicBezTo>
                            <a:pt x="90" y="136"/>
                            <a:pt x="86" y="114"/>
                            <a:pt x="78" y="94"/>
                          </a:cubicBezTo>
                          <a:cubicBezTo>
                            <a:pt x="65" y="60"/>
                            <a:pt x="48" y="2"/>
                            <a:pt x="0" y="4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7" name="Freeform 332"/>
                    <p:cNvSpPr>
                      <a:spLocks/>
                    </p:cNvSpPr>
                    <p:nvPr/>
                  </p:nvSpPr>
                  <p:spPr bwMode="gray">
                    <a:xfrm>
                      <a:off x="411162" y="7108826"/>
                      <a:ext cx="285750" cy="944563"/>
                    </a:xfrm>
                    <a:custGeom>
                      <a:avLst/>
                      <a:gdLst/>
                      <a:ahLst/>
                      <a:cxnLst>
                        <a:cxn ang="0">
                          <a:pos x="18" y="22"/>
                        </a:cxn>
                        <a:cxn ang="0">
                          <a:pos x="38" y="8"/>
                        </a:cxn>
                        <a:cxn ang="0">
                          <a:pos x="56" y="33"/>
                        </a:cxn>
                        <a:cxn ang="0">
                          <a:pos x="71" y="121"/>
                        </a:cxn>
                        <a:cxn ang="0">
                          <a:pos x="1" y="252"/>
                        </a:cxn>
                        <a:cxn ang="0">
                          <a:pos x="23" y="193"/>
                        </a:cxn>
                        <a:cxn ang="0">
                          <a:pos x="44" y="134"/>
                        </a:cxn>
                        <a:cxn ang="0">
                          <a:pos x="47" y="67"/>
                        </a:cxn>
                        <a:cxn ang="0">
                          <a:pos x="20" y="24"/>
                        </a:cxn>
                      </a:cxnLst>
                      <a:rect l="0" t="0" r="r" b="b"/>
                      <a:pathLst>
                        <a:path w="76" h="252">
                          <a:moveTo>
                            <a:pt x="18" y="22"/>
                          </a:moveTo>
                          <a:cubicBezTo>
                            <a:pt x="24" y="10"/>
                            <a:pt x="23" y="0"/>
                            <a:pt x="38" y="8"/>
                          </a:cubicBezTo>
                          <a:cubicBezTo>
                            <a:pt x="46" y="11"/>
                            <a:pt x="52" y="26"/>
                            <a:pt x="56" y="33"/>
                          </a:cubicBezTo>
                          <a:cubicBezTo>
                            <a:pt x="68" y="57"/>
                            <a:pt x="76" y="94"/>
                            <a:pt x="71" y="121"/>
                          </a:cubicBezTo>
                          <a:cubicBezTo>
                            <a:pt x="63" y="165"/>
                            <a:pt x="27" y="216"/>
                            <a:pt x="1" y="252"/>
                          </a:cubicBezTo>
                          <a:cubicBezTo>
                            <a:pt x="0" y="233"/>
                            <a:pt x="17" y="209"/>
                            <a:pt x="23" y="193"/>
                          </a:cubicBezTo>
                          <a:cubicBezTo>
                            <a:pt x="30" y="174"/>
                            <a:pt x="39" y="154"/>
                            <a:pt x="44" y="134"/>
                          </a:cubicBezTo>
                          <a:cubicBezTo>
                            <a:pt x="50" y="112"/>
                            <a:pt x="49" y="90"/>
                            <a:pt x="47" y="67"/>
                          </a:cubicBezTo>
                          <a:cubicBezTo>
                            <a:pt x="45" y="44"/>
                            <a:pt x="36" y="37"/>
                            <a:pt x="20" y="24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8" name="Freeform 333"/>
                    <p:cNvSpPr>
                      <a:spLocks/>
                    </p:cNvSpPr>
                    <p:nvPr/>
                  </p:nvSpPr>
                  <p:spPr bwMode="gray">
                    <a:xfrm>
                      <a:off x="411162" y="7108826"/>
                      <a:ext cx="285750" cy="944563"/>
                    </a:xfrm>
                    <a:custGeom>
                      <a:avLst/>
                      <a:gdLst/>
                      <a:ahLst/>
                      <a:cxnLst>
                        <a:cxn ang="0">
                          <a:pos x="18" y="22"/>
                        </a:cxn>
                        <a:cxn ang="0">
                          <a:pos x="38" y="8"/>
                        </a:cxn>
                        <a:cxn ang="0">
                          <a:pos x="56" y="33"/>
                        </a:cxn>
                        <a:cxn ang="0">
                          <a:pos x="71" y="121"/>
                        </a:cxn>
                        <a:cxn ang="0">
                          <a:pos x="1" y="252"/>
                        </a:cxn>
                        <a:cxn ang="0">
                          <a:pos x="23" y="193"/>
                        </a:cxn>
                        <a:cxn ang="0">
                          <a:pos x="44" y="134"/>
                        </a:cxn>
                        <a:cxn ang="0">
                          <a:pos x="47" y="67"/>
                        </a:cxn>
                        <a:cxn ang="0">
                          <a:pos x="20" y="24"/>
                        </a:cxn>
                      </a:cxnLst>
                      <a:rect l="0" t="0" r="r" b="b"/>
                      <a:pathLst>
                        <a:path w="76" h="252">
                          <a:moveTo>
                            <a:pt x="18" y="22"/>
                          </a:moveTo>
                          <a:cubicBezTo>
                            <a:pt x="24" y="10"/>
                            <a:pt x="23" y="0"/>
                            <a:pt x="38" y="8"/>
                          </a:cubicBezTo>
                          <a:cubicBezTo>
                            <a:pt x="46" y="11"/>
                            <a:pt x="52" y="26"/>
                            <a:pt x="56" y="33"/>
                          </a:cubicBezTo>
                          <a:cubicBezTo>
                            <a:pt x="68" y="57"/>
                            <a:pt x="76" y="94"/>
                            <a:pt x="71" y="121"/>
                          </a:cubicBezTo>
                          <a:cubicBezTo>
                            <a:pt x="63" y="165"/>
                            <a:pt x="27" y="216"/>
                            <a:pt x="1" y="252"/>
                          </a:cubicBezTo>
                          <a:cubicBezTo>
                            <a:pt x="0" y="233"/>
                            <a:pt x="17" y="209"/>
                            <a:pt x="23" y="193"/>
                          </a:cubicBezTo>
                          <a:cubicBezTo>
                            <a:pt x="30" y="174"/>
                            <a:pt x="39" y="154"/>
                            <a:pt x="44" y="134"/>
                          </a:cubicBezTo>
                          <a:cubicBezTo>
                            <a:pt x="50" y="112"/>
                            <a:pt x="49" y="90"/>
                            <a:pt x="47" y="67"/>
                          </a:cubicBezTo>
                          <a:cubicBezTo>
                            <a:pt x="45" y="44"/>
                            <a:pt x="36" y="37"/>
                            <a:pt x="20" y="24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29" name="Freeform 334"/>
                    <p:cNvSpPr>
                      <a:spLocks/>
                    </p:cNvSpPr>
                    <p:nvPr/>
                  </p:nvSpPr>
                  <p:spPr bwMode="gray">
                    <a:xfrm>
                      <a:off x="-825500" y="5776913"/>
                      <a:ext cx="1600200" cy="690563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85"/>
                        </a:cxn>
                        <a:cxn ang="0">
                          <a:pos x="77" y="64"/>
                        </a:cxn>
                        <a:cxn ang="0">
                          <a:pos x="156" y="58"/>
                        </a:cxn>
                        <a:cxn ang="0">
                          <a:pos x="269" y="119"/>
                        </a:cxn>
                        <a:cxn ang="0">
                          <a:pos x="172" y="54"/>
                        </a:cxn>
                        <a:cxn ang="0">
                          <a:pos x="208" y="50"/>
                        </a:cxn>
                        <a:cxn ang="0">
                          <a:pos x="179" y="40"/>
                        </a:cxn>
                        <a:cxn ang="0">
                          <a:pos x="241" y="27"/>
                        </a:cxn>
                        <a:cxn ang="0">
                          <a:pos x="309" y="70"/>
                        </a:cxn>
                        <a:cxn ang="0">
                          <a:pos x="349" y="126"/>
                        </a:cxn>
                        <a:cxn ang="0">
                          <a:pos x="427" y="184"/>
                        </a:cxn>
                        <a:cxn ang="0">
                          <a:pos x="366" y="112"/>
                        </a:cxn>
                        <a:cxn ang="0">
                          <a:pos x="304" y="45"/>
                        </a:cxn>
                        <a:cxn ang="0">
                          <a:pos x="215" y="11"/>
                        </a:cxn>
                        <a:cxn ang="0">
                          <a:pos x="140" y="21"/>
                        </a:cxn>
                        <a:cxn ang="0">
                          <a:pos x="142" y="40"/>
                        </a:cxn>
                        <a:cxn ang="0">
                          <a:pos x="77" y="53"/>
                        </a:cxn>
                        <a:cxn ang="0">
                          <a:pos x="4" y="104"/>
                        </a:cxn>
                        <a:cxn ang="0">
                          <a:pos x="31" y="83"/>
                        </a:cxn>
                      </a:cxnLst>
                      <a:rect l="0" t="0" r="r" b="b"/>
                      <a:pathLst>
                        <a:path w="427" h="184">
                          <a:moveTo>
                            <a:pt x="23" y="85"/>
                          </a:moveTo>
                          <a:cubicBezTo>
                            <a:pt x="37" y="68"/>
                            <a:pt x="57" y="66"/>
                            <a:pt x="77" y="64"/>
                          </a:cubicBezTo>
                          <a:cubicBezTo>
                            <a:pt x="103" y="61"/>
                            <a:pt x="130" y="55"/>
                            <a:pt x="156" y="58"/>
                          </a:cubicBezTo>
                          <a:cubicBezTo>
                            <a:pt x="198" y="62"/>
                            <a:pt x="239" y="91"/>
                            <a:pt x="269" y="119"/>
                          </a:cubicBezTo>
                          <a:cubicBezTo>
                            <a:pt x="273" y="77"/>
                            <a:pt x="194" y="71"/>
                            <a:pt x="172" y="54"/>
                          </a:cubicBezTo>
                          <a:cubicBezTo>
                            <a:pt x="185" y="53"/>
                            <a:pt x="195" y="49"/>
                            <a:pt x="208" y="50"/>
                          </a:cubicBezTo>
                          <a:cubicBezTo>
                            <a:pt x="200" y="44"/>
                            <a:pt x="191" y="39"/>
                            <a:pt x="179" y="40"/>
                          </a:cubicBezTo>
                          <a:cubicBezTo>
                            <a:pt x="188" y="23"/>
                            <a:pt x="224" y="24"/>
                            <a:pt x="241" y="27"/>
                          </a:cubicBezTo>
                          <a:cubicBezTo>
                            <a:pt x="272" y="31"/>
                            <a:pt x="292" y="46"/>
                            <a:pt x="309" y="70"/>
                          </a:cubicBezTo>
                          <a:cubicBezTo>
                            <a:pt x="323" y="87"/>
                            <a:pt x="334" y="110"/>
                            <a:pt x="349" y="126"/>
                          </a:cubicBezTo>
                          <a:cubicBezTo>
                            <a:pt x="371" y="148"/>
                            <a:pt x="404" y="162"/>
                            <a:pt x="427" y="184"/>
                          </a:cubicBezTo>
                          <a:cubicBezTo>
                            <a:pt x="418" y="150"/>
                            <a:pt x="386" y="138"/>
                            <a:pt x="366" y="112"/>
                          </a:cubicBezTo>
                          <a:cubicBezTo>
                            <a:pt x="347" y="87"/>
                            <a:pt x="331" y="64"/>
                            <a:pt x="304" y="45"/>
                          </a:cubicBezTo>
                          <a:cubicBezTo>
                            <a:pt x="277" y="26"/>
                            <a:pt x="245" y="15"/>
                            <a:pt x="215" y="11"/>
                          </a:cubicBezTo>
                          <a:cubicBezTo>
                            <a:pt x="195" y="9"/>
                            <a:pt x="152" y="0"/>
                            <a:pt x="140" y="21"/>
                          </a:cubicBezTo>
                          <a:cubicBezTo>
                            <a:pt x="155" y="31"/>
                            <a:pt x="175" y="38"/>
                            <a:pt x="142" y="40"/>
                          </a:cubicBezTo>
                          <a:cubicBezTo>
                            <a:pt x="116" y="42"/>
                            <a:pt x="101" y="45"/>
                            <a:pt x="77" y="53"/>
                          </a:cubicBezTo>
                          <a:cubicBezTo>
                            <a:pt x="57" y="59"/>
                            <a:pt x="0" y="74"/>
                            <a:pt x="4" y="104"/>
                          </a:cubicBezTo>
                          <a:cubicBezTo>
                            <a:pt x="11" y="95"/>
                            <a:pt x="20" y="87"/>
                            <a:pt x="31" y="83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0" name="Freeform 335"/>
                    <p:cNvSpPr>
                      <a:spLocks/>
                    </p:cNvSpPr>
                    <p:nvPr/>
                  </p:nvSpPr>
                  <p:spPr bwMode="gray">
                    <a:xfrm>
                      <a:off x="-825500" y="5776913"/>
                      <a:ext cx="1600200" cy="690563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85"/>
                        </a:cxn>
                        <a:cxn ang="0">
                          <a:pos x="77" y="64"/>
                        </a:cxn>
                        <a:cxn ang="0">
                          <a:pos x="156" y="58"/>
                        </a:cxn>
                        <a:cxn ang="0">
                          <a:pos x="269" y="119"/>
                        </a:cxn>
                        <a:cxn ang="0">
                          <a:pos x="172" y="54"/>
                        </a:cxn>
                        <a:cxn ang="0">
                          <a:pos x="208" y="50"/>
                        </a:cxn>
                        <a:cxn ang="0">
                          <a:pos x="179" y="40"/>
                        </a:cxn>
                        <a:cxn ang="0">
                          <a:pos x="241" y="27"/>
                        </a:cxn>
                        <a:cxn ang="0">
                          <a:pos x="309" y="70"/>
                        </a:cxn>
                        <a:cxn ang="0">
                          <a:pos x="349" y="126"/>
                        </a:cxn>
                        <a:cxn ang="0">
                          <a:pos x="427" y="184"/>
                        </a:cxn>
                        <a:cxn ang="0">
                          <a:pos x="366" y="112"/>
                        </a:cxn>
                        <a:cxn ang="0">
                          <a:pos x="304" y="45"/>
                        </a:cxn>
                        <a:cxn ang="0">
                          <a:pos x="215" y="11"/>
                        </a:cxn>
                        <a:cxn ang="0">
                          <a:pos x="140" y="21"/>
                        </a:cxn>
                        <a:cxn ang="0">
                          <a:pos x="142" y="40"/>
                        </a:cxn>
                        <a:cxn ang="0">
                          <a:pos x="77" y="53"/>
                        </a:cxn>
                        <a:cxn ang="0">
                          <a:pos x="4" y="104"/>
                        </a:cxn>
                        <a:cxn ang="0">
                          <a:pos x="31" y="83"/>
                        </a:cxn>
                      </a:cxnLst>
                      <a:rect l="0" t="0" r="r" b="b"/>
                      <a:pathLst>
                        <a:path w="427" h="184">
                          <a:moveTo>
                            <a:pt x="23" y="85"/>
                          </a:moveTo>
                          <a:cubicBezTo>
                            <a:pt x="37" y="68"/>
                            <a:pt x="57" y="66"/>
                            <a:pt x="77" y="64"/>
                          </a:cubicBezTo>
                          <a:cubicBezTo>
                            <a:pt x="103" y="61"/>
                            <a:pt x="130" y="55"/>
                            <a:pt x="156" y="58"/>
                          </a:cubicBezTo>
                          <a:cubicBezTo>
                            <a:pt x="198" y="62"/>
                            <a:pt x="239" y="91"/>
                            <a:pt x="269" y="119"/>
                          </a:cubicBezTo>
                          <a:cubicBezTo>
                            <a:pt x="273" y="77"/>
                            <a:pt x="194" y="71"/>
                            <a:pt x="172" y="54"/>
                          </a:cubicBezTo>
                          <a:cubicBezTo>
                            <a:pt x="185" y="53"/>
                            <a:pt x="195" y="49"/>
                            <a:pt x="208" y="50"/>
                          </a:cubicBezTo>
                          <a:cubicBezTo>
                            <a:pt x="200" y="44"/>
                            <a:pt x="191" y="39"/>
                            <a:pt x="179" y="40"/>
                          </a:cubicBezTo>
                          <a:cubicBezTo>
                            <a:pt x="188" y="23"/>
                            <a:pt x="224" y="24"/>
                            <a:pt x="241" y="27"/>
                          </a:cubicBezTo>
                          <a:cubicBezTo>
                            <a:pt x="272" y="31"/>
                            <a:pt x="292" y="46"/>
                            <a:pt x="309" y="70"/>
                          </a:cubicBezTo>
                          <a:cubicBezTo>
                            <a:pt x="323" y="87"/>
                            <a:pt x="334" y="110"/>
                            <a:pt x="349" y="126"/>
                          </a:cubicBezTo>
                          <a:cubicBezTo>
                            <a:pt x="371" y="148"/>
                            <a:pt x="404" y="162"/>
                            <a:pt x="427" y="184"/>
                          </a:cubicBezTo>
                          <a:cubicBezTo>
                            <a:pt x="418" y="150"/>
                            <a:pt x="386" y="138"/>
                            <a:pt x="366" y="112"/>
                          </a:cubicBezTo>
                          <a:cubicBezTo>
                            <a:pt x="347" y="87"/>
                            <a:pt x="331" y="64"/>
                            <a:pt x="304" y="45"/>
                          </a:cubicBezTo>
                          <a:cubicBezTo>
                            <a:pt x="277" y="26"/>
                            <a:pt x="245" y="15"/>
                            <a:pt x="215" y="11"/>
                          </a:cubicBezTo>
                          <a:cubicBezTo>
                            <a:pt x="195" y="9"/>
                            <a:pt x="152" y="0"/>
                            <a:pt x="140" y="21"/>
                          </a:cubicBezTo>
                          <a:cubicBezTo>
                            <a:pt x="155" y="31"/>
                            <a:pt x="175" y="38"/>
                            <a:pt x="142" y="40"/>
                          </a:cubicBezTo>
                          <a:cubicBezTo>
                            <a:pt x="116" y="42"/>
                            <a:pt x="101" y="45"/>
                            <a:pt x="77" y="53"/>
                          </a:cubicBezTo>
                          <a:cubicBezTo>
                            <a:pt x="57" y="59"/>
                            <a:pt x="0" y="74"/>
                            <a:pt x="4" y="104"/>
                          </a:cubicBezTo>
                          <a:cubicBezTo>
                            <a:pt x="11" y="95"/>
                            <a:pt x="20" y="87"/>
                            <a:pt x="31" y="83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1" name="Freeform 336"/>
                    <p:cNvSpPr>
                      <a:spLocks/>
                    </p:cNvSpPr>
                    <p:nvPr/>
                  </p:nvSpPr>
                  <p:spPr bwMode="gray">
                    <a:xfrm>
                      <a:off x="328612" y="6462713"/>
                      <a:ext cx="600075" cy="1166813"/>
                    </a:xfrm>
                    <a:custGeom>
                      <a:avLst/>
                      <a:gdLst/>
                      <a:ahLst/>
                      <a:cxnLst>
                        <a:cxn ang="0">
                          <a:pos x="54" y="48"/>
                        </a:cxn>
                        <a:cxn ang="0">
                          <a:pos x="97" y="108"/>
                        </a:cxn>
                        <a:cxn ang="0">
                          <a:pos x="119" y="190"/>
                        </a:cxn>
                        <a:cxn ang="0">
                          <a:pos x="123" y="161"/>
                        </a:cxn>
                        <a:cxn ang="0">
                          <a:pos x="150" y="311"/>
                        </a:cxn>
                        <a:cxn ang="0">
                          <a:pos x="151" y="261"/>
                        </a:cxn>
                        <a:cxn ang="0">
                          <a:pos x="146" y="206"/>
                        </a:cxn>
                        <a:cxn ang="0">
                          <a:pos x="121" y="103"/>
                        </a:cxn>
                        <a:cxn ang="0">
                          <a:pos x="142" y="128"/>
                        </a:cxn>
                        <a:cxn ang="0">
                          <a:pos x="111" y="31"/>
                        </a:cxn>
                        <a:cxn ang="0">
                          <a:pos x="101" y="81"/>
                        </a:cxn>
                        <a:cxn ang="0">
                          <a:pos x="60" y="31"/>
                        </a:cxn>
                        <a:cxn ang="0">
                          <a:pos x="0" y="1"/>
                        </a:cxn>
                      </a:cxnLst>
                      <a:rect l="0" t="0" r="r" b="b"/>
                      <a:pathLst>
                        <a:path w="160" h="311">
                          <a:moveTo>
                            <a:pt x="54" y="48"/>
                          </a:moveTo>
                          <a:cubicBezTo>
                            <a:pt x="78" y="45"/>
                            <a:pt x="88" y="91"/>
                            <a:pt x="97" y="108"/>
                          </a:cubicBezTo>
                          <a:cubicBezTo>
                            <a:pt x="109" y="133"/>
                            <a:pt x="120" y="159"/>
                            <a:pt x="119" y="190"/>
                          </a:cubicBezTo>
                          <a:cubicBezTo>
                            <a:pt x="119" y="180"/>
                            <a:pt x="124" y="171"/>
                            <a:pt x="123" y="161"/>
                          </a:cubicBezTo>
                          <a:cubicBezTo>
                            <a:pt x="148" y="198"/>
                            <a:pt x="150" y="265"/>
                            <a:pt x="150" y="311"/>
                          </a:cubicBezTo>
                          <a:cubicBezTo>
                            <a:pt x="160" y="296"/>
                            <a:pt x="155" y="276"/>
                            <a:pt x="151" y="261"/>
                          </a:cubicBezTo>
                          <a:cubicBezTo>
                            <a:pt x="147" y="243"/>
                            <a:pt x="146" y="226"/>
                            <a:pt x="146" y="206"/>
                          </a:cubicBezTo>
                          <a:cubicBezTo>
                            <a:pt x="146" y="169"/>
                            <a:pt x="140" y="133"/>
                            <a:pt x="121" y="103"/>
                          </a:cubicBezTo>
                          <a:cubicBezTo>
                            <a:pt x="132" y="110"/>
                            <a:pt x="137" y="115"/>
                            <a:pt x="142" y="128"/>
                          </a:cubicBezTo>
                          <a:cubicBezTo>
                            <a:pt x="144" y="100"/>
                            <a:pt x="126" y="55"/>
                            <a:pt x="111" y="31"/>
                          </a:cubicBezTo>
                          <a:cubicBezTo>
                            <a:pt x="111" y="52"/>
                            <a:pt x="105" y="63"/>
                            <a:pt x="101" y="81"/>
                          </a:cubicBezTo>
                          <a:cubicBezTo>
                            <a:pt x="78" y="76"/>
                            <a:pt x="73" y="47"/>
                            <a:pt x="60" y="31"/>
                          </a:cubicBezTo>
                          <a:cubicBezTo>
                            <a:pt x="47" y="15"/>
                            <a:pt x="20" y="0"/>
                            <a:pt x="0" y="1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2" name="Freeform 337"/>
                    <p:cNvSpPr>
                      <a:spLocks/>
                    </p:cNvSpPr>
                    <p:nvPr/>
                  </p:nvSpPr>
                  <p:spPr bwMode="gray">
                    <a:xfrm>
                      <a:off x="328612" y="6462713"/>
                      <a:ext cx="600075" cy="1166813"/>
                    </a:xfrm>
                    <a:custGeom>
                      <a:avLst/>
                      <a:gdLst/>
                      <a:ahLst/>
                      <a:cxnLst>
                        <a:cxn ang="0">
                          <a:pos x="54" y="48"/>
                        </a:cxn>
                        <a:cxn ang="0">
                          <a:pos x="97" y="108"/>
                        </a:cxn>
                        <a:cxn ang="0">
                          <a:pos x="119" y="190"/>
                        </a:cxn>
                        <a:cxn ang="0">
                          <a:pos x="123" y="161"/>
                        </a:cxn>
                        <a:cxn ang="0">
                          <a:pos x="150" y="311"/>
                        </a:cxn>
                        <a:cxn ang="0">
                          <a:pos x="151" y="261"/>
                        </a:cxn>
                        <a:cxn ang="0">
                          <a:pos x="146" y="206"/>
                        </a:cxn>
                        <a:cxn ang="0">
                          <a:pos x="121" y="103"/>
                        </a:cxn>
                        <a:cxn ang="0">
                          <a:pos x="142" y="128"/>
                        </a:cxn>
                        <a:cxn ang="0">
                          <a:pos x="111" y="31"/>
                        </a:cxn>
                        <a:cxn ang="0">
                          <a:pos x="101" y="81"/>
                        </a:cxn>
                        <a:cxn ang="0">
                          <a:pos x="60" y="31"/>
                        </a:cxn>
                        <a:cxn ang="0">
                          <a:pos x="0" y="1"/>
                        </a:cxn>
                      </a:cxnLst>
                      <a:rect l="0" t="0" r="r" b="b"/>
                      <a:pathLst>
                        <a:path w="160" h="311">
                          <a:moveTo>
                            <a:pt x="54" y="48"/>
                          </a:moveTo>
                          <a:cubicBezTo>
                            <a:pt x="78" y="45"/>
                            <a:pt x="88" y="91"/>
                            <a:pt x="97" y="108"/>
                          </a:cubicBezTo>
                          <a:cubicBezTo>
                            <a:pt x="109" y="133"/>
                            <a:pt x="120" y="159"/>
                            <a:pt x="119" y="190"/>
                          </a:cubicBezTo>
                          <a:cubicBezTo>
                            <a:pt x="119" y="180"/>
                            <a:pt x="124" y="171"/>
                            <a:pt x="123" y="161"/>
                          </a:cubicBezTo>
                          <a:cubicBezTo>
                            <a:pt x="148" y="198"/>
                            <a:pt x="150" y="265"/>
                            <a:pt x="150" y="311"/>
                          </a:cubicBezTo>
                          <a:cubicBezTo>
                            <a:pt x="160" y="296"/>
                            <a:pt x="155" y="276"/>
                            <a:pt x="151" y="261"/>
                          </a:cubicBezTo>
                          <a:cubicBezTo>
                            <a:pt x="147" y="243"/>
                            <a:pt x="146" y="226"/>
                            <a:pt x="146" y="206"/>
                          </a:cubicBezTo>
                          <a:cubicBezTo>
                            <a:pt x="146" y="169"/>
                            <a:pt x="140" y="133"/>
                            <a:pt x="121" y="103"/>
                          </a:cubicBezTo>
                          <a:cubicBezTo>
                            <a:pt x="132" y="110"/>
                            <a:pt x="137" y="115"/>
                            <a:pt x="142" y="128"/>
                          </a:cubicBezTo>
                          <a:cubicBezTo>
                            <a:pt x="144" y="100"/>
                            <a:pt x="126" y="55"/>
                            <a:pt x="111" y="31"/>
                          </a:cubicBezTo>
                          <a:cubicBezTo>
                            <a:pt x="111" y="52"/>
                            <a:pt x="105" y="63"/>
                            <a:pt x="101" y="81"/>
                          </a:cubicBezTo>
                          <a:cubicBezTo>
                            <a:pt x="78" y="76"/>
                            <a:pt x="73" y="47"/>
                            <a:pt x="60" y="31"/>
                          </a:cubicBezTo>
                          <a:cubicBezTo>
                            <a:pt x="47" y="15"/>
                            <a:pt x="20" y="0"/>
                            <a:pt x="0" y="1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3" name="Freeform 338"/>
                    <p:cNvSpPr>
                      <a:spLocks/>
                    </p:cNvSpPr>
                    <p:nvPr/>
                  </p:nvSpPr>
                  <p:spPr bwMode="gray">
                    <a:xfrm>
                      <a:off x="276225" y="7910513"/>
                      <a:ext cx="558800" cy="974725"/>
                    </a:xfrm>
                    <a:custGeom>
                      <a:avLst/>
                      <a:gdLst/>
                      <a:ahLst/>
                      <a:cxnLst>
                        <a:cxn ang="0">
                          <a:pos x="137" y="23"/>
                        </a:cxn>
                        <a:cxn ang="0">
                          <a:pos x="149" y="0"/>
                        </a:cxn>
                        <a:cxn ang="0">
                          <a:pos x="70" y="149"/>
                        </a:cxn>
                        <a:cxn ang="0">
                          <a:pos x="32" y="208"/>
                        </a:cxn>
                        <a:cxn ang="0">
                          <a:pos x="0" y="260"/>
                        </a:cxn>
                        <a:cxn ang="0">
                          <a:pos x="23" y="208"/>
                        </a:cxn>
                        <a:cxn ang="0">
                          <a:pos x="65" y="145"/>
                        </a:cxn>
                        <a:cxn ang="0">
                          <a:pos x="86" y="93"/>
                        </a:cxn>
                        <a:cxn ang="0">
                          <a:pos x="110" y="46"/>
                        </a:cxn>
                      </a:cxnLst>
                      <a:rect l="0" t="0" r="r" b="b"/>
                      <a:pathLst>
                        <a:path w="149" h="260">
                          <a:moveTo>
                            <a:pt x="137" y="23"/>
                          </a:moveTo>
                          <a:cubicBezTo>
                            <a:pt x="144" y="17"/>
                            <a:pt x="146" y="9"/>
                            <a:pt x="149" y="0"/>
                          </a:cubicBezTo>
                          <a:cubicBezTo>
                            <a:pt x="120" y="47"/>
                            <a:pt x="103" y="105"/>
                            <a:pt x="70" y="149"/>
                          </a:cubicBezTo>
                          <a:cubicBezTo>
                            <a:pt x="56" y="169"/>
                            <a:pt x="42" y="185"/>
                            <a:pt x="32" y="208"/>
                          </a:cubicBezTo>
                          <a:cubicBezTo>
                            <a:pt x="24" y="229"/>
                            <a:pt x="12" y="241"/>
                            <a:pt x="0" y="260"/>
                          </a:cubicBezTo>
                          <a:cubicBezTo>
                            <a:pt x="9" y="244"/>
                            <a:pt x="13" y="224"/>
                            <a:pt x="23" y="208"/>
                          </a:cubicBezTo>
                          <a:cubicBezTo>
                            <a:pt x="36" y="187"/>
                            <a:pt x="55" y="168"/>
                            <a:pt x="65" y="145"/>
                          </a:cubicBezTo>
                          <a:cubicBezTo>
                            <a:pt x="72" y="128"/>
                            <a:pt x="77" y="108"/>
                            <a:pt x="86" y="93"/>
                          </a:cubicBezTo>
                          <a:cubicBezTo>
                            <a:pt x="96" y="78"/>
                            <a:pt x="113" y="66"/>
                            <a:pt x="110" y="46"/>
                          </a:cubicBezTo>
                        </a:path>
                      </a:pathLst>
                    </a:custGeom>
                    <a:solidFill>
                      <a:srgbClr val="5E514A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4" name="Freeform 339"/>
                    <p:cNvSpPr>
                      <a:spLocks/>
                    </p:cNvSpPr>
                    <p:nvPr/>
                  </p:nvSpPr>
                  <p:spPr bwMode="gray">
                    <a:xfrm>
                      <a:off x="276225" y="7910513"/>
                      <a:ext cx="558800" cy="974725"/>
                    </a:xfrm>
                    <a:custGeom>
                      <a:avLst/>
                      <a:gdLst/>
                      <a:ahLst/>
                      <a:cxnLst>
                        <a:cxn ang="0">
                          <a:pos x="137" y="23"/>
                        </a:cxn>
                        <a:cxn ang="0">
                          <a:pos x="149" y="0"/>
                        </a:cxn>
                        <a:cxn ang="0">
                          <a:pos x="70" y="149"/>
                        </a:cxn>
                        <a:cxn ang="0">
                          <a:pos x="32" y="208"/>
                        </a:cxn>
                        <a:cxn ang="0">
                          <a:pos x="0" y="260"/>
                        </a:cxn>
                        <a:cxn ang="0">
                          <a:pos x="23" y="208"/>
                        </a:cxn>
                        <a:cxn ang="0">
                          <a:pos x="65" y="145"/>
                        </a:cxn>
                        <a:cxn ang="0">
                          <a:pos x="86" y="93"/>
                        </a:cxn>
                        <a:cxn ang="0">
                          <a:pos x="110" y="46"/>
                        </a:cxn>
                      </a:cxnLst>
                      <a:rect l="0" t="0" r="r" b="b"/>
                      <a:pathLst>
                        <a:path w="149" h="260">
                          <a:moveTo>
                            <a:pt x="137" y="23"/>
                          </a:moveTo>
                          <a:cubicBezTo>
                            <a:pt x="144" y="17"/>
                            <a:pt x="146" y="9"/>
                            <a:pt x="149" y="0"/>
                          </a:cubicBezTo>
                          <a:cubicBezTo>
                            <a:pt x="120" y="47"/>
                            <a:pt x="103" y="105"/>
                            <a:pt x="70" y="149"/>
                          </a:cubicBezTo>
                          <a:cubicBezTo>
                            <a:pt x="56" y="169"/>
                            <a:pt x="42" y="185"/>
                            <a:pt x="32" y="208"/>
                          </a:cubicBezTo>
                          <a:cubicBezTo>
                            <a:pt x="24" y="229"/>
                            <a:pt x="12" y="241"/>
                            <a:pt x="0" y="260"/>
                          </a:cubicBezTo>
                          <a:cubicBezTo>
                            <a:pt x="9" y="244"/>
                            <a:pt x="13" y="224"/>
                            <a:pt x="23" y="208"/>
                          </a:cubicBezTo>
                          <a:cubicBezTo>
                            <a:pt x="36" y="187"/>
                            <a:pt x="55" y="168"/>
                            <a:pt x="65" y="145"/>
                          </a:cubicBezTo>
                          <a:cubicBezTo>
                            <a:pt x="72" y="128"/>
                            <a:pt x="77" y="108"/>
                            <a:pt x="86" y="93"/>
                          </a:cubicBezTo>
                          <a:cubicBezTo>
                            <a:pt x="96" y="78"/>
                            <a:pt x="113" y="66"/>
                            <a:pt x="110" y="46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5" name="Freeform 340"/>
                    <p:cNvSpPr>
                      <a:spLocks/>
                    </p:cNvSpPr>
                    <p:nvPr/>
                  </p:nvSpPr>
                  <p:spPr bwMode="gray">
                    <a:xfrm>
                      <a:off x="-1662113" y="24028401"/>
                      <a:ext cx="319088" cy="892175"/>
                    </a:xfrm>
                    <a:custGeom>
                      <a:avLst/>
                      <a:gdLst/>
                      <a:ahLst/>
                      <a:cxnLst>
                        <a:cxn ang="0">
                          <a:pos x="72" y="9"/>
                        </a:cxn>
                        <a:cxn ang="0">
                          <a:pos x="65" y="71"/>
                        </a:cxn>
                        <a:cxn ang="0">
                          <a:pos x="66" y="137"/>
                        </a:cxn>
                        <a:cxn ang="0">
                          <a:pos x="33" y="187"/>
                        </a:cxn>
                        <a:cxn ang="0">
                          <a:pos x="0" y="238"/>
                        </a:cxn>
                        <a:cxn ang="0">
                          <a:pos x="82" y="134"/>
                        </a:cxn>
                        <a:cxn ang="0">
                          <a:pos x="84" y="61"/>
                        </a:cxn>
                        <a:cxn ang="0">
                          <a:pos x="78" y="31"/>
                        </a:cxn>
                        <a:cxn ang="0">
                          <a:pos x="69" y="0"/>
                        </a:cxn>
                      </a:cxnLst>
                      <a:rect l="0" t="0" r="r" b="b"/>
                      <a:pathLst>
                        <a:path w="85" h="238">
                          <a:moveTo>
                            <a:pt x="72" y="9"/>
                          </a:moveTo>
                          <a:cubicBezTo>
                            <a:pt x="72" y="31"/>
                            <a:pt x="66" y="50"/>
                            <a:pt x="65" y="71"/>
                          </a:cubicBezTo>
                          <a:cubicBezTo>
                            <a:pt x="64" y="93"/>
                            <a:pt x="73" y="117"/>
                            <a:pt x="66" y="137"/>
                          </a:cubicBezTo>
                          <a:cubicBezTo>
                            <a:pt x="60" y="157"/>
                            <a:pt x="42" y="170"/>
                            <a:pt x="33" y="187"/>
                          </a:cubicBezTo>
                          <a:cubicBezTo>
                            <a:pt x="23" y="206"/>
                            <a:pt x="13" y="224"/>
                            <a:pt x="0" y="238"/>
                          </a:cubicBezTo>
                          <a:cubicBezTo>
                            <a:pt x="38" y="219"/>
                            <a:pt x="77" y="177"/>
                            <a:pt x="82" y="134"/>
                          </a:cubicBezTo>
                          <a:cubicBezTo>
                            <a:pt x="85" y="111"/>
                            <a:pt x="84" y="86"/>
                            <a:pt x="84" y="61"/>
                          </a:cubicBezTo>
                          <a:cubicBezTo>
                            <a:pt x="84" y="49"/>
                            <a:pt x="83" y="41"/>
                            <a:pt x="78" y="31"/>
                          </a:cubicBezTo>
                          <a:cubicBezTo>
                            <a:pt x="73" y="21"/>
                            <a:pt x="68" y="13"/>
                            <a:pt x="69" y="0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6" name="Freeform 341"/>
                    <p:cNvSpPr>
                      <a:spLocks/>
                    </p:cNvSpPr>
                    <p:nvPr/>
                  </p:nvSpPr>
                  <p:spPr bwMode="gray">
                    <a:xfrm>
                      <a:off x="-2741613" y="25190451"/>
                      <a:ext cx="911225" cy="30003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"/>
                        </a:cxn>
                        <a:cxn ang="0">
                          <a:pos x="66" y="26"/>
                        </a:cxn>
                        <a:cxn ang="0">
                          <a:pos x="129" y="42"/>
                        </a:cxn>
                        <a:cxn ang="0">
                          <a:pos x="243" y="0"/>
                        </a:cxn>
                        <a:cxn ang="0">
                          <a:pos x="208" y="61"/>
                        </a:cxn>
                        <a:cxn ang="0">
                          <a:pos x="180" y="75"/>
                        </a:cxn>
                        <a:cxn ang="0">
                          <a:pos x="145" y="66"/>
                        </a:cxn>
                        <a:cxn ang="0">
                          <a:pos x="82" y="50"/>
                        </a:cxn>
                        <a:cxn ang="0">
                          <a:pos x="19" y="2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243" h="80">
                          <a:moveTo>
                            <a:pt x="0" y="4"/>
                          </a:moveTo>
                          <a:cubicBezTo>
                            <a:pt x="17" y="19"/>
                            <a:pt x="44" y="21"/>
                            <a:pt x="66" y="26"/>
                          </a:cubicBezTo>
                          <a:cubicBezTo>
                            <a:pt x="87" y="31"/>
                            <a:pt x="108" y="40"/>
                            <a:pt x="129" y="42"/>
                          </a:cubicBezTo>
                          <a:cubicBezTo>
                            <a:pt x="173" y="46"/>
                            <a:pt x="214" y="35"/>
                            <a:pt x="243" y="0"/>
                          </a:cubicBezTo>
                          <a:cubicBezTo>
                            <a:pt x="235" y="23"/>
                            <a:pt x="222" y="41"/>
                            <a:pt x="208" y="61"/>
                          </a:cubicBezTo>
                          <a:cubicBezTo>
                            <a:pt x="198" y="75"/>
                            <a:pt x="198" y="80"/>
                            <a:pt x="180" y="75"/>
                          </a:cubicBezTo>
                          <a:cubicBezTo>
                            <a:pt x="168" y="71"/>
                            <a:pt x="157" y="69"/>
                            <a:pt x="145" y="66"/>
                          </a:cubicBezTo>
                          <a:cubicBezTo>
                            <a:pt x="125" y="61"/>
                            <a:pt x="102" y="57"/>
                            <a:pt x="82" y="50"/>
                          </a:cubicBezTo>
                          <a:cubicBezTo>
                            <a:pt x="62" y="43"/>
                            <a:pt x="38" y="38"/>
                            <a:pt x="19" y="27"/>
                          </a:cubicBezTo>
                          <a:cubicBezTo>
                            <a:pt x="12" y="23"/>
                            <a:pt x="4" y="16"/>
                            <a:pt x="0" y="7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7" name="Freeform 342"/>
                    <p:cNvSpPr>
                      <a:spLocks/>
                    </p:cNvSpPr>
                    <p:nvPr/>
                  </p:nvSpPr>
                  <p:spPr bwMode="gray">
                    <a:xfrm>
                      <a:off x="-98425" y="24039513"/>
                      <a:ext cx="203200" cy="941388"/>
                    </a:xfrm>
                    <a:custGeom>
                      <a:avLst/>
                      <a:gdLst/>
                      <a:ahLst/>
                      <a:cxnLst>
                        <a:cxn ang="0">
                          <a:pos x="28" y="0"/>
                        </a:cxn>
                        <a:cxn ang="0">
                          <a:pos x="12" y="60"/>
                        </a:cxn>
                        <a:cxn ang="0">
                          <a:pos x="1" y="127"/>
                        </a:cxn>
                        <a:cxn ang="0">
                          <a:pos x="13" y="158"/>
                        </a:cxn>
                        <a:cxn ang="0">
                          <a:pos x="26" y="194"/>
                        </a:cxn>
                        <a:cxn ang="0">
                          <a:pos x="43" y="218"/>
                        </a:cxn>
                        <a:cxn ang="0">
                          <a:pos x="54" y="251"/>
                        </a:cxn>
                        <a:cxn ang="0">
                          <a:pos x="21" y="125"/>
                        </a:cxn>
                        <a:cxn ang="0">
                          <a:pos x="27" y="61"/>
                        </a:cxn>
                        <a:cxn ang="0">
                          <a:pos x="26" y="6"/>
                        </a:cxn>
                        <a:cxn ang="0">
                          <a:pos x="20" y="33"/>
                        </a:cxn>
                      </a:cxnLst>
                      <a:rect l="0" t="0" r="r" b="b"/>
                      <a:pathLst>
                        <a:path w="54" h="251">
                          <a:moveTo>
                            <a:pt x="28" y="0"/>
                          </a:moveTo>
                          <a:cubicBezTo>
                            <a:pt x="28" y="26"/>
                            <a:pt x="24" y="39"/>
                            <a:pt x="12" y="60"/>
                          </a:cubicBezTo>
                          <a:cubicBezTo>
                            <a:pt x="0" y="81"/>
                            <a:pt x="0" y="102"/>
                            <a:pt x="1" y="127"/>
                          </a:cubicBezTo>
                          <a:cubicBezTo>
                            <a:pt x="2" y="141"/>
                            <a:pt x="6" y="146"/>
                            <a:pt x="13" y="158"/>
                          </a:cubicBezTo>
                          <a:cubicBezTo>
                            <a:pt x="19" y="169"/>
                            <a:pt x="19" y="183"/>
                            <a:pt x="26" y="194"/>
                          </a:cubicBezTo>
                          <a:cubicBezTo>
                            <a:pt x="31" y="203"/>
                            <a:pt x="39" y="209"/>
                            <a:pt x="43" y="218"/>
                          </a:cubicBezTo>
                          <a:cubicBezTo>
                            <a:pt x="49" y="228"/>
                            <a:pt x="51" y="240"/>
                            <a:pt x="54" y="251"/>
                          </a:cubicBezTo>
                          <a:cubicBezTo>
                            <a:pt x="53" y="206"/>
                            <a:pt x="29" y="167"/>
                            <a:pt x="21" y="125"/>
                          </a:cubicBezTo>
                          <a:cubicBezTo>
                            <a:pt x="16" y="102"/>
                            <a:pt x="19" y="82"/>
                            <a:pt x="27" y="61"/>
                          </a:cubicBezTo>
                          <a:cubicBezTo>
                            <a:pt x="34" y="43"/>
                            <a:pt x="37" y="24"/>
                            <a:pt x="26" y="6"/>
                          </a:cubicBezTo>
                          <a:cubicBezTo>
                            <a:pt x="22" y="15"/>
                            <a:pt x="22" y="24"/>
                            <a:pt x="20" y="33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8" name="Freeform 343"/>
                    <p:cNvSpPr>
                      <a:spLocks/>
                    </p:cNvSpPr>
                    <p:nvPr/>
                  </p:nvSpPr>
                  <p:spPr bwMode="gray">
                    <a:xfrm>
                      <a:off x="231775" y="25336501"/>
                      <a:ext cx="655638" cy="195263"/>
                    </a:xfrm>
                    <a:custGeom>
                      <a:avLst/>
                      <a:gdLst/>
                      <a:ahLst/>
                      <a:cxnLst>
                        <a:cxn ang="0">
                          <a:pos x="159" y="0"/>
                        </a:cxn>
                        <a:cxn ang="0">
                          <a:pos x="145" y="35"/>
                        </a:cxn>
                        <a:cxn ang="0">
                          <a:pos x="93" y="45"/>
                        </a:cxn>
                        <a:cxn ang="0">
                          <a:pos x="0" y="25"/>
                        </a:cxn>
                        <a:cxn ang="0">
                          <a:pos x="35" y="45"/>
                        </a:cxn>
                        <a:cxn ang="0">
                          <a:pos x="87" y="51"/>
                        </a:cxn>
                        <a:cxn ang="0">
                          <a:pos x="134" y="50"/>
                        </a:cxn>
                        <a:cxn ang="0">
                          <a:pos x="175" y="38"/>
                        </a:cxn>
                        <a:cxn ang="0">
                          <a:pos x="168" y="26"/>
                        </a:cxn>
                      </a:cxnLst>
                      <a:rect l="0" t="0" r="r" b="b"/>
                      <a:pathLst>
                        <a:path w="175" h="52">
                          <a:moveTo>
                            <a:pt x="159" y="0"/>
                          </a:moveTo>
                          <a:cubicBezTo>
                            <a:pt x="161" y="18"/>
                            <a:pt x="162" y="27"/>
                            <a:pt x="145" y="35"/>
                          </a:cubicBezTo>
                          <a:cubicBezTo>
                            <a:pt x="130" y="43"/>
                            <a:pt x="111" y="45"/>
                            <a:pt x="93" y="45"/>
                          </a:cubicBezTo>
                          <a:cubicBezTo>
                            <a:pt x="60" y="47"/>
                            <a:pt x="28" y="37"/>
                            <a:pt x="0" y="25"/>
                          </a:cubicBezTo>
                          <a:cubicBezTo>
                            <a:pt x="13" y="32"/>
                            <a:pt x="20" y="42"/>
                            <a:pt x="35" y="45"/>
                          </a:cubicBezTo>
                          <a:cubicBezTo>
                            <a:pt x="51" y="49"/>
                            <a:pt x="70" y="50"/>
                            <a:pt x="87" y="51"/>
                          </a:cubicBezTo>
                          <a:cubicBezTo>
                            <a:pt x="102" y="52"/>
                            <a:pt x="120" y="52"/>
                            <a:pt x="134" y="50"/>
                          </a:cubicBezTo>
                          <a:cubicBezTo>
                            <a:pt x="148" y="48"/>
                            <a:pt x="161" y="41"/>
                            <a:pt x="175" y="38"/>
                          </a:cubicBezTo>
                          <a:cubicBezTo>
                            <a:pt x="174" y="33"/>
                            <a:pt x="171" y="29"/>
                            <a:pt x="168" y="26"/>
                          </a:cubicBezTo>
                        </a:path>
                      </a:pathLst>
                    </a:custGeom>
                    <a:solidFill>
                      <a:srgbClr val="CEBEB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39" name="Freeform 344"/>
                    <p:cNvSpPr>
                      <a:spLocks/>
                    </p:cNvSpPr>
                    <p:nvPr/>
                  </p:nvSpPr>
                  <p:spPr bwMode="gray">
                    <a:xfrm>
                      <a:off x="104775" y="25633363"/>
                      <a:ext cx="430213" cy="407988"/>
                    </a:xfrm>
                    <a:custGeom>
                      <a:avLst/>
                      <a:gdLst/>
                      <a:ahLst/>
                      <a:cxnLst>
                        <a:cxn ang="0">
                          <a:pos x="15" y="15"/>
                        </a:cxn>
                        <a:cxn ang="0">
                          <a:pos x="53" y="38"/>
                        </a:cxn>
                        <a:cxn ang="0">
                          <a:pos x="114" y="60"/>
                        </a:cxn>
                        <a:cxn ang="0">
                          <a:pos x="114" y="64"/>
                        </a:cxn>
                        <a:cxn ang="0">
                          <a:pos x="67" y="69"/>
                        </a:cxn>
                        <a:cxn ang="0">
                          <a:pos x="115" y="92"/>
                        </a:cxn>
                        <a:cxn ang="0">
                          <a:pos x="35" y="65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115" h="109">
                          <a:moveTo>
                            <a:pt x="15" y="15"/>
                          </a:moveTo>
                          <a:cubicBezTo>
                            <a:pt x="28" y="21"/>
                            <a:pt x="40" y="30"/>
                            <a:pt x="53" y="38"/>
                          </a:cubicBezTo>
                          <a:cubicBezTo>
                            <a:pt x="73" y="51"/>
                            <a:pt x="91" y="53"/>
                            <a:pt x="114" y="60"/>
                          </a:cubicBezTo>
                          <a:cubicBezTo>
                            <a:pt x="114" y="61"/>
                            <a:pt x="114" y="63"/>
                            <a:pt x="114" y="64"/>
                          </a:cubicBezTo>
                          <a:cubicBezTo>
                            <a:pt x="99" y="67"/>
                            <a:pt x="82" y="69"/>
                            <a:pt x="67" y="69"/>
                          </a:cubicBezTo>
                          <a:cubicBezTo>
                            <a:pt x="78" y="79"/>
                            <a:pt x="103" y="81"/>
                            <a:pt x="115" y="92"/>
                          </a:cubicBezTo>
                          <a:cubicBezTo>
                            <a:pt x="88" y="109"/>
                            <a:pt x="56" y="78"/>
                            <a:pt x="35" y="65"/>
                          </a:cubicBezTo>
                          <a:cubicBezTo>
                            <a:pt x="9" y="50"/>
                            <a:pt x="16" y="20"/>
                            <a:pt x="0" y="0"/>
                          </a:cubicBezTo>
                        </a:path>
                      </a:pathLst>
                    </a:custGeom>
                    <a:solidFill>
                      <a:srgbClr val="9B979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940" name="Freeform 345"/>
                    <p:cNvSpPr>
                      <a:spLocks/>
                    </p:cNvSpPr>
                    <p:nvPr/>
                  </p:nvSpPr>
                  <p:spPr bwMode="gray">
                    <a:xfrm>
                      <a:off x="-3090863" y="25314276"/>
                      <a:ext cx="468313" cy="600075"/>
                    </a:xfrm>
                    <a:custGeom>
                      <a:avLst/>
                      <a:gdLst/>
                      <a:ahLst/>
                      <a:cxnLst>
                        <a:cxn ang="0">
                          <a:pos x="85" y="0"/>
                        </a:cxn>
                        <a:cxn ang="0">
                          <a:pos x="42" y="76"/>
                        </a:cxn>
                        <a:cxn ang="0">
                          <a:pos x="0" y="160"/>
                        </a:cxn>
                        <a:cxn ang="0">
                          <a:pos x="62" y="88"/>
                        </a:cxn>
                        <a:cxn ang="0">
                          <a:pos x="85" y="73"/>
                        </a:cxn>
                        <a:cxn ang="0">
                          <a:pos x="87" y="47"/>
                        </a:cxn>
                        <a:cxn ang="0">
                          <a:pos x="125" y="29"/>
                        </a:cxn>
                        <a:cxn ang="0">
                          <a:pos x="125" y="21"/>
                        </a:cxn>
                        <a:cxn ang="0">
                          <a:pos x="91" y="12"/>
                        </a:cxn>
                      </a:cxnLst>
                      <a:rect l="0" t="0" r="r" b="b"/>
                      <a:pathLst>
                        <a:path w="125" h="160">
                          <a:moveTo>
                            <a:pt x="85" y="0"/>
                          </a:moveTo>
                          <a:cubicBezTo>
                            <a:pt x="55" y="15"/>
                            <a:pt x="56" y="50"/>
                            <a:pt x="42" y="76"/>
                          </a:cubicBezTo>
                          <a:cubicBezTo>
                            <a:pt x="28" y="101"/>
                            <a:pt x="1" y="133"/>
                            <a:pt x="0" y="160"/>
                          </a:cubicBezTo>
                          <a:cubicBezTo>
                            <a:pt x="17" y="132"/>
                            <a:pt x="36" y="108"/>
                            <a:pt x="62" y="88"/>
                          </a:cubicBezTo>
                          <a:cubicBezTo>
                            <a:pt x="70" y="81"/>
                            <a:pt x="79" y="83"/>
                            <a:pt x="85" y="73"/>
                          </a:cubicBezTo>
                          <a:cubicBezTo>
                            <a:pt x="90" y="66"/>
                            <a:pt x="83" y="54"/>
                            <a:pt x="87" y="47"/>
                          </a:cubicBezTo>
                          <a:cubicBezTo>
                            <a:pt x="96" y="33"/>
                            <a:pt x="108" y="27"/>
                            <a:pt x="125" y="29"/>
                          </a:cubicBezTo>
                          <a:cubicBezTo>
                            <a:pt x="125" y="28"/>
                            <a:pt x="125" y="22"/>
                            <a:pt x="125" y="21"/>
                          </a:cubicBezTo>
                          <a:cubicBezTo>
                            <a:pt x="114" y="16"/>
                            <a:pt x="103" y="11"/>
                            <a:pt x="91" y="12"/>
                          </a:cubicBezTo>
                        </a:path>
                      </a:pathLst>
                    </a:custGeom>
                    <a:solidFill>
                      <a:srgbClr val="9B979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</p:grpSp>
            </p:grpSp>
            <p:grpSp>
              <p:nvGrpSpPr>
                <p:cNvPr id="712" name="Gruppieren 623"/>
                <p:cNvGrpSpPr/>
                <p:nvPr/>
              </p:nvGrpSpPr>
              <p:grpSpPr bwMode="gray">
                <a:xfrm rot="152818">
                  <a:off x="4712881" y="1999185"/>
                  <a:ext cx="1816481" cy="3494246"/>
                  <a:chOff x="252676" y="1873271"/>
                  <a:chExt cx="1855735" cy="3569758"/>
                </a:xfrm>
              </p:grpSpPr>
              <p:pic>
                <p:nvPicPr>
                  <p:cNvPr id="771" name="_effect" descr="C:\Users\marc.h\Desktop\Schatten-TEST.png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/>
                  <a:srcRect/>
                  <a:stretch>
                    <a:fillRect/>
                  </a:stretch>
                </p:blipFill>
                <p:spPr bwMode="gray">
                  <a:xfrm>
                    <a:off x="252676" y="4738254"/>
                    <a:ext cx="1855735" cy="704775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772" name="Gruppieren 438"/>
                  <p:cNvGrpSpPr/>
                  <p:nvPr/>
                </p:nvGrpSpPr>
                <p:grpSpPr bwMode="gray">
                  <a:xfrm>
                    <a:off x="520930" y="1873270"/>
                    <a:ext cx="1217190" cy="3378773"/>
                    <a:chOff x="14946313" y="-19594512"/>
                    <a:chExt cx="7529512" cy="20901025"/>
                  </a:xfrm>
                </p:grpSpPr>
                <p:sp>
                  <p:nvSpPr>
                    <p:cNvPr id="773" name="Freeform 391"/>
                    <p:cNvSpPr>
                      <a:spLocks/>
                    </p:cNvSpPr>
                    <p:nvPr/>
                  </p:nvSpPr>
                  <p:spPr bwMode="gray">
                    <a:xfrm>
                      <a:off x="15584487" y="-9661524"/>
                      <a:ext cx="1547813" cy="1931988"/>
                    </a:xfrm>
                    <a:custGeom>
                      <a:avLst/>
                      <a:gdLst/>
                      <a:ahLst/>
                      <a:cxnLst>
                        <a:cxn ang="0">
                          <a:pos x="344" y="369"/>
                        </a:cxn>
                        <a:cxn ang="0">
                          <a:pos x="287" y="396"/>
                        </a:cxn>
                        <a:cxn ang="0">
                          <a:pos x="75" y="488"/>
                        </a:cxn>
                        <a:cxn ang="0">
                          <a:pos x="90" y="245"/>
                        </a:cxn>
                        <a:cxn ang="0">
                          <a:pos x="129" y="103"/>
                        </a:cxn>
                        <a:cxn ang="0">
                          <a:pos x="271" y="4"/>
                        </a:cxn>
                        <a:cxn ang="0">
                          <a:pos x="408" y="290"/>
                        </a:cxn>
                        <a:cxn ang="0">
                          <a:pos x="299" y="382"/>
                        </a:cxn>
                      </a:cxnLst>
                      <a:rect l="0" t="0" r="r" b="b"/>
                      <a:pathLst>
                        <a:path w="413" h="515">
                          <a:moveTo>
                            <a:pt x="344" y="369"/>
                          </a:moveTo>
                          <a:cubicBezTo>
                            <a:pt x="331" y="386"/>
                            <a:pt x="310" y="396"/>
                            <a:pt x="287" y="396"/>
                          </a:cubicBezTo>
                          <a:cubicBezTo>
                            <a:pt x="261" y="441"/>
                            <a:pt x="122" y="515"/>
                            <a:pt x="75" y="488"/>
                          </a:cubicBezTo>
                          <a:cubicBezTo>
                            <a:pt x="0" y="445"/>
                            <a:pt x="79" y="316"/>
                            <a:pt x="90" y="245"/>
                          </a:cubicBezTo>
                          <a:cubicBezTo>
                            <a:pt x="99" y="184"/>
                            <a:pt x="84" y="149"/>
                            <a:pt x="129" y="103"/>
                          </a:cubicBezTo>
                          <a:cubicBezTo>
                            <a:pt x="158" y="73"/>
                            <a:pt x="230" y="5"/>
                            <a:pt x="271" y="4"/>
                          </a:cubicBezTo>
                          <a:cubicBezTo>
                            <a:pt x="377" y="0"/>
                            <a:pt x="413" y="213"/>
                            <a:pt x="408" y="290"/>
                          </a:cubicBezTo>
                          <a:cubicBezTo>
                            <a:pt x="366" y="312"/>
                            <a:pt x="328" y="343"/>
                            <a:pt x="299" y="382"/>
                          </a:cubicBezTo>
                        </a:path>
                      </a:pathLst>
                    </a:custGeom>
                    <a:solidFill>
                      <a:srgbClr val="2A343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4" name="Freeform 392"/>
                    <p:cNvSpPr>
                      <a:spLocks/>
                    </p:cNvSpPr>
                    <p:nvPr/>
                  </p:nvSpPr>
                  <p:spPr bwMode="gray">
                    <a:xfrm>
                      <a:off x="20308887" y="-9721849"/>
                      <a:ext cx="1131888" cy="1492250"/>
                    </a:xfrm>
                    <a:custGeom>
                      <a:avLst/>
                      <a:gdLst/>
                      <a:ahLst/>
                      <a:cxnLst>
                        <a:cxn ang="0">
                          <a:pos x="102" y="33"/>
                        </a:cxn>
                        <a:cxn ang="0">
                          <a:pos x="228" y="207"/>
                        </a:cxn>
                        <a:cxn ang="0">
                          <a:pos x="290" y="302"/>
                        </a:cxn>
                        <a:cxn ang="0">
                          <a:pos x="227" y="367"/>
                        </a:cxn>
                        <a:cxn ang="0">
                          <a:pos x="19" y="272"/>
                        </a:cxn>
                        <a:cxn ang="0">
                          <a:pos x="115" y="0"/>
                        </a:cxn>
                      </a:cxnLst>
                      <a:rect l="0" t="0" r="r" b="b"/>
                      <a:pathLst>
                        <a:path w="302" h="398">
                          <a:moveTo>
                            <a:pt x="102" y="33"/>
                          </a:moveTo>
                          <a:cubicBezTo>
                            <a:pt x="180" y="65"/>
                            <a:pt x="180" y="144"/>
                            <a:pt x="228" y="207"/>
                          </a:cubicBezTo>
                          <a:cubicBezTo>
                            <a:pt x="246" y="232"/>
                            <a:pt x="284" y="268"/>
                            <a:pt x="290" y="302"/>
                          </a:cubicBezTo>
                          <a:cubicBezTo>
                            <a:pt x="302" y="363"/>
                            <a:pt x="275" y="349"/>
                            <a:pt x="227" y="367"/>
                          </a:cubicBezTo>
                          <a:cubicBezTo>
                            <a:pt x="140" y="398"/>
                            <a:pt x="43" y="395"/>
                            <a:pt x="19" y="272"/>
                          </a:cubicBezTo>
                          <a:cubicBezTo>
                            <a:pt x="0" y="178"/>
                            <a:pt x="11" y="32"/>
                            <a:pt x="115" y="0"/>
                          </a:cubicBezTo>
                        </a:path>
                      </a:pathLst>
                    </a:custGeom>
                    <a:solidFill>
                      <a:srgbClr val="2A343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5" name="Freeform 393"/>
                    <p:cNvSpPr>
                      <a:spLocks/>
                    </p:cNvSpPr>
                    <p:nvPr/>
                  </p:nvSpPr>
                  <p:spPr bwMode="gray">
                    <a:xfrm>
                      <a:off x="16900525" y="-455612"/>
                      <a:ext cx="1652588" cy="1762125"/>
                    </a:xfrm>
                    <a:custGeom>
                      <a:avLst/>
                      <a:gdLst/>
                      <a:ahLst/>
                      <a:cxnLst>
                        <a:cxn ang="0">
                          <a:pos x="437" y="8"/>
                        </a:cxn>
                        <a:cxn ang="0">
                          <a:pos x="424" y="171"/>
                        </a:cxn>
                        <a:cxn ang="0">
                          <a:pos x="346" y="276"/>
                        </a:cxn>
                        <a:cxn ang="0">
                          <a:pos x="112" y="445"/>
                        </a:cxn>
                        <a:cxn ang="0">
                          <a:pos x="78" y="222"/>
                        </a:cxn>
                        <a:cxn ang="0">
                          <a:pos x="293" y="2"/>
                        </a:cxn>
                        <a:cxn ang="0">
                          <a:pos x="424" y="41"/>
                        </a:cxn>
                      </a:cxnLst>
                      <a:rect l="0" t="0" r="r" b="b"/>
                      <a:pathLst>
                        <a:path w="441" h="470">
                          <a:moveTo>
                            <a:pt x="437" y="8"/>
                          </a:moveTo>
                          <a:cubicBezTo>
                            <a:pt x="437" y="56"/>
                            <a:pt x="441" y="128"/>
                            <a:pt x="424" y="171"/>
                          </a:cubicBezTo>
                          <a:cubicBezTo>
                            <a:pt x="408" y="210"/>
                            <a:pt x="368" y="231"/>
                            <a:pt x="346" y="276"/>
                          </a:cubicBezTo>
                          <a:cubicBezTo>
                            <a:pt x="304" y="361"/>
                            <a:pt x="234" y="470"/>
                            <a:pt x="112" y="445"/>
                          </a:cubicBezTo>
                          <a:cubicBezTo>
                            <a:pt x="0" y="422"/>
                            <a:pt x="31" y="294"/>
                            <a:pt x="78" y="222"/>
                          </a:cubicBezTo>
                          <a:cubicBezTo>
                            <a:pt x="145" y="120"/>
                            <a:pt x="155" y="6"/>
                            <a:pt x="293" y="2"/>
                          </a:cubicBezTo>
                          <a:cubicBezTo>
                            <a:pt x="355" y="0"/>
                            <a:pt x="374" y="24"/>
                            <a:pt x="424" y="41"/>
                          </a:cubicBezTo>
                        </a:path>
                      </a:pathLst>
                    </a:custGeom>
                    <a:solidFill>
                      <a:srgbClr val="0A0A0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6" name="Freeform 394"/>
                    <p:cNvSpPr>
                      <a:spLocks/>
                    </p:cNvSpPr>
                    <p:nvPr/>
                  </p:nvSpPr>
                  <p:spPr bwMode="gray">
                    <a:xfrm>
                      <a:off x="19599275" y="-650874"/>
                      <a:ext cx="2876550" cy="1687513"/>
                    </a:xfrm>
                    <a:custGeom>
                      <a:avLst/>
                      <a:gdLst/>
                      <a:ahLst/>
                      <a:cxnLst>
                        <a:cxn ang="0">
                          <a:pos x="50" y="60"/>
                        </a:cxn>
                        <a:cxn ang="0">
                          <a:pos x="5" y="229"/>
                        </a:cxn>
                        <a:cxn ang="0">
                          <a:pos x="135" y="283"/>
                        </a:cxn>
                        <a:cxn ang="0">
                          <a:pos x="237" y="271"/>
                        </a:cxn>
                        <a:cxn ang="0">
                          <a:pos x="332" y="345"/>
                        </a:cxn>
                        <a:cxn ang="0">
                          <a:pos x="468" y="386"/>
                        </a:cxn>
                        <a:cxn ang="0">
                          <a:pos x="663" y="321"/>
                        </a:cxn>
                        <a:cxn ang="0">
                          <a:pos x="539" y="238"/>
                        </a:cxn>
                        <a:cxn ang="0">
                          <a:pos x="446" y="140"/>
                        </a:cxn>
                        <a:cxn ang="0">
                          <a:pos x="266" y="13"/>
                        </a:cxn>
                        <a:cxn ang="0">
                          <a:pos x="24" y="60"/>
                        </a:cxn>
                      </a:cxnLst>
                      <a:rect l="0" t="0" r="r" b="b"/>
                      <a:pathLst>
                        <a:path w="767" h="450">
                          <a:moveTo>
                            <a:pt x="50" y="60"/>
                          </a:moveTo>
                          <a:cubicBezTo>
                            <a:pt x="13" y="107"/>
                            <a:pt x="0" y="167"/>
                            <a:pt x="5" y="229"/>
                          </a:cubicBezTo>
                          <a:cubicBezTo>
                            <a:pt x="48" y="241"/>
                            <a:pt x="90" y="278"/>
                            <a:pt x="135" y="283"/>
                          </a:cubicBezTo>
                          <a:cubicBezTo>
                            <a:pt x="189" y="291"/>
                            <a:pt x="182" y="242"/>
                            <a:pt x="237" y="271"/>
                          </a:cubicBezTo>
                          <a:cubicBezTo>
                            <a:pt x="271" y="288"/>
                            <a:pt x="300" y="327"/>
                            <a:pt x="332" y="345"/>
                          </a:cubicBezTo>
                          <a:cubicBezTo>
                            <a:pt x="384" y="375"/>
                            <a:pt x="410" y="375"/>
                            <a:pt x="468" y="386"/>
                          </a:cubicBezTo>
                          <a:cubicBezTo>
                            <a:pt x="528" y="397"/>
                            <a:pt x="767" y="450"/>
                            <a:pt x="663" y="321"/>
                          </a:cubicBezTo>
                          <a:cubicBezTo>
                            <a:pt x="633" y="284"/>
                            <a:pt x="577" y="270"/>
                            <a:pt x="539" y="238"/>
                          </a:cubicBezTo>
                          <a:cubicBezTo>
                            <a:pt x="503" y="208"/>
                            <a:pt x="479" y="171"/>
                            <a:pt x="446" y="140"/>
                          </a:cubicBezTo>
                          <a:cubicBezTo>
                            <a:pt x="395" y="91"/>
                            <a:pt x="336" y="27"/>
                            <a:pt x="266" y="13"/>
                          </a:cubicBezTo>
                          <a:cubicBezTo>
                            <a:pt x="205" y="0"/>
                            <a:pt x="67" y="13"/>
                            <a:pt x="24" y="60"/>
                          </a:cubicBezTo>
                        </a:path>
                      </a:pathLst>
                    </a:custGeom>
                    <a:solidFill>
                      <a:srgbClr val="0504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7" name="Freeform 395"/>
                    <p:cNvSpPr>
                      <a:spLocks/>
                    </p:cNvSpPr>
                    <p:nvPr/>
                  </p:nvSpPr>
                  <p:spPr bwMode="gray">
                    <a:xfrm>
                      <a:off x="16236950" y="-11128374"/>
                      <a:ext cx="5286375" cy="11190288"/>
                    </a:xfrm>
                    <a:custGeom>
                      <a:avLst/>
                      <a:gdLst/>
                      <a:ahLst/>
                      <a:cxnLst>
                        <a:cxn ang="0">
                          <a:pos x="196" y="75"/>
                        </a:cxn>
                        <a:cxn ang="0">
                          <a:pos x="73" y="356"/>
                        </a:cxn>
                        <a:cxn ang="0">
                          <a:pos x="32" y="651"/>
                        </a:cxn>
                        <a:cxn ang="0">
                          <a:pos x="79" y="787"/>
                        </a:cxn>
                        <a:cxn ang="0">
                          <a:pos x="86" y="962"/>
                        </a:cxn>
                        <a:cxn ang="0">
                          <a:pos x="87" y="1136"/>
                        </a:cxn>
                        <a:cxn ang="0">
                          <a:pos x="131" y="1295"/>
                        </a:cxn>
                        <a:cxn ang="0">
                          <a:pos x="190" y="1972"/>
                        </a:cxn>
                        <a:cxn ang="0">
                          <a:pos x="223" y="2117"/>
                        </a:cxn>
                        <a:cxn ang="0">
                          <a:pos x="210" y="2319"/>
                        </a:cxn>
                        <a:cxn ang="0">
                          <a:pos x="275" y="2456"/>
                        </a:cxn>
                        <a:cxn ang="0">
                          <a:pos x="307" y="2632"/>
                        </a:cxn>
                        <a:cxn ang="0">
                          <a:pos x="345" y="2921"/>
                        </a:cxn>
                        <a:cxn ang="0">
                          <a:pos x="619" y="2885"/>
                        </a:cxn>
                        <a:cxn ang="0">
                          <a:pos x="629" y="2593"/>
                        </a:cxn>
                        <a:cxn ang="0">
                          <a:pos x="567" y="2451"/>
                        </a:cxn>
                        <a:cxn ang="0">
                          <a:pos x="606" y="2311"/>
                        </a:cxn>
                        <a:cxn ang="0">
                          <a:pos x="594" y="2000"/>
                        </a:cxn>
                        <a:cxn ang="0">
                          <a:pos x="601" y="1654"/>
                        </a:cxn>
                        <a:cxn ang="0">
                          <a:pos x="607" y="1282"/>
                        </a:cxn>
                        <a:cxn ang="0">
                          <a:pos x="607" y="1104"/>
                        </a:cxn>
                        <a:cxn ang="0">
                          <a:pos x="621" y="949"/>
                        </a:cxn>
                        <a:cxn ang="0">
                          <a:pos x="622" y="924"/>
                        </a:cxn>
                        <a:cxn ang="0">
                          <a:pos x="731" y="1106"/>
                        </a:cxn>
                        <a:cxn ang="0">
                          <a:pos x="803" y="1360"/>
                        </a:cxn>
                        <a:cxn ang="0">
                          <a:pos x="909" y="1829"/>
                        </a:cxn>
                        <a:cxn ang="0">
                          <a:pos x="921" y="2047"/>
                        </a:cxn>
                        <a:cxn ang="0">
                          <a:pos x="945" y="2333"/>
                        </a:cxn>
                        <a:cxn ang="0">
                          <a:pos x="909" y="2879"/>
                        </a:cxn>
                        <a:cxn ang="0">
                          <a:pos x="1242" y="2895"/>
                        </a:cxn>
                        <a:cxn ang="0">
                          <a:pos x="1286" y="2771"/>
                        </a:cxn>
                        <a:cxn ang="0">
                          <a:pos x="1307" y="2594"/>
                        </a:cxn>
                        <a:cxn ang="0">
                          <a:pos x="1312" y="2188"/>
                        </a:cxn>
                        <a:cxn ang="0">
                          <a:pos x="1384" y="1791"/>
                        </a:cxn>
                        <a:cxn ang="0">
                          <a:pos x="1346" y="1445"/>
                        </a:cxn>
                        <a:cxn ang="0">
                          <a:pos x="1292" y="1036"/>
                        </a:cxn>
                        <a:cxn ang="0">
                          <a:pos x="1240" y="879"/>
                        </a:cxn>
                        <a:cxn ang="0">
                          <a:pos x="1182" y="736"/>
                        </a:cxn>
                        <a:cxn ang="0">
                          <a:pos x="1182" y="643"/>
                        </a:cxn>
                        <a:cxn ang="0">
                          <a:pos x="1206" y="564"/>
                        </a:cxn>
                        <a:cxn ang="0">
                          <a:pos x="1137" y="447"/>
                        </a:cxn>
                        <a:cxn ang="0">
                          <a:pos x="1053" y="263"/>
                        </a:cxn>
                        <a:cxn ang="0">
                          <a:pos x="959" y="83"/>
                        </a:cxn>
                        <a:cxn ang="0">
                          <a:pos x="492" y="11"/>
                        </a:cxn>
                        <a:cxn ang="0">
                          <a:pos x="190" y="82"/>
                        </a:cxn>
                      </a:cxnLst>
                      <a:rect l="0" t="0" r="r" b="b"/>
                      <a:pathLst>
                        <a:path w="1410" h="2984">
                          <a:moveTo>
                            <a:pt x="196" y="75"/>
                          </a:moveTo>
                          <a:cubicBezTo>
                            <a:pt x="106" y="162"/>
                            <a:pt x="72" y="221"/>
                            <a:pt x="73" y="356"/>
                          </a:cubicBezTo>
                          <a:cubicBezTo>
                            <a:pt x="73" y="455"/>
                            <a:pt x="0" y="550"/>
                            <a:pt x="32" y="651"/>
                          </a:cubicBezTo>
                          <a:cubicBezTo>
                            <a:pt x="47" y="699"/>
                            <a:pt x="72" y="735"/>
                            <a:pt x="79" y="787"/>
                          </a:cubicBezTo>
                          <a:cubicBezTo>
                            <a:pt x="87" y="845"/>
                            <a:pt x="86" y="903"/>
                            <a:pt x="86" y="962"/>
                          </a:cubicBezTo>
                          <a:cubicBezTo>
                            <a:pt x="86" y="1017"/>
                            <a:pt x="76" y="1082"/>
                            <a:pt x="87" y="1136"/>
                          </a:cubicBezTo>
                          <a:cubicBezTo>
                            <a:pt x="99" y="1196"/>
                            <a:pt x="131" y="1230"/>
                            <a:pt x="131" y="1295"/>
                          </a:cubicBezTo>
                          <a:cubicBezTo>
                            <a:pt x="134" y="1518"/>
                            <a:pt x="133" y="1760"/>
                            <a:pt x="190" y="1972"/>
                          </a:cubicBezTo>
                          <a:cubicBezTo>
                            <a:pt x="203" y="2021"/>
                            <a:pt x="226" y="2060"/>
                            <a:pt x="223" y="2117"/>
                          </a:cubicBezTo>
                          <a:cubicBezTo>
                            <a:pt x="219" y="2182"/>
                            <a:pt x="197" y="2251"/>
                            <a:pt x="210" y="2319"/>
                          </a:cubicBezTo>
                          <a:cubicBezTo>
                            <a:pt x="219" y="2371"/>
                            <a:pt x="261" y="2406"/>
                            <a:pt x="275" y="2456"/>
                          </a:cubicBezTo>
                          <a:cubicBezTo>
                            <a:pt x="290" y="2510"/>
                            <a:pt x="302" y="2576"/>
                            <a:pt x="307" y="2632"/>
                          </a:cubicBezTo>
                          <a:cubicBezTo>
                            <a:pt x="317" y="2735"/>
                            <a:pt x="250" y="2849"/>
                            <a:pt x="345" y="2921"/>
                          </a:cubicBezTo>
                          <a:cubicBezTo>
                            <a:pt x="428" y="2984"/>
                            <a:pt x="569" y="2964"/>
                            <a:pt x="619" y="2885"/>
                          </a:cubicBezTo>
                          <a:cubicBezTo>
                            <a:pt x="687" y="2777"/>
                            <a:pt x="670" y="2704"/>
                            <a:pt x="629" y="2593"/>
                          </a:cubicBezTo>
                          <a:cubicBezTo>
                            <a:pt x="611" y="2547"/>
                            <a:pt x="575" y="2500"/>
                            <a:pt x="567" y="2451"/>
                          </a:cubicBezTo>
                          <a:cubicBezTo>
                            <a:pt x="558" y="2394"/>
                            <a:pt x="592" y="2359"/>
                            <a:pt x="606" y="2311"/>
                          </a:cubicBezTo>
                          <a:cubicBezTo>
                            <a:pt x="639" y="2199"/>
                            <a:pt x="604" y="2104"/>
                            <a:pt x="594" y="2000"/>
                          </a:cubicBezTo>
                          <a:cubicBezTo>
                            <a:pt x="584" y="1880"/>
                            <a:pt x="601" y="1772"/>
                            <a:pt x="601" y="1654"/>
                          </a:cubicBezTo>
                          <a:cubicBezTo>
                            <a:pt x="601" y="1528"/>
                            <a:pt x="614" y="1407"/>
                            <a:pt x="607" y="1282"/>
                          </a:cubicBezTo>
                          <a:cubicBezTo>
                            <a:pt x="604" y="1224"/>
                            <a:pt x="605" y="1162"/>
                            <a:pt x="607" y="1104"/>
                          </a:cubicBezTo>
                          <a:cubicBezTo>
                            <a:pt x="609" y="1067"/>
                            <a:pt x="605" y="982"/>
                            <a:pt x="621" y="949"/>
                          </a:cubicBezTo>
                          <a:cubicBezTo>
                            <a:pt x="623" y="944"/>
                            <a:pt x="621" y="930"/>
                            <a:pt x="622" y="924"/>
                          </a:cubicBezTo>
                          <a:cubicBezTo>
                            <a:pt x="684" y="947"/>
                            <a:pt x="714" y="1047"/>
                            <a:pt x="731" y="1106"/>
                          </a:cubicBezTo>
                          <a:cubicBezTo>
                            <a:pt x="756" y="1191"/>
                            <a:pt x="788" y="1274"/>
                            <a:pt x="803" y="1360"/>
                          </a:cubicBezTo>
                          <a:cubicBezTo>
                            <a:pt x="831" y="1521"/>
                            <a:pt x="885" y="1669"/>
                            <a:pt x="909" y="1829"/>
                          </a:cubicBezTo>
                          <a:cubicBezTo>
                            <a:pt x="1006" y="1843"/>
                            <a:pt x="927" y="1994"/>
                            <a:pt x="921" y="2047"/>
                          </a:cubicBezTo>
                          <a:cubicBezTo>
                            <a:pt x="909" y="2146"/>
                            <a:pt x="954" y="2232"/>
                            <a:pt x="945" y="2333"/>
                          </a:cubicBezTo>
                          <a:cubicBezTo>
                            <a:pt x="930" y="2511"/>
                            <a:pt x="901" y="2701"/>
                            <a:pt x="909" y="2879"/>
                          </a:cubicBezTo>
                          <a:cubicBezTo>
                            <a:pt x="1023" y="2891"/>
                            <a:pt x="1133" y="2965"/>
                            <a:pt x="1242" y="2895"/>
                          </a:cubicBezTo>
                          <a:cubicBezTo>
                            <a:pt x="1296" y="2860"/>
                            <a:pt x="1283" y="2844"/>
                            <a:pt x="1286" y="2771"/>
                          </a:cubicBezTo>
                          <a:cubicBezTo>
                            <a:pt x="1288" y="2708"/>
                            <a:pt x="1298" y="2652"/>
                            <a:pt x="1307" y="2594"/>
                          </a:cubicBezTo>
                          <a:cubicBezTo>
                            <a:pt x="1326" y="2462"/>
                            <a:pt x="1305" y="2322"/>
                            <a:pt x="1312" y="2188"/>
                          </a:cubicBezTo>
                          <a:cubicBezTo>
                            <a:pt x="1319" y="2053"/>
                            <a:pt x="1355" y="1920"/>
                            <a:pt x="1384" y="1791"/>
                          </a:cubicBezTo>
                          <a:cubicBezTo>
                            <a:pt x="1410" y="1674"/>
                            <a:pt x="1389" y="1551"/>
                            <a:pt x="1346" y="1445"/>
                          </a:cubicBezTo>
                          <a:cubicBezTo>
                            <a:pt x="1295" y="1315"/>
                            <a:pt x="1311" y="1172"/>
                            <a:pt x="1292" y="1036"/>
                          </a:cubicBezTo>
                          <a:cubicBezTo>
                            <a:pt x="1283" y="969"/>
                            <a:pt x="1278" y="933"/>
                            <a:pt x="1240" y="879"/>
                          </a:cubicBezTo>
                          <a:cubicBezTo>
                            <a:pt x="1207" y="832"/>
                            <a:pt x="1185" y="795"/>
                            <a:pt x="1182" y="736"/>
                          </a:cubicBezTo>
                          <a:cubicBezTo>
                            <a:pt x="1180" y="707"/>
                            <a:pt x="1177" y="671"/>
                            <a:pt x="1182" y="643"/>
                          </a:cubicBezTo>
                          <a:cubicBezTo>
                            <a:pt x="1186" y="615"/>
                            <a:pt x="1205" y="590"/>
                            <a:pt x="1206" y="564"/>
                          </a:cubicBezTo>
                          <a:cubicBezTo>
                            <a:pt x="1208" y="513"/>
                            <a:pt x="1169" y="484"/>
                            <a:pt x="1137" y="447"/>
                          </a:cubicBezTo>
                          <a:cubicBezTo>
                            <a:pt x="1089" y="389"/>
                            <a:pt x="1065" y="337"/>
                            <a:pt x="1053" y="263"/>
                          </a:cubicBezTo>
                          <a:cubicBezTo>
                            <a:pt x="1038" y="178"/>
                            <a:pt x="1003" y="148"/>
                            <a:pt x="959" y="83"/>
                          </a:cubicBezTo>
                          <a:cubicBezTo>
                            <a:pt x="809" y="57"/>
                            <a:pt x="649" y="33"/>
                            <a:pt x="492" y="11"/>
                          </a:cubicBezTo>
                          <a:cubicBezTo>
                            <a:pt x="413" y="0"/>
                            <a:pt x="246" y="15"/>
                            <a:pt x="190" y="82"/>
                          </a:cubicBezTo>
                        </a:path>
                      </a:pathLst>
                    </a:custGeom>
                    <a:solidFill>
                      <a:srgbClr val="35343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8" name="Freeform 396"/>
                    <p:cNvSpPr>
                      <a:spLocks/>
                    </p:cNvSpPr>
                    <p:nvPr/>
                  </p:nvSpPr>
                  <p:spPr bwMode="gray">
                    <a:xfrm>
                      <a:off x="19731037" y="-4359274"/>
                      <a:ext cx="296863" cy="938213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23"/>
                        </a:cxn>
                        <a:cxn ang="0">
                          <a:pos x="60" y="54"/>
                        </a:cxn>
                        <a:cxn ang="0">
                          <a:pos x="59" y="111"/>
                        </a:cxn>
                        <a:cxn ang="0">
                          <a:pos x="23" y="250"/>
                        </a:cxn>
                        <a:cxn ang="0">
                          <a:pos x="3" y="182"/>
                        </a:cxn>
                        <a:cxn ang="0">
                          <a:pos x="45" y="117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79" h="250">
                          <a:moveTo>
                            <a:pt x="10" y="23"/>
                          </a:moveTo>
                          <a:cubicBezTo>
                            <a:pt x="19" y="45"/>
                            <a:pt x="46" y="40"/>
                            <a:pt x="60" y="54"/>
                          </a:cubicBezTo>
                          <a:cubicBezTo>
                            <a:pt x="79" y="75"/>
                            <a:pt x="71" y="92"/>
                            <a:pt x="59" y="111"/>
                          </a:cubicBezTo>
                          <a:cubicBezTo>
                            <a:pt x="30" y="154"/>
                            <a:pt x="7" y="193"/>
                            <a:pt x="23" y="250"/>
                          </a:cubicBezTo>
                          <a:cubicBezTo>
                            <a:pt x="19" y="230"/>
                            <a:pt x="1" y="202"/>
                            <a:pt x="3" y="182"/>
                          </a:cubicBezTo>
                          <a:cubicBezTo>
                            <a:pt x="6" y="154"/>
                            <a:pt x="31" y="142"/>
                            <a:pt x="45" y="117"/>
                          </a:cubicBezTo>
                          <a:cubicBezTo>
                            <a:pt x="78" y="57"/>
                            <a:pt x="13" y="50"/>
                            <a:pt x="0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9" name="Freeform 397"/>
                    <p:cNvSpPr>
                      <a:spLocks/>
                    </p:cNvSpPr>
                    <p:nvPr/>
                  </p:nvSpPr>
                  <p:spPr bwMode="gray">
                    <a:xfrm>
                      <a:off x="19989800" y="-1033462"/>
                      <a:ext cx="1136650" cy="341313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72"/>
                        </a:cxn>
                        <a:cxn ang="0">
                          <a:pos x="84" y="42"/>
                        </a:cxn>
                        <a:cxn ang="0">
                          <a:pos x="156" y="20"/>
                        </a:cxn>
                        <a:cxn ang="0">
                          <a:pos x="278" y="43"/>
                        </a:cxn>
                        <a:cxn ang="0">
                          <a:pos x="130" y="42"/>
                        </a:cxn>
                        <a:cxn ang="0">
                          <a:pos x="0" y="91"/>
                        </a:cxn>
                      </a:cxnLst>
                      <a:rect l="0" t="0" r="r" b="b"/>
                      <a:pathLst>
                        <a:path w="303" h="91">
                          <a:moveTo>
                            <a:pt x="32" y="72"/>
                          </a:moveTo>
                          <a:cubicBezTo>
                            <a:pt x="50" y="66"/>
                            <a:pt x="66" y="50"/>
                            <a:pt x="84" y="42"/>
                          </a:cubicBezTo>
                          <a:cubicBezTo>
                            <a:pt x="108" y="32"/>
                            <a:pt x="132" y="28"/>
                            <a:pt x="156" y="20"/>
                          </a:cubicBezTo>
                          <a:cubicBezTo>
                            <a:pt x="173" y="14"/>
                            <a:pt x="303" y="0"/>
                            <a:pt x="278" y="43"/>
                          </a:cubicBezTo>
                          <a:cubicBezTo>
                            <a:pt x="268" y="60"/>
                            <a:pt x="152" y="42"/>
                            <a:pt x="130" y="42"/>
                          </a:cubicBezTo>
                          <a:cubicBezTo>
                            <a:pt x="95" y="44"/>
                            <a:pt x="25" y="68"/>
                            <a:pt x="0" y="91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0" name="Freeform 398"/>
                    <p:cNvSpPr>
                      <a:spLocks/>
                    </p:cNvSpPr>
                    <p:nvPr/>
                  </p:nvSpPr>
                  <p:spPr bwMode="gray">
                    <a:xfrm>
                      <a:off x="19626262" y="-4733924"/>
                      <a:ext cx="506413" cy="1214438"/>
                    </a:xfrm>
                    <a:custGeom>
                      <a:avLst/>
                      <a:gdLst/>
                      <a:ahLst/>
                      <a:cxnLst>
                        <a:cxn ang="0">
                          <a:pos x="38" y="116"/>
                        </a:cxn>
                        <a:cxn ang="0">
                          <a:pos x="80" y="207"/>
                        </a:cxn>
                        <a:cxn ang="0">
                          <a:pos x="50" y="324"/>
                        </a:cxn>
                        <a:cxn ang="0">
                          <a:pos x="126" y="155"/>
                        </a:cxn>
                        <a:cxn ang="0">
                          <a:pos x="65" y="76"/>
                        </a:cxn>
                        <a:cxn ang="0">
                          <a:pos x="27" y="0"/>
                        </a:cxn>
                        <a:cxn ang="0">
                          <a:pos x="31" y="110"/>
                        </a:cxn>
                      </a:cxnLst>
                      <a:rect l="0" t="0" r="r" b="b"/>
                      <a:pathLst>
                        <a:path w="135" h="324">
                          <a:moveTo>
                            <a:pt x="38" y="116"/>
                          </a:moveTo>
                          <a:cubicBezTo>
                            <a:pt x="66" y="145"/>
                            <a:pt x="108" y="158"/>
                            <a:pt x="80" y="207"/>
                          </a:cubicBezTo>
                          <a:cubicBezTo>
                            <a:pt x="66" y="231"/>
                            <a:pt x="0" y="299"/>
                            <a:pt x="50" y="324"/>
                          </a:cubicBezTo>
                          <a:cubicBezTo>
                            <a:pt x="52" y="250"/>
                            <a:pt x="135" y="230"/>
                            <a:pt x="126" y="155"/>
                          </a:cubicBezTo>
                          <a:cubicBezTo>
                            <a:pt x="120" y="112"/>
                            <a:pt x="89" y="108"/>
                            <a:pt x="65" y="76"/>
                          </a:cubicBezTo>
                          <a:cubicBezTo>
                            <a:pt x="46" y="51"/>
                            <a:pt x="42" y="24"/>
                            <a:pt x="27" y="0"/>
                          </a:cubicBezTo>
                          <a:cubicBezTo>
                            <a:pt x="4" y="31"/>
                            <a:pt x="10" y="80"/>
                            <a:pt x="31" y="11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1" name="Freeform 399"/>
                    <p:cNvSpPr>
                      <a:spLocks/>
                    </p:cNvSpPr>
                    <p:nvPr/>
                  </p:nvSpPr>
                  <p:spPr bwMode="gray">
                    <a:xfrm>
                      <a:off x="18816637" y="-7970837"/>
                      <a:ext cx="906463" cy="3873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"/>
                        </a:cxn>
                        <a:cxn ang="0">
                          <a:pos x="238" y="46"/>
                        </a:cxn>
                        <a:cxn ang="0">
                          <a:pos x="116" y="24"/>
                        </a:cxn>
                        <a:cxn ang="0">
                          <a:pos x="3" y="7"/>
                        </a:cxn>
                      </a:cxnLst>
                      <a:rect l="0" t="0" r="r" b="b"/>
                      <a:pathLst>
                        <a:path w="242" h="103">
                          <a:moveTo>
                            <a:pt x="0" y="4"/>
                          </a:moveTo>
                          <a:cubicBezTo>
                            <a:pt x="21" y="36"/>
                            <a:pt x="242" y="103"/>
                            <a:pt x="238" y="46"/>
                          </a:cubicBezTo>
                          <a:cubicBezTo>
                            <a:pt x="234" y="0"/>
                            <a:pt x="139" y="21"/>
                            <a:pt x="116" y="24"/>
                          </a:cubicBezTo>
                          <a:cubicBezTo>
                            <a:pt x="82" y="27"/>
                            <a:pt x="26" y="19"/>
                            <a:pt x="3" y="7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2" name="Freeform 400"/>
                    <p:cNvSpPr>
                      <a:spLocks/>
                    </p:cNvSpPr>
                    <p:nvPr/>
                  </p:nvSpPr>
                  <p:spPr bwMode="gray">
                    <a:xfrm>
                      <a:off x="16513175" y="-10707687"/>
                      <a:ext cx="3709988" cy="922338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22"/>
                        </a:cxn>
                        <a:cxn ang="0">
                          <a:pos x="278" y="61"/>
                        </a:cxn>
                        <a:cxn ang="0">
                          <a:pos x="494" y="74"/>
                        </a:cxn>
                        <a:cxn ang="0">
                          <a:pos x="736" y="72"/>
                        </a:cxn>
                        <a:cxn ang="0">
                          <a:pos x="968" y="42"/>
                        </a:cxn>
                        <a:cxn ang="0">
                          <a:pos x="755" y="217"/>
                        </a:cxn>
                        <a:cxn ang="0">
                          <a:pos x="423" y="237"/>
                        </a:cxn>
                        <a:cxn ang="0">
                          <a:pos x="142" y="165"/>
                        </a:cxn>
                        <a:cxn ang="0">
                          <a:pos x="12" y="133"/>
                        </a:cxn>
                        <a:cxn ang="0">
                          <a:pos x="64" y="9"/>
                        </a:cxn>
                      </a:cxnLst>
                      <a:rect l="0" t="0" r="r" b="b"/>
                      <a:pathLst>
                        <a:path w="989" h="246">
                          <a:moveTo>
                            <a:pt x="64" y="22"/>
                          </a:moveTo>
                          <a:cubicBezTo>
                            <a:pt x="117" y="11"/>
                            <a:pt x="219" y="52"/>
                            <a:pt x="278" y="61"/>
                          </a:cubicBezTo>
                          <a:cubicBezTo>
                            <a:pt x="351" y="72"/>
                            <a:pt x="416" y="74"/>
                            <a:pt x="494" y="74"/>
                          </a:cubicBezTo>
                          <a:cubicBezTo>
                            <a:pt x="575" y="74"/>
                            <a:pt x="659" y="84"/>
                            <a:pt x="736" y="72"/>
                          </a:cubicBezTo>
                          <a:cubicBezTo>
                            <a:pt x="817" y="60"/>
                            <a:pt x="883" y="38"/>
                            <a:pt x="968" y="42"/>
                          </a:cubicBezTo>
                          <a:cubicBezTo>
                            <a:pt x="989" y="190"/>
                            <a:pt x="876" y="211"/>
                            <a:pt x="755" y="217"/>
                          </a:cubicBezTo>
                          <a:cubicBezTo>
                            <a:pt x="645" y="223"/>
                            <a:pt x="531" y="246"/>
                            <a:pt x="423" y="237"/>
                          </a:cubicBezTo>
                          <a:cubicBezTo>
                            <a:pt x="328" y="229"/>
                            <a:pt x="238" y="182"/>
                            <a:pt x="142" y="165"/>
                          </a:cubicBezTo>
                          <a:cubicBezTo>
                            <a:pt x="93" y="157"/>
                            <a:pt x="30" y="186"/>
                            <a:pt x="12" y="133"/>
                          </a:cubicBezTo>
                          <a:cubicBezTo>
                            <a:pt x="0" y="99"/>
                            <a:pt x="20" y="0"/>
                            <a:pt x="64" y="9"/>
                          </a:cubicBezTo>
                        </a:path>
                      </a:pathLst>
                    </a:custGeom>
                    <a:solidFill>
                      <a:srgbClr val="0201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3" name="Freeform 401"/>
                    <p:cNvSpPr>
                      <a:spLocks/>
                    </p:cNvSpPr>
                    <p:nvPr/>
                  </p:nvSpPr>
                  <p:spPr bwMode="gray">
                    <a:xfrm>
                      <a:off x="18095912" y="-10504487"/>
                      <a:ext cx="1039813" cy="842963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40"/>
                        </a:cxn>
                        <a:cxn ang="0">
                          <a:pos x="110" y="21"/>
                        </a:cxn>
                        <a:cxn ang="0">
                          <a:pos x="204" y="165"/>
                        </a:cxn>
                        <a:cxn ang="0">
                          <a:pos x="2" y="201"/>
                        </a:cxn>
                        <a:cxn ang="0">
                          <a:pos x="2" y="171"/>
                        </a:cxn>
                        <a:cxn ang="0">
                          <a:pos x="184" y="138"/>
                        </a:cxn>
                        <a:cxn ang="0">
                          <a:pos x="14" y="53"/>
                        </a:cxn>
                      </a:cxnLst>
                      <a:rect l="0" t="0" r="r" b="b"/>
                      <a:pathLst>
                        <a:path w="277" h="225">
                          <a:moveTo>
                            <a:pt x="14" y="40"/>
                          </a:moveTo>
                          <a:cubicBezTo>
                            <a:pt x="25" y="0"/>
                            <a:pt x="77" y="13"/>
                            <a:pt x="110" y="21"/>
                          </a:cubicBezTo>
                          <a:cubicBezTo>
                            <a:pt x="146" y="65"/>
                            <a:pt x="277" y="65"/>
                            <a:pt x="204" y="165"/>
                          </a:cubicBezTo>
                          <a:cubicBezTo>
                            <a:pt x="165" y="220"/>
                            <a:pt x="59" y="225"/>
                            <a:pt x="2" y="201"/>
                          </a:cubicBezTo>
                          <a:cubicBezTo>
                            <a:pt x="0" y="192"/>
                            <a:pt x="0" y="181"/>
                            <a:pt x="2" y="171"/>
                          </a:cubicBezTo>
                          <a:cubicBezTo>
                            <a:pt x="46" y="169"/>
                            <a:pt x="173" y="202"/>
                            <a:pt x="184" y="138"/>
                          </a:cubicBezTo>
                          <a:cubicBezTo>
                            <a:pt x="196" y="62"/>
                            <a:pt x="58" y="65"/>
                            <a:pt x="14" y="53"/>
                          </a:cubicBezTo>
                        </a:path>
                      </a:pathLst>
                    </a:custGeom>
                    <a:solidFill>
                      <a:srgbClr val="C1C0B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4" name="Freeform 402"/>
                    <p:cNvSpPr>
                      <a:spLocks/>
                    </p:cNvSpPr>
                    <p:nvPr/>
                  </p:nvSpPr>
                  <p:spPr bwMode="gray">
                    <a:xfrm>
                      <a:off x="16386175" y="-16695737"/>
                      <a:ext cx="4079875" cy="6299200"/>
                    </a:xfrm>
                    <a:custGeom>
                      <a:avLst/>
                      <a:gdLst/>
                      <a:ahLst/>
                      <a:cxnLst>
                        <a:cxn ang="0">
                          <a:pos x="326" y="79"/>
                        </a:cxn>
                        <a:cxn ang="0">
                          <a:pos x="223" y="165"/>
                        </a:cxn>
                        <a:cxn ang="0">
                          <a:pos x="176" y="376"/>
                        </a:cxn>
                        <a:cxn ang="0">
                          <a:pos x="125" y="636"/>
                        </a:cxn>
                        <a:cxn ang="0">
                          <a:pos x="85" y="954"/>
                        </a:cxn>
                        <a:cxn ang="0">
                          <a:pos x="32" y="1171"/>
                        </a:cxn>
                        <a:cxn ang="0">
                          <a:pos x="21" y="1390"/>
                        </a:cxn>
                        <a:cxn ang="0">
                          <a:pos x="67" y="1561"/>
                        </a:cxn>
                        <a:cxn ang="0">
                          <a:pos x="209" y="1652"/>
                        </a:cxn>
                        <a:cxn ang="0">
                          <a:pos x="392" y="1658"/>
                        </a:cxn>
                        <a:cxn ang="0">
                          <a:pos x="561" y="1671"/>
                        </a:cxn>
                        <a:cxn ang="0">
                          <a:pos x="900" y="1658"/>
                        </a:cxn>
                        <a:cxn ang="0">
                          <a:pos x="1045" y="1612"/>
                        </a:cxn>
                        <a:cxn ang="0">
                          <a:pos x="1070" y="1374"/>
                        </a:cxn>
                        <a:cxn ang="0">
                          <a:pos x="1076" y="805"/>
                        </a:cxn>
                        <a:cxn ang="0">
                          <a:pos x="835" y="125"/>
                        </a:cxn>
                        <a:cxn ang="0">
                          <a:pos x="723" y="47"/>
                        </a:cxn>
                        <a:cxn ang="0">
                          <a:pos x="599" y="52"/>
                        </a:cxn>
                        <a:cxn ang="0">
                          <a:pos x="300" y="79"/>
                        </a:cxn>
                      </a:cxnLst>
                      <a:rect l="0" t="0" r="r" b="b"/>
                      <a:pathLst>
                        <a:path w="1088" h="1680">
                          <a:moveTo>
                            <a:pt x="326" y="79"/>
                          </a:moveTo>
                          <a:cubicBezTo>
                            <a:pt x="297" y="119"/>
                            <a:pt x="251" y="133"/>
                            <a:pt x="223" y="165"/>
                          </a:cubicBezTo>
                          <a:cubicBezTo>
                            <a:pt x="172" y="225"/>
                            <a:pt x="180" y="301"/>
                            <a:pt x="176" y="376"/>
                          </a:cubicBezTo>
                          <a:cubicBezTo>
                            <a:pt x="172" y="466"/>
                            <a:pt x="137" y="547"/>
                            <a:pt x="125" y="636"/>
                          </a:cubicBezTo>
                          <a:cubicBezTo>
                            <a:pt x="111" y="743"/>
                            <a:pt x="107" y="850"/>
                            <a:pt x="85" y="954"/>
                          </a:cubicBezTo>
                          <a:cubicBezTo>
                            <a:pt x="69" y="1026"/>
                            <a:pt x="40" y="1095"/>
                            <a:pt x="32" y="1171"/>
                          </a:cubicBezTo>
                          <a:cubicBezTo>
                            <a:pt x="25" y="1244"/>
                            <a:pt x="31" y="1322"/>
                            <a:pt x="21" y="1390"/>
                          </a:cubicBezTo>
                          <a:cubicBezTo>
                            <a:pt x="9" y="1472"/>
                            <a:pt x="0" y="1515"/>
                            <a:pt x="67" y="1561"/>
                          </a:cubicBezTo>
                          <a:cubicBezTo>
                            <a:pt x="111" y="1592"/>
                            <a:pt x="154" y="1641"/>
                            <a:pt x="209" y="1652"/>
                          </a:cubicBezTo>
                          <a:cubicBezTo>
                            <a:pt x="266" y="1663"/>
                            <a:pt x="334" y="1652"/>
                            <a:pt x="392" y="1658"/>
                          </a:cubicBezTo>
                          <a:cubicBezTo>
                            <a:pt x="446" y="1663"/>
                            <a:pt x="503" y="1671"/>
                            <a:pt x="561" y="1671"/>
                          </a:cubicBezTo>
                          <a:cubicBezTo>
                            <a:pt x="674" y="1671"/>
                            <a:pt x="793" y="1680"/>
                            <a:pt x="900" y="1658"/>
                          </a:cubicBezTo>
                          <a:cubicBezTo>
                            <a:pt x="942" y="1650"/>
                            <a:pt x="1014" y="1649"/>
                            <a:pt x="1045" y="1612"/>
                          </a:cubicBezTo>
                          <a:cubicBezTo>
                            <a:pt x="1088" y="1561"/>
                            <a:pt x="1070" y="1445"/>
                            <a:pt x="1070" y="1374"/>
                          </a:cubicBezTo>
                          <a:cubicBezTo>
                            <a:pt x="1070" y="1184"/>
                            <a:pt x="1077" y="994"/>
                            <a:pt x="1076" y="805"/>
                          </a:cubicBezTo>
                          <a:cubicBezTo>
                            <a:pt x="1076" y="561"/>
                            <a:pt x="1059" y="262"/>
                            <a:pt x="835" y="125"/>
                          </a:cubicBezTo>
                          <a:cubicBezTo>
                            <a:pt x="796" y="101"/>
                            <a:pt x="760" y="73"/>
                            <a:pt x="723" y="47"/>
                          </a:cubicBezTo>
                          <a:cubicBezTo>
                            <a:pt x="656" y="0"/>
                            <a:pt x="653" y="1"/>
                            <a:pt x="599" y="52"/>
                          </a:cubicBezTo>
                          <a:cubicBezTo>
                            <a:pt x="500" y="143"/>
                            <a:pt x="422" y="79"/>
                            <a:pt x="300" y="79"/>
                          </a:cubicBezTo>
                        </a:path>
                      </a:pathLst>
                    </a:custGeom>
                    <a:solidFill>
                      <a:srgbClr val="BDD5E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5" name="Freeform 403"/>
                    <p:cNvSpPr>
                      <a:spLocks/>
                    </p:cNvSpPr>
                    <p:nvPr/>
                  </p:nvSpPr>
                  <p:spPr bwMode="gray">
                    <a:xfrm>
                      <a:off x="16525875" y="-11393487"/>
                      <a:ext cx="487363" cy="839788"/>
                    </a:xfrm>
                    <a:custGeom>
                      <a:avLst/>
                      <a:gdLst/>
                      <a:ahLst/>
                      <a:cxnLst>
                        <a:cxn ang="0">
                          <a:pos x="130" y="224"/>
                        </a:cxn>
                        <a:cxn ang="0">
                          <a:pos x="61" y="117"/>
                        </a:cxn>
                        <a:cxn ang="0">
                          <a:pos x="16" y="0"/>
                        </a:cxn>
                        <a:cxn ang="0">
                          <a:pos x="45" y="130"/>
                        </a:cxn>
                        <a:cxn ang="0">
                          <a:pos x="70" y="197"/>
                        </a:cxn>
                      </a:cxnLst>
                      <a:rect l="0" t="0" r="r" b="b"/>
                      <a:pathLst>
                        <a:path w="130" h="224">
                          <a:moveTo>
                            <a:pt x="130" y="224"/>
                          </a:moveTo>
                          <a:cubicBezTo>
                            <a:pt x="113" y="187"/>
                            <a:pt x="85" y="149"/>
                            <a:pt x="61" y="117"/>
                          </a:cubicBezTo>
                          <a:cubicBezTo>
                            <a:pt x="32" y="79"/>
                            <a:pt x="24" y="47"/>
                            <a:pt x="16" y="0"/>
                          </a:cubicBezTo>
                          <a:cubicBezTo>
                            <a:pt x="0" y="52"/>
                            <a:pt x="26" y="88"/>
                            <a:pt x="45" y="130"/>
                          </a:cubicBezTo>
                          <a:cubicBezTo>
                            <a:pt x="58" y="158"/>
                            <a:pt x="39" y="186"/>
                            <a:pt x="70" y="197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6" name="Freeform 404"/>
                    <p:cNvSpPr>
                      <a:spLocks/>
                    </p:cNvSpPr>
                    <p:nvPr/>
                  </p:nvSpPr>
                  <p:spPr bwMode="gray">
                    <a:xfrm>
                      <a:off x="17429162" y="-10955337"/>
                      <a:ext cx="1660525" cy="5397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6"/>
                        </a:cxn>
                        <a:cxn ang="0">
                          <a:pos x="27" y="83"/>
                        </a:cxn>
                        <a:cxn ang="0">
                          <a:pos x="36" y="83"/>
                        </a:cxn>
                        <a:cxn ang="0">
                          <a:pos x="34" y="127"/>
                        </a:cxn>
                        <a:cxn ang="0">
                          <a:pos x="91" y="77"/>
                        </a:cxn>
                        <a:cxn ang="0">
                          <a:pos x="154" y="118"/>
                        </a:cxn>
                        <a:cxn ang="0">
                          <a:pos x="154" y="41"/>
                        </a:cxn>
                        <a:cxn ang="0">
                          <a:pos x="276" y="1"/>
                        </a:cxn>
                        <a:cxn ang="0">
                          <a:pos x="365" y="46"/>
                        </a:cxn>
                        <a:cxn ang="0">
                          <a:pos x="366" y="28"/>
                        </a:cxn>
                        <a:cxn ang="0">
                          <a:pos x="408" y="83"/>
                        </a:cxn>
                        <a:cxn ang="0">
                          <a:pos x="343" y="116"/>
                        </a:cxn>
                        <a:cxn ang="0">
                          <a:pos x="341" y="121"/>
                        </a:cxn>
                        <a:cxn ang="0">
                          <a:pos x="434" y="144"/>
                        </a:cxn>
                      </a:cxnLst>
                      <a:rect l="0" t="0" r="r" b="b"/>
                      <a:pathLst>
                        <a:path w="443" h="144">
                          <a:moveTo>
                            <a:pt x="0" y="126"/>
                          </a:moveTo>
                          <a:cubicBezTo>
                            <a:pt x="0" y="85"/>
                            <a:pt x="1" y="110"/>
                            <a:pt x="27" y="83"/>
                          </a:cubicBezTo>
                          <a:cubicBezTo>
                            <a:pt x="28" y="83"/>
                            <a:pt x="35" y="83"/>
                            <a:pt x="36" y="83"/>
                          </a:cubicBezTo>
                          <a:cubicBezTo>
                            <a:pt x="29" y="100"/>
                            <a:pt x="14" y="109"/>
                            <a:pt x="34" y="127"/>
                          </a:cubicBezTo>
                          <a:cubicBezTo>
                            <a:pt x="56" y="105"/>
                            <a:pt x="54" y="74"/>
                            <a:pt x="91" y="77"/>
                          </a:cubicBezTo>
                          <a:cubicBezTo>
                            <a:pt x="81" y="106"/>
                            <a:pt x="147" y="137"/>
                            <a:pt x="154" y="118"/>
                          </a:cubicBezTo>
                          <a:cubicBezTo>
                            <a:pt x="166" y="89"/>
                            <a:pt x="153" y="74"/>
                            <a:pt x="154" y="41"/>
                          </a:cubicBezTo>
                          <a:cubicBezTo>
                            <a:pt x="205" y="39"/>
                            <a:pt x="229" y="2"/>
                            <a:pt x="276" y="1"/>
                          </a:cubicBezTo>
                          <a:cubicBezTo>
                            <a:pt x="327" y="0"/>
                            <a:pt x="319" y="50"/>
                            <a:pt x="365" y="46"/>
                          </a:cubicBezTo>
                          <a:cubicBezTo>
                            <a:pt x="364" y="41"/>
                            <a:pt x="367" y="33"/>
                            <a:pt x="366" y="28"/>
                          </a:cubicBezTo>
                          <a:cubicBezTo>
                            <a:pt x="390" y="29"/>
                            <a:pt x="422" y="56"/>
                            <a:pt x="408" y="83"/>
                          </a:cubicBezTo>
                          <a:cubicBezTo>
                            <a:pt x="401" y="96"/>
                            <a:pt x="358" y="112"/>
                            <a:pt x="343" y="116"/>
                          </a:cubicBezTo>
                          <a:cubicBezTo>
                            <a:pt x="342" y="117"/>
                            <a:pt x="341" y="119"/>
                            <a:pt x="341" y="121"/>
                          </a:cubicBezTo>
                          <a:cubicBezTo>
                            <a:pt x="383" y="126"/>
                            <a:pt x="443" y="87"/>
                            <a:pt x="434" y="144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7" name="Freeform 405"/>
                    <p:cNvSpPr>
                      <a:spLocks/>
                    </p:cNvSpPr>
                    <p:nvPr/>
                  </p:nvSpPr>
                  <p:spPr bwMode="gray">
                    <a:xfrm>
                      <a:off x="19177000" y="-11074399"/>
                      <a:ext cx="573088" cy="655638"/>
                    </a:xfrm>
                    <a:custGeom>
                      <a:avLst/>
                      <a:gdLst/>
                      <a:ahLst/>
                      <a:cxnLst>
                        <a:cxn ang="0">
                          <a:pos x="36" y="147"/>
                        </a:cxn>
                        <a:cxn ang="0">
                          <a:pos x="0" y="63"/>
                        </a:cxn>
                        <a:cxn ang="0">
                          <a:pos x="65" y="147"/>
                        </a:cxn>
                        <a:cxn ang="0">
                          <a:pos x="110" y="48"/>
                        </a:cxn>
                        <a:cxn ang="0">
                          <a:pos x="124" y="127"/>
                        </a:cxn>
                        <a:cxn ang="0">
                          <a:pos x="66" y="173"/>
                        </a:cxn>
                        <a:cxn ang="0">
                          <a:pos x="23" y="131"/>
                        </a:cxn>
                      </a:cxnLst>
                      <a:rect l="0" t="0" r="r" b="b"/>
                      <a:pathLst>
                        <a:path w="153" h="175">
                          <a:moveTo>
                            <a:pt x="36" y="147"/>
                          </a:moveTo>
                          <a:cubicBezTo>
                            <a:pt x="40" y="110"/>
                            <a:pt x="16" y="92"/>
                            <a:pt x="0" y="63"/>
                          </a:cubicBezTo>
                          <a:cubicBezTo>
                            <a:pt x="42" y="64"/>
                            <a:pt x="32" y="137"/>
                            <a:pt x="65" y="147"/>
                          </a:cubicBezTo>
                          <a:cubicBezTo>
                            <a:pt x="125" y="166"/>
                            <a:pt x="90" y="71"/>
                            <a:pt x="110" y="48"/>
                          </a:cubicBezTo>
                          <a:cubicBezTo>
                            <a:pt x="153" y="0"/>
                            <a:pt x="129" y="108"/>
                            <a:pt x="124" y="127"/>
                          </a:cubicBezTo>
                          <a:cubicBezTo>
                            <a:pt x="116" y="153"/>
                            <a:pt x="96" y="175"/>
                            <a:pt x="66" y="173"/>
                          </a:cubicBezTo>
                          <a:cubicBezTo>
                            <a:pt x="35" y="171"/>
                            <a:pt x="29" y="136"/>
                            <a:pt x="23" y="131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8" name="Freeform 406"/>
                    <p:cNvSpPr>
                      <a:spLocks/>
                    </p:cNvSpPr>
                    <p:nvPr/>
                  </p:nvSpPr>
                  <p:spPr bwMode="gray">
                    <a:xfrm>
                      <a:off x="16278225" y="-10126662"/>
                      <a:ext cx="1822450" cy="2455863"/>
                    </a:xfrm>
                    <a:custGeom>
                      <a:avLst/>
                      <a:gdLst/>
                      <a:ahLst/>
                      <a:cxnLst>
                        <a:cxn ang="0">
                          <a:pos x="486" y="82"/>
                        </a:cxn>
                        <a:cxn ang="0">
                          <a:pos x="182" y="156"/>
                        </a:cxn>
                        <a:cxn ang="0">
                          <a:pos x="104" y="327"/>
                        </a:cxn>
                        <a:cxn ang="0">
                          <a:pos x="112" y="471"/>
                        </a:cxn>
                        <a:cxn ang="0">
                          <a:pos x="53" y="655"/>
                        </a:cxn>
                        <a:cxn ang="0">
                          <a:pos x="40" y="523"/>
                        </a:cxn>
                        <a:cxn ang="0">
                          <a:pos x="14" y="391"/>
                        </a:cxn>
                        <a:cxn ang="0">
                          <a:pos x="98" y="0"/>
                        </a:cxn>
                      </a:cxnLst>
                      <a:rect l="0" t="0" r="r" b="b"/>
                      <a:pathLst>
                        <a:path w="486" h="655">
                          <a:moveTo>
                            <a:pt x="486" y="82"/>
                          </a:moveTo>
                          <a:cubicBezTo>
                            <a:pt x="413" y="138"/>
                            <a:pt x="251" y="162"/>
                            <a:pt x="182" y="156"/>
                          </a:cubicBezTo>
                          <a:cubicBezTo>
                            <a:pt x="168" y="254"/>
                            <a:pt x="93" y="214"/>
                            <a:pt x="104" y="327"/>
                          </a:cubicBezTo>
                          <a:cubicBezTo>
                            <a:pt x="126" y="348"/>
                            <a:pt x="113" y="432"/>
                            <a:pt x="112" y="471"/>
                          </a:cubicBezTo>
                          <a:cubicBezTo>
                            <a:pt x="110" y="530"/>
                            <a:pt x="67" y="601"/>
                            <a:pt x="53" y="655"/>
                          </a:cubicBezTo>
                          <a:cubicBezTo>
                            <a:pt x="30" y="621"/>
                            <a:pt x="45" y="567"/>
                            <a:pt x="40" y="523"/>
                          </a:cubicBezTo>
                          <a:cubicBezTo>
                            <a:pt x="36" y="481"/>
                            <a:pt x="21" y="436"/>
                            <a:pt x="14" y="391"/>
                          </a:cubicBezTo>
                          <a:cubicBezTo>
                            <a:pt x="0" y="298"/>
                            <a:pt x="64" y="30"/>
                            <a:pt x="98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89" name="Freeform 407"/>
                    <p:cNvSpPr>
                      <a:spLocks/>
                    </p:cNvSpPr>
                    <p:nvPr/>
                  </p:nvSpPr>
                  <p:spPr bwMode="gray">
                    <a:xfrm>
                      <a:off x="19570700" y="-10167937"/>
                      <a:ext cx="1338263" cy="1739900"/>
                    </a:xfrm>
                    <a:custGeom>
                      <a:avLst/>
                      <a:gdLst/>
                      <a:ahLst/>
                      <a:cxnLst>
                        <a:cxn ang="0">
                          <a:pos x="84" y="38"/>
                        </a:cxn>
                        <a:cxn ang="0">
                          <a:pos x="131" y="1"/>
                        </a:cxn>
                        <a:cxn ang="0">
                          <a:pos x="157" y="38"/>
                        </a:cxn>
                        <a:cxn ang="0">
                          <a:pos x="213" y="126"/>
                        </a:cxn>
                        <a:cxn ang="0">
                          <a:pos x="267" y="204"/>
                        </a:cxn>
                        <a:cxn ang="0">
                          <a:pos x="318" y="317"/>
                        </a:cxn>
                        <a:cxn ang="0">
                          <a:pos x="346" y="411"/>
                        </a:cxn>
                        <a:cxn ang="0">
                          <a:pos x="303" y="463"/>
                        </a:cxn>
                        <a:cxn ang="0">
                          <a:pos x="256" y="414"/>
                        </a:cxn>
                        <a:cxn ang="0">
                          <a:pos x="200" y="385"/>
                        </a:cxn>
                        <a:cxn ang="0">
                          <a:pos x="167" y="252"/>
                        </a:cxn>
                        <a:cxn ang="0">
                          <a:pos x="157" y="199"/>
                        </a:cxn>
                        <a:cxn ang="0">
                          <a:pos x="126" y="158"/>
                        </a:cxn>
                        <a:cxn ang="0">
                          <a:pos x="46" y="116"/>
                        </a:cxn>
                        <a:cxn ang="0">
                          <a:pos x="27" y="60"/>
                        </a:cxn>
                        <a:cxn ang="0">
                          <a:pos x="84" y="38"/>
                        </a:cxn>
                      </a:cxnLst>
                      <a:rect l="0" t="0" r="r" b="b"/>
                      <a:pathLst>
                        <a:path w="357" h="464">
                          <a:moveTo>
                            <a:pt x="84" y="38"/>
                          </a:moveTo>
                          <a:cubicBezTo>
                            <a:pt x="95" y="32"/>
                            <a:pt x="122" y="2"/>
                            <a:pt x="131" y="1"/>
                          </a:cubicBezTo>
                          <a:cubicBezTo>
                            <a:pt x="146" y="0"/>
                            <a:pt x="152" y="26"/>
                            <a:pt x="157" y="38"/>
                          </a:cubicBezTo>
                          <a:cubicBezTo>
                            <a:pt x="171" y="71"/>
                            <a:pt x="187" y="102"/>
                            <a:pt x="213" y="126"/>
                          </a:cubicBezTo>
                          <a:cubicBezTo>
                            <a:pt x="236" y="148"/>
                            <a:pt x="257" y="175"/>
                            <a:pt x="267" y="204"/>
                          </a:cubicBezTo>
                          <a:cubicBezTo>
                            <a:pt x="282" y="246"/>
                            <a:pt x="291" y="279"/>
                            <a:pt x="318" y="317"/>
                          </a:cubicBezTo>
                          <a:cubicBezTo>
                            <a:pt x="337" y="344"/>
                            <a:pt x="357" y="376"/>
                            <a:pt x="346" y="411"/>
                          </a:cubicBezTo>
                          <a:cubicBezTo>
                            <a:pt x="342" y="423"/>
                            <a:pt x="313" y="463"/>
                            <a:pt x="303" y="463"/>
                          </a:cubicBezTo>
                          <a:cubicBezTo>
                            <a:pt x="285" y="464"/>
                            <a:pt x="266" y="425"/>
                            <a:pt x="256" y="414"/>
                          </a:cubicBezTo>
                          <a:cubicBezTo>
                            <a:pt x="241" y="399"/>
                            <a:pt x="217" y="402"/>
                            <a:pt x="200" y="385"/>
                          </a:cubicBezTo>
                          <a:cubicBezTo>
                            <a:pt x="165" y="351"/>
                            <a:pt x="169" y="299"/>
                            <a:pt x="167" y="252"/>
                          </a:cubicBezTo>
                          <a:cubicBezTo>
                            <a:pt x="166" y="230"/>
                            <a:pt x="168" y="218"/>
                            <a:pt x="157" y="199"/>
                          </a:cubicBezTo>
                          <a:cubicBezTo>
                            <a:pt x="149" y="185"/>
                            <a:pt x="137" y="168"/>
                            <a:pt x="126" y="158"/>
                          </a:cubicBezTo>
                          <a:cubicBezTo>
                            <a:pt x="105" y="138"/>
                            <a:pt x="74" y="124"/>
                            <a:pt x="46" y="116"/>
                          </a:cubicBezTo>
                          <a:cubicBezTo>
                            <a:pt x="18" y="109"/>
                            <a:pt x="0" y="78"/>
                            <a:pt x="27" y="60"/>
                          </a:cubicBezTo>
                          <a:cubicBezTo>
                            <a:pt x="42" y="49"/>
                            <a:pt x="67" y="47"/>
                            <a:pt x="84" y="38"/>
                          </a:cubicBezTo>
                          <a:close/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0" name="Freeform 409"/>
                    <p:cNvSpPr>
                      <a:spLocks/>
                    </p:cNvSpPr>
                    <p:nvPr/>
                  </p:nvSpPr>
                  <p:spPr bwMode="gray">
                    <a:xfrm>
                      <a:off x="17413288" y="-17345025"/>
                      <a:ext cx="1673225" cy="2054225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83"/>
                        </a:cxn>
                        <a:cxn ang="0">
                          <a:pos x="386" y="365"/>
                        </a:cxn>
                        <a:cxn ang="0">
                          <a:pos x="370" y="110"/>
                        </a:cxn>
                        <a:cxn ang="0">
                          <a:pos x="46" y="102"/>
                        </a:cxn>
                      </a:cxnLst>
                      <a:rect l="0" t="0" r="r" b="b"/>
                      <a:pathLst>
                        <a:path w="446" h="548">
                          <a:moveTo>
                            <a:pt x="26" y="83"/>
                          </a:moveTo>
                          <a:cubicBezTo>
                            <a:pt x="0" y="271"/>
                            <a:pt x="191" y="548"/>
                            <a:pt x="386" y="365"/>
                          </a:cubicBezTo>
                          <a:cubicBezTo>
                            <a:pt x="446" y="309"/>
                            <a:pt x="413" y="170"/>
                            <a:pt x="370" y="110"/>
                          </a:cubicBezTo>
                          <a:cubicBezTo>
                            <a:pt x="290" y="0"/>
                            <a:pt x="139" y="48"/>
                            <a:pt x="46" y="102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1" name="Freeform 410"/>
                    <p:cNvSpPr>
                      <a:spLocks/>
                    </p:cNvSpPr>
                    <p:nvPr/>
                  </p:nvSpPr>
                  <p:spPr bwMode="gray">
                    <a:xfrm>
                      <a:off x="17462500" y="-17146587"/>
                      <a:ext cx="1481138" cy="10017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7"/>
                        </a:cxn>
                        <a:cxn ang="0">
                          <a:pos x="114" y="220"/>
                        </a:cxn>
                        <a:cxn ang="0">
                          <a:pos x="327" y="207"/>
                        </a:cxn>
                        <a:cxn ang="0">
                          <a:pos x="390" y="0"/>
                        </a:cxn>
                      </a:cxnLst>
                      <a:rect l="0" t="0" r="r" b="b"/>
                      <a:pathLst>
                        <a:path w="395" h="267">
                          <a:moveTo>
                            <a:pt x="0" y="57"/>
                          </a:moveTo>
                          <a:cubicBezTo>
                            <a:pt x="21" y="138"/>
                            <a:pt x="43" y="178"/>
                            <a:pt x="114" y="220"/>
                          </a:cubicBezTo>
                          <a:cubicBezTo>
                            <a:pt x="179" y="260"/>
                            <a:pt x="261" y="267"/>
                            <a:pt x="327" y="207"/>
                          </a:cubicBezTo>
                          <a:cubicBezTo>
                            <a:pt x="395" y="147"/>
                            <a:pt x="385" y="88"/>
                            <a:pt x="390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2" name="Freeform 411"/>
                    <p:cNvSpPr>
                      <a:spLocks/>
                    </p:cNvSpPr>
                    <p:nvPr/>
                  </p:nvSpPr>
                  <p:spPr bwMode="gray">
                    <a:xfrm>
                      <a:off x="16840200" y="-19448462"/>
                      <a:ext cx="2436813" cy="3025775"/>
                    </a:xfrm>
                    <a:custGeom>
                      <a:avLst/>
                      <a:gdLst/>
                      <a:ahLst/>
                      <a:cxnLst>
                        <a:cxn ang="0">
                          <a:pos x="120" y="363"/>
                        </a:cxn>
                        <a:cxn ang="0">
                          <a:pos x="140" y="611"/>
                        </a:cxn>
                        <a:cxn ang="0">
                          <a:pos x="284" y="761"/>
                        </a:cxn>
                        <a:cxn ang="0">
                          <a:pos x="497" y="748"/>
                        </a:cxn>
                        <a:cxn ang="0">
                          <a:pos x="578" y="540"/>
                        </a:cxn>
                        <a:cxn ang="0">
                          <a:pos x="608" y="538"/>
                        </a:cxn>
                        <a:cxn ang="0">
                          <a:pos x="642" y="415"/>
                        </a:cxn>
                        <a:cxn ang="0">
                          <a:pos x="597" y="296"/>
                        </a:cxn>
                        <a:cxn ang="0">
                          <a:pos x="476" y="77"/>
                        </a:cxn>
                        <a:cxn ang="0">
                          <a:pos x="87" y="342"/>
                        </a:cxn>
                        <a:cxn ang="0">
                          <a:pos x="82" y="532"/>
                        </a:cxn>
                        <a:cxn ang="0">
                          <a:pos x="127" y="585"/>
                        </a:cxn>
                      </a:cxnLst>
                      <a:rect l="0" t="0" r="r" b="b"/>
                      <a:pathLst>
                        <a:path w="650" h="807">
                          <a:moveTo>
                            <a:pt x="120" y="363"/>
                          </a:moveTo>
                          <a:cubicBezTo>
                            <a:pt x="120" y="450"/>
                            <a:pt x="119" y="530"/>
                            <a:pt x="140" y="611"/>
                          </a:cubicBezTo>
                          <a:cubicBezTo>
                            <a:pt x="161" y="693"/>
                            <a:pt x="213" y="719"/>
                            <a:pt x="284" y="761"/>
                          </a:cubicBezTo>
                          <a:cubicBezTo>
                            <a:pt x="349" y="801"/>
                            <a:pt x="431" y="807"/>
                            <a:pt x="497" y="748"/>
                          </a:cubicBezTo>
                          <a:cubicBezTo>
                            <a:pt x="565" y="687"/>
                            <a:pt x="573" y="628"/>
                            <a:pt x="578" y="540"/>
                          </a:cubicBezTo>
                          <a:cubicBezTo>
                            <a:pt x="587" y="541"/>
                            <a:pt x="600" y="537"/>
                            <a:pt x="608" y="538"/>
                          </a:cubicBezTo>
                          <a:cubicBezTo>
                            <a:pt x="630" y="496"/>
                            <a:pt x="650" y="470"/>
                            <a:pt x="642" y="415"/>
                          </a:cubicBezTo>
                          <a:cubicBezTo>
                            <a:pt x="635" y="362"/>
                            <a:pt x="605" y="352"/>
                            <a:pt x="597" y="296"/>
                          </a:cubicBezTo>
                          <a:cubicBezTo>
                            <a:pt x="583" y="205"/>
                            <a:pt x="567" y="114"/>
                            <a:pt x="476" y="77"/>
                          </a:cubicBezTo>
                          <a:cubicBezTo>
                            <a:pt x="285" y="0"/>
                            <a:pt x="74" y="133"/>
                            <a:pt x="87" y="342"/>
                          </a:cubicBezTo>
                          <a:cubicBezTo>
                            <a:pt x="0" y="360"/>
                            <a:pt x="58" y="488"/>
                            <a:pt x="82" y="532"/>
                          </a:cubicBezTo>
                          <a:cubicBezTo>
                            <a:pt x="111" y="534"/>
                            <a:pt x="124" y="559"/>
                            <a:pt x="127" y="585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3" name="Freeform 412"/>
                    <p:cNvSpPr>
                      <a:spLocks/>
                    </p:cNvSpPr>
                    <p:nvPr/>
                  </p:nvSpPr>
                  <p:spPr bwMode="gray">
                    <a:xfrm>
                      <a:off x="15794038" y="-10055225"/>
                      <a:ext cx="1143000" cy="1477963"/>
                    </a:xfrm>
                    <a:custGeom>
                      <a:avLst/>
                      <a:gdLst/>
                      <a:ahLst/>
                      <a:cxnLst>
                        <a:cxn ang="0">
                          <a:pos x="54" y="180"/>
                        </a:cxn>
                        <a:cxn ang="0">
                          <a:pos x="124" y="312"/>
                        </a:cxn>
                        <a:cxn ang="0">
                          <a:pos x="248" y="388"/>
                        </a:cxn>
                        <a:cxn ang="0">
                          <a:pos x="295" y="278"/>
                        </a:cxn>
                        <a:cxn ang="0">
                          <a:pos x="225" y="166"/>
                        </a:cxn>
                        <a:cxn ang="0">
                          <a:pos x="27" y="161"/>
                        </a:cxn>
                      </a:cxnLst>
                      <a:rect l="0" t="0" r="r" b="b"/>
                      <a:pathLst>
                        <a:path w="305" h="394">
                          <a:moveTo>
                            <a:pt x="54" y="180"/>
                          </a:moveTo>
                          <a:cubicBezTo>
                            <a:pt x="51" y="221"/>
                            <a:pt x="101" y="280"/>
                            <a:pt x="124" y="312"/>
                          </a:cubicBezTo>
                          <a:cubicBezTo>
                            <a:pt x="155" y="357"/>
                            <a:pt x="188" y="394"/>
                            <a:pt x="248" y="388"/>
                          </a:cubicBezTo>
                          <a:cubicBezTo>
                            <a:pt x="261" y="346"/>
                            <a:pt x="289" y="322"/>
                            <a:pt x="295" y="278"/>
                          </a:cubicBezTo>
                          <a:cubicBezTo>
                            <a:pt x="305" y="206"/>
                            <a:pt x="278" y="202"/>
                            <a:pt x="225" y="166"/>
                          </a:cubicBezTo>
                          <a:cubicBezTo>
                            <a:pt x="188" y="140"/>
                            <a:pt x="0" y="0"/>
                            <a:pt x="27" y="161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4" name="Freeform 413"/>
                    <p:cNvSpPr>
                      <a:spLocks/>
                    </p:cNvSpPr>
                    <p:nvPr/>
                  </p:nvSpPr>
                  <p:spPr bwMode="gray">
                    <a:xfrm>
                      <a:off x="20154900" y="-10129837"/>
                      <a:ext cx="919163" cy="1376363"/>
                    </a:xfrm>
                    <a:custGeom>
                      <a:avLst/>
                      <a:gdLst/>
                      <a:ahLst/>
                      <a:cxnLst>
                        <a:cxn ang="0">
                          <a:pos x="215" y="161"/>
                        </a:cxn>
                        <a:cxn ang="0">
                          <a:pos x="170" y="247"/>
                        </a:cxn>
                        <a:cxn ang="0">
                          <a:pos x="71" y="357"/>
                        </a:cxn>
                        <a:cxn ang="0">
                          <a:pos x="6" y="227"/>
                        </a:cxn>
                        <a:cxn ang="0">
                          <a:pos x="221" y="148"/>
                        </a:cxn>
                      </a:cxnLst>
                      <a:rect l="0" t="0" r="r" b="b"/>
                      <a:pathLst>
                        <a:path w="245" h="367">
                          <a:moveTo>
                            <a:pt x="215" y="161"/>
                          </a:moveTo>
                          <a:cubicBezTo>
                            <a:pt x="237" y="200"/>
                            <a:pt x="202" y="231"/>
                            <a:pt x="170" y="247"/>
                          </a:cubicBezTo>
                          <a:cubicBezTo>
                            <a:pt x="170" y="302"/>
                            <a:pt x="133" y="367"/>
                            <a:pt x="71" y="357"/>
                          </a:cubicBezTo>
                          <a:cubicBezTo>
                            <a:pt x="22" y="349"/>
                            <a:pt x="0" y="278"/>
                            <a:pt x="6" y="227"/>
                          </a:cubicBezTo>
                          <a:cubicBezTo>
                            <a:pt x="17" y="135"/>
                            <a:pt x="245" y="0"/>
                            <a:pt x="221" y="148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5" name="Freeform 414"/>
                    <p:cNvSpPr>
                      <a:spLocks/>
                    </p:cNvSpPr>
                    <p:nvPr/>
                  </p:nvSpPr>
                  <p:spPr bwMode="gray">
                    <a:xfrm>
                      <a:off x="16052800" y="-9523412"/>
                      <a:ext cx="693738" cy="968375"/>
                    </a:xfrm>
                    <a:custGeom>
                      <a:avLst/>
                      <a:gdLst/>
                      <a:ahLst/>
                      <a:cxnLst>
                        <a:cxn ang="0">
                          <a:pos x="110" y="4"/>
                        </a:cxn>
                        <a:cxn ang="0">
                          <a:pos x="74" y="71"/>
                        </a:cxn>
                        <a:cxn ang="0">
                          <a:pos x="74" y="134"/>
                        </a:cxn>
                        <a:cxn ang="0">
                          <a:pos x="178" y="229"/>
                        </a:cxn>
                        <a:cxn ang="0">
                          <a:pos x="126" y="249"/>
                        </a:cxn>
                        <a:cxn ang="0">
                          <a:pos x="73" y="210"/>
                        </a:cxn>
                        <a:cxn ang="0">
                          <a:pos x="10" y="90"/>
                        </a:cxn>
                        <a:cxn ang="0">
                          <a:pos x="107" y="0"/>
                        </a:cxn>
                      </a:cxnLst>
                      <a:rect l="0" t="0" r="r" b="b"/>
                      <a:pathLst>
                        <a:path w="185" h="258">
                          <a:moveTo>
                            <a:pt x="110" y="4"/>
                          </a:moveTo>
                          <a:cubicBezTo>
                            <a:pt x="132" y="37"/>
                            <a:pt x="94" y="53"/>
                            <a:pt x="74" y="71"/>
                          </a:cubicBezTo>
                          <a:cubicBezTo>
                            <a:pt x="44" y="99"/>
                            <a:pt x="53" y="104"/>
                            <a:pt x="74" y="134"/>
                          </a:cubicBezTo>
                          <a:cubicBezTo>
                            <a:pt x="106" y="179"/>
                            <a:pt x="109" y="228"/>
                            <a:pt x="178" y="229"/>
                          </a:cubicBezTo>
                          <a:cubicBezTo>
                            <a:pt x="185" y="258"/>
                            <a:pt x="143" y="255"/>
                            <a:pt x="126" y="249"/>
                          </a:cubicBezTo>
                          <a:cubicBezTo>
                            <a:pt x="110" y="244"/>
                            <a:pt x="85" y="223"/>
                            <a:pt x="73" y="210"/>
                          </a:cubicBezTo>
                          <a:cubicBezTo>
                            <a:pt x="46" y="182"/>
                            <a:pt x="0" y="133"/>
                            <a:pt x="10" y="90"/>
                          </a:cubicBezTo>
                          <a:cubicBezTo>
                            <a:pt x="20" y="49"/>
                            <a:pt x="76" y="24"/>
                            <a:pt x="107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6" name="Freeform 415"/>
                    <p:cNvSpPr>
                      <a:spLocks/>
                    </p:cNvSpPr>
                    <p:nvPr/>
                  </p:nvSpPr>
                  <p:spPr bwMode="gray">
                    <a:xfrm>
                      <a:off x="18778538" y="-14390687"/>
                      <a:ext cx="1841500" cy="3438525"/>
                    </a:xfrm>
                    <a:custGeom>
                      <a:avLst/>
                      <a:gdLst/>
                      <a:ahLst/>
                      <a:cxnLst>
                        <a:cxn ang="0">
                          <a:pos x="127" y="186"/>
                        </a:cxn>
                        <a:cxn ang="0">
                          <a:pos x="7" y="0"/>
                        </a:cxn>
                        <a:cxn ang="0">
                          <a:pos x="133" y="262"/>
                        </a:cxn>
                        <a:cxn ang="0">
                          <a:pos x="125" y="299"/>
                        </a:cxn>
                        <a:cxn ang="0">
                          <a:pos x="79" y="250"/>
                        </a:cxn>
                        <a:cxn ang="0">
                          <a:pos x="26" y="252"/>
                        </a:cxn>
                        <a:cxn ang="0">
                          <a:pos x="49" y="316"/>
                        </a:cxn>
                        <a:cxn ang="0">
                          <a:pos x="107" y="382"/>
                        </a:cxn>
                        <a:cxn ang="0">
                          <a:pos x="143" y="519"/>
                        </a:cxn>
                        <a:cxn ang="0">
                          <a:pos x="111" y="639"/>
                        </a:cxn>
                        <a:cxn ang="0">
                          <a:pos x="179" y="614"/>
                        </a:cxn>
                        <a:cxn ang="0">
                          <a:pos x="111" y="698"/>
                        </a:cxn>
                        <a:cxn ang="0">
                          <a:pos x="72" y="805"/>
                        </a:cxn>
                        <a:cxn ang="0">
                          <a:pos x="166" y="731"/>
                        </a:cxn>
                        <a:cxn ang="0">
                          <a:pos x="234" y="799"/>
                        </a:cxn>
                        <a:cxn ang="0">
                          <a:pos x="286" y="777"/>
                        </a:cxn>
                        <a:cxn ang="0">
                          <a:pos x="266" y="847"/>
                        </a:cxn>
                        <a:cxn ang="0">
                          <a:pos x="244" y="903"/>
                        </a:cxn>
                        <a:cxn ang="0">
                          <a:pos x="310" y="877"/>
                        </a:cxn>
                        <a:cxn ang="0">
                          <a:pos x="385" y="803"/>
                        </a:cxn>
                        <a:cxn ang="0">
                          <a:pos x="431" y="689"/>
                        </a:cxn>
                        <a:cxn ang="0">
                          <a:pos x="466" y="542"/>
                        </a:cxn>
                        <a:cxn ang="0">
                          <a:pos x="402" y="237"/>
                        </a:cxn>
                        <a:cxn ang="0">
                          <a:pos x="323" y="186"/>
                        </a:cxn>
                        <a:cxn ang="0">
                          <a:pos x="248" y="209"/>
                        </a:cxn>
                        <a:cxn ang="0">
                          <a:pos x="112" y="180"/>
                        </a:cxn>
                        <a:cxn ang="0">
                          <a:pos x="124" y="183"/>
                        </a:cxn>
                      </a:cxnLst>
                      <a:rect l="0" t="0" r="r" b="b"/>
                      <a:pathLst>
                        <a:path w="491" h="917">
                          <a:moveTo>
                            <a:pt x="127" y="186"/>
                          </a:moveTo>
                          <a:cubicBezTo>
                            <a:pt x="43" y="152"/>
                            <a:pt x="50" y="58"/>
                            <a:pt x="7" y="0"/>
                          </a:cubicBezTo>
                          <a:cubicBezTo>
                            <a:pt x="0" y="103"/>
                            <a:pt x="76" y="187"/>
                            <a:pt x="133" y="262"/>
                          </a:cubicBezTo>
                          <a:cubicBezTo>
                            <a:pt x="148" y="281"/>
                            <a:pt x="166" y="312"/>
                            <a:pt x="125" y="299"/>
                          </a:cubicBezTo>
                          <a:cubicBezTo>
                            <a:pt x="105" y="294"/>
                            <a:pt x="92" y="263"/>
                            <a:pt x="79" y="250"/>
                          </a:cubicBezTo>
                          <a:cubicBezTo>
                            <a:pt x="61" y="233"/>
                            <a:pt x="38" y="221"/>
                            <a:pt x="26" y="252"/>
                          </a:cubicBezTo>
                          <a:cubicBezTo>
                            <a:pt x="17" y="276"/>
                            <a:pt x="38" y="298"/>
                            <a:pt x="49" y="316"/>
                          </a:cubicBezTo>
                          <a:cubicBezTo>
                            <a:pt x="68" y="344"/>
                            <a:pt x="66" y="399"/>
                            <a:pt x="107" y="382"/>
                          </a:cubicBezTo>
                          <a:cubicBezTo>
                            <a:pt x="109" y="429"/>
                            <a:pt x="122" y="480"/>
                            <a:pt x="143" y="519"/>
                          </a:cubicBezTo>
                          <a:cubicBezTo>
                            <a:pt x="177" y="579"/>
                            <a:pt x="150" y="590"/>
                            <a:pt x="111" y="639"/>
                          </a:cubicBezTo>
                          <a:cubicBezTo>
                            <a:pt x="137" y="643"/>
                            <a:pt x="162" y="633"/>
                            <a:pt x="179" y="614"/>
                          </a:cubicBezTo>
                          <a:cubicBezTo>
                            <a:pt x="170" y="648"/>
                            <a:pt x="134" y="672"/>
                            <a:pt x="111" y="698"/>
                          </a:cubicBezTo>
                          <a:cubicBezTo>
                            <a:pt x="79" y="735"/>
                            <a:pt x="70" y="757"/>
                            <a:pt x="72" y="805"/>
                          </a:cubicBezTo>
                          <a:cubicBezTo>
                            <a:pt x="113" y="798"/>
                            <a:pt x="132" y="736"/>
                            <a:pt x="166" y="731"/>
                          </a:cubicBezTo>
                          <a:cubicBezTo>
                            <a:pt x="223" y="722"/>
                            <a:pt x="192" y="808"/>
                            <a:pt x="234" y="799"/>
                          </a:cubicBezTo>
                          <a:cubicBezTo>
                            <a:pt x="245" y="776"/>
                            <a:pt x="261" y="768"/>
                            <a:pt x="286" y="777"/>
                          </a:cubicBezTo>
                          <a:cubicBezTo>
                            <a:pt x="288" y="806"/>
                            <a:pt x="284" y="827"/>
                            <a:pt x="266" y="847"/>
                          </a:cubicBezTo>
                          <a:cubicBezTo>
                            <a:pt x="256" y="860"/>
                            <a:pt x="218" y="882"/>
                            <a:pt x="244" y="903"/>
                          </a:cubicBezTo>
                          <a:cubicBezTo>
                            <a:pt x="262" y="917"/>
                            <a:pt x="299" y="886"/>
                            <a:pt x="310" y="877"/>
                          </a:cubicBezTo>
                          <a:cubicBezTo>
                            <a:pt x="332" y="857"/>
                            <a:pt x="368" y="827"/>
                            <a:pt x="385" y="803"/>
                          </a:cubicBezTo>
                          <a:cubicBezTo>
                            <a:pt x="407" y="770"/>
                            <a:pt x="416" y="725"/>
                            <a:pt x="431" y="689"/>
                          </a:cubicBezTo>
                          <a:cubicBezTo>
                            <a:pt x="451" y="642"/>
                            <a:pt x="460" y="593"/>
                            <a:pt x="466" y="542"/>
                          </a:cubicBezTo>
                          <a:cubicBezTo>
                            <a:pt x="480" y="434"/>
                            <a:pt x="491" y="313"/>
                            <a:pt x="402" y="237"/>
                          </a:cubicBezTo>
                          <a:cubicBezTo>
                            <a:pt x="384" y="222"/>
                            <a:pt x="347" y="187"/>
                            <a:pt x="323" y="186"/>
                          </a:cubicBezTo>
                          <a:cubicBezTo>
                            <a:pt x="295" y="184"/>
                            <a:pt x="278" y="208"/>
                            <a:pt x="248" y="209"/>
                          </a:cubicBezTo>
                          <a:cubicBezTo>
                            <a:pt x="208" y="210"/>
                            <a:pt x="143" y="202"/>
                            <a:pt x="112" y="180"/>
                          </a:cubicBezTo>
                          <a:cubicBezTo>
                            <a:pt x="117" y="178"/>
                            <a:pt x="118" y="182"/>
                            <a:pt x="124" y="183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7" name="Freeform 416"/>
                    <p:cNvSpPr>
                      <a:spLocks/>
                    </p:cNvSpPr>
                    <p:nvPr/>
                  </p:nvSpPr>
                  <p:spPr bwMode="gray">
                    <a:xfrm>
                      <a:off x="16776700" y="-13141325"/>
                      <a:ext cx="925513" cy="1766888"/>
                    </a:xfrm>
                    <a:custGeom>
                      <a:avLst/>
                      <a:gdLst/>
                      <a:ahLst/>
                      <a:cxnLst>
                        <a:cxn ang="0">
                          <a:pos x="224" y="68"/>
                        </a:cxn>
                        <a:cxn ang="0">
                          <a:pos x="194" y="287"/>
                        </a:cxn>
                        <a:cxn ang="0">
                          <a:pos x="158" y="325"/>
                        </a:cxn>
                        <a:cxn ang="0">
                          <a:pos x="103" y="346"/>
                        </a:cxn>
                        <a:cxn ang="0">
                          <a:pos x="110" y="466"/>
                        </a:cxn>
                        <a:cxn ang="0">
                          <a:pos x="76" y="454"/>
                        </a:cxn>
                        <a:cxn ang="0">
                          <a:pos x="31" y="450"/>
                        </a:cxn>
                        <a:cxn ang="0">
                          <a:pos x="5" y="385"/>
                        </a:cxn>
                        <a:cxn ang="0">
                          <a:pos x="94" y="277"/>
                        </a:cxn>
                        <a:cxn ang="0">
                          <a:pos x="106" y="198"/>
                        </a:cxn>
                        <a:cxn ang="0">
                          <a:pos x="149" y="144"/>
                        </a:cxn>
                        <a:cxn ang="0">
                          <a:pos x="220" y="17"/>
                        </a:cxn>
                        <a:cxn ang="0">
                          <a:pos x="204" y="104"/>
                        </a:cxn>
                      </a:cxnLst>
                      <a:rect l="0" t="0" r="r" b="b"/>
                      <a:pathLst>
                        <a:path w="247" h="471">
                          <a:moveTo>
                            <a:pt x="224" y="68"/>
                          </a:moveTo>
                          <a:cubicBezTo>
                            <a:pt x="166" y="132"/>
                            <a:pt x="247" y="221"/>
                            <a:pt x="194" y="287"/>
                          </a:cubicBezTo>
                          <a:cubicBezTo>
                            <a:pt x="186" y="297"/>
                            <a:pt x="170" y="319"/>
                            <a:pt x="158" y="325"/>
                          </a:cubicBezTo>
                          <a:cubicBezTo>
                            <a:pt x="135" y="336"/>
                            <a:pt x="121" y="325"/>
                            <a:pt x="103" y="346"/>
                          </a:cubicBezTo>
                          <a:cubicBezTo>
                            <a:pt x="78" y="375"/>
                            <a:pt x="86" y="437"/>
                            <a:pt x="110" y="466"/>
                          </a:cubicBezTo>
                          <a:cubicBezTo>
                            <a:pt x="91" y="471"/>
                            <a:pt x="89" y="458"/>
                            <a:pt x="76" y="454"/>
                          </a:cubicBezTo>
                          <a:cubicBezTo>
                            <a:pt x="62" y="451"/>
                            <a:pt x="44" y="455"/>
                            <a:pt x="31" y="450"/>
                          </a:cubicBezTo>
                          <a:cubicBezTo>
                            <a:pt x="6" y="441"/>
                            <a:pt x="0" y="410"/>
                            <a:pt x="5" y="385"/>
                          </a:cubicBezTo>
                          <a:cubicBezTo>
                            <a:pt x="16" y="333"/>
                            <a:pt x="83" y="332"/>
                            <a:pt x="94" y="277"/>
                          </a:cubicBezTo>
                          <a:cubicBezTo>
                            <a:pt x="99" y="249"/>
                            <a:pt x="91" y="223"/>
                            <a:pt x="106" y="198"/>
                          </a:cubicBezTo>
                          <a:cubicBezTo>
                            <a:pt x="119" y="178"/>
                            <a:pt x="139" y="166"/>
                            <a:pt x="149" y="144"/>
                          </a:cubicBezTo>
                          <a:cubicBezTo>
                            <a:pt x="162" y="115"/>
                            <a:pt x="164" y="0"/>
                            <a:pt x="220" y="17"/>
                          </a:cubicBezTo>
                          <a:cubicBezTo>
                            <a:pt x="227" y="60"/>
                            <a:pt x="224" y="70"/>
                            <a:pt x="204" y="104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8" name="Freeform 417"/>
                    <p:cNvSpPr>
                      <a:spLocks/>
                    </p:cNvSpPr>
                    <p:nvPr/>
                  </p:nvSpPr>
                  <p:spPr bwMode="gray">
                    <a:xfrm>
                      <a:off x="17079913" y="-15038387"/>
                      <a:ext cx="503238" cy="1217613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4"/>
                        </a:cxn>
                        <a:cxn ang="0">
                          <a:pos x="43" y="294"/>
                        </a:cxn>
                        <a:cxn ang="0">
                          <a:pos x="3" y="266"/>
                        </a:cxn>
                        <a:cxn ang="0">
                          <a:pos x="9" y="134"/>
                        </a:cxn>
                        <a:cxn ang="0">
                          <a:pos x="61" y="0"/>
                        </a:cxn>
                      </a:cxnLst>
                      <a:rect l="0" t="0" r="r" b="b"/>
                      <a:pathLst>
                        <a:path w="134" h="325">
                          <a:moveTo>
                            <a:pt x="48" y="4"/>
                          </a:moveTo>
                          <a:cubicBezTo>
                            <a:pt x="134" y="34"/>
                            <a:pt x="93" y="246"/>
                            <a:pt x="43" y="294"/>
                          </a:cubicBezTo>
                          <a:cubicBezTo>
                            <a:pt x="10" y="325"/>
                            <a:pt x="0" y="313"/>
                            <a:pt x="3" y="266"/>
                          </a:cubicBezTo>
                          <a:cubicBezTo>
                            <a:pt x="5" y="222"/>
                            <a:pt x="11" y="179"/>
                            <a:pt x="9" y="134"/>
                          </a:cubicBezTo>
                          <a:cubicBezTo>
                            <a:pt x="6" y="67"/>
                            <a:pt x="2" y="34"/>
                            <a:pt x="61" y="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99" name="Freeform 418"/>
                    <p:cNvSpPr>
                      <a:spLocks/>
                    </p:cNvSpPr>
                    <p:nvPr/>
                  </p:nvSpPr>
                  <p:spPr bwMode="gray">
                    <a:xfrm>
                      <a:off x="18954750" y="-15478125"/>
                      <a:ext cx="555625" cy="1500188"/>
                    </a:xfrm>
                    <a:custGeom>
                      <a:avLst/>
                      <a:gdLst/>
                      <a:ahLst/>
                      <a:cxnLst>
                        <a:cxn ang="0">
                          <a:pos x="24" y="0"/>
                        </a:cxn>
                        <a:cxn ang="0">
                          <a:pos x="64" y="217"/>
                        </a:cxn>
                        <a:cxn ang="0">
                          <a:pos x="97" y="310"/>
                        </a:cxn>
                        <a:cxn ang="0">
                          <a:pos x="148" y="394"/>
                        </a:cxn>
                        <a:cxn ang="0">
                          <a:pos x="54" y="267"/>
                        </a:cxn>
                        <a:cxn ang="0">
                          <a:pos x="20" y="176"/>
                        </a:cxn>
                        <a:cxn ang="0">
                          <a:pos x="2" y="85"/>
                        </a:cxn>
                        <a:cxn ang="0">
                          <a:pos x="28" y="144"/>
                        </a:cxn>
                        <a:cxn ang="0">
                          <a:pos x="38" y="65"/>
                        </a:cxn>
                      </a:cxnLst>
                      <a:rect l="0" t="0" r="r" b="b"/>
                      <a:pathLst>
                        <a:path w="148" h="400">
                          <a:moveTo>
                            <a:pt x="24" y="0"/>
                          </a:moveTo>
                          <a:cubicBezTo>
                            <a:pt x="25" y="76"/>
                            <a:pt x="50" y="144"/>
                            <a:pt x="64" y="217"/>
                          </a:cubicBezTo>
                          <a:cubicBezTo>
                            <a:pt x="70" y="251"/>
                            <a:pt x="77" y="281"/>
                            <a:pt x="97" y="310"/>
                          </a:cubicBezTo>
                          <a:cubicBezTo>
                            <a:pt x="115" y="335"/>
                            <a:pt x="143" y="362"/>
                            <a:pt x="148" y="394"/>
                          </a:cubicBezTo>
                          <a:cubicBezTo>
                            <a:pt x="107" y="400"/>
                            <a:pt x="67" y="296"/>
                            <a:pt x="54" y="267"/>
                          </a:cubicBezTo>
                          <a:cubicBezTo>
                            <a:pt x="42" y="238"/>
                            <a:pt x="29" y="208"/>
                            <a:pt x="20" y="176"/>
                          </a:cubicBezTo>
                          <a:cubicBezTo>
                            <a:pt x="13" y="146"/>
                            <a:pt x="16" y="111"/>
                            <a:pt x="2" y="85"/>
                          </a:cubicBezTo>
                          <a:cubicBezTo>
                            <a:pt x="0" y="102"/>
                            <a:pt x="13" y="134"/>
                            <a:pt x="28" y="144"/>
                          </a:cubicBezTo>
                          <a:cubicBezTo>
                            <a:pt x="41" y="122"/>
                            <a:pt x="38" y="92"/>
                            <a:pt x="38" y="65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0" name="Freeform 419"/>
                    <p:cNvSpPr>
                      <a:spLocks/>
                    </p:cNvSpPr>
                    <p:nvPr/>
                  </p:nvSpPr>
                  <p:spPr bwMode="gray">
                    <a:xfrm>
                      <a:off x="18164175" y="-16414750"/>
                      <a:ext cx="1222375" cy="1258888"/>
                    </a:xfrm>
                    <a:custGeom>
                      <a:avLst/>
                      <a:gdLst/>
                      <a:ahLst/>
                      <a:cxnLst>
                        <a:cxn ang="0">
                          <a:pos x="177" y="266"/>
                        </a:cxn>
                        <a:cxn ang="0">
                          <a:pos x="267" y="187"/>
                        </a:cxn>
                        <a:cxn ang="0">
                          <a:pos x="282" y="34"/>
                        </a:cxn>
                        <a:cxn ang="0">
                          <a:pos x="180" y="188"/>
                        </a:cxn>
                        <a:cxn ang="0">
                          <a:pos x="170" y="275"/>
                        </a:cxn>
                        <a:cxn ang="0">
                          <a:pos x="134" y="282"/>
                        </a:cxn>
                        <a:cxn ang="0">
                          <a:pos x="115" y="282"/>
                        </a:cxn>
                        <a:cxn ang="0">
                          <a:pos x="104" y="298"/>
                        </a:cxn>
                        <a:cxn ang="0">
                          <a:pos x="24" y="260"/>
                        </a:cxn>
                        <a:cxn ang="0">
                          <a:pos x="144" y="155"/>
                        </a:cxn>
                      </a:cxnLst>
                      <a:rect l="0" t="0" r="r" b="b"/>
                      <a:pathLst>
                        <a:path w="326" h="336">
                          <a:moveTo>
                            <a:pt x="177" y="266"/>
                          </a:moveTo>
                          <a:cubicBezTo>
                            <a:pt x="186" y="318"/>
                            <a:pt x="258" y="202"/>
                            <a:pt x="267" y="187"/>
                          </a:cubicBezTo>
                          <a:cubicBezTo>
                            <a:pt x="287" y="153"/>
                            <a:pt x="326" y="57"/>
                            <a:pt x="282" y="34"/>
                          </a:cubicBezTo>
                          <a:cubicBezTo>
                            <a:pt x="213" y="0"/>
                            <a:pt x="180" y="141"/>
                            <a:pt x="180" y="188"/>
                          </a:cubicBezTo>
                          <a:cubicBezTo>
                            <a:pt x="180" y="212"/>
                            <a:pt x="189" y="258"/>
                            <a:pt x="170" y="275"/>
                          </a:cubicBezTo>
                          <a:cubicBezTo>
                            <a:pt x="163" y="281"/>
                            <a:pt x="143" y="280"/>
                            <a:pt x="134" y="282"/>
                          </a:cubicBezTo>
                          <a:cubicBezTo>
                            <a:pt x="129" y="284"/>
                            <a:pt x="120" y="280"/>
                            <a:pt x="115" y="282"/>
                          </a:cubicBezTo>
                          <a:cubicBezTo>
                            <a:pt x="107" y="286"/>
                            <a:pt x="110" y="295"/>
                            <a:pt x="104" y="298"/>
                          </a:cubicBezTo>
                          <a:cubicBezTo>
                            <a:pt x="60" y="325"/>
                            <a:pt x="0" y="336"/>
                            <a:pt x="24" y="260"/>
                          </a:cubicBezTo>
                          <a:cubicBezTo>
                            <a:pt x="42" y="204"/>
                            <a:pt x="111" y="200"/>
                            <a:pt x="144" y="155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1" name="Freeform 420"/>
                    <p:cNvSpPr>
                      <a:spLocks/>
                    </p:cNvSpPr>
                    <p:nvPr/>
                  </p:nvSpPr>
                  <p:spPr bwMode="gray">
                    <a:xfrm>
                      <a:off x="17275175" y="-16230600"/>
                      <a:ext cx="930275" cy="10795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8"/>
                        </a:cxn>
                        <a:cxn ang="0">
                          <a:pos x="23" y="96"/>
                        </a:cxn>
                        <a:cxn ang="0">
                          <a:pos x="54" y="156"/>
                        </a:cxn>
                        <a:cxn ang="0">
                          <a:pos x="91" y="288"/>
                        </a:cxn>
                        <a:cxn ang="0">
                          <a:pos x="107" y="237"/>
                        </a:cxn>
                        <a:cxn ang="0">
                          <a:pos x="157" y="244"/>
                        </a:cxn>
                        <a:cxn ang="0">
                          <a:pos x="189" y="230"/>
                        </a:cxn>
                        <a:cxn ang="0">
                          <a:pos x="212" y="247"/>
                        </a:cxn>
                        <a:cxn ang="0">
                          <a:pos x="232" y="216"/>
                        </a:cxn>
                        <a:cxn ang="0">
                          <a:pos x="173" y="180"/>
                        </a:cxn>
                        <a:cxn ang="0">
                          <a:pos x="114" y="110"/>
                        </a:cxn>
                        <a:cxn ang="0">
                          <a:pos x="75" y="35"/>
                        </a:cxn>
                        <a:cxn ang="0">
                          <a:pos x="0" y="41"/>
                        </a:cxn>
                      </a:cxnLst>
                      <a:rect l="0" t="0" r="r" b="b"/>
                      <a:pathLst>
                        <a:path w="248" h="288">
                          <a:moveTo>
                            <a:pt x="0" y="38"/>
                          </a:moveTo>
                          <a:cubicBezTo>
                            <a:pt x="14" y="53"/>
                            <a:pt x="14" y="78"/>
                            <a:pt x="23" y="96"/>
                          </a:cubicBezTo>
                          <a:cubicBezTo>
                            <a:pt x="34" y="117"/>
                            <a:pt x="46" y="134"/>
                            <a:pt x="54" y="156"/>
                          </a:cubicBezTo>
                          <a:cubicBezTo>
                            <a:pt x="72" y="201"/>
                            <a:pt x="78" y="242"/>
                            <a:pt x="91" y="288"/>
                          </a:cubicBezTo>
                          <a:cubicBezTo>
                            <a:pt x="91" y="266"/>
                            <a:pt x="86" y="247"/>
                            <a:pt x="107" y="237"/>
                          </a:cubicBezTo>
                          <a:cubicBezTo>
                            <a:pt x="127" y="227"/>
                            <a:pt x="141" y="245"/>
                            <a:pt x="157" y="244"/>
                          </a:cubicBezTo>
                          <a:cubicBezTo>
                            <a:pt x="169" y="243"/>
                            <a:pt x="174" y="229"/>
                            <a:pt x="189" y="230"/>
                          </a:cubicBezTo>
                          <a:cubicBezTo>
                            <a:pt x="202" y="231"/>
                            <a:pt x="207" y="245"/>
                            <a:pt x="212" y="247"/>
                          </a:cubicBezTo>
                          <a:cubicBezTo>
                            <a:pt x="235" y="252"/>
                            <a:pt x="248" y="241"/>
                            <a:pt x="232" y="216"/>
                          </a:cubicBezTo>
                          <a:cubicBezTo>
                            <a:pt x="222" y="201"/>
                            <a:pt x="189" y="191"/>
                            <a:pt x="173" y="180"/>
                          </a:cubicBezTo>
                          <a:cubicBezTo>
                            <a:pt x="146" y="162"/>
                            <a:pt x="130" y="138"/>
                            <a:pt x="114" y="110"/>
                          </a:cubicBezTo>
                          <a:cubicBezTo>
                            <a:pt x="101" y="85"/>
                            <a:pt x="93" y="57"/>
                            <a:pt x="75" y="35"/>
                          </a:cubicBezTo>
                          <a:cubicBezTo>
                            <a:pt x="46" y="0"/>
                            <a:pt x="34" y="24"/>
                            <a:pt x="0" y="41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2" name="Freeform 421"/>
                    <p:cNvSpPr>
                      <a:spLocks/>
                    </p:cNvSpPr>
                    <p:nvPr/>
                  </p:nvSpPr>
                  <p:spPr bwMode="gray">
                    <a:xfrm>
                      <a:off x="17822863" y="-2082800"/>
                      <a:ext cx="922338" cy="2032000"/>
                    </a:xfrm>
                    <a:custGeom>
                      <a:avLst/>
                      <a:gdLst/>
                      <a:ahLst/>
                      <a:cxnLst>
                        <a:cxn ang="0">
                          <a:pos x="141" y="0"/>
                        </a:cxn>
                        <a:cxn ang="0">
                          <a:pos x="114" y="114"/>
                        </a:cxn>
                        <a:cxn ang="0">
                          <a:pos x="155" y="166"/>
                        </a:cxn>
                        <a:cxn ang="0">
                          <a:pos x="167" y="252"/>
                        </a:cxn>
                        <a:cxn ang="0">
                          <a:pos x="163" y="299"/>
                        </a:cxn>
                        <a:cxn ang="0">
                          <a:pos x="180" y="346"/>
                        </a:cxn>
                        <a:cxn ang="0">
                          <a:pos x="138" y="384"/>
                        </a:cxn>
                        <a:cxn ang="0">
                          <a:pos x="128" y="418"/>
                        </a:cxn>
                        <a:cxn ang="0">
                          <a:pos x="92" y="463"/>
                        </a:cxn>
                        <a:cxn ang="0">
                          <a:pos x="27" y="472"/>
                        </a:cxn>
                        <a:cxn ang="0">
                          <a:pos x="30" y="505"/>
                        </a:cxn>
                        <a:cxn ang="0">
                          <a:pos x="7" y="521"/>
                        </a:cxn>
                        <a:cxn ang="0">
                          <a:pos x="43" y="538"/>
                        </a:cxn>
                        <a:cxn ang="0">
                          <a:pos x="203" y="466"/>
                        </a:cxn>
                        <a:cxn ang="0">
                          <a:pos x="219" y="384"/>
                        </a:cxn>
                        <a:cxn ang="0">
                          <a:pos x="238" y="294"/>
                        </a:cxn>
                        <a:cxn ang="0">
                          <a:pos x="161" y="83"/>
                        </a:cxn>
                        <a:cxn ang="0">
                          <a:pos x="141" y="22"/>
                        </a:cxn>
                      </a:cxnLst>
                      <a:rect l="0" t="0" r="r" b="b"/>
                      <a:pathLst>
                        <a:path w="246" h="542">
                          <a:moveTo>
                            <a:pt x="141" y="0"/>
                          </a:moveTo>
                          <a:cubicBezTo>
                            <a:pt x="134" y="39"/>
                            <a:pt x="110" y="70"/>
                            <a:pt x="114" y="114"/>
                          </a:cubicBezTo>
                          <a:cubicBezTo>
                            <a:pt x="117" y="147"/>
                            <a:pt x="134" y="148"/>
                            <a:pt x="155" y="166"/>
                          </a:cubicBezTo>
                          <a:cubicBezTo>
                            <a:pt x="186" y="191"/>
                            <a:pt x="176" y="216"/>
                            <a:pt x="167" y="252"/>
                          </a:cubicBezTo>
                          <a:cubicBezTo>
                            <a:pt x="163" y="268"/>
                            <a:pt x="158" y="281"/>
                            <a:pt x="163" y="299"/>
                          </a:cubicBezTo>
                          <a:cubicBezTo>
                            <a:pt x="168" y="318"/>
                            <a:pt x="184" y="323"/>
                            <a:pt x="180" y="346"/>
                          </a:cubicBezTo>
                          <a:cubicBezTo>
                            <a:pt x="175" y="377"/>
                            <a:pt x="156" y="365"/>
                            <a:pt x="138" y="384"/>
                          </a:cubicBezTo>
                          <a:cubicBezTo>
                            <a:pt x="126" y="395"/>
                            <a:pt x="130" y="401"/>
                            <a:pt x="128" y="418"/>
                          </a:cubicBezTo>
                          <a:cubicBezTo>
                            <a:pt x="123" y="453"/>
                            <a:pt x="124" y="456"/>
                            <a:pt x="92" y="463"/>
                          </a:cubicBezTo>
                          <a:cubicBezTo>
                            <a:pt x="71" y="469"/>
                            <a:pt x="49" y="471"/>
                            <a:pt x="27" y="472"/>
                          </a:cubicBezTo>
                          <a:cubicBezTo>
                            <a:pt x="57" y="483"/>
                            <a:pt x="55" y="489"/>
                            <a:pt x="30" y="505"/>
                          </a:cubicBezTo>
                          <a:cubicBezTo>
                            <a:pt x="17" y="513"/>
                            <a:pt x="0" y="497"/>
                            <a:pt x="7" y="521"/>
                          </a:cubicBezTo>
                          <a:cubicBezTo>
                            <a:pt x="10" y="534"/>
                            <a:pt x="32" y="537"/>
                            <a:pt x="43" y="538"/>
                          </a:cubicBezTo>
                          <a:cubicBezTo>
                            <a:pt x="101" y="542"/>
                            <a:pt x="175" y="515"/>
                            <a:pt x="203" y="466"/>
                          </a:cubicBezTo>
                          <a:cubicBezTo>
                            <a:pt x="218" y="441"/>
                            <a:pt x="215" y="414"/>
                            <a:pt x="219" y="384"/>
                          </a:cubicBezTo>
                          <a:cubicBezTo>
                            <a:pt x="222" y="353"/>
                            <a:pt x="236" y="324"/>
                            <a:pt x="238" y="294"/>
                          </a:cubicBezTo>
                          <a:cubicBezTo>
                            <a:pt x="246" y="216"/>
                            <a:pt x="196" y="142"/>
                            <a:pt x="161" y="83"/>
                          </a:cubicBezTo>
                          <a:cubicBezTo>
                            <a:pt x="151" y="66"/>
                            <a:pt x="141" y="43"/>
                            <a:pt x="141" y="22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3" name="Freeform 422"/>
                    <p:cNvSpPr>
                      <a:spLocks/>
                    </p:cNvSpPr>
                    <p:nvPr/>
                  </p:nvSpPr>
                  <p:spPr bwMode="gray">
                    <a:xfrm>
                      <a:off x="14946313" y="-16430625"/>
                      <a:ext cx="2662238" cy="7631113"/>
                    </a:xfrm>
                    <a:custGeom>
                      <a:avLst/>
                      <a:gdLst/>
                      <a:ahLst/>
                      <a:cxnLst>
                        <a:cxn ang="0">
                          <a:pos x="710" y="8"/>
                        </a:cxn>
                        <a:cxn ang="0">
                          <a:pos x="461" y="124"/>
                        </a:cxn>
                        <a:cxn ang="0">
                          <a:pos x="220" y="242"/>
                        </a:cxn>
                        <a:cxn ang="0">
                          <a:pos x="97" y="511"/>
                        </a:cxn>
                        <a:cxn ang="0">
                          <a:pos x="45" y="889"/>
                        </a:cxn>
                        <a:cxn ang="0">
                          <a:pos x="19" y="1215"/>
                        </a:cxn>
                        <a:cxn ang="0">
                          <a:pos x="92" y="1547"/>
                        </a:cxn>
                        <a:cxn ang="0">
                          <a:pos x="103" y="1672"/>
                        </a:cxn>
                        <a:cxn ang="0">
                          <a:pos x="161" y="1815"/>
                        </a:cxn>
                        <a:cxn ang="0">
                          <a:pos x="285" y="2035"/>
                        </a:cxn>
                        <a:cxn ang="0">
                          <a:pos x="350" y="1892"/>
                        </a:cxn>
                        <a:cxn ang="0">
                          <a:pos x="424" y="1784"/>
                        </a:cxn>
                        <a:cxn ang="0">
                          <a:pos x="436" y="1691"/>
                        </a:cxn>
                        <a:cxn ang="0">
                          <a:pos x="438" y="1566"/>
                        </a:cxn>
                        <a:cxn ang="0">
                          <a:pos x="346" y="1448"/>
                        </a:cxn>
                        <a:cxn ang="0">
                          <a:pos x="312" y="1328"/>
                        </a:cxn>
                        <a:cxn ang="0">
                          <a:pos x="346" y="1417"/>
                        </a:cxn>
                        <a:cxn ang="0">
                          <a:pos x="351" y="1515"/>
                        </a:cxn>
                        <a:cxn ang="0">
                          <a:pos x="442" y="1684"/>
                        </a:cxn>
                        <a:cxn ang="0">
                          <a:pos x="480" y="1383"/>
                        </a:cxn>
                        <a:cxn ang="0">
                          <a:pos x="645" y="1164"/>
                        </a:cxn>
                        <a:cxn ang="0">
                          <a:pos x="651" y="830"/>
                        </a:cxn>
                        <a:cxn ang="0">
                          <a:pos x="633" y="484"/>
                        </a:cxn>
                        <a:cxn ang="0">
                          <a:pos x="638" y="211"/>
                        </a:cxn>
                        <a:cxn ang="0">
                          <a:pos x="689" y="0"/>
                        </a:cxn>
                      </a:cxnLst>
                      <a:rect l="0" t="0" r="r" b="b"/>
                      <a:pathLst>
                        <a:path w="710" h="2035">
                          <a:moveTo>
                            <a:pt x="710" y="8"/>
                          </a:moveTo>
                          <a:cubicBezTo>
                            <a:pt x="634" y="55"/>
                            <a:pt x="553" y="92"/>
                            <a:pt x="461" y="124"/>
                          </a:cubicBezTo>
                          <a:cubicBezTo>
                            <a:pt x="373" y="155"/>
                            <a:pt x="294" y="189"/>
                            <a:pt x="220" y="242"/>
                          </a:cubicBezTo>
                          <a:cubicBezTo>
                            <a:pt x="122" y="311"/>
                            <a:pt x="102" y="391"/>
                            <a:pt x="97" y="511"/>
                          </a:cubicBezTo>
                          <a:cubicBezTo>
                            <a:pt x="92" y="641"/>
                            <a:pt x="50" y="759"/>
                            <a:pt x="45" y="889"/>
                          </a:cubicBezTo>
                          <a:cubicBezTo>
                            <a:pt x="40" y="1001"/>
                            <a:pt x="36" y="1107"/>
                            <a:pt x="19" y="1215"/>
                          </a:cubicBezTo>
                          <a:cubicBezTo>
                            <a:pt x="0" y="1330"/>
                            <a:pt x="58" y="1440"/>
                            <a:pt x="92" y="1547"/>
                          </a:cubicBezTo>
                          <a:cubicBezTo>
                            <a:pt x="109" y="1602"/>
                            <a:pt x="106" y="1613"/>
                            <a:pt x="103" y="1672"/>
                          </a:cubicBezTo>
                          <a:cubicBezTo>
                            <a:pt x="100" y="1744"/>
                            <a:pt x="128" y="1759"/>
                            <a:pt x="161" y="1815"/>
                          </a:cubicBezTo>
                          <a:cubicBezTo>
                            <a:pt x="199" y="1882"/>
                            <a:pt x="204" y="1990"/>
                            <a:pt x="285" y="2035"/>
                          </a:cubicBezTo>
                          <a:cubicBezTo>
                            <a:pt x="302" y="1952"/>
                            <a:pt x="281" y="1934"/>
                            <a:pt x="350" y="1892"/>
                          </a:cubicBezTo>
                          <a:cubicBezTo>
                            <a:pt x="393" y="1865"/>
                            <a:pt x="418" y="1834"/>
                            <a:pt x="424" y="1784"/>
                          </a:cubicBezTo>
                          <a:cubicBezTo>
                            <a:pt x="484" y="1758"/>
                            <a:pt x="441" y="1724"/>
                            <a:pt x="436" y="1691"/>
                          </a:cubicBezTo>
                          <a:cubicBezTo>
                            <a:pt x="430" y="1650"/>
                            <a:pt x="449" y="1610"/>
                            <a:pt x="438" y="1566"/>
                          </a:cubicBezTo>
                          <a:cubicBezTo>
                            <a:pt x="423" y="1511"/>
                            <a:pt x="375" y="1496"/>
                            <a:pt x="346" y="1448"/>
                          </a:cubicBezTo>
                          <a:cubicBezTo>
                            <a:pt x="323" y="1410"/>
                            <a:pt x="333" y="1365"/>
                            <a:pt x="312" y="1328"/>
                          </a:cubicBezTo>
                          <a:cubicBezTo>
                            <a:pt x="315" y="1365"/>
                            <a:pt x="336" y="1385"/>
                            <a:pt x="346" y="1417"/>
                          </a:cubicBezTo>
                          <a:cubicBezTo>
                            <a:pt x="357" y="1451"/>
                            <a:pt x="344" y="1485"/>
                            <a:pt x="351" y="1515"/>
                          </a:cubicBezTo>
                          <a:cubicBezTo>
                            <a:pt x="364" y="1569"/>
                            <a:pt x="421" y="1628"/>
                            <a:pt x="442" y="1684"/>
                          </a:cubicBezTo>
                          <a:cubicBezTo>
                            <a:pt x="541" y="1665"/>
                            <a:pt x="458" y="1450"/>
                            <a:pt x="480" y="1383"/>
                          </a:cubicBezTo>
                          <a:cubicBezTo>
                            <a:pt x="507" y="1304"/>
                            <a:pt x="600" y="1240"/>
                            <a:pt x="645" y="1164"/>
                          </a:cubicBezTo>
                          <a:cubicBezTo>
                            <a:pt x="695" y="1079"/>
                            <a:pt x="681" y="927"/>
                            <a:pt x="651" y="830"/>
                          </a:cubicBezTo>
                          <a:cubicBezTo>
                            <a:pt x="617" y="717"/>
                            <a:pt x="628" y="605"/>
                            <a:pt x="633" y="484"/>
                          </a:cubicBezTo>
                          <a:cubicBezTo>
                            <a:pt x="637" y="395"/>
                            <a:pt x="637" y="302"/>
                            <a:pt x="638" y="211"/>
                          </a:cubicBezTo>
                          <a:cubicBezTo>
                            <a:pt x="639" y="165"/>
                            <a:pt x="655" y="22"/>
                            <a:pt x="689" y="0"/>
                          </a:cubicBezTo>
                        </a:path>
                      </a:pathLst>
                    </a:custGeom>
                    <a:solidFill>
                      <a:srgbClr val="2A343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4" name="Freeform 423"/>
                    <p:cNvSpPr>
                      <a:spLocks/>
                    </p:cNvSpPr>
                    <p:nvPr/>
                  </p:nvSpPr>
                  <p:spPr bwMode="gray">
                    <a:xfrm>
                      <a:off x="19003963" y="-16568737"/>
                      <a:ext cx="2673350" cy="7510463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26"/>
                        </a:cxn>
                        <a:cxn ang="0">
                          <a:pos x="78" y="195"/>
                        </a:cxn>
                        <a:cxn ang="0">
                          <a:pos x="78" y="378"/>
                        </a:cxn>
                        <a:cxn ang="0">
                          <a:pos x="52" y="756"/>
                        </a:cxn>
                        <a:cxn ang="0">
                          <a:pos x="223" y="1375"/>
                        </a:cxn>
                        <a:cxn ang="0">
                          <a:pos x="289" y="1722"/>
                        </a:cxn>
                        <a:cxn ang="0">
                          <a:pos x="365" y="1853"/>
                        </a:cxn>
                        <a:cxn ang="0">
                          <a:pos x="500" y="2003"/>
                        </a:cxn>
                        <a:cxn ang="0">
                          <a:pos x="605" y="1786"/>
                        </a:cxn>
                        <a:cxn ang="0">
                          <a:pos x="660" y="1638"/>
                        </a:cxn>
                        <a:cxn ang="0">
                          <a:pos x="690" y="1636"/>
                        </a:cxn>
                        <a:cxn ang="0">
                          <a:pos x="664" y="1494"/>
                        </a:cxn>
                        <a:cxn ang="0">
                          <a:pos x="685" y="1355"/>
                        </a:cxn>
                        <a:cxn ang="0">
                          <a:pos x="685" y="1173"/>
                        </a:cxn>
                        <a:cxn ang="0">
                          <a:pos x="698" y="996"/>
                        </a:cxn>
                        <a:cxn ang="0">
                          <a:pos x="581" y="306"/>
                        </a:cxn>
                        <a:cxn ang="0">
                          <a:pos x="553" y="209"/>
                        </a:cxn>
                        <a:cxn ang="0">
                          <a:pos x="478" y="156"/>
                        </a:cxn>
                        <a:cxn ang="0">
                          <a:pos x="255" y="58"/>
                        </a:cxn>
                        <a:cxn ang="0">
                          <a:pos x="124" y="53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713" h="2003">
                          <a:moveTo>
                            <a:pt x="26" y="26"/>
                          </a:moveTo>
                          <a:cubicBezTo>
                            <a:pt x="41" y="88"/>
                            <a:pt x="75" y="128"/>
                            <a:pt x="78" y="195"/>
                          </a:cubicBezTo>
                          <a:cubicBezTo>
                            <a:pt x="81" y="255"/>
                            <a:pt x="81" y="318"/>
                            <a:pt x="78" y="378"/>
                          </a:cubicBezTo>
                          <a:cubicBezTo>
                            <a:pt x="72" y="504"/>
                            <a:pt x="69" y="632"/>
                            <a:pt x="52" y="756"/>
                          </a:cubicBezTo>
                          <a:cubicBezTo>
                            <a:pt x="21" y="976"/>
                            <a:pt x="157" y="1175"/>
                            <a:pt x="223" y="1375"/>
                          </a:cubicBezTo>
                          <a:cubicBezTo>
                            <a:pt x="259" y="1483"/>
                            <a:pt x="243" y="1613"/>
                            <a:pt x="289" y="1722"/>
                          </a:cubicBezTo>
                          <a:cubicBezTo>
                            <a:pt x="305" y="1763"/>
                            <a:pt x="322" y="1844"/>
                            <a:pt x="365" y="1853"/>
                          </a:cubicBezTo>
                          <a:cubicBezTo>
                            <a:pt x="439" y="1868"/>
                            <a:pt x="480" y="1987"/>
                            <a:pt x="500" y="2003"/>
                          </a:cubicBezTo>
                          <a:cubicBezTo>
                            <a:pt x="528" y="1954"/>
                            <a:pt x="585" y="1837"/>
                            <a:pt x="605" y="1786"/>
                          </a:cubicBezTo>
                          <a:cubicBezTo>
                            <a:pt x="627" y="1729"/>
                            <a:pt x="664" y="1706"/>
                            <a:pt x="660" y="1638"/>
                          </a:cubicBezTo>
                          <a:cubicBezTo>
                            <a:pt x="669" y="1639"/>
                            <a:pt x="681" y="1635"/>
                            <a:pt x="690" y="1636"/>
                          </a:cubicBezTo>
                          <a:cubicBezTo>
                            <a:pt x="713" y="1578"/>
                            <a:pt x="679" y="1543"/>
                            <a:pt x="664" y="1494"/>
                          </a:cubicBezTo>
                          <a:cubicBezTo>
                            <a:pt x="646" y="1434"/>
                            <a:pt x="677" y="1415"/>
                            <a:pt x="685" y="1355"/>
                          </a:cubicBezTo>
                          <a:cubicBezTo>
                            <a:pt x="693" y="1296"/>
                            <a:pt x="680" y="1233"/>
                            <a:pt x="685" y="1173"/>
                          </a:cubicBezTo>
                          <a:cubicBezTo>
                            <a:pt x="690" y="1114"/>
                            <a:pt x="705" y="1058"/>
                            <a:pt x="698" y="996"/>
                          </a:cubicBezTo>
                          <a:cubicBezTo>
                            <a:pt x="673" y="769"/>
                            <a:pt x="636" y="526"/>
                            <a:pt x="581" y="306"/>
                          </a:cubicBezTo>
                          <a:cubicBezTo>
                            <a:pt x="574" y="278"/>
                            <a:pt x="570" y="231"/>
                            <a:pt x="553" y="209"/>
                          </a:cubicBezTo>
                          <a:cubicBezTo>
                            <a:pt x="533" y="182"/>
                            <a:pt x="477" y="162"/>
                            <a:pt x="478" y="156"/>
                          </a:cubicBezTo>
                          <a:cubicBezTo>
                            <a:pt x="389" y="166"/>
                            <a:pt x="332" y="77"/>
                            <a:pt x="255" y="58"/>
                          </a:cubicBezTo>
                          <a:cubicBezTo>
                            <a:pt x="213" y="48"/>
                            <a:pt x="165" y="63"/>
                            <a:pt x="124" y="53"/>
                          </a:cubicBezTo>
                          <a:cubicBezTo>
                            <a:pt x="82" y="43"/>
                            <a:pt x="34" y="21"/>
                            <a:pt x="0" y="0"/>
                          </a:cubicBezTo>
                        </a:path>
                      </a:pathLst>
                    </a:custGeom>
                    <a:solidFill>
                      <a:srgbClr val="2A343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5" name="Freeform 424"/>
                    <p:cNvSpPr>
                      <a:spLocks/>
                    </p:cNvSpPr>
                    <p:nvPr/>
                  </p:nvSpPr>
                  <p:spPr bwMode="gray">
                    <a:xfrm>
                      <a:off x="17305338" y="-15401925"/>
                      <a:ext cx="1784350" cy="4146550"/>
                    </a:xfrm>
                    <a:custGeom>
                      <a:avLst/>
                      <a:gdLst/>
                      <a:ahLst/>
                      <a:cxnLst>
                        <a:cxn ang="0">
                          <a:pos x="461" y="890"/>
                        </a:cxn>
                        <a:cxn ang="0">
                          <a:pos x="439" y="769"/>
                        </a:cxn>
                        <a:cxn ang="0">
                          <a:pos x="351" y="706"/>
                        </a:cxn>
                        <a:cxn ang="0">
                          <a:pos x="448" y="681"/>
                        </a:cxn>
                        <a:cxn ang="0">
                          <a:pos x="418" y="613"/>
                        </a:cxn>
                        <a:cxn ang="0">
                          <a:pos x="396" y="541"/>
                        </a:cxn>
                        <a:cxn ang="0">
                          <a:pos x="383" y="380"/>
                        </a:cxn>
                        <a:cxn ang="0">
                          <a:pos x="366" y="299"/>
                        </a:cxn>
                        <a:cxn ang="0">
                          <a:pos x="376" y="211"/>
                        </a:cxn>
                        <a:cxn ang="0">
                          <a:pos x="331" y="74"/>
                        </a:cxn>
                        <a:cxn ang="0">
                          <a:pos x="286" y="85"/>
                        </a:cxn>
                        <a:cxn ang="0">
                          <a:pos x="248" y="69"/>
                        </a:cxn>
                        <a:cxn ang="0">
                          <a:pos x="187" y="0"/>
                        </a:cxn>
                        <a:cxn ang="0">
                          <a:pos x="207" y="83"/>
                        </a:cxn>
                        <a:cxn ang="0">
                          <a:pos x="171" y="155"/>
                        </a:cxn>
                        <a:cxn ang="0">
                          <a:pos x="155" y="78"/>
                        </a:cxn>
                        <a:cxn ang="0">
                          <a:pos x="123" y="241"/>
                        </a:cxn>
                        <a:cxn ang="0">
                          <a:pos x="83" y="407"/>
                        </a:cxn>
                        <a:cxn ang="0">
                          <a:pos x="105" y="407"/>
                        </a:cxn>
                        <a:cxn ang="0">
                          <a:pos x="177" y="316"/>
                        </a:cxn>
                        <a:cxn ang="0">
                          <a:pos x="162" y="483"/>
                        </a:cxn>
                        <a:cxn ang="0">
                          <a:pos x="93" y="609"/>
                        </a:cxn>
                        <a:cxn ang="0">
                          <a:pos x="147" y="564"/>
                        </a:cxn>
                        <a:cxn ang="0">
                          <a:pos x="180" y="622"/>
                        </a:cxn>
                        <a:cxn ang="0">
                          <a:pos x="178" y="700"/>
                        </a:cxn>
                        <a:cxn ang="0">
                          <a:pos x="123" y="749"/>
                        </a:cxn>
                        <a:cxn ang="0">
                          <a:pos x="102" y="883"/>
                        </a:cxn>
                        <a:cxn ang="0">
                          <a:pos x="167" y="987"/>
                        </a:cxn>
                        <a:cxn ang="0">
                          <a:pos x="92" y="998"/>
                        </a:cxn>
                        <a:cxn ang="0">
                          <a:pos x="47" y="942"/>
                        </a:cxn>
                        <a:cxn ang="0">
                          <a:pos x="21" y="984"/>
                        </a:cxn>
                        <a:cxn ang="0">
                          <a:pos x="59" y="1007"/>
                        </a:cxn>
                        <a:cxn ang="0">
                          <a:pos x="94" y="1032"/>
                        </a:cxn>
                        <a:cxn ang="0">
                          <a:pos x="248" y="1099"/>
                        </a:cxn>
                        <a:cxn ang="0">
                          <a:pos x="399" y="1068"/>
                        </a:cxn>
                        <a:cxn ang="0">
                          <a:pos x="328" y="998"/>
                        </a:cxn>
                        <a:cxn ang="0">
                          <a:pos x="381" y="964"/>
                        </a:cxn>
                        <a:cxn ang="0">
                          <a:pos x="461" y="890"/>
                        </a:cxn>
                      </a:cxnLst>
                      <a:rect l="0" t="0" r="r" b="b"/>
                      <a:pathLst>
                        <a:path w="476" h="1106">
                          <a:moveTo>
                            <a:pt x="461" y="890"/>
                          </a:moveTo>
                          <a:cubicBezTo>
                            <a:pt x="476" y="852"/>
                            <a:pt x="461" y="796"/>
                            <a:pt x="439" y="769"/>
                          </a:cubicBezTo>
                          <a:cubicBezTo>
                            <a:pt x="416" y="742"/>
                            <a:pt x="364" y="748"/>
                            <a:pt x="351" y="706"/>
                          </a:cubicBezTo>
                          <a:cubicBezTo>
                            <a:pt x="331" y="643"/>
                            <a:pt x="421" y="682"/>
                            <a:pt x="448" y="681"/>
                          </a:cubicBezTo>
                          <a:cubicBezTo>
                            <a:pt x="452" y="653"/>
                            <a:pt x="430" y="635"/>
                            <a:pt x="418" y="613"/>
                          </a:cubicBezTo>
                          <a:cubicBezTo>
                            <a:pt x="404" y="588"/>
                            <a:pt x="400" y="571"/>
                            <a:pt x="396" y="541"/>
                          </a:cubicBezTo>
                          <a:cubicBezTo>
                            <a:pt x="388" y="489"/>
                            <a:pt x="383" y="437"/>
                            <a:pt x="383" y="380"/>
                          </a:cubicBezTo>
                          <a:cubicBezTo>
                            <a:pt x="383" y="347"/>
                            <a:pt x="372" y="330"/>
                            <a:pt x="366" y="299"/>
                          </a:cubicBezTo>
                          <a:cubicBezTo>
                            <a:pt x="361" y="270"/>
                            <a:pt x="374" y="240"/>
                            <a:pt x="376" y="211"/>
                          </a:cubicBezTo>
                          <a:cubicBezTo>
                            <a:pt x="380" y="175"/>
                            <a:pt x="357" y="97"/>
                            <a:pt x="331" y="74"/>
                          </a:cubicBezTo>
                          <a:cubicBezTo>
                            <a:pt x="302" y="49"/>
                            <a:pt x="310" y="77"/>
                            <a:pt x="286" y="85"/>
                          </a:cubicBezTo>
                          <a:cubicBezTo>
                            <a:pt x="268" y="92"/>
                            <a:pt x="264" y="81"/>
                            <a:pt x="248" y="69"/>
                          </a:cubicBezTo>
                          <a:cubicBezTo>
                            <a:pt x="222" y="48"/>
                            <a:pt x="205" y="28"/>
                            <a:pt x="187" y="0"/>
                          </a:cubicBezTo>
                          <a:cubicBezTo>
                            <a:pt x="139" y="0"/>
                            <a:pt x="201" y="70"/>
                            <a:pt x="207" y="83"/>
                          </a:cubicBezTo>
                          <a:cubicBezTo>
                            <a:pt x="224" y="119"/>
                            <a:pt x="224" y="164"/>
                            <a:pt x="171" y="155"/>
                          </a:cubicBezTo>
                          <a:cubicBezTo>
                            <a:pt x="161" y="130"/>
                            <a:pt x="176" y="98"/>
                            <a:pt x="155" y="78"/>
                          </a:cubicBezTo>
                          <a:cubicBezTo>
                            <a:pt x="136" y="132"/>
                            <a:pt x="149" y="187"/>
                            <a:pt x="123" y="241"/>
                          </a:cubicBezTo>
                          <a:cubicBezTo>
                            <a:pt x="96" y="296"/>
                            <a:pt x="80" y="343"/>
                            <a:pt x="83" y="407"/>
                          </a:cubicBezTo>
                          <a:cubicBezTo>
                            <a:pt x="89" y="408"/>
                            <a:pt x="100" y="408"/>
                            <a:pt x="105" y="407"/>
                          </a:cubicBezTo>
                          <a:cubicBezTo>
                            <a:pt x="116" y="382"/>
                            <a:pt x="147" y="314"/>
                            <a:pt x="177" y="316"/>
                          </a:cubicBezTo>
                          <a:cubicBezTo>
                            <a:pt x="202" y="371"/>
                            <a:pt x="200" y="435"/>
                            <a:pt x="162" y="483"/>
                          </a:cubicBezTo>
                          <a:cubicBezTo>
                            <a:pt x="133" y="519"/>
                            <a:pt x="87" y="558"/>
                            <a:pt x="93" y="609"/>
                          </a:cubicBezTo>
                          <a:cubicBezTo>
                            <a:pt x="112" y="600"/>
                            <a:pt x="120" y="568"/>
                            <a:pt x="147" y="564"/>
                          </a:cubicBezTo>
                          <a:cubicBezTo>
                            <a:pt x="181" y="559"/>
                            <a:pt x="175" y="593"/>
                            <a:pt x="180" y="622"/>
                          </a:cubicBezTo>
                          <a:cubicBezTo>
                            <a:pt x="183" y="641"/>
                            <a:pt x="193" y="686"/>
                            <a:pt x="178" y="700"/>
                          </a:cubicBezTo>
                          <a:cubicBezTo>
                            <a:pt x="157" y="719"/>
                            <a:pt x="112" y="699"/>
                            <a:pt x="123" y="749"/>
                          </a:cubicBezTo>
                          <a:cubicBezTo>
                            <a:pt x="178" y="770"/>
                            <a:pt x="103" y="851"/>
                            <a:pt x="102" y="883"/>
                          </a:cubicBezTo>
                          <a:cubicBezTo>
                            <a:pt x="102" y="933"/>
                            <a:pt x="195" y="954"/>
                            <a:pt x="167" y="987"/>
                          </a:cubicBezTo>
                          <a:cubicBezTo>
                            <a:pt x="153" y="1004"/>
                            <a:pt x="109" y="1010"/>
                            <a:pt x="92" y="998"/>
                          </a:cubicBezTo>
                          <a:cubicBezTo>
                            <a:pt x="73" y="985"/>
                            <a:pt x="72" y="951"/>
                            <a:pt x="47" y="942"/>
                          </a:cubicBezTo>
                          <a:cubicBezTo>
                            <a:pt x="12" y="929"/>
                            <a:pt x="0" y="961"/>
                            <a:pt x="21" y="984"/>
                          </a:cubicBezTo>
                          <a:cubicBezTo>
                            <a:pt x="31" y="994"/>
                            <a:pt x="47" y="999"/>
                            <a:pt x="59" y="1007"/>
                          </a:cubicBezTo>
                          <a:cubicBezTo>
                            <a:pt x="73" y="1015"/>
                            <a:pt x="82" y="1026"/>
                            <a:pt x="94" y="1032"/>
                          </a:cubicBezTo>
                          <a:cubicBezTo>
                            <a:pt x="137" y="1058"/>
                            <a:pt x="198" y="1089"/>
                            <a:pt x="248" y="1099"/>
                          </a:cubicBezTo>
                          <a:cubicBezTo>
                            <a:pt x="284" y="1106"/>
                            <a:pt x="375" y="1099"/>
                            <a:pt x="399" y="1068"/>
                          </a:cubicBezTo>
                          <a:cubicBezTo>
                            <a:pt x="433" y="1027"/>
                            <a:pt x="336" y="1037"/>
                            <a:pt x="328" y="998"/>
                          </a:cubicBezTo>
                          <a:cubicBezTo>
                            <a:pt x="319" y="954"/>
                            <a:pt x="359" y="970"/>
                            <a:pt x="381" y="964"/>
                          </a:cubicBezTo>
                          <a:cubicBezTo>
                            <a:pt x="411" y="956"/>
                            <a:pt x="450" y="918"/>
                            <a:pt x="461" y="890"/>
                          </a:cubicBezTo>
                          <a:close/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6" name="Freeform 425"/>
                    <p:cNvSpPr>
                      <a:spLocks/>
                    </p:cNvSpPr>
                    <p:nvPr/>
                  </p:nvSpPr>
                  <p:spPr bwMode="gray">
                    <a:xfrm>
                      <a:off x="17856200" y="-15555912"/>
                      <a:ext cx="1144588" cy="5051425"/>
                    </a:xfrm>
                    <a:custGeom>
                      <a:avLst/>
                      <a:gdLst/>
                      <a:ahLst/>
                      <a:cxnLst>
                        <a:cxn ang="0">
                          <a:pos x="65" y="43"/>
                        </a:cxn>
                        <a:cxn ang="0">
                          <a:pos x="51" y="199"/>
                        </a:cxn>
                        <a:cxn ang="0">
                          <a:pos x="12" y="343"/>
                        </a:cxn>
                        <a:cxn ang="0">
                          <a:pos x="25" y="499"/>
                        </a:cxn>
                        <a:cxn ang="0">
                          <a:pos x="6" y="676"/>
                        </a:cxn>
                        <a:cxn ang="0">
                          <a:pos x="19" y="1021"/>
                        </a:cxn>
                        <a:cxn ang="0">
                          <a:pos x="19" y="1222"/>
                        </a:cxn>
                        <a:cxn ang="0">
                          <a:pos x="125" y="1313"/>
                        </a:cxn>
                        <a:cxn ang="0">
                          <a:pos x="215" y="1300"/>
                        </a:cxn>
                        <a:cxn ang="0">
                          <a:pos x="274" y="1238"/>
                        </a:cxn>
                        <a:cxn ang="0">
                          <a:pos x="260" y="923"/>
                        </a:cxn>
                        <a:cxn ang="0">
                          <a:pos x="233" y="599"/>
                        </a:cxn>
                        <a:cxn ang="0">
                          <a:pos x="195" y="271"/>
                        </a:cxn>
                        <a:cxn ang="0">
                          <a:pos x="109" y="5"/>
                        </a:cxn>
                        <a:cxn ang="0">
                          <a:pos x="71" y="10"/>
                        </a:cxn>
                      </a:cxnLst>
                      <a:rect l="0" t="0" r="r" b="b"/>
                      <a:pathLst>
                        <a:path w="305" h="1347">
                          <a:moveTo>
                            <a:pt x="65" y="43"/>
                          </a:moveTo>
                          <a:cubicBezTo>
                            <a:pt x="65" y="98"/>
                            <a:pt x="64" y="149"/>
                            <a:pt x="51" y="199"/>
                          </a:cubicBezTo>
                          <a:cubicBezTo>
                            <a:pt x="38" y="249"/>
                            <a:pt x="15" y="290"/>
                            <a:pt x="12" y="343"/>
                          </a:cubicBezTo>
                          <a:cubicBezTo>
                            <a:pt x="10" y="396"/>
                            <a:pt x="24" y="446"/>
                            <a:pt x="25" y="499"/>
                          </a:cubicBezTo>
                          <a:cubicBezTo>
                            <a:pt x="27" y="562"/>
                            <a:pt x="9" y="614"/>
                            <a:pt x="6" y="676"/>
                          </a:cubicBezTo>
                          <a:cubicBezTo>
                            <a:pt x="1" y="794"/>
                            <a:pt x="13" y="908"/>
                            <a:pt x="19" y="1021"/>
                          </a:cubicBezTo>
                          <a:cubicBezTo>
                            <a:pt x="21" y="1070"/>
                            <a:pt x="0" y="1184"/>
                            <a:pt x="19" y="1222"/>
                          </a:cubicBezTo>
                          <a:cubicBezTo>
                            <a:pt x="28" y="1241"/>
                            <a:pt x="107" y="1301"/>
                            <a:pt x="125" y="1313"/>
                          </a:cubicBezTo>
                          <a:cubicBezTo>
                            <a:pt x="174" y="1347"/>
                            <a:pt x="167" y="1337"/>
                            <a:pt x="215" y="1300"/>
                          </a:cubicBezTo>
                          <a:cubicBezTo>
                            <a:pt x="241" y="1280"/>
                            <a:pt x="266" y="1268"/>
                            <a:pt x="274" y="1238"/>
                          </a:cubicBezTo>
                          <a:cubicBezTo>
                            <a:pt x="305" y="1224"/>
                            <a:pt x="260" y="978"/>
                            <a:pt x="260" y="923"/>
                          </a:cubicBezTo>
                          <a:cubicBezTo>
                            <a:pt x="260" y="807"/>
                            <a:pt x="243" y="709"/>
                            <a:pt x="233" y="599"/>
                          </a:cubicBezTo>
                          <a:cubicBezTo>
                            <a:pt x="223" y="492"/>
                            <a:pt x="225" y="372"/>
                            <a:pt x="195" y="271"/>
                          </a:cubicBezTo>
                          <a:cubicBezTo>
                            <a:pt x="171" y="188"/>
                            <a:pt x="157" y="79"/>
                            <a:pt x="109" y="5"/>
                          </a:cubicBezTo>
                          <a:cubicBezTo>
                            <a:pt x="94" y="0"/>
                            <a:pt x="80" y="4"/>
                            <a:pt x="71" y="10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7" name="Freeform 426"/>
                    <p:cNvSpPr>
                      <a:spLocks/>
                    </p:cNvSpPr>
                    <p:nvPr/>
                  </p:nvSpPr>
                  <p:spPr bwMode="gray">
                    <a:xfrm>
                      <a:off x="17897475" y="-15855950"/>
                      <a:ext cx="581025" cy="765175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5"/>
                        </a:cxn>
                        <a:cxn ang="0">
                          <a:pos x="144" y="76"/>
                        </a:cxn>
                        <a:cxn ang="0">
                          <a:pos x="27" y="55"/>
                        </a:cxn>
                      </a:cxnLst>
                      <a:rect l="0" t="0" r="r" b="b"/>
                      <a:pathLst>
                        <a:path w="155" h="204">
                          <a:moveTo>
                            <a:pt x="27" y="55"/>
                          </a:moveTo>
                          <a:cubicBezTo>
                            <a:pt x="77" y="0"/>
                            <a:pt x="89" y="9"/>
                            <a:pt x="144" y="76"/>
                          </a:cubicBezTo>
                          <a:cubicBezTo>
                            <a:pt x="155" y="204"/>
                            <a:pt x="0" y="167"/>
                            <a:pt x="27" y="55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8" name="Freeform 427"/>
                    <p:cNvSpPr>
                      <a:spLocks/>
                    </p:cNvSpPr>
                    <p:nvPr/>
                  </p:nvSpPr>
                  <p:spPr bwMode="gray">
                    <a:xfrm>
                      <a:off x="17800638" y="-15984537"/>
                      <a:ext cx="776288" cy="728663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78"/>
                        </a:cxn>
                        <a:cxn ang="0">
                          <a:pos x="196" y="66"/>
                        </a:cxn>
                        <a:cxn ang="0">
                          <a:pos x="27" y="78"/>
                        </a:cxn>
                      </a:cxnLst>
                      <a:rect l="0" t="0" r="r" b="b"/>
                      <a:pathLst>
                        <a:path w="207" h="194">
                          <a:moveTo>
                            <a:pt x="27" y="78"/>
                          </a:moveTo>
                          <a:cubicBezTo>
                            <a:pt x="77" y="23"/>
                            <a:pt x="142" y="0"/>
                            <a:pt x="196" y="66"/>
                          </a:cubicBezTo>
                          <a:cubicBezTo>
                            <a:pt x="207" y="194"/>
                            <a:pt x="0" y="190"/>
                            <a:pt x="27" y="78"/>
                          </a:cubicBezTo>
                        </a:path>
                      </a:pathLst>
                    </a:custGeom>
                    <a:solidFill>
                      <a:srgbClr val="FCC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09" name="Freeform 428"/>
                    <p:cNvSpPr>
                      <a:spLocks/>
                    </p:cNvSpPr>
                    <p:nvPr/>
                  </p:nvSpPr>
                  <p:spPr bwMode="gray">
                    <a:xfrm>
                      <a:off x="17297400" y="-16448087"/>
                      <a:ext cx="809625" cy="1203325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0"/>
                        </a:cxn>
                        <a:cxn ang="0">
                          <a:pos x="44" y="157"/>
                        </a:cxn>
                        <a:cxn ang="0">
                          <a:pos x="116" y="321"/>
                        </a:cxn>
                        <a:cxn ang="0">
                          <a:pos x="199" y="157"/>
                        </a:cxn>
                        <a:cxn ang="0">
                          <a:pos x="64" y="0"/>
                        </a:cxn>
                      </a:cxnLst>
                      <a:rect l="0" t="0" r="r" b="b"/>
                      <a:pathLst>
                        <a:path w="216" h="321">
                          <a:moveTo>
                            <a:pt x="64" y="0"/>
                          </a:moveTo>
                          <a:cubicBezTo>
                            <a:pt x="0" y="59"/>
                            <a:pt x="8" y="82"/>
                            <a:pt x="44" y="157"/>
                          </a:cubicBezTo>
                          <a:cubicBezTo>
                            <a:pt x="69" y="212"/>
                            <a:pt x="82" y="269"/>
                            <a:pt x="116" y="321"/>
                          </a:cubicBezTo>
                          <a:cubicBezTo>
                            <a:pt x="139" y="272"/>
                            <a:pt x="216" y="223"/>
                            <a:pt x="199" y="157"/>
                          </a:cubicBezTo>
                          <a:cubicBezTo>
                            <a:pt x="190" y="118"/>
                            <a:pt x="98" y="14"/>
                            <a:pt x="64" y="0"/>
                          </a:cubicBezTo>
                        </a:path>
                      </a:pathLst>
                    </a:custGeom>
                    <a:solidFill>
                      <a:srgbClr val="D4E7F9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0" name="Freeform 429"/>
                    <p:cNvSpPr>
                      <a:spLocks/>
                    </p:cNvSpPr>
                    <p:nvPr/>
                  </p:nvSpPr>
                  <p:spPr bwMode="gray">
                    <a:xfrm>
                      <a:off x="18403888" y="-16737012"/>
                      <a:ext cx="1068388" cy="1428750"/>
                    </a:xfrm>
                    <a:custGeom>
                      <a:avLst/>
                      <a:gdLst/>
                      <a:ahLst/>
                      <a:cxnLst>
                        <a:cxn ang="0">
                          <a:pos x="139" y="0"/>
                        </a:cxn>
                        <a:cxn ang="0">
                          <a:pos x="14" y="230"/>
                        </a:cxn>
                        <a:cxn ang="0">
                          <a:pos x="108" y="381"/>
                        </a:cxn>
                        <a:cxn ang="0">
                          <a:pos x="139" y="0"/>
                        </a:cxn>
                      </a:cxnLst>
                      <a:rect l="0" t="0" r="r" b="b"/>
                      <a:pathLst>
                        <a:path w="285" h="381">
                          <a:moveTo>
                            <a:pt x="139" y="0"/>
                          </a:moveTo>
                          <a:cubicBezTo>
                            <a:pt x="137" y="100"/>
                            <a:pt x="30" y="143"/>
                            <a:pt x="14" y="230"/>
                          </a:cubicBezTo>
                          <a:cubicBezTo>
                            <a:pt x="0" y="301"/>
                            <a:pt x="66" y="333"/>
                            <a:pt x="108" y="381"/>
                          </a:cubicBezTo>
                          <a:cubicBezTo>
                            <a:pt x="181" y="285"/>
                            <a:pt x="285" y="67"/>
                            <a:pt x="139" y="0"/>
                          </a:cubicBezTo>
                          <a:close/>
                        </a:path>
                      </a:pathLst>
                    </a:custGeom>
                    <a:solidFill>
                      <a:srgbClr val="D4E7F9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1" name="Freeform 430"/>
                    <p:cNvSpPr>
                      <a:spLocks/>
                    </p:cNvSpPr>
                    <p:nvPr/>
                  </p:nvSpPr>
                  <p:spPr bwMode="gray">
                    <a:xfrm>
                      <a:off x="18148300" y="-10182225"/>
                      <a:ext cx="581025" cy="1762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5"/>
                        </a:cxn>
                        <a:cxn ang="0">
                          <a:pos x="155" y="44"/>
                        </a:cxn>
                        <a:cxn ang="0">
                          <a:pos x="0" y="19"/>
                        </a:cxn>
                      </a:cxnLst>
                      <a:rect l="0" t="0" r="r" b="b"/>
                      <a:pathLst>
                        <a:path w="155" h="47">
                          <a:moveTo>
                            <a:pt x="0" y="45"/>
                          </a:moveTo>
                          <a:cubicBezTo>
                            <a:pt x="51" y="45"/>
                            <a:pt x="104" y="47"/>
                            <a:pt x="155" y="44"/>
                          </a:cubicBezTo>
                          <a:cubicBezTo>
                            <a:pt x="142" y="0"/>
                            <a:pt x="41" y="19"/>
                            <a:pt x="0" y="19"/>
                          </a:cubicBezTo>
                        </a:path>
                      </a:pathLst>
                    </a:custGeom>
                    <a:solidFill>
                      <a:srgbClr val="B7B6B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2" name="Freeform 431"/>
                    <p:cNvSpPr>
                      <a:spLocks/>
                    </p:cNvSpPr>
                    <p:nvPr/>
                  </p:nvSpPr>
                  <p:spPr bwMode="gray">
                    <a:xfrm>
                      <a:off x="18272125" y="-19481800"/>
                      <a:ext cx="1046163" cy="1682750"/>
                    </a:xfrm>
                    <a:custGeom>
                      <a:avLst/>
                      <a:gdLst/>
                      <a:ahLst/>
                      <a:cxnLst>
                        <a:cxn ang="0">
                          <a:pos x="110" y="150"/>
                        </a:cxn>
                        <a:cxn ang="0">
                          <a:pos x="144" y="299"/>
                        </a:cxn>
                        <a:cxn ang="0">
                          <a:pos x="174" y="301"/>
                        </a:cxn>
                        <a:cxn ang="0">
                          <a:pos x="213" y="449"/>
                        </a:cxn>
                        <a:cxn ang="0">
                          <a:pos x="215" y="412"/>
                        </a:cxn>
                        <a:cxn ang="0">
                          <a:pos x="246" y="423"/>
                        </a:cxn>
                        <a:cxn ang="0">
                          <a:pos x="242" y="321"/>
                        </a:cxn>
                        <a:cxn ang="0">
                          <a:pos x="265" y="332"/>
                        </a:cxn>
                        <a:cxn ang="0">
                          <a:pos x="254" y="268"/>
                        </a:cxn>
                        <a:cxn ang="0">
                          <a:pos x="272" y="274"/>
                        </a:cxn>
                        <a:cxn ang="0">
                          <a:pos x="144" y="64"/>
                        </a:cxn>
                        <a:cxn ang="0">
                          <a:pos x="36" y="32"/>
                        </a:cxn>
                        <a:cxn ang="0">
                          <a:pos x="78" y="150"/>
                        </a:cxn>
                      </a:cxnLst>
                      <a:rect l="0" t="0" r="r" b="b"/>
                      <a:pathLst>
                        <a:path w="279" h="449">
                          <a:moveTo>
                            <a:pt x="110" y="150"/>
                          </a:moveTo>
                          <a:cubicBezTo>
                            <a:pt x="154" y="187"/>
                            <a:pt x="141" y="247"/>
                            <a:pt x="144" y="299"/>
                          </a:cubicBezTo>
                          <a:cubicBezTo>
                            <a:pt x="153" y="298"/>
                            <a:pt x="165" y="302"/>
                            <a:pt x="174" y="301"/>
                          </a:cubicBezTo>
                          <a:cubicBezTo>
                            <a:pt x="177" y="347"/>
                            <a:pt x="156" y="440"/>
                            <a:pt x="213" y="449"/>
                          </a:cubicBezTo>
                          <a:cubicBezTo>
                            <a:pt x="212" y="438"/>
                            <a:pt x="217" y="423"/>
                            <a:pt x="215" y="412"/>
                          </a:cubicBezTo>
                          <a:cubicBezTo>
                            <a:pt x="223" y="417"/>
                            <a:pt x="240" y="420"/>
                            <a:pt x="246" y="423"/>
                          </a:cubicBezTo>
                          <a:cubicBezTo>
                            <a:pt x="253" y="387"/>
                            <a:pt x="238" y="357"/>
                            <a:pt x="242" y="321"/>
                          </a:cubicBezTo>
                          <a:cubicBezTo>
                            <a:pt x="248" y="324"/>
                            <a:pt x="258" y="327"/>
                            <a:pt x="265" y="332"/>
                          </a:cubicBezTo>
                          <a:cubicBezTo>
                            <a:pt x="265" y="310"/>
                            <a:pt x="261" y="287"/>
                            <a:pt x="254" y="268"/>
                          </a:cubicBezTo>
                          <a:cubicBezTo>
                            <a:pt x="261" y="269"/>
                            <a:pt x="266" y="272"/>
                            <a:pt x="272" y="274"/>
                          </a:cubicBezTo>
                          <a:cubicBezTo>
                            <a:pt x="279" y="182"/>
                            <a:pt x="203" y="125"/>
                            <a:pt x="144" y="64"/>
                          </a:cubicBezTo>
                          <a:cubicBezTo>
                            <a:pt x="125" y="43"/>
                            <a:pt x="67" y="0"/>
                            <a:pt x="36" y="32"/>
                          </a:cubicBezTo>
                          <a:cubicBezTo>
                            <a:pt x="0" y="71"/>
                            <a:pt x="65" y="124"/>
                            <a:pt x="78" y="150"/>
                          </a:cubicBezTo>
                        </a:path>
                      </a:pathLst>
                    </a:custGeom>
                    <a:solidFill>
                      <a:srgbClr val="877468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3" name="Freeform 432"/>
                    <p:cNvSpPr>
                      <a:spLocks/>
                    </p:cNvSpPr>
                    <p:nvPr/>
                  </p:nvSpPr>
                  <p:spPr bwMode="gray">
                    <a:xfrm>
                      <a:off x="18272125" y="-19481800"/>
                      <a:ext cx="1046163" cy="1682750"/>
                    </a:xfrm>
                    <a:custGeom>
                      <a:avLst/>
                      <a:gdLst/>
                      <a:ahLst/>
                      <a:cxnLst>
                        <a:cxn ang="0">
                          <a:pos x="110" y="150"/>
                        </a:cxn>
                        <a:cxn ang="0">
                          <a:pos x="144" y="299"/>
                        </a:cxn>
                        <a:cxn ang="0">
                          <a:pos x="174" y="301"/>
                        </a:cxn>
                        <a:cxn ang="0">
                          <a:pos x="213" y="449"/>
                        </a:cxn>
                        <a:cxn ang="0">
                          <a:pos x="215" y="412"/>
                        </a:cxn>
                        <a:cxn ang="0">
                          <a:pos x="246" y="423"/>
                        </a:cxn>
                        <a:cxn ang="0">
                          <a:pos x="242" y="321"/>
                        </a:cxn>
                        <a:cxn ang="0">
                          <a:pos x="265" y="332"/>
                        </a:cxn>
                        <a:cxn ang="0">
                          <a:pos x="254" y="268"/>
                        </a:cxn>
                        <a:cxn ang="0">
                          <a:pos x="272" y="274"/>
                        </a:cxn>
                        <a:cxn ang="0">
                          <a:pos x="144" y="64"/>
                        </a:cxn>
                        <a:cxn ang="0">
                          <a:pos x="36" y="32"/>
                        </a:cxn>
                        <a:cxn ang="0">
                          <a:pos x="78" y="150"/>
                        </a:cxn>
                      </a:cxnLst>
                      <a:rect l="0" t="0" r="r" b="b"/>
                      <a:pathLst>
                        <a:path w="279" h="449">
                          <a:moveTo>
                            <a:pt x="110" y="150"/>
                          </a:moveTo>
                          <a:cubicBezTo>
                            <a:pt x="154" y="187"/>
                            <a:pt x="141" y="247"/>
                            <a:pt x="144" y="299"/>
                          </a:cubicBezTo>
                          <a:cubicBezTo>
                            <a:pt x="153" y="298"/>
                            <a:pt x="165" y="302"/>
                            <a:pt x="174" y="301"/>
                          </a:cubicBezTo>
                          <a:cubicBezTo>
                            <a:pt x="177" y="347"/>
                            <a:pt x="156" y="440"/>
                            <a:pt x="213" y="449"/>
                          </a:cubicBezTo>
                          <a:cubicBezTo>
                            <a:pt x="212" y="438"/>
                            <a:pt x="217" y="423"/>
                            <a:pt x="215" y="412"/>
                          </a:cubicBezTo>
                          <a:cubicBezTo>
                            <a:pt x="223" y="417"/>
                            <a:pt x="240" y="420"/>
                            <a:pt x="246" y="423"/>
                          </a:cubicBezTo>
                          <a:cubicBezTo>
                            <a:pt x="253" y="387"/>
                            <a:pt x="238" y="357"/>
                            <a:pt x="242" y="321"/>
                          </a:cubicBezTo>
                          <a:cubicBezTo>
                            <a:pt x="248" y="324"/>
                            <a:pt x="258" y="327"/>
                            <a:pt x="265" y="332"/>
                          </a:cubicBezTo>
                          <a:cubicBezTo>
                            <a:pt x="265" y="310"/>
                            <a:pt x="261" y="287"/>
                            <a:pt x="254" y="268"/>
                          </a:cubicBezTo>
                          <a:cubicBezTo>
                            <a:pt x="261" y="269"/>
                            <a:pt x="266" y="272"/>
                            <a:pt x="272" y="274"/>
                          </a:cubicBezTo>
                          <a:cubicBezTo>
                            <a:pt x="279" y="182"/>
                            <a:pt x="203" y="125"/>
                            <a:pt x="144" y="64"/>
                          </a:cubicBezTo>
                          <a:cubicBezTo>
                            <a:pt x="125" y="43"/>
                            <a:pt x="67" y="0"/>
                            <a:pt x="36" y="32"/>
                          </a:cubicBezTo>
                          <a:cubicBezTo>
                            <a:pt x="0" y="71"/>
                            <a:pt x="65" y="124"/>
                            <a:pt x="78" y="150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4" name="Freeform 433"/>
                    <p:cNvSpPr>
                      <a:spLocks/>
                    </p:cNvSpPr>
                    <p:nvPr/>
                  </p:nvSpPr>
                  <p:spPr bwMode="gray">
                    <a:xfrm>
                      <a:off x="16925925" y="-19594512"/>
                      <a:ext cx="2163763" cy="1968500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409"/>
                        </a:cxn>
                        <a:cxn ang="0">
                          <a:pos x="45" y="401"/>
                        </a:cxn>
                        <a:cxn ang="0">
                          <a:pos x="96" y="525"/>
                        </a:cxn>
                        <a:cxn ang="0">
                          <a:pos x="97" y="441"/>
                        </a:cxn>
                        <a:cxn ang="0">
                          <a:pos x="116" y="371"/>
                        </a:cxn>
                        <a:cxn ang="0">
                          <a:pos x="92" y="324"/>
                        </a:cxn>
                        <a:cxn ang="0">
                          <a:pos x="129" y="343"/>
                        </a:cxn>
                        <a:cxn ang="0">
                          <a:pos x="131" y="227"/>
                        </a:cxn>
                        <a:cxn ang="0">
                          <a:pos x="200" y="212"/>
                        </a:cxn>
                        <a:cxn ang="0">
                          <a:pos x="216" y="175"/>
                        </a:cxn>
                        <a:cxn ang="0">
                          <a:pos x="264" y="182"/>
                        </a:cxn>
                        <a:cxn ang="0">
                          <a:pos x="443" y="193"/>
                        </a:cxn>
                        <a:cxn ang="0">
                          <a:pos x="353" y="2"/>
                        </a:cxn>
                        <a:cxn ang="0">
                          <a:pos x="353" y="2"/>
                        </a:cxn>
                        <a:cxn ang="0">
                          <a:pos x="375" y="31"/>
                        </a:cxn>
                        <a:cxn ang="0">
                          <a:pos x="196" y="18"/>
                        </a:cxn>
                        <a:cxn ang="0">
                          <a:pos x="226" y="57"/>
                        </a:cxn>
                        <a:cxn ang="0">
                          <a:pos x="93" y="102"/>
                        </a:cxn>
                        <a:cxn ang="0">
                          <a:pos x="124" y="115"/>
                        </a:cxn>
                        <a:cxn ang="0">
                          <a:pos x="27" y="254"/>
                        </a:cxn>
                        <a:cxn ang="0">
                          <a:pos x="27" y="343"/>
                        </a:cxn>
                        <a:cxn ang="0">
                          <a:pos x="0" y="414"/>
                        </a:cxn>
                        <a:cxn ang="0">
                          <a:pos x="50" y="403"/>
                        </a:cxn>
                        <a:cxn ang="0">
                          <a:pos x="65" y="441"/>
                        </a:cxn>
                      </a:cxnLst>
                      <a:rect l="0" t="0" r="r" b="b"/>
                      <a:pathLst>
                        <a:path w="577" h="525">
                          <a:moveTo>
                            <a:pt x="19" y="409"/>
                          </a:moveTo>
                          <a:cubicBezTo>
                            <a:pt x="29" y="405"/>
                            <a:pt x="36" y="410"/>
                            <a:pt x="45" y="401"/>
                          </a:cubicBezTo>
                          <a:cubicBezTo>
                            <a:pt x="87" y="433"/>
                            <a:pt x="29" y="516"/>
                            <a:pt x="96" y="525"/>
                          </a:cubicBezTo>
                          <a:cubicBezTo>
                            <a:pt x="98" y="498"/>
                            <a:pt x="93" y="468"/>
                            <a:pt x="97" y="441"/>
                          </a:cubicBezTo>
                          <a:cubicBezTo>
                            <a:pt x="101" y="415"/>
                            <a:pt x="126" y="405"/>
                            <a:pt x="116" y="371"/>
                          </a:cubicBezTo>
                          <a:cubicBezTo>
                            <a:pt x="96" y="357"/>
                            <a:pt x="93" y="351"/>
                            <a:pt x="92" y="324"/>
                          </a:cubicBezTo>
                          <a:cubicBezTo>
                            <a:pt x="102" y="332"/>
                            <a:pt x="118" y="334"/>
                            <a:pt x="129" y="343"/>
                          </a:cubicBezTo>
                          <a:cubicBezTo>
                            <a:pt x="131" y="305"/>
                            <a:pt x="129" y="265"/>
                            <a:pt x="131" y="227"/>
                          </a:cubicBezTo>
                          <a:cubicBezTo>
                            <a:pt x="157" y="228"/>
                            <a:pt x="178" y="222"/>
                            <a:pt x="200" y="212"/>
                          </a:cubicBezTo>
                          <a:cubicBezTo>
                            <a:pt x="209" y="208"/>
                            <a:pt x="206" y="178"/>
                            <a:pt x="216" y="175"/>
                          </a:cubicBezTo>
                          <a:cubicBezTo>
                            <a:pt x="232" y="170"/>
                            <a:pt x="248" y="182"/>
                            <a:pt x="264" y="182"/>
                          </a:cubicBezTo>
                          <a:cubicBezTo>
                            <a:pt x="318" y="181"/>
                            <a:pt x="384" y="207"/>
                            <a:pt x="443" y="193"/>
                          </a:cubicBezTo>
                          <a:cubicBezTo>
                            <a:pt x="577" y="163"/>
                            <a:pt x="444" y="13"/>
                            <a:pt x="353" y="2"/>
                          </a:cubicBezTo>
                          <a:cubicBezTo>
                            <a:pt x="350" y="0"/>
                            <a:pt x="350" y="0"/>
                            <a:pt x="353" y="2"/>
                          </a:cubicBezTo>
                          <a:cubicBezTo>
                            <a:pt x="362" y="11"/>
                            <a:pt x="367" y="23"/>
                            <a:pt x="375" y="31"/>
                          </a:cubicBezTo>
                          <a:cubicBezTo>
                            <a:pt x="319" y="16"/>
                            <a:pt x="258" y="15"/>
                            <a:pt x="196" y="18"/>
                          </a:cubicBezTo>
                          <a:cubicBezTo>
                            <a:pt x="206" y="28"/>
                            <a:pt x="213" y="46"/>
                            <a:pt x="226" y="57"/>
                          </a:cubicBezTo>
                          <a:cubicBezTo>
                            <a:pt x="184" y="54"/>
                            <a:pt x="128" y="79"/>
                            <a:pt x="93" y="102"/>
                          </a:cubicBezTo>
                          <a:cubicBezTo>
                            <a:pt x="112" y="103"/>
                            <a:pt x="112" y="111"/>
                            <a:pt x="124" y="115"/>
                          </a:cubicBezTo>
                          <a:cubicBezTo>
                            <a:pt x="82" y="146"/>
                            <a:pt x="40" y="207"/>
                            <a:pt x="27" y="254"/>
                          </a:cubicBezTo>
                          <a:cubicBezTo>
                            <a:pt x="19" y="285"/>
                            <a:pt x="30" y="314"/>
                            <a:pt x="27" y="343"/>
                          </a:cubicBezTo>
                          <a:cubicBezTo>
                            <a:pt x="24" y="372"/>
                            <a:pt x="13" y="386"/>
                            <a:pt x="0" y="414"/>
                          </a:cubicBezTo>
                          <a:cubicBezTo>
                            <a:pt x="15" y="407"/>
                            <a:pt x="37" y="408"/>
                            <a:pt x="50" y="403"/>
                          </a:cubicBezTo>
                          <a:cubicBezTo>
                            <a:pt x="46" y="424"/>
                            <a:pt x="61" y="429"/>
                            <a:pt x="65" y="441"/>
                          </a:cubicBezTo>
                        </a:path>
                      </a:pathLst>
                    </a:custGeom>
                    <a:solidFill>
                      <a:srgbClr val="736357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5" name="Freeform 434"/>
                    <p:cNvSpPr>
                      <a:spLocks/>
                    </p:cNvSpPr>
                    <p:nvPr/>
                  </p:nvSpPr>
                  <p:spPr bwMode="gray">
                    <a:xfrm>
                      <a:off x="16925925" y="-19594512"/>
                      <a:ext cx="2163763" cy="1968500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409"/>
                        </a:cxn>
                        <a:cxn ang="0">
                          <a:pos x="45" y="401"/>
                        </a:cxn>
                        <a:cxn ang="0">
                          <a:pos x="96" y="525"/>
                        </a:cxn>
                        <a:cxn ang="0">
                          <a:pos x="97" y="441"/>
                        </a:cxn>
                        <a:cxn ang="0">
                          <a:pos x="116" y="371"/>
                        </a:cxn>
                        <a:cxn ang="0">
                          <a:pos x="92" y="324"/>
                        </a:cxn>
                        <a:cxn ang="0">
                          <a:pos x="129" y="343"/>
                        </a:cxn>
                        <a:cxn ang="0">
                          <a:pos x="131" y="227"/>
                        </a:cxn>
                        <a:cxn ang="0">
                          <a:pos x="200" y="212"/>
                        </a:cxn>
                        <a:cxn ang="0">
                          <a:pos x="216" y="175"/>
                        </a:cxn>
                        <a:cxn ang="0">
                          <a:pos x="264" y="182"/>
                        </a:cxn>
                        <a:cxn ang="0">
                          <a:pos x="443" y="193"/>
                        </a:cxn>
                        <a:cxn ang="0">
                          <a:pos x="353" y="2"/>
                        </a:cxn>
                        <a:cxn ang="0">
                          <a:pos x="353" y="2"/>
                        </a:cxn>
                        <a:cxn ang="0">
                          <a:pos x="375" y="31"/>
                        </a:cxn>
                        <a:cxn ang="0">
                          <a:pos x="196" y="18"/>
                        </a:cxn>
                        <a:cxn ang="0">
                          <a:pos x="226" y="57"/>
                        </a:cxn>
                        <a:cxn ang="0">
                          <a:pos x="93" y="102"/>
                        </a:cxn>
                        <a:cxn ang="0">
                          <a:pos x="124" y="115"/>
                        </a:cxn>
                        <a:cxn ang="0">
                          <a:pos x="27" y="254"/>
                        </a:cxn>
                        <a:cxn ang="0">
                          <a:pos x="27" y="343"/>
                        </a:cxn>
                        <a:cxn ang="0">
                          <a:pos x="0" y="414"/>
                        </a:cxn>
                        <a:cxn ang="0">
                          <a:pos x="50" y="403"/>
                        </a:cxn>
                        <a:cxn ang="0">
                          <a:pos x="65" y="441"/>
                        </a:cxn>
                      </a:cxnLst>
                      <a:rect l="0" t="0" r="r" b="b"/>
                      <a:pathLst>
                        <a:path w="577" h="525">
                          <a:moveTo>
                            <a:pt x="19" y="409"/>
                          </a:moveTo>
                          <a:cubicBezTo>
                            <a:pt x="29" y="405"/>
                            <a:pt x="36" y="410"/>
                            <a:pt x="45" y="401"/>
                          </a:cubicBezTo>
                          <a:cubicBezTo>
                            <a:pt x="87" y="433"/>
                            <a:pt x="29" y="516"/>
                            <a:pt x="96" y="525"/>
                          </a:cubicBezTo>
                          <a:cubicBezTo>
                            <a:pt x="98" y="498"/>
                            <a:pt x="93" y="468"/>
                            <a:pt x="97" y="441"/>
                          </a:cubicBezTo>
                          <a:cubicBezTo>
                            <a:pt x="101" y="415"/>
                            <a:pt x="126" y="405"/>
                            <a:pt x="116" y="371"/>
                          </a:cubicBezTo>
                          <a:cubicBezTo>
                            <a:pt x="96" y="357"/>
                            <a:pt x="93" y="351"/>
                            <a:pt x="92" y="324"/>
                          </a:cubicBezTo>
                          <a:cubicBezTo>
                            <a:pt x="102" y="332"/>
                            <a:pt x="118" y="334"/>
                            <a:pt x="129" y="343"/>
                          </a:cubicBezTo>
                          <a:cubicBezTo>
                            <a:pt x="131" y="305"/>
                            <a:pt x="129" y="265"/>
                            <a:pt x="131" y="227"/>
                          </a:cubicBezTo>
                          <a:cubicBezTo>
                            <a:pt x="157" y="228"/>
                            <a:pt x="178" y="222"/>
                            <a:pt x="200" y="212"/>
                          </a:cubicBezTo>
                          <a:cubicBezTo>
                            <a:pt x="209" y="208"/>
                            <a:pt x="206" y="178"/>
                            <a:pt x="216" y="175"/>
                          </a:cubicBezTo>
                          <a:cubicBezTo>
                            <a:pt x="232" y="170"/>
                            <a:pt x="248" y="182"/>
                            <a:pt x="264" y="182"/>
                          </a:cubicBezTo>
                          <a:cubicBezTo>
                            <a:pt x="318" y="181"/>
                            <a:pt x="384" y="207"/>
                            <a:pt x="443" y="193"/>
                          </a:cubicBezTo>
                          <a:cubicBezTo>
                            <a:pt x="577" y="163"/>
                            <a:pt x="444" y="13"/>
                            <a:pt x="353" y="2"/>
                          </a:cubicBezTo>
                          <a:cubicBezTo>
                            <a:pt x="350" y="0"/>
                            <a:pt x="350" y="0"/>
                            <a:pt x="353" y="2"/>
                          </a:cubicBezTo>
                          <a:cubicBezTo>
                            <a:pt x="362" y="11"/>
                            <a:pt x="367" y="23"/>
                            <a:pt x="375" y="31"/>
                          </a:cubicBezTo>
                          <a:cubicBezTo>
                            <a:pt x="319" y="16"/>
                            <a:pt x="258" y="15"/>
                            <a:pt x="196" y="18"/>
                          </a:cubicBezTo>
                          <a:cubicBezTo>
                            <a:pt x="206" y="28"/>
                            <a:pt x="213" y="46"/>
                            <a:pt x="226" y="57"/>
                          </a:cubicBezTo>
                          <a:cubicBezTo>
                            <a:pt x="184" y="54"/>
                            <a:pt x="128" y="79"/>
                            <a:pt x="93" y="102"/>
                          </a:cubicBezTo>
                          <a:cubicBezTo>
                            <a:pt x="112" y="103"/>
                            <a:pt x="112" y="111"/>
                            <a:pt x="124" y="115"/>
                          </a:cubicBezTo>
                          <a:cubicBezTo>
                            <a:pt x="82" y="146"/>
                            <a:pt x="40" y="207"/>
                            <a:pt x="27" y="254"/>
                          </a:cubicBezTo>
                          <a:cubicBezTo>
                            <a:pt x="19" y="285"/>
                            <a:pt x="30" y="314"/>
                            <a:pt x="27" y="343"/>
                          </a:cubicBezTo>
                          <a:cubicBezTo>
                            <a:pt x="24" y="372"/>
                            <a:pt x="13" y="386"/>
                            <a:pt x="0" y="414"/>
                          </a:cubicBezTo>
                          <a:cubicBezTo>
                            <a:pt x="15" y="407"/>
                            <a:pt x="37" y="408"/>
                            <a:pt x="50" y="403"/>
                          </a:cubicBezTo>
                          <a:cubicBezTo>
                            <a:pt x="46" y="424"/>
                            <a:pt x="61" y="429"/>
                            <a:pt x="65" y="441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6" name="Freeform 435"/>
                    <p:cNvSpPr>
                      <a:spLocks/>
                    </p:cNvSpPr>
                    <p:nvPr/>
                  </p:nvSpPr>
                  <p:spPr bwMode="gray">
                    <a:xfrm>
                      <a:off x="17526000" y="-7373937"/>
                      <a:ext cx="1106488" cy="4886325"/>
                    </a:xfrm>
                    <a:custGeom>
                      <a:avLst/>
                      <a:gdLst/>
                      <a:ahLst/>
                      <a:cxnLst>
                        <a:cxn ang="0">
                          <a:pos x="71" y="9"/>
                        </a:cxn>
                        <a:cxn ang="0">
                          <a:pos x="65" y="96"/>
                        </a:cxn>
                        <a:cxn ang="0">
                          <a:pos x="127" y="204"/>
                        </a:cxn>
                        <a:cxn ang="0">
                          <a:pos x="218" y="376"/>
                        </a:cxn>
                        <a:cxn ang="0">
                          <a:pos x="205" y="426"/>
                        </a:cxn>
                        <a:cxn ang="0">
                          <a:pos x="231" y="479"/>
                        </a:cxn>
                        <a:cxn ang="0">
                          <a:pos x="192" y="512"/>
                        </a:cxn>
                        <a:cxn ang="0">
                          <a:pos x="189" y="579"/>
                        </a:cxn>
                        <a:cxn ang="0">
                          <a:pos x="174" y="739"/>
                        </a:cxn>
                        <a:cxn ang="0">
                          <a:pos x="132" y="787"/>
                        </a:cxn>
                        <a:cxn ang="0">
                          <a:pos x="153" y="779"/>
                        </a:cxn>
                        <a:cxn ang="0">
                          <a:pos x="97" y="873"/>
                        </a:cxn>
                        <a:cxn ang="0">
                          <a:pos x="162" y="914"/>
                        </a:cxn>
                        <a:cxn ang="0">
                          <a:pos x="201" y="875"/>
                        </a:cxn>
                        <a:cxn ang="0">
                          <a:pos x="231" y="956"/>
                        </a:cxn>
                        <a:cxn ang="0">
                          <a:pos x="192" y="1009"/>
                        </a:cxn>
                        <a:cxn ang="0">
                          <a:pos x="184" y="1083"/>
                        </a:cxn>
                        <a:cxn ang="0">
                          <a:pos x="232" y="1192"/>
                        </a:cxn>
                        <a:cxn ang="0">
                          <a:pos x="148" y="1236"/>
                        </a:cxn>
                        <a:cxn ang="0">
                          <a:pos x="26" y="1031"/>
                        </a:cxn>
                        <a:cxn ang="0">
                          <a:pos x="35" y="1184"/>
                        </a:cxn>
                        <a:cxn ang="0">
                          <a:pos x="167" y="1292"/>
                        </a:cxn>
                        <a:cxn ang="0">
                          <a:pos x="284" y="1157"/>
                        </a:cxn>
                        <a:cxn ang="0">
                          <a:pos x="261" y="1072"/>
                        </a:cxn>
                        <a:cxn ang="0">
                          <a:pos x="246" y="965"/>
                        </a:cxn>
                        <a:cxn ang="0">
                          <a:pos x="279" y="741"/>
                        </a:cxn>
                        <a:cxn ang="0">
                          <a:pos x="288" y="578"/>
                        </a:cxn>
                        <a:cxn ang="0">
                          <a:pos x="266" y="453"/>
                        </a:cxn>
                        <a:cxn ang="0">
                          <a:pos x="272" y="288"/>
                        </a:cxn>
                        <a:cxn ang="0">
                          <a:pos x="265" y="94"/>
                        </a:cxn>
                        <a:cxn ang="0">
                          <a:pos x="233" y="101"/>
                        </a:cxn>
                        <a:cxn ang="0">
                          <a:pos x="200" y="76"/>
                        </a:cxn>
                        <a:cxn ang="0">
                          <a:pos x="71" y="9"/>
                        </a:cxn>
                      </a:cxnLst>
                      <a:rect l="0" t="0" r="r" b="b"/>
                      <a:pathLst>
                        <a:path w="295" h="1303">
                          <a:moveTo>
                            <a:pt x="71" y="9"/>
                          </a:moveTo>
                          <a:cubicBezTo>
                            <a:pt x="5" y="20"/>
                            <a:pt x="49" y="69"/>
                            <a:pt x="65" y="96"/>
                          </a:cubicBezTo>
                          <a:cubicBezTo>
                            <a:pt x="86" y="130"/>
                            <a:pt x="101" y="168"/>
                            <a:pt x="127" y="204"/>
                          </a:cubicBezTo>
                          <a:cubicBezTo>
                            <a:pt x="171" y="264"/>
                            <a:pt x="229" y="284"/>
                            <a:pt x="218" y="376"/>
                          </a:cubicBezTo>
                          <a:cubicBezTo>
                            <a:pt x="216" y="392"/>
                            <a:pt x="206" y="411"/>
                            <a:pt x="205" y="426"/>
                          </a:cubicBezTo>
                          <a:cubicBezTo>
                            <a:pt x="205" y="449"/>
                            <a:pt x="231" y="468"/>
                            <a:pt x="231" y="479"/>
                          </a:cubicBezTo>
                          <a:cubicBezTo>
                            <a:pt x="232" y="513"/>
                            <a:pt x="210" y="493"/>
                            <a:pt x="192" y="512"/>
                          </a:cubicBezTo>
                          <a:cubicBezTo>
                            <a:pt x="166" y="540"/>
                            <a:pt x="181" y="545"/>
                            <a:pt x="189" y="579"/>
                          </a:cubicBezTo>
                          <a:cubicBezTo>
                            <a:pt x="203" y="635"/>
                            <a:pt x="186" y="683"/>
                            <a:pt x="174" y="739"/>
                          </a:cubicBezTo>
                          <a:cubicBezTo>
                            <a:pt x="146" y="737"/>
                            <a:pt x="124" y="757"/>
                            <a:pt x="132" y="787"/>
                          </a:cubicBezTo>
                          <a:cubicBezTo>
                            <a:pt x="136" y="785"/>
                            <a:pt x="147" y="783"/>
                            <a:pt x="153" y="779"/>
                          </a:cubicBezTo>
                          <a:cubicBezTo>
                            <a:pt x="162" y="823"/>
                            <a:pt x="89" y="813"/>
                            <a:pt x="97" y="873"/>
                          </a:cubicBezTo>
                          <a:cubicBezTo>
                            <a:pt x="101" y="909"/>
                            <a:pt x="127" y="935"/>
                            <a:pt x="162" y="914"/>
                          </a:cubicBezTo>
                          <a:cubicBezTo>
                            <a:pt x="182" y="902"/>
                            <a:pt x="166" y="875"/>
                            <a:pt x="201" y="875"/>
                          </a:cubicBezTo>
                          <a:cubicBezTo>
                            <a:pt x="240" y="874"/>
                            <a:pt x="242" y="927"/>
                            <a:pt x="231" y="956"/>
                          </a:cubicBezTo>
                          <a:cubicBezTo>
                            <a:pt x="223" y="975"/>
                            <a:pt x="199" y="988"/>
                            <a:pt x="192" y="1009"/>
                          </a:cubicBezTo>
                          <a:cubicBezTo>
                            <a:pt x="185" y="1030"/>
                            <a:pt x="184" y="1061"/>
                            <a:pt x="184" y="1083"/>
                          </a:cubicBezTo>
                          <a:cubicBezTo>
                            <a:pt x="222" y="1077"/>
                            <a:pt x="235" y="1163"/>
                            <a:pt x="232" y="1192"/>
                          </a:cubicBezTo>
                          <a:cubicBezTo>
                            <a:pt x="227" y="1228"/>
                            <a:pt x="190" y="1242"/>
                            <a:pt x="148" y="1236"/>
                          </a:cubicBezTo>
                          <a:cubicBezTo>
                            <a:pt x="68" y="1224"/>
                            <a:pt x="53" y="1090"/>
                            <a:pt x="26" y="1031"/>
                          </a:cubicBezTo>
                          <a:cubicBezTo>
                            <a:pt x="10" y="1067"/>
                            <a:pt x="0" y="1157"/>
                            <a:pt x="35" y="1184"/>
                          </a:cubicBezTo>
                          <a:cubicBezTo>
                            <a:pt x="48" y="1259"/>
                            <a:pt x="79" y="1303"/>
                            <a:pt x="167" y="1292"/>
                          </a:cubicBezTo>
                          <a:cubicBezTo>
                            <a:pt x="243" y="1282"/>
                            <a:pt x="289" y="1240"/>
                            <a:pt x="284" y="1157"/>
                          </a:cubicBezTo>
                          <a:cubicBezTo>
                            <a:pt x="282" y="1121"/>
                            <a:pt x="272" y="1105"/>
                            <a:pt x="261" y="1072"/>
                          </a:cubicBezTo>
                          <a:cubicBezTo>
                            <a:pt x="261" y="1072"/>
                            <a:pt x="245" y="967"/>
                            <a:pt x="246" y="965"/>
                          </a:cubicBezTo>
                          <a:cubicBezTo>
                            <a:pt x="261" y="891"/>
                            <a:pt x="276" y="819"/>
                            <a:pt x="279" y="741"/>
                          </a:cubicBezTo>
                          <a:cubicBezTo>
                            <a:pt x="282" y="685"/>
                            <a:pt x="282" y="633"/>
                            <a:pt x="288" y="578"/>
                          </a:cubicBezTo>
                          <a:cubicBezTo>
                            <a:pt x="293" y="530"/>
                            <a:pt x="276" y="500"/>
                            <a:pt x="266" y="453"/>
                          </a:cubicBezTo>
                          <a:cubicBezTo>
                            <a:pt x="254" y="395"/>
                            <a:pt x="263" y="343"/>
                            <a:pt x="272" y="288"/>
                          </a:cubicBezTo>
                          <a:cubicBezTo>
                            <a:pt x="278" y="247"/>
                            <a:pt x="295" y="130"/>
                            <a:pt x="265" y="94"/>
                          </a:cubicBezTo>
                          <a:cubicBezTo>
                            <a:pt x="256" y="83"/>
                            <a:pt x="242" y="107"/>
                            <a:pt x="233" y="101"/>
                          </a:cubicBezTo>
                          <a:cubicBezTo>
                            <a:pt x="215" y="89"/>
                            <a:pt x="217" y="91"/>
                            <a:pt x="200" y="76"/>
                          </a:cubicBezTo>
                          <a:cubicBezTo>
                            <a:pt x="165" y="47"/>
                            <a:pt x="120" y="0"/>
                            <a:pt x="71" y="9"/>
                          </a:cubicBezTo>
                          <a:close/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7" name="Freeform 436"/>
                    <p:cNvSpPr>
                      <a:spLocks/>
                    </p:cNvSpPr>
                    <p:nvPr/>
                  </p:nvSpPr>
                  <p:spPr bwMode="gray">
                    <a:xfrm>
                      <a:off x="19577050" y="-1670050"/>
                      <a:ext cx="1425575" cy="1541463"/>
                    </a:xfrm>
                    <a:custGeom>
                      <a:avLst/>
                      <a:gdLst/>
                      <a:ahLst/>
                      <a:cxnLst>
                        <a:cxn ang="0">
                          <a:pos x="38" y="40"/>
                        </a:cxn>
                        <a:cxn ang="0">
                          <a:pos x="93" y="272"/>
                        </a:cxn>
                        <a:cxn ang="0">
                          <a:pos x="139" y="329"/>
                        </a:cxn>
                        <a:cxn ang="0">
                          <a:pos x="215" y="362"/>
                        </a:cxn>
                        <a:cxn ang="0">
                          <a:pos x="324" y="388"/>
                        </a:cxn>
                        <a:cxn ang="0">
                          <a:pos x="380" y="354"/>
                        </a:cxn>
                        <a:cxn ang="0">
                          <a:pos x="207" y="403"/>
                        </a:cxn>
                        <a:cxn ang="0">
                          <a:pos x="75" y="366"/>
                        </a:cxn>
                        <a:cxn ang="0">
                          <a:pos x="18" y="350"/>
                        </a:cxn>
                        <a:cxn ang="0">
                          <a:pos x="12" y="236"/>
                        </a:cxn>
                        <a:cxn ang="0">
                          <a:pos x="18" y="150"/>
                        </a:cxn>
                        <a:cxn ang="0">
                          <a:pos x="41" y="0"/>
                        </a:cxn>
                      </a:cxnLst>
                      <a:rect l="0" t="0" r="r" b="b"/>
                      <a:pathLst>
                        <a:path w="380" h="411">
                          <a:moveTo>
                            <a:pt x="38" y="40"/>
                          </a:moveTo>
                          <a:cubicBezTo>
                            <a:pt x="38" y="74"/>
                            <a:pt x="38" y="272"/>
                            <a:pt x="93" y="272"/>
                          </a:cubicBezTo>
                          <a:cubicBezTo>
                            <a:pt x="41" y="287"/>
                            <a:pt x="122" y="320"/>
                            <a:pt x="139" y="329"/>
                          </a:cubicBezTo>
                          <a:cubicBezTo>
                            <a:pt x="163" y="342"/>
                            <a:pt x="189" y="355"/>
                            <a:pt x="215" y="362"/>
                          </a:cubicBezTo>
                          <a:cubicBezTo>
                            <a:pt x="242" y="369"/>
                            <a:pt x="297" y="389"/>
                            <a:pt x="324" y="388"/>
                          </a:cubicBezTo>
                          <a:cubicBezTo>
                            <a:pt x="343" y="387"/>
                            <a:pt x="365" y="367"/>
                            <a:pt x="380" y="354"/>
                          </a:cubicBezTo>
                          <a:cubicBezTo>
                            <a:pt x="340" y="406"/>
                            <a:pt x="263" y="411"/>
                            <a:pt x="207" y="403"/>
                          </a:cubicBezTo>
                          <a:cubicBezTo>
                            <a:pt x="161" y="396"/>
                            <a:pt x="121" y="371"/>
                            <a:pt x="75" y="366"/>
                          </a:cubicBezTo>
                          <a:cubicBezTo>
                            <a:pt x="55" y="363"/>
                            <a:pt x="29" y="366"/>
                            <a:pt x="18" y="350"/>
                          </a:cubicBezTo>
                          <a:cubicBezTo>
                            <a:pt x="0" y="326"/>
                            <a:pt x="12" y="265"/>
                            <a:pt x="12" y="236"/>
                          </a:cubicBezTo>
                          <a:cubicBezTo>
                            <a:pt x="12" y="207"/>
                            <a:pt x="13" y="179"/>
                            <a:pt x="18" y="150"/>
                          </a:cubicBezTo>
                          <a:cubicBezTo>
                            <a:pt x="26" y="104"/>
                            <a:pt x="43" y="48"/>
                            <a:pt x="41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8" name="Freeform 437"/>
                    <p:cNvSpPr>
                      <a:spLocks/>
                    </p:cNvSpPr>
                    <p:nvPr/>
                  </p:nvSpPr>
                  <p:spPr bwMode="gray">
                    <a:xfrm>
                      <a:off x="19599275" y="-3241675"/>
                      <a:ext cx="1103313" cy="1863725"/>
                    </a:xfrm>
                    <a:custGeom>
                      <a:avLst/>
                      <a:gdLst/>
                      <a:ahLst/>
                      <a:cxnLst>
                        <a:cxn ang="0">
                          <a:pos x="42" y="18"/>
                        </a:cxn>
                        <a:cxn ang="0">
                          <a:pos x="145" y="97"/>
                        </a:cxn>
                        <a:cxn ang="0">
                          <a:pos x="269" y="0"/>
                        </a:cxn>
                        <a:cxn ang="0">
                          <a:pos x="115" y="168"/>
                        </a:cxn>
                        <a:cxn ang="0">
                          <a:pos x="118" y="232"/>
                        </a:cxn>
                        <a:cxn ang="0">
                          <a:pos x="118" y="291"/>
                        </a:cxn>
                        <a:cxn ang="0">
                          <a:pos x="87" y="331"/>
                        </a:cxn>
                        <a:cxn ang="0">
                          <a:pos x="88" y="395"/>
                        </a:cxn>
                        <a:cxn ang="0">
                          <a:pos x="159" y="391"/>
                        </a:cxn>
                        <a:cxn ang="0">
                          <a:pos x="80" y="474"/>
                        </a:cxn>
                        <a:cxn ang="0">
                          <a:pos x="61" y="271"/>
                        </a:cxn>
                        <a:cxn ang="0">
                          <a:pos x="35" y="57"/>
                        </a:cxn>
                      </a:cxnLst>
                      <a:rect l="0" t="0" r="r" b="b"/>
                      <a:pathLst>
                        <a:path w="294" h="497">
                          <a:moveTo>
                            <a:pt x="42" y="18"/>
                          </a:moveTo>
                          <a:cubicBezTo>
                            <a:pt x="37" y="79"/>
                            <a:pt x="77" y="124"/>
                            <a:pt x="145" y="97"/>
                          </a:cubicBezTo>
                          <a:cubicBezTo>
                            <a:pt x="192" y="78"/>
                            <a:pt x="215" y="2"/>
                            <a:pt x="269" y="0"/>
                          </a:cubicBezTo>
                          <a:cubicBezTo>
                            <a:pt x="294" y="86"/>
                            <a:pt x="139" y="93"/>
                            <a:pt x="115" y="168"/>
                          </a:cubicBezTo>
                          <a:cubicBezTo>
                            <a:pt x="105" y="199"/>
                            <a:pt x="115" y="204"/>
                            <a:pt x="118" y="232"/>
                          </a:cubicBezTo>
                          <a:cubicBezTo>
                            <a:pt x="123" y="279"/>
                            <a:pt x="132" y="247"/>
                            <a:pt x="118" y="291"/>
                          </a:cubicBezTo>
                          <a:cubicBezTo>
                            <a:pt x="116" y="299"/>
                            <a:pt x="92" y="316"/>
                            <a:pt x="87" y="331"/>
                          </a:cubicBezTo>
                          <a:cubicBezTo>
                            <a:pt x="82" y="349"/>
                            <a:pt x="88" y="378"/>
                            <a:pt x="88" y="395"/>
                          </a:cubicBezTo>
                          <a:cubicBezTo>
                            <a:pt x="112" y="408"/>
                            <a:pt x="139" y="402"/>
                            <a:pt x="159" y="391"/>
                          </a:cubicBezTo>
                          <a:cubicBezTo>
                            <a:pt x="124" y="412"/>
                            <a:pt x="67" y="415"/>
                            <a:pt x="80" y="474"/>
                          </a:cubicBezTo>
                          <a:cubicBezTo>
                            <a:pt x="0" y="497"/>
                            <a:pt x="64" y="318"/>
                            <a:pt x="61" y="271"/>
                          </a:cubicBezTo>
                          <a:cubicBezTo>
                            <a:pt x="57" y="198"/>
                            <a:pt x="42" y="132"/>
                            <a:pt x="35" y="57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19" name="Freeform 438"/>
                    <p:cNvSpPr>
                      <a:spLocks/>
                    </p:cNvSpPr>
                    <p:nvPr/>
                  </p:nvSpPr>
                  <p:spPr bwMode="gray">
                    <a:xfrm>
                      <a:off x="20859750" y="-5006975"/>
                      <a:ext cx="900113" cy="1398588"/>
                    </a:xfrm>
                    <a:custGeom>
                      <a:avLst/>
                      <a:gdLst/>
                      <a:ahLst/>
                      <a:cxnLst>
                        <a:cxn ang="0">
                          <a:pos x="149" y="0"/>
                        </a:cxn>
                        <a:cxn ang="0">
                          <a:pos x="0" y="312"/>
                        </a:cxn>
                        <a:cxn ang="0">
                          <a:pos x="52" y="371"/>
                        </a:cxn>
                        <a:cxn ang="0">
                          <a:pos x="83" y="371"/>
                        </a:cxn>
                        <a:cxn ang="0">
                          <a:pos x="123" y="255"/>
                        </a:cxn>
                        <a:cxn ang="0">
                          <a:pos x="143" y="130"/>
                        </a:cxn>
                      </a:cxnLst>
                      <a:rect l="0" t="0" r="r" b="b"/>
                      <a:pathLst>
                        <a:path w="240" h="373">
                          <a:moveTo>
                            <a:pt x="149" y="0"/>
                          </a:moveTo>
                          <a:cubicBezTo>
                            <a:pt x="240" y="68"/>
                            <a:pt x="50" y="263"/>
                            <a:pt x="0" y="312"/>
                          </a:cubicBezTo>
                          <a:cubicBezTo>
                            <a:pt x="35" y="310"/>
                            <a:pt x="55" y="337"/>
                            <a:pt x="52" y="371"/>
                          </a:cubicBezTo>
                          <a:cubicBezTo>
                            <a:pt x="62" y="373"/>
                            <a:pt x="73" y="373"/>
                            <a:pt x="83" y="371"/>
                          </a:cubicBezTo>
                          <a:cubicBezTo>
                            <a:pt x="90" y="332"/>
                            <a:pt x="115" y="294"/>
                            <a:pt x="123" y="255"/>
                          </a:cubicBezTo>
                          <a:cubicBezTo>
                            <a:pt x="132" y="213"/>
                            <a:pt x="137" y="173"/>
                            <a:pt x="143" y="13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0" name="Freeform 439"/>
                    <p:cNvSpPr>
                      <a:spLocks/>
                    </p:cNvSpPr>
                    <p:nvPr/>
                  </p:nvSpPr>
                  <p:spPr bwMode="gray">
                    <a:xfrm>
                      <a:off x="18654713" y="-7624762"/>
                      <a:ext cx="877888" cy="24257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61" y="118"/>
                        </a:cxn>
                        <a:cxn ang="0">
                          <a:pos x="106" y="118"/>
                        </a:cxn>
                        <a:cxn ang="0">
                          <a:pos x="104" y="131"/>
                        </a:cxn>
                        <a:cxn ang="0">
                          <a:pos x="234" y="306"/>
                        </a:cxn>
                        <a:cxn ang="0">
                          <a:pos x="209" y="647"/>
                        </a:cxn>
                        <a:cxn ang="0">
                          <a:pos x="174" y="478"/>
                        </a:cxn>
                        <a:cxn ang="0">
                          <a:pos x="124" y="313"/>
                        </a:cxn>
                        <a:cxn ang="0">
                          <a:pos x="0" y="6"/>
                        </a:cxn>
                      </a:cxnLst>
                      <a:rect l="0" t="0" r="r" b="b"/>
                      <a:pathLst>
                        <a:path w="234" h="647">
                          <a:moveTo>
                            <a:pt x="0" y="0"/>
                          </a:moveTo>
                          <a:cubicBezTo>
                            <a:pt x="73" y="29"/>
                            <a:pt x="113" y="54"/>
                            <a:pt x="161" y="118"/>
                          </a:cubicBezTo>
                          <a:cubicBezTo>
                            <a:pt x="143" y="113"/>
                            <a:pt x="123" y="120"/>
                            <a:pt x="106" y="118"/>
                          </a:cubicBezTo>
                          <a:cubicBezTo>
                            <a:pt x="104" y="122"/>
                            <a:pt x="103" y="126"/>
                            <a:pt x="104" y="131"/>
                          </a:cubicBezTo>
                          <a:cubicBezTo>
                            <a:pt x="153" y="147"/>
                            <a:pt x="226" y="258"/>
                            <a:pt x="234" y="306"/>
                          </a:cubicBezTo>
                          <a:cubicBezTo>
                            <a:pt x="111" y="280"/>
                            <a:pt x="215" y="598"/>
                            <a:pt x="209" y="647"/>
                          </a:cubicBezTo>
                          <a:cubicBezTo>
                            <a:pt x="182" y="616"/>
                            <a:pt x="187" y="519"/>
                            <a:pt x="174" y="478"/>
                          </a:cubicBezTo>
                          <a:cubicBezTo>
                            <a:pt x="159" y="426"/>
                            <a:pt x="138" y="368"/>
                            <a:pt x="124" y="313"/>
                          </a:cubicBezTo>
                          <a:cubicBezTo>
                            <a:pt x="97" y="206"/>
                            <a:pt x="123" y="49"/>
                            <a:pt x="0" y="6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1" name="Freeform 440"/>
                    <p:cNvSpPr>
                      <a:spLocks/>
                    </p:cNvSpPr>
                    <p:nvPr/>
                  </p:nvSpPr>
                  <p:spPr bwMode="gray">
                    <a:xfrm>
                      <a:off x="17286288" y="-1951037"/>
                      <a:ext cx="903288" cy="6445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66" y="97"/>
                        </a:cxn>
                        <a:cxn ang="0">
                          <a:pos x="188" y="93"/>
                        </a:cxn>
                        <a:cxn ang="0">
                          <a:pos x="90" y="152"/>
                        </a:cxn>
                        <a:cxn ang="0">
                          <a:pos x="0" y="33"/>
                        </a:cxn>
                      </a:cxnLst>
                      <a:rect l="0" t="0" r="r" b="b"/>
                      <a:pathLst>
                        <a:path w="241" h="172">
                          <a:moveTo>
                            <a:pt x="0" y="0"/>
                          </a:moveTo>
                          <a:cubicBezTo>
                            <a:pt x="19" y="31"/>
                            <a:pt x="42" y="79"/>
                            <a:pt x="66" y="97"/>
                          </a:cubicBezTo>
                          <a:cubicBezTo>
                            <a:pt x="117" y="134"/>
                            <a:pt x="139" y="104"/>
                            <a:pt x="188" y="93"/>
                          </a:cubicBezTo>
                          <a:cubicBezTo>
                            <a:pt x="241" y="167"/>
                            <a:pt x="131" y="172"/>
                            <a:pt x="90" y="152"/>
                          </a:cubicBezTo>
                          <a:cubicBezTo>
                            <a:pt x="54" y="135"/>
                            <a:pt x="0" y="81"/>
                            <a:pt x="0" y="33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2" name="Freeform 441"/>
                    <p:cNvSpPr>
                      <a:spLocks/>
                    </p:cNvSpPr>
                    <p:nvPr/>
                  </p:nvSpPr>
                  <p:spPr bwMode="gray">
                    <a:xfrm>
                      <a:off x="18134013" y="-9507537"/>
                      <a:ext cx="873125" cy="2216150"/>
                    </a:xfrm>
                    <a:custGeom>
                      <a:avLst/>
                      <a:gdLst/>
                      <a:ahLst/>
                      <a:cxnLst>
                        <a:cxn ang="0">
                          <a:pos x="9" y="0"/>
                        </a:cxn>
                        <a:cxn ang="0">
                          <a:pos x="21" y="235"/>
                        </a:cxn>
                        <a:cxn ang="0">
                          <a:pos x="67" y="437"/>
                        </a:cxn>
                        <a:cxn ang="0">
                          <a:pos x="204" y="126"/>
                        </a:cxn>
                        <a:cxn ang="0">
                          <a:pos x="159" y="502"/>
                        </a:cxn>
                        <a:cxn ang="0">
                          <a:pos x="28" y="91"/>
                        </a:cxn>
                      </a:cxnLst>
                      <a:rect l="0" t="0" r="r" b="b"/>
                      <a:pathLst>
                        <a:path w="233" h="591">
                          <a:moveTo>
                            <a:pt x="9" y="0"/>
                          </a:moveTo>
                          <a:cubicBezTo>
                            <a:pt x="0" y="67"/>
                            <a:pt x="15" y="163"/>
                            <a:pt x="21" y="235"/>
                          </a:cubicBezTo>
                          <a:cubicBezTo>
                            <a:pt x="26" y="284"/>
                            <a:pt x="34" y="399"/>
                            <a:pt x="67" y="437"/>
                          </a:cubicBezTo>
                          <a:cubicBezTo>
                            <a:pt x="200" y="591"/>
                            <a:pt x="191" y="172"/>
                            <a:pt x="204" y="126"/>
                          </a:cubicBezTo>
                          <a:cubicBezTo>
                            <a:pt x="232" y="194"/>
                            <a:pt x="233" y="458"/>
                            <a:pt x="159" y="502"/>
                          </a:cubicBezTo>
                          <a:cubicBezTo>
                            <a:pt x="10" y="590"/>
                            <a:pt x="28" y="149"/>
                            <a:pt x="28" y="91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3" name="Freeform 442"/>
                    <p:cNvSpPr>
                      <a:spLocks/>
                    </p:cNvSpPr>
                    <p:nvPr/>
                  </p:nvSpPr>
                  <p:spPr bwMode="gray">
                    <a:xfrm>
                      <a:off x="16386175" y="-8764587"/>
                      <a:ext cx="896938" cy="2309813"/>
                    </a:xfrm>
                    <a:custGeom>
                      <a:avLst/>
                      <a:gdLst/>
                      <a:ahLst/>
                      <a:cxnLst>
                        <a:cxn ang="0">
                          <a:pos x="70" y="265"/>
                        </a:cxn>
                        <a:cxn ang="0">
                          <a:pos x="121" y="180"/>
                        </a:cxn>
                        <a:cxn ang="0">
                          <a:pos x="136" y="50"/>
                        </a:cxn>
                        <a:cxn ang="0">
                          <a:pos x="239" y="0"/>
                        </a:cxn>
                        <a:cxn ang="0">
                          <a:pos x="180" y="164"/>
                        </a:cxn>
                        <a:cxn ang="0">
                          <a:pos x="155" y="331"/>
                        </a:cxn>
                        <a:cxn ang="0">
                          <a:pos x="120" y="616"/>
                        </a:cxn>
                        <a:cxn ang="0">
                          <a:pos x="90" y="245"/>
                        </a:cxn>
                      </a:cxnLst>
                      <a:rect l="0" t="0" r="r" b="b"/>
                      <a:pathLst>
                        <a:path w="239" h="616">
                          <a:moveTo>
                            <a:pt x="70" y="265"/>
                          </a:moveTo>
                          <a:cubicBezTo>
                            <a:pt x="74" y="230"/>
                            <a:pt x="107" y="210"/>
                            <a:pt x="121" y="180"/>
                          </a:cubicBezTo>
                          <a:cubicBezTo>
                            <a:pt x="140" y="138"/>
                            <a:pt x="134" y="97"/>
                            <a:pt x="136" y="50"/>
                          </a:cubicBezTo>
                          <a:cubicBezTo>
                            <a:pt x="178" y="49"/>
                            <a:pt x="205" y="15"/>
                            <a:pt x="239" y="0"/>
                          </a:cubicBezTo>
                          <a:cubicBezTo>
                            <a:pt x="216" y="52"/>
                            <a:pt x="192" y="105"/>
                            <a:pt x="180" y="164"/>
                          </a:cubicBezTo>
                          <a:cubicBezTo>
                            <a:pt x="169" y="218"/>
                            <a:pt x="175" y="284"/>
                            <a:pt x="155" y="331"/>
                          </a:cubicBezTo>
                          <a:cubicBezTo>
                            <a:pt x="116" y="424"/>
                            <a:pt x="83" y="511"/>
                            <a:pt x="120" y="616"/>
                          </a:cubicBezTo>
                          <a:cubicBezTo>
                            <a:pt x="53" y="570"/>
                            <a:pt x="0" y="295"/>
                            <a:pt x="90" y="245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4" name="Freeform 443"/>
                    <p:cNvSpPr>
                      <a:spLocks/>
                    </p:cNvSpPr>
                    <p:nvPr/>
                  </p:nvSpPr>
                  <p:spPr bwMode="gray">
                    <a:xfrm>
                      <a:off x="18092738" y="-10047287"/>
                      <a:ext cx="1654175" cy="446088"/>
                    </a:xfrm>
                    <a:custGeom>
                      <a:avLst/>
                      <a:gdLst/>
                      <a:ahLst/>
                      <a:cxnLst>
                        <a:cxn ang="0">
                          <a:pos x="20" y="85"/>
                        </a:cxn>
                        <a:cxn ang="0">
                          <a:pos x="118" y="118"/>
                        </a:cxn>
                        <a:cxn ang="0">
                          <a:pos x="222" y="73"/>
                        </a:cxn>
                        <a:cxn ang="0">
                          <a:pos x="335" y="80"/>
                        </a:cxn>
                        <a:cxn ang="0">
                          <a:pos x="436" y="51"/>
                        </a:cxn>
                        <a:cxn ang="0">
                          <a:pos x="210" y="40"/>
                        </a:cxn>
                        <a:cxn ang="0">
                          <a:pos x="0" y="85"/>
                        </a:cxn>
                      </a:cxnLst>
                      <a:rect l="0" t="0" r="r" b="b"/>
                      <a:pathLst>
                        <a:path w="441" h="119">
                          <a:moveTo>
                            <a:pt x="20" y="85"/>
                          </a:moveTo>
                          <a:cubicBezTo>
                            <a:pt x="47" y="113"/>
                            <a:pt x="74" y="119"/>
                            <a:pt x="118" y="118"/>
                          </a:cubicBezTo>
                          <a:cubicBezTo>
                            <a:pt x="168" y="116"/>
                            <a:pt x="180" y="83"/>
                            <a:pt x="222" y="73"/>
                          </a:cubicBezTo>
                          <a:cubicBezTo>
                            <a:pt x="259" y="64"/>
                            <a:pt x="293" y="90"/>
                            <a:pt x="335" y="80"/>
                          </a:cubicBezTo>
                          <a:cubicBezTo>
                            <a:pt x="373" y="71"/>
                            <a:pt x="393" y="50"/>
                            <a:pt x="436" y="51"/>
                          </a:cubicBezTo>
                          <a:cubicBezTo>
                            <a:pt x="441" y="0"/>
                            <a:pt x="258" y="38"/>
                            <a:pt x="210" y="40"/>
                          </a:cubicBezTo>
                          <a:cubicBezTo>
                            <a:pt x="188" y="91"/>
                            <a:pt x="44" y="104"/>
                            <a:pt x="0" y="85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5" name="Freeform 444"/>
                    <p:cNvSpPr>
                      <a:spLocks/>
                    </p:cNvSpPr>
                    <p:nvPr/>
                  </p:nvSpPr>
                  <p:spPr bwMode="gray">
                    <a:xfrm>
                      <a:off x="20564475" y="-8529637"/>
                      <a:ext cx="587375" cy="165417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8" y="130"/>
                        </a:cxn>
                        <a:cxn ang="0">
                          <a:pos x="44" y="243"/>
                        </a:cxn>
                        <a:cxn ang="0">
                          <a:pos x="139" y="441"/>
                        </a:cxn>
                        <a:cxn ang="0">
                          <a:pos x="98" y="202"/>
                        </a:cxn>
                        <a:cxn ang="0">
                          <a:pos x="26" y="0"/>
                        </a:cxn>
                      </a:cxnLst>
                      <a:rect l="0" t="0" r="r" b="b"/>
                      <a:pathLst>
                        <a:path w="157" h="441">
                          <a:moveTo>
                            <a:pt x="0" y="0"/>
                          </a:moveTo>
                          <a:cubicBezTo>
                            <a:pt x="25" y="31"/>
                            <a:pt x="10" y="89"/>
                            <a:pt x="8" y="130"/>
                          </a:cubicBezTo>
                          <a:cubicBezTo>
                            <a:pt x="5" y="187"/>
                            <a:pt x="14" y="198"/>
                            <a:pt x="44" y="243"/>
                          </a:cubicBezTo>
                          <a:cubicBezTo>
                            <a:pt x="84" y="302"/>
                            <a:pt x="97" y="379"/>
                            <a:pt x="139" y="441"/>
                          </a:cubicBezTo>
                          <a:cubicBezTo>
                            <a:pt x="157" y="374"/>
                            <a:pt x="122" y="264"/>
                            <a:pt x="98" y="202"/>
                          </a:cubicBezTo>
                          <a:cubicBezTo>
                            <a:pt x="84" y="166"/>
                            <a:pt x="57" y="9"/>
                            <a:pt x="26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6" name="Freeform 445"/>
                    <p:cNvSpPr>
                      <a:spLocks/>
                    </p:cNvSpPr>
                    <p:nvPr/>
                  </p:nvSpPr>
                  <p:spPr bwMode="gray">
                    <a:xfrm>
                      <a:off x="19367500" y="-15536862"/>
                      <a:ext cx="881063" cy="5302250"/>
                    </a:xfrm>
                    <a:custGeom>
                      <a:avLst/>
                      <a:gdLst/>
                      <a:ahLst/>
                      <a:cxnLst>
                        <a:cxn ang="0">
                          <a:pos x="182" y="6"/>
                        </a:cxn>
                        <a:cxn ang="0">
                          <a:pos x="153" y="153"/>
                        </a:cxn>
                        <a:cxn ang="0">
                          <a:pos x="113" y="319"/>
                        </a:cxn>
                        <a:cxn ang="0">
                          <a:pos x="12" y="625"/>
                        </a:cxn>
                        <a:cxn ang="0">
                          <a:pos x="13" y="772"/>
                        </a:cxn>
                        <a:cxn ang="0">
                          <a:pos x="61" y="907"/>
                        </a:cxn>
                        <a:cxn ang="0">
                          <a:pos x="159" y="1190"/>
                        </a:cxn>
                        <a:cxn ang="0">
                          <a:pos x="172" y="1414"/>
                        </a:cxn>
                        <a:cxn ang="0">
                          <a:pos x="221" y="1268"/>
                        </a:cxn>
                        <a:cxn ang="0">
                          <a:pos x="215" y="1104"/>
                        </a:cxn>
                        <a:cxn ang="0">
                          <a:pos x="186" y="1037"/>
                        </a:cxn>
                        <a:cxn ang="0">
                          <a:pos x="171" y="962"/>
                        </a:cxn>
                        <a:cxn ang="0">
                          <a:pos x="109" y="812"/>
                        </a:cxn>
                        <a:cxn ang="0">
                          <a:pos x="58" y="678"/>
                        </a:cxn>
                        <a:cxn ang="0">
                          <a:pos x="74" y="514"/>
                        </a:cxn>
                        <a:cxn ang="0">
                          <a:pos x="140" y="392"/>
                        </a:cxn>
                        <a:cxn ang="0">
                          <a:pos x="182" y="231"/>
                        </a:cxn>
                        <a:cxn ang="0">
                          <a:pos x="179" y="0"/>
                        </a:cxn>
                      </a:cxnLst>
                      <a:rect l="0" t="0" r="r" b="b"/>
                      <a:pathLst>
                        <a:path w="235" h="1414">
                          <a:moveTo>
                            <a:pt x="182" y="6"/>
                          </a:moveTo>
                          <a:cubicBezTo>
                            <a:pt x="187" y="55"/>
                            <a:pt x="160" y="106"/>
                            <a:pt x="153" y="153"/>
                          </a:cubicBezTo>
                          <a:cubicBezTo>
                            <a:pt x="143" y="209"/>
                            <a:pt x="124" y="263"/>
                            <a:pt x="113" y="319"/>
                          </a:cubicBezTo>
                          <a:cubicBezTo>
                            <a:pt x="94" y="425"/>
                            <a:pt x="35" y="523"/>
                            <a:pt x="12" y="625"/>
                          </a:cubicBezTo>
                          <a:cubicBezTo>
                            <a:pt x="0" y="678"/>
                            <a:pt x="0" y="720"/>
                            <a:pt x="13" y="772"/>
                          </a:cubicBezTo>
                          <a:cubicBezTo>
                            <a:pt x="24" y="821"/>
                            <a:pt x="44" y="860"/>
                            <a:pt x="61" y="907"/>
                          </a:cubicBezTo>
                          <a:cubicBezTo>
                            <a:pt x="92" y="1001"/>
                            <a:pt x="129" y="1095"/>
                            <a:pt x="159" y="1190"/>
                          </a:cubicBezTo>
                          <a:cubicBezTo>
                            <a:pt x="180" y="1256"/>
                            <a:pt x="174" y="1340"/>
                            <a:pt x="172" y="1414"/>
                          </a:cubicBezTo>
                          <a:cubicBezTo>
                            <a:pt x="227" y="1400"/>
                            <a:pt x="221" y="1312"/>
                            <a:pt x="221" y="1268"/>
                          </a:cubicBezTo>
                          <a:cubicBezTo>
                            <a:pt x="221" y="1215"/>
                            <a:pt x="235" y="1154"/>
                            <a:pt x="215" y="1104"/>
                          </a:cubicBezTo>
                          <a:cubicBezTo>
                            <a:pt x="207" y="1083"/>
                            <a:pt x="193" y="1060"/>
                            <a:pt x="186" y="1037"/>
                          </a:cubicBezTo>
                          <a:cubicBezTo>
                            <a:pt x="178" y="1012"/>
                            <a:pt x="179" y="986"/>
                            <a:pt x="171" y="962"/>
                          </a:cubicBezTo>
                          <a:cubicBezTo>
                            <a:pt x="154" y="910"/>
                            <a:pt x="129" y="862"/>
                            <a:pt x="109" y="812"/>
                          </a:cubicBezTo>
                          <a:cubicBezTo>
                            <a:pt x="92" y="767"/>
                            <a:pt x="67" y="724"/>
                            <a:pt x="58" y="678"/>
                          </a:cubicBezTo>
                          <a:cubicBezTo>
                            <a:pt x="47" y="622"/>
                            <a:pt x="65" y="567"/>
                            <a:pt x="74" y="514"/>
                          </a:cubicBezTo>
                          <a:cubicBezTo>
                            <a:pt x="82" y="461"/>
                            <a:pt x="109" y="435"/>
                            <a:pt x="140" y="392"/>
                          </a:cubicBezTo>
                          <a:cubicBezTo>
                            <a:pt x="173" y="346"/>
                            <a:pt x="182" y="291"/>
                            <a:pt x="182" y="231"/>
                          </a:cubicBezTo>
                          <a:cubicBezTo>
                            <a:pt x="182" y="161"/>
                            <a:pt x="203" y="66"/>
                            <a:pt x="179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7" name="Freeform 446"/>
                    <p:cNvSpPr>
                      <a:spLocks/>
                    </p:cNvSpPr>
                    <p:nvPr/>
                  </p:nvSpPr>
                  <p:spPr bwMode="gray">
                    <a:xfrm>
                      <a:off x="19653250" y="-16224250"/>
                      <a:ext cx="446088" cy="604838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150"/>
                        </a:cxn>
                        <a:cxn ang="0">
                          <a:pos x="74" y="85"/>
                        </a:cxn>
                        <a:cxn ang="0">
                          <a:pos x="0" y="0"/>
                        </a:cxn>
                        <a:cxn ang="0">
                          <a:pos x="58" y="46"/>
                        </a:cxn>
                        <a:cxn ang="0">
                          <a:pos x="119" y="97"/>
                        </a:cxn>
                        <a:cxn ang="0">
                          <a:pos x="5" y="156"/>
                        </a:cxn>
                      </a:cxnLst>
                      <a:rect l="0" t="0" r="r" b="b"/>
                      <a:pathLst>
                        <a:path w="119" h="161">
                          <a:moveTo>
                            <a:pt x="2" y="150"/>
                          </a:moveTo>
                          <a:cubicBezTo>
                            <a:pt x="25" y="129"/>
                            <a:pt x="51" y="107"/>
                            <a:pt x="74" y="85"/>
                          </a:cubicBezTo>
                          <a:cubicBezTo>
                            <a:pt x="44" y="60"/>
                            <a:pt x="26" y="28"/>
                            <a:pt x="0" y="0"/>
                          </a:cubicBezTo>
                          <a:cubicBezTo>
                            <a:pt x="23" y="7"/>
                            <a:pt x="42" y="29"/>
                            <a:pt x="58" y="46"/>
                          </a:cubicBezTo>
                          <a:cubicBezTo>
                            <a:pt x="77" y="65"/>
                            <a:pt x="99" y="78"/>
                            <a:pt x="119" y="97"/>
                          </a:cubicBezTo>
                          <a:cubicBezTo>
                            <a:pt x="84" y="117"/>
                            <a:pt x="50" y="161"/>
                            <a:pt x="5" y="156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8" name="Freeform 447"/>
                    <p:cNvSpPr>
                      <a:spLocks/>
                    </p:cNvSpPr>
                    <p:nvPr/>
                  </p:nvSpPr>
                  <p:spPr bwMode="gray">
                    <a:xfrm>
                      <a:off x="20146963" y="-15406687"/>
                      <a:ext cx="428625" cy="4121150"/>
                    </a:xfrm>
                    <a:custGeom>
                      <a:avLst/>
                      <a:gdLst/>
                      <a:ahLst/>
                      <a:cxnLst>
                        <a:cxn ang="0">
                          <a:pos x="39" y="26"/>
                        </a:cxn>
                        <a:cxn ang="0">
                          <a:pos x="17" y="517"/>
                        </a:cxn>
                        <a:cxn ang="0">
                          <a:pos x="33" y="640"/>
                        </a:cxn>
                        <a:cxn ang="0">
                          <a:pos x="33" y="750"/>
                        </a:cxn>
                        <a:cxn ang="0">
                          <a:pos x="56" y="956"/>
                        </a:cxn>
                        <a:cxn ang="0">
                          <a:pos x="68" y="1099"/>
                        </a:cxn>
                        <a:cxn ang="0">
                          <a:pos x="62" y="927"/>
                        </a:cxn>
                        <a:cxn ang="0">
                          <a:pos x="72" y="657"/>
                        </a:cxn>
                        <a:cxn ang="0">
                          <a:pos x="104" y="443"/>
                        </a:cxn>
                        <a:cxn ang="0">
                          <a:pos x="111" y="250"/>
                        </a:cxn>
                        <a:cxn ang="0">
                          <a:pos x="104" y="294"/>
                        </a:cxn>
                        <a:cxn ang="0">
                          <a:pos x="36" y="209"/>
                        </a:cxn>
                        <a:cxn ang="0">
                          <a:pos x="33" y="0"/>
                        </a:cxn>
                      </a:cxnLst>
                      <a:rect l="0" t="0" r="r" b="b"/>
                      <a:pathLst>
                        <a:path w="114" h="1099">
                          <a:moveTo>
                            <a:pt x="39" y="26"/>
                          </a:moveTo>
                          <a:cubicBezTo>
                            <a:pt x="39" y="191"/>
                            <a:pt x="0" y="352"/>
                            <a:pt x="17" y="517"/>
                          </a:cubicBezTo>
                          <a:cubicBezTo>
                            <a:pt x="21" y="560"/>
                            <a:pt x="33" y="597"/>
                            <a:pt x="33" y="640"/>
                          </a:cubicBezTo>
                          <a:cubicBezTo>
                            <a:pt x="33" y="677"/>
                            <a:pt x="32" y="713"/>
                            <a:pt x="33" y="750"/>
                          </a:cubicBezTo>
                          <a:cubicBezTo>
                            <a:pt x="33" y="819"/>
                            <a:pt x="52" y="886"/>
                            <a:pt x="56" y="956"/>
                          </a:cubicBezTo>
                          <a:cubicBezTo>
                            <a:pt x="58" y="1003"/>
                            <a:pt x="74" y="1054"/>
                            <a:pt x="68" y="1099"/>
                          </a:cubicBezTo>
                          <a:cubicBezTo>
                            <a:pt x="52" y="1054"/>
                            <a:pt x="61" y="978"/>
                            <a:pt x="62" y="927"/>
                          </a:cubicBezTo>
                          <a:cubicBezTo>
                            <a:pt x="63" y="838"/>
                            <a:pt x="72" y="748"/>
                            <a:pt x="72" y="657"/>
                          </a:cubicBezTo>
                          <a:cubicBezTo>
                            <a:pt x="72" y="584"/>
                            <a:pt x="93" y="515"/>
                            <a:pt x="104" y="443"/>
                          </a:cubicBezTo>
                          <a:cubicBezTo>
                            <a:pt x="113" y="379"/>
                            <a:pt x="111" y="314"/>
                            <a:pt x="111" y="250"/>
                          </a:cubicBezTo>
                          <a:cubicBezTo>
                            <a:pt x="114" y="265"/>
                            <a:pt x="110" y="281"/>
                            <a:pt x="104" y="294"/>
                          </a:cubicBezTo>
                          <a:cubicBezTo>
                            <a:pt x="45" y="295"/>
                            <a:pt x="44" y="260"/>
                            <a:pt x="36" y="209"/>
                          </a:cubicBezTo>
                          <a:cubicBezTo>
                            <a:pt x="26" y="142"/>
                            <a:pt x="33" y="69"/>
                            <a:pt x="33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29" name="Freeform 448"/>
                    <p:cNvSpPr>
                      <a:spLocks/>
                    </p:cNvSpPr>
                    <p:nvPr/>
                  </p:nvSpPr>
                  <p:spPr bwMode="gray">
                    <a:xfrm>
                      <a:off x="20256500" y="-12342812"/>
                      <a:ext cx="1027113" cy="1849438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410"/>
                        </a:cxn>
                        <a:cxn ang="0">
                          <a:pos x="124" y="472"/>
                        </a:cxn>
                        <a:cxn ang="0">
                          <a:pos x="244" y="449"/>
                        </a:cxn>
                        <a:cxn ang="0">
                          <a:pos x="173" y="459"/>
                        </a:cxn>
                        <a:cxn ang="0">
                          <a:pos x="121" y="433"/>
                        </a:cxn>
                        <a:cxn ang="0">
                          <a:pos x="66" y="351"/>
                        </a:cxn>
                        <a:cxn ang="0">
                          <a:pos x="119" y="276"/>
                        </a:cxn>
                        <a:cxn ang="0">
                          <a:pos x="109" y="176"/>
                        </a:cxn>
                        <a:cxn ang="0">
                          <a:pos x="274" y="225"/>
                        </a:cxn>
                        <a:cxn ang="0">
                          <a:pos x="167" y="178"/>
                        </a:cxn>
                        <a:cxn ang="0">
                          <a:pos x="157" y="116"/>
                        </a:cxn>
                        <a:cxn ang="0">
                          <a:pos x="190" y="93"/>
                        </a:cxn>
                        <a:cxn ang="0">
                          <a:pos x="167" y="27"/>
                        </a:cxn>
                        <a:cxn ang="0">
                          <a:pos x="69" y="3"/>
                        </a:cxn>
                        <a:cxn ang="0">
                          <a:pos x="85" y="93"/>
                        </a:cxn>
                        <a:cxn ang="0">
                          <a:pos x="66" y="240"/>
                        </a:cxn>
                        <a:cxn ang="0">
                          <a:pos x="34" y="345"/>
                        </a:cxn>
                        <a:cxn ang="0">
                          <a:pos x="27" y="397"/>
                        </a:cxn>
                        <a:cxn ang="0">
                          <a:pos x="10" y="432"/>
                        </a:cxn>
                        <a:cxn ang="0">
                          <a:pos x="0" y="433"/>
                        </a:cxn>
                      </a:cxnLst>
                      <a:rect l="0" t="0" r="r" b="b"/>
                      <a:pathLst>
                        <a:path w="274" h="493">
                          <a:moveTo>
                            <a:pt x="40" y="410"/>
                          </a:moveTo>
                          <a:cubicBezTo>
                            <a:pt x="39" y="444"/>
                            <a:pt x="97" y="462"/>
                            <a:pt x="124" y="472"/>
                          </a:cubicBezTo>
                          <a:cubicBezTo>
                            <a:pt x="186" y="493"/>
                            <a:pt x="192" y="469"/>
                            <a:pt x="244" y="449"/>
                          </a:cubicBezTo>
                          <a:cubicBezTo>
                            <a:pt x="221" y="451"/>
                            <a:pt x="197" y="464"/>
                            <a:pt x="173" y="459"/>
                          </a:cubicBezTo>
                          <a:cubicBezTo>
                            <a:pt x="156" y="455"/>
                            <a:pt x="135" y="440"/>
                            <a:pt x="121" y="433"/>
                          </a:cubicBezTo>
                          <a:cubicBezTo>
                            <a:pt x="84" y="416"/>
                            <a:pt x="58" y="397"/>
                            <a:pt x="66" y="351"/>
                          </a:cubicBezTo>
                          <a:cubicBezTo>
                            <a:pt x="72" y="315"/>
                            <a:pt x="108" y="306"/>
                            <a:pt x="119" y="276"/>
                          </a:cubicBezTo>
                          <a:cubicBezTo>
                            <a:pt x="132" y="240"/>
                            <a:pt x="84" y="216"/>
                            <a:pt x="109" y="176"/>
                          </a:cubicBezTo>
                          <a:cubicBezTo>
                            <a:pt x="157" y="166"/>
                            <a:pt x="220" y="287"/>
                            <a:pt x="274" y="225"/>
                          </a:cubicBezTo>
                          <a:cubicBezTo>
                            <a:pt x="218" y="221"/>
                            <a:pt x="209" y="207"/>
                            <a:pt x="167" y="178"/>
                          </a:cubicBezTo>
                          <a:cubicBezTo>
                            <a:pt x="136" y="157"/>
                            <a:pt x="107" y="136"/>
                            <a:pt x="157" y="116"/>
                          </a:cubicBezTo>
                          <a:cubicBezTo>
                            <a:pt x="179" y="108"/>
                            <a:pt x="182" y="119"/>
                            <a:pt x="190" y="93"/>
                          </a:cubicBezTo>
                          <a:cubicBezTo>
                            <a:pt x="196" y="72"/>
                            <a:pt x="181" y="43"/>
                            <a:pt x="167" y="27"/>
                          </a:cubicBezTo>
                          <a:cubicBezTo>
                            <a:pt x="144" y="1"/>
                            <a:pt x="106" y="0"/>
                            <a:pt x="69" y="3"/>
                          </a:cubicBezTo>
                          <a:cubicBezTo>
                            <a:pt x="69" y="30"/>
                            <a:pt x="88" y="59"/>
                            <a:pt x="85" y="93"/>
                          </a:cubicBezTo>
                          <a:cubicBezTo>
                            <a:pt x="81" y="142"/>
                            <a:pt x="69" y="191"/>
                            <a:pt x="66" y="240"/>
                          </a:cubicBezTo>
                          <a:cubicBezTo>
                            <a:pt x="62" y="282"/>
                            <a:pt x="42" y="308"/>
                            <a:pt x="34" y="345"/>
                          </a:cubicBezTo>
                          <a:cubicBezTo>
                            <a:pt x="30" y="362"/>
                            <a:pt x="33" y="380"/>
                            <a:pt x="27" y="397"/>
                          </a:cubicBezTo>
                          <a:cubicBezTo>
                            <a:pt x="21" y="411"/>
                            <a:pt x="10" y="416"/>
                            <a:pt x="10" y="432"/>
                          </a:cubicBezTo>
                          <a:cubicBezTo>
                            <a:pt x="7" y="433"/>
                            <a:pt x="3" y="432"/>
                            <a:pt x="0" y="433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0" name="Freeform 449"/>
                    <p:cNvSpPr>
                      <a:spLocks/>
                    </p:cNvSpPr>
                    <p:nvPr/>
                  </p:nvSpPr>
                  <p:spPr bwMode="gray">
                    <a:xfrm>
                      <a:off x="20564475" y="-14693900"/>
                      <a:ext cx="663575" cy="2089150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528"/>
                        </a:cxn>
                        <a:cxn ang="0">
                          <a:pos x="68" y="423"/>
                        </a:cxn>
                        <a:cxn ang="0">
                          <a:pos x="103" y="296"/>
                        </a:cxn>
                        <a:cxn ang="0">
                          <a:pos x="172" y="33"/>
                        </a:cxn>
                        <a:cxn ang="0">
                          <a:pos x="99" y="183"/>
                        </a:cxn>
                        <a:cxn ang="0">
                          <a:pos x="56" y="245"/>
                        </a:cxn>
                        <a:cxn ang="0">
                          <a:pos x="39" y="303"/>
                        </a:cxn>
                        <a:cxn ang="0">
                          <a:pos x="13" y="437"/>
                        </a:cxn>
                        <a:cxn ang="0">
                          <a:pos x="0" y="557"/>
                        </a:cxn>
                      </a:cxnLst>
                      <a:rect l="0" t="0" r="r" b="b"/>
                      <a:pathLst>
                        <a:path w="177" h="557">
                          <a:moveTo>
                            <a:pt x="10" y="528"/>
                          </a:moveTo>
                          <a:cubicBezTo>
                            <a:pt x="74" y="523"/>
                            <a:pt x="68" y="471"/>
                            <a:pt x="68" y="423"/>
                          </a:cubicBezTo>
                          <a:cubicBezTo>
                            <a:pt x="68" y="368"/>
                            <a:pt x="76" y="340"/>
                            <a:pt x="103" y="296"/>
                          </a:cubicBezTo>
                          <a:cubicBezTo>
                            <a:pt x="148" y="219"/>
                            <a:pt x="177" y="126"/>
                            <a:pt x="172" y="33"/>
                          </a:cubicBezTo>
                          <a:cubicBezTo>
                            <a:pt x="135" y="0"/>
                            <a:pt x="113" y="155"/>
                            <a:pt x="99" y="183"/>
                          </a:cubicBezTo>
                          <a:cubicBezTo>
                            <a:pt x="88" y="204"/>
                            <a:pt x="68" y="225"/>
                            <a:pt x="56" y="245"/>
                          </a:cubicBezTo>
                          <a:cubicBezTo>
                            <a:pt x="45" y="264"/>
                            <a:pt x="45" y="281"/>
                            <a:pt x="39" y="303"/>
                          </a:cubicBezTo>
                          <a:cubicBezTo>
                            <a:pt x="27" y="349"/>
                            <a:pt x="13" y="388"/>
                            <a:pt x="13" y="437"/>
                          </a:cubicBezTo>
                          <a:cubicBezTo>
                            <a:pt x="13" y="481"/>
                            <a:pt x="8" y="518"/>
                            <a:pt x="0" y="557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1" name="Freeform 450"/>
                    <p:cNvSpPr>
                      <a:spLocks/>
                    </p:cNvSpPr>
                    <p:nvPr/>
                  </p:nvSpPr>
                  <p:spPr bwMode="gray">
                    <a:xfrm>
                      <a:off x="21388388" y="-12158662"/>
                      <a:ext cx="211138" cy="633413"/>
                    </a:xfrm>
                    <a:custGeom>
                      <a:avLst/>
                      <a:gdLst/>
                      <a:ahLst/>
                      <a:cxnLst>
                        <a:cxn ang="0">
                          <a:pos x="25" y="5"/>
                        </a:cxn>
                        <a:cxn ang="0">
                          <a:pos x="43" y="94"/>
                        </a:cxn>
                        <a:cxn ang="0">
                          <a:pos x="3" y="169"/>
                        </a:cxn>
                        <a:cxn ang="0">
                          <a:pos x="34" y="0"/>
                        </a:cxn>
                        <a:cxn ang="0">
                          <a:pos x="41" y="57"/>
                        </a:cxn>
                      </a:cxnLst>
                      <a:rect l="0" t="0" r="r" b="b"/>
                      <a:pathLst>
                        <a:path w="56" h="169">
                          <a:moveTo>
                            <a:pt x="25" y="5"/>
                          </a:moveTo>
                          <a:cubicBezTo>
                            <a:pt x="23" y="34"/>
                            <a:pt x="37" y="68"/>
                            <a:pt x="43" y="94"/>
                          </a:cubicBezTo>
                          <a:cubicBezTo>
                            <a:pt x="56" y="144"/>
                            <a:pt x="54" y="156"/>
                            <a:pt x="3" y="169"/>
                          </a:cubicBezTo>
                          <a:cubicBezTo>
                            <a:pt x="55" y="116"/>
                            <a:pt x="0" y="62"/>
                            <a:pt x="34" y="0"/>
                          </a:cubicBezTo>
                          <a:cubicBezTo>
                            <a:pt x="35" y="19"/>
                            <a:pt x="31" y="43"/>
                            <a:pt x="41" y="57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2" name="Freeform 451"/>
                    <p:cNvSpPr>
                      <a:spLocks/>
                    </p:cNvSpPr>
                    <p:nvPr/>
                  </p:nvSpPr>
                  <p:spPr bwMode="gray">
                    <a:xfrm>
                      <a:off x="20358100" y="-10598150"/>
                      <a:ext cx="1011238" cy="347663"/>
                    </a:xfrm>
                    <a:custGeom>
                      <a:avLst/>
                      <a:gdLst/>
                      <a:ahLst/>
                      <a:cxnLst>
                        <a:cxn ang="0">
                          <a:pos x="55" y="36"/>
                        </a:cxn>
                        <a:cxn ang="0">
                          <a:pos x="10" y="32"/>
                        </a:cxn>
                        <a:cxn ang="0">
                          <a:pos x="0" y="4"/>
                        </a:cxn>
                        <a:cxn ang="0">
                          <a:pos x="123" y="30"/>
                        </a:cxn>
                        <a:cxn ang="0">
                          <a:pos x="260" y="33"/>
                        </a:cxn>
                        <a:cxn ang="0">
                          <a:pos x="169" y="62"/>
                        </a:cxn>
                        <a:cxn ang="0">
                          <a:pos x="48" y="36"/>
                        </a:cxn>
                      </a:cxnLst>
                      <a:rect l="0" t="0" r="r" b="b"/>
                      <a:pathLst>
                        <a:path w="270" h="93">
                          <a:moveTo>
                            <a:pt x="55" y="36"/>
                          </a:moveTo>
                          <a:cubicBezTo>
                            <a:pt x="39" y="38"/>
                            <a:pt x="25" y="34"/>
                            <a:pt x="10" y="32"/>
                          </a:cubicBezTo>
                          <a:cubicBezTo>
                            <a:pt x="2" y="23"/>
                            <a:pt x="0" y="16"/>
                            <a:pt x="0" y="4"/>
                          </a:cubicBezTo>
                          <a:cubicBezTo>
                            <a:pt x="42" y="0"/>
                            <a:pt x="82" y="26"/>
                            <a:pt x="123" y="30"/>
                          </a:cubicBezTo>
                          <a:cubicBezTo>
                            <a:pt x="167" y="33"/>
                            <a:pt x="215" y="31"/>
                            <a:pt x="260" y="33"/>
                          </a:cubicBezTo>
                          <a:cubicBezTo>
                            <a:pt x="270" y="93"/>
                            <a:pt x="201" y="75"/>
                            <a:pt x="169" y="62"/>
                          </a:cubicBezTo>
                          <a:cubicBezTo>
                            <a:pt x="128" y="47"/>
                            <a:pt x="89" y="47"/>
                            <a:pt x="48" y="36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3" name="Freeform 452"/>
                    <p:cNvSpPr>
                      <a:spLocks/>
                    </p:cNvSpPr>
                    <p:nvPr/>
                  </p:nvSpPr>
                  <p:spPr bwMode="gray">
                    <a:xfrm>
                      <a:off x="20586700" y="-15563850"/>
                      <a:ext cx="355600" cy="1908175"/>
                    </a:xfrm>
                    <a:custGeom>
                      <a:avLst/>
                      <a:gdLst/>
                      <a:ahLst/>
                      <a:cxnLst>
                        <a:cxn ang="0">
                          <a:pos x="60" y="135"/>
                        </a:cxn>
                        <a:cxn ang="0">
                          <a:pos x="36" y="251"/>
                        </a:cxn>
                        <a:cxn ang="0">
                          <a:pos x="26" y="385"/>
                        </a:cxn>
                        <a:cxn ang="0">
                          <a:pos x="17" y="509"/>
                        </a:cxn>
                        <a:cxn ang="0">
                          <a:pos x="17" y="411"/>
                        </a:cxn>
                        <a:cxn ang="0">
                          <a:pos x="27" y="301"/>
                        </a:cxn>
                        <a:cxn ang="0">
                          <a:pos x="36" y="183"/>
                        </a:cxn>
                        <a:cxn ang="0">
                          <a:pos x="95" y="0"/>
                        </a:cxn>
                        <a:cxn ang="0">
                          <a:pos x="60" y="135"/>
                        </a:cxn>
                      </a:cxnLst>
                      <a:rect l="0" t="0" r="r" b="b"/>
                      <a:pathLst>
                        <a:path w="95" h="509">
                          <a:moveTo>
                            <a:pt x="60" y="135"/>
                          </a:moveTo>
                          <a:cubicBezTo>
                            <a:pt x="52" y="173"/>
                            <a:pt x="44" y="211"/>
                            <a:pt x="36" y="251"/>
                          </a:cubicBezTo>
                          <a:cubicBezTo>
                            <a:pt x="28" y="296"/>
                            <a:pt x="30" y="339"/>
                            <a:pt x="26" y="385"/>
                          </a:cubicBezTo>
                          <a:cubicBezTo>
                            <a:pt x="22" y="420"/>
                            <a:pt x="29" y="479"/>
                            <a:pt x="17" y="509"/>
                          </a:cubicBezTo>
                          <a:cubicBezTo>
                            <a:pt x="0" y="486"/>
                            <a:pt x="13" y="438"/>
                            <a:pt x="17" y="411"/>
                          </a:cubicBezTo>
                          <a:cubicBezTo>
                            <a:pt x="23" y="375"/>
                            <a:pt x="22" y="337"/>
                            <a:pt x="27" y="301"/>
                          </a:cubicBezTo>
                          <a:cubicBezTo>
                            <a:pt x="33" y="263"/>
                            <a:pt x="36" y="224"/>
                            <a:pt x="36" y="183"/>
                          </a:cubicBezTo>
                          <a:cubicBezTo>
                            <a:pt x="36" y="118"/>
                            <a:pt x="59" y="51"/>
                            <a:pt x="95" y="0"/>
                          </a:cubicBezTo>
                          <a:cubicBezTo>
                            <a:pt x="91" y="46"/>
                            <a:pt x="69" y="89"/>
                            <a:pt x="60" y="135"/>
                          </a:cubicBezTo>
                          <a:close/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4" name="Freeform 453"/>
                    <p:cNvSpPr>
                      <a:spLocks/>
                    </p:cNvSpPr>
                    <p:nvPr/>
                  </p:nvSpPr>
                  <p:spPr bwMode="gray">
                    <a:xfrm>
                      <a:off x="20234275" y="-10220325"/>
                      <a:ext cx="858838" cy="56197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75" y="95"/>
                        </a:cxn>
                        <a:cxn ang="0">
                          <a:pos x="151" y="80"/>
                        </a:cxn>
                        <a:cxn ang="0">
                          <a:pos x="167" y="15"/>
                        </a:cxn>
                        <a:cxn ang="0">
                          <a:pos x="170" y="108"/>
                        </a:cxn>
                        <a:cxn ang="0">
                          <a:pos x="30" y="137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29" h="150">
                          <a:moveTo>
                            <a:pt x="0" y="0"/>
                          </a:moveTo>
                          <a:cubicBezTo>
                            <a:pt x="45" y="13"/>
                            <a:pt x="37" y="81"/>
                            <a:pt x="75" y="95"/>
                          </a:cubicBezTo>
                          <a:cubicBezTo>
                            <a:pt x="95" y="103"/>
                            <a:pt x="136" y="91"/>
                            <a:pt x="151" y="80"/>
                          </a:cubicBezTo>
                          <a:cubicBezTo>
                            <a:pt x="172" y="62"/>
                            <a:pt x="165" y="39"/>
                            <a:pt x="167" y="15"/>
                          </a:cubicBezTo>
                          <a:cubicBezTo>
                            <a:pt x="202" y="40"/>
                            <a:pt x="229" y="100"/>
                            <a:pt x="170" y="108"/>
                          </a:cubicBezTo>
                          <a:cubicBezTo>
                            <a:pt x="127" y="114"/>
                            <a:pt x="69" y="150"/>
                            <a:pt x="30" y="137"/>
                          </a:cubicBezTo>
                          <a:cubicBezTo>
                            <a:pt x="12" y="87"/>
                            <a:pt x="0" y="54"/>
                            <a:pt x="0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5" name="Freeform 454"/>
                    <p:cNvSpPr>
                      <a:spLocks/>
                    </p:cNvSpPr>
                    <p:nvPr/>
                  </p:nvSpPr>
                  <p:spPr bwMode="gray">
                    <a:xfrm>
                      <a:off x="19670713" y="-15660687"/>
                      <a:ext cx="390525" cy="152400"/>
                    </a:xfrm>
                    <a:custGeom>
                      <a:avLst/>
                      <a:gdLst/>
                      <a:ahLst/>
                      <a:cxnLst>
                        <a:cxn ang="0">
                          <a:pos x="6" y="6"/>
                        </a:cxn>
                        <a:cxn ang="0">
                          <a:pos x="104" y="38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104" h="41">
                          <a:moveTo>
                            <a:pt x="6" y="6"/>
                          </a:moveTo>
                          <a:cubicBezTo>
                            <a:pt x="44" y="26"/>
                            <a:pt x="69" y="33"/>
                            <a:pt x="104" y="38"/>
                          </a:cubicBezTo>
                          <a:cubicBezTo>
                            <a:pt x="74" y="41"/>
                            <a:pt x="9" y="19"/>
                            <a:pt x="0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6" name="Freeform 455"/>
                    <p:cNvSpPr>
                      <a:spLocks/>
                    </p:cNvSpPr>
                    <p:nvPr/>
                  </p:nvSpPr>
                  <p:spPr bwMode="gray">
                    <a:xfrm>
                      <a:off x="16484600" y="-16025812"/>
                      <a:ext cx="903288" cy="3446463"/>
                    </a:xfrm>
                    <a:custGeom>
                      <a:avLst/>
                      <a:gdLst/>
                      <a:ahLst/>
                      <a:cxnLst>
                        <a:cxn ang="0">
                          <a:pos x="113" y="15"/>
                        </a:cxn>
                        <a:cxn ang="0">
                          <a:pos x="54" y="101"/>
                        </a:cxn>
                        <a:cxn ang="0">
                          <a:pos x="94" y="129"/>
                        </a:cxn>
                        <a:cxn ang="0">
                          <a:pos x="129" y="171"/>
                        </a:cxn>
                        <a:cxn ang="0">
                          <a:pos x="22" y="186"/>
                        </a:cxn>
                        <a:cxn ang="0">
                          <a:pos x="54" y="374"/>
                        </a:cxn>
                        <a:cxn ang="0">
                          <a:pos x="106" y="540"/>
                        </a:cxn>
                        <a:cxn ang="0">
                          <a:pos x="187" y="685"/>
                        </a:cxn>
                        <a:cxn ang="0">
                          <a:pos x="236" y="831"/>
                        </a:cxn>
                        <a:cxn ang="0">
                          <a:pos x="211" y="919"/>
                        </a:cxn>
                        <a:cxn ang="0">
                          <a:pos x="193" y="763"/>
                        </a:cxn>
                        <a:cxn ang="0">
                          <a:pos x="136" y="634"/>
                        </a:cxn>
                        <a:cxn ang="0">
                          <a:pos x="41" y="355"/>
                        </a:cxn>
                        <a:cxn ang="0">
                          <a:pos x="9" y="166"/>
                        </a:cxn>
                        <a:cxn ang="0">
                          <a:pos x="106" y="175"/>
                        </a:cxn>
                        <a:cxn ang="0">
                          <a:pos x="24" y="100"/>
                        </a:cxn>
                        <a:cxn ang="0">
                          <a:pos x="112" y="0"/>
                        </a:cxn>
                        <a:cxn ang="0">
                          <a:pos x="54" y="110"/>
                        </a:cxn>
                      </a:cxnLst>
                      <a:rect l="0" t="0" r="r" b="b"/>
                      <a:pathLst>
                        <a:path w="241" h="919">
                          <a:moveTo>
                            <a:pt x="113" y="15"/>
                          </a:moveTo>
                          <a:cubicBezTo>
                            <a:pt x="116" y="41"/>
                            <a:pt x="76" y="89"/>
                            <a:pt x="54" y="101"/>
                          </a:cubicBezTo>
                          <a:cubicBezTo>
                            <a:pt x="60" y="116"/>
                            <a:pt x="81" y="117"/>
                            <a:pt x="94" y="129"/>
                          </a:cubicBezTo>
                          <a:cubicBezTo>
                            <a:pt x="108" y="141"/>
                            <a:pt x="113" y="162"/>
                            <a:pt x="129" y="171"/>
                          </a:cubicBezTo>
                          <a:cubicBezTo>
                            <a:pt x="96" y="186"/>
                            <a:pt x="58" y="182"/>
                            <a:pt x="22" y="186"/>
                          </a:cubicBezTo>
                          <a:cubicBezTo>
                            <a:pt x="18" y="259"/>
                            <a:pt x="37" y="306"/>
                            <a:pt x="54" y="374"/>
                          </a:cubicBezTo>
                          <a:cubicBezTo>
                            <a:pt x="68" y="431"/>
                            <a:pt x="81" y="488"/>
                            <a:pt x="106" y="540"/>
                          </a:cubicBezTo>
                          <a:cubicBezTo>
                            <a:pt x="130" y="590"/>
                            <a:pt x="166" y="632"/>
                            <a:pt x="187" y="685"/>
                          </a:cubicBezTo>
                          <a:cubicBezTo>
                            <a:pt x="205" y="732"/>
                            <a:pt x="228" y="780"/>
                            <a:pt x="236" y="831"/>
                          </a:cubicBezTo>
                          <a:cubicBezTo>
                            <a:pt x="241" y="862"/>
                            <a:pt x="237" y="899"/>
                            <a:pt x="211" y="919"/>
                          </a:cubicBezTo>
                          <a:cubicBezTo>
                            <a:pt x="207" y="860"/>
                            <a:pt x="214" y="817"/>
                            <a:pt x="193" y="763"/>
                          </a:cubicBezTo>
                          <a:cubicBezTo>
                            <a:pt x="177" y="721"/>
                            <a:pt x="155" y="678"/>
                            <a:pt x="136" y="634"/>
                          </a:cubicBezTo>
                          <a:cubicBezTo>
                            <a:pt x="98" y="543"/>
                            <a:pt x="56" y="451"/>
                            <a:pt x="41" y="355"/>
                          </a:cubicBezTo>
                          <a:cubicBezTo>
                            <a:pt x="31" y="297"/>
                            <a:pt x="0" y="226"/>
                            <a:pt x="9" y="166"/>
                          </a:cubicBezTo>
                          <a:cubicBezTo>
                            <a:pt x="42" y="164"/>
                            <a:pt x="75" y="180"/>
                            <a:pt x="106" y="175"/>
                          </a:cubicBezTo>
                          <a:cubicBezTo>
                            <a:pt x="99" y="141"/>
                            <a:pt x="25" y="130"/>
                            <a:pt x="24" y="100"/>
                          </a:cubicBezTo>
                          <a:cubicBezTo>
                            <a:pt x="24" y="77"/>
                            <a:pt x="91" y="6"/>
                            <a:pt x="112" y="0"/>
                          </a:cubicBezTo>
                          <a:cubicBezTo>
                            <a:pt x="98" y="36"/>
                            <a:pt x="69" y="74"/>
                            <a:pt x="54" y="11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7" name="Freeform 456"/>
                    <p:cNvSpPr>
                      <a:spLocks/>
                    </p:cNvSpPr>
                    <p:nvPr/>
                  </p:nvSpPr>
                  <p:spPr bwMode="gray">
                    <a:xfrm>
                      <a:off x="15103475" y="-15428912"/>
                      <a:ext cx="1492250" cy="5500688"/>
                    </a:xfrm>
                    <a:custGeom>
                      <a:avLst/>
                      <a:gdLst/>
                      <a:ahLst/>
                      <a:cxnLst>
                        <a:cxn ang="0">
                          <a:pos x="246" y="894"/>
                        </a:cxn>
                        <a:cxn ang="0">
                          <a:pos x="78" y="946"/>
                        </a:cxn>
                        <a:cxn ang="0">
                          <a:pos x="44" y="1005"/>
                        </a:cxn>
                        <a:cxn ang="0">
                          <a:pos x="124" y="1031"/>
                        </a:cxn>
                        <a:cxn ang="0">
                          <a:pos x="74" y="973"/>
                        </a:cxn>
                        <a:cxn ang="0">
                          <a:pos x="128" y="983"/>
                        </a:cxn>
                        <a:cxn ang="0">
                          <a:pos x="184" y="965"/>
                        </a:cxn>
                        <a:cxn ang="0">
                          <a:pos x="191" y="998"/>
                        </a:cxn>
                        <a:cxn ang="0">
                          <a:pos x="236" y="992"/>
                        </a:cxn>
                        <a:cxn ang="0">
                          <a:pos x="234" y="1083"/>
                        </a:cxn>
                        <a:cxn ang="0">
                          <a:pos x="262" y="1168"/>
                        </a:cxn>
                        <a:cxn ang="0">
                          <a:pos x="203" y="1242"/>
                        </a:cxn>
                        <a:cxn ang="0">
                          <a:pos x="268" y="1259"/>
                        </a:cxn>
                        <a:cxn ang="0">
                          <a:pos x="295" y="1316"/>
                        </a:cxn>
                        <a:cxn ang="0">
                          <a:pos x="291" y="1359"/>
                        </a:cxn>
                        <a:cxn ang="0">
                          <a:pos x="304" y="1439"/>
                        </a:cxn>
                        <a:cxn ang="0">
                          <a:pos x="386" y="1432"/>
                        </a:cxn>
                        <a:cxn ang="0">
                          <a:pos x="392" y="1361"/>
                        </a:cxn>
                        <a:cxn ang="0">
                          <a:pos x="302" y="1190"/>
                        </a:cxn>
                        <a:cxn ang="0">
                          <a:pos x="262" y="988"/>
                        </a:cxn>
                        <a:cxn ang="0">
                          <a:pos x="259" y="766"/>
                        </a:cxn>
                        <a:cxn ang="0">
                          <a:pos x="239" y="541"/>
                        </a:cxn>
                        <a:cxn ang="0">
                          <a:pos x="239" y="381"/>
                        </a:cxn>
                        <a:cxn ang="0">
                          <a:pos x="204" y="267"/>
                        </a:cxn>
                        <a:cxn ang="0">
                          <a:pos x="161" y="146"/>
                        </a:cxn>
                        <a:cxn ang="0">
                          <a:pos x="145" y="0"/>
                        </a:cxn>
                        <a:cxn ang="0">
                          <a:pos x="170" y="245"/>
                        </a:cxn>
                        <a:cxn ang="0">
                          <a:pos x="193" y="375"/>
                        </a:cxn>
                        <a:cxn ang="0">
                          <a:pos x="209" y="476"/>
                        </a:cxn>
                        <a:cxn ang="0">
                          <a:pos x="184" y="477"/>
                        </a:cxn>
                        <a:cxn ang="0">
                          <a:pos x="217" y="583"/>
                        </a:cxn>
                        <a:cxn ang="0">
                          <a:pos x="226" y="708"/>
                        </a:cxn>
                        <a:cxn ang="0">
                          <a:pos x="249" y="819"/>
                        </a:cxn>
                        <a:cxn ang="0">
                          <a:pos x="252" y="903"/>
                        </a:cxn>
                      </a:cxnLst>
                      <a:rect l="0" t="0" r="r" b="b"/>
                      <a:pathLst>
                        <a:path w="398" h="1467">
                          <a:moveTo>
                            <a:pt x="246" y="894"/>
                          </a:moveTo>
                          <a:cubicBezTo>
                            <a:pt x="249" y="955"/>
                            <a:pt x="115" y="932"/>
                            <a:pt x="78" y="946"/>
                          </a:cubicBezTo>
                          <a:cubicBezTo>
                            <a:pt x="50" y="957"/>
                            <a:pt x="0" y="986"/>
                            <a:pt x="44" y="1005"/>
                          </a:cubicBezTo>
                          <a:cubicBezTo>
                            <a:pt x="71" y="1016"/>
                            <a:pt x="102" y="1008"/>
                            <a:pt x="124" y="1031"/>
                          </a:cubicBezTo>
                          <a:cubicBezTo>
                            <a:pt x="119" y="1009"/>
                            <a:pt x="55" y="994"/>
                            <a:pt x="74" y="973"/>
                          </a:cubicBezTo>
                          <a:cubicBezTo>
                            <a:pt x="89" y="955"/>
                            <a:pt x="115" y="980"/>
                            <a:pt x="128" y="983"/>
                          </a:cubicBezTo>
                          <a:cubicBezTo>
                            <a:pt x="152" y="987"/>
                            <a:pt x="163" y="976"/>
                            <a:pt x="184" y="965"/>
                          </a:cubicBezTo>
                          <a:cubicBezTo>
                            <a:pt x="191" y="973"/>
                            <a:pt x="192" y="986"/>
                            <a:pt x="191" y="998"/>
                          </a:cubicBezTo>
                          <a:cubicBezTo>
                            <a:pt x="205" y="995"/>
                            <a:pt x="219" y="989"/>
                            <a:pt x="236" y="992"/>
                          </a:cubicBezTo>
                          <a:cubicBezTo>
                            <a:pt x="238" y="1036"/>
                            <a:pt x="205" y="1048"/>
                            <a:pt x="234" y="1083"/>
                          </a:cubicBezTo>
                          <a:cubicBezTo>
                            <a:pt x="257" y="1110"/>
                            <a:pt x="271" y="1125"/>
                            <a:pt x="262" y="1168"/>
                          </a:cubicBezTo>
                          <a:cubicBezTo>
                            <a:pt x="254" y="1208"/>
                            <a:pt x="214" y="1200"/>
                            <a:pt x="203" y="1242"/>
                          </a:cubicBezTo>
                          <a:cubicBezTo>
                            <a:pt x="188" y="1298"/>
                            <a:pt x="235" y="1264"/>
                            <a:pt x="268" y="1259"/>
                          </a:cubicBezTo>
                          <a:cubicBezTo>
                            <a:pt x="271" y="1285"/>
                            <a:pt x="284" y="1295"/>
                            <a:pt x="295" y="1316"/>
                          </a:cubicBezTo>
                          <a:cubicBezTo>
                            <a:pt x="309" y="1343"/>
                            <a:pt x="302" y="1341"/>
                            <a:pt x="291" y="1359"/>
                          </a:cubicBezTo>
                          <a:cubicBezTo>
                            <a:pt x="278" y="1381"/>
                            <a:pt x="247" y="1439"/>
                            <a:pt x="304" y="1439"/>
                          </a:cubicBezTo>
                          <a:cubicBezTo>
                            <a:pt x="319" y="1467"/>
                            <a:pt x="369" y="1455"/>
                            <a:pt x="386" y="1432"/>
                          </a:cubicBezTo>
                          <a:cubicBezTo>
                            <a:pt x="398" y="1416"/>
                            <a:pt x="394" y="1386"/>
                            <a:pt x="392" y="1361"/>
                          </a:cubicBezTo>
                          <a:cubicBezTo>
                            <a:pt x="338" y="1323"/>
                            <a:pt x="318" y="1253"/>
                            <a:pt x="302" y="1190"/>
                          </a:cubicBezTo>
                          <a:cubicBezTo>
                            <a:pt x="285" y="1123"/>
                            <a:pt x="264" y="1060"/>
                            <a:pt x="262" y="988"/>
                          </a:cubicBezTo>
                          <a:cubicBezTo>
                            <a:pt x="261" y="914"/>
                            <a:pt x="266" y="842"/>
                            <a:pt x="259" y="766"/>
                          </a:cubicBezTo>
                          <a:cubicBezTo>
                            <a:pt x="252" y="690"/>
                            <a:pt x="239" y="619"/>
                            <a:pt x="239" y="541"/>
                          </a:cubicBezTo>
                          <a:cubicBezTo>
                            <a:pt x="239" y="491"/>
                            <a:pt x="249" y="430"/>
                            <a:pt x="239" y="381"/>
                          </a:cubicBezTo>
                          <a:cubicBezTo>
                            <a:pt x="232" y="345"/>
                            <a:pt x="215" y="303"/>
                            <a:pt x="204" y="267"/>
                          </a:cubicBezTo>
                          <a:cubicBezTo>
                            <a:pt x="191" y="227"/>
                            <a:pt x="171" y="188"/>
                            <a:pt x="161" y="146"/>
                          </a:cubicBezTo>
                          <a:cubicBezTo>
                            <a:pt x="151" y="101"/>
                            <a:pt x="158" y="42"/>
                            <a:pt x="145" y="0"/>
                          </a:cubicBezTo>
                          <a:cubicBezTo>
                            <a:pt x="136" y="85"/>
                            <a:pt x="159" y="162"/>
                            <a:pt x="170" y="245"/>
                          </a:cubicBezTo>
                          <a:cubicBezTo>
                            <a:pt x="176" y="290"/>
                            <a:pt x="181" y="331"/>
                            <a:pt x="193" y="375"/>
                          </a:cubicBezTo>
                          <a:cubicBezTo>
                            <a:pt x="200" y="404"/>
                            <a:pt x="215" y="446"/>
                            <a:pt x="209" y="476"/>
                          </a:cubicBezTo>
                          <a:cubicBezTo>
                            <a:pt x="202" y="474"/>
                            <a:pt x="192" y="478"/>
                            <a:pt x="184" y="477"/>
                          </a:cubicBezTo>
                          <a:cubicBezTo>
                            <a:pt x="178" y="514"/>
                            <a:pt x="208" y="549"/>
                            <a:pt x="217" y="583"/>
                          </a:cubicBezTo>
                          <a:cubicBezTo>
                            <a:pt x="229" y="624"/>
                            <a:pt x="224" y="664"/>
                            <a:pt x="226" y="708"/>
                          </a:cubicBezTo>
                          <a:cubicBezTo>
                            <a:pt x="228" y="743"/>
                            <a:pt x="257" y="784"/>
                            <a:pt x="249" y="819"/>
                          </a:cubicBezTo>
                          <a:cubicBezTo>
                            <a:pt x="241" y="858"/>
                            <a:pt x="217" y="866"/>
                            <a:pt x="252" y="903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8" name="Freeform 457"/>
                    <p:cNvSpPr>
                      <a:spLocks/>
                    </p:cNvSpPr>
                    <p:nvPr/>
                  </p:nvSpPr>
                  <p:spPr bwMode="gray">
                    <a:xfrm>
                      <a:off x="15936913" y="-14644687"/>
                      <a:ext cx="603250" cy="3257550"/>
                    </a:xfrm>
                    <a:custGeom>
                      <a:avLst/>
                      <a:gdLst/>
                      <a:ahLst/>
                      <a:cxnLst>
                        <a:cxn ang="0">
                          <a:pos x="109" y="97"/>
                        </a:cxn>
                        <a:cxn ang="0">
                          <a:pos x="99" y="300"/>
                        </a:cxn>
                        <a:cxn ang="0">
                          <a:pos x="147" y="502"/>
                        </a:cxn>
                        <a:cxn ang="0">
                          <a:pos x="137" y="717"/>
                        </a:cxn>
                        <a:cxn ang="0">
                          <a:pos x="79" y="869"/>
                        </a:cxn>
                        <a:cxn ang="0">
                          <a:pos x="109" y="635"/>
                        </a:cxn>
                        <a:cxn ang="0">
                          <a:pos x="89" y="394"/>
                        </a:cxn>
                        <a:cxn ang="0">
                          <a:pos x="102" y="20"/>
                        </a:cxn>
                        <a:cxn ang="0">
                          <a:pos x="92" y="176"/>
                        </a:cxn>
                      </a:cxnLst>
                      <a:rect l="0" t="0" r="r" b="b"/>
                      <a:pathLst>
                        <a:path w="161" h="869">
                          <a:moveTo>
                            <a:pt x="109" y="97"/>
                          </a:moveTo>
                          <a:cubicBezTo>
                            <a:pt x="112" y="164"/>
                            <a:pt x="92" y="231"/>
                            <a:pt x="99" y="300"/>
                          </a:cubicBezTo>
                          <a:cubicBezTo>
                            <a:pt x="105" y="367"/>
                            <a:pt x="139" y="433"/>
                            <a:pt x="147" y="502"/>
                          </a:cubicBezTo>
                          <a:cubicBezTo>
                            <a:pt x="155" y="573"/>
                            <a:pt x="161" y="650"/>
                            <a:pt x="137" y="717"/>
                          </a:cubicBezTo>
                          <a:cubicBezTo>
                            <a:pt x="119" y="768"/>
                            <a:pt x="100" y="822"/>
                            <a:pt x="79" y="869"/>
                          </a:cubicBezTo>
                          <a:cubicBezTo>
                            <a:pt x="80" y="790"/>
                            <a:pt x="108" y="715"/>
                            <a:pt x="109" y="635"/>
                          </a:cubicBezTo>
                          <a:cubicBezTo>
                            <a:pt x="109" y="552"/>
                            <a:pt x="108" y="472"/>
                            <a:pt x="89" y="394"/>
                          </a:cubicBezTo>
                          <a:cubicBezTo>
                            <a:pt x="77" y="344"/>
                            <a:pt x="0" y="0"/>
                            <a:pt x="102" y="20"/>
                          </a:cubicBezTo>
                          <a:cubicBezTo>
                            <a:pt x="115" y="68"/>
                            <a:pt x="92" y="125"/>
                            <a:pt x="92" y="176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39" name="Freeform 458"/>
                    <p:cNvSpPr>
                      <a:spLocks/>
                    </p:cNvSpPr>
                    <p:nvPr/>
                  </p:nvSpPr>
                  <p:spPr bwMode="gray">
                    <a:xfrm>
                      <a:off x="15227300" y="-12309475"/>
                      <a:ext cx="701675" cy="217488"/>
                    </a:xfrm>
                    <a:custGeom>
                      <a:avLst/>
                      <a:gdLst/>
                      <a:ahLst/>
                      <a:cxnLst>
                        <a:cxn ang="0">
                          <a:pos x="174" y="58"/>
                        </a:cxn>
                        <a:cxn ang="0">
                          <a:pos x="105" y="26"/>
                        </a:cxn>
                        <a:cxn ang="0">
                          <a:pos x="8" y="35"/>
                        </a:cxn>
                        <a:cxn ang="0">
                          <a:pos x="108" y="6"/>
                        </a:cxn>
                        <a:cxn ang="0">
                          <a:pos x="187" y="55"/>
                        </a:cxn>
                      </a:cxnLst>
                      <a:rect l="0" t="0" r="r" b="b"/>
                      <a:pathLst>
                        <a:path w="187" h="58">
                          <a:moveTo>
                            <a:pt x="174" y="58"/>
                          </a:moveTo>
                          <a:cubicBezTo>
                            <a:pt x="176" y="32"/>
                            <a:pt x="125" y="23"/>
                            <a:pt x="105" y="26"/>
                          </a:cubicBezTo>
                          <a:cubicBezTo>
                            <a:pt x="70" y="30"/>
                            <a:pt x="46" y="44"/>
                            <a:pt x="8" y="35"/>
                          </a:cubicBezTo>
                          <a:cubicBezTo>
                            <a:pt x="0" y="0"/>
                            <a:pt x="85" y="2"/>
                            <a:pt x="108" y="6"/>
                          </a:cubicBezTo>
                          <a:cubicBezTo>
                            <a:pt x="143" y="13"/>
                            <a:pt x="162" y="33"/>
                            <a:pt x="187" y="55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0" name="Freeform 459"/>
                    <p:cNvSpPr>
                      <a:spLocks/>
                    </p:cNvSpPr>
                    <p:nvPr/>
                  </p:nvSpPr>
                  <p:spPr bwMode="gray">
                    <a:xfrm>
                      <a:off x="15347950" y="-10463212"/>
                      <a:ext cx="600075" cy="528638"/>
                    </a:xfrm>
                    <a:custGeom>
                      <a:avLst/>
                      <a:gdLst/>
                      <a:ahLst/>
                      <a:cxnLst>
                        <a:cxn ang="0">
                          <a:pos x="80" y="23"/>
                        </a:cxn>
                        <a:cxn ang="0">
                          <a:pos x="33" y="128"/>
                        </a:cxn>
                        <a:cxn ang="0">
                          <a:pos x="160" y="56"/>
                        </a:cxn>
                        <a:cxn ang="0">
                          <a:pos x="90" y="68"/>
                        </a:cxn>
                        <a:cxn ang="0">
                          <a:pos x="109" y="0"/>
                        </a:cxn>
                      </a:cxnLst>
                      <a:rect l="0" t="0" r="r" b="b"/>
                      <a:pathLst>
                        <a:path w="160" h="141">
                          <a:moveTo>
                            <a:pt x="80" y="23"/>
                          </a:moveTo>
                          <a:cubicBezTo>
                            <a:pt x="99" y="58"/>
                            <a:pt x="0" y="109"/>
                            <a:pt x="33" y="128"/>
                          </a:cubicBezTo>
                          <a:cubicBezTo>
                            <a:pt x="56" y="141"/>
                            <a:pt x="134" y="64"/>
                            <a:pt x="160" y="56"/>
                          </a:cubicBezTo>
                          <a:cubicBezTo>
                            <a:pt x="132" y="49"/>
                            <a:pt x="112" y="87"/>
                            <a:pt x="90" y="68"/>
                          </a:cubicBezTo>
                          <a:cubicBezTo>
                            <a:pt x="66" y="46"/>
                            <a:pt x="92" y="13"/>
                            <a:pt x="109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1" name="Freeform 460"/>
                    <p:cNvSpPr>
                      <a:spLocks/>
                    </p:cNvSpPr>
                    <p:nvPr/>
                  </p:nvSpPr>
                  <p:spPr bwMode="gray">
                    <a:xfrm>
                      <a:off x="16821150" y="-13168312"/>
                      <a:ext cx="544513" cy="776288"/>
                    </a:xfrm>
                    <a:custGeom>
                      <a:avLst/>
                      <a:gdLst/>
                      <a:ahLst/>
                      <a:cxnLst>
                        <a:cxn ang="0">
                          <a:pos x="62" y="0"/>
                        </a:cxn>
                        <a:cxn ang="0">
                          <a:pos x="0" y="199"/>
                        </a:cxn>
                        <a:cxn ang="0">
                          <a:pos x="62" y="7"/>
                        </a:cxn>
                      </a:cxnLst>
                      <a:rect l="0" t="0" r="r" b="b"/>
                      <a:pathLst>
                        <a:path w="145" h="207">
                          <a:moveTo>
                            <a:pt x="62" y="0"/>
                          </a:moveTo>
                          <a:cubicBezTo>
                            <a:pt x="99" y="40"/>
                            <a:pt x="26" y="160"/>
                            <a:pt x="0" y="199"/>
                          </a:cubicBezTo>
                          <a:cubicBezTo>
                            <a:pt x="75" y="207"/>
                            <a:pt x="145" y="29"/>
                            <a:pt x="62" y="7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2" name="Freeform 461"/>
                    <p:cNvSpPr>
                      <a:spLocks/>
                    </p:cNvSpPr>
                    <p:nvPr/>
                  </p:nvSpPr>
                  <p:spPr bwMode="gray">
                    <a:xfrm>
                      <a:off x="17124363" y="-15968662"/>
                      <a:ext cx="222250" cy="892175"/>
                    </a:xfrm>
                    <a:custGeom>
                      <a:avLst/>
                      <a:gdLst/>
                      <a:ahLst/>
                      <a:cxnLst>
                        <a:cxn ang="0">
                          <a:pos x="59" y="39"/>
                        </a:cxn>
                        <a:cxn ang="0">
                          <a:pos x="45" y="238"/>
                        </a:cxn>
                        <a:cxn ang="0">
                          <a:pos x="56" y="0"/>
                        </a:cxn>
                      </a:cxnLst>
                      <a:rect l="0" t="0" r="r" b="b"/>
                      <a:pathLst>
                        <a:path w="59" h="238">
                          <a:moveTo>
                            <a:pt x="59" y="39"/>
                          </a:moveTo>
                          <a:cubicBezTo>
                            <a:pt x="26" y="97"/>
                            <a:pt x="49" y="175"/>
                            <a:pt x="45" y="238"/>
                          </a:cubicBezTo>
                          <a:cubicBezTo>
                            <a:pt x="0" y="222"/>
                            <a:pt x="51" y="36"/>
                            <a:pt x="56" y="0"/>
                          </a:cubicBezTo>
                        </a:path>
                      </a:pathLst>
                    </a:custGeom>
                    <a:solidFill>
                      <a:srgbClr val="151B1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3" name="Freeform 462"/>
                    <p:cNvSpPr>
                      <a:spLocks/>
                    </p:cNvSpPr>
                    <p:nvPr/>
                  </p:nvSpPr>
                  <p:spPr bwMode="gray">
                    <a:xfrm>
                      <a:off x="18032413" y="-11866562"/>
                      <a:ext cx="866775" cy="1373188"/>
                    </a:xfrm>
                    <a:custGeom>
                      <a:avLst/>
                      <a:gdLst/>
                      <a:ahLst/>
                      <a:cxnLst>
                        <a:cxn ang="0">
                          <a:pos x="39" y="283"/>
                        </a:cxn>
                        <a:cxn ang="0">
                          <a:pos x="84" y="296"/>
                        </a:cxn>
                        <a:cxn ang="0">
                          <a:pos x="208" y="215"/>
                        </a:cxn>
                        <a:cxn ang="0">
                          <a:pos x="212" y="0"/>
                        </a:cxn>
                        <a:cxn ang="0">
                          <a:pos x="228" y="156"/>
                        </a:cxn>
                        <a:cxn ang="0">
                          <a:pos x="228" y="244"/>
                        </a:cxn>
                        <a:cxn ang="0">
                          <a:pos x="186" y="300"/>
                        </a:cxn>
                        <a:cxn ang="0">
                          <a:pos x="74" y="333"/>
                        </a:cxn>
                        <a:cxn ang="0">
                          <a:pos x="0" y="245"/>
                        </a:cxn>
                        <a:cxn ang="0">
                          <a:pos x="42" y="289"/>
                        </a:cxn>
                      </a:cxnLst>
                      <a:rect l="0" t="0" r="r" b="b"/>
                      <a:pathLst>
                        <a:path w="231" h="366">
                          <a:moveTo>
                            <a:pt x="39" y="283"/>
                          </a:moveTo>
                          <a:cubicBezTo>
                            <a:pt x="54" y="286"/>
                            <a:pt x="69" y="293"/>
                            <a:pt x="84" y="296"/>
                          </a:cubicBezTo>
                          <a:cubicBezTo>
                            <a:pt x="128" y="362"/>
                            <a:pt x="201" y="258"/>
                            <a:pt x="208" y="215"/>
                          </a:cubicBezTo>
                          <a:cubicBezTo>
                            <a:pt x="220" y="144"/>
                            <a:pt x="222" y="70"/>
                            <a:pt x="212" y="0"/>
                          </a:cubicBezTo>
                          <a:cubicBezTo>
                            <a:pt x="212" y="56"/>
                            <a:pt x="228" y="99"/>
                            <a:pt x="228" y="156"/>
                          </a:cubicBezTo>
                          <a:cubicBezTo>
                            <a:pt x="228" y="184"/>
                            <a:pt x="231" y="215"/>
                            <a:pt x="228" y="244"/>
                          </a:cubicBezTo>
                          <a:cubicBezTo>
                            <a:pt x="225" y="279"/>
                            <a:pt x="213" y="284"/>
                            <a:pt x="186" y="300"/>
                          </a:cubicBezTo>
                          <a:cubicBezTo>
                            <a:pt x="143" y="326"/>
                            <a:pt x="122" y="366"/>
                            <a:pt x="74" y="333"/>
                          </a:cubicBezTo>
                          <a:cubicBezTo>
                            <a:pt x="52" y="317"/>
                            <a:pt x="1" y="270"/>
                            <a:pt x="0" y="245"/>
                          </a:cubicBezTo>
                          <a:cubicBezTo>
                            <a:pt x="11" y="262"/>
                            <a:pt x="34" y="272"/>
                            <a:pt x="42" y="289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4" name="Freeform 463"/>
                    <p:cNvSpPr>
                      <a:spLocks/>
                    </p:cNvSpPr>
                    <p:nvPr/>
                  </p:nvSpPr>
                  <p:spPr bwMode="gray">
                    <a:xfrm>
                      <a:off x="18021300" y="-15319375"/>
                      <a:ext cx="173038" cy="693738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10"/>
                        </a:cxn>
                        <a:cxn ang="0">
                          <a:pos x="3" y="185"/>
                        </a:cxn>
                        <a:cxn ang="0">
                          <a:pos x="22" y="95"/>
                        </a:cxn>
                        <a:cxn ang="0">
                          <a:pos x="32" y="0"/>
                        </a:cxn>
                      </a:cxnLst>
                      <a:rect l="0" t="0" r="r" b="b"/>
                      <a:pathLst>
                        <a:path w="46" h="185">
                          <a:moveTo>
                            <a:pt x="35" y="10"/>
                          </a:moveTo>
                          <a:cubicBezTo>
                            <a:pt x="46" y="74"/>
                            <a:pt x="39" y="134"/>
                            <a:pt x="3" y="185"/>
                          </a:cubicBezTo>
                          <a:cubicBezTo>
                            <a:pt x="0" y="153"/>
                            <a:pt x="21" y="128"/>
                            <a:pt x="22" y="95"/>
                          </a:cubicBezTo>
                          <a:cubicBezTo>
                            <a:pt x="24" y="72"/>
                            <a:pt x="13" y="7"/>
                            <a:pt x="32" y="0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5" name="Freeform 464"/>
                    <p:cNvSpPr>
                      <a:spLocks/>
                    </p:cNvSpPr>
                    <p:nvPr/>
                  </p:nvSpPr>
                  <p:spPr bwMode="gray">
                    <a:xfrm>
                      <a:off x="17916525" y="-15784512"/>
                      <a:ext cx="176213" cy="355600"/>
                    </a:xfrm>
                    <a:custGeom>
                      <a:avLst/>
                      <a:gdLst/>
                      <a:ahLst/>
                      <a:cxnLst>
                        <a:cxn ang="0">
                          <a:pos x="41" y="0"/>
                        </a:cxn>
                        <a:cxn ang="0">
                          <a:pos x="42" y="50"/>
                        </a:cxn>
                        <a:cxn ang="0">
                          <a:pos x="30" y="95"/>
                        </a:cxn>
                        <a:cxn ang="0">
                          <a:pos x="2" y="85"/>
                        </a:cxn>
                        <a:cxn ang="0">
                          <a:pos x="37" y="0"/>
                        </a:cxn>
                      </a:cxnLst>
                      <a:rect l="0" t="0" r="r" b="b"/>
                      <a:pathLst>
                        <a:path w="47" h="95">
                          <a:moveTo>
                            <a:pt x="41" y="0"/>
                          </a:moveTo>
                          <a:cubicBezTo>
                            <a:pt x="42" y="16"/>
                            <a:pt x="47" y="34"/>
                            <a:pt x="42" y="50"/>
                          </a:cubicBezTo>
                          <a:cubicBezTo>
                            <a:pt x="35" y="67"/>
                            <a:pt x="8" y="78"/>
                            <a:pt x="30" y="95"/>
                          </a:cubicBezTo>
                          <a:cubicBezTo>
                            <a:pt x="20" y="93"/>
                            <a:pt x="11" y="89"/>
                            <a:pt x="2" y="85"/>
                          </a:cubicBezTo>
                          <a:cubicBezTo>
                            <a:pt x="0" y="56"/>
                            <a:pt x="43" y="38"/>
                            <a:pt x="37" y="0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6" name="Freeform 465"/>
                    <p:cNvSpPr>
                      <a:spLocks/>
                    </p:cNvSpPr>
                    <p:nvPr/>
                  </p:nvSpPr>
                  <p:spPr bwMode="gray">
                    <a:xfrm>
                      <a:off x="18227675" y="-15784512"/>
                      <a:ext cx="296863" cy="393700"/>
                    </a:xfrm>
                    <a:custGeom>
                      <a:avLst/>
                      <a:gdLst/>
                      <a:ahLst/>
                      <a:cxnLst>
                        <a:cxn ang="0">
                          <a:pos x="59" y="10"/>
                        </a:cxn>
                        <a:cxn ang="0">
                          <a:pos x="52" y="59"/>
                        </a:cxn>
                        <a:cxn ang="0">
                          <a:pos x="0" y="89"/>
                        </a:cxn>
                        <a:cxn ang="0">
                          <a:pos x="58" y="65"/>
                        </a:cxn>
                        <a:cxn ang="0">
                          <a:pos x="59" y="0"/>
                        </a:cxn>
                      </a:cxnLst>
                      <a:rect l="0" t="0" r="r" b="b"/>
                      <a:pathLst>
                        <a:path w="79" h="105">
                          <a:moveTo>
                            <a:pt x="59" y="10"/>
                          </a:moveTo>
                          <a:cubicBezTo>
                            <a:pt x="35" y="18"/>
                            <a:pt x="58" y="43"/>
                            <a:pt x="52" y="59"/>
                          </a:cubicBezTo>
                          <a:cubicBezTo>
                            <a:pt x="45" y="78"/>
                            <a:pt x="20" y="86"/>
                            <a:pt x="0" y="89"/>
                          </a:cubicBezTo>
                          <a:cubicBezTo>
                            <a:pt x="16" y="105"/>
                            <a:pt x="47" y="79"/>
                            <a:pt x="58" y="65"/>
                          </a:cubicBezTo>
                          <a:cubicBezTo>
                            <a:pt x="79" y="39"/>
                            <a:pt x="66" y="28"/>
                            <a:pt x="59" y="0"/>
                          </a:cubicBezTo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7" name="Freeform 466"/>
                    <p:cNvSpPr>
                      <a:spLocks/>
                    </p:cNvSpPr>
                    <p:nvPr/>
                  </p:nvSpPr>
                  <p:spPr bwMode="gray">
                    <a:xfrm>
                      <a:off x="17440275" y="-16419512"/>
                      <a:ext cx="255588" cy="904875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6"/>
                        </a:cxn>
                        <a:cxn ang="0">
                          <a:pos x="25" y="74"/>
                        </a:cxn>
                        <a:cxn ang="0">
                          <a:pos x="27" y="133"/>
                        </a:cxn>
                        <a:cxn ang="0">
                          <a:pos x="50" y="182"/>
                        </a:cxn>
                        <a:cxn ang="0">
                          <a:pos x="68" y="241"/>
                        </a:cxn>
                        <a:cxn ang="0">
                          <a:pos x="14" y="120"/>
                        </a:cxn>
                        <a:cxn ang="0">
                          <a:pos x="11" y="53"/>
                        </a:cxn>
                        <a:cxn ang="0">
                          <a:pos x="42" y="0"/>
                        </a:cxn>
                      </a:cxnLst>
                      <a:rect l="0" t="0" r="r" b="b"/>
                      <a:pathLst>
                        <a:path w="68" h="241">
                          <a:moveTo>
                            <a:pt x="33" y="6"/>
                          </a:moveTo>
                          <a:cubicBezTo>
                            <a:pt x="32" y="36"/>
                            <a:pt x="32" y="50"/>
                            <a:pt x="25" y="74"/>
                          </a:cubicBezTo>
                          <a:cubicBezTo>
                            <a:pt x="20" y="94"/>
                            <a:pt x="17" y="112"/>
                            <a:pt x="27" y="133"/>
                          </a:cubicBezTo>
                          <a:cubicBezTo>
                            <a:pt x="36" y="151"/>
                            <a:pt x="45" y="158"/>
                            <a:pt x="50" y="182"/>
                          </a:cubicBezTo>
                          <a:cubicBezTo>
                            <a:pt x="54" y="201"/>
                            <a:pt x="57" y="226"/>
                            <a:pt x="68" y="241"/>
                          </a:cubicBezTo>
                          <a:cubicBezTo>
                            <a:pt x="43" y="205"/>
                            <a:pt x="33" y="160"/>
                            <a:pt x="14" y="120"/>
                          </a:cubicBezTo>
                          <a:cubicBezTo>
                            <a:pt x="0" y="90"/>
                            <a:pt x="1" y="83"/>
                            <a:pt x="11" y="53"/>
                          </a:cubicBezTo>
                          <a:cubicBezTo>
                            <a:pt x="17" y="35"/>
                            <a:pt x="20" y="2"/>
                            <a:pt x="42" y="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8" name="Freeform 467"/>
                    <p:cNvSpPr>
                      <a:spLocks/>
                    </p:cNvSpPr>
                    <p:nvPr/>
                  </p:nvSpPr>
                  <p:spPr bwMode="gray">
                    <a:xfrm>
                      <a:off x="18789650" y="-16706850"/>
                      <a:ext cx="390525" cy="509588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83"/>
                        </a:cxn>
                        <a:cxn ang="0">
                          <a:pos x="56" y="31"/>
                        </a:cxn>
                        <a:cxn ang="0">
                          <a:pos x="98" y="136"/>
                        </a:cxn>
                        <a:cxn ang="0">
                          <a:pos x="42" y="0"/>
                        </a:cxn>
                        <a:cxn ang="0">
                          <a:pos x="0" y="80"/>
                        </a:cxn>
                      </a:cxnLst>
                      <a:rect l="0" t="0" r="r" b="b"/>
                      <a:pathLst>
                        <a:path w="104" h="136">
                          <a:moveTo>
                            <a:pt x="7" y="83"/>
                          </a:moveTo>
                          <a:cubicBezTo>
                            <a:pt x="40" y="86"/>
                            <a:pt x="38" y="46"/>
                            <a:pt x="56" y="31"/>
                          </a:cubicBezTo>
                          <a:cubicBezTo>
                            <a:pt x="77" y="53"/>
                            <a:pt x="104" y="105"/>
                            <a:pt x="98" y="136"/>
                          </a:cubicBezTo>
                          <a:cubicBezTo>
                            <a:pt x="98" y="87"/>
                            <a:pt x="97" y="20"/>
                            <a:pt x="42" y="0"/>
                          </a:cubicBezTo>
                          <a:cubicBezTo>
                            <a:pt x="28" y="23"/>
                            <a:pt x="29" y="70"/>
                            <a:pt x="0" y="8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49" name="Freeform 468"/>
                    <p:cNvSpPr>
                      <a:spLocks/>
                    </p:cNvSpPr>
                    <p:nvPr/>
                  </p:nvSpPr>
                  <p:spPr bwMode="gray">
                    <a:xfrm>
                      <a:off x="20358100" y="-9664700"/>
                      <a:ext cx="465138" cy="91757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9"/>
                        </a:cxn>
                        <a:cxn ang="0">
                          <a:pos x="39" y="71"/>
                        </a:cxn>
                        <a:cxn ang="0">
                          <a:pos x="77" y="121"/>
                        </a:cxn>
                        <a:cxn ang="0">
                          <a:pos x="0" y="221"/>
                        </a:cxn>
                        <a:cxn ang="0">
                          <a:pos x="0" y="234"/>
                        </a:cxn>
                        <a:cxn ang="0">
                          <a:pos x="120" y="111"/>
                        </a:cxn>
                        <a:cxn ang="0">
                          <a:pos x="16" y="9"/>
                        </a:cxn>
                      </a:cxnLst>
                      <a:rect l="0" t="0" r="r" b="b"/>
                      <a:pathLst>
                        <a:path w="124" h="245">
                          <a:moveTo>
                            <a:pt x="0" y="19"/>
                          </a:moveTo>
                          <a:cubicBezTo>
                            <a:pt x="19" y="33"/>
                            <a:pt x="28" y="52"/>
                            <a:pt x="39" y="71"/>
                          </a:cubicBezTo>
                          <a:cubicBezTo>
                            <a:pt x="48" y="88"/>
                            <a:pt x="67" y="103"/>
                            <a:pt x="77" y="121"/>
                          </a:cubicBezTo>
                          <a:cubicBezTo>
                            <a:pt x="102" y="165"/>
                            <a:pt x="43" y="222"/>
                            <a:pt x="0" y="221"/>
                          </a:cubicBezTo>
                          <a:cubicBezTo>
                            <a:pt x="0" y="226"/>
                            <a:pt x="0" y="229"/>
                            <a:pt x="0" y="234"/>
                          </a:cubicBezTo>
                          <a:cubicBezTo>
                            <a:pt x="73" y="245"/>
                            <a:pt x="124" y="177"/>
                            <a:pt x="120" y="111"/>
                          </a:cubicBezTo>
                          <a:cubicBezTo>
                            <a:pt x="77" y="83"/>
                            <a:pt x="85" y="0"/>
                            <a:pt x="16" y="9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0" name="Freeform 469"/>
                    <p:cNvSpPr>
                      <a:spLocks/>
                    </p:cNvSpPr>
                    <p:nvPr/>
                  </p:nvSpPr>
                  <p:spPr bwMode="gray">
                    <a:xfrm>
                      <a:off x="17506950" y="-19470687"/>
                      <a:ext cx="608013" cy="358775"/>
                    </a:xfrm>
                    <a:custGeom>
                      <a:avLst/>
                      <a:gdLst/>
                      <a:ahLst/>
                      <a:cxnLst>
                        <a:cxn ang="0">
                          <a:pos x="97" y="83"/>
                        </a:cxn>
                        <a:cxn ang="0">
                          <a:pos x="13" y="71"/>
                        </a:cxn>
                        <a:cxn ang="0">
                          <a:pos x="162" y="53"/>
                        </a:cxn>
                        <a:cxn ang="0">
                          <a:pos x="0" y="92"/>
                        </a:cxn>
                        <a:cxn ang="0">
                          <a:pos x="81" y="73"/>
                        </a:cxn>
                      </a:cxnLst>
                      <a:rect l="0" t="0" r="r" b="b"/>
                      <a:pathLst>
                        <a:path w="162" h="96">
                          <a:moveTo>
                            <a:pt x="97" y="83"/>
                          </a:moveTo>
                          <a:cubicBezTo>
                            <a:pt x="70" y="78"/>
                            <a:pt x="39" y="75"/>
                            <a:pt x="13" y="71"/>
                          </a:cubicBezTo>
                          <a:cubicBezTo>
                            <a:pt x="62" y="52"/>
                            <a:pt x="108" y="56"/>
                            <a:pt x="162" y="53"/>
                          </a:cubicBezTo>
                          <a:cubicBezTo>
                            <a:pt x="130" y="0"/>
                            <a:pt x="15" y="40"/>
                            <a:pt x="0" y="92"/>
                          </a:cubicBezTo>
                          <a:cubicBezTo>
                            <a:pt x="28" y="96"/>
                            <a:pt x="54" y="66"/>
                            <a:pt x="81" y="73"/>
                          </a:cubicBezTo>
                        </a:path>
                      </a:pathLst>
                    </a:custGeom>
                    <a:solidFill>
                      <a:srgbClr val="877468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1" name="Freeform 470"/>
                    <p:cNvSpPr>
                      <a:spLocks/>
                    </p:cNvSpPr>
                    <p:nvPr/>
                  </p:nvSpPr>
                  <p:spPr bwMode="gray">
                    <a:xfrm>
                      <a:off x="17506950" y="-19470687"/>
                      <a:ext cx="608013" cy="358775"/>
                    </a:xfrm>
                    <a:custGeom>
                      <a:avLst/>
                      <a:gdLst/>
                      <a:ahLst/>
                      <a:cxnLst>
                        <a:cxn ang="0">
                          <a:pos x="97" y="83"/>
                        </a:cxn>
                        <a:cxn ang="0">
                          <a:pos x="13" y="71"/>
                        </a:cxn>
                        <a:cxn ang="0">
                          <a:pos x="162" y="53"/>
                        </a:cxn>
                        <a:cxn ang="0">
                          <a:pos x="0" y="92"/>
                        </a:cxn>
                        <a:cxn ang="0">
                          <a:pos x="81" y="73"/>
                        </a:cxn>
                      </a:cxnLst>
                      <a:rect l="0" t="0" r="r" b="b"/>
                      <a:pathLst>
                        <a:path w="162" h="96">
                          <a:moveTo>
                            <a:pt x="97" y="83"/>
                          </a:moveTo>
                          <a:cubicBezTo>
                            <a:pt x="70" y="78"/>
                            <a:pt x="39" y="75"/>
                            <a:pt x="13" y="71"/>
                          </a:cubicBezTo>
                          <a:cubicBezTo>
                            <a:pt x="62" y="52"/>
                            <a:pt x="108" y="56"/>
                            <a:pt x="162" y="53"/>
                          </a:cubicBezTo>
                          <a:cubicBezTo>
                            <a:pt x="130" y="0"/>
                            <a:pt x="15" y="40"/>
                            <a:pt x="0" y="92"/>
                          </a:cubicBezTo>
                          <a:cubicBezTo>
                            <a:pt x="28" y="96"/>
                            <a:pt x="54" y="66"/>
                            <a:pt x="81" y="73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2" name="Freeform 471"/>
                    <p:cNvSpPr>
                      <a:spLocks/>
                    </p:cNvSpPr>
                    <p:nvPr/>
                  </p:nvSpPr>
                  <p:spPr bwMode="gray">
                    <a:xfrm>
                      <a:off x="16983075" y="-18999200"/>
                      <a:ext cx="471488" cy="874713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63"/>
                        </a:cxn>
                        <a:cxn ang="0">
                          <a:pos x="77" y="59"/>
                        </a:cxn>
                        <a:cxn ang="0">
                          <a:pos x="68" y="101"/>
                        </a:cxn>
                        <a:cxn ang="0">
                          <a:pos x="126" y="6"/>
                        </a:cxn>
                        <a:cxn ang="0">
                          <a:pos x="28" y="94"/>
                        </a:cxn>
                        <a:cxn ang="0">
                          <a:pos x="22" y="172"/>
                        </a:cxn>
                        <a:cxn ang="0">
                          <a:pos x="0" y="233"/>
                        </a:cxn>
                        <a:cxn ang="0">
                          <a:pos x="32" y="149"/>
                        </a:cxn>
                      </a:cxnLst>
                      <a:rect l="0" t="0" r="r" b="b"/>
                      <a:pathLst>
                        <a:path w="126" h="233">
                          <a:moveTo>
                            <a:pt x="32" y="163"/>
                          </a:moveTo>
                          <a:cubicBezTo>
                            <a:pt x="36" y="122"/>
                            <a:pt x="51" y="88"/>
                            <a:pt x="77" y="59"/>
                          </a:cubicBezTo>
                          <a:cubicBezTo>
                            <a:pt x="72" y="72"/>
                            <a:pt x="61" y="88"/>
                            <a:pt x="68" y="101"/>
                          </a:cubicBezTo>
                          <a:cubicBezTo>
                            <a:pt x="85" y="68"/>
                            <a:pt x="107" y="39"/>
                            <a:pt x="126" y="6"/>
                          </a:cubicBezTo>
                          <a:cubicBezTo>
                            <a:pt x="85" y="0"/>
                            <a:pt x="40" y="59"/>
                            <a:pt x="28" y="94"/>
                          </a:cubicBezTo>
                          <a:cubicBezTo>
                            <a:pt x="21" y="118"/>
                            <a:pt x="28" y="147"/>
                            <a:pt x="22" y="172"/>
                          </a:cubicBezTo>
                          <a:cubicBezTo>
                            <a:pt x="17" y="192"/>
                            <a:pt x="8" y="214"/>
                            <a:pt x="0" y="233"/>
                          </a:cubicBezTo>
                          <a:cubicBezTo>
                            <a:pt x="32" y="213"/>
                            <a:pt x="21" y="179"/>
                            <a:pt x="32" y="149"/>
                          </a:cubicBezTo>
                        </a:path>
                      </a:pathLst>
                    </a:custGeom>
                    <a:solidFill>
                      <a:srgbClr val="877468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3" name="Freeform 472"/>
                    <p:cNvSpPr>
                      <a:spLocks/>
                    </p:cNvSpPr>
                    <p:nvPr/>
                  </p:nvSpPr>
                  <p:spPr bwMode="gray">
                    <a:xfrm>
                      <a:off x="16983075" y="-18999200"/>
                      <a:ext cx="471488" cy="874713"/>
                    </a:xfrm>
                    <a:custGeom>
                      <a:avLst/>
                      <a:gdLst/>
                      <a:ahLst/>
                      <a:cxnLst>
                        <a:cxn ang="0">
                          <a:pos x="32" y="163"/>
                        </a:cxn>
                        <a:cxn ang="0">
                          <a:pos x="77" y="59"/>
                        </a:cxn>
                        <a:cxn ang="0">
                          <a:pos x="68" y="101"/>
                        </a:cxn>
                        <a:cxn ang="0">
                          <a:pos x="126" y="6"/>
                        </a:cxn>
                        <a:cxn ang="0">
                          <a:pos x="28" y="94"/>
                        </a:cxn>
                        <a:cxn ang="0">
                          <a:pos x="22" y="172"/>
                        </a:cxn>
                        <a:cxn ang="0">
                          <a:pos x="0" y="233"/>
                        </a:cxn>
                        <a:cxn ang="0">
                          <a:pos x="32" y="149"/>
                        </a:cxn>
                      </a:cxnLst>
                      <a:rect l="0" t="0" r="r" b="b"/>
                      <a:pathLst>
                        <a:path w="126" h="233">
                          <a:moveTo>
                            <a:pt x="32" y="163"/>
                          </a:moveTo>
                          <a:cubicBezTo>
                            <a:pt x="36" y="122"/>
                            <a:pt x="51" y="88"/>
                            <a:pt x="77" y="59"/>
                          </a:cubicBezTo>
                          <a:cubicBezTo>
                            <a:pt x="72" y="72"/>
                            <a:pt x="61" y="88"/>
                            <a:pt x="68" y="101"/>
                          </a:cubicBezTo>
                          <a:cubicBezTo>
                            <a:pt x="85" y="68"/>
                            <a:pt x="107" y="39"/>
                            <a:pt x="126" y="6"/>
                          </a:cubicBezTo>
                          <a:cubicBezTo>
                            <a:pt x="85" y="0"/>
                            <a:pt x="40" y="59"/>
                            <a:pt x="28" y="94"/>
                          </a:cubicBezTo>
                          <a:cubicBezTo>
                            <a:pt x="21" y="118"/>
                            <a:pt x="28" y="147"/>
                            <a:pt x="22" y="172"/>
                          </a:cubicBezTo>
                          <a:cubicBezTo>
                            <a:pt x="17" y="192"/>
                            <a:pt x="8" y="214"/>
                            <a:pt x="0" y="233"/>
                          </a:cubicBezTo>
                          <a:cubicBezTo>
                            <a:pt x="32" y="213"/>
                            <a:pt x="21" y="179"/>
                            <a:pt x="32" y="149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4" name="Freeform 473"/>
                    <p:cNvSpPr>
                      <a:spLocks/>
                    </p:cNvSpPr>
                    <p:nvPr/>
                  </p:nvSpPr>
                  <p:spPr bwMode="gray">
                    <a:xfrm>
                      <a:off x="18665825" y="-19018250"/>
                      <a:ext cx="368300" cy="649288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17"/>
                        </a:cxn>
                        <a:cxn ang="0">
                          <a:pos x="56" y="131"/>
                        </a:cxn>
                        <a:cxn ang="0">
                          <a:pos x="63" y="86"/>
                        </a:cxn>
                        <a:cxn ang="0">
                          <a:pos x="88" y="173"/>
                        </a:cxn>
                        <a:cxn ang="0">
                          <a:pos x="75" y="54"/>
                        </a:cxn>
                        <a:cxn ang="0">
                          <a:pos x="17" y="2"/>
                        </a:cxn>
                        <a:cxn ang="0">
                          <a:pos x="0" y="21"/>
                        </a:cxn>
                      </a:cxnLst>
                      <a:rect l="0" t="0" r="r" b="b"/>
                      <a:pathLst>
                        <a:path w="98" h="173">
                          <a:moveTo>
                            <a:pt x="10" y="17"/>
                          </a:moveTo>
                          <a:cubicBezTo>
                            <a:pt x="44" y="36"/>
                            <a:pt x="57" y="90"/>
                            <a:pt x="56" y="131"/>
                          </a:cubicBezTo>
                          <a:cubicBezTo>
                            <a:pt x="58" y="116"/>
                            <a:pt x="66" y="103"/>
                            <a:pt x="63" y="86"/>
                          </a:cubicBezTo>
                          <a:cubicBezTo>
                            <a:pt x="79" y="107"/>
                            <a:pt x="88" y="146"/>
                            <a:pt x="88" y="173"/>
                          </a:cubicBezTo>
                          <a:cubicBezTo>
                            <a:pt x="86" y="129"/>
                            <a:pt x="98" y="93"/>
                            <a:pt x="75" y="54"/>
                          </a:cubicBezTo>
                          <a:cubicBezTo>
                            <a:pt x="63" y="36"/>
                            <a:pt x="40" y="0"/>
                            <a:pt x="17" y="2"/>
                          </a:cubicBezTo>
                          <a:cubicBezTo>
                            <a:pt x="15" y="13"/>
                            <a:pt x="8" y="15"/>
                            <a:pt x="0" y="21"/>
                          </a:cubicBezTo>
                        </a:path>
                      </a:pathLst>
                    </a:custGeom>
                    <a:solidFill>
                      <a:srgbClr val="736357"/>
                    </a:solidFill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5" name="Freeform 474"/>
                    <p:cNvSpPr>
                      <a:spLocks/>
                    </p:cNvSpPr>
                    <p:nvPr/>
                  </p:nvSpPr>
                  <p:spPr bwMode="gray">
                    <a:xfrm>
                      <a:off x="18665825" y="-19018250"/>
                      <a:ext cx="368300" cy="649288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17"/>
                        </a:cxn>
                        <a:cxn ang="0">
                          <a:pos x="56" y="131"/>
                        </a:cxn>
                        <a:cxn ang="0">
                          <a:pos x="63" y="86"/>
                        </a:cxn>
                        <a:cxn ang="0">
                          <a:pos x="88" y="173"/>
                        </a:cxn>
                        <a:cxn ang="0">
                          <a:pos x="75" y="54"/>
                        </a:cxn>
                        <a:cxn ang="0">
                          <a:pos x="17" y="2"/>
                        </a:cxn>
                        <a:cxn ang="0">
                          <a:pos x="0" y="21"/>
                        </a:cxn>
                      </a:cxnLst>
                      <a:rect l="0" t="0" r="r" b="b"/>
                      <a:pathLst>
                        <a:path w="98" h="173">
                          <a:moveTo>
                            <a:pt x="10" y="17"/>
                          </a:moveTo>
                          <a:cubicBezTo>
                            <a:pt x="44" y="36"/>
                            <a:pt x="57" y="90"/>
                            <a:pt x="56" y="131"/>
                          </a:cubicBezTo>
                          <a:cubicBezTo>
                            <a:pt x="58" y="116"/>
                            <a:pt x="66" y="103"/>
                            <a:pt x="63" y="86"/>
                          </a:cubicBezTo>
                          <a:cubicBezTo>
                            <a:pt x="79" y="107"/>
                            <a:pt x="88" y="146"/>
                            <a:pt x="88" y="173"/>
                          </a:cubicBezTo>
                          <a:cubicBezTo>
                            <a:pt x="86" y="129"/>
                            <a:pt x="98" y="93"/>
                            <a:pt x="75" y="54"/>
                          </a:cubicBezTo>
                          <a:cubicBezTo>
                            <a:pt x="63" y="36"/>
                            <a:pt x="40" y="0"/>
                            <a:pt x="17" y="2"/>
                          </a:cubicBezTo>
                          <a:cubicBezTo>
                            <a:pt x="15" y="13"/>
                            <a:pt x="8" y="15"/>
                            <a:pt x="0" y="21"/>
                          </a:cubicBezTo>
                        </a:path>
                      </a:pathLst>
                    </a:custGeom>
                    <a:noFill/>
                    <a:ln w="5" cap="flat">
                      <a:solidFill>
                        <a:srgbClr val="736357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6" name="Freeform 475"/>
                    <p:cNvSpPr>
                      <a:spLocks/>
                    </p:cNvSpPr>
                    <p:nvPr/>
                  </p:nvSpPr>
                  <p:spPr bwMode="gray">
                    <a:xfrm>
                      <a:off x="18208625" y="-12992100"/>
                      <a:ext cx="585788" cy="1665288"/>
                    </a:xfrm>
                    <a:custGeom>
                      <a:avLst/>
                      <a:gdLst/>
                      <a:ahLst/>
                      <a:cxnLst>
                        <a:cxn ang="0">
                          <a:pos x="125" y="272"/>
                        </a:cxn>
                        <a:cxn ang="0">
                          <a:pos x="39" y="423"/>
                        </a:cxn>
                        <a:cxn ang="0">
                          <a:pos x="49" y="415"/>
                        </a:cxn>
                        <a:cxn ang="0">
                          <a:pos x="8" y="444"/>
                        </a:cxn>
                        <a:cxn ang="0">
                          <a:pos x="43" y="384"/>
                        </a:cxn>
                        <a:cxn ang="0">
                          <a:pos x="86" y="251"/>
                        </a:cxn>
                        <a:cxn ang="0">
                          <a:pos x="113" y="158"/>
                        </a:cxn>
                        <a:cxn ang="0">
                          <a:pos x="126" y="64"/>
                        </a:cxn>
                        <a:cxn ang="0">
                          <a:pos x="138" y="0"/>
                        </a:cxn>
                        <a:cxn ang="0">
                          <a:pos x="125" y="272"/>
                        </a:cxn>
                      </a:cxnLst>
                      <a:rect l="0" t="0" r="r" b="b"/>
                      <a:pathLst>
                        <a:path w="156" h="444">
                          <a:moveTo>
                            <a:pt x="125" y="272"/>
                          </a:moveTo>
                          <a:cubicBezTo>
                            <a:pt x="108" y="320"/>
                            <a:pt x="77" y="388"/>
                            <a:pt x="39" y="423"/>
                          </a:cubicBezTo>
                          <a:cubicBezTo>
                            <a:pt x="43" y="419"/>
                            <a:pt x="47" y="417"/>
                            <a:pt x="49" y="415"/>
                          </a:cubicBezTo>
                          <a:cubicBezTo>
                            <a:pt x="42" y="431"/>
                            <a:pt x="24" y="442"/>
                            <a:pt x="8" y="444"/>
                          </a:cubicBezTo>
                          <a:cubicBezTo>
                            <a:pt x="0" y="412"/>
                            <a:pt x="25" y="402"/>
                            <a:pt x="43" y="384"/>
                          </a:cubicBezTo>
                          <a:cubicBezTo>
                            <a:pt x="80" y="348"/>
                            <a:pt x="82" y="304"/>
                            <a:pt x="86" y="251"/>
                          </a:cubicBezTo>
                          <a:cubicBezTo>
                            <a:pt x="89" y="213"/>
                            <a:pt x="102" y="192"/>
                            <a:pt x="113" y="158"/>
                          </a:cubicBezTo>
                          <a:cubicBezTo>
                            <a:pt x="124" y="128"/>
                            <a:pt x="119" y="95"/>
                            <a:pt x="126" y="64"/>
                          </a:cubicBezTo>
                          <a:cubicBezTo>
                            <a:pt x="130" y="42"/>
                            <a:pt x="139" y="24"/>
                            <a:pt x="138" y="0"/>
                          </a:cubicBezTo>
                          <a:cubicBezTo>
                            <a:pt x="138" y="88"/>
                            <a:pt x="156" y="187"/>
                            <a:pt x="125" y="272"/>
                          </a:cubicBezTo>
                          <a:close/>
                        </a:path>
                      </a:pathLst>
                    </a:custGeom>
                    <a:solidFill>
                      <a:srgbClr val="E2A805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7" name="Freeform 476"/>
                    <p:cNvSpPr>
                      <a:spLocks/>
                    </p:cNvSpPr>
                    <p:nvPr/>
                  </p:nvSpPr>
                  <p:spPr bwMode="gray">
                    <a:xfrm>
                      <a:off x="17159288" y="215900"/>
                      <a:ext cx="569913" cy="592138"/>
                    </a:xfrm>
                    <a:custGeom>
                      <a:avLst/>
                      <a:gdLst/>
                      <a:ahLst/>
                      <a:cxnLst>
                        <a:cxn ang="0">
                          <a:pos x="63" y="10"/>
                        </a:cxn>
                        <a:cxn ang="0">
                          <a:pos x="121" y="10"/>
                        </a:cxn>
                        <a:cxn ang="0">
                          <a:pos x="121" y="25"/>
                        </a:cxn>
                        <a:cxn ang="0">
                          <a:pos x="47" y="51"/>
                        </a:cxn>
                        <a:cxn ang="0">
                          <a:pos x="111" y="92"/>
                        </a:cxn>
                        <a:cxn ang="0">
                          <a:pos x="8" y="92"/>
                        </a:cxn>
                        <a:cxn ang="0">
                          <a:pos x="44" y="81"/>
                        </a:cxn>
                        <a:cxn ang="0">
                          <a:pos x="15" y="71"/>
                        </a:cxn>
                        <a:cxn ang="0">
                          <a:pos x="15" y="53"/>
                        </a:cxn>
                        <a:cxn ang="0">
                          <a:pos x="28" y="29"/>
                        </a:cxn>
                        <a:cxn ang="0">
                          <a:pos x="59" y="0"/>
                        </a:cxn>
                        <a:cxn ang="0">
                          <a:pos x="63" y="13"/>
                        </a:cxn>
                      </a:cxnLst>
                      <a:rect l="0" t="0" r="r" b="b"/>
                      <a:pathLst>
                        <a:path w="152" h="158">
                          <a:moveTo>
                            <a:pt x="63" y="10"/>
                          </a:moveTo>
                          <a:cubicBezTo>
                            <a:pt x="83" y="10"/>
                            <a:pt x="102" y="9"/>
                            <a:pt x="121" y="10"/>
                          </a:cubicBezTo>
                          <a:cubicBezTo>
                            <a:pt x="123" y="15"/>
                            <a:pt x="122" y="21"/>
                            <a:pt x="121" y="25"/>
                          </a:cubicBezTo>
                          <a:cubicBezTo>
                            <a:pt x="102" y="35"/>
                            <a:pt x="47" y="22"/>
                            <a:pt x="47" y="51"/>
                          </a:cubicBezTo>
                          <a:cubicBezTo>
                            <a:pt x="78" y="55"/>
                            <a:pt x="83" y="92"/>
                            <a:pt x="111" y="92"/>
                          </a:cubicBezTo>
                          <a:cubicBezTo>
                            <a:pt x="152" y="133"/>
                            <a:pt x="0" y="158"/>
                            <a:pt x="8" y="92"/>
                          </a:cubicBezTo>
                          <a:cubicBezTo>
                            <a:pt x="22" y="88"/>
                            <a:pt x="34" y="89"/>
                            <a:pt x="44" y="81"/>
                          </a:cubicBezTo>
                          <a:cubicBezTo>
                            <a:pt x="36" y="73"/>
                            <a:pt x="26" y="70"/>
                            <a:pt x="15" y="71"/>
                          </a:cubicBezTo>
                          <a:cubicBezTo>
                            <a:pt x="13" y="66"/>
                            <a:pt x="13" y="58"/>
                            <a:pt x="15" y="53"/>
                          </a:cubicBezTo>
                          <a:cubicBezTo>
                            <a:pt x="50" y="53"/>
                            <a:pt x="25" y="34"/>
                            <a:pt x="28" y="29"/>
                          </a:cubicBezTo>
                          <a:cubicBezTo>
                            <a:pt x="35" y="15"/>
                            <a:pt x="43" y="8"/>
                            <a:pt x="59" y="0"/>
                          </a:cubicBezTo>
                          <a:cubicBezTo>
                            <a:pt x="58" y="6"/>
                            <a:pt x="63" y="11"/>
                            <a:pt x="63" y="13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8" name="Freeform 477"/>
                    <p:cNvSpPr>
                      <a:spLocks/>
                    </p:cNvSpPr>
                    <p:nvPr/>
                  </p:nvSpPr>
                  <p:spPr bwMode="gray">
                    <a:xfrm>
                      <a:off x="21058188" y="136525"/>
                      <a:ext cx="881063" cy="454025"/>
                    </a:xfrm>
                    <a:custGeom>
                      <a:avLst/>
                      <a:gdLst/>
                      <a:ahLst/>
                      <a:cxnLst>
                        <a:cxn ang="0">
                          <a:pos x="116" y="79"/>
                        </a:cxn>
                        <a:cxn ang="0">
                          <a:pos x="80" y="105"/>
                        </a:cxn>
                        <a:cxn ang="0">
                          <a:pos x="229" y="90"/>
                        </a:cxn>
                        <a:cxn ang="0">
                          <a:pos x="139" y="63"/>
                        </a:cxn>
                        <a:cxn ang="0">
                          <a:pos x="96" y="67"/>
                        </a:cxn>
                        <a:cxn ang="0">
                          <a:pos x="86" y="86"/>
                        </a:cxn>
                      </a:cxnLst>
                      <a:rect l="0" t="0" r="r" b="b"/>
                      <a:pathLst>
                        <a:path w="235" h="121">
                          <a:moveTo>
                            <a:pt x="116" y="79"/>
                          </a:moveTo>
                          <a:cubicBezTo>
                            <a:pt x="104" y="90"/>
                            <a:pt x="86" y="93"/>
                            <a:pt x="80" y="105"/>
                          </a:cubicBezTo>
                          <a:cubicBezTo>
                            <a:pt x="108" y="107"/>
                            <a:pt x="235" y="121"/>
                            <a:pt x="229" y="90"/>
                          </a:cubicBezTo>
                          <a:cubicBezTo>
                            <a:pt x="199" y="83"/>
                            <a:pt x="167" y="74"/>
                            <a:pt x="139" y="63"/>
                          </a:cubicBezTo>
                          <a:cubicBezTo>
                            <a:pt x="153" y="0"/>
                            <a:pt x="0" y="62"/>
                            <a:pt x="96" y="67"/>
                          </a:cubicBezTo>
                          <a:cubicBezTo>
                            <a:pt x="85" y="71"/>
                            <a:pt x="91" y="77"/>
                            <a:pt x="86" y="86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859" name="Freeform 478"/>
                    <p:cNvSpPr>
                      <a:spLocks/>
                    </p:cNvSpPr>
                    <p:nvPr/>
                  </p:nvSpPr>
                  <p:spPr bwMode="gray">
                    <a:xfrm>
                      <a:off x="20664488" y="-144462"/>
                      <a:ext cx="458788" cy="528638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10"/>
                        </a:cxn>
                        <a:cxn ang="0">
                          <a:pos x="3" y="11"/>
                        </a:cxn>
                        <a:cxn ang="0">
                          <a:pos x="31" y="40"/>
                        </a:cxn>
                        <a:cxn ang="0">
                          <a:pos x="51" y="75"/>
                        </a:cxn>
                        <a:cxn ang="0">
                          <a:pos x="122" y="141"/>
                        </a:cxn>
                        <a:cxn ang="0">
                          <a:pos x="78" y="81"/>
                        </a:cxn>
                        <a:cxn ang="0">
                          <a:pos x="41" y="7"/>
                        </a:cxn>
                        <a:cxn ang="0">
                          <a:pos x="15" y="0"/>
                        </a:cxn>
                      </a:cxnLst>
                      <a:rect l="0" t="0" r="r" b="b"/>
                      <a:pathLst>
                        <a:path w="122" h="141">
                          <a:moveTo>
                            <a:pt x="35" y="10"/>
                          </a:moveTo>
                          <a:cubicBezTo>
                            <a:pt x="25" y="9"/>
                            <a:pt x="13" y="10"/>
                            <a:pt x="3" y="11"/>
                          </a:cubicBezTo>
                          <a:cubicBezTo>
                            <a:pt x="0" y="29"/>
                            <a:pt x="21" y="31"/>
                            <a:pt x="31" y="40"/>
                          </a:cubicBezTo>
                          <a:cubicBezTo>
                            <a:pt x="42" y="52"/>
                            <a:pt x="45" y="62"/>
                            <a:pt x="51" y="75"/>
                          </a:cubicBezTo>
                          <a:cubicBezTo>
                            <a:pt x="67" y="110"/>
                            <a:pt x="82" y="130"/>
                            <a:pt x="122" y="141"/>
                          </a:cubicBezTo>
                          <a:cubicBezTo>
                            <a:pt x="97" y="125"/>
                            <a:pt x="87" y="105"/>
                            <a:pt x="78" y="81"/>
                          </a:cubicBezTo>
                          <a:cubicBezTo>
                            <a:pt x="67" y="54"/>
                            <a:pt x="48" y="34"/>
                            <a:pt x="41" y="7"/>
                          </a:cubicBezTo>
                          <a:cubicBezTo>
                            <a:pt x="33" y="4"/>
                            <a:pt x="24" y="0"/>
                            <a:pt x="15" y="0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</p:grpSp>
            </p:grpSp>
            <p:grpSp>
              <p:nvGrpSpPr>
                <p:cNvPr id="713" name="Gruppieren 121"/>
                <p:cNvGrpSpPr/>
                <p:nvPr/>
              </p:nvGrpSpPr>
              <p:grpSpPr bwMode="gray">
                <a:xfrm>
                  <a:off x="3530893" y="1670103"/>
                  <a:ext cx="2377070" cy="4141314"/>
                  <a:chOff x="-283872" y="2153751"/>
                  <a:chExt cx="1338560" cy="2332031"/>
                </a:xfrm>
              </p:grpSpPr>
              <p:pic>
                <p:nvPicPr>
                  <p:cNvPr id="714" name="_effect" descr="C:\Users\marc.h\Desktop\Schatten-TEST.png"/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gray">
                  <a:xfrm>
                    <a:off x="-283872" y="3937210"/>
                    <a:ext cx="1338560" cy="548572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715" name="Gruppieren 382"/>
                  <p:cNvGrpSpPr/>
                  <p:nvPr/>
                </p:nvGrpSpPr>
                <p:grpSpPr bwMode="gray">
                  <a:xfrm>
                    <a:off x="-45792" y="2153759"/>
                    <a:ext cx="781227" cy="2164582"/>
                    <a:chOff x="5072063" y="-19770725"/>
                    <a:chExt cx="7443788" cy="20624801"/>
                  </a:xfrm>
                </p:grpSpPr>
                <p:sp>
                  <p:nvSpPr>
                    <p:cNvPr id="716" name="Freeform 150"/>
                    <p:cNvSpPr>
                      <a:spLocks/>
                    </p:cNvSpPr>
                    <p:nvPr/>
                  </p:nvSpPr>
                  <p:spPr bwMode="gray">
                    <a:xfrm>
                      <a:off x="5665788" y="-10115550"/>
                      <a:ext cx="1552575" cy="1931988"/>
                    </a:xfrm>
                    <a:custGeom>
                      <a:avLst/>
                      <a:gdLst/>
                      <a:ahLst/>
                      <a:cxnLst>
                        <a:cxn ang="0">
                          <a:pos x="345" y="369"/>
                        </a:cxn>
                        <a:cxn ang="0">
                          <a:pos x="288" y="396"/>
                        </a:cxn>
                        <a:cxn ang="0">
                          <a:pos x="76" y="488"/>
                        </a:cxn>
                        <a:cxn ang="0">
                          <a:pos x="91" y="245"/>
                        </a:cxn>
                        <a:cxn ang="0">
                          <a:pos x="130" y="103"/>
                        </a:cxn>
                        <a:cxn ang="0">
                          <a:pos x="272" y="4"/>
                        </a:cxn>
                        <a:cxn ang="0">
                          <a:pos x="409" y="290"/>
                        </a:cxn>
                        <a:cxn ang="0">
                          <a:pos x="300" y="382"/>
                        </a:cxn>
                      </a:cxnLst>
                      <a:rect l="0" t="0" r="r" b="b"/>
                      <a:pathLst>
                        <a:path w="414" h="515">
                          <a:moveTo>
                            <a:pt x="345" y="369"/>
                          </a:moveTo>
                          <a:cubicBezTo>
                            <a:pt x="332" y="386"/>
                            <a:pt x="310" y="396"/>
                            <a:pt x="288" y="396"/>
                          </a:cubicBezTo>
                          <a:cubicBezTo>
                            <a:pt x="262" y="441"/>
                            <a:pt x="123" y="515"/>
                            <a:pt x="76" y="488"/>
                          </a:cubicBezTo>
                          <a:cubicBezTo>
                            <a:pt x="0" y="445"/>
                            <a:pt x="80" y="316"/>
                            <a:pt x="91" y="245"/>
                          </a:cubicBezTo>
                          <a:cubicBezTo>
                            <a:pt x="100" y="184"/>
                            <a:pt x="85" y="149"/>
                            <a:pt x="130" y="103"/>
                          </a:cubicBezTo>
                          <a:cubicBezTo>
                            <a:pt x="159" y="73"/>
                            <a:pt x="230" y="5"/>
                            <a:pt x="272" y="4"/>
                          </a:cubicBezTo>
                          <a:cubicBezTo>
                            <a:pt x="378" y="0"/>
                            <a:pt x="414" y="213"/>
                            <a:pt x="409" y="290"/>
                          </a:cubicBezTo>
                          <a:cubicBezTo>
                            <a:pt x="367" y="312"/>
                            <a:pt x="329" y="343"/>
                            <a:pt x="300" y="382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17" name="Freeform 151"/>
                    <p:cNvSpPr>
                      <a:spLocks/>
                    </p:cNvSpPr>
                    <p:nvPr/>
                  </p:nvSpPr>
                  <p:spPr bwMode="gray">
                    <a:xfrm>
                      <a:off x="10393363" y="-10175875"/>
                      <a:ext cx="1133475" cy="1489075"/>
                    </a:xfrm>
                    <a:custGeom>
                      <a:avLst/>
                      <a:gdLst/>
                      <a:ahLst/>
                      <a:cxnLst>
                        <a:cxn ang="0">
                          <a:pos x="102" y="33"/>
                        </a:cxn>
                        <a:cxn ang="0">
                          <a:pos x="228" y="207"/>
                        </a:cxn>
                        <a:cxn ang="0">
                          <a:pos x="290" y="301"/>
                        </a:cxn>
                        <a:cxn ang="0">
                          <a:pos x="227" y="367"/>
                        </a:cxn>
                        <a:cxn ang="0">
                          <a:pos x="19" y="272"/>
                        </a:cxn>
                        <a:cxn ang="0">
                          <a:pos x="115" y="0"/>
                        </a:cxn>
                      </a:cxnLst>
                      <a:rect l="0" t="0" r="r" b="b"/>
                      <a:pathLst>
                        <a:path w="302" h="397">
                          <a:moveTo>
                            <a:pt x="102" y="33"/>
                          </a:moveTo>
                          <a:cubicBezTo>
                            <a:pt x="180" y="65"/>
                            <a:pt x="180" y="144"/>
                            <a:pt x="228" y="207"/>
                          </a:cubicBezTo>
                          <a:cubicBezTo>
                            <a:pt x="246" y="232"/>
                            <a:pt x="283" y="268"/>
                            <a:pt x="290" y="301"/>
                          </a:cubicBezTo>
                          <a:cubicBezTo>
                            <a:pt x="302" y="363"/>
                            <a:pt x="275" y="349"/>
                            <a:pt x="227" y="367"/>
                          </a:cubicBezTo>
                          <a:cubicBezTo>
                            <a:pt x="140" y="397"/>
                            <a:pt x="43" y="395"/>
                            <a:pt x="19" y="272"/>
                          </a:cubicBezTo>
                          <a:cubicBezTo>
                            <a:pt x="0" y="178"/>
                            <a:pt x="10" y="32"/>
                            <a:pt x="115" y="0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18" name="Freeform 152"/>
                    <p:cNvSpPr>
                      <a:spLocks/>
                    </p:cNvSpPr>
                    <p:nvPr/>
                  </p:nvSpPr>
                  <p:spPr bwMode="gray">
                    <a:xfrm>
                      <a:off x="6943725" y="-912812"/>
                      <a:ext cx="1654175" cy="1766888"/>
                    </a:xfrm>
                    <a:custGeom>
                      <a:avLst/>
                      <a:gdLst/>
                      <a:ahLst/>
                      <a:cxnLst>
                        <a:cxn ang="0">
                          <a:pos x="436" y="9"/>
                        </a:cxn>
                        <a:cxn ang="0">
                          <a:pos x="423" y="172"/>
                        </a:cxn>
                        <a:cxn ang="0">
                          <a:pos x="345" y="277"/>
                        </a:cxn>
                        <a:cxn ang="0">
                          <a:pos x="112" y="446"/>
                        </a:cxn>
                        <a:cxn ang="0">
                          <a:pos x="77" y="223"/>
                        </a:cxn>
                        <a:cxn ang="0">
                          <a:pos x="293" y="3"/>
                        </a:cxn>
                        <a:cxn ang="0">
                          <a:pos x="423" y="42"/>
                        </a:cxn>
                      </a:cxnLst>
                      <a:rect l="0" t="0" r="r" b="b"/>
                      <a:pathLst>
                        <a:path w="441" h="471">
                          <a:moveTo>
                            <a:pt x="436" y="9"/>
                          </a:moveTo>
                          <a:cubicBezTo>
                            <a:pt x="436" y="57"/>
                            <a:pt x="441" y="129"/>
                            <a:pt x="423" y="172"/>
                          </a:cubicBezTo>
                          <a:cubicBezTo>
                            <a:pt x="407" y="211"/>
                            <a:pt x="367" y="232"/>
                            <a:pt x="345" y="277"/>
                          </a:cubicBezTo>
                          <a:cubicBezTo>
                            <a:pt x="304" y="362"/>
                            <a:pt x="234" y="471"/>
                            <a:pt x="112" y="446"/>
                          </a:cubicBezTo>
                          <a:cubicBezTo>
                            <a:pt x="0" y="423"/>
                            <a:pt x="31" y="295"/>
                            <a:pt x="77" y="223"/>
                          </a:cubicBezTo>
                          <a:cubicBezTo>
                            <a:pt x="145" y="121"/>
                            <a:pt x="154" y="7"/>
                            <a:pt x="293" y="3"/>
                          </a:cubicBezTo>
                          <a:cubicBezTo>
                            <a:pt x="355" y="0"/>
                            <a:pt x="373" y="25"/>
                            <a:pt x="423" y="42"/>
                          </a:cubicBezTo>
                        </a:path>
                      </a:pathLst>
                    </a:custGeom>
                    <a:solidFill>
                      <a:srgbClr val="0A0A0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19" name="Freeform 153"/>
                    <p:cNvSpPr>
                      <a:spLocks/>
                    </p:cNvSpPr>
                    <p:nvPr/>
                  </p:nvSpPr>
                  <p:spPr bwMode="gray">
                    <a:xfrm>
                      <a:off x="9640888" y="-1103312"/>
                      <a:ext cx="2874963" cy="1687513"/>
                    </a:xfrm>
                    <a:custGeom>
                      <a:avLst/>
                      <a:gdLst/>
                      <a:ahLst/>
                      <a:cxnLst>
                        <a:cxn ang="0">
                          <a:pos x="50" y="60"/>
                        </a:cxn>
                        <a:cxn ang="0">
                          <a:pos x="5" y="229"/>
                        </a:cxn>
                        <a:cxn ang="0">
                          <a:pos x="135" y="283"/>
                        </a:cxn>
                        <a:cxn ang="0">
                          <a:pos x="238" y="270"/>
                        </a:cxn>
                        <a:cxn ang="0">
                          <a:pos x="332" y="345"/>
                        </a:cxn>
                        <a:cxn ang="0">
                          <a:pos x="468" y="386"/>
                        </a:cxn>
                        <a:cxn ang="0">
                          <a:pos x="663" y="321"/>
                        </a:cxn>
                        <a:cxn ang="0">
                          <a:pos x="539" y="238"/>
                        </a:cxn>
                        <a:cxn ang="0">
                          <a:pos x="447" y="140"/>
                        </a:cxn>
                        <a:cxn ang="0">
                          <a:pos x="267" y="13"/>
                        </a:cxn>
                        <a:cxn ang="0">
                          <a:pos x="24" y="60"/>
                        </a:cxn>
                      </a:cxnLst>
                      <a:rect l="0" t="0" r="r" b="b"/>
                      <a:pathLst>
                        <a:path w="767" h="450">
                          <a:moveTo>
                            <a:pt x="50" y="60"/>
                          </a:moveTo>
                          <a:cubicBezTo>
                            <a:pt x="14" y="107"/>
                            <a:pt x="0" y="167"/>
                            <a:pt x="5" y="229"/>
                          </a:cubicBezTo>
                          <a:cubicBezTo>
                            <a:pt x="48" y="241"/>
                            <a:pt x="91" y="278"/>
                            <a:pt x="135" y="283"/>
                          </a:cubicBezTo>
                          <a:cubicBezTo>
                            <a:pt x="190" y="291"/>
                            <a:pt x="183" y="242"/>
                            <a:pt x="238" y="270"/>
                          </a:cubicBezTo>
                          <a:cubicBezTo>
                            <a:pt x="271" y="288"/>
                            <a:pt x="300" y="327"/>
                            <a:pt x="332" y="345"/>
                          </a:cubicBezTo>
                          <a:cubicBezTo>
                            <a:pt x="384" y="375"/>
                            <a:pt x="410" y="375"/>
                            <a:pt x="468" y="386"/>
                          </a:cubicBezTo>
                          <a:cubicBezTo>
                            <a:pt x="528" y="397"/>
                            <a:pt x="767" y="450"/>
                            <a:pt x="663" y="321"/>
                          </a:cubicBezTo>
                          <a:cubicBezTo>
                            <a:pt x="633" y="284"/>
                            <a:pt x="578" y="270"/>
                            <a:pt x="539" y="238"/>
                          </a:cubicBezTo>
                          <a:cubicBezTo>
                            <a:pt x="504" y="208"/>
                            <a:pt x="479" y="171"/>
                            <a:pt x="447" y="140"/>
                          </a:cubicBezTo>
                          <a:cubicBezTo>
                            <a:pt x="396" y="91"/>
                            <a:pt x="336" y="27"/>
                            <a:pt x="267" y="13"/>
                          </a:cubicBezTo>
                          <a:cubicBezTo>
                            <a:pt x="205" y="0"/>
                            <a:pt x="67" y="12"/>
                            <a:pt x="24" y="60"/>
                          </a:cubicBezTo>
                        </a:path>
                      </a:pathLst>
                    </a:custGeom>
                    <a:solidFill>
                      <a:srgbClr val="0504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0" name="Freeform 154"/>
                    <p:cNvSpPr>
                      <a:spLocks/>
                    </p:cNvSpPr>
                    <p:nvPr/>
                  </p:nvSpPr>
                  <p:spPr bwMode="gray">
                    <a:xfrm>
                      <a:off x="6318250" y="-11580812"/>
                      <a:ext cx="5291138" cy="11188700"/>
                    </a:xfrm>
                    <a:custGeom>
                      <a:avLst/>
                      <a:gdLst/>
                      <a:ahLst/>
                      <a:cxnLst>
                        <a:cxn ang="0">
                          <a:pos x="197" y="75"/>
                        </a:cxn>
                        <a:cxn ang="0">
                          <a:pos x="73" y="356"/>
                        </a:cxn>
                        <a:cxn ang="0">
                          <a:pos x="32" y="651"/>
                        </a:cxn>
                        <a:cxn ang="0">
                          <a:pos x="80" y="787"/>
                        </a:cxn>
                        <a:cxn ang="0">
                          <a:pos x="86" y="962"/>
                        </a:cxn>
                        <a:cxn ang="0">
                          <a:pos x="88" y="1135"/>
                        </a:cxn>
                        <a:cxn ang="0">
                          <a:pos x="132" y="1295"/>
                        </a:cxn>
                        <a:cxn ang="0">
                          <a:pos x="190" y="1972"/>
                        </a:cxn>
                        <a:cxn ang="0">
                          <a:pos x="224" y="2117"/>
                        </a:cxn>
                        <a:cxn ang="0">
                          <a:pos x="210" y="2319"/>
                        </a:cxn>
                        <a:cxn ang="0">
                          <a:pos x="276" y="2456"/>
                        </a:cxn>
                        <a:cxn ang="0">
                          <a:pos x="308" y="2632"/>
                        </a:cxn>
                        <a:cxn ang="0">
                          <a:pos x="346" y="2921"/>
                        </a:cxn>
                        <a:cxn ang="0">
                          <a:pos x="620" y="2885"/>
                        </a:cxn>
                        <a:cxn ang="0">
                          <a:pos x="630" y="2593"/>
                        </a:cxn>
                        <a:cxn ang="0">
                          <a:pos x="568" y="2451"/>
                        </a:cxn>
                        <a:cxn ang="0">
                          <a:pos x="607" y="2311"/>
                        </a:cxn>
                        <a:cxn ang="0">
                          <a:pos x="595" y="1999"/>
                        </a:cxn>
                        <a:cxn ang="0">
                          <a:pos x="602" y="1654"/>
                        </a:cxn>
                        <a:cxn ang="0">
                          <a:pos x="608" y="1282"/>
                        </a:cxn>
                        <a:cxn ang="0">
                          <a:pos x="608" y="1104"/>
                        </a:cxn>
                        <a:cxn ang="0">
                          <a:pos x="621" y="949"/>
                        </a:cxn>
                        <a:cxn ang="0">
                          <a:pos x="623" y="924"/>
                        </a:cxn>
                        <a:cxn ang="0">
                          <a:pos x="732" y="1106"/>
                        </a:cxn>
                        <a:cxn ang="0">
                          <a:pos x="804" y="1360"/>
                        </a:cxn>
                        <a:cxn ang="0">
                          <a:pos x="909" y="1829"/>
                        </a:cxn>
                        <a:cxn ang="0">
                          <a:pos x="921" y="2047"/>
                        </a:cxn>
                        <a:cxn ang="0">
                          <a:pos x="946" y="2333"/>
                        </a:cxn>
                        <a:cxn ang="0">
                          <a:pos x="909" y="2879"/>
                        </a:cxn>
                        <a:cxn ang="0">
                          <a:pos x="1243" y="2895"/>
                        </a:cxn>
                        <a:cxn ang="0">
                          <a:pos x="1287" y="2771"/>
                        </a:cxn>
                        <a:cxn ang="0">
                          <a:pos x="1308" y="2593"/>
                        </a:cxn>
                        <a:cxn ang="0">
                          <a:pos x="1313" y="2188"/>
                        </a:cxn>
                        <a:cxn ang="0">
                          <a:pos x="1385" y="1791"/>
                        </a:cxn>
                        <a:cxn ang="0">
                          <a:pos x="1347" y="1445"/>
                        </a:cxn>
                        <a:cxn ang="0">
                          <a:pos x="1293" y="1036"/>
                        </a:cxn>
                        <a:cxn ang="0">
                          <a:pos x="1241" y="879"/>
                        </a:cxn>
                        <a:cxn ang="0">
                          <a:pos x="1182" y="736"/>
                        </a:cxn>
                        <a:cxn ang="0">
                          <a:pos x="1182" y="643"/>
                        </a:cxn>
                        <a:cxn ang="0">
                          <a:pos x="1207" y="564"/>
                        </a:cxn>
                        <a:cxn ang="0">
                          <a:pos x="1138" y="447"/>
                        </a:cxn>
                        <a:cxn ang="0">
                          <a:pos x="1053" y="263"/>
                        </a:cxn>
                        <a:cxn ang="0">
                          <a:pos x="959" y="83"/>
                        </a:cxn>
                        <a:cxn ang="0">
                          <a:pos x="493" y="11"/>
                        </a:cxn>
                        <a:cxn ang="0">
                          <a:pos x="191" y="82"/>
                        </a:cxn>
                      </a:cxnLst>
                      <a:rect l="0" t="0" r="r" b="b"/>
                      <a:pathLst>
                        <a:path w="1411" h="2984">
                          <a:moveTo>
                            <a:pt x="197" y="75"/>
                          </a:moveTo>
                          <a:cubicBezTo>
                            <a:pt x="107" y="162"/>
                            <a:pt x="73" y="221"/>
                            <a:pt x="73" y="356"/>
                          </a:cubicBezTo>
                          <a:cubicBezTo>
                            <a:pt x="74" y="455"/>
                            <a:pt x="0" y="550"/>
                            <a:pt x="32" y="651"/>
                          </a:cubicBezTo>
                          <a:cubicBezTo>
                            <a:pt x="48" y="699"/>
                            <a:pt x="72" y="735"/>
                            <a:pt x="80" y="787"/>
                          </a:cubicBezTo>
                          <a:cubicBezTo>
                            <a:pt x="88" y="845"/>
                            <a:pt x="86" y="903"/>
                            <a:pt x="86" y="962"/>
                          </a:cubicBezTo>
                          <a:cubicBezTo>
                            <a:pt x="86" y="1017"/>
                            <a:pt x="77" y="1082"/>
                            <a:pt x="88" y="1135"/>
                          </a:cubicBezTo>
                          <a:cubicBezTo>
                            <a:pt x="100" y="1196"/>
                            <a:pt x="131" y="1230"/>
                            <a:pt x="132" y="1295"/>
                          </a:cubicBezTo>
                          <a:cubicBezTo>
                            <a:pt x="134" y="1517"/>
                            <a:pt x="134" y="1760"/>
                            <a:pt x="190" y="1972"/>
                          </a:cubicBezTo>
                          <a:cubicBezTo>
                            <a:pt x="203" y="2021"/>
                            <a:pt x="227" y="2060"/>
                            <a:pt x="224" y="2117"/>
                          </a:cubicBezTo>
                          <a:cubicBezTo>
                            <a:pt x="220" y="2182"/>
                            <a:pt x="198" y="2251"/>
                            <a:pt x="210" y="2319"/>
                          </a:cubicBezTo>
                          <a:cubicBezTo>
                            <a:pt x="220" y="2371"/>
                            <a:pt x="262" y="2406"/>
                            <a:pt x="276" y="2456"/>
                          </a:cubicBezTo>
                          <a:cubicBezTo>
                            <a:pt x="290" y="2510"/>
                            <a:pt x="303" y="2576"/>
                            <a:pt x="308" y="2632"/>
                          </a:cubicBezTo>
                          <a:cubicBezTo>
                            <a:pt x="318" y="2735"/>
                            <a:pt x="251" y="2849"/>
                            <a:pt x="346" y="2921"/>
                          </a:cubicBezTo>
                          <a:cubicBezTo>
                            <a:pt x="429" y="2984"/>
                            <a:pt x="570" y="2964"/>
                            <a:pt x="620" y="2885"/>
                          </a:cubicBezTo>
                          <a:cubicBezTo>
                            <a:pt x="688" y="2777"/>
                            <a:pt x="671" y="2704"/>
                            <a:pt x="630" y="2593"/>
                          </a:cubicBezTo>
                          <a:cubicBezTo>
                            <a:pt x="612" y="2547"/>
                            <a:pt x="575" y="2500"/>
                            <a:pt x="568" y="2451"/>
                          </a:cubicBezTo>
                          <a:cubicBezTo>
                            <a:pt x="559" y="2394"/>
                            <a:pt x="593" y="2359"/>
                            <a:pt x="607" y="2311"/>
                          </a:cubicBezTo>
                          <a:cubicBezTo>
                            <a:pt x="640" y="2199"/>
                            <a:pt x="605" y="2104"/>
                            <a:pt x="595" y="1999"/>
                          </a:cubicBezTo>
                          <a:cubicBezTo>
                            <a:pt x="585" y="1880"/>
                            <a:pt x="602" y="1772"/>
                            <a:pt x="602" y="1654"/>
                          </a:cubicBezTo>
                          <a:cubicBezTo>
                            <a:pt x="602" y="1528"/>
                            <a:pt x="615" y="1407"/>
                            <a:pt x="608" y="1282"/>
                          </a:cubicBezTo>
                          <a:cubicBezTo>
                            <a:pt x="605" y="1224"/>
                            <a:pt x="606" y="1162"/>
                            <a:pt x="608" y="1104"/>
                          </a:cubicBezTo>
                          <a:cubicBezTo>
                            <a:pt x="610" y="1067"/>
                            <a:pt x="606" y="982"/>
                            <a:pt x="621" y="949"/>
                          </a:cubicBezTo>
                          <a:cubicBezTo>
                            <a:pt x="624" y="944"/>
                            <a:pt x="622" y="929"/>
                            <a:pt x="623" y="924"/>
                          </a:cubicBezTo>
                          <a:cubicBezTo>
                            <a:pt x="684" y="947"/>
                            <a:pt x="715" y="1047"/>
                            <a:pt x="732" y="1106"/>
                          </a:cubicBezTo>
                          <a:cubicBezTo>
                            <a:pt x="757" y="1191"/>
                            <a:pt x="789" y="1273"/>
                            <a:pt x="804" y="1360"/>
                          </a:cubicBezTo>
                          <a:cubicBezTo>
                            <a:pt x="832" y="1520"/>
                            <a:pt x="886" y="1669"/>
                            <a:pt x="909" y="1829"/>
                          </a:cubicBezTo>
                          <a:cubicBezTo>
                            <a:pt x="1006" y="1843"/>
                            <a:pt x="928" y="1994"/>
                            <a:pt x="921" y="2047"/>
                          </a:cubicBezTo>
                          <a:cubicBezTo>
                            <a:pt x="910" y="2146"/>
                            <a:pt x="955" y="2232"/>
                            <a:pt x="946" y="2333"/>
                          </a:cubicBezTo>
                          <a:cubicBezTo>
                            <a:pt x="930" y="2511"/>
                            <a:pt x="902" y="2701"/>
                            <a:pt x="909" y="2879"/>
                          </a:cubicBezTo>
                          <a:cubicBezTo>
                            <a:pt x="1023" y="2891"/>
                            <a:pt x="1134" y="2965"/>
                            <a:pt x="1243" y="2895"/>
                          </a:cubicBezTo>
                          <a:cubicBezTo>
                            <a:pt x="1296" y="2860"/>
                            <a:pt x="1284" y="2844"/>
                            <a:pt x="1287" y="2771"/>
                          </a:cubicBezTo>
                          <a:cubicBezTo>
                            <a:pt x="1289" y="2708"/>
                            <a:pt x="1299" y="2652"/>
                            <a:pt x="1308" y="2593"/>
                          </a:cubicBezTo>
                          <a:cubicBezTo>
                            <a:pt x="1327" y="2462"/>
                            <a:pt x="1306" y="2322"/>
                            <a:pt x="1313" y="2188"/>
                          </a:cubicBezTo>
                          <a:cubicBezTo>
                            <a:pt x="1320" y="2053"/>
                            <a:pt x="1356" y="1920"/>
                            <a:pt x="1385" y="1791"/>
                          </a:cubicBezTo>
                          <a:cubicBezTo>
                            <a:pt x="1411" y="1673"/>
                            <a:pt x="1390" y="1551"/>
                            <a:pt x="1347" y="1445"/>
                          </a:cubicBezTo>
                          <a:cubicBezTo>
                            <a:pt x="1296" y="1315"/>
                            <a:pt x="1312" y="1172"/>
                            <a:pt x="1293" y="1036"/>
                          </a:cubicBezTo>
                          <a:cubicBezTo>
                            <a:pt x="1284" y="969"/>
                            <a:pt x="1279" y="933"/>
                            <a:pt x="1241" y="879"/>
                          </a:cubicBezTo>
                          <a:cubicBezTo>
                            <a:pt x="1208" y="832"/>
                            <a:pt x="1186" y="795"/>
                            <a:pt x="1182" y="736"/>
                          </a:cubicBezTo>
                          <a:cubicBezTo>
                            <a:pt x="1181" y="707"/>
                            <a:pt x="1178" y="671"/>
                            <a:pt x="1182" y="643"/>
                          </a:cubicBezTo>
                          <a:cubicBezTo>
                            <a:pt x="1187" y="615"/>
                            <a:pt x="1206" y="590"/>
                            <a:pt x="1207" y="564"/>
                          </a:cubicBezTo>
                          <a:cubicBezTo>
                            <a:pt x="1209" y="513"/>
                            <a:pt x="1170" y="484"/>
                            <a:pt x="1138" y="447"/>
                          </a:cubicBezTo>
                          <a:cubicBezTo>
                            <a:pt x="1090" y="389"/>
                            <a:pt x="1066" y="337"/>
                            <a:pt x="1053" y="263"/>
                          </a:cubicBezTo>
                          <a:cubicBezTo>
                            <a:pt x="1039" y="178"/>
                            <a:pt x="1004" y="148"/>
                            <a:pt x="959" y="83"/>
                          </a:cubicBezTo>
                          <a:cubicBezTo>
                            <a:pt x="810" y="57"/>
                            <a:pt x="650" y="33"/>
                            <a:pt x="493" y="11"/>
                          </a:cubicBezTo>
                          <a:cubicBezTo>
                            <a:pt x="414" y="0"/>
                            <a:pt x="247" y="15"/>
                            <a:pt x="191" y="82"/>
                          </a:cubicBezTo>
                        </a:path>
                      </a:pathLst>
                    </a:custGeom>
                    <a:solidFill>
                      <a:srgbClr val="35343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1" name="Freeform 155"/>
                    <p:cNvSpPr>
                      <a:spLocks/>
                    </p:cNvSpPr>
                    <p:nvPr/>
                  </p:nvSpPr>
                  <p:spPr bwMode="gray">
                    <a:xfrm>
                      <a:off x="9775825" y="-4813300"/>
                      <a:ext cx="295275" cy="938213"/>
                    </a:xfrm>
                    <a:custGeom>
                      <a:avLst/>
                      <a:gdLst/>
                      <a:ahLst/>
                      <a:cxnLst>
                        <a:cxn ang="0">
                          <a:pos x="9" y="23"/>
                        </a:cxn>
                        <a:cxn ang="0">
                          <a:pos x="59" y="54"/>
                        </a:cxn>
                        <a:cxn ang="0">
                          <a:pos x="58" y="111"/>
                        </a:cxn>
                        <a:cxn ang="0">
                          <a:pos x="23" y="250"/>
                        </a:cxn>
                        <a:cxn ang="0">
                          <a:pos x="3" y="182"/>
                        </a:cxn>
                        <a:cxn ang="0">
                          <a:pos x="44" y="117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79" h="250">
                          <a:moveTo>
                            <a:pt x="9" y="23"/>
                          </a:moveTo>
                          <a:cubicBezTo>
                            <a:pt x="18" y="45"/>
                            <a:pt x="46" y="40"/>
                            <a:pt x="59" y="54"/>
                          </a:cubicBezTo>
                          <a:cubicBezTo>
                            <a:pt x="79" y="75"/>
                            <a:pt x="71" y="92"/>
                            <a:pt x="58" y="111"/>
                          </a:cubicBezTo>
                          <a:cubicBezTo>
                            <a:pt x="30" y="154"/>
                            <a:pt x="6" y="193"/>
                            <a:pt x="23" y="250"/>
                          </a:cubicBezTo>
                          <a:cubicBezTo>
                            <a:pt x="18" y="229"/>
                            <a:pt x="1" y="202"/>
                            <a:pt x="3" y="182"/>
                          </a:cubicBezTo>
                          <a:cubicBezTo>
                            <a:pt x="6" y="154"/>
                            <a:pt x="31" y="142"/>
                            <a:pt x="44" y="117"/>
                          </a:cubicBezTo>
                          <a:cubicBezTo>
                            <a:pt x="78" y="57"/>
                            <a:pt x="12" y="50"/>
                            <a:pt x="0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2" name="Freeform 156"/>
                    <p:cNvSpPr>
                      <a:spLocks/>
                    </p:cNvSpPr>
                    <p:nvPr/>
                  </p:nvSpPr>
                  <p:spPr bwMode="gray">
                    <a:xfrm>
                      <a:off x="10029825" y="-1485900"/>
                      <a:ext cx="1139825" cy="341313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72"/>
                        </a:cxn>
                        <a:cxn ang="0">
                          <a:pos x="85" y="42"/>
                        </a:cxn>
                        <a:cxn ang="0">
                          <a:pos x="157" y="20"/>
                        </a:cxn>
                        <a:cxn ang="0">
                          <a:pos x="278" y="43"/>
                        </a:cxn>
                        <a:cxn ang="0">
                          <a:pos x="131" y="42"/>
                        </a:cxn>
                        <a:cxn ang="0">
                          <a:pos x="0" y="91"/>
                        </a:cxn>
                      </a:cxnLst>
                      <a:rect l="0" t="0" r="r" b="b"/>
                      <a:pathLst>
                        <a:path w="304" h="91">
                          <a:moveTo>
                            <a:pt x="33" y="72"/>
                          </a:moveTo>
                          <a:cubicBezTo>
                            <a:pt x="51" y="66"/>
                            <a:pt x="66" y="50"/>
                            <a:pt x="85" y="42"/>
                          </a:cubicBezTo>
                          <a:cubicBezTo>
                            <a:pt x="108" y="32"/>
                            <a:pt x="133" y="28"/>
                            <a:pt x="157" y="20"/>
                          </a:cubicBezTo>
                          <a:cubicBezTo>
                            <a:pt x="173" y="14"/>
                            <a:pt x="304" y="0"/>
                            <a:pt x="278" y="43"/>
                          </a:cubicBezTo>
                          <a:cubicBezTo>
                            <a:pt x="269" y="60"/>
                            <a:pt x="153" y="42"/>
                            <a:pt x="131" y="42"/>
                          </a:cubicBezTo>
                          <a:cubicBezTo>
                            <a:pt x="96" y="44"/>
                            <a:pt x="26" y="68"/>
                            <a:pt x="0" y="91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3" name="Freeform 157"/>
                    <p:cNvSpPr>
                      <a:spLocks/>
                    </p:cNvSpPr>
                    <p:nvPr/>
                  </p:nvSpPr>
                  <p:spPr bwMode="gray">
                    <a:xfrm>
                      <a:off x="9669463" y="-5187950"/>
                      <a:ext cx="506413" cy="1216025"/>
                    </a:xfrm>
                    <a:custGeom>
                      <a:avLst/>
                      <a:gdLst/>
                      <a:ahLst/>
                      <a:cxnLst>
                        <a:cxn ang="0">
                          <a:pos x="37" y="116"/>
                        </a:cxn>
                        <a:cxn ang="0">
                          <a:pos x="79" y="207"/>
                        </a:cxn>
                        <a:cxn ang="0">
                          <a:pos x="50" y="324"/>
                        </a:cxn>
                        <a:cxn ang="0">
                          <a:pos x="125" y="155"/>
                        </a:cxn>
                        <a:cxn ang="0">
                          <a:pos x="64" y="76"/>
                        </a:cxn>
                        <a:cxn ang="0">
                          <a:pos x="27" y="0"/>
                        </a:cxn>
                        <a:cxn ang="0">
                          <a:pos x="31" y="110"/>
                        </a:cxn>
                      </a:cxnLst>
                      <a:rect l="0" t="0" r="r" b="b"/>
                      <a:pathLst>
                        <a:path w="135" h="324">
                          <a:moveTo>
                            <a:pt x="37" y="116"/>
                          </a:moveTo>
                          <a:cubicBezTo>
                            <a:pt x="66" y="145"/>
                            <a:pt x="107" y="158"/>
                            <a:pt x="79" y="207"/>
                          </a:cubicBezTo>
                          <a:cubicBezTo>
                            <a:pt x="66" y="231"/>
                            <a:pt x="0" y="299"/>
                            <a:pt x="50" y="324"/>
                          </a:cubicBezTo>
                          <a:cubicBezTo>
                            <a:pt x="52" y="250"/>
                            <a:pt x="135" y="230"/>
                            <a:pt x="125" y="155"/>
                          </a:cubicBezTo>
                          <a:cubicBezTo>
                            <a:pt x="120" y="112"/>
                            <a:pt x="88" y="108"/>
                            <a:pt x="64" y="76"/>
                          </a:cubicBezTo>
                          <a:cubicBezTo>
                            <a:pt x="46" y="51"/>
                            <a:pt x="42" y="24"/>
                            <a:pt x="27" y="0"/>
                          </a:cubicBezTo>
                          <a:cubicBezTo>
                            <a:pt x="3" y="31"/>
                            <a:pt x="9" y="80"/>
                            <a:pt x="31" y="11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4" name="Freeform 158"/>
                    <p:cNvSpPr>
                      <a:spLocks/>
                    </p:cNvSpPr>
                    <p:nvPr/>
                  </p:nvSpPr>
                  <p:spPr bwMode="gray">
                    <a:xfrm>
                      <a:off x="8897938" y="-8428037"/>
                      <a:ext cx="911225" cy="3905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"/>
                        </a:cxn>
                        <a:cxn ang="0">
                          <a:pos x="239" y="47"/>
                        </a:cxn>
                        <a:cxn ang="0">
                          <a:pos x="117" y="24"/>
                        </a:cxn>
                        <a:cxn ang="0">
                          <a:pos x="4" y="8"/>
                        </a:cxn>
                      </a:cxnLst>
                      <a:rect l="0" t="0" r="r" b="b"/>
                      <a:pathLst>
                        <a:path w="243" h="104">
                          <a:moveTo>
                            <a:pt x="0" y="5"/>
                          </a:moveTo>
                          <a:cubicBezTo>
                            <a:pt x="22" y="37"/>
                            <a:pt x="243" y="104"/>
                            <a:pt x="239" y="47"/>
                          </a:cubicBezTo>
                          <a:cubicBezTo>
                            <a:pt x="235" y="0"/>
                            <a:pt x="140" y="22"/>
                            <a:pt x="117" y="24"/>
                          </a:cubicBezTo>
                          <a:cubicBezTo>
                            <a:pt x="83" y="28"/>
                            <a:pt x="27" y="20"/>
                            <a:pt x="4" y="8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5" name="Freeform 159"/>
                    <p:cNvSpPr>
                      <a:spLocks/>
                    </p:cNvSpPr>
                    <p:nvPr/>
                  </p:nvSpPr>
                  <p:spPr bwMode="gray">
                    <a:xfrm>
                      <a:off x="6599238" y="-11161712"/>
                      <a:ext cx="3708400" cy="922338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22"/>
                        </a:cxn>
                        <a:cxn ang="0">
                          <a:pos x="277" y="61"/>
                        </a:cxn>
                        <a:cxn ang="0">
                          <a:pos x="494" y="74"/>
                        </a:cxn>
                        <a:cxn ang="0">
                          <a:pos x="735" y="72"/>
                        </a:cxn>
                        <a:cxn ang="0">
                          <a:pos x="968" y="42"/>
                        </a:cxn>
                        <a:cxn ang="0">
                          <a:pos x="755" y="217"/>
                        </a:cxn>
                        <a:cxn ang="0">
                          <a:pos x="422" y="237"/>
                        </a:cxn>
                        <a:cxn ang="0">
                          <a:pos x="142" y="165"/>
                        </a:cxn>
                        <a:cxn ang="0">
                          <a:pos x="11" y="133"/>
                        </a:cxn>
                        <a:cxn ang="0">
                          <a:pos x="64" y="9"/>
                        </a:cxn>
                      </a:cxnLst>
                      <a:rect l="0" t="0" r="r" b="b"/>
                      <a:pathLst>
                        <a:path w="989" h="246">
                          <a:moveTo>
                            <a:pt x="64" y="22"/>
                          </a:moveTo>
                          <a:cubicBezTo>
                            <a:pt x="117" y="11"/>
                            <a:pt x="219" y="52"/>
                            <a:pt x="277" y="61"/>
                          </a:cubicBezTo>
                          <a:cubicBezTo>
                            <a:pt x="350" y="72"/>
                            <a:pt x="416" y="74"/>
                            <a:pt x="494" y="74"/>
                          </a:cubicBezTo>
                          <a:cubicBezTo>
                            <a:pt x="575" y="74"/>
                            <a:pt x="658" y="84"/>
                            <a:pt x="735" y="72"/>
                          </a:cubicBezTo>
                          <a:cubicBezTo>
                            <a:pt x="817" y="60"/>
                            <a:pt x="882" y="38"/>
                            <a:pt x="968" y="42"/>
                          </a:cubicBezTo>
                          <a:cubicBezTo>
                            <a:pt x="989" y="190"/>
                            <a:pt x="876" y="211"/>
                            <a:pt x="755" y="217"/>
                          </a:cubicBezTo>
                          <a:cubicBezTo>
                            <a:pt x="644" y="223"/>
                            <a:pt x="530" y="246"/>
                            <a:pt x="422" y="237"/>
                          </a:cubicBezTo>
                          <a:cubicBezTo>
                            <a:pt x="327" y="229"/>
                            <a:pt x="238" y="182"/>
                            <a:pt x="142" y="165"/>
                          </a:cubicBezTo>
                          <a:cubicBezTo>
                            <a:pt x="93" y="157"/>
                            <a:pt x="30" y="186"/>
                            <a:pt x="11" y="133"/>
                          </a:cubicBezTo>
                          <a:cubicBezTo>
                            <a:pt x="0" y="99"/>
                            <a:pt x="20" y="0"/>
                            <a:pt x="64" y="9"/>
                          </a:cubicBezTo>
                        </a:path>
                      </a:pathLst>
                    </a:custGeom>
                    <a:solidFill>
                      <a:srgbClr val="0201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6" name="Freeform 160"/>
                    <p:cNvSpPr>
                      <a:spLocks/>
                    </p:cNvSpPr>
                    <p:nvPr/>
                  </p:nvSpPr>
                  <p:spPr bwMode="gray">
                    <a:xfrm>
                      <a:off x="8177213" y="-10958512"/>
                      <a:ext cx="1039813" cy="842963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39"/>
                        </a:cxn>
                        <a:cxn ang="0">
                          <a:pos x="111" y="21"/>
                        </a:cxn>
                        <a:cxn ang="0">
                          <a:pos x="205" y="165"/>
                        </a:cxn>
                        <a:cxn ang="0">
                          <a:pos x="3" y="201"/>
                        </a:cxn>
                        <a:cxn ang="0">
                          <a:pos x="2" y="171"/>
                        </a:cxn>
                        <a:cxn ang="0">
                          <a:pos x="184" y="138"/>
                        </a:cxn>
                        <a:cxn ang="0">
                          <a:pos x="14" y="53"/>
                        </a:cxn>
                      </a:cxnLst>
                      <a:rect l="0" t="0" r="r" b="b"/>
                      <a:pathLst>
                        <a:path w="277" h="225">
                          <a:moveTo>
                            <a:pt x="14" y="39"/>
                          </a:moveTo>
                          <a:cubicBezTo>
                            <a:pt x="26" y="0"/>
                            <a:pt x="77" y="13"/>
                            <a:pt x="111" y="21"/>
                          </a:cubicBezTo>
                          <a:cubicBezTo>
                            <a:pt x="147" y="64"/>
                            <a:pt x="277" y="65"/>
                            <a:pt x="205" y="165"/>
                          </a:cubicBezTo>
                          <a:cubicBezTo>
                            <a:pt x="166" y="219"/>
                            <a:pt x="60" y="225"/>
                            <a:pt x="3" y="201"/>
                          </a:cubicBezTo>
                          <a:cubicBezTo>
                            <a:pt x="0" y="192"/>
                            <a:pt x="1" y="181"/>
                            <a:pt x="2" y="171"/>
                          </a:cubicBezTo>
                          <a:cubicBezTo>
                            <a:pt x="47" y="169"/>
                            <a:pt x="174" y="202"/>
                            <a:pt x="184" y="138"/>
                          </a:cubicBezTo>
                          <a:cubicBezTo>
                            <a:pt x="197" y="61"/>
                            <a:pt x="59" y="65"/>
                            <a:pt x="14" y="53"/>
                          </a:cubicBezTo>
                        </a:path>
                      </a:pathLst>
                    </a:custGeom>
                    <a:solidFill>
                      <a:srgbClr val="C1C0B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7" name="Freeform 161"/>
                    <p:cNvSpPr>
                      <a:spLocks/>
                    </p:cNvSpPr>
                    <p:nvPr/>
                  </p:nvSpPr>
                  <p:spPr bwMode="gray">
                    <a:xfrm>
                      <a:off x="6472238" y="-17149762"/>
                      <a:ext cx="4079875" cy="6299200"/>
                    </a:xfrm>
                    <a:custGeom>
                      <a:avLst/>
                      <a:gdLst/>
                      <a:ahLst/>
                      <a:cxnLst>
                        <a:cxn ang="0">
                          <a:pos x="326" y="79"/>
                        </a:cxn>
                        <a:cxn ang="0">
                          <a:pos x="223" y="165"/>
                        </a:cxn>
                        <a:cxn ang="0">
                          <a:pos x="176" y="376"/>
                        </a:cxn>
                        <a:cxn ang="0">
                          <a:pos x="125" y="636"/>
                        </a:cxn>
                        <a:cxn ang="0">
                          <a:pos x="84" y="954"/>
                        </a:cxn>
                        <a:cxn ang="0">
                          <a:pos x="32" y="1171"/>
                        </a:cxn>
                        <a:cxn ang="0">
                          <a:pos x="21" y="1390"/>
                        </a:cxn>
                        <a:cxn ang="0">
                          <a:pos x="66" y="1561"/>
                        </a:cxn>
                        <a:cxn ang="0">
                          <a:pos x="208" y="1651"/>
                        </a:cxn>
                        <a:cxn ang="0">
                          <a:pos x="392" y="1658"/>
                        </a:cxn>
                        <a:cxn ang="0">
                          <a:pos x="561" y="1671"/>
                        </a:cxn>
                        <a:cxn ang="0">
                          <a:pos x="900" y="1658"/>
                        </a:cxn>
                        <a:cxn ang="0">
                          <a:pos x="1045" y="1612"/>
                        </a:cxn>
                        <a:cxn ang="0">
                          <a:pos x="1070" y="1374"/>
                        </a:cxn>
                        <a:cxn ang="0">
                          <a:pos x="1076" y="805"/>
                        </a:cxn>
                        <a:cxn ang="0">
                          <a:pos x="835" y="125"/>
                        </a:cxn>
                        <a:cxn ang="0">
                          <a:pos x="722" y="47"/>
                        </a:cxn>
                        <a:cxn ang="0">
                          <a:pos x="599" y="52"/>
                        </a:cxn>
                        <a:cxn ang="0">
                          <a:pos x="300" y="79"/>
                        </a:cxn>
                      </a:cxnLst>
                      <a:rect l="0" t="0" r="r" b="b"/>
                      <a:pathLst>
                        <a:path w="1088" h="1680">
                          <a:moveTo>
                            <a:pt x="326" y="79"/>
                          </a:moveTo>
                          <a:cubicBezTo>
                            <a:pt x="296" y="119"/>
                            <a:pt x="251" y="133"/>
                            <a:pt x="223" y="165"/>
                          </a:cubicBezTo>
                          <a:cubicBezTo>
                            <a:pt x="171" y="225"/>
                            <a:pt x="179" y="301"/>
                            <a:pt x="176" y="376"/>
                          </a:cubicBezTo>
                          <a:cubicBezTo>
                            <a:pt x="172" y="466"/>
                            <a:pt x="137" y="546"/>
                            <a:pt x="125" y="636"/>
                          </a:cubicBezTo>
                          <a:cubicBezTo>
                            <a:pt x="111" y="743"/>
                            <a:pt x="107" y="850"/>
                            <a:pt x="84" y="954"/>
                          </a:cubicBezTo>
                          <a:cubicBezTo>
                            <a:pt x="69" y="1026"/>
                            <a:pt x="39" y="1095"/>
                            <a:pt x="32" y="1171"/>
                          </a:cubicBezTo>
                          <a:cubicBezTo>
                            <a:pt x="25" y="1244"/>
                            <a:pt x="31" y="1322"/>
                            <a:pt x="21" y="1390"/>
                          </a:cubicBezTo>
                          <a:cubicBezTo>
                            <a:pt x="9" y="1472"/>
                            <a:pt x="0" y="1515"/>
                            <a:pt x="66" y="1561"/>
                          </a:cubicBezTo>
                          <a:cubicBezTo>
                            <a:pt x="111" y="1592"/>
                            <a:pt x="154" y="1641"/>
                            <a:pt x="208" y="1651"/>
                          </a:cubicBezTo>
                          <a:cubicBezTo>
                            <a:pt x="266" y="1663"/>
                            <a:pt x="334" y="1652"/>
                            <a:pt x="392" y="1658"/>
                          </a:cubicBezTo>
                          <a:cubicBezTo>
                            <a:pt x="446" y="1663"/>
                            <a:pt x="503" y="1671"/>
                            <a:pt x="561" y="1671"/>
                          </a:cubicBezTo>
                          <a:cubicBezTo>
                            <a:pt x="674" y="1671"/>
                            <a:pt x="793" y="1680"/>
                            <a:pt x="900" y="1658"/>
                          </a:cubicBezTo>
                          <a:cubicBezTo>
                            <a:pt x="942" y="1649"/>
                            <a:pt x="1014" y="1649"/>
                            <a:pt x="1045" y="1612"/>
                          </a:cubicBezTo>
                          <a:cubicBezTo>
                            <a:pt x="1088" y="1561"/>
                            <a:pt x="1070" y="1445"/>
                            <a:pt x="1070" y="1374"/>
                          </a:cubicBezTo>
                          <a:cubicBezTo>
                            <a:pt x="1070" y="1184"/>
                            <a:pt x="1076" y="994"/>
                            <a:pt x="1076" y="805"/>
                          </a:cubicBezTo>
                          <a:cubicBezTo>
                            <a:pt x="1076" y="561"/>
                            <a:pt x="1059" y="262"/>
                            <a:pt x="835" y="125"/>
                          </a:cubicBezTo>
                          <a:cubicBezTo>
                            <a:pt x="796" y="101"/>
                            <a:pt x="760" y="73"/>
                            <a:pt x="722" y="47"/>
                          </a:cubicBezTo>
                          <a:cubicBezTo>
                            <a:pt x="656" y="0"/>
                            <a:pt x="653" y="1"/>
                            <a:pt x="599" y="52"/>
                          </a:cubicBezTo>
                          <a:cubicBezTo>
                            <a:pt x="499" y="143"/>
                            <a:pt x="422" y="79"/>
                            <a:pt x="300" y="79"/>
                          </a:cubicBezTo>
                        </a:path>
                      </a:pathLst>
                    </a:custGeom>
                    <a:solidFill>
                      <a:srgbClr val="BDD5E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8" name="Freeform 162"/>
                    <p:cNvSpPr>
                      <a:spLocks/>
                    </p:cNvSpPr>
                    <p:nvPr/>
                  </p:nvSpPr>
                  <p:spPr bwMode="gray">
                    <a:xfrm>
                      <a:off x="6610350" y="-11847512"/>
                      <a:ext cx="487363" cy="839788"/>
                    </a:xfrm>
                    <a:custGeom>
                      <a:avLst/>
                      <a:gdLst/>
                      <a:ahLst/>
                      <a:cxnLst>
                        <a:cxn ang="0">
                          <a:pos x="130" y="224"/>
                        </a:cxn>
                        <a:cxn ang="0">
                          <a:pos x="61" y="117"/>
                        </a:cxn>
                        <a:cxn ang="0">
                          <a:pos x="16" y="0"/>
                        </a:cxn>
                        <a:cxn ang="0">
                          <a:pos x="45" y="130"/>
                        </a:cxn>
                        <a:cxn ang="0">
                          <a:pos x="70" y="197"/>
                        </a:cxn>
                      </a:cxnLst>
                      <a:rect l="0" t="0" r="r" b="b"/>
                      <a:pathLst>
                        <a:path w="130" h="224">
                          <a:moveTo>
                            <a:pt x="130" y="224"/>
                          </a:moveTo>
                          <a:cubicBezTo>
                            <a:pt x="113" y="187"/>
                            <a:pt x="85" y="149"/>
                            <a:pt x="61" y="117"/>
                          </a:cubicBezTo>
                          <a:cubicBezTo>
                            <a:pt x="32" y="78"/>
                            <a:pt x="24" y="47"/>
                            <a:pt x="16" y="0"/>
                          </a:cubicBezTo>
                          <a:cubicBezTo>
                            <a:pt x="0" y="52"/>
                            <a:pt x="26" y="88"/>
                            <a:pt x="45" y="130"/>
                          </a:cubicBezTo>
                          <a:cubicBezTo>
                            <a:pt x="58" y="158"/>
                            <a:pt x="39" y="186"/>
                            <a:pt x="70" y="197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29" name="Freeform 163"/>
                    <p:cNvSpPr>
                      <a:spLocks/>
                    </p:cNvSpPr>
                    <p:nvPr/>
                  </p:nvSpPr>
                  <p:spPr bwMode="gray">
                    <a:xfrm>
                      <a:off x="7513638" y="-11409362"/>
                      <a:ext cx="1662113" cy="53975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6"/>
                        </a:cxn>
                        <a:cxn ang="0">
                          <a:pos x="27" y="83"/>
                        </a:cxn>
                        <a:cxn ang="0">
                          <a:pos x="36" y="83"/>
                        </a:cxn>
                        <a:cxn ang="0">
                          <a:pos x="33" y="127"/>
                        </a:cxn>
                        <a:cxn ang="0">
                          <a:pos x="91" y="76"/>
                        </a:cxn>
                        <a:cxn ang="0">
                          <a:pos x="154" y="118"/>
                        </a:cxn>
                        <a:cxn ang="0">
                          <a:pos x="154" y="41"/>
                        </a:cxn>
                        <a:cxn ang="0">
                          <a:pos x="276" y="1"/>
                        </a:cxn>
                        <a:cxn ang="0">
                          <a:pos x="365" y="46"/>
                        </a:cxn>
                        <a:cxn ang="0">
                          <a:pos x="366" y="28"/>
                        </a:cxn>
                        <a:cxn ang="0">
                          <a:pos x="408" y="83"/>
                        </a:cxn>
                        <a:cxn ang="0">
                          <a:pos x="343" y="116"/>
                        </a:cxn>
                        <a:cxn ang="0">
                          <a:pos x="341" y="121"/>
                        </a:cxn>
                        <a:cxn ang="0">
                          <a:pos x="434" y="144"/>
                        </a:cxn>
                      </a:cxnLst>
                      <a:rect l="0" t="0" r="r" b="b"/>
                      <a:pathLst>
                        <a:path w="443" h="144">
                          <a:moveTo>
                            <a:pt x="0" y="126"/>
                          </a:moveTo>
                          <a:cubicBezTo>
                            <a:pt x="0" y="85"/>
                            <a:pt x="1" y="110"/>
                            <a:pt x="27" y="83"/>
                          </a:cubicBezTo>
                          <a:cubicBezTo>
                            <a:pt x="28" y="83"/>
                            <a:pt x="35" y="83"/>
                            <a:pt x="36" y="83"/>
                          </a:cubicBezTo>
                          <a:cubicBezTo>
                            <a:pt x="29" y="100"/>
                            <a:pt x="14" y="109"/>
                            <a:pt x="33" y="127"/>
                          </a:cubicBezTo>
                          <a:cubicBezTo>
                            <a:pt x="56" y="105"/>
                            <a:pt x="54" y="74"/>
                            <a:pt x="91" y="76"/>
                          </a:cubicBezTo>
                          <a:cubicBezTo>
                            <a:pt x="81" y="106"/>
                            <a:pt x="146" y="137"/>
                            <a:pt x="154" y="118"/>
                          </a:cubicBezTo>
                          <a:cubicBezTo>
                            <a:pt x="166" y="89"/>
                            <a:pt x="152" y="74"/>
                            <a:pt x="154" y="41"/>
                          </a:cubicBezTo>
                          <a:cubicBezTo>
                            <a:pt x="205" y="39"/>
                            <a:pt x="229" y="2"/>
                            <a:pt x="276" y="1"/>
                          </a:cubicBezTo>
                          <a:cubicBezTo>
                            <a:pt x="327" y="0"/>
                            <a:pt x="319" y="50"/>
                            <a:pt x="365" y="46"/>
                          </a:cubicBezTo>
                          <a:cubicBezTo>
                            <a:pt x="364" y="41"/>
                            <a:pt x="367" y="33"/>
                            <a:pt x="366" y="28"/>
                          </a:cubicBezTo>
                          <a:cubicBezTo>
                            <a:pt x="390" y="29"/>
                            <a:pt x="422" y="56"/>
                            <a:pt x="408" y="83"/>
                          </a:cubicBezTo>
                          <a:cubicBezTo>
                            <a:pt x="401" y="96"/>
                            <a:pt x="358" y="112"/>
                            <a:pt x="343" y="116"/>
                          </a:cubicBezTo>
                          <a:cubicBezTo>
                            <a:pt x="342" y="117"/>
                            <a:pt x="341" y="119"/>
                            <a:pt x="341" y="121"/>
                          </a:cubicBezTo>
                          <a:cubicBezTo>
                            <a:pt x="383" y="126"/>
                            <a:pt x="443" y="87"/>
                            <a:pt x="434" y="144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0" name="Freeform 164"/>
                    <p:cNvSpPr>
                      <a:spLocks/>
                    </p:cNvSpPr>
                    <p:nvPr/>
                  </p:nvSpPr>
                  <p:spPr bwMode="gray">
                    <a:xfrm>
                      <a:off x="9261475" y="-11528425"/>
                      <a:ext cx="573088" cy="655638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147"/>
                        </a:cxn>
                        <a:cxn ang="0">
                          <a:pos x="0" y="63"/>
                        </a:cxn>
                        <a:cxn ang="0">
                          <a:pos x="65" y="147"/>
                        </a:cxn>
                        <a:cxn ang="0">
                          <a:pos x="110" y="48"/>
                        </a:cxn>
                        <a:cxn ang="0">
                          <a:pos x="123" y="127"/>
                        </a:cxn>
                        <a:cxn ang="0">
                          <a:pos x="66" y="173"/>
                        </a:cxn>
                        <a:cxn ang="0">
                          <a:pos x="22" y="130"/>
                        </a:cxn>
                      </a:cxnLst>
                      <a:rect l="0" t="0" r="r" b="b"/>
                      <a:pathLst>
                        <a:path w="153" h="175">
                          <a:moveTo>
                            <a:pt x="35" y="147"/>
                          </a:moveTo>
                          <a:cubicBezTo>
                            <a:pt x="40" y="110"/>
                            <a:pt x="16" y="92"/>
                            <a:pt x="0" y="63"/>
                          </a:cubicBezTo>
                          <a:cubicBezTo>
                            <a:pt x="42" y="64"/>
                            <a:pt x="32" y="137"/>
                            <a:pt x="65" y="147"/>
                          </a:cubicBezTo>
                          <a:cubicBezTo>
                            <a:pt x="125" y="166"/>
                            <a:pt x="90" y="71"/>
                            <a:pt x="110" y="48"/>
                          </a:cubicBezTo>
                          <a:cubicBezTo>
                            <a:pt x="153" y="0"/>
                            <a:pt x="129" y="108"/>
                            <a:pt x="123" y="127"/>
                          </a:cubicBezTo>
                          <a:cubicBezTo>
                            <a:pt x="116" y="153"/>
                            <a:pt x="96" y="175"/>
                            <a:pt x="66" y="173"/>
                          </a:cubicBezTo>
                          <a:cubicBezTo>
                            <a:pt x="34" y="171"/>
                            <a:pt x="29" y="136"/>
                            <a:pt x="22" y="13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1" name="Freeform 165"/>
                    <p:cNvSpPr>
                      <a:spLocks/>
                    </p:cNvSpPr>
                    <p:nvPr/>
                  </p:nvSpPr>
                  <p:spPr bwMode="gray">
                    <a:xfrm>
                      <a:off x="7513638" y="-17716500"/>
                      <a:ext cx="1654175" cy="1973263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61"/>
                        </a:cxn>
                        <a:cxn ang="0">
                          <a:pos x="382" y="343"/>
                        </a:cxn>
                        <a:cxn ang="0">
                          <a:pos x="366" y="88"/>
                        </a:cxn>
                        <a:cxn ang="0">
                          <a:pos x="49" y="80"/>
                        </a:cxn>
                      </a:cxnLst>
                      <a:rect l="0" t="0" r="r" b="b"/>
                      <a:pathLst>
                        <a:path w="441" h="526">
                          <a:moveTo>
                            <a:pt x="26" y="61"/>
                          </a:moveTo>
                          <a:cubicBezTo>
                            <a:pt x="0" y="249"/>
                            <a:pt x="187" y="526"/>
                            <a:pt x="382" y="343"/>
                          </a:cubicBezTo>
                          <a:cubicBezTo>
                            <a:pt x="441" y="287"/>
                            <a:pt x="409" y="148"/>
                            <a:pt x="366" y="88"/>
                          </a:cubicBezTo>
                          <a:cubicBezTo>
                            <a:pt x="305" y="4"/>
                            <a:pt x="188" y="0"/>
                            <a:pt x="49" y="80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2" name="Freeform 167"/>
                    <p:cNvSpPr>
                      <a:spLocks/>
                    </p:cNvSpPr>
                    <p:nvPr/>
                  </p:nvSpPr>
                  <p:spPr bwMode="gray">
                    <a:xfrm>
                      <a:off x="10239375" y="-10583862"/>
                      <a:ext cx="919163" cy="1376363"/>
                    </a:xfrm>
                    <a:custGeom>
                      <a:avLst/>
                      <a:gdLst/>
                      <a:ahLst/>
                      <a:cxnLst>
                        <a:cxn ang="0">
                          <a:pos x="215" y="161"/>
                        </a:cxn>
                        <a:cxn ang="0">
                          <a:pos x="170" y="247"/>
                        </a:cxn>
                        <a:cxn ang="0">
                          <a:pos x="71" y="357"/>
                        </a:cxn>
                        <a:cxn ang="0">
                          <a:pos x="6" y="227"/>
                        </a:cxn>
                        <a:cxn ang="0">
                          <a:pos x="221" y="148"/>
                        </a:cxn>
                      </a:cxnLst>
                      <a:rect l="0" t="0" r="r" b="b"/>
                      <a:pathLst>
                        <a:path w="245" h="367">
                          <a:moveTo>
                            <a:pt x="215" y="161"/>
                          </a:moveTo>
                          <a:cubicBezTo>
                            <a:pt x="237" y="200"/>
                            <a:pt x="202" y="231"/>
                            <a:pt x="170" y="247"/>
                          </a:cubicBezTo>
                          <a:cubicBezTo>
                            <a:pt x="170" y="302"/>
                            <a:pt x="133" y="367"/>
                            <a:pt x="71" y="357"/>
                          </a:cubicBezTo>
                          <a:cubicBezTo>
                            <a:pt x="22" y="349"/>
                            <a:pt x="0" y="278"/>
                            <a:pt x="6" y="227"/>
                          </a:cubicBezTo>
                          <a:cubicBezTo>
                            <a:pt x="17" y="135"/>
                            <a:pt x="245" y="0"/>
                            <a:pt x="221" y="148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3" name="Freeform 169"/>
                    <p:cNvSpPr>
                      <a:spLocks/>
                    </p:cNvSpPr>
                    <p:nvPr/>
                  </p:nvSpPr>
                  <p:spPr bwMode="gray">
                    <a:xfrm>
                      <a:off x="8864600" y="-14843125"/>
                      <a:ext cx="1839913" cy="3438525"/>
                    </a:xfrm>
                    <a:custGeom>
                      <a:avLst/>
                      <a:gdLst/>
                      <a:ahLst/>
                      <a:cxnLst>
                        <a:cxn ang="0">
                          <a:pos x="127" y="186"/>
                        </a:cxn>
                        <a:cxn ang="0">
                          <a:pos x="7" y="0"/>
                        </a:cxn>
                        <a:cxn ang="0">
                          <a:pos x="133" y="262"/>
                        </a:cxn>
                        <a:cxn ang="0">
                          <a:pos x="124" y="299"/>
                        </a:cxn>
                        <a:cxn ang="0">
                          <a:pos x="79" y="250"/>
                        </a:cxn>
                        <a:cxn ang="0">
                          <a:pos x="26" y="252"/>
                        </a:cxn>
                        <a:cxn ang="0">
                          <a:pos x="49" y="316"/>
                        </a:cxn>
                        <a:cxn ang="0">
                          <a:pos x="107" y="382"/>
                        </a:cxn>
                        <a:cxn ang="0">
                          <a:pos x="143" y="519"/>
                        </a:cxn>
                        <a:cxn ang="0">
                          <a:pos x="111" y="639"/>
                        </a:cxn>
                        <a:cxn ang="0">
                          <a:pos x="179" y="614"/>
                        </a:cxn>
                        <a:cxn ang="0">
                          <a:pos x="111" y="698"/>
                        </a:cxn>
                        <a:cxn ang="0">
                          <a:pos x="72" y="805"/>
                        </a:cxn>
                        <a:cxn ang="0">
                          <a:pos x="166" y="731"/>
                        </a:cxn>
                        <a:cxn ang="0">
                          <a:pos x="234" y="799"/>
                        </a:cxn>
                        <a:cxn ang="0">
                          <a:pos x="286" y="777"/>
                        </a:cxn>
                        <a:cxn ang="0">
                          <a:pos x="266" y="847"/>
                        </a:cxn>
                        <a:cxn ang="0">
                          <a:pos x="244" y="903"/>
                        </a:cxn>
                        <a:cxn ang="0">
                          <a:pos x="310" y="877"/>
                        </a:cxn>
                        <a:cxn ang="0">
                          <a:pos x="385" y="803"/>
                        </a:cxn>
                        <a:cxn ang="0">
                          <a:pos x="431" y="689"/>
                        </a:cxn>
                        <a:cxn ang="0">
                          <a:pos x="466" y="542"/>
                        </a:cxn>
                        <a:cxn ang="0">
                          <a:pos x="402" y="237"/>
                        </a:cxn>
                        <a:cxn ang="0">
                          <a:pos x="323" y="186"/>
                        </a:cxn>
                        <a:cxn ang="0">
                          <a:pos x="248" y="209"/>
                        </a:cxn>
                        <a:cxn ang="0">
                          <a:pos x="111" y="180"/>
                        </a:cxn>
                        <a:cxn ang="0">
                          <a:pos x="124" y="183"/>
                        </a:cxn>
                      </a:cxnLst>
                      <a:rect l="0" t="0" r="r" b="b"/>
                      <a:pathLst>
                        <a:path w="491" h="917">
                          <a:moveTo>
                            <a:pt x="127" y="186"/>
                          </a:moveTo>
                          <a:cubicBezTo>
                            <a:pt x="43" y="152"/>
                            <a:pt x="50" y="58"/>
                            <a:pt x="7" y="0"/>
                          </a:cubicBezTo>
                          <a:cubicBezTo>
                            <a:pt x="0" y="103"/>
                            <a:pt x="76" y="187"/>
                            <a:pt x="133" y="262"/>
                          </a:cubicBezTo>
                          <a:cubicBezTo>
                            <a:pt x="148" y="281"/>
                            <a:pt x="166" y="312"/>
                            <a:pt x="124" y="299"/>
                          </a:cubicBezTo>
                          <a:cubicBezTo>
                            <a:pt x="105" y="293"/>
                            <a:pt x="92" y="263"/>
                            <a:pt x="79" y="250"/>
                          </a:cubicBezTo>
                          <a:cubicBezTo>
                            <a:pt x="61" y="233"/>
                            <a:pt x="38" y="221"/>
                            <a:pt x="26" y="252"/>
                          </a:cubicBezTo>
                          <a:cubicBezTo>
                            <a:pt x="17" y="276"/>
                            <a:pt x="37" y="298"/>
                            <a:pt x="49" y="316"/>
                          </a:cubicBezTo>
                          <a:cubicBezTo>
                            <a:pt x="68" y="343"/>
                            <a:pt x="66" y="399"/>
                            <a:pt x="107" y="382"/>
                          </a:cubicBezTo>
                          <a:cubicBezTo>
                            <a:pt x="108" y="429"/>
                            <a:pt x="122" y="480"/>
                            <a:pt x="143" y="519"/>
                          </a:cubicBezTo>
                          <a:cubicBezTo>
                            <a:pt x="176" y="579"/>
                            <a:pt x="150" y="590"/>
                            <a:pt x="111" y="639"/>
                          </a:cubicBezTo>
                          <a:cubicBezTo>
                            <a:pt x="137" y="643"/>
                            <a:pt x="162" y="633"/>
                            <a:pt x="179" y="614"/>
                          </a:cubicBezTo>
                          <a:cubicBezTo>
                            <a:pt x="170" y="648"/>
                            <a:pt x="134" y="672"/>
                            <a:pt x="111" y="698"/>
                          </a:cubicBezTo>
                          <a:cubicBezTo>
                            <a:pt x="79" y="735"/>
                            <a:pt x="69" y="757"/>
                            <a:pt x="72" y="805"/>
                          </a:cubicBezTo>
                          <a:cubicBezTo>
                            <a:pt x="112" y="798"/>
                            <a:pt x="132" y="736"/>
                            <a:pt x="166" y="731"/>
                          </a:cubicBezTo>
                          <a:cubicBezTo>
                            <a:pt x="222" y="722"/>
                            <a:pt x="192" y="808"/>
                            <a:pt x="234" y="799"/>
                          </a:cubicBezTo>
                          <a:cubicBezTo>
                            <a:pt x="245" y="776"/>
                            <a:pt x="261" y="768"/>
                            <a:pt x="286" y="777"/>
                          </a:cubicBezTo>
                          <a:cubicBezTo>
                            <a:pt x="287" y="806"/>
                            <a:pt x="284" y="827"/>
                            <a:pt x="266" y="847"/>
                          </a:cubicBezTo>
                          <a:cubicBezTo>
                            <a:pt x="255" y="859"/>
                            <a:pt x="218" y="882"/>
                            <a:pt x="244" y="903"/>
                          </a:cubicBezTo>
                          <a:cubicBezTo>
                            <a:pt x="262" y="917"/>
                            <a:pt x="299" y="886"/>
                            <a:pt x="310" y="877"/>
                          </a:cubicBezTo>
                          <a:cubicBezTo>
                            <a:pt x="332" y="857"/>
                            <a:pt x="368" y="827"/>
                            <a:pt x="385" y="803"/>
                          </a:cubicBezTo>
                          <a:cubicBezTo>
                            <a:pt x="407" y="770"/>
                            <a:pt x="415" y="725"/>
                            <a:pt x="431" y="689"/>
                          </a:cubicBezTo>
                          <a:cubicBezTo>
                            <a:pt x="451" y="642"/>
                            <a:pt x="460" y="593"/>
                            <a:pt x="466" y="542"/>
                          </a:cubicBezTo>
                          <a:cubicBezTo>
                            <a:pt x="480" y="434"/>
                            <a:pt x="491" y="313"/>
                            <a:pt x="402" y="237"/>
                          </a:cubicBezTo>
                          <a:cubicBezTo>
                            <a:pt x="384" y="222"/>
                            <a:pt x="347" y="187"/>
                            <a:pt x="323" y="186"/>
                          </a:cubicBezTo>
                          <a:cubicBezTo>
                            <a:pt x="295" y="184"/>
                            <a:pt x="278" y="208"/>
                            <a:pt x="248" y="209"/>
                          </a:cubicBezTo>
                          <a:cubicBezTo>
                            <a:pt x="208" y="209"/>
                            <a:pt x="143" y="202"/>
                            <a:pt x="111" y="180"/>
                          </a:cubicBezTo>
                          <a:cubicBezTo>
                            <a:pt x="117" y="178"/>
                            <a:pt x="118" y="182"/>
                            <a:pt x="124" y="183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4" name="Freeform 170"/>
                    <p:cNvSpPr>
                      <a:spLocks/>
                    </p:cNvSpPr>
                    <p:nvPr/>
                  </p:nvSpPr>
                  <p:spPr bwMode="gray">
                    <a:xfrm>
                      <a:off x="6861175" y="-13598525"/>
                      <a:ext cx="922338" cy="1770063"/>
                    </a:xfrm>
                    <a:custGeom>
                      <a:avLst/>
                      <a:gdLst/>
                      <a:ahLst/>
                      <a:cxnLst>
                        <a:cxn ang="0">
                          <a:pos x="224" y="69"/>
                        </a:cxn>
                        <a:cxn ang="0">
                          <a:pos x="194" y="288"/>
                        </a:cxn>
                        <a:cxn ang="0">
                          <a:pos x="158" y="326"/>
                        </a:cxn>
                        <a:cxn ang="0">
                          <a:pos x="103" y="347"/>
                        </a:cxn>
                        <a:cxn ang="0">
                          <a:pos x="109" y="467"/>
                        </a:cxn>
                        <a:cxn ang="0">
                          <a:pos x="76" y="455"/>
                        </a:cxn>
                        <a:cxn ang="0">
                          <a:pos x="31" y="451"/>
                        </a:cxn>
                        <a:cxn ang="0">
                          <a:pos x="5" y="386"/>
                        </a:cxn>
                        <a:cxn ang="0">
                          <a:pos x="93" y="278"/>
                        </a:cxn>
                        <a:cxn ang="0">
                          <a:pos x="106" y="199"/>
                        </a:cxn>
                        <a:cxn ang="0">
                          <a:pos x="149" y="145"/>
                        </a:cxn>
                        <a:cxn ang="0">
                          <a:pos x="220" y="18"/>
                        </a:cxn>
                        <a:cxn ang="0">
                          <a:pos x="204" y="105"/>
                        </a:cxn>
                      </a:cxnLst>
                      <a:rect l="0" t="0" r="r" b="b"/>
                      <a:pathLst>
                        <a:path w="246" h="472">
                          <a:moveTo>
                            <a:pt x="224" y="69"/>
                          </a:moveTo>
                          <a:cubicBezTo>
                            <a:pt x="166" y="133"/>
                            <a:pt x="246" y="222"/>
                            <a:pt x="194" y="288"/>
                          </a:cubicBezTo>
                          <a:cubicBezTo>
                            <a:pt x="186" y="298"/>
                            <a:pt x="170" y="320"/>
                            <a:pt x="158" y="326"/>
                          </a:cubicBezTo>
                          <a:cubicBezTo>
                            <a:pt x="135" y="337"/>
                            <a:pt x="121" y="326"/>
                            <a:pt x="103" y="347"/>
                          </a:cubicBezTo>
                          <a:cubicBezTo>
                            <a:pt x="78" y="376"/>
                            <a:pt x="86" y="438"/>
                            <a:pt x="109" y="467"/>
                          </a:cubicBezTo>
                          <a:cubicBezTo>
                            <a:pt x="91" y="472"/>
                            <a:pt x="89" y="458"/>
                            <a:pt x="76" y="455"/>
                          </a:cubicBezTo>
                          <a:cubicBezTo>
                            <a:pt x="62" y="451"/>
                            <a:pt x="44" y="456"/>
                            <a:pt x="31" y="451"/>
                          </a:cubicBezTo>
                          <a:cubicBezTo>
                            <a:pt x="6" y="442"/>
                            <a:pt x="0" y="411"/>
                            <a:pt x="5" y="386"/>
                          </a:cubicBezTo>
                          <a:cubicBezTo>
                            <a:pt x="16" y="334"/>
                            <a:pt x="83" y="333"/>
                            <a:pt x="93" y="278"/>
                          </a:cubicBezTo>
                          <a:cubicBezTo>
                            <a:pt x="99" y="250"/>
                            <a:pt x="91" y="224"/>
                            <a:pt x="106" y="199"/>
                          </a:cubicBezTo>
                          <a:cubicBezTo>
                            <a:pt x="119" y="179"/>
                            <a:pt x="139" y="167"/>
                            <a:pt x="149" y="145"/>
                          </a:cubicBezTo>
                          <a:cubicBezTo>
                            <a:pt x="162" y="116"/>
                            <a:pt x="163" y="0"/>
                            <a:pt x="220" y="18"/>
                          </a:cubicBezTo>
                          <a:cubicBezTo>
                            <a:pt x="227" y="61"/>
                            <a:pt x="223" y="71"/>
                            <a:pt x="204" y="105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5" name="Freeform 171"/>
                    <p:cNvSpPr>
                      <a:spLocks/>
                    </p:cNvSpPr>
                    <p:nvPr/>
                  </p:nvSpPr>
                  <p:spPr bwMode="gray">
                    <a:xfrm>
                      <a:off x="7165975" y="-15492412"/>
                      <a:ext cx="501650" cy="1219200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3"/>
                        </a:cxn>
                        <a:cxn ang="0">
                          <a:pos x="43" y="294"/>
                        </a:cxn>
                        <a:cxn ang="0">
                          <a:pos x="2" y="266"/>
                        </a:cxn>
                        <a:cxn ang="0">
                          <a:pos x="9" y="134"/>
                        </a:cxn>
                        <a:cxn ang="0">
                          <a:pos x="61" y="0"/>
                        </a:cxn>
                      </a:cxnLst>
                      <a:rect l="0" t="0" r="r" b="b"/>
                      <a:pathLst>
                        <a:path w="134" h="325">
                          <a:moveTo>
                            <a:pt x="48" y="3"/>
                          </a:moveTo>
                          <a:cubicBezTo>
                            <a:pt x="134" y="34"/>
                            <a:pt x="93" y="246"/>
                            <a:pt x="43" y="294"/>
                          </a:cubicBezTo>
                          <a:cubicBezTo>
                            <a:pt x="10" y="325"/>
                            <a:pt x="0" y="313"/>
                            <a:pt x="2" y="266"/>
                          </a:cubicBezTo>
                          <a:cubicBezTo>
                            <a:pt x="5" y="222"/>
                            <a:pt x="11" y="179"/>
                            <a:pt x="9" y="134"/>
                          </a:cubicBezTo>
                          <a:cubicBezTo>
                            <a:pt x="6" y="67"/>
                            <a:pt x="2" y="34"/>
                            <a:pt x="61" y="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6" name="Freeform 172"/>
                    <p:cNvSpPr>
                      <a:spLocks/>
                    </p:cNvSpPr>
                    <p:nvPr/>
                  </p:nvSpPr>
                  <p:spPr bwMode="gray">
                    <a:xfrm>
                      <a:off x="9036050" y="-15932150"/>
                      <a:ext cx="558800" cy="1500188"/>
                    </a:xfrm>
                    <a:custGeom>
                      <a:avLst/>
                      <a:gdLst/>
                      <a:ahLst/>
                      <a:cxnLst>
                        <a:cxn ang="0">
                          <a:pos x="25" y="0"/>
                        </a:cxn>
                        <a:cxn ang="0">
                          <a:pos x="65" y="217"/>
                        </a:cxn>
                        <a:cxn ang="0">
                          <a:pos x="98" y="310"/>
                        </a:cxn>
                        <a:cxn ang="0">
                          <a:pos x="149" y="394"/>
                        </a:cxn>
                        <a:cxn ang="0">
                          <a:pos x="55" y="267"/>
                        </a:cxn>
                        <a:cxn ang="0">
                          <a:pos x="21" y="176"/>
                        </a:cxn>
                        <a:cxn ang="0">
                          <a:pos x="3" y="85"/>
                        </a:cxn>
                        <a:cxn ang="0">
                          <a:pos x="29" y="144"/>
                        </a:cxn>
                        <a:cxn ang="0">
                          <a:pos x="38" y="65"/>
                        </a:cxn>
                      </a:cxnLst>
                      <a:rect l="0" t="0" r="r" b="b"/>
                      <a:pathLst>
                        <a:path w="149" h="400">
                          <a:moveTo>
                            <a:pt x="25" y="0"/>
                          </a:moveTo>
                          <a:cubicBezTo>
                            <a:pt x="26" y="76"/>
                            <a:pt x="51" y="144"/>
                            <a:pt x="65" y="217"/>
                          </a:cubicBezTo>
                          <a:cubicBezTo>
                            <a:pt x="71" y="251"/>
                            <a:pt x="77" y="281"/>
                            <a:pt x="98" y="310"/>
                          </a:cubicBezTo>
                          <a:cubicBezTo>
                            <a:pt x="116" y="335"/>
                            <a:pt x="144" y="362"/>
                            <a:pt x="149" y="394"/>
                          </a:cubicBezTo>
                          <a:cubicBezTo>
                            <a:pt x="107" y="400"/>
                            <a:pt x="68" y="296"/>
                            <a:pt x="55" y="267"/>
                          </a:cubicBezTo>
                          <a:cubicBezTo>
                            <a:pt x="43" y="238"/>
                            <a:pt x="30" y="208"/>
                            <a:pt x="21" y="176"/>
                          </a:cubicBezTo>
                          <a:cubicBezTo>
                            <a:pt x="14" y="146"/>
                            <a:pt x="17" y="111"/>
                            <a:pt x="3" y="85"/>
                          </a:cubicBezTo>
                          <a:cubicBezTo>
                            <a:pt x="0" y="102"/>
                            <a:pt x="14" y="134"/>
                            <a:pt x="29" y="144"/>
                          </a:cubicBezTo>
                          <a:cubicBezTo>
                            <a:pt x="42" y="122"/>
                            <a:pt x="38" y="92"/>
                            <a:pt x="38" y="65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7" name="Freeform 173"/>
                    <p:cNvSpPr>
                      <a:spLocks/>
                    </p:cNvSpPr>
                    <p:nvPr/>
                  </p:nvSpPr>
                  <p:spPr bwMode="gray">
                    <a:xfrm>
                      <a:off x="8248650" y="-16868775"/>
                      <a:ext cx="1222375" cy="1260475"/>
                    </a:xfrm>
                    <a:custGeom>
                      <a:avLst/>
                      <a:gdLst/>
                      <a:ahLst/>
                      <a:cxnLst>
                        <a:cxn ang="0">
                          <a:pos x="177" y="266"/>
                        </a:cxn>
                        <a:cxn ang="0">
                          <a:pos x="267" y="187"/>
                        </a:cxn>
                        <a:cxn ang="0">
                          <a:pos x="282" y="34"/>
                        </a:cxn>
                        <a:cxn ang="0">
                          <a:pos x="180" y="188"/>
                        </a:cxn>
                        <a:cxn ang="0">
                          <a:pos x="169" y="275"/>
                        </a:cxn>
                        <a:cxn ang="0">
                          <a:pos x="134" y="282"/>
                        </a:cxn>
                        <a:cxn ang="0">
                          <a:pos x="115" y="282"/>
                        </a:cxn>
                        <a:cxn ang="0">
                          <a:pos x="104" y="298"/>
                        </a:cxn>
                        <a:cxn ang="0">
                          <a:pos x="24" y="260"/>
                        </a:cxn>
                        <a:cxn ang="0">
                          <a:pos x="144" y="155"/>
                        </a:cxn>
                      </a:cxnLst>
                      <a:rect l="0" t="0" r="r" b="b"/>
                      <a:pathLst>
                        <a:path w="326" h="336">
                          <a:moveTo>
                            <a:pt x="177" y="266"/>
                          </a:moveTo>
                          <a:cubicBezTo>
                            <a:pt x="186" y="318"/>
                            <a:pt x="258" y="202"/>
                            <a:pt x="267" y="187"/>
                          </a:cubicBezTo>
                          <a:cubicBezTo>
                            <a:pt x="287" y="153"/>
                            <a:pt x="326" y="57"/>
                            <a:pt x="282" y="34"/>
                          </a:cubicBezTo>
                          <a:cubicBezTo>
                            <a:pt x="213" y="0"/>
                            <a:pt x="180" y="141"/>
                            <a:pt x="180" y="188"/>
                          </a:cubicBezTo>
                          <a:cubicBezTo>
                            <a:pt x="180" y="212"/>
                            <a:pt x="189" y="258"/>
                            <a:pt x="169" y="275"/>
                          </a:cubicBezTo>
                          <a:cubicBezTo>
                            <a:pt x="163" y="281"/>
                            <a:pt x="143" y="280"/>
                            <a:pt x="134" y="282"/>
                          </a:cubicBezTo>
                          <a:cubicBezTo>
                            <a:pt x="129" y="284"/>
                            <a:pt x="120" y="280"/>
                            <a:pt x="115" y="282"/>
                          </a:cubicBezTo>
                          <a:cubicBezTo>
                            <a:pt x="107" y="286"/>
                            <a:pt x="110" y="295"/>
                            <a:pt x="104" y="298"/>
                          </a:cubicBezTo>
                          <a:cubicBezTo>
                            <a:pt x="60" y="325"/>
                            <a:pt x="0" y="336"/>
                            <a:pt x="24" y="260"/>
                          </a:cubicBezTo>
                          <a:cubicBezTo>
                            <a:pt x="42" y="204"/>
                            <a:pt x="110" y="200"/>
                            <a:pt x="144" y="155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8" name="Freeform 174"/>
                    <p:cNvSpPr>
                      <a:spLocks/>
                    </p:cNvSpPr>
                    <p:nvPr/>
                  </p:nvSpPr>
                  <p:spPr bwMode="gray">
                    <a:xfrm>
                      <a:off x="7356475" y="-16684625"/>
                      <a:ext cx="933450" cy="10795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8"/>
                        </a:cxn>
                        <a:cxn ang="0">
                          <a:pos x="24" y="96"/>
                        </a:cxn>
                        <a:cxn ang="0">
                          <a:pos x="55" y="156"/>
                        </a:cxn>
                        <a:cxn ang="0">
                          <a:pos x="92" y="288"/>
                        </a:cxn>
                        <a:cxn ang="0">
                          <a:pos x="108" y="237"/>
                        </a:cxn>
                        <a:cxn ang="0">
                          <a:pos x="158" y="244"/>
                        </a:cxn>
                        <a:cxn ang="0">
                          <a:pos x="190" y="230"/>
                        </a:cxn>
                        <a:cxn ang="0">
                          <a:pos x="213" y="247"/>
                        </a:cxn>
                        <a:cxn ang="0">
                          <a:pos x="233" y="216"/>
                        </a:cxn>
                        <a:cxn ang="0">
                          <a:pos x="174" y="180"/>
                        </a:cxn>
                        <a:cxn ang="0">
                          <a:pos x="115" y="110"/>
                        </a:cxn>
                        <a:cxn ang="0">
                          <a:pos x="76" y="35"/>
                        </a:cxn>
                        <a:cxn ang="0">
                          <a:pos x="0" y="41"/>
                        </a:cxn>
                      </a:cxnLst>
                      <a:rect l="0" t="0" r="r" b="b"/>
                      <a:pathLst>
                        <a:path w="249" h="288">
                          <a:moveTo>
                            <a:pt x="0" y="38"/>
                          </a:moveTo>
                          <a:cubicBezTo>
                            <a:pt x="15" y="53"/>
                            <a:pt x="15" y="78"/>
                            <a:pt x="24" y="96"/>
                          </a:cubicBezTo>
                          <a:cubicBezTo>
                            <a:pt x="35" y="117"/>
                            <a:pt x="47" y="134"/>
                            <a:pt x="55" y="156"/>
                          </a:cubicBezTo>
                          <a:cubicBezTo>
                            <a:pt x="72" y="201"/>
                            <a:pt x="79" y="242"/>
                            <a:pt x="92" y="288"/>
                          </a:cubicBezTo>
                          <a:cubicBezTo>
                            <a:pt x="92" y="266"/>
                            <a:pt x="87" y="247"/>
                            <a:pt x="108" y="237"/>
                          </a:cubicBezTo>
                          <a:cubicBezTo>
                            <a:pt x="128" y="227"/>
                            <a:pt x="142" y="245"/>
                            <a:pt x="158" y="244"/>
                          </a:cubicBezTo>
                          <a:cubicBezTo>
                            <a:pt x="170" y="243"/>
                            <a:pt x="175" y="229"/>
                            <a:pt x="190" y="230"/>
                          </a:cubicBezTo>
                          <a:cubicBezTo>
                            <a:pt x="203" y="231"/>
                            <a:pt x="208" y="245"/>
                            <a:pt x="213" y="247"/>
                          </a:cubicBezTo>
                          <a:cubicBezTo>
                            <a:pt x="236" y="252"/>
                            <a:pt x="249" y="241"/>
                            <a:pt x="233" y="216"/>
                          </a:cubicBezTo>
                          <a:cubicBezTo>
                            <a:pt x="223" y="201"/>
                            <a:pt x="190" y="191"/>
                            <a:pt x="174" y="180"/>
                          </a:cubicBezTo>
                          <a:cubicBezTo>
                            <a:pt x="147" y="162"/>
                            <a:pt x="131" y="138"/>
                            <a:pt x="115" y="110"/>
                          </a:cubicBezTo>
                          <a:cubicBezTo>
                            <a:pt x="102" y="85"/>
                            <a:pt x="94" y="57"/>
                            <a:pt x="76" y="35"/>
                          </a:cubicBezTo>
                          <a:cubicBezTo>
                            <a:pt x="47" y="0"/>
                            <a:pt x="35" y="24"/>
                            <a:pt x="0" y="41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39" name="Freeform 175"/>
                    <p:cNvSpPr>
                      <a:spLocks/>
                    </p:cNvSpPr>
                    <p:nvPr/>
                  </p:nvSpPr>
                  <p:spPr bwMode="gray">
                    <a:xfrm>
                      <a:off x="7866063" y="-2540000"/>
                      <a:ext cx="919163" cy="2036763"/>
                    </a:xfrm>
                    <a:custGeom>
                      <a:avLst/>
                      <a:gdLst/>
                      <a:ahLst/>
                      <a:cxnLst>
                        <a:cxn ang="0">
                          <a:pos x="140" y="0"/>
                        </a:cxn>
                        <a:cxn ang="0">
                          <a:pos x="114" y="115"/>
                        </a:cxn>
                        <a:cxn ang="0">
                          <a:pos x="155" y="167"/>
                        </a:cxn>
                        <a:cxn ang="0">
                          <a:pos x="167" y="253"/>
                        </a:cxn>
                        <a:cxn ang="0">
                          <a:pos x="163" y="300"/>
                        </a:cxn>
                        <a:cxn ang="0">
                          <a:pos x="179" y="347"/>
                        </a:cxn>
                        <a:cxn ang="0">
                          <a:pos x="137" y="385"/>
                        </a:cxn>
                        <a:cxn ang="0">
                          <a:pos x="127" y="419"/>
                        </a:cxn>
                        <a:cxn ang="0">
                          <a:pos x="92" y="464"/>
                        </a:cxn>
                        <a:cxn ang="0">
                          <a:pos x="26" y="473"/>
                        </a:cxn>
                        <a:cxn ang="0">
                          <a:pos x="29" y="506"/>
                        </a:cxn>
                        <a:cxn ang="0">
                          <a:pos x="6" y="522"/>
                        </a:cxn>
                        <a:cxn ang="0">
                          <a:pos x="42" y="539"/>
                        </a:cxn>
                        <a:cxn ang="0">
                          <a:pos x="203" y="467"/>
                        </a:cxn>
                        <a:cxn ang="0">
                          <a:pos x="218" y="385"/>
                        </a:cxn>
                        <a:cxn ang="0">
                          <a:pos x="238" y="295"/>
                        </a:cxn>
                        <a:cxn ang="0">
                          <a:pos x="160" y="84"/>
                        </a:cxn>
                        <a:cxn ang="0">
                          <a:pos x="140" y="23"/>
                        </a:cxn>
                      </a:cxnLst>
                      <a:rect l="0" t="0" r="r" b="b"/>
                      <a:pathLst>
                        <a:path w="245" h="543">
                          <a:moveTo>
                            <a:pt x="140" y="0"/>
                          </a:moveTo>
                          <a:cubicBezTo>
                            <a:pt x="133" y="40"/>
                            <a:pt x="110" y="71"/>
                            <a:pt x="114" y="115"/>
                          </a:cubicBezTo>
                          <a:cubicBezTo>
                            <a:pt x="117" y="148"/>
                            <a:pt x="134" y="149"/>
                            <a:pt x="155" y="167"/>
                          </a:cubicBezTo>
                          <a:cubicBezTo>
                            <a:pt x="185" y="192"/>
                            <a:pt x="176" y="217"/>
                            <a:pt x="167" y="253"/>
                          </a:cubicBezTo>
                          <a:cubicBezTo>
                            <a:pt x="163" y="269"/>
                            <a:pt x="158" y="282"/>
                            <a:pt x="163" y="300"/>
                          </a:cubicBezTo>
                          <a:cubicBezTo>
                            <a:pt x="168" y="319"/>
                            <a:pt x="183" y="324"/>
                            <a:pt x="179" y="347"/>
                          </a:cubicBezTo>
                          <a:cubicBezTo>
                            <a:pt x="174" y="378"/>
                            <a:pt x="155" y="366"/>
                            <a:pt x="137" y="385"/>
                          </a:cubicBezTo>
                          <a:cubicBezTo>
                            <a:pt x="126" y="396"/>
                            <a:pt x="130" y="402"/>
                            <a:pt x="127" y="419"/>
                          </a:cubicBezTo>
                          <a:cubicBezTo>
                            <a:pt x="122" y="454"/>
                            <a:pt x="124" y="457"/>
                            <a:pt x="92" y="464"/>
                          </a:cubicBezTo>
                          <a:cubicBezTo>
                            <a:pt x="71" y="470"/>
                            <a:pt x="48" y="472"/>
                            <a:pt x="26" y="473"/>
                          </a:cubicBezTo>
                          <a:cubicBezTo>
                            <a:pt x="56" y="484"/>
                            <a:pt x="55" y="490"/>
                            <a:pt x="29" y="506"/>
                          </a:cubicBezTo>
                          <a:cubicBezTo>
                            <a:pt x="16" y="514"/>
                            <a:pt x="0" y="498"/>
                            <a:pt x="6" y="522"/>
                          </a:cubicBezTo>
                          <a:cubicBezTo>
                            <a:pt x="10" y="535"/>
                            <a:pt x="31" y="538"/>
                            <a:pt x="42" y="539"/>
                          </a:cubicBezTo>
                          <a:cubicBezTo>
                            <a:pt x="100" y="543"/>
                            <a:pt x="174" y="516"/>
                            <a:pt x="203" y="467"/>
                          </a:cubicBezTo>
                          <a:cubicBezTo>
                            <a:pt x="218" y="442"/>
                            <a:pt x="215" y="415"/>
                            <a:pt x="218" y="385"/>
                          </a:cubicBezTo>
                          <a:cubicBezTo>
                            <a:pt x="222" y="354"/>
                            <a:pt x="235" y="325"/>
                            <a:pt x="238" y="295"/>
                          </a:cubicBezTo>
                          <a:cubicBezTo>
                            <a:pt x="245" y="217"/>
                            <a:pt x="195" y="143"/>
                            <a:pt x="160" y="84"/>
                          </a:cubicBezTo>
                          <a:cubicBezTo>
                            <a:pt x="150" y="67"/>
                            <a:pt x="140" y="44"/>
                            <a:pt x="140" y="23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0" name="Freeform 176"/>
                    <p:cNvSpPr>
                      <a:spLocks/>
                    </p:cNvSpPr>
                    <p:nvPr/>
                  </p:nvSpPr>
                  <p:spPr bwMode="gray">
                    <a:xfrm>
                      <a:off x="5072063" y="-16883062"/>
                      <a:ext cx="2663825" cy="7631113"/>
                    </a:xfrm>
                    <a:custGeom>
                      <a:avLst/>
                      <a:gdLst/>
                      <a:ahLst/>
                      <a:cxnLst>
                        <a:cxn ang="0">
                          <a:pos x="710" y="8"/>
                        </a:cxn>
                        <a:cxn ang="0">
                          <a:pos x="461" y="124"/>
                        </a:cxn>
                        <a:cxn ang="0">
                          <a:pos x="220" y="242"/>
                        </a:cxn>
                        <a:cxn ang="0">
                          <a:pos x="97" y="510"/>
                        </a:cxn>
                        <a:cxn ang="0">
                          <a:pos x="45" y="888"/>
                        </a:cxn>
                        <a:cxn ang="0">
                          <a:pos x="19" y="1215"/>
                        </a:cxn>
                        <a:cxn ang="0">
                          <a:pos x="92" y="1547"/>
                        </a:cxn>
                        <a:cxn ang="0">
                          <a:pos x="104" y="1672"/>
                        </a:cxn>
                        <a:cxn ang="0">
                          <a:pos x="161" y="1815"/>
                        </a:cxn>
                        <a:cxn ang="0">
                          <a:pos x="285" y="2035"/>
                        </a:cxn>
                        <a:cxn ang="0">
                          <a:pos x="350" y="1892"/>
                        </a:cxn>
                        <a:cxn ang="0">
                          <a:pos x="424" y="1784"/>
                        </a:cxn>
                        <a:cxn ang="0">
                          <a:pos x="436" y="1691"/>
                        </a:cxn>
                        <a:cxn ang="0">
                          <a:pos x="438" y="1566"/>
                        </a:cxn>
                        <a:cxn ang="0">
                          <a:pos x="347" y="1448"/>
                        </a:cxn>
                        <a:cxn ang="0">
                          <a:pos x="312" y="1328"/>
                        </a:cxn>
                        <a:cxn ang="0">
                          <a:pos x="346" y="1417"/>
                        </a:cxn>
                        <a:cxn ang="0">
                          <a:pos x="352" y="1515"/>
                        </a:cxn>
                        <a:cxn ang="0">
                          <a:pos x="443" y="1684"/>
                        </a:cxn>
                        <a:cxn ang="0">
                          <a:pos x="481" y="1383"/>
                        </a:cxn>
                        <a:cxn ang="0">
                          <a:pos x="645" y="1164"/>
                        </a:cxn>
                        <a:cxn ang="0">
                          <a:pos x="652" y="830"/>
                        </a:cxn>
                        <a:cxn ang="0">
                          <a:pos x="634" y="484"/>
                        </a:cxn>
                        <a:cxn ang="0">
                          <a:pos x="639" y="211"/>
                        </a:cxn>
                        <a:cxn ang="0">
                          <a:pos x="690" y="0"/>
                        </a:cxn>
                      </a:cxnLst>
                      <a:rect l="0" t="0" r="r" b="b"/>
                      <a:pathLst>
                        <a:path w="710" h="2035">
                          <a:moveTo>
                            <a:pt x="710" y="8"/>
                          </a:moveTo>
                          <a:cubicBezTo>
                            <a:pt x="634" y="55"/>
                            <a:pt x="553" y="92"/>
                            <a:pt x="461" y="124"/>
                          </a:cubicBezTo>
                          <a:cubicBezTo>
                            <a:pt x="373" y="155"/>
                            <a:pt x="294" y="189"/>
                            <a:pt x="220" y="242"/>
                          </a:cubicBezTo>
                          <a:cubicBezTo>
                            <a:pt x="122" y="311"/>
                            <a:pt x="102" y="391"/>
                            <a:pt x="97" y="510"/>
                          </a:cubicBezTo>
                          <a:cubicBezTo>
                            <a:pt x="92" y="641"/>
                            <a:pt x="50" y="759"/>
                            <a:pt x="45" y="888"/>
                          </a:cubicBezTo>
                          <a:cubicBezTo>
                            <a:pt x="40" y="1001"/>
                            <a:pt x="36" y="1107"/>
                            <a:pt x="19" y="1215"/>
                          </a:cubicBezTo>
                          <a:cubicBezTo>
                            <a:pt x="0" y="1330"/>
                            <a:pt x="58" y="1440"/>
                            <a:pt x="92" y="1547"/>
                          </a:cubicBezTo>
                          <a:cubicBezTo>
                            <a:pt x="110" y="1602"/>
                            <a:pt x="107" y="1613"/>
                            <a:pt x="104" y="1672"/>
                          </a:cubicBezTo>
                          <a:cubicBezTo>
                            <a:pt x="100" y="1744"/>
                            <a:pt x="128" y="1759"/>
                            <a:pt x="161" y="1815"/>
                          </a:cubicBezTo>
                          <a:cubicBezTo>
                            <a:pt x="200" y="1882"/>
                            <a:pt x="204" y="1990"/>
                            <a:pt x="285" y="2035"/>
                          </a:cubicBezTo>
                          <a:cubicBezTo>
                            <a:pt x="302" y="1952"/>
                            <a:pt x="281" y="1934"/>
                            <a:pt x="350" y="1892"/>
                          </a:cubicBezTo>
                          <a:cubicBezTo>
                            <a:pt x="393" y="1865"/>
                            <a:pt x="418" y="1834"/>
                            <a:pt x="424" y="1784"/>
                          </a:cubicBezTo>
                          <a:cubicBezTo>
                            <a:pt x="484" y="1758"/>
                            <a:pt x="441" y="1724"/>
                            <a:pt x="436" y="1691"/>
                          </a:cubicBezTo>
                          <a:cubicBezTo>
                            <a:pt x="430" y="1650"/>
                            <a:pt x="449" y="1610"/>
                            <a:pt x="438" y="1566"/>
                          </a:cubicBezTo>
                          <a:cubicBezTo>
                            <a:pt x="424" y="1510"/>
                            <a:pt x="375" y="1495"/>
                            <a:pt x="347" y="1448"/>
                          </a:cubicBezTo>
                          <a:cubicBezTo>
                            <a:pt x="323" y="1410"/>
                            <a:pt x="334" y="1365"/>
                            <a:pt x="312" y="1328"/>
                          </a:cubicBezTo>
                          <a:cubicBezTo>
                            <a:pt x="315" y="1365"/>
                            <a:pt x="336" y="1385"/>
                            <a:pt x="346" y="1417"/>
                          </a:cubicBezTo>
                          <a:cubicBezTo>
                            <a:pt x="357" y="1451"/>
                            <a:pt x="344" y="1485"/>
                            <a:pt x="352" y="1515"/>
                          </a:cubicBezTo>
                          <a:cubicBezTo>
                            <a:pt x="365" y="1569"/>
                            <a:pt x="421" y="1628"/>
                            <a:pt x="443" y="1684"/>
                          </a:cubicBezTo>
                          <a:cubicBezTo>
                            <a:pt x="541" y="1665"/>
                            <a:pt x="458" y="1450"/>
                            <a:pt x="481" y="1383"/>
                          </a:cubicBezTo>
                          <a:cubicBezTo>
                            <a:pt x="508" y="1304"/>
                            <a:pt x="601" y="1240"/>
                            <a:pt x="645" y="1164"/>
                          </a:cubicBezTo>
                          <a:cubicBezTo>
                            <a:pt x="696" y="1079"/>
                            <a:pt x="681" y="927"/>
                            <a:pt x="652" y="830"/>
                          </a:cubicBezTo>
                          <a:cubicBezTo>
                            <a:pt x="617" y="717"/>
                            <a:pt x="628" y="605"/>
                            <a:pt x="634" y="484"/>
                          </a:cubicBezTo>
                          <a:cubicBezTo>
                            <a:pt x="638" y="395"/>
                            <a:pt x="638" y="302"/>
                            <a:pt x="639" y="211"/>
                          </a:cubicBezTo>
                          <a:cubicBezTo>
                            <a:pt x="639" y="165"/>
                            <a:pt x="655" y="22"/>
                            <a:pt x="690" y="0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1" name="Freeform 177"/>
                    <p:cNvSpPr>
                      <a:spLocks/>
                    </p:cNvSpPr>
                    <p:nvPr/>
                  </p:nvSpPr>
                  <p:spPr bwMode="gray">
                    <a:xfrm>
                      <a:off x="9129713" y="-17025937"/>
                      <a:ext cx="2678113" cy="7515225"/>
                    </a:xfrm>
                    <a:custGeom>
                      <a:avLst/>
                      <a:gdLst/>
                      <a:ahLst/>
                      <a:cxnLst>
                        <a:cxn ang="0">
                          <a:pos x="26" y="27"/>
                        </a:cxn>
                        <a:cxn ang="0">
                          <a:pos x="78" y="196"/>
                        </a:cxn>
                        <a:cxn ang="0">
                          <a:pos x="78" y="379"/>
                        </a:cxn>
                        <a:cxn ang="0">
                          <a:pos x="52" y="757"/>
                        </a:cxn>
                        <a:cxn ang="0">
                          <a:pos x="223" y="1376"/>
                        </a:cxn>
                        <a:cxn ang="0">
                          <a:pos x="289" y="1723"/>
                        </a:cxn>
                        <a:cxn ang="0">
                          <a:pos x="365" y="1854"/>
                        </a:cxn>
                        <a:cxn ang="0">
                          <a:pos x="500" y="2004"/>
                        </a:cxn>
                        <a:cxn ang="0">
                          <a:pos x="605" y="1787"/>
                        </a:cxn>
                        <a:cxn ang="0">
                          <a:pos x="660" y="1639"/>
                        </a:cxn>
                        <a:cxn ang="0">
                          <a:pos x="691" y="1637"/>
                        </a:cxn>
                        <a:cxn ang="0">
                          <a:pos x="664" y="1495"/>
                        </a:cxn>
                        <a:cxn ang="0">
                          <a:pos x="685" y="1356"/>
                        </a:cxn>
                        <a:cxn ang="0">
                          <a:pos x="685" y="1174"/>
                        </a:cxn>
                        <a:cxn ang="0">
                          <a:pos x="699" y="997"/>
                        </a:cxn>
                        <a:cxn ang="0">
                          <a:pos x="581" y="307"/>
                        </a:cxn>
                        <a:cxn ang="0">
                          <a:pos x="553" y="210"/>
                        </a:cxn>
                        <a:cxn ang="0">
                          <a:pos x="478" y="157"/>
                        </a:cxn>
                        <a:cxn ang="0">
                          <a:pos x="255" y="59"/>
                        </a:cxn>
                        <a:cxn ang="0">
                          <a:pos x="124" y="5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714" h="2004">
                          <a:moveTo>
                            <a:pt x="26" y="27"/>
                          </a:moveTo>
                          <a:cubicBezTo>
                            <a:pt x="41" y="89"/>
                            <a:pt x="75" y="129"/>
                            <a:pt x="78" y="196"/>
                          </a:cubicBezTo>
                          <a:cubicBezTo>
                            <a:pt x="81" y="256"/>
                            <a:pt x="81" y="319"/>
                            <a:pt x="78" y="379"/>
                          </a:cubicBezTo>
                          <a:cubicBezTo>
                            <a:pt x="72" y="505"/>
                            <a:pt x="70" y="633"/>
                            <a:pt x="52" y="757"/>
                          </a:cubicBezTo>
                          <a:cubicBezTo>
                            <a:pt x="21" y="977"/>
                            <a:pt x="157" y="1176"/>
                            <a:pt x="223" y="1376"/>
                          </a:cubicBezTo>
                          <a:cubicBezTo>
                            <a:pt x="259" y="1484"/>
                            <a:pt x="244" y="1614"/>
                            <a:pt x="289" y="1723"/>
                          </a:cubicBezTo>
                          <a:cubicBezTo>
                            <a:pt x="305" y="1764"/>
                            <a:pt x="322" y="1845"/>
                            <a:pt x="365" y="1854"/>
                          </a:cubicBezTo>
                          <a:cubicBezTo>
                            <a:pt x="439" y="1869"/>
                            <a:pt x="480" y="1987"/>
                            <a:pt x="500" y="2004"/>
                          </a:cubicBezTo>
                          <a:cubicBezTo>
                            <a:pt x="529" y="1955"/>
                            <a:pt x="585" y="1838"/>
                            <a:pt x="605" y="1787"/>
                          </a:cubicBezTo>
                          <a:cubicBezTo>
                            <a:pt x="627" y="1730"/>
                            <a:pt x="664" y="1707"/>
                            <a:pt x="660" y="1639"/>
                          </a:cubicBezTo>
                          <a:cubicBezTo>
                            <a:pt x="669" y="1640"/>
                            <a:pt x="682" y="1636"/>
                            <a:pt x="691" y="1637"/>
                          </a:cubicBezTo>
                          <a:cubicBezTo>
                            <a:pt x="714" y="1579"/>
                            <a:pt x="679" y="1544"/>
                            <a:pt x="664" y="1495"/>
                          </a:cubicBezTo>
                          <a:cubicBezTo>
                            <a:pt x="646" y="1435"/>
                            <a:pt x="677" y="1416"/>
                            <a:pt x="685" y="1356"/>
                          </a:cubicBezTo>
                          <a:cubicBezTo>
                            <a:pt x="694" y="1297"/>
                            <a:pt x="680" y="1234"/>
                            <a:pt x="685" y="1174"/>
                          </a:cubicBezTo>
                          <a:cubicBezTo>
                            <a:pt x="690" y="1115"/>
                            <a:pt x="705" y="1059"/>
                            <a:pt x="699" y="997"/>
                          </a:cubicBezTo>
                          <a:cubicBezTo>
                            <a:pt x="673" y="770"/>
                            <a:pt x="636" y="527"/>
                            <a:pt x="581" y="307"/>
                          </a:cubicBezTo>
                          <a:cubicBezTo>
                            <a:pt x="574" y="279"/>
                            <a:pt x="570" y="232"/>
                            <a:pt x="553" y="210"/>
                          </a:cubicBezTo>
                          <a:cubicBezTo>
                            <a:pt x="533" y="183"/>
                            <a:pt x="477" y="163"/>
                            <a:pt x="478" y="157"/>
                          </a:cubicBezTo>
                          <a:cubicBezTo>
                            <a:pt x="390" y="167"/>
                            <a:pt x="332" y="78"/>
                            <a:pt x="255" y="59"/>
                          </a:cubicBezTo>
                          <a:cubicBezTo>
                            <a:pt x="214" y="49"/>
                            <a:pt x="166" y="64"/>
                            <a:pt x="124" y="54"/>
                          </a:cubicBezTo>
                          <a:cubicBezTo>
                            <a:pt x="82" y="44"/>
                            <a:pt x="34" y="21"/>
                            <a:pt x="0" y="0"/>
                          </a:cubicBezTo>
                        </a:path>
                      </a:pathLst>
                    </a:custGeom>
                    <a:solidFill>
                      <a:srgbClr val="1A1A1A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2" name="Freeform 178"/>
                    <p:cNvSpPr>
                      <a:spLocks/>
                    </p:cNvSpPr>
                    <p:nvPr/>
                  </p:nvSpPr>
                  <p:spPr bwMode="gray">
                    <a:xfrm>
                      <a:off x="7389813" y="-15855950"/>
                      <a:ext cx="1781175" cy="4146550"/>
                    </a:xfrm>
                    <a:custGeom>
                      <a:avLst/>
                      <a:gdLst/>
                      <a:ahLst/>
                      <a:cxnLst>
                        <a:cxn ang="0">
                          <a:pos x="461" y="890"/>
                        </a:cxn>
                        <a:cxn ang="0">
                          <a:pos x="439" y="769"/>
                        </a:cxn>
                        <a:cxn ang="0">
                          <a:pos x="351" y="706"/>
                        </a:cxn>
                        <a:cxn ang="0">
                          <a:pos x="448" y="681"/>
                        </a:cxn>
                        <a:cxn ang="0">
                          <a:pos x="418" y="613"/>
                        </a:cxn>
                        <a:cxn ang="0">
                          <a:pos x="396" y="541"/>
                        </a:cxn>
                        <a:cxn ang="0">
                          <a:pos x="383" y="380"/>
                        </a:cxn>
                        <a:cxn ang="0">
                          <a:pos x="366" y="299"/>
                        </a:cxn>
                        <a:cxn ang="0">
                          <a:pos x="376" y="211"/>
                        </a:cxn>
                        <a:cxn ang="0">
                          <a:pos x="331" y="74"/>
                        </a:cxn>
                        <a:cxn ang="0">
                          <a:pos x="286" y="85"/>
                        </a:cxn>
                        <a:cxn ang="0">
                          <a:pos x="248" y="69"/>
                        </a:cxn>
                        <a:cxn ang="0">
                          <a:pos x="187" y="0"/>
                        </a:cxn>
                        <a:cxn ang="0">
                          <a:pos x="207" y="83"/>
                        </a:cxn>
                        <a:cxn ang="0">
                          <a:pos x="171" y="155"/>
                        </a:cxn>
                        <a:cxn ang="0">
                          <a:pos x="155" y="78"/>
                        </a:cxn>
                        <a:cxn ang="0">
                          <a:pos x="123" y="241"/>
                        </a:cxn>
                        <a:cxn ang="0">
                          <a:pos x="83" y="407"/>
                        </a:cxn>
                        <a:cxn ang="0">
                          <a:pos x="105" y="407"/>
                        </a:cxn>
                        <a:cxn ang="0">
                          <a:pos x="177" y="316"/>
                        </a:cxn>
                        <a:cxn ang="0">
                          <a:pos x="162" y="483"/>
                        </a:cxn>
                        <a:cxn ang="0">
                          <a:pos x="93" y="609"/>
                        </a:cxn>
                        <a:cxn ang="0">
                          <a:pos x="147" y="564"/>
                        </a:cxn>
                        <a:cxn ang="0">
                          <a:pos x="180" y="622"/>
                        </a:cxn>
                        <a:cxn ang="0">
                          <a:pos x="178" y="700"/>
                        </a:cxn>
                        <a:cxn ang="0">
                          <a:pos x="122" y="749"/>
                        </a:cxn>
                        <a:cxn ang="0">
                          <a:pos x="102" y="883"/>
                        </a:cxn>
                        <a:cxn ang="0">
                          <a:pos x="167" y="987"/>
                        </a:cxn>
                        <a:cxn ang="0">
                          <a:pos x="92" y="998"/>
                        </a:cxn>
                        <a:cxn ang="0">
                          <a:pos x="47" y="942"/>
                        </a:cxn>
                        <a:cxn ang="0">
                          <a:pos x="21" y="984"/>
                        </a:cxn>
                        <a:cxn ang="0">
                          <a:pos x="59" y="1007"/>
                        </a:cxn>
                        <a:cxn ang="0">
                          <a:pos x="93" y="1032"/>
                        </a:cxn>
                        <a:cxn ang="0">
                          <a:pos x="248" y="1099"/>
                        </a:cxn>
                        <a:cxn ang="0">
                          <a:pos x="399" y="1068"/>
                        </a:cxn>
                        <a:cxn ang="0">
                          <a:pos x="327" y="998"/>
                        </a:cxn>
                        <a:cxn ang="0">
                          <a:pos x="381" y="964"/>
                        </a:cxn>
                        <a:cxn ang="0">
                          <a:pos x="461" y="890"/>
                        </a:cxn>
                      </a:cxnLst>
                      <a:rect l="0" t="0" r="r" b="b"/>
                      <a:pathLst>
                        <a:path w="475" h="1106">
                          <a:moveTo>
                            <a:pt x="461" y="890"/>
                          </a:moveTo>
                          <a:cubicBezTo>
                            <a:pt x="475" y="852"/>
                            <a:pt x="461" y="796"/>
                            <a:pt x="439" y="769"/>
                          </a:cubicBezTo>
                          <a:cubicBezTo>
                            <a:pt x="416" y="742"/>
                            <a:pt x="364" y="748"/>
                            <a:pt x="351" y="706"/>
                          </a:cubicBezTo>
                          <a:cubicBezTo>
                            <a:pt x="331" y="643"/>
                            <a:pt x="421" y="682"/>
                            <a:pt x="448" y="681"/>
                          </a:cubicBezTo>
                          <a:cubicBezTo>
                            <a:pt x="452" y="653"/>
                            <a:pt x="430" y="635"/>
                            <a:pt x="418" y="613"/>
                          </a:cubicBezTo>
                          <a:cubicBezTo>
                            <a:pt x="404" y="588"/>
                            <a:pt x="400" y="571"/>
                            <a:pt x="396" y="541"/>
                          </a:cubicBezTo>
                          <a:cubicBezTo>
                            <a:pt x="388" y="489"/>
                            <a:pt x="383" y="437"/>
                            <a:pt x="383" y="380"/>
                          </a:cubicBezTo>
                          <a:cubicBezTo>
                            <a:pt x="383" y="347"/>
                            <a:pt x="372" y="330"/>
                            <a:pt x="366" y="299"/>
                          </a:cubicBezTo>
                          <a:cubicBezTo>
                            <a:pt x="361" y="270"/>
                            <a:pt x="374" y="240"/>
                            <a:pt x="376" y="211"/>
                          </a:cubicBezTo>
                          <a:cubicBezTo>
                            <a:pt x="379" y="175"/>
                            <a:pt x="357" y="97"/>
                            <a:pt x="331" y="74"/>
                          </a:cubicBezTo>
                          <a:cubicBezTo>
                            <a:pt x="302" y="49"/>
                            <a:pt x="309" y="77"/>
                            <a:pt x="286" y="85"/>
                          </a:cubicBezTo>
                          <a:cubicBezTo>
                            <a:pt x="267" y="92"/>
                            <a:pt x="264" y="81"/>
                            <a:pt x="248" y="69"/>
                          </a:cubicBezTo>
                          <a:cubicBezTo>
                            <a:pt x="222" y="48"/>
                            <a:pt x="205" y="27"/>
                            <a:pt x="187" y="0"/>
                          </a:cubicBezTo>
                          <a:cubicBezTo>
                            <a:pt x="139" y="0"/>
                            <a:pt x="200" y="70"/>
                            <a:pt x="207" y="83"/>
                          </a:cubicBezTo>
                          <a:cubicBezTo>
                            <a:pt x="224" y="119"/>
                            <a:pt x="224" y="164"/>
                            <a:pt x="171" y="155"/>
                          </a:cubicBezTo>
                          <a:cubicBezTo>
                            <a:pt x="161" y="130"/>
                            <a:pt x="176" y="98"/>
                            <a:pt x="155" y="78"/>
                          </a:cubicBezTo>
                          <a:cubicBezTo>
                            <a:pt x="136" y="132"/>
                            <a:pt x="149" y="187"/>
                            <a:pt x="123" y="241"/>
                          </a:cubicBezTo>
                          <a:cubicBezTo>
                            <a:pt x="95" y="296"/>
                            <a:pt x="80" y="343"/>
                            <a:pt x="83" y="407"/>
                          </a:cubicBezTo>
                          <a:cubicBezTo>
                            <a:pt x="89" y="408"/>
                            <a:pt x="100" y="408"/>
                            <a:pt x="105" y="407"/>
                          </a:cubicBezTo>
                          <a:cubicBezTo>
                            <a:pt x="115" y="382"/>
                            <a:pt x="147" y="314"/>
                            <a:pt x="177" y="316"/>
                          </a:cubicBezTo>
                          <a:cubicBezTo>
                            <a:pt x="202" y="371"/>
                            <a:pt x="200" y="435"/>
                            <a:pt x="162" y="483"/>
                          </a:cubicBezTo>
                          <a:cubicBezTo>
                            <a:pt x="133" y="519"/>
                            <a:pt x="87" y="558"/>
                            <a:pt x="93" y="609"/>
                          </a:cubicBezTo>
                          <a:cubicBezTo>
                            <a:pt x="111" y="599"/>
                            <a:pt x="120" y="568"/>
                            <a:pt x="147" y="564"/>
                          </a:cubicBezTo>
                          <a:cubicBezTo>
                            <a:pt x="181" y="559"/>
                            <a:pt x="175" y="593"/>
                            <a:pt x="180" y="622"/>
                          </a:cubicBezTo>
                          <a:cubicBezTo>
                            <a:pt x="183" y="641"/>
                            <a:pt x="193" y="686"/>
                            <a:pt x="178" y="700"/>
                          </a:cubicBezTo>
                          <a:cubicBezTo>
                            <a:pt x="157" y="719"/>
                            <a:pt x="112" y="699"/>
                            <a:pt x="122" y="749"/>
                          </a:cubicBezTo>
                          <a:cubicBezTo>
                            <a:pt x="178" y="769"/>
                            <a:pt x="103" y="851"/>
                            <a:pt x="102" y="883"/>
                          </a:cubicBezTo>
                          <a:cubicBezTo>
                            <a:pt x="102" y="933"/>
                            <a:pt x="195" y="954"/>
                            <a:pt x="167" y="987"/>
                          </a:cubicBezTo>
                          <a:cubicBezTo>
                            <a:pt x="153" y="1004"/>
                            <a:pt x="109" y="1010"/>
                            <a:pt x="92" y="998"/>
                          </a:cubicBezTo>
                          <a:cubicBezTo>
                            <a:pt x="72" y="985"/>
                            <a:pt x="71" y="951"/>
                            <a:pt x="47" y="942"/>
                          </a:cubicBezTo>
                          <a:cubicBezTo>
                            <a:pt x="12" y="929"/>
                            <a:pt x="0" y="961"/>
                            <a:pt x="21" y="984"/>
                          </a:cubicBezTo>
                          <a:cubicBezTo>
                            <a:pt x="31" y="994"/>
                            <a:pt x="46" y="999"/>
                            <a:pt x="59" y="1007"/>
                          </a:cubicBezTo>
                          <a:cubicBezTo>
                            <a:pt x="73" y="1015"/>
                            <a:pt x="82" y="1025"/>
                            <a:pt x="93" y="1032"/>
                          </a:cubicBezTo>
                          <a:cubicBezTo>
                            <a:pt x="136" y="1058"/>
                            <a:pt x="198" y="1089"/>
                            <a:pt x="248" y="1099"/>
                          </a:cubicBezTo>
                          <a:cubicBezTo>
                            <a:pt x="283" y="1106"/>
                            <a:pt x="375" y="1099"/>
                            <a:pt x="399" y="1068"/>
                          </a:cubicBezTo>
                          <a:cubicBezTo>
                            <a:pt x="433" y="1027"/>
                            <a:pt x="335" y="1037"/>
                            <a:pt x="327" y="998"/>
                          </a:cubicBezTo>
                          <a:cubicBezTo>
                            <a:pt x="319" y="954"/>
                            <a:pt x="359" y="970"/>
                            <a:pt x="381" y="964"/>
                          </a:cubicBezTo>
                          <a:cubicBezTo>
                            <a:pt x="410" y="956"/>
                            <a:pt x="450" y="918"/>
                            <a:pt x="461" y="890"/>
                          </a:cubicBezTo>
                          <a:close/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3" name="Freeform 179"/>
                    <p:cNvSpPr>
                      <a:spLocks/>
                    </p:cNvSpPr>
                    <p:nvPr/>
                  </p:nvSpPr>
                  <p:spPr bwMode="gray">
                    <a:xfrm>
                      <a:off x="7940675" y="-16009937"/>
                      <a:ext cx="1141413" cy="5051425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43"/>
                        </a:cxn>
                        <a:cxn ang="0">
                          <a:pos x="51" y="199"/>
                        </a:cxn>
                        <a:cxn ang="0">
                          <a:pos x="12" y="343"/>
                        </a:cxn>
                        <a:cxn ang="0">
                          <a:pos x="25" y="499"/>
                        </a:cxn>
                        <a:cxn ang="0">
                          <a:pos x="6" y="676"/>
                        </a:cxn>
                        <a:cxn ang="0">
                          <a:pos x="19" y="1021"/>
                        </a:cxn>
                        <a:cxn ang="0">
                          <a:pos x="19" y="1222"/>
                        </a:cxn>
                        <a:cxn ang="0">
                          <a:pos x="125" y="1313"/>
                        </a:cxn>
                        <a:cxn ang="0">
                          <a:pos x="214" y="1300"/>
                        </a:cxn>
                        <a:cxn ang="0">
                          <a:pos x="274" y="1238"/>
                        </a:cxn>
                        <a:cxn ang="0">
                          <a:pos x="260" y="923"/>
                        </a:cxn>
                        <a:cxn ang="0">
                          <a:pos x="233" y="599"/>
                        </a:cxn>
                        <a:cxn ang="0">
                          <a:pos x="195" y="271"/>
                        </a:cxn>
                        <a:cxn ang="0">
                          <a:pos x="109" y="5"/>
                        </a:cxn>
                        <a:cxn ang="0">
                          <a:pos x="71" y="10"/>
                        </a:cxn>
                      </a:cxnLst>
                      <a:rect l="0" t="0" r="r" b="b"/>
                      <a:pathLst>
                        <a:path w="304" h="1347">
                          <a:moveTo>
                            <a:pt x="64" y="43"/>
                          </a:moveTo>
                          <a:cubicBezTo>
                            <a:pt x="64" y="98"/>
                            <a:pt x="64" y="149"/>
                            <a:pt x="51" y="199"/>
                          </a:cubicBezTo>
                          <a:cubicBezTo>
                            <a:pt x="38" y="249"/>
                            <a:pt x="15" y="290"/>
                            <a:pt x="12" y="343"/>
                          </a:cubicBezTo>
                          <a:cubicBezTo>
                            <a:pt x="9" y="396"/>
                            <a:pt x="24" y="446"/>
                            <a:pt x="25" y="499"/>
                          </a:cubicBezTo>
                          <a:cubicBezTo>
                            <a:pt x="27" y="562"/>
                            <a:pt x="8" y="614"/>
                            <a:pt x="6" y="676"/>
                          </a:cubicBezTo>
                          <a:cubicBezTo>
                            <a:pt x="0" y="794"/>
                            <a:pt x="13" y="907"/>
                            <a:pt x="19" y="1021"/>
                          </a:cubicBezTo>
                          <a:cubicBezTo>
                            <a:pt x="21" y="1070"/>
                            <a:pt x="0" y="1184"/>
                            <a:pt x="19" y="1222"/>
                          </a:cubicBezTo>
                          <a:cubicBezTo>
                            <a:pt x="28" y="1241"/>
                            <a:pt x="107" y="1301"/>
                            <a:pt x="125" y="1313"/>
                          </a:cubicBezTo>
                          <a:cubicBezTo>
                            <a:pt x="174" y="1347"/>
                            <a:pt x="167" y="1337"/>
                            <a:pt x="214" y="1300"/>
                          </a:cubicBezTo>
                          <a:cubicBezTo>
                            <a:pt x="241" y="1280"/>
                            <a:pt x="266" y="1268"/>
                            <a:pt x="274" y="1238"/>
                          </a:cubicBezTo>
                          <a:cubicBezTo>
                            <a:pt x="304" y="1224"/>
                            <a:pt x="260" y="978"/>
                            <a:pt x="260" y="923"/>
                          </a:cubicBezTo>
                          <a:cubicBezTo>
                            <a:pt x="260" y="807"/>
                            <a:pt x="243" y="709"/>
                            <a:pt x="233" y="599"/>
                          </a:cubicBezTo>
                          <a:cubicBezTo>
                            <a:pt x="222" y="492"/>
                            <a:pt x="225" y="372"/>
                            <a:pt x="195" y="271"/>
                          </a:cubicBezTo>
                          <a:cubicBezTo>
                            <a:pt x="171" y="188"/>
                            <a:pt x="157" y="79"/>
                            <a:pt x="109" y="5"/>
                          </a:cubicBezTo>
                          <a:cubicBezTo>
                            <a:pt x="94" y="0"/>
                            <a:pt x="80" y="4"/>
                            <a:pt x="71" y="10"/>
                          </a:cubicBezTo>
                        </a:path>
                      </a:pathLst>
                    </a:custGeom>
                    <a:solidFill>
                      <a:srgbClr val="4D4D4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4" name="Freeform 180"/>
                    <p:cNvSpPr>
                      <a:spLocks/>
                    </p:cNvSpPr>
                    <p:nvPr/>
                  </p:nvSpPr>
                  <p:spPr bwMode="gray">
                    <a:xfrm>
                      <a:off x="7981950" y="-16309975"/>
                      <a:ext cx="582613" cy="760413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55"/>
                        </a:cxn>
                        <a:cxn ang="0">
                          <a:pos x="144" y="76"/>
                        </a:cxn>
                        <a:cxn ang="0">
                          <a:pos x="27" y="55"/>
                        </a:cxn>
                      </a:cxnLst>
                      <a:rect l="0" t="0" r="r" b="b"/>
                      <a:pathLst>
                        <a:path w="155" h="203">
                          <a:moveTo>
                            <a:pt x="27" y="55"/>
                          </a:moveTo>
                          <a:cubicBezTo>
                            <a:pt x="77" y="0"/>
                            <a:pt x="89" y="9"/>
                            <a:pt x="144" y="76"/>
                          </a:cubicBezTo>
                          <a:cubicBezTo>
                            <a:pt x="155" y="203"/>
                            <a:pt x="0" y="167"/>
                            <a:pt x="27" y="55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5" name="Freeform 181"/>
                    <p:cNvSpPr>
                      <a:spLocks/>
                    </p:cNvSpPr>
                    <p:nvPr/>
                  </p:nvSpPr>
                  <p:spPr bwMode="gray">
                    <a:xfrm>
                      <a:off x="7885113" y="-16436975"/>
                      <a:ext cx="776288" cy="727075"/>
                    </a:xfrm>
                    <a:custGeom>
                      <a:avLst/>
                      <a:gdLst/>
                      <a:ahLst/>
                      <a:cxnLst>
                        <a:cxn ang="0">
                          <a:pos x="27" y="78"/>
                        </a:cxn>
                        <a:cxn ang="0">
                          <a:pos x="196" y="66"/>
                        </a:cxn>
                        <a:cxn ang="0">
                          <a:pos x="27" y="78"/>
                        </a:cxn>
                      </a:cxnLst>
                      <a:rect l="0" t="0" r="r" b="b"/>
                      <a:pathLst>
                        <a:path w="207" h="194">
                          <a:moveTo>
                            <a:pt x="27" y="78"/>
                          </a:moveTo>
                          <a:cubicBezTo>
                            <a:pt x="77" y="23"/>
                            <a:pt x="141" y="0"/>
                            <a:pt x="196" y="66"/>
                          </a:cubicBezTo>
                          <a:cubicBezTo>
                            <a:pt x="207" y="194"/>
                            <a:pt x="0" y="190"/>
                            <a:pt x="27" y="78"/>
                          </a:cubicBezTo>
                        </a:path>
                      </a:pathLst>
                    </a:custGeom>
                    <a:solidFill>
                      <a:srgbClr val="4D4D4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6" name="Freeform 182"/>
                    <p:cNvSpPr>
                      <a:spLocks/>
                    </p:cNvSpPr>
                    <p:nvPr/>
                  </p:nvSpPr>
                  <p:spPr bwMode="gray">
                    <a:xfrm>
                      <a:off x="7383463" y="-16902112"/>
                      <a:ext cx="809625" cy="1203325"/>
                    </a:xfrm>
                    <a:custGeom>
                      <a:avLst/>
                      <a:gdLst/>
                      <a:ahLst/>
                      <a:cxnLst>
                        <a:cxn ang="0">
                          <a:pos x="63" y="0"/>
                        </a:cxn>
                        <a:cxn ang="0">
                          <a:pos x="43" y="157"/>
                        </a:cxn>
                        <a:cxn ang="0">
                          <a:pos x="116" y="321"/>
                        </a:cxn>
                        <a:cxn ang="0">
                          <a:pos x="199" y="156"/>
                        </a:cxn>
                        <a:cxn ang="0">
                          <a:pos x="63" y="0"/>
                        </a:cxn>
                      </a:cxnLst>
                      <a:rect l="0" t="0" r="r" b="b"/>
                      <a:pathLst>
                        <a:path w="216" h="321">
                          <a:moveTo>
                            <a:pt x="63" y="0"/>
                          </a:moveTo>
                          <a:cubicBezTo>
                            <a:pt x="0" y="59"/>
                            <a:pt x="8" y="82"/>
                            <a:pt x="43" y="157"/>
                          </a:cubicBezTo>
                          <a:cubicBezTo>
                            <a:pt x="69" y="212"/>
                            <a:pt x="82" y="269"/>
                            <a:pt x="116" y="321"/>
                          </a:cubicBezTo>
                          <a:cubicBezTo>
                            <a:pt x="139" y="272"/>
                            <a:pt x="216" y="223"/>
                            <a:pt x="199" y="156"/>
                          </a:cubicBezTo>
                          <a:cubicBezTo>
                            <a:pt x="189" y="118"/>
                            <a:pt x="98" y="14"/>
                            <a:pt x="63" y="0"/>
                          </a:cubicBezTo>
                        </a:path>
                      </a:pathLst>
                    </a:custGeom>
                    <a:solidFill>
                      <a:srgbClr val="D4E7F9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7" name="Freeform 183"/>
                    <p:cNvSpPr>
                      <a:spLocks/>
                    </p:cNvSpPr>
                    <p:nvPr/>
                  </p:nvSpPr>
                  <p:spPr bwMode="gray">
                    <a:xfrm>
                      <a:off x="8488363" y="-17191037"/>
                      <a:ext cx="1065213" cy="1428750"/>
                    </a:xfrm>
                    <a:custGeom>
                      <a:avLst/>
                      <a:gdLst/>
                      <a:ahLst/>
                      <a:cxnLst>
                        <a:cxn ang="0">
                          <a:pos x="139" y="0"/>
                        </a:cxn>
                        <a:cxn ang="0">
                          <a:pos x="14" y="230"/>
                        </a:cxn>
                        <a:cxn ang="0">
                          <a:pos x="108" y="381"/>
                        </a:cxn>
                        <a:cxn ang="0">
                          <a:pos x="139" y="0"/>
                        </a:cxn>
                      </a:cxnLst>
                      <a:rect l="0" t="0" r="r" b="b"/>
                      <a:pathLst>
                        <a:path w="284" h="381">
                          <a:moveTo>
                            <a:pt x="139" y="0"/>
                          </a:moveTo>
                          <a:cubicBezTo>
                            <a:pt x="137" y="100"/>
                            <a:pt x="30" y="143"/>
                            <a:pt x="14" y="230"/>
                          </a:cubicBezTo>
                          <a:cubicBezTo>
                            <a:pt x="0" y="301"/>
                            <a:pt x="66" y="333"/>
                            <a:pt x="108" y="381"/>
                          </a:cubicBezTo>
                          <a:cubicBezTo>
                            <a:pt x="181" y="285"/>
                            <a:pt x="284" y="67"/>
                            <a:pt x="139" y="0"/>
                          </a:cubicBezTo>
                          <a:close/>
                        </a:path>
                      </a:pathLst>
                    </a:custGeom>
                    <a:solidFill>
                      <a:srgbClr val="D4E7F9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8" name="Freeform 184"/>
                    <p:cNvSpPr>
                      <a:spLocks/>
                    </p:cNvSpPr>
                    <p:nvPr/>
                  </p:nvSpPr>
                  <p:spPr bwMode="gray">
                    <a:xfrm>
                      <a:off x="8229600" y="-10636250"/>
                      <a:ext cx="585788" cy="1762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5"/>
                        </a:cxn>
                        <a:cxn ang="0">
                          <a:pos x="156" y="44"/>
                        </a:cxn>
                        <a:cxn ang="0">
                          <a:pos x="0" y="19"/>
                        </a:cxn>
                      </a:cxnLst>
                      <a:rect l="0" t="0" r="r" b="b"/>
                      <a:pathLst>
                        <a:path w="156" h="47">
                          <a:moveTo>
                            <a:pt x="0" y="45"/>
                          </a:moveTo>
                          <a:cubicBezTo>
                            <a:pt x="52" y="45"/>
                            <a:pt x="105" y="47"/>
                            <a:pt x="156" y="44"/>
                          </a:cubicBezTo>
                          <a:cubicBezTo>
                            <a:pt x="143" y="0"/>
                            <a:pt x="42" y="19"/>
                            <a:pt x="0" y="19"/>
                          </a:cubicBezTo>
                        </a:path>
                      </a:pathLst>
                    </a:custGeom>
                    <a:solidFill>
                      <a:srgbClr val="B7B6B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49" name="Freeform 185"/>
                    <p:cNvSpPr>
                      <a:spLocks/>
                    </p:cNvSpPr>
                    <p:nvPr/>
                  </p:nvSpPr>
                  <p:spPr bwMode="gray">
                    <a:xfrm>
                      <a:off x="9617075" y="-2124075"/>
                      <a:ext cx="1425575" cy="1538288"/>
                    </a:xfrm>
                    <a:custGeom>
                      <a:avLst/>
                      <a:gdLst/>
                      <a:ahLst/>
                      <a:cxnLst>
                        <a:cxn ang="0">
                          <a:pos x="38" y="40"/>
                        </a:cxn>
                        <a:cxn ang="0">
                          <a:pos x="94" y="272"/>
                        </a:cxn>
                        <a:cxn ang="0">
                          <a:pos x="140" y="329"/>
                        </a:cxn>
                        <a:cxn ang="0">
                          <a:pos x="215" y="362"/>
                        </a:cxn>
                        <a:cxn ang="0">
                          <a:pos x="325" y="388"/>
                        </a:cxn>
                        <a:cxn ang="0">
                          <a:pos x="380" y="354"/>
                        </a:cxn>
                        <a:cxn ang="0">
                          <a:pos x="207" y="402"/>
                        </a:cxn>
                        <a:cxn ang="0">
                          <a:pos x="75" y="366"/>
                        </a:cxn>
                        <a:cxn ang="0">
                          <a:pos x="18" y="350"/>
                        </a:cxn>
                        <a:cxn ang="0">
                          <a:pos x="12" y="236"/>
                        </a:cxn>
                        <a:cxn ang="0">
                          <a:pos x="18" y="150"/>
                        </a:cxn>
                        <a:cxn ang="0">
                          <a:pos x="42" y="0"/>
                        </a:cxn>
                      </a:cxnLst>
                      <a:rect l="0" t="0" r="r" b="b"/>
                      <a:pathLst>
                        <a:path w="380" h="410">
                          <a:moveTo>
                            <a:pt x="38" y="40"/>
                          </a:moveTo>
                          <a:cubicBezTo>
                            <a:pt x="38" y="74"/>
                            <a:pt x="38" y="272"/>
                            <a:pt x="94" y="272"/>
                          </a:cubicBezTo>
                          <a:cubicBezTo>
                            <a:pt x="42" y="287"/>
                            <a:pt x="122" y="320"/>
                            <a:pt x="140" y="329"/>
                          </a:cubicBezTo>
                          <a:cubicBezTo>
                            <a:pt x="163" y="342"/>
                            <a:pt x="189" y="355"/>
                            <a:pt x="215" y="362"/>
                          </a:cubicBezTo>
                          <a:cubicBezTo>
                            <a:pt x="243" y="369"/>
                            <a:pt x="297" y="389"/>
                            <a:pt x="325" y="388"/>
                          </a:cubicBezTo>
                          <a:cubicBezTo>
                            <a:pt x="344" y="387"/>
                            <a:pt x="365" y="367"/>
                            <a:pt x="380" y="354"/>
                          </a:cubicBezTo>
                          <a:cubicBezTo>
                            <a:pt x="340" y="406"/>
                            <a:pt x="263" y="410"/>
                            <a:pt x="207" y="402"/>
                          </a:cubicBezTo>
                          <a:cubicBezTo>
                            <a:pt x="161" y="396"/>
                            <a:pt x="121" y="371"/>
                            <a:pt x="75" y="366"/>
                          </a:cubicBezTo>
                          <a:cubicBezTo>
                            <a:pt x="55" y="363"/>
                            <a:pt x="30" y="366"/>
                            <a:pt x="18" y="350"/>
                          </a:cubicBezTo>
                          <a:cubicBezTo>
                            <a:pt x="0" y="326"/>
                            <a:pt x="12" y="265"/>
                            <a:pt x="12" y="236"/>
                          </a:cubicBezTo>
                          <a:cubicBezTo>
                            <a:pt x="12" y="207"/>
                            <a:pt x="13" y="179"/>
                            <a:pt x="18" y="150"/>
                          </a:cubicBezTo>
                          <a:cubicBezTo>
                            <a:pt x="26" y="104"/>
                            <a:pt x="44" y="48"/>
                            <a:pt x="42" y="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0" name="Freeform 186"/>
                    <p:cNvSpPr>
                      <a:spLocks/>
                    </p:cNvSpPr>
                    <p:nvPr/>
                  </p:nvSpPr>
                  <p:spPr bwMode="gray">
                    <a:xfrm>
                      <a:off x="9644063" y="-3695700"/>
                      <a:ext cx="1098550" cy="1863725"/>
                    </a:xfrm>
                    <a:custGeom>
                      <a:avLst/>
                      <a:gdLst/>
                      <a:ahLst/>
                      <a:cxnLst>
                        <a:cxn ang="0">
                          <a:pos x="41" y="18"/>
                        </a:cxn>
                        <a:cxn ang="0">
                          <a:pos x="144" y="97"/>
                        </a:cxn>
                        <a:cxn ang="0">
                          <a:pos x="268" y="0"/>
                        </a:cxn>
                        <a:cxn ang="0">
                          <a:pos x="114" y="168"/>
                        </a:cxn>
                        <a:cxn ang="0">
                          <a:pos x="117" y="232"/>
                        </a:cxn>
                        <a:cxn ang="0">
                          <a:pos x="118" y="291"/>
                        </a:cxn>
                        <a:cxn ang="0">
                          <a:pos x="87" y="331"/>
                        </a:cxn>
                        <a:cxn ang="0">
                          <a:pos x="88" y="395"/>
                        </a:cxn>
                        <a:cxn ang="0">
                          <a:pos x="158" y="391"/>
                        </a:cxn>
                        <a:cxn ang="0">
                          <a:pos x="79" y="474"/>
                        </a:cxn>
                        <a:cxn ang="0">
                          <a:pos x="61" y="271"/>
                        </a:cxn>
                        <a:cxn ang="0">
                          <a:pos x="35" y="57"/>
                        </a:cxn>
                      </a:cxnLst>
                      <a:rect l="0" t="0" r="r" b="b"/>
                      <a:pathLst>
                        <a:path w="293" h="497">
                          <a:moveTo>
                            <a:pt x="41" y="18"/>
                          </a:moveTo>
                          <a:cubicBezTo>
                            <a:pt x="37" y="79"/>
                            <a:pt x="76" y="124"/>
                            <a:pt x="144" y="97"/>
                          </a:cubicBezTo>
                          <a:cubicBezTo>
                            <a:pt x="192" y="78"/>
                            <a:pt x="214" y="1"/>
                            <a:pt x="268" y="0"/>
                          </a:cubicBezTo>
                          <a:cubicBezTo>
                            <a:pt x="293" y="86"/>
                            <a:pt x="139" y="93"/>
                            <a:pt x="114" y="168"/>
                          </a:cubicBezTo>
                          <a:cubicBezTo>
                            <a:pt x="104" y="199"/>
                            <a:pt x="115" y="204"/>
                            <a:pt x="117" y="232"/>
                          </a:cubicBezTo>
                          <a:cubicBezTo>
                            <a:pt x="122" y="279"/>
                            <a:pt x="131" y="247"/>
                            <a:pt x="118" y="291"/>
                          </a:cubicBezTo>
                          <a:cubicBezTo>
                            <a:pt x="115" y="299"/>
                            <a:pt x="91" y="316"/>
                            <a:pt x="87" y="331"/>
                          </a:cubicBezTo>
                          <a:cubicBezTo>
                            <a:pt x="81" y="349"/>
                            <a:pt x="87" y="378"/>
                            <a:pt x="88" y="395"/>
                          </a:cubicBezTo>
                          <a:cubicBezTo>
                            <a:pt x="111" y="407"/>
                            <a:pt x="139" y="402"/>
                            <a:pt x="158" y="391"/>
                          </a:cubicBezTo>
                          <a:cubicBezTo>
                            <a:pt x="123" y="412"/>
                            <a:pt x="67" y="415"/>
                            <a:pt x="79" y="474"/>
                          </a:cubicBezTo>
                          <a:cubicBezTo>
                            <a:pt x="0" y="497"/>
                            <a:pt x="63" y="318"/>
                            <a:pt x="61" y="271"/>
                          </a:cubicBezTo>
                          <a:cubicBezTo>
                            <a:pt x="57" y="198"/>
                            <a:pt x="41" y="132"/>
                            <a:pt x="35" y="57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1" name="Freeform 187"/>
                    <p:cNvSpPr>
                      <a:spLocks/>
                    </p:cNvSpPr>
                    <p:nvPr/>
                  </p:nvSpPr>
                  <p:spPr bwMode="gray">
                    <a:xfrm>
                      <a:off x="10899775" y="-5461000"/>
                      <a:ext cx="900113" cy="1398588"/>
                    </a:xfrm>
                    <a:custGeom>
                      <a:avLst/>
                      <a:gdLst/>
                      <a:ahLst/>
                      <a:cxnLst>
                        <a:cxn ang="0">
                          <a:pos x="150" y="0"/>
                        </a:cxn>
                        <a:cxn ang="0">
                          <a:pos x="0" y="312"/>
                        </a:cxn>
                        <a:cxn ang="0">
                          <a:pos x="53" y="371"/>
                        </a:cxn>
                        <a:cxn ang="0">
                          <a:pos x="84" y="371"/>
                        </a:cxn>
                        <a:cxn ang="0">
                          <a:pos x="124" y="254"/>
                        </a:cxn>
                        <a:cxn ang="0">
                          <a:pos x="143" y="130"/>
                        </a:cxn>
                      </a:cxnLst>
                      <a:rect l="0" t="0" r="r" b="b"/>
                      <a:pathLst>
                        <a:path w="240" h="373">
                          <a:moveTo>
                            <a:pt x="150" y="0"/>
                          </a:moveTo>
                          <a:cubicBezTo>
                            <a:pt x="240" y="68"/>
                            <a:pt x="50" y="263"/>
                            <a:pt x="0" y="312"/>
                          </a:cubicBezTo>
                          <a:cubicBezTo>
                            <a:pt x="35" y="310"/>
                            <a:pt x="55" y="337"/>
                            <a:pt x="53" y="371"/>
                          </a:cubicBezTo>
                          <a:cubicBezTo>
                            <a:pt x="63" y="373"/>
                            <a:pt x="74" y="373"/>
                            <a:pt x="84" y="371"/>
                          </a:cubicBezTo>
                          <a:cubicBezTo>
                            <a:pt x="90" y="332"/>
                            <a:pt x="115" y="294"/>
                            <a:pt x="124" y="254"/>
                          </a:cubicBezTo>
                          <a:cubicBezTo>
                            <a:pt x="133" y="213"/>
                            <a:pt x="138" y="172"/>
                            <a:pt x="143" y="130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2" name="Freeform 188"/>
                    <p:cNvSpPr>
                      <a:spLocks/>
                    </p:cNvSpPr>
                    <p:nvPr/>
                  </p:nvSpPr>
                  <p:spPr bwMode="gray">
                    <a:xfrm>
                      <a:off x="8740775" y="-8078787"/>
                      <a:ext cx="876300" cy="242570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161" y="118"/>
                        </a:cxn>
                        <a:cxn ang="0">
                          <a:pos x="105" y="118"/>
                        </a:cxn>
                        <a:cxn ang="0">
                          <a:pos x="103" y="131"/>
                        </a:cxn>
                        <a:cxn ang="0">
                          <a:pos x="234" y="306"/>
                        </a:cxn>
                        <a:cxn ang="0">
                          <a:pos x="209" y="647"/>
                        </a:cxn>
                        <a:cxn ang="0">
                          <a:pos x="174" y="478"/>
                        </a:cxn>
                        <a:cxn ang="0">
                          <a:pos x="124" y="313"/>
                        </a:cxn>
                        <a:cxn ang="0">
                          <a:pos x="0" y="6"/>
                        </a:cxn>
                      </a:cxnLst>
                      <a:rect l="0" t="0" r="r" b="b"/>
                      <a:pathLst>
                        <a:path w="234" h="647">
                          <a:moveTo>
                            <a:pt x="0" y="0"/>
                          </a:moveTo>
                          <a:cubicBezTo>
                            <a:pt x="72" y="29"/>
                            <a:pt x="113" y="54"/>
                            <a:pt x="161" y="118"/>
                          </a:cubicBezTo>
                          <a:cubicBezTo>
                            <a:pt x="143" y="113"/>
                            <a:pt x="123" y="120"/>
                            <a:pt x="105" y="118"/>
                          </a:cubicBezTo>
                          <a:cubicBezTo>
                            <a:pt x="103" y="122"/>
                            <a:pt x="103" y="126"/>
                            <a:pt x="103" y="131"/>
                          </a:cubicBezTo>
                          <a:cubicBezTo>
                            <a:pt x="153" y="147"/>
                            <a:pt x="226" y="258"/>
                            <a:pt x="234" y="306"/>
                          </a:cubicBezTo>
                          <a:cubicBezTo>
                            <a:pt x="111" y="280"/>
                            <a:pt x="215" y="598"/>
                            <a:pt x="209" y="647"/>
                          </a:cubicBezTo>
                          <a:cubicBezTo>
                            <a:pt x="182" y="616"/>
                            <a:pt x="187" y="519"/>
                            <a:pt x="174" y="478"/>
                          </a:cubicBezTo>
                          <a:cubicBezTo>
                            <a:pt x="158" y="426"/>
                            <a:pt x="138" y="368"/>
                            <a:pt x="124" y="313"/>
                          </a:cubicBezTo>
                          <a:cubicBezTo>
                            <a:pt x="97" y="206"/>
                            <a:pt x="123" y="49"/>
                            <a:pt x="0" y="6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3" name="Freeform 189"/>
                    <p:cNvSpPr>
                      <a:spLocks/>
                    </p:cNvSpPr>
                    <p:nvPr/>
                  </p:nvSpPr>
                  <p:spPr bwMode="gray">
                    <a:xfrm>
                      <a:off x="7326313" y="-2405062"/>
                      <a:ext cx="903288" cy="6445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67" y="97"/>
                        </a:cxn>
                        <a:cxn ang="0">
                          <a:pos x="188" y="93"/>
                        </a:cxn>
                        <a:cxn ang="0">
                          <a:pos x="90" y="152"/>
                        </a:cxn>
                        <a:cxn ang="0">
                          <a:pos x="0" y="33"/>
                        </a:cxn>
                      </a:cxnLst>
                      <a:rect l="0" t="0" r="r" b="b"/>
                      <a:pathLst>
                        <a:path w="241" h="172">
                          <a:moveTo>
                            <a:pt x="0" y="0"/>
                          </a:moveTo>
                          <a:cubicBezTo>
                            <a:pt x="19" y="31"/>
                            <a:pt x="42" y="79"/>
                            <a:pt x="67" y="97"/>
                          </a:cubicBezTo>
                          <a:cubicBezTo>
                            <a:pt x="118" y="134"/>
                            <a:pt x="140" y="104"/>
                            <a:pt x="188" y="93"/>
                          </a:cubicBezTo>
                          <a:cubicBezTo>
                            <a:pt x="241" y="167"/>
                            <a:pt x="132" y="172"/>
                            <a:pt x="90" y="152"/>
                          </a:cubicBezTo>
                          <a:cubicBezTo>
                            <a:pt x="54" y="135"/>
                            <a:pt x="0" y="81"/>
                            <a:pt x="0" y="33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4" name="Freeform 190"/>
                    <p:cNvSpPr>
                      <a:spLocks/>
                    </p:cNvSpPr>
                    <p:nvPr/>
                  </p:nvSpPr>
                  <p:spPr bwMode="gray">
                    <a:xfrm>
                      <a:off x="8177213" y="-10501312"/>
                      <a:ext cx="1654175" cy="446088"/>
                    </a:xfrm>
                    <a:custGeom>
                      <a:avLst/>
                      <a:gdLst/>
                      <a:ahLst/>
                      <a:cxnLst>
                        <a:cxn ang="0">
                          <a:pos x="20" y="85"/>
                        </a:cxn>
                        <a:cxn ang="0">
                          <a:pos x="118" y="117"/>
                        </a:cxn>
                        <a:cxn ang="0">
                          <a:pos x="222" y="73"/>
                        </a:cxn>
                        <a:cxn ang="0">
                          <a:pos x="334" y="80"/>
                        </a:cxn>
                        <a:cxn ang="0">
                          <a:pos x="436" y="51"/>
                        </a:cxn>
                        <a:cxn ang="0">
                          <a:pos x="210" y="40"/>
                        </a:cxn>
                        <a:cxn ang="0">
                          <a:pos x="0" y="85"/>
                        </a:cxn>
                      </a:cxnLst>
                      <a:rect l="0" t="0" r="r" b="b"/>
                      <a:pathLst>
                        <a:path w="441" h="119">
                          <a:moveTo>
                            <a:pt x="20" y="85"/>
                          </a:moveTo>
                          <a:cubicBezTo>
                            <a:pt x="47" y="113"/>
                            <a:pt x="74" y="119"/>
                            <a:pt x="118" y="117"/>
                          </a:cubicBezTo>
                          <a:cubicBezTo>
                            <a:pt x="168" y="116"/>
                            <a:pt x="179" y="83"/>
                            <a:pt x="222" y="73"/>
                          </a:cubicBezTo>
                          <a:cubicBezTo>
                            <a:pt x="259" y="64"/>
                            <a:pt x="293" y="90"/>
                            <a:pt x="334" y="80"/>
                          </a:cubicBezTo>
                          <a:cubicBezTo>
                            <a:pt x="373" y="71"/>
                            <a:pt x="393" y="50"/>
                            <a:pt x="436" y="51"/>
                          </a:cubicBezTo>
                          <a:cubicBezTo>
                            <a:pt x="441" y="0"/>
                            <a:pt x="257" y="38"/>
                            <a:pt x="210" y="40"/>
                          </a:cubicBezTo>
                          <a:cubicBezTo>
                            <a:pt x="188" y="91"/>
                            <a:pt x="44" y="104"/>
                            <a:pt x="0" y="85"/>
                          </a:cubicBezTo>
                        </a:path>
                      </a:pathLst>
                    </a:custGeom>
                    <a:solidFill>
                      <a:srgbClr val="282727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5" name="Freeform 191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5189538" y="-16678275"/>
                      <a:ext cx="6494463" cy="13736638"/>
                    </a:xfrm>
                    <a:custGeom>
                      <a:avLst/>
                      <a:gdLst/>
                      <a:ahLst/>
                      <a:cxnLst>
                        <a:cxn ang="0">
                          <a:pos x="425" y="2097"/>
                        </a:cxn>
                        <a:cxn ang="0">
                          <a:pos x="411" y="1626"/>
                        </a:cxn>
                        <a:cxn ang="0">
                          <a:pos x="1348" y="1814"/>
                        </a:cxn>
                        <a:cxn ang="0">
                          <a:pos x="1494" y="2078"/>
                        </a:cxn>
                        <a:cxn ang="0">
                          <a:pos x="1404" y="1741"/>
                        </a:cxn>
                        <a:cxn ang="0">
                          <a:pos x="1218" y="1675"/>
                        </a:cxn>
                        <a:cxn ang="0">
                          <a:pos x="864" y="2736"/>
                        </a:cxn>
                        <a:cxn ang="0">
                          <a:pos x="835" y="2939"/>
                        </a:cxn>
                        <a:cxn ang="0">
                          <a:pos x="743" y="3233"/>
                        </a:cxn>
                        <a:cxn ang="0">
                          <a:pos x="838" y="3369"/>
                        </a:cxn>
                        <a:cxn ang="0">
                          <a:pos x="672" y="3391"/>
                        </a:cxn>
                        <a:cxn ang="0">
                          <a:pos x="907" y="3432"/>
                        </a:cxn>
                        <a:cxn ang="0">
                          <a:pos x="912" y="2813"/>
                        </a:cxn>
                        <a:cxn ang="0">
                          <a:pos x="845" y="2436"/>
                        </a:cxn>
                        <a:cxn ang="0">
                          <a:pos x="1012" y="1917"/>
                        </a:cxn>
                        <a:cxn ang="0">
                          <a:pos x="432" y="2234"/>
                        </a:cxn>
                        <a:cxn ang="0">
                          <a:pos x="581" y="1989"/>
                        </a:cxn>
                        <a:cxn ang="0">
                          <a:pos x="1456" y="2052"/>
                        </a:cxn>
                        <a:cxn ang="0">
                          <a:pos x="1554" y="2254"/>
                        </a:cxn>
                        <a:cxn ang="0">
                          <a:pos x="1250" y="502"/>
                        </a:cxn>
                        <a:cxn ang="0">
                          <a:pos x="1296" y="1373"/>
                        </a:cxn>
                        <a:cxn ang="0">
                          <a:pos x="1323" y="1220"/>
                        </a:cxn>
                        <a:cxn ang="0">
                          <a:pos x="1210" y="697"/>
                        </a:cxn>
                        <a:cxn ang="0">
                          <a:pos x="1218" y="156"/>
                        </a:cxn>
                        <a:cxn ang="0">
                          <a:pos x="1287" y="85"/>
                        </a:cxn>
                        <a:cxn ang="0">
                          <a:pos x="1378" y="858"/>
                        </a:cxn>
                        <a:cxn ang="0">
                          <a:pos x="1407" y="1145"/>
                        </a:cxn>
                        <a:cxn ang="0">
                          <a:pos x="1449" y="512"/>
                        </a:cxn>
                        <a:cxn ang="0">
                          <a:pos x="1498" y="1507"/>
                        </a:cxn>
                        <a:cxn ang="0">
                          <a:pos x="1440" y="1386"/>
                        </a:cxn>
                        <a:cxn ang="0">
                          <a:pos x="1541" y="1213"/>
                        </a:cxn>
                        <a:cxn ang="0">
                          <a:pos x="1443" y="1038"/>
                        </a:cxn>
                        <a:cxn ang="0">
                          <a:pos x="1400" y="1432"/>
                        </a:cxn>
                        <a:cxn ang="0">
                          <a:pos x="1524" y="831"/>
                        </a:cxn>
                        <a:cxn ang="0">
                          <a:pos x="1512" y="653"/>
                        </a:cxn>
                        <a:cxn ang="0">
                          <a:pos x="1717" y="1141"/>
                        </a:cxn>
                        <a:cxn ang="0">
                          <a:pos x="1700" y="1089"/>
                        </a:cxn>
                        <a:cxn ang="0">
                          <a:pos x="1524" y="1530"/>
                        </a:cxn>
                        <a:cxn ang="0">
                          <a:pos x="1557" y="175"/>
                        </a:cxn>
                        <a:cxn ang="0">
                          <a:pos x="1479" y="685"/>
                        </a:cxn>
                        <a:cxn ang="0">
                          <a:pos x="1557" y="175"/>
                        </a:cxn>
                        <a:cxn ang="0">
                          <a:pos x="1535" y="1616"/>
                        </a:cxn>
                        <a:cxn ang="0">
                          <a:pos x="1218" y="150"/>
                        </a:cxn>
                        <a:cxn ang="0">
                          <a:pos x="480" y="53"/>
                        </a:cxn>
                        <a:cxn ang="0">
                          <a:pos x="409" y="408"/>
                        </a:cxn>
                        <a:cxn ang="0">
                          <a:pos x="604" y="884"/>
                        </a:cxn>
                        <a:cxn ang="0">
                          <a:pos x="390" y="239"/>
                        </a:cxn>
                        <a:cxn ang="0">
                          <a:pos x="481" y="68"/>
                        </a:cxn>
                        <a:cxn ang="0">
                          <a:pos x="124" y="1243"/>
                        </a:cxn>
                        <a:cxn ang="0">
                          <a:pos x="191" y="1209"/>
                        </a:cxn>
                        <a:cxn ang="0">
                          <a:pos x="202" y="1454"/>
                        </a:cxn>
                        <a:cxn ang="0">
                          <a:pos x="304" y="1651"/>
                        </a:cxn>
                        <a:cxn ang="0">
                          <a:pos x="262" y="1200"/>
                        </a:cxn>
                        <a:cxn ang="0">
                          <a:pos x="203" y="479"/>
                        </a:cxn>
                        <a:cxn ang="0">
                          <a:pos x="193" y="587"/>
                        </a:cxn>
                        <a:cxn ang="0">
                          <a:pos x="226" y="920"/>
                        </a:cxn>
                        <a:cxn ang="0">
                          <a:pos x="323" y="441"/>
                        </a:cxn>
                        <a:cxn ang="0">
                          <a:pos x="359" y="1138"/>
                        </a:cxn>
                        <a:cxn ang="0">
                          <a:pos x="220" y="1099"/>
                        </a:cxn>
                        <a:cxn ang="0">
                          <a:pos x="207" y="1102"/>
                        </a:cxn>
                        <a:cxn ang="0">
                          <a:pos x="155" y="1604"/>
                        </a:cxn>
                        <a:cxn ang="0">
                          <a:pos x="520" y="822"/>
                        </a:cxn>
                      </a:cxnLst>
                      <a:rect l="0" t="0" r="r" b="b"/>
                      <a:pathLst>
                        <a:path w="1732" h="3663">
                          <a:moveTo>
                            <a:pt x="798" y="1708"/>
                          </a:moveTo>
                          <a:cubicBezTo>
                            <a:pt x="726" y="1764"/>
                            <a:pt x="564" y="1788"/>
                            <a:pt x="495" y="1782"/>
                          </a:cubicBezTo>
                          <a:cubicBezTo>
                            <a:pt x="481" y="1880"/>
                            <a:pt x="406" y="1840"/>
                            <a:pt x="416" y="1953"/>
                          </a:cubicBezTo>
                          <a:cubicBezTo>
                            <a:pt x="439" y="1974"/>
                            <a:pt x="426" y="2058"/>
                            <a:pt x="425" y="2097"/>
                          </a:cubicBezTo>
                          <a:cubicBezTo>
                            <a:pt x="423" y="2156"/>
                            <a:pt x="380" y="2227"/>
                            <a:pt x="366" y="2281"/>
                          </a:cubicBezTo>
                          <a:cubicBezTo>
                            <a:pt x="343" y="2247"/>
                            <a:pt x="357" y="2193"/>
                            <a:pt x="353" y="2149"/>
                          </a:cubicBezTo>
                          <a:cubicBezTo>
                            <a:pt x="349" y="2106"/>
                            <a:pt x="334" y="2062"/>
                            <a:pt x="327" y="2017"/>
                          </a:cubicBezTo>
                          <a:cubicBezTo>
                            <a:pt x="313" y="1924"/>
                            <a:pt x="377" y="1656"/>
                            <a:pt x="411" y="1626"/>
                          </a:cubicBezTo>
                          <a:moveTo>
                            <a:pt x="1218" y="1675"/>
                          </a:moveTo>
                          <a:cubicBezTo>
                            <a:pt x="1191" y="1693"/>
                            <a:pt x="1209" y="1724"/>
                            <a:pt x="1237" y="1731"/>
                          </a:cubicBezTo>
                          <a:cubicBezTo>
                            <a:pt x="1265" y="1739"/>
                            <a:pt x="1296" y="1753"/>
                            <a:pt x="1317" y="1773"/>
                          </a:cubicBezTo>
                          <a:cubicBezTo>
                            <a:pt x="1328" y="1783"/>
                            <a:pt x="1339" y="1800"/>
                            <a:pt x="1348" y="1814"/>
                          </a:cubicBezTo>
                          <a:cubicBezTo>
                            <a:pt x="1358" y="1833"/>
                            <a:pt x="1357" y="1845"/>
                            <a:pt x="1358" y="1867"/>
                          </a:cubicBezTo>
                          <a:cubicBezTo>
                            <a:pt x="1360" y="1914"/>
                            <a:pt x="1356" y="1966"/>
                            <a:pt x="1390" y="2000"/>
                          </a:cubicBezTo>
                          <a:cubicBezTo>
                            <a:pt x="1408" y="2017"/>
                            <a:pt x="1432" y="2014"/>
                            <a:pt x="1446" y="2029"/>
                          </a:cubicBezTo>
                          <a:cubicBezTo>
                            <a:pt x="1457" y="2040"/>
                            <a:pt x="1475" y="2079"/>
                            <a:pt x="1494" y="2078"/>
                          </a:cubicBezTo>
                          <a:cubicBezTo>
                            <a:pt x="1504" y="2078"/>
                            <a:pt x="1533" y="2038"/>
                            <a:pt x="1537" y="2026"/>
                          </a:cubicBezTo>
                          <a:cubicBezTo>
                            <a:pt x="1548" y="1991"/>
                            <a:pt x="1528" y="1959"/>
                            <a:pt x="1509" y="1932"/>
                          </a:cubicBezTo>
                          <a:cubicBezTo>
                            <a:pt x="1481" y="1894"/>
                            <a:pt x="1473" y="1861"/>
                            <a:pt x="1458" y="1819"/>
                          </a:cubicBezTo>
                          <a:cubicBezTo>
                            <a:pt x="1448" y="1790"/>
                            <a:pt x="1427" y="1763"/>
                            <a:pt x="1404" y="1741"/>
                          </a:cubicBezTo>
                          <a:cubicBezTo>
                            <a:pt x="1378" y="1717"/>
                            <a:pt x="1362" y="1686"/>
                            <a:pt x="1348" y="1653"/>
                          </a:cubicBezTo>
                          <a:cubicBezTo>
                            <a:pt x="1343" y="1641"/>
                            <a:pt x="1337" y="1615"/>
                            <a:pt x="1322" y="1616"/>
                          </a:cubicBezTo>
                          <a:cubicBezTo>
                            <a:pt x="1312" y="1617"/>
                            <a:pt x="1286" y="1647"/>
                            <a:pt x="1275" y="1653"/>
                          </a:cubicBezTo>
                          <a:cubicBezTo>
                            <a:pt x="1258" y="1662"/>
                            <a:pt x="1233" y="1664"/>
                            <a:pt x="1218" y="1675"/>
                          </a:cubicBezTo>
                          <a:close/>
                          <a:moveTo>
                            <a:pt x="716" y="2369"/>
                          </a:moveTo>
                          <a:cubicBezTo>
                            <a:pt x="650" y="2380"/>
                            <a:pt x="694" y="2429"/>
                            <a:pt x="711" y="2456"/>
                          </a:cubicBezTo>
                          <a:cubicBezTo>
                            <a:pt x="732" y="2490"/>
                            <a:pt x="747" y="2528"/>
                            <a:pt x="773" y="2564"/>
                          </a:cubicBezTo>
                          <a:cubicBezTo>
                            <a:pt x="817" y="2624"/>
                            <a:pt x="875" y="2644"/>
                            <a:pt x="864" y="2736"/>
                          </a:cubicBezTo>
                          <a:cubicBezTo>
                            <a:pt x="862" y="2752"/>
                            <a:pt x="851" y="2771"/>
                            <a:pt x="851" y="2786"/>
                          </a:cubicBezTo>
                          <a:cubicBezTo>
                            <a:pt x="851" y="2809"/>
                            <a:pt x="877" y="2828"/>
                            <a:pt x="877" y="2838"/>
                          </a:cubicBezTo>
                          <a:cubicBezTo>
                            <a:pt x="877" y="2873"/>
                            <a:pt x="856" y="2853"/>
                            <a:pt x="838" y="2872"/>
                          </a:cubicBezTo>
                          <a:cubicBezTo>
                            <a:pt x="812" y="2900"/>
                            <a:pt x="826" y="2905"/>
                            <a:pt x="835" y="2939"/>
                          </a:cubicBezTo>
                          <a:cubicBezTo>
                            <a:pt x="849" y="2995"/>
                            <a:pt x="832" y="3042"/>
                            <a:pt x="820" y="3099"/>
                          </a:cubicBezTo>
                          <a:cubicBezTo>
                            <a:pt x="792" y="3097"/>
                            <a:pt x="769" y="3117"/>
                            <a:pt x="778" y="3147"/>
                          </a:cubicBezTo>
                          <a:cubicBezTo>
                            <a:pt x="782" y="3145"/>
                            <a:pt x="793" y="3143"/>
                            <a:pt x="798" y="3139"/>
                          </a:cubicBezTo>
                          <a:cubicBezTo>
                            <a:pt x="808" y="3183"/>
                            <a:pt x="735" y="3173"/>
                            <a:pt x="743" y="3233"/>
                          </a:cubicBezTo>
                          <a:cubicBezTo>
                            <a:pt x="747" y="3269"/>
                            <a:pt x="773" y="3295"/>
                            <a:pt x="808" y="3274"/>
                          </a:cubicBezTo>
                          <a:cubicBezTo>
                            <a:pt x="828" y="3262"/>
                            <a:pt x="812" y="3235"/>
                            <a:pt x="847" y="3234"/>
                          </a:cubicBezTo>
                          <a:cubicBezTo>
                            <a:pt x="886" y="3234"/>
                            <a:pt x="888" y="3286"/>
                            <a:pt x="877" y="3316"/>
                          </a:cubicBezTo>
                          <a:cubicBezTo>
                            <a:pt x="869" y="3335"/>
                            <a:pt x="845" y="3348"/>
                            <a:pt x="838" y="3369"/>
                          </a:cubicBezTo>
                          <a:cubicBezTo>
                            <a:pt x="831" y="3390"/>
                            <a:pt x="830" y="3421"/>
                            <a:pt x="830" y="3443"/>
                          </a:cubicBezTo>
                          <a:cubicBezTo>
                            <a:pt x="868" y="3436"/>
                            <a:pt x="881" y="3523"/>
                            <a:pt x="877" y="3552"/>
                          </a:cubicBezTo>
                          <a:cubicBezTo>
                            <a:pt x="873" y="3588"/>
                            <a:pt x="835" y="3602"/>
                            <a:pt x="793" y="3596"/>
                          </a:cubicBezTo>
                          <a:cubicBezTo>
                            <a:pt x="714" y="3584"/>
                            <a:pt x="699" y="3450"/>
                            <a:pt x="672" y="3391"/>
                          </a:cubicBezTo>
                          <a:cubicBezTo>
                            <a:pt x="656" y="3427"/>
                            <a:pt x="646" y="3517"/>
                            <a:pt x="681" y="3544"/>
                          </a:cubicBezTo>
                          <a:cubicBezTo>
                            <a:pt x="694" y="3619"/>
                            <a:pt x="725" y="3663"/>
                            <a:pt x="813" y="3652"/>
                          </a:cubicBezTo>
                          <a:cubicBezTo>
                            <a:pt x="889" y="3642"/>
                            <a:pt x="935" y="3600"/>
                            <a:pt x="930" y="3517"/>
                          </a:cubicBezTo>
                          <a:cubicBezTo>
                            <a:pt x="927" y="3481"/>
                            <a:pt x="918" y="3465"/>
                            <a:pt x="907" y="3432"/>
                          </a:cubicBezTo>
                          <a:cubicBezTo>
                            <a:pt x="907" y="3432"/>
                            <a:pt x="891" y="3327"/>
                            <a:pt x="892" y="3325"/>
                          </a:cubicBezTo>
                          <a:cubicBezTo>
                            <a:pt x="906" y="3251"/>
                            <a:pt x="922" y="3179"/>
                            <a:pt x="925" y="3101"/>
                          </a:cubicBezTo>
                          <a:cubicBezTo>
                            <a:pt x="928" y="3045"/>
                            <a:pt x="928" y="2993"/>
                            <a:pt x="934" y="2938"/>
                          </a:cubicBezTo>
                          <a:cubicBezTo>
                            <a:pt x="939" y="2889"/>
                            <a:pt x="922" y="2860"/>
                            <a:pt x="912" y="2813"/>
                          </a:cubicBezTo>
                          <a:cubicBezTo>
                            <a:pt x="900" y="2755"/>
                            <a:pt x="909" y="2703"/>
                            <a:pt x="917" y="2648"/>
                          </a:cubicBezTo>
                          <a:cubicBezTo>
                            <a:pt x="924" y="2607"/>
                            <a:pt x="941" y="2490"/>
                            <a:pt x="911" y="2454"/>
                          </a:cubicBezTo>
                          <a:cubicBezTo>
                            <a:pt x="901" y="2443"/>
                            <a:pt x="887" y="2467"/>
                            <a:pt x="879" y="2461"/>
                          </a:cubicBezTo>
                          <a:cubicBezTo>
                            <a:pt x="861" y="2449"/>
                            <a:pt x="863" y="2451"/>
                            <a:pt x="845" y="2436"/>
                          </a:cubicBezTo>
                          <a:cubicBezTo>
                            <a:pt x="811" y="2407"/>
                            <a:pt x="766" y="2360"/>
                            <a:pt x="716" y="2369"/>
                          </a:cubicBezTo>
                          <a:close/>
                          <a:moveTo>
                            <a:pt x="836" y="1882"/>
                          </a:moveTo>
                          <a:cubicBezTo>
                            <a:pt x="836" y="1939"/>
                            <a:pt x="818" y="2380"/>
                            <a:pt x="967" y="2293"/>
                          </a:cubicBezTo>
                          <a:cubicBezTo>
                            <a:pt x="1041" y="2249"/>
                            <a:pt x="1040" y="1985"/>
                            <a:pt x="1012" y="1917"/>
                          </a:cubicBezTo>
                          <a:cubicBezTo>
                            <a:pt x="999" y="1963"/>
                            <a:pt x="1008" y="2382"/>
                            <a:pt x="875" y="2228"/>
                          </a:cubicBezTo>
                          <a:cubicBezTo>
                            <a:pt x="842" y="2190"/>
                            <a:pt x="834" y="2075"/>
                            <a:pt x="829" y="2026"/>
                          </a:cubicBezTo>
                          <a:cubicBezTo>
                            <a:pt x="823" y="1953"/>
                            <a:pt x="808" y="1858"/>
                            <a:pt x="817" y="1791"/>
                          </a:cubicBezTo>
                          <a:moveTo>
                            <a:pt x="432" y="2234"/>
                          </a:moveTo>
                          <a:cubicBezTo>
                            <a:pt x="342" y="2284"/>
                            <a:pt x="395" y="2559"/>
                            <a:pt x="461" y="2605"/>
                          </a:cubicBezTo>
                          <a:cubicBezTo>
                            <a:pt x="425" y="2500"/>
                            <a:pt x="458" y="2413"/>
                            <a:pt x="497" y="2320"/>
                          </a:cubicBezTo>
                          <a:cubicBezTo>
                            <a:pt x="517" y="2273"/>
                            <a:pt x="511" y="2207"/>
                            <a:pt x="522" y="2153"/>
                          </a:cubicBezTo>
                          <a:cubicBezTo>
                            <a:pt x="534" y="2094"/>
                            <a:pt x="558" y="2041"/>
                            <a:pt x="581" y="1989"/>
                          </a:cubicBezTo>
                          <a:cubicBezTo>
                            <a:pt x="546" y="2004"/>
                            <a:pt x="520" y="2038"/>
                            <a:pt x="478" y="2039"/>
                          </a:cubicBezTo>
                          <a:cubicBezTo>
                            <a:pt x="476" y="2086"/>
                            <a:pt x="482" y="2127"/>
                            <a:pt x="463" y="2169"/>
                          </a:cubicBezTo>
                          <a:cubicBezTo>
                            <a:pt x="449" y="2199"/>
                            <a:pt x="416" y="2219"/>
                            <a:pt x="412" y="2254"/>
                          </a:cubicBezTo>
                          <a:moveTo>
                            <a:pt x="1456" y="2052"/>
                          </a:moveTo>
                          <a:cubicBezTo>
                            <a:pt x="1480" y="2083"/>
                            <a:pt x="1466" y="2141"/>
                            <a:pt x="1464" y="2182"/>
                          </a:cubicBezTo>
                          <a:cubicBezTo>
                            <a:pt x="1461" y="2239"/>
                            <a:pt x="1470" y="2250"/>
                            <a:pt x="1500" y="2295"/>
                          </a:cubicBezTo>
                          <a:cubicBezTo>
                            <a:pt x="1540" y="2354"/>
                            <a:pt x="1553" y="2431"/>
                            <a:pt x="1595" y="2493"/>
                          </a:cubicBezTo>
                          <a:cubicBezTo>
                            <a:pt x="1613" y="2426"/>
                            <a:pt x="1578" y="2316"/>
                            <a:pt x="1554" y="2254"/>
                          </a:cubicBezTo>
                          <a:cubicBezTo>
                            <a:pt x="1540" y="2218"/>
                            <a:pt x="1513" y="2061"/>
                            <a:pt x="1482" y="2052"/>
                          </a:cubicBezTo>
                          <a:moveTo>
                            <a:pt x="1319" y="189"/>
                          </a:moveTo>
                          <a:cubicBezTo>
                            <a:pt x="1323" y="238"/>
                            <a:pt x="1297" y="289"/>
                            <a:pt x="1289" y="336"/>
                          </a:cubicBezTo>
                          <a:cubicBezTo>
                            <a:pt x="1280" y="392"/>
                            <a:pt x="1260" y="446"/>
                            <a:pt x="1250" y="502"/>
                          </a:cubicBezTo>
                          <a:cubicBezTo>
                            <a:pt x="1231" y="608"/>
                            <a:pt x="1172" y="706"/>
                            <a:pt x="1148" y="808"/>
                          </a:cubicBezTo>
                          <a:cubicBezTo>
                            <a:pt x="1136" y="861"/>
                            <a:pt x="1137" y="903"/>
                            <a:pt x="1149" y="955"/>
                          </a:cubicBezTo>
                          <a:cubicBezTo>
                            <a:pt x="1161" y="1004"/>
                            <a:pt x="1181" y="1043"/>
                            <a:pt x="1197" y="1090"/>
                          </a:cubicBezTo>
                          <a:cubicBezTo>
                            <a:pt x="1229" y="1184"/>
                            <a:pt x="1266" y="1278"/>
                            <a:pt x="1296" y="1373"/>
                          </a:cubicBezTo>
                          <a:cubicBezTo>
                            <a:pt x="1317" y="1439"/>
                            <a:pt x="1311" y="1523"/>
                            <a:pt x="1309" y="1597"/>
                          </a:cubicBezTo>
                          <a:cubicBezTo>
                            <a:pt x="1364" y="1583"/>
                            <a:pt x="1358" y="1495"/>
                            <a:pt x="1358" y="1451"/>
                          </a:cubicBezTo>
                          <a:cubicBezTo>
                            <a:pt x="1358" y="1398"/>
                            <a:pt x="1372" y="1337"/>
                            <a:pt x="1352" y="1287"/>
                          </a:cubicBezTo>
                          <a:cubicBezTo>
                            <a:pt x="1344" y="1266"/>
                            <a:pt x="1330" y="1243"/>
                            <a:pt x="1323" y="1220"/>
                          </a:cubicBezTo>
                          <a:cubicBezTo>
                            <a:pt x="1315" y="1195"/>
                            <a:pt x="1316" y="1169"/>
                            <a:pt x="1308" y="1145"/>
                          </a:cubicBezTo>
                          <a:cubicBezTo>
                            <a:pt x="1291" y="1093"/>
                            <a:pt x="1266" y="1045"/>
                            <a:pt x="1246" y="995"/>
                          </a:cubicBezTo>
                          <a:cubicBezTo>
                            <a:pt x="1229" y="950"/>
                            <a:pt x="1204" y="907"/>
                            <a:pt x="1195" y="861"/>
                          </a:cubicBezTo>
                          <a:cubicBezTo>
                            <a:pt x="1184" y="805"/>
                            <a:pt x="1202" y="750"/>
                            <a:pt x="1210" y="697"/>
                          </a:cubicBezTo>
                          <a:cubicBezTo>
                            <a:pt x="1219" y="644"/>
                            <a:pt x="1246" y="618"/>
                            <a:pt x="1277" y="575"/>
                          </a:cubicBezTo>
                          <a:cubicBezTo>
                            <a:pt x="1310" y="529"/>
                            <a:pt x="1319" y="474"/>
                            <a:pt x="1319" y="414"/>
                          </a:cubicBezTo>
                          <a:cubicBezTo>
                            <a:pt x="1319" y="344"/>
                            <a:pt x="1340" y="249"/>
                            <a:pt x="1316" y="182"/>
                          </a:cubicBezTo>
                          <a:moveTo>
                            <a:pt x="1218" y="156"/>
                          </a:moveTo>
                          <a:cubicBezTo>
                            <a:pt x="1262" y="161"/>
                            <a:pt x="1297" y="117"/>
                            <a:pt x="1332" y="97"/>
                          </a:cubicBezTo>
                          <a:cubicBezTo>
                            <a:pt x="1312" y="78"/>
                            <a:pt x="1290" y="65"/>
                            <a:pt x="1271" y="45"/>
                          </a:cubicBezTo>
                          <a:cubicBezTo>
                            <a:pt x="1255" y="29"/>
                            <a:pt x="1235" y="7"/>
                            <a:pt x="1212" y="0"/>
                          </a:cubicBezTo>
                          <a:cubicBezTo>
                            <a:pt x="1238" y="28"/>
                            <a:pt x="1257" y="60"/>
                            <a:pt x="1287" y="85"/>
                          </a:cubicBezTo>
                          <a:cubicBezTo>
                            <a:pt x="1264" y="107"/>
                            <a:pt x="1238" y="129"/>
                            <a:pt x="1214" y="150"/>
                          </a:cubicBezTo>
                          <a:moveTo>
                            <a:pt x="1384" y="244"/>
                          </a:moveTo>
                          <a:cubicBezTo>
                            <a:pt x="1384" y="409"/>
                            <a:pt x="1345" y="570"/>
                            <a:pt x="1362" y="735"/>
                          </a:cubicBezTo>
                          <a:cubicBezTo>
                            <a:pt x="1366" y="778"/>
                            <a:pt x="1378" y="815"/>
                            <a:pt x="1378" y="858"/>
                          </a:cubicBezTo>
                          <a:cubicBezTo>
                            <a:pt x="1377" y="894"/>
                            <a:pt x="1377" y="931"/>
                            <a:pt x="1378" y="968"/>
                          </a:cubicBezTo>
                          <a:cubicBezTo>
                            <a:pt x="1378" y="1037"/>
                            <a:pt x="1397" y="1104"/>
                            <a:pt x="1400" y="1174"/>
                          </a:cubicBezTo>
                          <a:cubicBezTo>
                            <a:pt x="1403" y="1221"/>
                            <a:pt x="1419" y="1272"/>
                            <a:pt x="1413" y="1317"/>
                          </a:cubicBezTo>
                          <a:cubicBezTo>
                            <a:pt x="1397" y="1272"/>
                            <a:pt x="1406" y="1196"/>
                            <a:pt x="1407" y="1145"/>
                          </a:cubicBezTo>
                          <a:cubicBezTo>
                            <a:pt x="1408" y="1056"/>
                            <a:pt x="1417" y="966"/>
                            <a:pt x="1417" y="875"/>
                          </a:cubicBezTo>
                          <a:cubicBezTo>
                            <a:pt x="1417" y="802"/>
                            <a:pt x="1438" y="733"/>
                            <a:pt x="1449" y="661"/>
                          </a:cubicBezTo>
                          <a:cubicBezTo>
                            <a:pt x="1458" y="597"/>
                            <a:pt x="1456" y="532"/>
                            <a:pt x="1456" y="468"/>
                          </a:cubicBezTo>
                          <a:cubicBezTo>
                            <a:pt x="1459" y="483"/>
                            <a:pt x="1454" y="499"/>
                            <a:pt x="1449" y="512"/>
                          </a:cubicBezTo>
                          <a:cubicBezTo>
                            <a:pt x="1389" y="513"/>
                            <a:pt x="1389" y="478"/>
                            <a:pt x="1381" y="427"/>
                          </a:cubicBezTo>
                          <a:cubicBezTo>
                            <a:pt x="1371" y="360"/>
                            <a:pt x="1378" y="287"/>
                            <a:pt x="1378" y="218"/>
                          </a:cubicBezTo>
                          <a:moveTo>
                            <a:pt x="1413" y="1445"/>
                          </a:moveTo>
                          <a:cubicBezTo>
                            <a:pt x="1413" y="1479"/>
                            <a:pt x="1471" y="1497"/>
                            <a:pt x="1498" y="1507"/>
                          </a:cubicBezTo>
                          <a:cubicBezTo>
                            <a:pt x="1560" y="1528"/>
                            <a:pt x="1566" y="1504"/>
                            <a:pt x="1618" y="1484"/>
                          </a:cubicBezTo>
                          <a:cubicBezTo>
                            <a:pt x="1595" y="1486"/>
                            <a:pt x="1571" y="1499"/>
                            <a:pt x="1547" y="1494"/>
                          </a:cubicBezTo>
                          <a:cubicBezTo>
                            <a:pt x="1530" y="1490"/>
                            <a:pt x="1509" y="1475"/>
                            <a:pt x="1495" y="1468"/>
                          </a:cubicBezTo>
                          <a:cubicBezTo>
                            <a:pt x="1458" y="1451"/>
                            <a:pt x="1432" y="1432"/>
                            <a:pt x="1440" y="1386"/>
                          </a:cubicBezTo>
                          <a:cubicBezTo>
                            <a:pt x="1445" y="1350"/>
                            <a:pt x="1482" y="1341"/>
                            <a:pt x="1493" y="1311"/>
                          </a:cubicBezTo>
                          <a:cubicBezTo>
                            <a:pt x="1506" y="1275"/>
                            <a:pt x="1458" y="1251"/>
                            <a:pt x="1482" y="1211"/>
                          </a:cubicBezTo>
                          <a:cubicBezTo>
                            <a:pt x="1531" y="1201"/>
                            <a:pt x="1594" y="1322"/>
                            <a:pt x="1648" y="1260"/>
                          </a:cubicBezTo>
                          <a:cubicBezTo>
                            <a:pt x="1592" y="1256"/>
                            <a:pt x="1583" y="1242"/>
                            <a:pt x="1541" y="1213"/>
                          </a:cubicBezTo>
                          <a:cubicBezTo>
                            <a:pt x="1510" y="1192"/>
                            <a:pt x="1480" y="1171"/>
                            <a:pt x="1531" y="1151"/>
                          </a:cubicBezTo>
                          <a:cubicBezTo>
                            <a:pt x="1552" y="1143"/>
                            <a:pt x="1556" y="1154"/>
                            <a:pt x="1563" y="1128"/>
                          </a:cubicBezTo>
                          <a:cubicBezTo>
                            <a:pt x="1570" y="1107"/>
                            <a:pt x="1555" y="1078"/>
                            <a:pt x="1541" y="1062"/>
                          </a:cubicBezTo>
                          <a:cubicBezTo>
                            <a:pt x="1518" y="1035"/>
                            <a:pt x="1479" y="1035"/>
                            <a:pt x="1443" y="1038"/>
                          </a:cubicBezTo>
                          <a:cubicBezTo>
                            <a:pt x="1443" y="1065"/>
                            <a:pt x="1462" y="1094"/>
                            <a:pt x="1459" y="1128"/>
                          </a:cubicBezTo>
                          <a:cubicBezTo>
                            <a:pt x="1455" y="1177"/>
                            <a:pt x="1443" y="1226"/>
                            <a:pt x="1440" y="1275"/>
                          </a:cubicBezTo>
                          <a:cubicBezTo>
                            <a:pt x="1436" y="1317"/>
                            <a:pt x="1416" y="1343"/>
                            <a:pt x="1408" y="1380"/>
                          </a:cubicBezTo>
                          <a:cubicBezTo>
                            <a:pt x="1403" y="1397"/>
                            <a:pt x="1407" y="1415"/>
                            <a:pt x="1400" y="1432"/>
                          </a:cubicBezTo>
                          <a:cubicBezTo>
                            <a:pt x="1395" y="1446"/>
                            <a:pt x="1384" y="1451"/>
                            <a:pt x="1384" y="1467"/>
                          </a:cubicBezTo>
                          <a:cubicBezTo>
                            <a:pt x="1380" y="1468"/>
                            <a:pt x="1377" y="1467"/>
                            <a:pt x="1374" y="1468"/>
                          </a:cubicBezTo>
                          <a:moveTo>
                            <a:pt x="1466" y="936"/>
                          </a:moveTo>
                          <a:cubicBezTo>
                            <a:pt x="1530" y="931"/>
                            <a:pt x="1524" y="879"/>
                            <a:pt x="1524" y="831"/>
                          </a:cubicBezTo>
                          <a:cubicBezTo>
                            <a:pt x="1524" y="776"/>
                            <a:pt x="1532" y="748"/>
                            <a:pt x="1559" y="703"/>
                          </a:cubicBezTo>
                          <a:cubicBezTo>
                            <a:pt x="1604" y="627"/>
                            <a:pt x="1633" y="534"/>
                            <a:pt x="1628" y="441"/>
                          </a:cubicBezTo>
                          <a:cubicBezTo>
                            <a:pt x="1590" y="408"/>
                            <a:pt x="1569" y="563"/>
                            <a:pt x="1555" y="591"/>
                          </a:cubicBezTo>
                          <a:cubicBezTo>
                            <a:pt x="1544" y="612"/>
                            <a:pt x="1523" y="633"/>
                            <a:pt x="1512" y="653"/>
                          </a:cubicBezTo>
                          <a:cubicBezTo>
                            <a:pt x="1501" y="672"/>
                            <a:pt x="1500" y="689"/>
                            <a:pt x="1495" y="711"/>
                          </a:cubicBezTo>
                          <a:cubicBezTo>
                            <a:pt x="1483" y="757"/>
                            <a:pt x="1469" y="796"/>
                            <a:pt x="1469" y="845"/>
                          </a:cubicBezTo>
                          <a:cubicBezTo>
                            <a:pt x="1469" y="889"/>
                            <a:pt x="1464" y="925"/>
                            <a:pt x="1456" y="965"/>
                          </a:cubicBezTo>
                          <a:moveTo>
                            <a:pt x="1717" y="1141"/>
                          </a:moveTo>
                          <a:cubicBezTo>
                            <a:pt x="1707" y="1127"/>
                            <a:pt x="1711" y="1103"/>
                            <a:pt x="1710" y="1084"/>
                          </a:cubicBezTo>
                          <a:cubicBezTo>
                            <a:pt x="1676" y="1146"/>
                            <a:pt x="1731" y="1200"/>
                            <a:pt x="1679" y="1253"/>
                          </a:cubicBezTo>
                          <a:cubicBezTo>
                            <a:pt x="1730" y="1240"/>
                            <a:pt x="1732" y="1228"/>
                            <a:pt x="1719" y="1178"/>
                          </a:cubicBezTo>
                          <a:cubicBezTo>
                            <a:pt x="1713" y="1152"/>
                            <a:pt x="1699" y="1118"/>
                            <a:pt x="1700" y="1089"/>
                          </a:cubicBezTo>
                          <a:moveTo>
                            <a:pt x="1449" y="1536"/>
                          </a:moveTo>
                          <a:cubicBezTo>
                            <a:pt x="1490" y="1547"/>
                            <a:pt x="1529" y="1547"/>
                            <a:pt x="1570" y="1562"/>
                          </a:cubicBezTo>
                          <a:cubicBezTo>
                            <a:pt x="1602" y="1575"/>
                            <a:pt x="1671" y="1593"/>
                            <a:pt x="1661" y="1533"/>
                          </a:cubicBezTo>
                          <a:cubicBezTo>
                            <a:pt x="1615" y="1531"/>
                            <a:pt x="1568" y="1533"/>
                            <a:pt x="1524" y="1530"/>
                          </a:cubicBezTo>
                          <a:cubicBezTo>
                            <a:pt x="1482" y="1526"/>
                            <a:pt x="1443" y="1500"/>
                            <a:pt x="1401" y="1504"/>
                          </a:cubicBezTo>
                          <a:cubicBezTo>
                            <a:pt x="1400" y="1516"/>
                            <a:pt x="1403" y="1523"/>
                            <a:pt x="1411" y="1532"/>
                          </a:cubicBezTo>
                          <a:cubicBezTo>
                            <a:pt x="1426" y="1534"/>
                            <a:pt x="1440" y="1538"/>
                            <a:pt x="1456" y="1536"/>
                          </a:cubicBezTo>
                          <a:moveTo>
                            <a:pt x="1557" y="175"/>
                          </a:moveTo>
                          <a:cubicBezTo>
                            <a:pt x="1521" y="227"/>
                            <a:pt x="1498" y="294"/>
                            <a:pt x="1498" y="359"/>
                          </a:cubicBezTo>
                          <a:cubicBezTo>
                            <a:pt x="1498" y="400"/>
                            <a:pt x="1495" y="438"/>
                            <a:pt x="1489" y="477"/>
                          </a:cubicBezTo>
                          <a:cubicBezTo>
                            <a:pt x="1483" y="513"/>
                            <a:pt x="1485" y="550"/>
                            <a:pt x="1479" y="587"/>
                          </a:cubicBezTo>
                          <a:cubicBezTo>
                            <a:pt x="1474" y="614"/>
                            <a:pt x="1462" y="662"/>
                            <a:pt x="1479" y="685"/>
                          </a:cubicBezTo>
                          <a:cubicBezTo>
                            <a:pt x="1491" y="655"/>
                            <a:pt x="1484" y="596"/>
                            <a:pt x="1488" y="561"/>
                          </a:cubicBezTo>
                          <a:cubicBezTo>
                            <a:pt x="1492" y="515"/>
                            <a:pt x="1489" y="472"/>
                            <a:pt x="1498" y="427"/>
                          </a:cubicBezTo>
                          <a:cubicBezTo>
                            <a:pt x="1506" y="387"/>
                            <a:pt x="1514" y="349"/>
                            <a:pt x="1522" y="310"/>
                          </a:cubicBezTo>
                          <a:cubicBezTo>
                            <a:pt x="1531" y="265"/>
                            <a:pt x="1553" y="222"/>
                            <a:pt x="1557" y="175"/>
                          </a:cubicBezTo>
                          <a:close/>
                          <a:moveTo>
                            <a:pt x="1368" y="1601"/>
                          </a:moveTo>
                          <a:cubicBezTo>
                            <a:pt x="1368" y="1655"/>
                            <a:pt x="1380" y="1688"/>
                            <a:pt x="1398" y="1738"/>
                          </a:cubicBezTo>
                          <a:cubicBezTo>
                            <a:pt x="1437" y="1751"/>
                            <a:pt x="1495" y="1715"/>
                            <a:pt x="1537" y="1709"/>
                          </a:cubicBezTo>
                          <a:cubicBezTo>
                            <a:pt x="1597" y="1701"/>
                            <a:pt x="1570" y="1641"/>
                            <a:pt x="1535" y="1616"/>
                          </a:cubicBezTo>
                          <a:cubicBezTo>
                            <a:pt x="1533" y="1640"/>
                            <a:pt x="1540" y="1663"/>
                            <a:pt x="1519" y="1680"/>
                          </a:cubicBezTo>
                          <a:cubicBezTo>
                            <a:pt x="1504" y="1692"/>
                            <a:pt x="1463" y="1703"/>
                            <a:pt x="1443" y="1696"/>
                          </a:cubicBezTo>
                          <a:cubicBezTo>
                            <a:pt x="1405" y="1682"/>
                            <a:pt x="1413" y="1614"/>
                            <a:pt x="1368" y="1601"/>
                          </a:cubicBezTo>
                          <a:moveTo>
                            <a:pt x="1218" y="150"/>
                          </a:moveTo>
                          <a:cubicBezTo>
                            <a:pt x="1227" y="169"/>
                            <a:pt x="1292" y="191"/>
                            <a:pt x="1322" y="188"/>
                          </a:cubicBezTo>
                          <a:cubicBezTo>
                            <a:pt x="1286" y="183"/>
                            <a:pt x="1262" y="176"/>
                            <a:pt x="1224" y="156"/>
                          </a:cubicBezTo>
                          <a:moveTo>
                            <a:pt x="422" y="163"/>
                          </a:moveTo>
                          <a:cubicBezTo>
                            <a:pt x="437" y="126"/>
                            <a:pt x="466" y="89"/>
                            <a:pt x="480" y="53"/>
                          </a:cubicBezTo>
                          <a:cubicBezTo>
                            <a:pt x="459" y="59"/>
                            <a:pt x="392" y="130"/>
                            <a:pt x="392" y="153"/>
                          </a:cubicBezTo>
                          <a:cubicBezTo>
                            <a:pt x="393" y="183"/>
                            <a:pt x="467" y="194"/>
                            <a:pt x="474" y="228"/>
                          </a:cubicBezTo>
                          <a:cubicBezTo>
                            <a:pt x="443" y="233"/>
                            <a:pt x="410" y="217"/>
                            <a:pt x="377" y="219"/>
                          </a:cubicBezTo>
                          <a:cubicBezTo>
                            <a:pt x="368" y="279"/>
                            <a:pt x="399" y="350"/>
                            <a:pt x="409" y="408"/>
                          </a:cubicBezTo>
                          <a:cubicBezTo>
                            <a:pt x="424" y="504"/>
                            <a:pt x="465" y="596"/>
                            <a:pt x="504" y="687"/>
                          </a:cubicBezTo>
                          <a:cubicBezTo>
                            <a:pt x="523" y="731"/>
                            <a:pt x="545" y="774"/>
                            <a:pt x="561" y="816"/>
                          </a:cubicBezTo>
                          <a:cubicBezTo>
                            <a:pt x="582" y="870"/>
                            <a:pt x="575" y="913"/>
                            <a:pt x="579" y="971"/>
                          </a:cubicBezTo>
                          <a:cubicBezTo>
                            <a:pt x="605" y="952"/>
                            <a:pt x="608" y="915"/>
                            <a:pt x="604" y="884"/>
                          </a:cubicBezTo>
                          <a:cubicBezTo>
                            <a:pt x="596" y="833"/>
                            <a:pt x="573" y="785"/>
                            <a:pt x="555" y="738"/>
                          </a:cubicBezTo>
                          <a:cubicBezTo>
                            <a:pt x="534" y="685"/>
                            <a:pt x="498" y="643"/>
                            <a:pt x="474" y="593"/>
                          </a:cubicBezTo>
                          <a:cubicBezTo>
                            <a:pt x="449" y="541"/>
                            <a:pt x="436" y="484"/>
                            <a:pt x="422" y="427"/>
                          </a:cubicBezTo>
                          <a:cubicBezTo>
                            <a:pt x="405" y="359"/>
                            <a:pt x="386" y="312"/>
                            <a:pt x="390" y="239"/>
                          </a:cubicBezTo>
                          <a:cubicBezTo>
                            <a:pt x="426" y="235"/>
                            <a:pt x="464" y="239"/>
                            <a:pt x="497" y="224"/>
                          </a:cubicBezTo>
                          <a:cubicBezTo>
                            <a:pt x="480" y="215"/>
                            <a:pt x="475" y="194"/>
                            <a:pt x="462" y="182"/>
                          </a:cubicBezTo>
                          <a:cubicBezTo>
                            <a:pt x="449" y="169"/>
                            <a:pt x="427" y="169"/>
                            <a:pt x="422" y="154"/>
                          </a:cubicBezTo>
                          <a:cubicBezTo>
                            <a:pt x="444" y="142"/>
                            <a:pt x="484" y="94"/>
                            <a:pt x="481" y="68"/>
                          </a:cubicBezTo>
                          <a:moveTo>
                            <a:pt x="246" y="1106"/>
                          </a:moveTo>
                          <a:cubicBezTo>
                            <a:pt x="248" y="1167"/>
                            <a:pt x="114" y="1144"/>
                            <a:pt x="78" y="1158"/>
                          </a:cubicBezTo>
                          <a:cubicBezTo>
                            <a:pt x="50" y="1169"/>
                            <a:pt x="0" y="1198"/>
                            <a:pt x="44" y="1217"/>
                          </a:cubicBezTo>
                          <a:cubicBezTo>
                            <a:pt x="71" y="1228"/>
                            <a:pt x="102" y="1220"/>
                            <a:pt x="124" y="1243"/>
                          </a:cubicBezTo>
                          <a:cubicBezTo>
                            <a:pt x="119" y="1221"/>
                            <a:pt x="54" y="1206"/>
                            <a:pt x="73" y="1185"/>
                          </a:cubicBezTo>
                          <a:cubicBezTo>
                            <a:pt x="89" y="1167"/>
                            <a:pt x="115" y="1192"/>
                            <a:pt x="128" y="1195"/>
                          </a:cubicBezTo>
                          <a:cubicBezTo>
                            <a:pt x="152" y="1199"/>
                            <a:pt x="163" y="1188"/>
                            <a:pt x="184" y="1177"/>
                          </a:cubicBezTo>
                          <a:cubicBezTo>
                            <a:pt x="191" y="1185"/>
                            <a:pt x="192" y="1198"/>
                            <a:pt x="191" y="1209"/>
                          </a:cubicBezTo>
                          <a:cubicBezTo>
                            <a:pt x="205" y="1207"/>
                            <a:pt x="219" y="1201"/>
                            <a:pt x="235" y="1204"/>
                          </a:cubicBezTo>
                          <a:cubicBezTo>
                            <a:pt x="237" y="1248"/>
                            <a:pt x="205" y="1260"/>
                            <a:pt x="234" y="1295"/>
                          </a:cubicBezTo>
                          <a:cubicBezTo>
                            <a:pt x="257" y="1322"/>
                            <a:pt x="271" y="1337"/>
                            <a:pt x="262" y="1379"/>
                          </a:cubicBezTo>
                          <a:cubicBezTo>
                            <a:pt x="254" y="1420"/>
                            <a:pt x="213" y="1412"/>
                            <a:pt x="202" y="1454"/>
                          </a:cubicBezTo>
                          <a:cubicBezTo>
                            <a:pt x="188" y="1510"/>
                            <a:pt x="235" y="1476"/>
                            <a:pt x="268" y="1471"/>
                          </a:cubicBezTo>
                          <a:cubicBezTo>
                            <a:pt x="271" y="1497"/>
                            <a:pt x="284" y="1507"/>
                            <a:pt x="295" y="1528"/>
                          </a:cubicBezTo>
                          <a:cubicBezTo>
                            <a:pt x="308" y="1555"/>
                            <a:pt x="302" y="1553"/>
                            <a:pt x="291" y="1571"/>
                          </a:cubicBezTo>
                          <a:cubicBezTo>
                            <a:pt x="278" y="1593"/>
                            <a:pt x="247" y="1651"/>
                            <a:pt x="304" y="1651"/>
                          </a:cubicBezTo>
                          <a:cubicBezTo>
                            <a:pt x="319" y="1679"/>
                            <a:pt x="369" y="1667"/>
                            <a:pt x="386" y="1644"/>
                          </a:cubicBezTo>
                          <a:cubicBezTo>
                            <a:pt x="398" y="1628"/>
                            <a:pt x="393" y="1598"/>
                            <a:pt x="392" y="1573"/>
                          </a:cubicBezTo>
                          <a:cubicBezTo>
                            <a:pt x="337" y="1535"/>
                            <a:pt x="318" y="1464"/>
                            <a:pt x="302" y="1402"/>
                          </a:cubicBezTo>
                          <a:cubicBezTo>
                            <a:pt x="285" y="1335"/>
                            <a:pt x="263" y="1272"/>
                            <a:pt x="262" y="1200"/>
                          </a:cubicBezTo>
                          <a:cubicBezTo>
                            <a:pt x="261" y="1126"/>
                            <a:pt x="266" y="1054"/>
                            <a:pt x="259" y="978"/>
                          </a:cubicBezTo>
                          <a:cubicBezTo>
                            <a:pt x="252" y="902"/>
                            <a:pt x="239" y="831"/>
                            <a:pt x="239" y="753"/>
                          </a:cubicBezTo>
                          <a:cubicBezTo>
                            <a:pt x="239" y="703"/>
                            <a:pt x="249" y="642"/>
                            <a:pt x="239" y="593"/>
                          </a:cubicBezTo>
                          <a:cubicBezTo>
                            <a:pt x="232" y="557"/>
                            <a:pt x="215" y="515"/>
                            <a:pt x="203" y="479"/>
                          </a:cubicBezTo>
                          <a:cubicBezTo>
                            <a:pt x="191" y="439"/>
                            <a:pt x="171" y="399"/>
                            <a:pt x="161" y="358"/>
                          </a:cubicBezTo>
                          <a:cubicBezTo>
                            <a:pt x="151" y="313"/>
                            <a:pt x="158" y="254"/>
                            <a:pt x="145" y="212"/>
                          </a:cubicBezTo>
                          <a:cubicBezTo>
                            <a:pt x="136" y="297"/>
                            <a:pt x="159" y="374"/>
                            <a:pt x="170" y="457"/>
                          </a:cubicBezTo>
                          <a:cubicBezTo>
                            <a:pt x="176" y="502"/>
                            <a:pt x="181" y="543"/>
                            <a:pt x="193" y="587"/>
                          </a:cubicBezTo>
                          <a:cubicBezTo>
                            <a:pt x="200" y="616"/>
                            <a:pt x="215" y="658"/>
                            <a:pt x="209" y="688"/>
                          </a:cubicBezTo>
                          <a:cubicBezTo>
                            <a:pt x="202" y="686"/>
                            <a:pt x="192" y="690"/>
                            <a:pt x="184" y="689"/>
                          </a:cubicBezTo>
                          <a:cubicBezTo>
                            <a:pt x="178" y="726"/>
                            <a:pt x="208" y="761"/>
                            <a:pt x="217" y="795"/>
                          </a:cubicBezTo>
                          <a:cubicBezTo>
                            <a:pt x="229" y="836"/>
                            <a:pt x="224" y="876"/>
                            <a:pt x="226" y="920"/>
                          </a:cubicBezTo>
                          <a:cubicBezTo>
                            <a:pt x="228" y="955"/>
                            <a:pt x="256" y="996"/>
                            <a:pt x="249" y="1031"/>
                          </a:cubicBezTo>
                          <a:cubicBezTo>
                            <a:pt x="241" y="1070"/>
                            <a:pt x="216" y="1078"/>
                            <a:pt x="252" y="1115"/>
                          </a:cubicBezTo>
                          <a:moveTo>
                            <a:pt x="314" y="597"/>
                          </a:moveTo>
                          <a:cubicBezTo>
                            <a:pt x="314" y="546"/>
                            <a:pt x="337" y="489"/>
                            <a:pt x="323" y="441"/>
                          </a:cubicBezTo>
                          <a:cubicBezTo>
                            <a:pt x="222" y="421"/>
                            <a:pt x="299" y="765"/>
                            <a:pt x="311" y="815"/>
                          </a:cubicBezTo>
                          <a:cubicBezTo>
                            <a:pt x="329" y="893"/>
                            <a:pt x="331" y="973"/>
                            <a:pt x="330" y="1056"/>
                          </a:cubicBezTo>
                          <a:cubicBezTo>
                            <a:pt x="330" y="1136"/>
                            <a:pt x="302" y="1211"/>
                            <a:pt x="301" y="1290"/>
                          </a:cubicBezTo>
                          <a:cubicBezTo>
                            <a:pt x="322" y="1243"/>
                            <a:pt x="341" y="1189"/>
                            <a:pt x="359" y="1138"/>
                          </a:cubicBezTo>
                          <a:cubicBezTo>
                            <a:pt x="383" y="1071"/>
                            <a:pt x="377" y="994"/>
                            <a:pt x="369" y="923"/>
                          </a:cubicBezTo>
                          <a:cubicBezTo>
                            <a:pt x="361" y="854"/>
                            <a:pt x="327" y="788"/>
                            <a:pt x="321" y="720"/>
                          </a:cubicBezTo>
                          <a:cubicBezTo>
                            <a:pt x="314" y="652"/>
                            <a:pt x="334" y="585"/>
                            <a:pt x="330" y="518"/>
                          </a:cubicBezTo>
                          <a:moveTo>
                            <a:pt x="220" y="1099"/>
                          </a:moveTo>
                          <a:cubicBezTo>
                            <a:pt x="195" y="1077"/>
                            <a:pt x="176" y="1057"/>
                            <a:pt x="141" y="1050"/>
                          </a:cubicBezTo>
                          <a:cubicBezTo>
                            <a:pt x="117" y="1046"/>
                            <a:pt x="33" y="1043"/>
                            <a:pt x="40" y="1079"/>
                          </a:cubicBezTo>
                          <a:cubicBezTo>
                            <a:pt x="79" y="1088"/>
                            <a:pt x="103" y="1074"/>
                            <a:pt x="138" y="1070"/>
                          </a:cubicBezTo>
                          <a:cubicBezTo>
                            <a:pt x="158" y="1067"/>
                            <a:pt x="209" y="1076"/>
                            <a:pt x="207" y="1102"/>
                          </a:cubicBezTo>
                          <a:moveTo>
                            <a:pt x="145" y="1559"/>
                          </a:moveTo>
                          <a:cubicBezTo>
                            <a:pt x="164" y="1594"/>
                            <a:pt x="65" y="1645"/>
                            <a:pt x="98" y="1664"/>
                          </a:cubicBezTo>
                          <a:cubicBezTo>
                            <a:pt x="121" y="1677"/>
                            <a:pt x="199" y="1600"/>
                            <a:pt x="225" y="1592"/>
                          </a:cubicBezTo>
                          <a:cubicBezTo>
                            <a:pt x="197" y="1585"/>
                            <a:pt x="177" y="1623"/>
                            <a:pt x="155" y="1604"/>
                          </a:cubicBezTo>
                          <a:cubicBezTo>
                            <a:pt x="131" y="1582"/>
                            <a:pt x="157" y="1549"/>
                            <a:pt x="174" y="1536"/>
                          </a:cubicBezTo>
                          <a:moveTo>
                            <a:pt x="520" y="815"/>
                          </a:moveTo>
                          <a:cubicBezTo>
                            <a:pt x="557" y="855"/>
                            <a:pt x="484" y="975"/>
                            <a:pt x="458" y="1014"/>
                          </a:cubicBezTo>
                          <a:cubicBezTo>
                            <a:pt x="533" y="1022"/>
                            <a:pt x="603" y="844"/>
                            <a:pt x="520" y="822"/>
                          </a:cubicBezTo>
                          <a:moveTo>
                            <a:pt x="595" y="68"/>
                          </a:moveTo>
                          <a:cubicBezTo>
                            <a:pt x="590" y="104"/>
                            <a:pt x="539" y="290"/>
                            <a:pt x="584" y="306"/>
                          </a:cubicBezTo>
                          <a:cubicBezTo>
                            <a:pt x="588" y="243"/>
                            <a:pt x="565" y="165"/>
                            <a:pt x="598" y="107"/>
                          </a:cubicBezTo>
                        </a:path>
                      </a:pathLst>
                    </a:custGeom>
                    <a:solidFill>
                      <a:srgbClr val="28282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6" name="Freeform 192"/>
                    <p:cNvSpPr>
                      <a:spLocks/>
                    </p:cNvSpPr>
                    <p:nvPr/>
                  </p:nvSpPr>
                  <p:spPr bwMode="gray">
                    <a:xfrm>
                      <a:off x="8113713" y="-12320587"/>
                      <a:ext cx="869950" cy="1373188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283"/>
                        </a:cxn>
                        <a:cxn ang="0">
                          <a:pos x="85" y="296"/>
                        </a:cxn>
                        <a:cxn ang="0">
                          <a:pos x="209" y="214"/>
                        </a:cxn>
                        <a:cxn ang="0">
                          <a:pos x="213" y="0"/>
                        </a:cxn>
                        <a:cxn ang="0">
                          <a:pos x="229" y="156"/>
                        </a:cxn>
                        <a:cxn ang="0">
                          <a:pos x="229" y="244"/>
                        </a:cxn>
                        <a:cxn ang="0">
                          <a:pos x="187" y="300"/>
                        </a:cxn>
                        <a:cxn ang="0">
                          <a:pos x="75" y="333"/>
                        </a:cxn>
                        <a:cxn ang="0">
                          <a:pos x="0" y="245"/>
                        </a:cxn>
                        <a:cxn ang="0">
                          <a:pos x="43" y="289"/>
                        </a:cxn>
                      </a:cxnLst>
                      <a:rect l="0" t="0" r="r" b="b"/>
                      <a:pathLst>
                        <a:path w="232" h="366">
                          <a:moveTo>
                            <a:pt x="40" y="283"/>
                          </a:moveTo>
                          <a:cubicBezTo>
                            <a:pt x="55" y="286"/>
                            <a:pt x="69" y="293"/>
                            <a:pt x="85" y="296"/>
                          </a:cubicBezTo>
                          <a:cubicBezTo>
                            <a:pt x="128" y="362"/>
                            <a:pt x="202" y="258"/>
                            <a:pt x="209" y="214"/>
                          </a:cubicBezTo>
                          <a:cubicBezTo>
                            <a:pt x="221" y="144"/>
                            <a:pt x="223" y="70"/>
                            <a:pt x="213" y="0"/>
                          </a:cubicBezTo>
                          <a:cubicBezTo>
                            <a:pt x="213" y="56"/>
                            <a:pt x="229" y="99"/>
                            <a:pt x="229" y="156"/>
                          </a:cubicBezTo>
                          <a:cubicBezTo>
                            <a:pt x="229" y="184"/>
                            <a:pt x="232" y="215"/>
                            <a:pt x="229" y="244"/>
                          </a:cubicBezTo>
                          <a:cubicBezTo>
                            <a:pt x="226" y="279"/>
                            <a:pt x="214" y="284"/>
                            <a:pt x="187" y="300"/>
                          </a:cubicBezTo>
                          <a:cubicBezTo>
                            <a:pt x="144" y="326"/>
                            <a:pt x="123" y="366"/>
                            <a:pt x="75" y="333"/>
                          </a:cubicBezTo>
                          <a:cubicBezTo>
                            <a:pt x="53" y="317"/>
                            <a:pt x="1" y="270"/>
                            <a:pt x="0" y="245"/>
                          </a:cubicBezTo>
                          <a:cubicBezTo>
                            <a:pt x="12" y="262"/>
                            <a:pt x="35" y="272"/>
                            <a:pt x="43" y="289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7" name="Freeform 193"/>
                    <p:cNvSpPr>
                      <a:spLocks/>
                    </p:cNvSpPr>
                    <p:nvPr/>
                  </p:nvSpPr>
                  <p:spPr bwMode="gray">
                    <a:xfrm>
                      <a:off x="8102600" y="-15773400"/>
                      <a:ext cx="173038" cy="693738"/>
                    </a:xfrm>
                    <a:custGeom>
                      <a:avLst/>
                      <a:gdLst/>
                      <a:ahLst/>
                      <a:cxnLst>
                        <a:cxn ang="0">
                          <a:pos x="36" y="10"/>
                        </a:cxn>
                        <a:cxn ang="0">
                          <a:pos x="3" y="185"/>
                        </a:cxn>
                        <a:cxn ang="0">
                          <a:pos x="23" y="95"/>
                        </a:cxn>
                        <a:cxn ang="0">
                          <a:pos x="33" y="0"/>
                        </a:cxn>
                      </a:cxnLst>
                      <a:rect l="0" t="0" r="r" b="b"/>
                      <a:pathLst>
                        <a:path w="46" h="185">
                          <a:moveTo>
                            <a:pt x="36" y="10"/>
                          </a:moveTo>
                          <a:cubicBezTo>
                            <a:pt x="46" y="74"/>
                            <a:pt x="40" y="134"/>
                            <a:pt x="3" y="185"/>
                          </a:cubicBezTo>
                          <a:cubicBezTo>
                            <a:pt x="0" y="153"/>
                            <a:pt x="21" y="128"/>
                            <a:pt x="23" y="95"/>
                          </a:cubicBezTo>
                          <a:cubicBezTo>
                            <a:pt x="24" y="72"/>
                            <a:pt x="14" y="7"/>
                            <a:pt x="33" y="0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8" name="Freeform 194"/>
                    <p:cNvSpPr>
                      <a:spLocks/>
                    </p:cNvSpPr>
                    <p:nvPr/>
                  </p:nvSpPr>
                  <p:spPr bwMode="gray">
                    <a:xfrm>
                      <a:off x="7997825" y="-16238537"/>
                      <a:ext cx="179388" cy="355600"/>
                    </a:xfrm>
                    <a:custGeom>
                      <a:avLst/>
                      <a:gdLst/>
                      <a:ahLst/>
                      <a:cxnLst>
                        <a:cxn ang="0">
                          <a:pos x="41" y="0"/>
                        </a:cxn>
                        <a:cxn ang="0">
                          <a:pos x="42" y="50"/>
                        </a:cxn>
                        <a:cxn ang="0">
                          <a:pos x="30" y="95"/>
                        </a:cxn>
                        <a:cxn ang="0">
                          <a:pos x="3" y="84"/>
                        </a:cxn>
                        <a:cxn ang="0">
                          <a:pos x="38" y="0"/>
                        </a:cxn>
                      </a:cxnLst>
                      <a:rect l="0" t="0" r="r" b="b"/>
                      <a:pathLst>
                        <a:path w="48" h="95">
                          <a:moveTo>
                            <a:pt x="41" y="0"/>
                          </a:moveTo>
                          <a:cubicBezTo>
                            <a:pt x="43" y="16"/>
                            <a:pt x="48" y="34"/>
                            <a:pt x="42" y="50"/>
                          </a:cubicBezTo>
                          <a:cubicBezTo>
                            <a:pt x="36" y="67"/>
                            <a:pt x="9" y="78"/>
                            <a:pt x="30" y="95"/>
                          </a:cubicBezTo>
                          <a:cubicBezTo>
                            <a:pt x="21" y="93"/>
                            <a:pt x="11" y="89"/>
                            <a:pt x="3" y="84"/>
                          </a:cubicBezTo>
                          <a:cubicBezTo>
                            <a:pt x="0" y="56"/>
                            <a:pt x="43" y="38"/>
                            <a:pt x="38" y="0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59" name="Freeform 195"/>
                    <p:cNvSpPr>
                      <a:spLocks/>
                    </p:cNvSpPr>
                    <p:nvPr/>
                  </p:nvSpPr>
                  <p:spPr bwMode="gray">
                    <a:xfrm>
                      <a:off x="8312150" y="-16238537"/>
                      <a:ext cx="296863" cy="393700"/>
                    </a:xfrm>
                    <a:custGeom>
                      <a:avLst/>
                      <a:gdLst/>
                      <a:ahLst/>
                      <a:cxnLst>
                        <a:cxn ang="0">
                          <a:pos x="59" y="10"/>
                        </a:cxn>
                        <a:cxn ang="0">
                          <a:pos x="52" y="59"/>
                        </a:cxn>
                        <a:cxn ang="0">
                          <a:pos x="0" y="89"/>
                        </a:cxn>
                        <a:cxn ang="0">
                          <a:pos x="58" y="65"/>
                        </a:cxn>
                        <a:cxn ang="0">
                          <a:pos x="59" y="0"/>
                        </a:cxn>
                      </a:cxnLst>
                      <a:rect l="0" t="0" r="r" b="b"/>
                      <a:pathLst>
                        <a:path w="79" h="105">
                          <a:moveTo>
                            <a:pt x="59" y="10"/>
                          </a:moveTo>
                          <a:cubicBezTo>
                            <a:pt x="35" y="18"/>
                            <a:pt x="58" y="43"/>
                            <a:pt x="52" y="59"/>
                          </a:cubicBezTo>
                          <a:cubicBezTo>
                            <a:pt x="45" y="77"/>
                            <a:pt x="20" y="86"/>
                            <a:pt x="0" y="89"/>
                          </a:cubicBezTo>
                          <a:cubicBezTo>
                            <a:pt x="16" y="105"/>
                            <a:pt x="46" y="78"/>
                            <a:pt x="58" y="65"/>
                          </a:cubicBezTo>
                          <a:cubicBezTo>
                            <a:pt x="79" y="39"/>
                            <a:pt x="66" y="28"/>
                            <a:pt x="59" y="0"/>
                          </a:cubicBezTo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0" name="Freeform 196"/>
                    <p:cNvSpPr>
                      <a:spLocks/>
                    </p:cNvSpPr>
                    <p:nvPr/>
                  </p:nvSpPr>
                  <p:spPr bwMode="gray">
                    <a:xfrm>
                      <a:off x="7524750" y="-16871950"/>
                      <a:ext cx="255588" cy="903288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6"/>
                        </a:cxn>
                        <a:cxn ang="0">
                          <a:pos x="25" y="74"/>
                        </a:cxn>
                        <a:cxn ang="0">
                          <a:pos x="27" y="133"/>
                        </a:cxn>
                        <a:cxn ang="0">
                          <a:pos x="50" y="182"/>
                        </a:cxn>
                        <a:cxn ang="0">
                          <a:pos x="68" y="241"/>
                        </a:cxn>
                        <a:cxn ang="0">
                          <a:pos x="14" y="120"/>
                        </a:cxn>
                        <a:cxn ang="0">
                          <a:pos x="11" y="53"/>
                        </a:cxn>
                        <a:cxn ang="0">
                          <a:pos x="42" y="0"/>
                        </a:cxn>
                      </a:cxnLst>
                      <a:rect l="0" t="0" r="r" b="b"/>
                      <a:pathLst>
                        <a:path w="68" h="241">
                          <a:moveTo>
                            <a:pt x="33" y="6"/>
                          </a:moveTo>
                          <a:cubicBezTo>
                            <a:pt x="32" y="36"/>
                            <a:pt x="32" y="50"/>
                            <a:pt x="25" y="74"/>
                          </a:cubicBezTo>
                          <a:cubicBezTo>
                            <a:pt x="20" y="94"/>
                            <a:pt x="16" y="112"/>
                            <a:pt x="27" y="133"/>
                          </a:cubicBezTo>
                          <a:cubicBezTo>
                            <a:pt x="36" y="151"/>
                            <a:pt x="45" y="158"/>
                            <a:pt x="50" y="182"/>
                          </a:cubicBezTo>
                          <a:cubicBezTo>
                            <a:pt x="53" y="201"/>
                            <a:pt x="57" y="226"/>
                            <a:pt x="68" y="241"/>
                          </a:cubicBezTo>
                          <a:cubicBezTo>
                            <a:pt x="42" y="205"/>
                            <a:pt x="32" y="160"/>
                            <a:pt x="14" y="120"/>
                          </a:cubicBezTo>
                          <a:cubicBezTo>
                            <a:pt x="0" y="90"/>
                            <a:pt x="1" y="83"/>
                            <a:pt x="11" y="53"/>
                          </a:cubicBezTo>
                          <a:cubicBezTo>
                            <a:pt x="16" y="35"/>
                            <a:pt x="20" y="2"/>
                            <a:pt x="42" y="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1" name="Freeform 197"/>
                    <p:cNvSpPr>
                      <a:spLocks/>
                    </p:cNvSpPr>
                    <p:nvPr/>
                  </p:nvSpPr>
                  <p:spPr bwMode="gray">
                    <a:xfrm>
                      <a:off x="8875713" y="-17160875"/>
                      <a:ext cx="388938" cy="509588"/>
                    </a:xfrm>
                    <a:custGeom>
                      <a:avLst/>
                      <a:gdLst/>
                      <a:ahLst/>
                      <a:cxnLst>
                        <a:cxn ang="0">
                          <a:pos x="6" y="83"/>
                        </a:cxn>
                        <a:cxn ang="0">
                          <a:pos x="55" y="30"/>
                        </a:cxn>
                        <a:cxn ang="0">
                          <a:pos x="98" y="136"/>
                        </a:cxn>
                        <a:cxn ang="0">
                          <a:pos x="42" y="0"/>
                        </a:cxn>
                        <a:cxn ang="0">
                          <a:pos x="0" y="80"/>
                        </a:cxn>
                      </a:cxnLst>
                      <a:rect l="0" t="0" r="r" b="b"/>
                      <a:pathLst>
                        <a:path w="104" h="136">
                          <a:moveTo>
                            <a:pt x="6" y="83"/>
                          </a:moveTo>
                          <a:cubicBezTo>
                            <a:pt x="40" y="86"/>
                            <a:pt x="38" y="46"/>
                            <a:pt x="55" y="30"/>
                          </a:cubicBezTo>
                          <a:cubicBezTo>
                            <a:pt x="77" y="53"/>
                            <a:pt x="104" y="105"/>
                            <a:pt x="98" y="136"/>
                          </a:cubicBezTo>
                          <a:cubicBezTo>
                            <a:pt x="98" y="87"/>
                            <a:pt x="97" y="20"/>
                            <a:pt x="42" y="0"/>
                          </a:cubicBezTo>
                          <a:cubicBezTo>
                            <a:pt x="28" y="23"/>
                            <a:pt x="29" y="70"/>
                            <a:pt x="0" y="80"/>
                          </a:cubicBezTo>
                        </a:path>
                      </a:pathLst>
                    </a:custGeom>
                    <a:solidFill>
                      <a:srgbClr val="A0C1D8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2" name="Freeform 199"/>
                    <p:cNvSpPr>
                      <a:spLocks/>
                    </p:cNvSpPr>
                    <p:nvPr/>
                  </p:nvSpPr>
                  <p:spPr bwMode="gray">
                    <a:xfrm>
                      <a:off x="8289925" y="-13444537"/>
                      <a:ext cx="588963" cy="1663700"/>
                    </a:xfrm>
                    <a:custGeom>
                      <a:avLst/>
                      <a:gdLst/>
                      <a:ahLst/>
                      <a:cxnLst>
                        <a:cxn ang="0">
                          <a:pos x="126" y="272"/>
                        </a:cxn>
                        <a:cxn ang="0">
                          <a:pos x="40" y="423"/>
                        </a:cxn>
                        <a:cxn ang="0">
                          <a:pos x="50" y="415"/>
                        </a:cxn>
                        <a:cxn ang="0">
                          <a:pos x="8" y="444"/>
                        </a:cxn>
                        <a:cxn ang="0">
                          <a:pos x="44" y="384"/>
                        </a:cxn>
                        <a:cxn ang="0">
                          <a:pos x="87" y="251"/>
                        </a:cxn>
                        <a:cxn ang="0">
                          <a:pos x="114" y="158"/>
                        </a:cxn>
                        <a:cxn ang="0">
                          <a:pos x="127" y="64"/>
                        </a:cxn>
                        <a:cxn ang="0">
                          <a:pos x="138" y="0"/>
                        </a:cxn>
                        <a:cxn ang="0">
                          <a:pos x="126" y="272"/>
                        </a:cxn>
                      </a:cxnLst>
                      <a:rect l="0" t="0" r="r" b="b"/>
                      <a:pathLst>
                        <a:path w="157" h="444">
                          <a:moveTo>
                            <a:pt x="126" y="272"/>
                          </a:moveTo>
                          <a:cubicBezTo>
                            <a:pt x="109" y="320"/>
                            <a:pt x="78" y="388"/>
                            <a:pt x="40" y="423"/>
                          </a:cubicBezTo>
                          <a:cubicBezTo>
                            <a:pt x="44" y="419"/>
                            <a:pt x="47" y="417"/>
                            <a:pt x="50" y="415"/>
                          </a:cubicBezTo>
                          <a:cubicBezTo>
                            <a:pt x="43" y="431"/>
                            <a:pt x="25" y="442"/>
                            <a:pt x="8" y="444"/>
                          </a:cubicBezTo>
                          <a:cubicBezTo>
                            <a:pt x="0" y="412"/>
                            <a:pt x="26" y="402"/>
                            <a:pt x="44" y="384"/>
                          </a:cubicBezTo>
                          <a:cubicBezTo>
                            <a:pt x="80" y="348"/>
                            <a:pt x="83" y="304"/>
                            <a:pt x="87" y="251"/>
                          </a:cubicBezTo>
                          <a:cubicBezTo>
                            <a:pt x="90" y="213"/>
                            <a:pt x="103" y="192"/>
                            <a:pt x="114" y="158"/>
                          </a:cubicBezTo>
                          <a:cubicBezTo>
                            <a:pt x="124" y="128"/>
                            <a:pt x="120" y="95"/>
                            <a:pt x="127" y="64"/>
                          </a:cubicBezTo>
                          <a:cubicBezTo>
                            <a:pt x="131" y="41"/>
                            <a:pt x="139" y="24"/>
                            <a:pt x="138" y="0"/>
                          </a:cubicBezTo>
                          <a:cubicBezTo>
                            <a:pt x="138" y="88"/>
                            <a:pt x="157" y="187"/>
                            <a:pt x="126" y="272"/>
                          </a:cubicBezTo>
                          <a:close/>
                        </a:path>
                      </a:pathLst>
                    </a:custGeom>
                    <a:solidFill>
                      <a:srgbClr val="666666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3" name="Freeform 200"/>
                    <p:cNvSpPr>
                      <a:spLocks/>
                    </p:cNvSpPr>
                    <p:nvPr/>
                  </p:nvSpPr>
                  <p:spPr bwMode="gray">
                    <a:xfrm>
                      <a:off x="7199313" y="-238125"/>
                      <a:ext cx="573088" cy="592138"/>
                    </a:xfrm>
                    <a:custGeom>
                      <a:avLst/>
                      <a:gdLst/>
                      <a:ahLst/>
                      <a:cxnLst>
                        <a:cxn ang="0">
                          <a:pos x="64" y="10"/>
                        </a:cxn>
                        <a:cxn ang="0">
                          <a:pos x="122" y="10"/>
                        </a:cxn>
                        <a:cxn ang="0">
                          <a:pos x="122" y="25"/>
                        </a:cxn>
                        <a:cxn ang="0">
                          <a:pos x="48" y="51"/>
                        </a:cxn>
                        <a:cxn ang="0">
                          <a:pos x="112" y="92"/>
                        </a:cxn>
                        <a:cxn ang="0">
                          <a:pos x="9" y="92"/>
                        </a:cxn>
                        <a:cxn ang="0">
                          <a:pos x="45" y="81"/>
                        </a:cxn>
                        <a:cxn ang="0">
                          <a:pos x="15" y="71"/>
                        </a:cxn>
                        <a:cxn ang="0">
                          <a:pos x="15" y="52"/>
                        </a:cxn>
                        <a:cxn ang="0">
                          <a:pos x="28" y="29"/>
                        </a:cxn>
                        <a:cxn ang="0">
                          <a:pos x="60" y="0"/>
                        </a:cxn>
                        <a:cxn ang="0">
                          <a:pos x="64" y="13"/>
                        </a:cxn>
                      </a:cxnLst>
                      <a:rect l="0" t="0" r="r" b="b"/>
                      <a:pathLst>
                        <a:path w="153" h="158">
                          <a:moveTo>
                            <a:pt x="64" y="10"/>
                          </a:moveTo>
                          <a:cubicBezTo>
                            <a:pt x="83" y="10"/>
                            <a:pt x="103" y="9"/>
                            <a:pt x="122" y="10"/>
                          </a:cubicBezTo>
                          <a:cubicBezTo>
                            <a:pt x="123" y="15"/>
                            <a:pt x="123" y="21"/>
                            <a:pt x="122" y="25"/>
                          </a:cubicBezTo>
                          <a:cubicBezTo>
                            <a:pt x="102" y="35"/>
                            <a:pt x="48" y="22"/>
                            <a:pt x="48" y="51"/>
                          </a:cubicBezTo>
                          <a:cubicBezTo>
                            <a:pt x="79" y="55"/>
                            <a:pt x="83" y="92"/>
                            <a:pt x="112" y="92"/>
                          </a:cubicBezTo>
                          <a:cubicBezTo>
                            <a:pt x="153" y="133"/>
                            <a:pt x="0" y="158"/>
                            <a:pt x="9" y="92"/>
                          </a:cubicBezTo>
                          <a:cubicBezTo>
                            <a:pt x="22" y="88"/>
                            <a:pt x="34" y="89"/>
                            <a:pt x="45" y="81"/>
                          </a:cubicBezTo>
                          <a:cubicBezTo>
                            <a:pt x="37" y="73"/>
                            <a:pt x="27" y="70"/>
                            <a:pt x="15" y="71"/>
                          </a:cubicBezTo>
                          <a:cubicBezTo>
                            <a:pt x="14" y="66"/>
                            <a:pt x="14" y="57"/>
                            <a:pt x="15" y="52"/>
                          </a:cubicBezTo>
                          <a:cubicBezTo>
                            <a:pt x="50" y="53"/>
                            <a:pt x="26" y="34"/>
                            <a:pt x="28" y="29"/>
                          </a:cubicBezTo>
                          <a:cubicBezTo>
                            <a:pt x="35" y="15"/>
                            <a:pt x="43" y="8"/>
                            <a:pt x="60" y="0"/>
                          </a:cubicBezTo>
                          <a:cubicBezTo>
                            <a:pt x="59" y="5"/>
                            <a:pt x="63" y="11"/>
                            <a:pt x="64" y="13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4" name="Freeform 201"/>
                    <p:cNvSpPr>
                      <a:spLocks/>
                    </p:cNvSpPr>
                    <p:nvPr/>
                  </p:nvSpPr>
                  <p:spPr bwMode="gray">
                    <a:xfrm>
                      <a:off x="11102975" y="-315912"/>
                      <a:ext cx="877888" cy="452438"/>
                    </a:xfrm>
                    <a:custGeom>
                      <a:avLst/>
                      <a:gdLst/>
                      <a:ahLst/>
                      <a:cxnLst>
                        <a:cxn ang="0">
                          <a:pos x="115" y="79"/>
                        </a:cxn>
                        <a:cxn ang="0">
                          <a:pos x="80" y="105"/>
                        </a:cxn>
                        <a:cxn ang="0">
                          <a:pos x="228" y="90"/>
                        </a:cxn>
                        <a:cxn ang="0">
                          <a:pos x="139" y="63"/>
                        </a:cxn>
                        <a:cxn ang="0">
                          <a:pos x="95" y="67"/>
                        </a:cxn>
                        <a:cxn ang="0">
                          <a:pos x="86" y="86"/>
                        </a:cxn>
                      </a:cxnLst>
                      <a:rect l="0" t="0" r="r" b="b"/>
                      <a:pathLst>
                        <a:path w="234" h="121">
                          <a:moveTo>
                            <a:pt x="115" y="79"/>
                          </a:moveTo>
                          <a:cubicBezTo>
                            <a:pt x="104" y="90"/>
                            <a:pt x="86" y="93"/>
                            <a:pt x="80" y="105"/>
                          </a:cubicBezTo>
                          <a:cubicBezTo>
                            <a:pt x="107" y="107"/>
                            <a:pt x="234" y="121"/>
                            <a:pt x="228" y="90"/>
                          </a:cubicBezTo>
                          <a:cubicBezTo>
                            <a:pt x="198" y="83"/>
                            <a:pt x="166" y="74"/>
                            <a:pt x="139" y="63"/>
                          </a:cubicBezTo>
                          <a:cubicBezTo>
                            <a:pt x="153" y="0"/>
                            <a:pt x="0" y="62"/>
                            <a:pt x="95" y="67"/>
                          </a:cubicBezTo>
                          <a:cubicBezTo>
                            <a:pt x="84" y="71"/>
                            <a:pt x="90" y="77"/>
                            <a:pt x="86" y="86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5" name="Freeform 202"/>
                    <p:cNvSpPr>
                      <a:spLocks/>
                    </p:cNvSpPr>
                    <p:nvPr/>
                  </p:nvSpPr>
                  <p:spPr bwMode="gray">
                    <a:xfrm>
                      <a:off x="10709275" y="-598487"/>
                      <a:ext cx="454025" cy="530225"/>
                    </a:xfrm>
                    <a:custGeom>
                      <a:avLst/>
                      <a:gdLst/>
                      <a:ahLst/>
                      <a:cxnLst>
                        <a:cxn ang="0">
                          <a:pos x="35" y="10"/>
                        </a:cxn>
                        <a:cxn ang="0">
                          <a:pos x="2" y="11"/>
                        </a:cxn>
                        <a:cxn ang="0">
                          <a:pos x="30" y="40"/>
                        </a:cxn>
                        <a:cxn ang="0">
                          <a:pos x="51" y="75"/>
                        </a:cxn>
                        <a:cxn ang="0">
                          <a:pos x="121" y="141"/>
                        </a:cxn>
                        <a:cxn ang="0">
                          <a:pos x="77" y="81"/>
                        </a:cxn>
                        <a:cxn ang="0">
                          <a:pos x="40" y="7"/>
                        </a:cxn>
                        <a:cxn ang="0">
                          <a:pos x="15" y="0"/>
                        </a:cxn>
                      </a:cxnLst>
                      <a:rect l="0" t="0" r="r" b="b"/>
                      <a:pathLst>
                        <a:path w="121" h="141">
                          <a:moveTo>
                            <a:pt x="35" y="10"/>
                          </a:moveTo>
                          <a:cubicBezTo>
                            <a:pt x="24" y="9"/>
                            <a:pt x="13" y="10"/>
                            <a:pt x="2" y="11"/>
                          </a:cubicBezTo>
                          <a:cubicBezTo>
                            <a:pt x="0" y="29"/>
                            <a:pt x="21" y="30"/>
                            <a:pt x="30" y="40"/>
                          </a:cubicBezTo>
                          <a:cubicBezTo>
                            <a:pt x="41" y="51"/>
                            <a:pt x="45" y="62"/>
                            <a:pt x="51" y="75"/>
                          </a:cubicBezTo>
                          <a:cubicBezTo>
                            <a:pt x="67" y="110"/>
                            <a:pt x="81" y="130"/>
                            <a:pt x="121" y="141"/>
                          </a:cubicBezTo>
                          <a:cubicBezTo>
                            <a:pt x="97" y="125"/>
                            <a:pt x="86" y="105"/>
                            <a:pt x="77" y="81"/>
                          </a:cubicBezTo>
                          <a:cubicBezTo>
                            <a:pt x="66" y="54"/>
                            <a:pt x="48" y="34"/>
                            <a:pt x="40" y="7"/>
                          </a:cubicBezTo>
                          <a:cubicBezTo>
                            <a:pt x="33" y="4"/>
                            <a:pt x="23" y="0"/>
                            <a:pt x="15" y="0"/>
                          </a:cubicBezTo>
                        </a:path>
                      </a:pathLst>
                    </a:custGeom>
                    <a:solidFill>
                      <a:srgbClr val="DEE2E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6" name="Freeform 203"/>
                    <p:cNvSpPr>
                      <a:spLocks/>
                    </p:cNvSpPr>
                    <p:nvPr/>
                  </p:nvSpPr>
                  <p:spPr bwMode="gray">
                    <a:xfrm>
                      <a:off x="7581900" y="-17659350"/>
                      <a:ext cx="1577975" cy="100012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7"/>
                        </a:cxn>
                        <a:cxn ang="0">
                          <a:pos x="109" y="220"/>
                        </a:cxn>
                        <a:cxn ang="0">
                          <a:pos x="323" y="207"/>
                        </a:cxn>
                        <a:cxn ang="0">
                          <a:pos x="421" y="0"/>
                        </a:cxn>
                      </a:cxnLst>
                      <a:rect l="0" t="0" r="r" b="b"/>
                      <a:pathLst>
                        <a:path w="421" h="267">
                          <a:moveTo>
                            <a:pt x="0" y="57"/>
                          </a:moveTo>
                          <a:cubicBezTo>
                            <a:pt x="21" y="139"/>
                            <a:pt x="39" y="178"/>
                            <a:pt x="109" y="220"/>
                          </a:cubicBezTo>
                          <a:cubicBezTo>
                            <a:pt x="175" y="260"/>
                            <a:pt x="256" y="267"/>
                            <a:pt x="323" y="207"/>
                          </a:cubicBezTo>
                          <a:cubicBezTo>
                            <a:pt x="390" y="147"/>
                            <a:pt x="417" y="88"/>
                            <a:pt x="421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7" name="Freeform 204"/>
                    <p:cNvSpPr>
                      <a:spLocks/>
                    </p:cNvSpPr>
                    <p:nvPr/>
                  </p:nvSpPr>
                  <p:spPr bwMode="gray">
                    <a:xfrm>
                      <a:off x="6940550" y="-19770725"/>
                      <a:ext cx="2535238" cy="2894013"/>
                    </a:xfrm>
                    <a:custGeom>
                      <a:avLst/>
                      <a:gdLst/>
                      <a:ahLst/>
                      <a:cxnLst>
                        <a:cxn ang="0">
                          <a:pos x="137" y="429"/>
                        </a:cxn>
                        <a:cxn ang="0">
                          <a:pos x="127" y="550"/>
                        </a:cxn>
                        <a:cxn ang="0">
                          <a:pos x="279" y="726"/>
                        </a:cxn>
                        <a:cxn ang="0">
                          <a:pos x="493" y="713"/>
                        </a:cxn>
                        <a:cxn ang="0">
                          <a:pos x="609" y="511"/>
                        </a:cxn>
                        <a:cxn ang="0">
                          <a:pos x="640" y="503"/>
                        </a:cxn>
                        <a:cxn ang="0">
                          <a:pos x="674" y="380"/>
                        </a:cxn>
                        <a:cxn ang="0">
                          <a:pos x="627" y="306"/>
                        </a:cxn>
                        <a:cxn ang="0">
                          <a:pos x="597" y="140"/>
                        </a:cxn>
                        <a:cxn ang="0">
                          <a:pos x="472" y="30"/>
                        </a:cxn>
                        <a:cxn ang="0">
                          <a:pos x="345" y="8"/>
                        </a:cxn>
                        <a:cxn ang="0">
                          <a:pos x="86" y="299"/>
                        </a:cxn>
                        <a:cxn ang="0">
                          <a:pos x="87" y="307"/>
                        </a:cxn>
                        <a:cxn ang="0">
                          <a:pos x="82" y="497"/>
                        </a:cxn>
                        <a:cxn ang="0">
                          <a:pos x="127" y="550"/>
                        </a:cxn>
                      </a:cxnLst>
                      <a:rect l="0" t="0" r="r" b="b"/>
                      <a:pathLst>
                        <a:path w="676" h="772">
                          <a:moveTo>
                            <a:pt x="137" y="429"/>
                          </a:moveTo>
                          <a:cubicBezTo>
                            <a:pt x="137" y="516"/>
                            <a:pt x="88" y="476"/>
                            <a:pt x="127" y="550"/>
                          </a:cubicBezTo>
                          <a:cubicBezTo>
                            <a:pt x="171" y="635"/>
                            <a:pt x="209" y="684"/>
                            <a:pt x="279" y="726"/>
                          </a:cubicBezTo>
                          <a:cubicBezTo>
                            <a:pt x="345" y="766"/>
                            <a:pt x="427" y="772"/>
                            <a:pt x="493" y="713"/>
                          </a:cubicBezTo>
                          <a:cubicBezTo>
                            <a:pt x="561" y="652"/>
                            <a:pt x="604" y="600"/>
                            <a:pt x="609" y="511"/>
                          </a:cubicBezTo>
                          <a:cubicBezTo>
                            <a:pt x="617" y="501"/>
                            <a:pt x="631" y="502"/>
                            <a:pt x="640" y="503"/>
                          </a:cubicBezTo>
                          <a:cubicBezTo>
                            <a:pt x="662" y="461"/>
                            <a:pt x="673" y="435"/>
                            <a:pt x="674" y="380"/>
                          </a:cubicBezTo>
                          <a:cubicBezTo>
                            <a:pt x="676" y="305"/>
                            <a:pt x="627" y="306"/>
                            <a:pt x="627" y="306"/>
                          </a:cubicBezTo>
                          <a:cubicBezTo>
                            <a:pt x="625" y="263"/>
                            <a:pt x="614" y="176"/>
                            <a:pt x="597" y="140"/>
                          </a:cubicBezTo>
                          <a:cubicBezTo>
                            <a:pt x="565" y="70"/>
                            <a:pt x="521" y="50"/>
                            <a:pt x="472" y="30"/>
                          </a:cubicBezTo>
                          <a:cubicBezTo>
                            <a:pt x="430" y="13"/>
                            <a:pt x="386" y="6"/>
                            <a:pt x="345" y="8"/>
                          </a:cubicBezTo>
                          <a:cubicBezTo>
                            <a:pt x="179" y="0"/>
                            <a:pt x="83" y="115"/>
                            <a:pt x="86" y="299"/>
                          </a:cubicBezTo>
                          <a:cubicBezTo>
                            <a:pt x="86" y="302"/>
                            <a:pt x="86" y="305"/>
                            <a:pt x="87" y="307"/>
                          </a:cubicBezTo>
                          <a:cubicBezTo>
                            <a:pt x="0" y="325"/>
                            <a:pt x="58" y="453"/>
                            <a:pt x="82" y="497"/>
                          </a:cubicBezTo>
                          <a:cubicBezTo>
                            <a:pt x="111" y="499"/>
                            <a:pt x="124" y="524"/>
                            <a:pt x="127" y="550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8" name="Freeform 166"/>
                    <p:cNvSpPr>
                      <a:spLocks/>
                    </p:cNvSpPr>
                    <p:nvPr/>
                  </p:nvSpPr>
                  <p:spPr bwMode="gray">
                    <a:xfrm>
                      <a:off x="5878513" y="-10509250"/>
                      <a:ext cx="1144588" cy="1477963"/>
                    </a:xfrm>
                    <a:custGeom>
                      <a:avLst/>
                      <a:gdLst/>
                      <a:ahLst/>
                      <a:cxnLst>
                        <a:cxn ang="0">
                          <a:pos x="53" y="180"/>
                        </a:cxn>
                        <a:cxn ang="0">
                          <a:pos x="124" y="312"/>
                        </a:cxn>
                        <a:cxn ang="0">
                          <a:pos x="248" y="388"/>
                        </a:cxn>
                        <a:cxn ang="0">
                          <a:pos x="295" y="278"/>
                        </a:cxn>
                        <a:cxn ang="0">
                          <a:pos x="225" y="166"/>
                        </a:cxn>
                        <a:cxn ang="0">
                          <a:pos x="27" y="161"/>
                        </a:cxn>
                      </a:cxnLst>
                      <a:rect l="0" t="0" r="r" b="b"/>
                      <a:pathLst>
                        <a:path w="305" h="394">
                          <a:moveTo>
                            <a:pt x="53" y="180"/>
                          </a:moveTo>
                          <a:cubicBezTo>
                            <a:pt x="51" y="221"/>
                            <a:pt x="101" y="280"/>
                            <a:pt x="124" y="312"/>
                          </a:cubicBezTo>
                          <a:cubicBezTo>
                            <a:pt x="155" y="357"/>
                            <a:pt x="188" y="394"/>
                            <a:pt x="248" y="388"/>
                          </a:cubicBezTo>
                          <a:cubicBezTo>
                            <a:pt x="261" y="346"/>
                            <a:pt x="289" y="322"/>
                            <a:pt x="295" y="278"/>
                          </a:cubicBezTo>
                          <a:cubicBezTo>
                            <a:pt x="305" y="206"/>
                            <a:pt x="278" y="202"/>
                            <a:pt x="225" y="166"/>
                          </a:cubicBezTo>
                          <a:cubicBezTo>
                            <a:pt x="188" y="140"/>
                            <a:pt x="0" y="0"/>
                            <a:pt x="27" y="161"/>
                          </a:cubicBezTo>
                        </a:path>
                      </a:pathLst>
                    </a:custGeom>
                    <a:solidFill>
                      <a:srgbClr val="F4DDCE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69" name="Freeform 168"/>
                    <p:cNvSpPr>
                      <a:spLocks/>
                    </p:cNvSpPr>
                    <p:nvPr/>
                  </p:nvSpPr>
                  <p:spPr bwMode="gray">
                    <a:xfrm>
                      <a:off x="6137275" y="-9975850"/>
                      <a:ext cx="693738" cy="966788"/>
                    </a:xfrm>
                    <a:custGeom>
                      <a:avLst/>
                      <a:gdLst/>
                      <a:ahLst/>
                      <a:cxnLst>
                        <a:cxn ang="0">
                          <a:pos x="110" y="4"/>
                        </a:cxn>
                        <a:cxn ang="0">
                          <a:pos x="73" y="71"/>
                        </a:cxn>
                        <a:cxn ang="0">
                          <a:pos x="74" y="134"/>
                        </a:cxn>
                        <a:cxn ang="0">
                          <a:pos x="178" y="229"/>
                        </a:cxn>
                        <a:cxn ang="0">
                          <a:pos x="126" y="249"/>
                        </a:cxn>
                        <a:cxn ang="0">
                          <a:pos x="73" y="210"/>
                        </a:cxn>
                        <a:cxn ang="0">
                          <a:pos x="10" y="90"/>
                        </a:cxn>
                        <a:cxn ang="0">
                          <a:pos x="107" y="0"/>
                        </a:cxn>
                      </a:cxnLst>
                      <a:rect l="0" t="0" r="r" b="b"/>
                      <a:pathLst>
                        <a:path w="185" h="258">
                          <a:moveTo>
                            <a:pt x="110" y="4"/>
                          </a:moveTo>
                          <a:cubicBezTo>
                            <a:pt x="131" y="37"/>
                            <a:pt x="94" y="53"/>
                            <a:pt x="73" y="71"/>
                          </a:cubicBezTo>
                          <a:cubicBezTo>
                            <a:pt x="44" y="98"/>
                            <a:pt x="53" y="104"/>
                            <a:pt x="74" y="134"/>
                          </a:cubicBezTo>
                          <a:cubicBezTo>
                            <a:pt x="106" y="179"/>
                            <a:pt x="109" y="228"/>
                            <a:pt x="178" y="229"/>
                          </a:cubicBezTo>
                          <a:cubicBezTo>
                            <a:pt x="185" y="258"/>
                            <a:pt x="143" y="255"/>
                            <a:pt x="126" y="249"/>
                          </a:cubicBezTo>
                          <a:cubicBezTo>
                            <a:pt x="109" y="244"/>
                            <a:pt x="85" y="223"/>
                            <a:pt x="73" y="210"/>
                          </a:cubicBezTo>
                          <a:cubicBezTo>
                            <a:pt x="45" y="182"/>
                            <a:pt x="0" y="133"/>
                            <a:pt x="10" y="90"/>
                          </a:cubicBezTo>
                          <a:cubicBezTo>
                            <a:pt x="20" y="49"/>
                            <a:pt x="76" y="24"/>
                            <a:pt x="107" y="0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  <p:sp>
                  <p:nvSpPr>
                    <p:cNvPr id="770" name="Freeform 198"/>
                    <p:cNvSpPr>
                      <a:spLocks/>
                    </p:cNvSpPr>
                    <p:nvPr/>
                  </p:nvSpPr>
                  <p:spPr bwMode="gray">
                    <a:xfrm>
                      <a:off x="10439400" y="-10118725"/>
                      <a:ext cx="468313" cy="91916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9"/>
                        </a:cxn>
                        <a:cxn ang="0">
                          <a:pos x="39" y="71"/>
                        </a:cxn>
                        <a:cxn ang="0">
                          <a:pos x="78" y="121"/>
                        </a:cxn>
                        <a:cxn ang="0">
                          <a:pos x="1" y="221"/>
                        </a:cxn>
                        <a:cxn ang="0">
                          <a:pos x="1" y="234"/>
                        </a:cxn>
                        <a:cxn ang="0">
                          <a:pos x="120" y="111"/>
                        </a:cxn>
                        <a:cxn ang="0">
                          <a:pos x="17" y="9"/>
                        </a:cxn>
                      </a:cxnLst>
                      <a:rect l="0" t="0" r="r" b="b"/>
                      <a:pathLst>
                        <a:path w="125" h="245">
                          <a:moveTo>
                            <a:pt x="0" y="19"/>
                          </a:moveTo>
                          <a:cubicBezTo>
                            <a:pt x="20" y="33"/>
                            <a:pt x="29" y="52"/>
                            <a:pt x="39" y="71"/>
                          </a:cubicBezTo>
                          <a:cubicBezTo>
                            <a:pt x="49" y="88"/>
                            <a:pt x="68" y="103"/>
                            <a:pt x="78" y="121"/>
                          </a:cubicBezTo>
                          <a:cubicBezTo>
                            <a:pt x="103" y="165"/>
                            <a:pt x="44" y="222"/>
                            <a:pt x="1" y="221"/>
                          </a:cubicBezTo>
                          <a:cubicBezTo>
                            <a:pt x="0" y="226"/>
                            <a:pt x="1" y="229"/>
                            <a:pt x="1" y="234"/>
                          </a:cubicBezTo>
                          <a:cubicBezTo>
                            <a:pt x="74" y="245"/>
                            <a:pt x="125" y="177"/>
                            <a:pt x="120" y="111"/>
                          </a:cubicBezTo>
                          <a:cubicBezTo>
                            <a:pt x="78" y="83"/>
                            <a:pt x="86" y="0"/>
                            <a:pt x="17" y="9"/>
                          </a:cubicBezTo>
                        </a:path>
                      </a:pathLst>
                    </a:custGeom>
                    <a:solidFill>
                      <a:srgbClr val="E2CEC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noProof="1"/>
                    </a:p>
                  </p:txBody>
                </p:sp>
              </p:grpSp>
            </p:grpSp>
          </p:grpSp>
          <p:pic>
            <p:nvPicPr>
              <p:cNvPr id="4" name="Picture 9" descr="C:\Users\bastian.k\Desktop\bilder\brief.png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gray">
              <a:xfrm>
                <a:off x="5999276" y="3467100"/>
                <a:ext cx="579244" cy="443521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5" name="Picture 10" descr="C:\Users\bastian.k\Desktop\phone.png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gray">
              <a:xfrm>
                <a:off x="5517563" y="4648427"/>
                <a:ext cx="553216" cy="45543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4" name="Picture 11" descr="C:\Users\bastian.k\Desktop\www.png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gray">
              <a:xfrm>
                <a:off x="3085812" y="4673827"/>
                <a:ext cx="525307" cy="45543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041" name="Picture 2" descr="C:\Users\bastian.k\Desktop\disk.png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gray">
              <a:xfrm>
                <a:off x="5563438" y="2224733"/>
                <a:ext cx="432894" cy="521844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048" name="Textfeld 1047"/>
            <p:cNvSpPr txBox="1"/>
            <p:nvPr/>
          </p:nvSpPr>
          <p:spPr bwMode="gray">
            <a:xfrm>
              <a:off x="3023918" y="1576966"/>
              <a:ext cx="10940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Personal Sales</a:t>
              </a:r>
              <a:endParaRPr lang="en-US" sz="1200" noProof="1"/>
            </a:p>
          </p:txBody>
        </p:sp>
        <p:sp>
          <p:nvSpPr>
            <p:cNvPr id="1049" name="Textfeld 1048"/>
            <p:cNvSpPr txBox="1"/>
            <p:nvPr/>
          </p:nvSpPr>
          <p:spPr bwMode="gray">
            <a:xfrm>
              <a:off x="6295587" y="2312500"/>
              <a:ext cx="14733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Database Marketing</a:t>
              </a:r>
              <a:endParaRPr lang="en-US" sz="1200" noProof="1"/>
            </a:p>
          </p:txBody>
        </p:sp>
        <p:sp>
          <p:nvSpPr>
            <p:cNvPr id="1050" name="Textfeld 1049"/>
            <p:cNvSpPr txBox="1"/>
            <p:nvPr/>
          </p:nvSpPr>
          <p:spPr bwMode="gray">
            <a:xfrm>
              <a:off x="6770680" y="3541477"/>
              <a:ext cx="154420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Direct Mail Marketing</a:t>
              </a:r>
              <a:endParaRPr lang="en-US" sz="1200" noProof="1"/>
            </a:p>
          </p:txBody>
        </p:sp>
        <p:sp>
          <p:nvSpPr>
            <p:cNvPr id="1051" name="Textfeld 1050"/>
            <p:cNvSpPr txBox="1"/>
            <p:nvPr/>
          </p:nvSpPr>
          <p:spPr bwMode="gray">
            <a:xfrm>
              <a:off x="6275491" y="4741446"/>
              <a:ext cx="108946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Telemarketing</a:t>
              </a:r>
              <a:endParaRPr lang="en-US" sz="1200" noProof="1"/>
            </a:p>
          </p:txBody>
        </p:sp>
        <p:sp>
          <p:nvSpPr>
            <p:cNvPr id="1052" name="Textfeld 1051"/>
            <p:cNvSpPr txBox="1"/>
            <p:nvPr/>
          </p:nvSpPr>
          <p:spPr bwMode="gray">
            <a:xfrm>
              <a:off x="5031554" y="5410200"/>
              <a:ext cx="9797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Social Media</a:t>
              </a:r>
              <a:endParaRPr lang="en-US" sz="1200" noProof="1"/>
            </a:p>
          </p:txBody>
        </p:sp>
        <p:sp>
          <p:nvSpPr>
            <p:cNvPr id="1053" name="Textfeld 1052"/>
            <p:cNvSpPr txBox="1"/>
            <p:nvPr/>
          </p:nvSpPr>
          <p:spPr bwMode="gray">
            <a:xfrm>
              <a:off x="1549917" y="2272308"/>
              <a:ext cx="12870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E-Mail Marketing</a:t>
              </a:r>
              <a:endParaRPr lang="en-US" sz="1200" noProof="1"/>
            </a:p>
          </p:txBody>
        </p:sp>
        <p:sp>
          <p:nvSpPr>
            <p:cNvPr id="1054" name="Textfeld 1053"/>
            <p:cNvSpPr txBox="1"/>
            <p:nvPr/>
          </p:nvSpPr>
          <p:spPr bwMode="gray">
            <a:xfrm>
              <a:off x="644930" y="3531429"/>
              <a:ext cx="173156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Search Engine Marketing</a:t>
              </a:r>
              <a:endParaRPr lang="en-US" sz="1200" noProof="1"/>
            </a:p>
          </p:txBody>
        </p:sp>
        <p:sp>
          <p:nvSpPr>
            <p:cNvPr id="1055" name="Textfeld 1054"/>
            <p:cNvSpPr txBox="1"/>
            <p:nvPr/>
          </p:nvSpPr>
          <p:spPr bwMode="gray">
            <a:xfrm>
              <a:off x="1516160" y="4741446"/>
              <a:ext cx="13710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Online Advertising</a:t>
              </a:r>
              <a:endParaRPr lang="en-US" sz="12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79699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Innovation Management </a:t>
            </a:r>
            <a:r>
              <a:rPr lang="en-US" b="0" noProof="1" smtClean="0"/>
              <a:t>- Overview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for own Subheadline</a:t>
            </a:r>
          </a:p>
          <a:p>
            <a:endParaRPr lang="en-US" noProof="1"/>
          </a:p>
        </p:txBody>
      </p:sp>
      <p:grpSp>
        <p:nvGrpSpPr>
          <p:cNvPr id="94" name="Gruppieren 93"/>
          <p:cNvGrpSpPr/>
          <p:nvPr/>
        </p:nvGrpSpPr>
        <p:grpSpPr>
          <a:xfrm>
            <a:off x="324643" y="1554954"/>
            <a:ext cx="8499477" cy="4250534"/>
            <a:chOff x="324643" y="1554954"/>
            <a:chExt cx="8499477" cy="4250534"/>
          </a:xfrm>
        </p:grpSpPr>
        <p:sp>
          <p:nvSpPr>
            <p:cNvPr id="23" name="Rechteck 22"/>
            <p:cNvSpPr/>
            <p:nvPr/>
          </p:nvSpPr>
          <p:spPr bwMode="gray">
            <a:xfrm>
              <a:off x="324643" y="1554954"/>
              <a:ext cx="4201320" cy="207724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0" bIns="0" anchor="t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noProof="1" smtClean="0"/>
                <a:t>Innovation strategy </a:t>
              </a: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324643" y="3729038"/>
              <a:ext cx="4201320" cy="207645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0" bIns="108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noProof="1" smtClean="0">
                  <a:solidFill>
                    <a:srgbClr val="000000"/>
                  </a:solidFill>
                  <a:cs typeface="Arial" charset="0"/>
                </a:rPr>
                <a:t>Innovation ideas </a:t>
              </a:r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4622800" y="1554954"/>
              <a:ext cx="4201320" cy="207724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108000" bIns="108000" anchor="t" anchorCtr="0"/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noProof="1" smtClean="0"/>
                <a:t>Innovation organization </a:t>
              </a: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4622800" y="3729038"/>
              <a:ext cx="4201320" cy="207645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108000" bIns="108000" anchor="b" anchorCtr="0"/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noProof="1" smtClean="0"/>
                <a:t>Innovation processes</a:t>
              </a: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Ellipse 23"/>
            <p:cNvSpPr/>
            <p:nvPr/>
          </p:nvSpPr>
          <p:spPr bwMode="gray">
            <a:xfrm>
              <a:off x="2622550" y="1725613"/>
              <a:ext cx="3912558" cy="3912558"/>
            </a:xfrm>
            <a:prstGeom prst="ellipse">
              <a:avLst/>
            </a:prstGeom>
            <a:solidFill>
              <a:srgbClr val="FFFFFF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030" name="Freeform 6"/>
            <p:cNvSpPr>
              <a:spLocks/>
            </p:cNvSpPr>
            <p:nvPr/>
          </p:nvSpPr>
          <p:spPr bwMode="gray">
            <a:xfrm>
              <a:off x="2622550" y="3729038"/>
              <a:ext cx="1903413" cy="1903412"/>
            </a:xfrm>
            <a:custGeom>
              <a:avLst/>
              <a:gdLst/>
              <a:ahLst/>
              <a:cxnLst>
                <a:cxn ang="0">
                  <a:pos x="261" y="0"/>
                </a:cxn>
                <a:cxn ang="0">
                  <a:pos x="0" y="0"/>
                </a:cxn>
                <a:cxn ang="0">
                  <a:pos x="630" y="630"/>
                </a:cxn>
                <a:cxn ang="0">
                  <a:pos x="630" y="369"/>
                </a:cxn>
                <a:cxn ang="0">
                  <a:pos x="261" y="0"/>
                </a:cxn>
              </a:cxnLst>
              <a:rect l="0" t="0" r="r" b="b"/>
              <a:pathLst>
                <a:path w="630" h="630">
                  <a:moveTo>
                    <a:pt x="26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344"/>
                    <a:pt x="286" y="622"/>
                    <a:pt x="630" y="630"/>
                  </a:cubicBezTo>
                  <a:cubicBezTo>
                    <a:pt x="630" y="369"/>
                    <a:pt x="630" y="369"/>
                    <a:pt x="630" y="369"/>
                  </a:cubicBezTo>
                  <a:cubicBezTo>
                    <a:pt x="431" y="361"/>
                    <a:pt x="270" y="200"/>
                    <a:pt x="261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3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1" name="Freeform 7"/>
            <p:cNvSpPr>
              <a:spLocks/>
            </p:cNvSpPr>
            <p:nvPr/>
          </p:nvSpPr>
          <p:spPr bwMode="gray">
            <a:xfrm>
              <a:off x="2622550" y="1725613"/>
              <a:ext cx="1903413" cy="1906587"/>
            </a:xfrm>
            <a:custGeom>
              <a:avLst/>
              <a:gdLst/>
              <a:ahLst/>
              <a:cxnLst>
                <a:cxn ang="0">
                  <a:pos x="630" y="262"/>
                </a:cxn>
                <a:cxn ang="0">
                  <a:pos x="630" y="0"/>
                </a:cxn>
                <a:cxn ang="0">
                  <a:pos x="0" y="631"/>
                </a:cxn>
                <a:cxn ang="0">
                  <a:pos x="261" y="631"/>
                </a:cxn>
                <a:cxn ang="0">
                  <a:pos x="630" y="262"/>
                </a:cxn>
              </a:cxnLst>
              <a:rect l="0" t="0" r="r" b="b"/>
              <a:pathLst>
                <a:path w="630" h="631">
                  <a:moveTo>
                    <a:pt x="630" y="262"/>
                  </a:moveTo>
                  <a:cubicBezTo>
                    <a:pt x="630" y="0"/>
                    <a:pt x="630" y="0"/>
                    <a:pt x="630" y="0"/>
                  </a:cubicBezTo>
                  <a:cubicBezTo>
                    <a:pt x="286" y="9"/>
                    <a:pt x="8" y="286"/>
                    <a:pt x="0" y="631"/>
                  </a:cubicBezTo>
                  <a:cubicBezTo>
                    <a:pt x="261" y="631"/>
                    <a:pt x="261" y="631"/>
                    <a:pt x="261" y="631"/>
                  </a:cubicBezTo>
                  <a:cubicBezTo>
                    <a:pt x="270" y="431"/>
                    <a:pt x="431" y="270"/>
                    <a:pt x="630" y="26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3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2" name="Freeform 8"/>
            <p:cNvSpPr>
              <a:spLocks/>
            </p:cNvSpPr>
            <p:nvPr/>
          </p:nvSpPr>
          <p:spPr bwMode="gray">
            <a:xfrm>
              <a:off x="4622800" y="1725613"/>
              <a:ext cx="1906588" cy="1906587"/>
            </a:xfrm>
            <a:custGeom>
              <a:avLst/>
              <a:gdLst/>
              <a:ahLst/>
              <a:cxnLst>
                <a:cxn ang="0">
                  <a:pos x="369" y="631"/>
                </a:cxn>
                <a:cxn ang="0">
                  <a:pos x="631" y="631"/>
                </a:cxn>
                <a:cxn ang="0">
                  <a:pos x="0" y="0"/>
                </a:cxn>
                <a:cxn ang="0">
                  <a:pos x="0" y="262"/>
                </a:cxn>
                <a:cxn ang="0">
                  <a:pos x="369" y="631"/>
                </a:cxn>
              </a:cxnLst>
              <a:rect l="0" t="0" r="r" b="b"/>
              <a:pathLst>
                <a:path w="631" h="631">
                  <a:moveTo>
                    <a:pt x="369" y="631"/>
                  </a:moveTo>
                  <a:cubicBezTo>
                    <a:pt x="631" y="631"/>
                    <a:pt x="631" y="631"/>
                    <a:pt x="631" y="631"/>
                  </a:cubicBezTo>
                  <a:cubicBezTo>
                    <a:pt x="622" y="286"/>
                    <a:pt x="345" y="9"/>
                    <a:pt x="0" y="0"/>
                  </a:cubicBezTo>
                  <a:cubicBezTo>
                    <a:pt x="0" y="262"/>
                    <a:pt x="0" y="262"/>
                    <a:pt x="0" y="262"/>
                  </a:cubicBezTo>
                  <a:cubicBezTo>
                    <a:pt x="200" y="270"/>
                    <a:pt x="361" y="431"/>
                    <a:pt x="369" y="6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3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3" name="Freeform 9"/>
            <p:cNvSpPr>
              <a:spLocks/>
            </p:cNvSpPr>
            <p:nvPr/>
          </p:nvSpPr>
          <p:spPr bwMode="gray">
            <a:xfrm>
              <a:off x="4622800" y="3729038"/>
              <a:ext cx="1906588" cy="1903412"/>
            </a:xfrm>
            <a:custGeom>
              <a:avLst/>
              <a:gdLst/>
              <a:ahLst/>
              <a:cxnLst>
                <a:cxn ang="0">
                  <a:pos x="0" y="369"/>
                </a:cxn>
                <a:cxn ang="0">
                  <a:pos x="0" y="630"/>
                </a:cxn>
                <a:cxn ang="0">
                  <a:pos x="631" y="0"/>
                </a:cxn>
                <a:cxn ang="0">
                  <a:pos x="369" y="0"/>
                </a:cxn>
                <a:cxn ang="0">
                  <a:pos x="0" y="369"/>
                </a:cxn>
              </a:cxnLst>
              <a:rect l="0" t="0" r="r" b="b"/>
              <a:pathLst>
                <a:path w="631" h="630">
                  <a:moveTo>
                    <a:pt x="0" y="369"/>
                  </a:moveTo>
                  <a:cubicBezTo>
                    <a:pt x="0" y="630"/>
                    <a:pt x="0" y="630"/>
                    <a:pt x="0" y="630"/>
                  </a:cubicBezTo>
                  <a:cubicBezTo>
                    <a:pt x="345" y="622"/>
                    <a:pt x="622" y="344"/>
                    <a:pt x="631" y="0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361" y="200"/>
                    <a:pt x="200" y="361"/>
                    <a:pt x="0" y="36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3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4" name="Freeform 10"/>
            <p:cNvSpPr>
              <a:spLocks/>
            </p:cNvSpPr>
            <p:nvPr/>
          </p:nvSpPr>
          <p:spPr bwMode="gray">
            <a:xfrm>
              <a:off x="3506788" y="3729038"/>
              <a:ext cx="2133600" cy="1017587"/>
            </a:xfrm>
            <a:custGeom>
              <a:avLst/>
              <a:gdLst/>
              <a:ahLst/>
              <a:cxnLst>
                <a:cxn ang="0">
                  <a:pos x="369" y="0"/>
                </a:cxn>
                <a:cxn ang="0">
                  <a:pos x="337" y="0"/>
                </a:cxn>
                <a:cxn ang="0">
                  <a:pos x="0" y="0"/>
                </a:cxn>
                <a:cxn ang="0">
                  <a:pos x="337" y="337"/>
                </a:cxn>
                <a:cxn ang="0">
                  <a:pos x="353" y="337"/>
                </a:cxn>
                <a:cxn ang="0">
                  <a:pos x="369" y="337"/>
                </a:cxn>
                <a:cxn ang="0">
                  <a:pos x="706" y="0"/>
                </a:cxn>
                <a:cxn ang="0">
                  <a:pos x="369" y="0"/>
                </a:cxn>
              </a:cxnLst>
              <a:rect l="0" t="0" r="r" b="b"/>
              <a:pathLst>
                <a:path w="706" h="337">
                  <a:moveTo>
                    <a:pt x="369" y="0"/>
                  </a:moveTo>
                  <a:cubicBezTo>
                    <a:pt x="337" y="0"/>
                    <a:pt x="337" y="0"/>
                    <a:pt x="33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182"/>
                    <a:pt x="155" y="329"/>
                    <a:pt x="337" y="337"/>
                  </a:cubicBezTo>
                  <a:cubicBezTo>
                    <a:pt x="343" y="337"/>
                    <a:pt x="348" y="337"/>
                    <a:pt x="353" y="337"/>
                  </a:cubicBezTo>
                  <a:cubicBezTo>
                    <a:pt x="359" y="337"/>
                    <a:pt x="364" y="337"/>
                    <a:pt x="369" y="337"/>
                  </a:cubicBezTo>
                  <a:cubicBezTo>
                    <a:pt x="551" y="329"/>
                    <a:pt x="698" y="182"/>
                    <a:pt x="706" y="0"/>
                  </a:cubicBezTo>
                  <a:lnTo>
                    <a:pt x="36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nvironment</a:t>
              </a:r>
            </a:p>
          </p:txBody>
        </p:sp>
        <p:sp>
          <p:nvSpPr>
            <p:cNvPr id="1035" name="Freeform 11"/>
            <p:cNvSpPr>
              <a:spLocks/>
            </p:cNvSpPr>
            <p:nvPr/>
          </p:nvSpPr>
          <p:spPr bwMode="gray">
            <a:xfrm>
              <a:off x="3506788" y="2614613"/>
              <a:ext cx="2133600" cy="1017587"/>
            </a:xfrm>
            <a:custGeom>
              <a:avLst/>
              <a:gdLst/>
              <a:ahLst/>
              <a:cxnLst>
                <a:cxn ang="0">
                  <a:pos x="369" y="0"/>
                </a:cxn>
                <a:cxn ang="0">
                  <a:pos x="353" y="0"/>
                </a:cxn>
                <a:cxn ang="0">
                  <a:pos x="337" y="0"/>
                </a:cxn>
                <a:cxn ang="0">
                  <a:pos x="0" y="337"/>
                </a:cxn>
                <a:cxn ang="0">
                  <a:pos x="337" y="337"/>
                </a:cxn>
                <a:cxn ang="0">
                  <a:pos x="369" y="337"/>
                </a:cxn>
                <a:cxn ang="0">
                  <a:pos x="706" y="337"/>
                </a:cxn>
                <a:cxn ang="0">
                  <a:pos x="369" y="0"/>
                </a:cxn>
              </a:cxnLst>
              <a:rect l="0" t="0" r="r" b="b"/>
              <a:pathLst>
                <a:path w="706" h="337">
                  <a:moveTo>
                    <a:pt x="369" y="0"/>
                  </a:moveTo>
                  <a:cubicBezTo>
                    <a:pt x="364" y="0"/>
                    <a:pt x="359" y="0"/>
                    <a:pt x="353" y="0"/>
                  </a:cubicBezTo>
                  <a:cubicBezTo>
                    <a:pt x="348" y="0"/>
                    <a:pt x="343" y="0"/>
                    <a:pt x="337" y="0"/>
                  </a:cubicBezTo>
                  <a:cubicBezTo>
                    <a:pt x="155" y="8"/>
                    <a:pt x="9" y="155"/>
                    <a:pt x="0" y="337"/>
                  </a:cubicBezTo>
                  <a:cubicBezTo>
                    <a:pt x="337" y="337"/>
                    <a:pt x="337" y="337"/>
                    <a:pt x="337" y="337"/>
                  </a:cubicBezTo>
                  <a:cubicBezTo>
                    <a:pt x="369" y="337"/>
                    <a:pt x="369" y="337"/>
                    <a:pt x="369" y="337"/>
                  </a:cubicBezTo>
                  <a:cubicBezTo>
                    <a:pt x="706" y="337"/>
                    <a:pt x="706" y="337"/>
                    <a:pt x="706" y="337"/>
                  </a:cubicBezTo>
                  <a:cubicBezTo>
                    <a:pt x="698" y="155"/>
                    <a:pt x="551" y="8"/>
                    <a:pt x="36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ustomer </a:t>
              </a:r>
            </a:p>
          </p:txBody>
        </p:sp>
        <p:sp>
          <p:nvSpPr>
            <p:cNvPr id="28" name="Rechteck 27"/>
            <p:cNvSpPr/>
            <p:nvPr/>
          </p:nvSpPr>
          <p:spPr bwMode="gray">
            <a:xfrm rot="18900000">
              <a:off x="3039699" y="2132856"/>
              <a:ext cx="3072540" cy="307254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Up">
                <a:avLst/>
              </a:prstTxWarp>
            </a:bodyPr>
            <a:lstStyle/>
            <a:p>
              <a:pPr algn="ctr"/>
              <a:r>
                <a:rPr lang="en-US" b="1" noProof="1" smtClean="0">
                  <a:solidFill>
                    <a:srgbClr val="FFFFFF"/>
                  </a:solidFill>
                </a:rPr>
                <a:t>Innovation culture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 bwMode="gray">
            <a:xfrm rot="2700000">
              <a:off x="3039699" y="2132856"/>
              <a:ext cx="3072540" cy="307254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Up">
                <a:avLst/>
              </a:prstTxWarp>
            </a:bodyPr>
            <a:lstStyle/>
            <a:p>
              <a:pPr algn="ctr"/>
              <a:r>
                <a:rPr lang="en-US" b="1" noProof="1" smtClean="0">
                  <a:solidFill>
                    <a:srgbClr val="FFFFFF"/>
                  </a:solidFill>
                </a:rPr>
                <a:t>Innovation teams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gray">
            <a:xfrm rot="2700000">
              <a:off x="2977682" y="2070839"/>
              <a:ext cx="3196574" cy="319657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b="1" noProof="1" smtClean="0">
                  <a:solidFill>
                    <a:srgbClr val="FFFFFF"/>
                  </a:solidFill>
                </a:rPr>
                <a:t>Innovation marketing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gray">
            <a:xfrm rot="18900000">
              <a:off x="2977682" y="2070839"/>
              <a:ext cx="3196574" cy="319657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b="1" noProof="1" smtClean="0">
                  <a:solidFill>
                    <a:srgbClr val="FFFFFF"/>
                  </a:solidFill>
                </a:rPr>
                <a:t>Innovation controlling 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grpSp>
          <p:nvGrpSpPr>
            <p:cNvPr id="44" name="Gruppieren 43"/>
            <p:cNvGrpSpPr/>
            <p:nvPr/>
          </p:nvGrpSpPr>
          <p:grpSpPr bwMode="gray">
            <a:xfrm>
              <a:off x="1300475" y="2087563"/>
              <a:ext cx="1366526" cy="655500"/>
              <a:chOff x="1438275" y="2195513"/>
              <a:chExt cx="1184275" cy="56807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2" name="Rechteck 31"/>
              <p:cNvSpPr/>
              <p:nvPr/>
            </p:nvSpPr>
            <p:spPr bwMode="gray">
              <a:xfrm>
                <a:off x="1543050" y="2195513"/>
                <a:ext cx="504825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3" name="Rechteck 32"/>
              <p:cNvSpPr/>
              <p:nvPr/>
            </p:nvSpPr>
            <p:spPr bwMode="gray">
              <a:xfrm>
                <a:off x="2117725" y="2195513"/>
                <a:ext cx="504825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36" name="Gruppieren 35"/>
              <p:cNvGrpSpPr/>
              <p:nvPr/>
            </p:nvGrpSpPr>
            <p:grpSpPr bwMode="gray">
              <a:xfrm>
                <a:off x="1543050" y="2295525"/>
                <a:ext cx="1079500" cy="233363"/>
                <a:chOff x="1543050" y="2295525"/>
                <a:chExt cx="1149350" cy="23336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34" name="Rechteck 33"/>
                <p:cNvSpPr/>
                <p:nvPr/>
              </p:nvSpPr>
              <p:spPr bwMode="gray">
                <a:xfrm>
                  <a:off x="1543050" y="2295525"/>
                  <a:ext cx="574675" cy="233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108000" tIns="108000" rIns="0" bIns="0" anchor="t" anchorCtr="0"/>
                <a:lstStyle/>
                <a:p>
                  <a:pPr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5" name="Rechteck 34"/>
                <p:cNvSpPr/>
                <p:nvPr/>
              </p:nvSpPr>
              <p:spPr bwMode="gray">
                <a:xfrm>
                  <a:off x="2117725" y="2295525"/>
                  <a:ext cx="574675" cy="233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108000" tIns="108000" rIns="0" bIns="0" anchor="t" anchorCtr="0"/>
                <a:lstStyle/>
                <a:p>
                  <a:pPr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8" name="Gruppieren 37"/>
              <p:cNvGrpSpPr/>
              <p:nvPr/>
            </p:nvGrpSpPr>
            <p:grpSpPr bwMode="gray">
              <a:xfrm>
                <a:off x="1543050" y="2530227"/>
                <a:ext cx="1079500" cy="233363"/>
                <a:chOff x="1543050" y="2295525"/>
                <a:chExt cx="1149350" cy="23336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39" name="Rechteck 38"/>
                <p:cNvSpPr/>
                <p:nvPr/>
              </p:nvSpPr>
              <p:spPr bwMode="gray">
                <a:xfrm>
                  <a:off x="1543050" y="2295525"/>
                  <a:ext cx="574675" cy="233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108000" tIns="108000" rIns="0" bIns="0" anchor="t" anchorCtr="0"/>
                <a:lstStyle/>
                <a:p>
                  <a:pPr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0" name="Rechteck 39"/>
                <p:cNvSpPr/>
                <p:nvPr/>
              </p:nvSpPr>
              <p:spPr bwMode="gray">
                <a:xfrm>
                  <a:off x="2117725" y="2295525"/>
                  <a:ext cx="574675" cy="233363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108000" tIns="108000" rIns="0" bIns="0" anchor="t" anchorCtr="0"/>
                <a:lstStyle/>
                <a:p>
                  <a:pPr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41" name="Rechteck 40"/>
              <p:cNvSpPr/>
              <p:nvPr/>
            </p:nvSpPr>
            <p:spPr bwMode="gray">
              <a:xfrm>
                <a:off x="1438275" y="2312194"/>
                <a:ext cx="45719" cy="20002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Rechteck 42"/>
              <p:cNvSpPr/>
              <p:nvPr/>
            </p:nvSpPr>
            <p:spPr bwMode="gray">
              <a:xfrm>
                <a:off x="1438275" y="2546896"/>
                <a:ext cx="45719" cy="20002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56" name="Gruppieren 55"/>
            <p:cNvGrpSpPr/>
            <p:nvPr/>
          </p:nvGrpSpPr>
          <p:grpSpPr bwMode="gray">
            <a:xfrm>
              <a:off x="504825" y="2692600"/>
              <a:ext cx="785813" cy="787001"/>
              <a:chOff x="578693" y="2797971"/>
              <a:chExt cx="785813" cy="787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8" name="Gruppieren 47"/>
              <p:cNvGrpSpPr/>
              <p:nvPr/>
            </p:nvGrpSpPr>
            <p:grpSpPr bwMode="gray">
              <a:xfrm>
                <a:off x="634653" y="2855119"/>
                <a:ext cx="673894" cy="673894"/>
                <a:chOff x="634653" y="2855119"/>
                <a:chExt cx="673894" cy="673894"/>
              </a:xfrm>
            </p:grpSpPr>
            <p:cxnSp>
              <p:nvCxnSpPr>
                <p:cNvPr id="46" name="Gerade Verbindung 45"/>
                <p:cNvCxnSpPr/>
                <p:nvPr/>
              </p:nvCxnSpPr>
              <p:spPr bwMode="gray">
                <a:xfrm>
                  <a:off x="971600" y="2855119"/>
                  <a:ext cx="0" cy="673894"/>
                </a:xfrm>
                <a:prstGeom prst="line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969696"/>
                  </a:solidFill>
                  <a:miter lim="800000"/>
                  <a:headEnd/>
                  <a:tailEnd/>
                </a:ln>
                <a:effectLst/>
              </p:spPr>
            </p:cxnSp>
            <p:cxnSp>
              <p:nvCxnSpPr>
                <p:cNvPr id="47" name="Gerade Verbindung 46"/>
                <p:cNvCxnSpPr/>
                <p:nvPr/>
              </p:nvCxnSpPr>
              <p:spPr bwMode="gray">
                <a:xfrm rot="5400000">
                  <a:off x="971600" y="2855119"/>
                  <a:ext cx="0" cy="673894"/>
                </a:xfrm>
                <a:prstGeom prst="line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969696"/>
                  </a:solidFill>
                  <a:miter lim="800000"/>
                  <a:headEnd/>
                  <a:tailEnd/>
                </a:ln>
                <a:effectLst/>
              </p:spPr>
            </p:cxnSp>
          </p:grpSp>
          <p:sp>
            <p:nvSpPr>
              <p:cNvPr id="49" name="Rechteck 48"/>
              <p:cNvSpPr/>
              <p:nvPr/>
            </p:nvSpPr>
            <p:spPr bwMode="gray">
              <a:xfrm>
                <a:off x="823912" y="2797971"/>
                <a:ext cx="111919" cy="1119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Rechteck 49"/>
              <p:cNvSpPr/>
              <p:nvPr/>
            </p:nvSpPr>
            <p:spPr bwMode="gray">
              <a:xfrm>
                <a:off x="1252587" y="3046813"/>
                <a:ext cx="111919" cy="1119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 bwMode="gray">
              <a:xfrm>
                <a:off x="1002553" y="3473053"/>
                <a:ext cx="111919" cy="1119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Rechteck 51"/>
              <p:cNvSpPr/>
              <p:nvPr/>
            </p:nvSpPr>
            <p:spPr bwMode="gray">
              <a:xfrm>
                <a:off x="578693" y="3227781"/>
                <a:ext cx="111919" cy="111919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 bwMode="gray">
              <a:xfrm>
                <a:off x="870397" y="3090863"/>
                <a:ext cx="202406" cy="20240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Nach unten gekrümmter Pfeil 54"/>
              <p:cNvSpPr/>
              <p:nvPr/>
            </p:nvSpPr>
            <p:spPr bwMode="gray">
              <a:xfrm>
                <a:off x="900113" y="3133724"/>
                <a:ext cx="140493" cy="105962"/>
              </a:xfrm>
              <a:prstGeom prst="curvedDownArrow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0" name="Gruppieren 79"/>
            <p:cNvGrpSpPr/>
            <p:nvPr/>
          </p:nvGrpSpPr>
          <p:grpSpPr bwMode="gray">
            <a:xfrm>
              <a:off x="6549192" y="2195513"/>
              <a:ext cx="2123120" cy="1012445"/>
              <a:chOff x="6549192" y="2195513"/>
              <a:chExt cx="2123120" cy="1012445"/>
            </a:xfrm>
          </p:grpSpPr>
          <p:cxnSp>
            <p:nvCxnSpPr>
              <p:cNvPr id="67" name="Gewinkelte Verbindung 66"/>
              <p:cNvCxnSpPr>
                <a:stCxn id="57" idx="2"/>
                <a:endCxn id="60" idx="0"/>
              </p:cNvCxnSpPr>
              <p:nvPr/>
            </p:nvCxnSpPr>
            <p:spPr bwMode="gray">
              <a:xfrm rot="5400000">
                <a:off x="6917098" y="2214919"/>
                <a:ext cx="236815" cy="557213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winkelte Verbindung 68"/>
              <p:cNvCxnSpPr>
                <a:stCxn id="57" idx="2"/>
                <a:endCxn id="59" idx="0"/>
              </p:cNvCxnSpPr>
              <p:nvPr/>
            </p:nvCxnSpPr>
            <p:spPr bwMode="gray">
              <a:xfrm rot="16200000" flipH="1">
                <a:off x="7469547" y="2219681"/>
                <a:ext cx="236815" cy="547687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>
                <a:stCxn id="57" idx="2"/>
                <a:endCxn id="58" idx="0"/>
              </p:cNvCxnSpPr>
              <p:nvPr/>
            </p:nvCxnSpPr>
            <p:spPr bwMode="gray">
              <a:xfrm>
                <a:off x="7314111" y="2375118"/>
                <a:ext cx="0" cy="236815"/>
              </a:xfrm>
              <a:prstGeom prst="line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winkelte Verbindung 72"/>
              <p:cNvCxnSpPr>
                <a:stCxn id="59" idx="2"/>
                <a:endCxn id="63" idx="0"/>
              </p:cNvCxnSpPr>
              <p:nvPr/>
            </p:nvCxnSpPr>
            <p:spPr bwMode="gray">
              <a:xfrm rot="5400000">
                <a:off x="7469548" y="2636102"/>
                <a:ext cx="236815" cy="547687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winkelte Verbindung 74"/>
              <p:cNvCxnSpPr>
                <a:stCxn id="59" idx="2"/>
                <a:endCxn id="62" idx="0"/>
              </p:cNvCxnSpPr>
              <p:nvPr/>
            </p:nvCxnSpPr>
            <p:spPr bwMode="gray">
              <a:xfrm rot="16200000" flipH="1">
                <a:off x="8021997" y="2631338"/>
                <a:ext cx="236815" cy="557213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>
                <a:stCxn id="59" idx="2"/>
                <a:endCxn id="61" idx="0"/>
              </p:cNvCxnSpPr>
              <p:nvPr/>
            </p:nvCxnSpPr>
            <p:spPr bwMode="gray">
              <a:xfrm>
                <a:off x="7861798" y="2791538"/>
                <a:ext cx="0" cy="236815"/>
              </a:xfrm>
              <a:prstGeom prst="line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>
                <a:endCxn id="64" idx="2"/>
              </p:cNvCxnSpPr>
              <p:nvPr/>
            </p:nvCxnSpPr>
            <p:spPr bwMode="gray">
              <a:xfrm flipV="1">
                <a:off x="7861798" y="2851013"/>
                <a:ext cx="630514" cy="0"/>
              </a:xfrm>
              <a:prstGeom prst="line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hteck 56"/>
              <p:cNvSpPr/>
              <p:nvPr/>
            </p:nvSpPr>
            <p:spPr bwMode="gray">
              <a:xfrm>
                <a:off x="7106405" y="219551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Rechteck 57"/>
              <p:cNvSpPr/>
              <p:nvPr/>
            </p:nvSpPr>
            <p:spPr bwMode="gray">
              <a:xfrm>
                <a:off x="7106405" y="261193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gray">
              <a:xfrm>
                <a:off x="7654092" y="261193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Rechteck 59"/>
              <p:cNvSpPr/>
              <p:nvPr/>
            </p:nvSpPr>
            <p:spPr bwMode="gray">
              <a:xfrm>
                <a:off x="6549192" y="261193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Rechteck 60"/>
              <p:cNvSpPr/>
              <p:nvPr/>
            </p:nvSpPr>
            <p:spPr bwMode="gray">
              <a:xfrm>
                <a:off x="7654092" y="302835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 bwMode="gray">
              <a:xfrm>
                <a:off x="8211305" y="302835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gray">
              <a:xfrm>
                <a:off x="7106405" y="3028353"/>
                <a:ext cx="415411" cy="17960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" name="Ellipse 63"/>
              <p:cNvSpPr/>
              <p:nvPr/>
            </p:nvSpPr>
            <p:spPr bwMode="gray">
              <a:xfrm>
                <a:off x="8492312" y="2761210"/>
                <a:ext cx="180000" cy="179605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96" name="Gruppieren 95"/>
            <p:cNvGrpSpPr/>
            <p:nvPr/>
          </p:nvGrpSpPr>
          <p:grpSpPr bwMode="gray">
            <a:xfrm>
              <a:off x="6560508" y="4349750"/>
              <a:ext cx="2091608" cy="650106"/>
              <a:chOff x="6535108" y="4330700"/>
              <a:chExt cx="2091608" cy="650106"/>
            </a:xfrm>
          </p:grpSpPr>
          <p:sp>
            <p:nvSpPr>
              <p:cNvPr id="81" name="Eingekerbter Richtungspfeil 80"/>
              <p:cNvSpPr/>
              <p:nvPr/>
            </p:nvSpPr>
            <p:spPr bwMode="gray">
              <a:xfrm>
                <a:off x="6810889" y="4330700"/>
                <a:ext cx="544023" cy="227062"/>
              </a:xfrm>
              <a:prstGeom prst="chevron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2" name="Eingekerbter Richtungspfeil 81"/>
              <p:cNvSpPr/>
              <p:nvPr/>
            </p:nvSpPr>
            <p:spPr bwMode="gray">
              <a:xfrm>
                <a:off x="7500080" y="4330700"/>
                <a:ext cx="544023" cy="227062"/>
              </a:xfrm>
              <a:prstGeom prst="chevron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3" name="Eingekerbter Richtungspfeil 82"/>
              <p:cNvSpPr/>
              <p:nvPr/>
            </p:nvSpPr>
            <p:spPr bwMode="gray">
              <a:xfrm>
                <a:off x="6810889" y="4753744"/>
                <a:ext cx="544023" cy="227062"/>
              </a:xfrm>
              <a:prstGeom prst="chevron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4" name="Eingekerbter Richtungspfeil 83"/>
              <p:cNvSpPr/>
              <p:nvPr/>
            </p:nvSpPr>
            <p:spPr bwMode="gray">
              <a:xfrm>
                <a:off x="7500080" y="4753744"/>
                <a:ext cx="544023" cy="227062"/>
              </a:xfrm>
              <a:prstGeom prst="chevron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0" bIns="0" anchor="t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cxnSp>
            <p:nvCxnSpPr>
              <p:cNvPr id="86" name="Gerade Verbindung 85"/>
              <p:cNvCxnSpPr/>
              <p:nvPr/>
            </p:nvCxnSpPr>
            <p:spPr bwMode="gray">
              <a:xfrm flipH="1" flipV="1">
                <a:off x="6535108" y="4445000"/>
                <a:ext cx="389312" cy="0"/>
              </a:xfrm>
              <a:prstGeom prst="line">
                <a:avLst/>
              </a:prstGeom>
              <a:ln>
                <a:solidFill>
                  <a:srgbClr val="969696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 Verbindung 86"/>
              <p:cNvCxnSpPr/>
              <p:nvPr/>
            </p:nvCxnSpPr>
            <p:spPr bwMode="gray">
              <a:xfrm flipH="1" flipV="1">
                <a:off x="6535108" y="4870835"/>
                <a:ext cx="389312" cy="0"/>
              </a:xfrm>
              <a:prstGeom prst="line">
                <a:avLst/>
              </a:prstGeom>
              <a:ln>
                <a:solidFill>
                  <a:srgbClr val="969696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 Verbindung 88"/>
              <p:cNvCxnSpPr>
                <a:stCxn id="81" idx="3"/>
                <a:endCxn id="82" idx="1"/>
              </p:cNvCxnSpPr>
              <p:nvPr/>
            </p:nvCxnSpPr>
            <p:spPr bwMode="gray">
              <a:xfrm>
                <a:off x="7354912" y="4444231"/>
                <a:ext cx="258699" cy="0"/>
              </a:xfrm>
              <a:prstGeom prst="line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90"/>
              <p:cNvCxnSpPr>
                <a:stCxn id="83" idx="3"/>
                <a:endCxn id="84" idx="1"/>
              </p:cNvCxnSpPr>
              <p:nvPr/>
            </p:nvCxnSpPr>
            <p:spPr bwMode="gray">
              <a:xfrm>
                <a:off x="7354912" y="4867275"/>
                <a:ext cx="258699" cy="0"/>
              </a:xfrm>
              <a:prstGeom prst="line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 Verbindung mit Pfeil 92"/>
              <p:cNvCxnSpPr>
                <a:stCxn id="84" idx="3"/>
              </p:cNvCxnSpPr>
              <p:nvPr/>
            </p:nvCxnSpPr>
            <p:spPr bwMode="gray">
              <a:xfrm>
                <a:off x="8044103" y="4867275"/>
                <a:ext cx="582613" cy="0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Form 94"/>
              <p:cNvCxnSpPr>
                <a:stCxn id="82" idx="3"/>
              </p:cNvCxnSpPr>
              <p:nvPr/>
            </p:nvCxnSpPr>
            <p:spPr bwMode="gray">
              <a:xfrm>
                <a:off x="8044103" y="4444231"/>
                <a:ext cx="287097" cy="426604"/>
              </a:xfrm>
              <a:prstGeom prst="bentConnector2">
                <a:avLst/>
              </a:prstGeom>
              <a:ln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uppieren 114"/>
            <p:cNvGrpSpPr/>
            <p:nvPr/>
          </p:nvGrpSpPr>
          <p:grpSpPr bwMode="gray">
            <a:xfrm>
              <a:off x="441710" y="3860030"/>
              <a:ext cx="626839" cy="1149409"/>
              <a:chOff x="560785" y="3777481"/>
              <a:chExt cx="490437" cy="899294"/>
            </a:xfrm>
          </p:grpSpPr>
          <p:grpSp>
            <p:nvGrpSpPr>
              <p:cNvPr id="103" name="Gruppieren 102"/>
              <p:cNvGrpSpPr/>
              <p:nvPr/>
            </p:nvGrpSpPr>
            <p:grpSpPr bwMode="gray">
              <a:xfrm>
                <a:off x="560785" y="3895725"/>
                <a:ext cx="189259" cy="625475"/>
                <a:chOff x="560785" y="3895725"/>
                <a:chExt cx="189259" cy="625475"/>
              </a:xfrm>
            </p:grpSpPr>
            <p:cxnSp>
              <p:nvCxnSpPr>
                <p:cNvPr id="98" name="Gerade Verbindung 97"/>
                <p:cNvCxnSpPr/>
                <p:nvPr/>
              </p:nvCxnSpPr>
              <p:spPr bwMode="gray">
                <a:xfrm>
                  <a:off x="560785" y="3895725"/>
                  <a:ext cx="0" cy="26670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Gerade Verbindung 99"/>
                <p:cNvCxnSpPr/>
                <p:nvPr/>
              </p:nvCxnSpPr>
              <p:spPr bwMode="gray">
                <a:xfrm>
                  <a:off x="560785" y="4162425"/>
                  <a:ext cx="187325" cy="187325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Gerade Verbindung 101"/>
                <p:cNvCxnSpPr/>
                <p:nvPr/>
              </p:nvCxnSpPr>
              <p:spPr bwMode="gray">
                <a:xfrm>
                  <a:off x="750044" y="4349750"/>
                  <a:ext cx="0" cy="17145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" name="Gruppieren 103"/>
              <p:cNvGrpSpPr/>
              <p:nvPr/>
            </p:nvGrpSpPr>
            <p:grpSpPr bwMode="gray">
              <a:xfrm flipH="1">
                <a:off x="861963" y="3895725"/>
                <a:ext cx="189259" cy="625475"/>
                <a:chOff x="560785" y="3895725"/>
                <a:chExt cx="189259" cy="625475"/>
              </a:xfrm>
            </p:grpSpPr>
            <p:cxnSp>
              <p:nvCxnSpPr>
                <p:cNvPr id="105" name="Gerade Verbindung 104"/>
                <p:cNvCxnSpPr/>
                <p:nvPr/>
              </p:nvCxnSpPr>
              <p:spPr bwMode="gray">
                <a:xfrm>
                  <a:off x="560785" y="3895725"/>
                  <a:ext cx="0" cy="26670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Gerade Verbindung 105"/>
                <p:cNvCxnSpPr/>
                <p:nvPr/>
              </p:nvCxnSpPr>
              <p:spPr bwMode="gray">
                <a:xfrm>
                  <a:off x="560785" y="4162425"/>
                  <a:ext cx="187325" cy="187325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Gerade Verbindung 106"/>
                <p:cNvCxnSpPr/>
                <p:nvPr/>
              </p:nvCxnSpPr>
              <p:spPr bwMode="gray">
                <a:xfrm>
                  <a:off x="750044" y="4349750"/>
                  <a:ext cx="0" cy="171450"/>
                </a:xfrm>
                <a:prstGeom prst="line">
                  <a:avLst/>
                </a:prstGeom>
                <a:ln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09" name="Gerade Verbindung mit Pfeil 108"/>
              <p:cNvCxnSpPr/>
              <p:nvPr/>
            </p:nvCxnSpPr>
            <p:spPr bwMode="gray">
              <a:xfrm>
                <a:off x="806004" y="4349750"/>
                <a:ext cx="0" cy="327025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mit Pfeil 109"/>
              <p:cNvCxnSpPr/>
              <p:nvPr/>
            </p:nvCxnSpPr>
            <p:spPr bwMode="gray">
              <a:xfrm>
                <a:off x="631825" y="3806056"/>
                <a:ext cx="0" cy="211088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mit Pfeil 111"/>
              <p:cNvCxnSpPr/>
              <p:nvPr/>
            </p:nvCxnSpPr>
            <p:spPr bwMode="gray">
              <a:xfrm>
                <a:off x="743463" y="3911600"/>
                <a:ext cx="0" cy="211088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mit Pfeil 112"/>
              <p:cNvCxnSpPr/>
              <p:nvPr/>
            </p:nvCxnSpPr>
            <p:spPr bwMode="gray">
              <a:xfrm>
                <a:off x="855101" y="3777481"/>
                <a:ext cx="0" cy="211088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mit Pfeil 113"/>
              <p:cNvCxnSpPr/>
              <p:nvPr/>
            </p:nvCxnSpPr>
            <p:spPr bwMode="gray">
              <a:xfrm>
                <a:off x="966738" y="3873500"/>
                <a:ext cx="0" cy="211088"/>
              </a:xfrm>
              <a:prstGeom prst="straightConnector1">
                <a:avLst/>
              </a:prstGeom>
              <a:ln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2" name="Freihandform 121"/>
            <p:cNvSpPr/>
            <p:nvPr/>
          </p:nvSpPr>
          <p:spPr bwMode="gray">
            <a:xfrm>
              <a:off x="1390656" y="4576767"/>
              <a:ext cx="1466850" cy="781050"/>
            </a:xfrm>
            <a:custGeom>
              <a:avLst/>
              <a:gdLst>
                <a:gd name="connsiteX0" fmla="*/ 0 w 1466850"/>
                <a:gd name="connsiteY0" fmla="*/ 121444 h 781050"/>
                <a:gd name="connsiteX1" fmla="*/ 104775 w 1466850"/>
                <a:gd name="connsiteY1" fmla="*/ 0 h 781050"/>
                <a:gd name="connsiteX2" fmla="*/ 626268 w 1466850"/>
                <a:gd name="connsiteY2" fmla="*/ 0 h 781050"/>
                <a:gd name="connsiteX3" fmla="*/ 626268 w 1466850"/>
                <a:gd name="connsiteY3" fmla="*/ 292894 h 781050"/>
                <a:gd name="connsiteX4" fmla="*/ 1466850 w 1466850"/>
                <a:gd name="connsiteY4" fmla="*/ 292894 h 781050"/>
                <a:gd name="connsiteX5" fmla="*/ 1466850 w 1466850"/>
                <a:gd name="connsiteY5" fmla="*/ 657225 h 781050"/>
                <a:gd name="connsiteX6" fmla="*/ 1362075 w 1466850"/>
                <a:gd name="connsiteY6" fmla="*/ 781050 h 781050"/>
                <a:gd name="connsiteX7" fmla="*/ 214312 w 1466850"/>
                <a:gd name="connsiteY7" fmla="*/ 538163 h 781050"/>
                <a:gd name="connsiteX8" fmla="*/ 0 w 1466850"/>
                <a:gd name="connsiteY8" fmla="*/ 121444 h 781050"/>
                <a:gd name="connsiteX0" fmla="*/ 0 w 1466850"/>
                <a:gd name="connsiteY0" fmla="*/ 123825 h 781050"/>
                <a:gd name="connsiteX1" fmla="*/ 104775 w 1466850"/>
                <a:gd name="connsiteY1" fmla="*/ 0 h 781050"/>
                <a:gd name="connsiteX2" fmla="*/ 626268 w 1466850"/>
                <a:gd name="connsiteY2" fmla="*/ 0 h 781050"/>
                <a:gd name="connsiteX3" fmla="*/ 626268 w 1466850"/>
                <a:gd name="connsiteY3" fmla="*/ 292894 h 781050"/>
                <a:gd name="connsiteX4" fmla="*/ 1466850 w 1466850"/>
                <a:gd name="connsiteY4" fmla="*/ 292894 h 781050"/>
                <a:gd name="connsiteX5" fmla="*/ 1466850 w 1466850"/>
                <a:gd name="connsiteY5" fmla="*/ 657225 h 781050"/>
                <a:gd name="connsiteX6" fmla="*/ 1362075 w 1466850"/>
                <a:gd name="connsiteY6" fmla="*/ 781050 h 781050"/>
                <a:gd name="connsiteX7" fmla="*/ 214312 w 1466850"/>
                <a:gd name="connsiteY7" fmla="*/ 538163 h 781050"/>
                <a:gd name="connsiteX8" fmla="*/ 0 w 1466850"/>
                <a:gd name="connsiteY8" fmla="*/ 123825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6850" h="781050">
                  <a:moveTo>
                    <a:pt x="0" y="123825"/>
                  </a:moveTo>
                  <a:lnTo>
                    <a:pt x="104775" y="0"/>
                  </a:lnTo>
                  <a:lnTo>
                    <a:pt x="626268" y="0"/>
                  </a:lnTo>
                  <a:lnTo>
                    <a:pt x="626268" y="292894"/>
                  </a:lnTo>
                  <a:lnTo>
                    <a:pt x="1466850" y="292894"/>
                  </a:lnTo>
                  <a:lnTo>
                    <a:pt x="1466850" y="657225"/>
                  </a:lnTo>
                  <a:lnTo>
                    <a:pt x="1362075" y="781050"/>
                  </a:lnTo>
                  <a:lnTo>
                    <a:pt x="214312" y="538163"/>
                  </a:lnTo>
                  <a:lnTo>
                    <a:pt x="0" y="12382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0" bIns="108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40" name="Freeform 16"/>
            <p:cNvSpPr>
              <a:spLocks/>
            </p:cNvSpPr>
            <p:nvPr/>
          </p:nvSpPr>
          <p:spPr bwMode="gray">
            <a:xfrm>
              <a:off x="1389961" y="4700592"/>
              <a:ext cx="1366837" cy="658812"/>
            </a:xfrm>
            <a:custGeom>
              <a:avLst/>
              <a:gdLst/>
              <a:ahLst/>
              <a:cxnLst>
                <a:cxn ang="0">
                  <a:pos x="330" y="183"/>
                </a:cxn>
                <a:cxn ang="0">
                  <a:pos x="330" y="0"/>
                </a:cxn>
                <a:cxn ang="0">
                  <a:pos x="0" y="0"/>
                </a:cxn>
                <a:cxn ang="0">
                  <a:pos x="0" y="415"/>
                </a:cxn>
                <a:cxn ang="0">
                  <a:pos x="324" y="415"/>
                </a:cxn>
                <a:cxn ang="0">
                  <a:pos x="330" y="415"/>
                </a:cxn>
                <a:cxn ang="0">
                  <a:pos x="861" y="415"/>
                </a:cxn>
                <a:cxn ang="0">
                  <a:pos x="861" y="183"/>
                </a:cxn>
                <a:cxn ang="0">
                  <a:pos x="330" y="183"/>
                </a:cxn>
              </a:cxnLst>
              <a:rect l="0" t="0" r="r" b="b"/>
              <a:pathLst>
                <a:path w="861" h="415">
                  <a:moveTo>
                    <a:pt x="330" y="183"/>
                  </a:moveTo>
                  <a:lnTo>
                    <a:pt x="330" y="0"/>
                  </a:lnTo>
                  <a:lnTo>
                    <a:pt x="0" y="0"/>
                  </a:lnTo>
                  <a:lnTo>
                    <a:pt x="0" y="415"/>
                  </a:lnTo>
                  <a:lnTo>
                    <a:pt x="324" y="415"/>
                  </a:lnTo>
                  <a:lnTo>
                    <a:pt x="330" y="415"/>
                  </a:lnTo>
                  <a:lnTo>
                    <a:pt x="861" y="415"/>
                  </a:lnTo>
                  <a:lnTo>
                    <a:pt x="861" y="183"/>
                  </a:lnTo>
                  <a:lnTo>
                    <a:pt x="330" y="18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0" bIns="108000" anchor="b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124" name="Gerade Verbindung 123"/>
            <p:cNvCxnSpPr>
              <a:stCxn id="122" idx="2"/>
            </p:cNvCxnSpPr>
            <p:nvPr/>
          </p:nvCxnSpPr>
          <p:spPr bwMode="gray">
            <a:xfrm flipH="1">
              <a:off x="1914531" y="4576767"/>
              <a:ext cx="102393" cy="123825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</p:cxnSp>
        <p:cxnSp>
          <p:nvCxnSpPr>
            <p:cNvPr id="125" name="Gerade Verbindung 124"/>
            <p:cNvCxnSpPr/>
            <p:nvPr/>
          </p:nvCxnSpPr>
          <p:spPr bwMode="gray">
            <a:xfrm flipH="1">
              <a:off x="2755113" y="4870839"/>
              <a:ext cx="102393" cy="123825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</p:cxnSp>
        <p:cxnSp>
          <p:nvCxnSpPr>
            <p:cNvPr id="126" name="Gerade Verbindung 125"/>
            <p:cNvCxnSpPr/>
            <p:nvPr/>
          </p:nvCxnSpPr>
          <p:spPr bwMode="gray">
            <a:xfrm flipH="1">
              <a:off x="1914531" y="4870839"/>
              <a:ext cx="102393" cy="123825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</p:cxnSp>
        <p:sp>
          <p:nvSpPr>
            <p:cNvPr id="127" name="Rechteck 126"/>
            <p:cNvSpPr/>
            <p:nvPr/>
          </p:nvSpPr>
          <p:spPr bwMode="gray">
            <a:xfrm>
              <a:off x="1538295" y="5107786"/>
              <a:ext cx="235744" cy="25161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28" name="Rechteck 127"/>
            <p:cNvSpPr/>
            <p:nvPr/>
          </p:nvSpPr>
          <p:spPr bwMode="gray">
            <a:xfrm>
              <a:off x="1538295" y="4888216"/>
              <a:ext cx="235744" cy="10644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29" name="Rechteck 128"/>
            <p:cNvSpPr/>
            <p:nvPr/>
          </p:nvSpPr>
          <p:spPr bwMode="gray">
            <a:xfrm>
              <a:off x="1978709" y="5107786"/>
              <a:ext cx="235744" cy="10644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30" name="Rechteck 129"/>
            <p:cNvSpPr/>
            <p:nvPr/>
          </p:nvSpPr>
          <p:spPr bwMode="gray">
            <a:xfrm>
              <a:off x="2368042" y="5107786"/>
              <a:ext cx="235744" cy="10644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145" name="Gerade Verbindung mit Pfeil 144"/>
            <p:cNvCxnSpPr/>
            <p:nvPr/>
          </p:nvCxnSpPr>
          <p:spPr bwMode="gray">
            <a:xfrm rot="16200000">
              <a:off x="1164430" y="4760135"/>
              <a:ext cx="0" cy="327025"/>
            </a:xfrm>
            <a:prstGeom prst="straightConnector1">
              <a:avLst/>
            </a:prstGeom>
            <a:ln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/>
            <p:cNvCxnSpPr/>
            <p:nvPr/>
          </p:nvCxnSpPr>
          <p:spPr bwMode="gray">
            <a:xfrm rot="16200000">
              <a:off x="1164431" y="5018082"/>
              <a:ext cx="0" cy="327025"/>
            </a:xfrm>
            <a:prstGeom prst="straightConnector1">
              <a:avLst/>
            </a:prstGeom>
            <a:ln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Gerade Verbindung mit Pfeil 146"/>
            <p:cNvCxnSpPr/>
            <p:nvPr/>
          </p:nvCxnSpPr>
          <p:spPr bwMode="gray">
            <a:xfrm rot="16200000">
              <a:off x="1357631" y="4888779"/>
              <a:ext cx="0" cy="327025"/>
            </a:xfrm>
            <a:prstGeom prst="straightConnector1">
              <a:avLst/>
            </a:prstGeom>
            <a:ln>
              <a:solidFill>
                <a:srgbClr val="96969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004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Product Planning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5866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upply chain that shows the way of all components of a product from commodity to supplier, manufacturer till customer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Value Chain </a:t>
            </a:r>
            <a:r>
              <a:rPr lang="en-US" b="0" noProof="1" smtClean="0"/>
              <a:t>(Supply Chain)</a:t>
            </a:r>
          </a:p>
        </p:txBody>
      </p:sp>
      <p:grpSp>
        <p:nvGrpSpPr>
          <p:cNvPr id="2" name="Gruppieren 29"/>
          <p:cNvGrpSpPr/>
          <p:nvPr/>
        </p:nvGrpSpPr>
        <p:grpSpPr>
          <a:xfrm>
            <a:off x="323853" y="2330824"/>
            <a:ext cx="8497089" cy="2886635"/>
            <a:chOff x="323853" y="2330824"/>
            <a:chExt cx="8497089" cy="2886635"/>
          </a:xfrm>
        </p:grpSpPr>
        <p:sp>
          <p:nvSpPr>
            <p:cNvPr id="3" name="Rechteck 2"/>
            <p:cNvSpPr/>
            <p:nvPr/>
          </p:nvSpPr>
          <p:spPr bwMode="gray">
            <a:xfrm>
              <a:off x="448235" y="2330824"/>
              <a:ext cx="1604683" cy="2886635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7164288" y="2330824"/>
              <a:ext cx="1604683" cy="2886635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323853" y="2330824"/>
              <a:ext cx="1729066" cy="2886635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Supplier</a:t>
              </a: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7091876" y="2330824"/>
              <a:ext cx="1729066" cy="2886635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2481557" y="2330824"/>
              <a:ext cx="4181682" cy="288663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" name="Gruppieren 25"/>
            <p:cNvGrpSpPr/>
            <p:nvPr/>
          </p:nvGrpSpPr>
          <p:grpSpPr bwMode="gray">
            <a:xfrm>
              <a:off x="2614456" y="3811450"/>
              <a:ext cx="3915884" cy="1247802"/>
              <a:chOff x="2481557" y="3969657"/>
              <a:chExt cx="5422830" cy="1247802"/>
            </a:xfrm>
          </p:grpSpPr>
          <p:sp>
            <p:nvSpPr>
              <p:cNvPr id="22" name="Rechteck 21"/>
              <p:cNvSpPr/>
              <p:nvPr/>
            </p:nvSpPr>
            <p:spPr bwMode="gray">
              <a:xfrm>
                <a:off x="2481557" y="3969657"/>
                <a:ext cx="1807611" cy="124780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b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curement</a:t>
                </a: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4289167" y="3969657"/>
                <a:ext cx="1807610" cy="124780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b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duction</a:t>
                </a: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6096777" y="3969657"/>
                <a:ext cx="1807610" cy="124780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b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ales</a:t>
                </a:r>
              </a:p>
            </p:txBody>
          </p:sp>
        </p:grpSp>
        <p:grpSp>
          <p:nvGrpSpPr>
            <p:cNvPr id="5" name="Gruppieren 40"/>
            <p:cNvGrpSpPr/>
            <p:nvPr/>
          </p:nvGrpSpPr>
          <p:grpSpPr bwMode="gray">
            <a:xfrm>
              <a:off x="3506129" y="2398525"/>
              <a:ext cx="1985692" cy="2042840"/>
              <a:chOff x="2886076" y="1519238"/>
              <a:chExt cx="3695700" cy="3802062"/>
            </a:xfrm>
          </p:grpSpPr>
          <p:sp>
            <p:nvSpPr>
              <p:cNvPr id="1031" name="Rectangle 7"/>
              <p:cNvSpPr>
                <a:spLocks noChangeArrowheads="1"/>
              </p:cNvSpPr>
              <p:nvPr/>
            </p:nvSpPr>
            <p:spPr bwMode="gray">
              <a:xfrm>
                <a:off x="4033838" y="1595438"/>
                <a:ext cx="271463" cy="162242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2" name="Oval 8"/>
              <p:cNvSpPr>
                <a:spLocks noChangeArrowheads="1"/>
              </p:cNvSpPr>
              <p:nvPr/>
            </p:nvSpPr>
            <p:spPr bwMode="gray">
              <a:xfrm>
                <a:off x="4033838" y="1519238"/>
                <a:ext cx="271463" cy="147637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3" name="Rectangle 9"/>
              <p:cNvSpPr>
                <a:spLocks noChangeArrowheads="1"/>
              </p:cNvSpPr>
              <p:nvPr/>
            </p:nvSpPr>
            <p:spPr bwMode="gray">
              <a:xfrm>
                <a:off x="3719513" y="1804988"/>
                <a:ext cx="269875" cy="16240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4" name="Oval 10"/>
              <p:cNvSpPr>
                <a:spLocks noChangeArrowheads="1"/>
              </p:cNvSpPr>
              <p:nvPr/>
            </p:nvSpPr>
            <p:spPr bwMode="gray">
              <a:xfrm>
                <a:off x="3719513" y="1730375"/>
                <a:ext cx="269875" cy="146050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5" name="Freeform 11"/>
              <p:cNvSpPr>
                <a:spLocks/>
              </p:cNvSpPr>
              <p:nvPr/>
            </p:nvSpPr>
            <p:spPr bwMode="gray">
              <a:xfrm>
                <a:off x="4251326" y="2082800"/>
                <a:ext cx="2330450" cy="1704975"/>
              </a:xfrm>
              <a:custGeom>
                <a:avLst/>
                <a:gdLst/>
                <a:ahLst/>
                <a:cxnLst>
                  <a:cxn ang="0">
                    <a:pos x="435" y="0"/>
                  </a:cxn>
                  <a:cxn ang="0">
                    <a:pos x="1468" y="633"/>
                  </a:cxn>
                  <a:cxn ang="0">
                    <a:pos x="1049" y="1074"/>
                  </a:cxn>
                  <a:cxn ang="0">
                    <a:pos x="0" y="470"/>
                  </a:cxn>
                  <a:cxn ang="0">
                    <a:pos x="435" y="0"/>
                  </a:cxn>
                </a:cxnLst>
                <a:rect l="0" t="0" r="r" b="b"/>
                <a:pathLst>
                  <a:path w="1468" h="1074">
                    <a:moveTo>
                      <a:pt x="435" y="0"/>
                    </a:moveTo>
                    <a:lnTo>
                      <a:pt x="1468" y="633"/>
                    </a:lnTo>
                    <a:lnTo>
                      <a:pt x="1049" y="1074"/>
                    </a:lnTo>
                    <a:lnTo>
                      <a:pt x="0" y="470"/>
                    </a:lnTo>
                    <a:lnTo>
                      <a:pt x="43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6" name="Freeform 12"/>
              <p:cNvSpPr>
                <a:spLocks/>
              </p:cNvSpPr>
              <p:nvPr/>
            </p:nvSpPr>
            <p:spPr bwMode="gray">
              <a:xfrm>
                <a:off x="3505201" y="2441575"/>
                <a:ext cx="2411413" cy="1709737"/>
              </a:xfrm>
              <a:custGeom>
                <a:avLst/>
                <a:gdLst/>
                <a:ahLst/>
                <a:cxnLst>
                  <a:cxn ang="0">
                    <a:pos x="1519" y="685"/>
                  </a:cxn>
                  <a:cxn ang="0">
                    <a:pos x="470" y="0"/>
                  </a:cxn>
                  <a:cxn ang="0">
                    <a:pos x="0" y="487"/>
                  </a:cxn>
                  <a:cxn ang="0">
                    <a:pos x="1125" y="1077"/>
                  </a:cxn>
                  <a:cxn ang="0">
                    <a:pos x="1519" y="685"/>
                  </a:cxn>
                </a:cxnLst>
                <a:rect l="0" t="0" r="r" b="b"/>
                <a:pathLst>
                  <a:path w="1519" h="1077">
                    <a:moveTo>
                      <a:pt x="1519" y="685"/>
                    </a:moveTo>
                    <a:lnTo>
                      <a:pt x="470" y="0"/>
                    </a:lnTo>
                    <a:lnTo>
                      <a:pt x="0" y="487"/>
                    </a:lnTo>
                    <a:lnTo>
                      <a:pt x="1125" y="1077"/>
                    </a:lnTo>
                    <a:lnTo>
                      <a:pt x="1519" y="685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8" name="Freeform 14"/>
              <p:cNvSpPr>
                <a:spLocks/>
              </p:cNvSpPr>
              <p:nvPr/>
            </p:nvSpPr>
            <p:spPr bwMode="gray">
              <a:xfrm>
                <a:off x="2886076" y="2859088"/>
                <a:ext cx="2405063" cy="1731962"/>
              </a:xfrm>
              <a:custGeom>
                <a:avLst/>
                <a:gdLst/>
                <a:ahLst/>
                <a:cxnLst>
                  <a:cxn ang="0">
                    <a:pos x="1515" y="687"/>
                  </a:cxn>
                  <a:cxn ang="0">
                    <a:pos x="390" y="0"/>
                  </a:cxn>
                  <a:cxn ang="0">
                    <a:pos x="0" y="403"/>
                  </a:cxn>
                  <a:cxn ang="0">
                    <a:pos x="1123" y="1091"/>
                  </a:cxn>
                  <a:cxn ang="0">
                    <a:pos x="1515" y="687"/>
                  </a:cxn>
                </a:cxnLst>
                <a:rect l="0" t="0" r="r" b="b"/>
                <a:pathLst>
                  <a:path w="1515" h="1091">
                    <a:moveTo>
                      <a:pt x="1515" y="687"/>
                    </a:moveTo>
                    <a:lnTo>
                      <a:pt x="390" y="0"/>
                    </a:lnTo>
                    <a:lnTo>
                      <a:pt x="0" y="403"/>
                    </a:lnTo>
                    <a:lnTo>
                      <a:pt x="1123" y="1091"/>
                    </a:lnTo>
                    <a:lnTo>
                      <a:pt x="1515" y="687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9" name="Freeform 15"/>
              <p:cNvSpPr>
                <a:spLocks/>
              </p:cNvSpPr>
              <p:nvPr/>
            </p:nvSpPr>
            <p:spPr bwMode="gray">
              <a:xfrm>
                <a:off x="2886076" y="3498850"/>
                <a:ext cx="1782763" cy="1620837"/>
              </a:xfrm>
              <a:custGeom>
                <a:avLst/>
                <a:gdLst/>
                <a:ahLst/>
                <a:cxnLst>
                  <a:cxn ang="0">
                    <a:pos x="1123" y="688"/>
                  </a:cxn>
                  <a:cxn ang="0">
                    <a:pos x="0" y="0"/>
                  </a:cxn>
                  <a:cxn ang="0">
                    <a:pos x="0" y="324"/>
                  </a:cxn>
                  <a:cxn ang="0">
                    <a:pos x="1123" y="1021"/>
                  </a:cxn>
                  <a:cxn ang="0">
                    <a:pos x="1123" y="688"/>
                  </a:cxn>
                </a:cxnLst>
                <a:rect l="0" t="0" r="r" b="b"/>
                <a:pathLst>
                  <a:path w="1123" h="1021">
                    <a:moveTo>
                      <a:pt x="1123" y="688"/>
                    </a:moveTo>
                    <a:lnTo>
                      <a:pt x="0" y="0"/>
                    </a:lnTo>
                    <a:lnTo>
                      <a:pt x="0" y="324"/>
                    </a:lnTo>
                    <a:lnTo>
                      <a:pt x="1123" y="1021"/>
                    </a:lnTo>
                    <a:lnTo>
                      <a:pt x="1123" y="68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42" name="Freeform 18"/>
              <p:cNvSpPr>
                <a:spLocks/>
              </p:cNvSpPr>
              <p:nvPr/>
            </p:nvSpPr>
            <p:spPr bwMode="gray">
              <a:xfrm>
                <a:off x="3130551" y="4065588"/>
                <a:ext cx="1285875" cy="820737"/>
              </a:xfrm>
              <a:custGeom>
                <a:avLst/>
                <a:gdLst/>
                <a:ahLst/>
                <a:cxnLst>
                  <a:cxn ang="0">
                    <a:pos x="525" y="517"/>
                  </a:cxn>
                  <a:cxn ang="0">
                    <a:pos x="0" y="196"/>
                  </a:cxn>
                  <a:cxn ang="0">
                    <a:pos x="307" y="0"/>
                  </a:cxn>
                  <a:cxn ang="0">
                    <a:pos x="810" y="319"/>
                  </a:cxn>
                  <a:cxn ang="0">
                    <a:pos x="525" y="517"/>
                  </a:cxn>
                </a:cxnLst>
                <a:rect l="0" t="0" r="r" b="b"/>
                <a:pathLst>
                  <a:path w="810" h="517">
                    <a:moveTo>
                      <a:pt x="525" y="517"/>
                    </a:moveTo>
                    <a:lnTo>
                      <a:pt x="0" y="196"/>
                    </a:lnTo>
                    <a:lnTo>
                      <a:pt x="307" y="0"/>
                    </a:lnTo>
                    <a:lnTo>
                      <a:pt x="810" y="319"/>
                    </a:lnTo>
                    <a:lnTo>
                      <a:pt x="525" y="517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037" name="Freeform 13"/>
              <p:cNvSpPr>
                <a:spLocks/>
              </p:cNvSpPr>
              <p:nvPr/>
            </p:nvSpPr>
            <p:spPr bwMode="gray">
              <a:xfrm>
                <a:off x="4668838" y="3087688"/>
                <a:ext cx="1912938" cy="2032000"/>
              </a:xfrm>
              <a:custGeom>
                <a:avLst/>
                <a:gdLst/>
                <a:ahLst/>
                <a:cxnLst>
                  <a:cxn ang="0">
                    <a:pos x="0" y="1280"/>
                  </a:cxn>
                  <a:cxn ang="0">
                    <a:pos x="0" y="947"/>
                  </a:cxn>
                  <a:cxn ang="0">
                    <a:pos x="392" y="543"/>
                  </a:cxn>
                  <a:cxn ang="0">
                    <a:pos x="392" y="670"/>
                  </a:cxn>
                  <a:cxn ang="0">
                    <a:pos x="786" y="278"/>
                  </a:cxn>
                  <a:cxn ang="0">
                    <a:pos x="786" y="441"/>
                  </a:cxn>
                  <a:cxn ang="0">
                    <a:pos x="1205" y="0"/>
                  </a:cxn>
                  <a:cxn ang="0">
                    <a:pos x="1205" y="555"/>
                  </a:cxn>
                  <a:cxn ang="0">
                    <a:pos x="0" y="1280"/>
                  </a:cxn>
                </a:cxnLst>
                <a:rect l="0" t="0" r="r" b="b"/>
                <a:pathLst>
                  <a:path w="1205" h="1280">
                    <a:moveTo>
                      <a:pt x="0" y="1280"/>
                    </a:moveTo>
                    <a:lnTo>
                      <a:pt x="0" y="947"/>
                    </a:lnTo>
                    <a:lnTo>
                      <a:pt x="392" y="543"/>
                    </a:lnTo>
                    <a:lnTo>
                      <a:pt x="392" y="670"/>
                    </a:lnTo>
                    <a:lnTo>
                      <a:pt x="786" y="278"/>
                    </a:lnTo>
                    <a:lnTo>
                      <a:pt x="786" y="441"/>
                    </a:lnTo>
                    <a:lnTo>
                      <a:pt x="1205" y="0"/>
                    </a:lnTo>
                    <a:lnTo>
                      <a:pt x="1205" y="555"/>
                    </a:lnTo>
                    <a:lnTo>
                      <a:pt x="0" y="12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41" name="Freeform 17"/>
              <p:cNvSpPr>
                <a:spLocks/>
              </p:cNvSpPr>
              <p:nvPr/>
            </p:nvSpPr>
            <p:spPr bwMode="gray">
              <a:xfrm>
                <a:off x="3130551" y="4376738"/>
                <a:ext cx="833438" cy="944562"/>
              </a:xfrm>
              <a:custGeom>
                <a:avLst/>
                <a:gdLst/>
                <a:ahLst/>
                <a:cxnLst>
                  <a:cxn ang="0">
                    <a:pos x="525" y="595"/>
                  </a:cxn>
                  <a:cxn ang="0">
                    <a:pos x="0" y="272"/>
                  </a:cxn>
                  <a:cxn ang="0">
                    <a:pos x="0" y="0"/>
                  </a:cxn>
                  <a:cxn ang="0">
                    <a:pos x="525" y="321"/>
                  </a:cxn>
                  <a:cxn ang="0">
                    <a:pos x="525" y="595"/>
                  </a:cxn>
                </a:cxnLst>
                <a:rect l="0" t="0" r="r" b="b"/>
                <a:pathLst>
                  <a:path w="525" h="595">
                    <a:moveTo>
                      <a:pt x="525" y="595"/>
                    </a:moveTo>
                    <a:lnTo>
                      <a:pt x="0" y="272"/>
                    </a:lnTo>
                    <a:lnTo>
                      <a:pt x="0" y="0"/>
                    </a:lnTo>
                    <a:lnTo>
                      <a:pt x="525" y="321"/>
                    </a:lnTo>
                    <a:lnTo>
                      <a:pt x="525" y="59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40" name="Freeform 16"/>
              <p:cNvSpPr>
                <a:spLocks/>
              </p:cNvSpPr>
              <p:nvPr/>
            </p:nvSpPr>
            <p:spPr bwMode="gray">
              <a:xfrm>
                <a:off x="3963988" y="4572000"/>
                <a:ext cx="452438" cy="749300"/>
              </a:xfrm>
              <a:custGeom>
                <a:avLst/>
                <a:gdLst/>
                <a:ahLst/>
                <a:cxnLst>
                  <a:cxn ang="0">
                    <a:pos x="0" y="472"/>
                  </a:cxn>
                  <a:cxn ang="0">
                    <a:pos x="0" y="198"/>
                  </a:cxn>
                  <a:cxn ang="0">
                    <a:pos x="285" y="0"/>
                  </a:cxn>
                  <a:cxn ang="0">
                    <a:pos x="285" y="295"/>
                  </a:cxn>
                  <a:cxn ang="0">
                    <a:pos x="0" y="472"/>
                  </a:cxn>
                </a:cxnLst>
                <a:rect l="0" t="0" r="r" b="b"/>
                <a:pathLst>
                  <a:path w="285" h="472">
                    <a:moveTo>
                      <a:pt x="0" y="472"/>
                    </a:moveTo>
                    <a:lnTo>
                      <a:pt x="0" y="198"/>
                    </a:lnTo>
                    <a:lnTo>
                      <a:pt x="285" y="0"/>
                    </a:lnTo>
                    <a:lnTo>
                      <a:pt x="285" y="295"/>
                    </a:lnTo>
                    <a:lnTo>
                      <a:pt x="0" y="4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2" name="Pfeil nach rechts 41"/>
            <p:cNvSpPr/>
            <p:nvPr/>
          </p:nvSpPr>
          <p:spPr bwMode="gray">
            <a:xfrm>
              <a:off x="6794500" y="4533900"/>
              <a:ext cx="685800" cy="525352"/>
            </a:xfrm>
            <a:prstGeom prst="right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Pfeil nach rechts 42"/>
            <p:cNvSpPr/>
            <p:nvPr/>
          </p:nvSpPr>
          <p:spPr bwMode="gray">
            <a:xfrm>
              <a:off x="1710019" y="4533900"/>
              <a:ext cx="685800" cy="525352"/>
            </a:xfrm>
            <a:prstGeom prst="right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61140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Perspective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Differentiation of 3 perspectives: The entrepreneurial approach (philosophy), instrumentation (technology) and management concept</a:t>
            </a:r>
            <a:endParaRPr lang="en-US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323850" y="1555749"/>
            <a:ext cx="8494713" cy="4101386"/>
            <a:chOff x="323850" y="1555749"/>
            <a:chExt cx="8494713" cy="4101386"/>
          </a:xfrm>
        </p:grpSpPr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49"/>
              <a:ext cx="2735263" cy="540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sz="2400" b="1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323850" y="2095749"/>
              <a:ext cx="2735263" cy="3561386"/>
              <a:chOff x="323850" y="2095749"/>
              <a:chExt cx="2735263" cy="3561386"/>
            </a:xfrm>
          </p:grpSpPr>
          <p:sp>
            <p:nvSpPr>
              <p:cNvPr id="16" name="Rectangle 19"/>
              <p:cNvSpPr>
                <a:spLocks noChangeArrowheads="1"/>
              </p:cNvSpPr>
              <p:nvPr/>
            </p:nvSpPr>
            <p:spPr bwMode="gray">
              <a:xfrm>
                <a:off x="323850" y="2095749"/>
                <a:ext cx="2735263" cy="540000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000" b="1" noProof="1">
                    <a:solidFill>
                      <a:srgbClr val="FFFFFF"/>
                    </a:solidFill>
                    <a:cs typeface="Arial" charset="0"/>
                  </a:rPr>
                  <a:t>Philosophy </a:t>
                </a:r>
              </a:p>
            </p:txBody>
          </p:sp>
          <p:sp>
            <p:nvSpPr>
              <p:cNvPr id="6" name="Rectangle 5"/>
              <p:cNvSpPr>
                <a:spLocks noChangeArrowheads="1"/>
              </p:cNvSpPr>
              <p:nvPr/>
            </p:nvSpPr>
            <p:spPr bwMode="gray">
              <a:xfrm>
                <a:off x="323850" y="2635749"/>
                <a:ext cx="2735263" cy="30213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144000" rIns="0" bIns="0" anchor="t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Orientation of </a:t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the marketing </a:t>
                </a: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to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the most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optimal</a:t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 satisfaction of </a:t>
                </a: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all customer </a:t>
                </a:r>
                <a:b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requirements</a:t>
                </a:r>
                <a:endParaRPr lang="en-US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6083300" y="2095749"/>
              <a:ext cx="2735263" cy="3561386"/>
              <a:chOff x="6083300" y="2095749"/>
              <a:chExt cx="2735263" cy="3561386"/>
            </a:xfrm>
          </p:grpSpPr>
          <p:sp>
            <p:nvSpPr>
              <p:cNvPr id="17" name="Rectangle 19"/>
              <p:cNvSpPr>
                <a:spLocks noChangeArrowheads="1"/>
              </p:cNvSpPr>
              <p:nvPr/>
            </p:nvSpPr>
            <p:spPr bwMode="gray">
              <a:xfrm>
                <a:off x="6083300" y="2095749"/>
                <a:ext cx="2735263" cy="540000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Management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7" name="Rectangle 5"/>
              <p:cNvSpPr>
                <a:spLocks noChangeArrowheads="1"/>
              </p:cNvSpPr>
              <p:nvPr/>
            </p:nvSpPr>
            <p:spPr bwMode="gray">
              <a:xfrm>
                <a:off x="6083300" y="2635749"/>
                <a:ext cx="2735263" cy="30213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144000" rIns="0" bIns="0" anchor="t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Orientation of </a:t>
                </a:r>
                <a:br>
                  <a:rPr lang="en-US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the marketing to </a:t>
                </a:r>
                <a:br>
                  <a:rPr lang="en-US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the most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optimal</a:t>
                </a: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process development, analysis, planning, </a:t>
                </a: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steering </a:t>
                </a: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and </a:t>
                </a: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controlling </a:t>
                </a: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of all </a:t>
                </a: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marketing </a:t>
                </a: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activities</a:t>
                </a:r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3203575" y="2095749"/>
              <a:ext cx="2735263" cy="3561386"/>
              <a:chOff x="3203575" y="2095749"/>
              <a:chExt cx="2735263" cy="3561386"/>
            </a:xfrm>
          </p:grpSpPr>
          <p:sp>
            <p:nvSpPr>
              <p:cNvPr id="18" name="Rectangle 19"/>
              <p:cNvSpPr>
                <a:spLocks noChangeArrowheads="1"/>
              </p:cNvSpPr>
              <p:nvPr/>
            </p:nvSpPr>
            <p:spPr bwMode="gray">
              <a:xfrm>
                <a:off x="3203575" y="2095749"/>
                <a:ext cx="2735263" cy="540000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000" b="1" noProof="1">
                    <a:solidFill>
                      <a:srgbClr val="FFFFFF"/>
                    </a:solidFill>
                    <a:cs typeface="Arial" charset="0"/>
                  </a:rPr>
                  <a:t>Technology</a:t>
                </a:r>
              </a:p>
            </p:txBody>
          </p:sp>
          <p:sp>
            <p:nvSpPr>
              <p:cNvPr id="9" name="Rectangle 5"/>
              <p:cNvSpPr>
                <a:spLocks noChangeArrowheads="1"/>
              </p:cNvSpPr>
              <p:nvPr/>
            </p:nvSpPr>
            <p:spPr bwMode="gray">
              <a:xfrm>
                <a:off x="3203575" y="2635749"/>
                <a:ext cx="2735263" cy="30213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144000" rIns="0" bIns="0" anchor="t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Orientation of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the </a:t>
                </a: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marketing to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the </a:t>
                </a:r>
                <a:r>
                  <a:rPr lang="en-US" noProof="1">
                    <a:solidFill>
                      <a:srgbClr val="000000"/>
                    </a:solidFill>
                    <a:cs typeface="Arial" charset="0"/>
                  </a:rPr>
                  <a:t>most </a:t>
                </a: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optimal </a:t>
                </a: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b="1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b="1" noProof="1">
                    <a:solidFill>
                      <a:srgbClr val="000000"/>
                    </a:solidFill>
                    <a:cs typeface="Arial" charset="0"/>
                  </a:rPr>
                  <a:t>effect of marketing instrument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668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ash Flow </a:t>
            </a:r>
            <a:r>
              <a:rPr lang="en-US" b="0" noProof="1" smtClean="0"/>
              <a:t>- Product</a:t>
            </a:r>
            <a:endParaRPr lang="en-US" b="0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ypical curve of the cumulative cash flow of a product</a:t>
            </a:r>
            <a:endParaRPr lang="en-US" noProof="1"/>
          </a:p>
        </p:txBody>
      </p:sp>
      <p:sp>
        <p:nvSpPr>
          <p:cNvPr id="15" name="Inhaltsplatzhalter 5"/>
          <p:cNvSpPr txBox="1">
            <a:spLocks/>
          </p:cNvSpPr>
          <p:nvPr/>
        </p:nvSpPr>
        <p:spPr bwMode="gray">
          <a:xfrm>
            <a:off x="6084887" y="1554163"/>
            <a:ext cx="2735263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is is a placeholder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e text demonstrates</a:t>
            </a:r>
            <a:b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how your own text will look when you replace </a:t>
            </a:r>
            <a:r>
              <a:rPr lang="en-US" noProof="1" smtClean="0"/>
              <a:t/>
            </a:r>
            <a:br>
              <a:rPr lang="en-US" noProof="1" smtClean="0"/>
            </a:b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e placeholder with your </a:t>
            </a:r>
            <a:b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own text.</a:t>
            </a:r>
          </a:p>
          <a:p>
            <a:pPr marL="18000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</a:pPr>
            <a:r>
              <a:rPr lang="en-US" noProof="1" smtClean="0"/>
              <a:t>This text can be replaced with your own text.</a:t>
            </a:r>
            <a:endParaRPr lang="en-US" noProof="1"/>
          </a:p>
        </p:txBody>
      </p:sp>
      <p:grpSp>
        <p:nvGrpSpPr>
          <p:cNvPr id="2" name="Gruppieren 38"/>
          <p:cNvGrpSpPr/>
          <p:nvPr/>
        </p:nvGrpSpPr>
        <p:grpSpPr>
          <a:xfrm>
            <a:off x="452286" y="1563648"/>
            <a:ext cx="5389807" cy="3783781"/>
            <a:chOff x="452286" y="1563648"/>
            <a:chExt cx="5389807" cy="3783781"/>
          </a:xfrm>
        </p:grpSpPr>
        <p:sp>
          <p:nvSpPr>
            <p:cNvPr id="2064" name="Line 16"/>
            <p:cNvSpPr>
              <a:spLocks noChangeShapeType="1"/>
            </p:cNvSpPr>
            <p:nvPr/>
          </p:nvSpPr>
          <p:spPr bwMode="gray">
            <a:xfrm flipV="1">
              <a:off x="823936" y="1804906"/>
              <a:ext cx="1004" cy="354252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 type="triangl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065" name="Line 17"/>
            <p:cNvSpPr>
              <a:spLocks noChangeShapeType="1"/>
            </p:cNvSpPr>
            <p:nvPr/>
          </p:nvSpPr>
          <p:spPr bwMode="gray">
            <a:xfrm flipV="1">
              <a:off x="5841089" y="1804906"/>
              <a:ext cx="1004" cy="354252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 type="triangl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066" name="Line 18"/>
            <p:cNvSpPr>
              <a:spLocks noChangeShapeType="1"/>
            </p:cNvSpPr>
            <p:nvPr/>
          </p:nvSpPr>
          <p:spPr bwMode="gray">
            <a:xfrm>
              <a:off x="823936" y="4967981"/>
              <a:ext cx="5017153" cy="1004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067" name="Line 19"/>
            <p:cNvSpPr>
              <a:spLocks noChangeShapeType="1"/>
            </p:cNvSpPr>
            <p:nvPr/>
          </p:nvSpPr>
          <p:spPr bwMode="gray">
            <a:xfrm flipH="1">
              <a:off x="823936" y="3310654"/>
              <a:ext cx="5017153" cy="1004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2068" name="Freeform 20"/>
            <p:cNvSpPr>
              <a:spLocks/>
            </p:cNvSpPr>
            <p:nvPr/>
          </p:nvSpPr>
          <p:spPr bwMode="gray">
            <a:xfrm>
              <a:off x="823936" y="1804906"/>
              <a:ext cx="5017153" cy="2898063"/>
            </a:xfrm>
            <a:custGeom>
              <a:avLst/>
              <a:gdLst/>
              <a:ahLst/>
              <a:cxnLst>
                <a:cxn ang="0">
                  <a:pos x="0" y="635"/>
                </a:cxn>
                <a:cxn ang="0">
                  <a:pos x="373" y="768"/>
                </a:cxn>
                <a:cxn ang="0">
                  <a:pos x="741" y="1222"/>
                </a:cxn>
                <a:cxn ang="0">
                  <a:pos x="2116" y="0"/>
                </a:cxn>
              </a:cxnLst>
              <a:rect l="0" t="0" r="r" b="b"/>
              <a:pathLst>
                <a:path w="2116" h="1222">
                  <a:moveTo>
                    <a:pt x="0" y="635"/>
                  </a:moveTo>
                  <a:cubicBezTo>
                    <a:pt x="77" y="635"/>
                    <a:pt x="254" y="658"/>
                    <a:pt x="373" y="768"/>
                  </a:cubicBezTo>
                  <a:cubicBezTo>
                    <a:pt x="528" y="912"/>
                    <a:pt x="554" y="1222"/>
                    <a:pt x="741" y="1222"/>
                  </a:cubicBezTo>
                  <a:cubicBezTo>
                    <a:pt x="890" y="1222"/>
                    <a:pt x="1026" y="675"/>
                    <a:pt x="2116" y="0"/>
                  </a:cubicBezTo>
                </a:path>
              </a:pathLst>
            </a:custGeom>
            <a:noFill/>
            <a:ln w="38100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/>
              <a:tailEnd type="none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47" name="Line 16"/>
            <p:cNvSpPr>
              <a:spLocks noChangeShapeType="1"/>
            </p:cNvSpPr>
            <p:nvPr/>
          </p:nvSpPr>
          <p:spPr bwMode="gray">
            <a:xfrm flipV="1">
              <a:off x="1398834" y="1804906"/>
              <a:ext cx="1004" cy="3542523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49" name="Line 16"/>
            <p:cNvSpPr>
              <a:spLocks noChangeShapeType="1"/>
            </p:cNvSpPr>
            <p:nvPr/>
          </p:nvSpPr>
          <p:spPr bwMode="gray">
            <a:xfrm flipV="1">
              <a:off x="1955094" y="1804906"/>
              <a:ext cx="1004" cy="3542523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50" name="Line 16"/>
            <p:cNvSpPr>
              <a:spLocks noChangeShapeType="1"/>
            </p:cNvSpPr>
            <p:nvPr/>
          </p:nvSpPr>
          <p:spPr bwMode="gray">
            <a:xfrm flipV="1">
              <a:off x="2328474" y="1804906"/>
              <a:ext cx="1004" cy="3542523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51" name="Line 16"/>
            <p:cNvSpPr>
              <a:spLocks noChangeShapeType="1"/>
            </p:cNvSpPr>
            <p:nvPr/>
          </p:nvSpPr>
          <p:spPr bwMode="gray">
            <a:xfrm flipV="1">
              <a:off x="2550458" y="1804906"/>
              <a:ext cx="1004" cy="3542523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cxnSp>
          <p:nvCxnSpPr>
            <p:cNvPr id="53" name="Gerade Verbindung 52"/>
            <p:cNvCxnSpPr/>
            <p:nvPr/>
          </p:nvCxnSpPr>
          <p:spPr bwMode="gray">
            <a:xfrm rot="5400000" flipH="1" flipV="1">
              <a:off x="1111385" y="4977430"/>
              <a:ext cx="0" cy="57489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1399838" y="5264879"/>
              <a:ext cx="555256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1955094" y="5264879"/>
              <a:ext cx="373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2328474" y="5264879"/>
              <a:ext cx="221984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llipse 23"/>
            <p:cNvSpPr/>
            <p:nvPr/>
          </p:nvSpPr>
          <p:spPr bwMode="gray">
            <a:xfrm>
              <a:off x="2482297" y="4632656"/>
              <a:ext cx="138897" cy="138897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5" name="Ellipse 24"/>
            <p:cNvSpPr/>
            <p:nvPr/>
          </p:nvSpPr>
          <p:spPr bwMode="gray">
            <a:xfrm>
              <a:off x="3810051" y="3240177"/>
              <a:ext cx="138897" cy="138897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 rot="16200000" flipH="1">
              <a:off x="427220" y="2501373"/>
              <a:ext cx="141378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noProof="1" smtClean="0"/>
                <a:t>Development Costs</a:t>
              </a:r>
              <a:endParaRPr lang="en-US" sz="1200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 rot="16200000" flipH="1">
              <a:off x="991971" y="2506902"/>
              <a:ext cx="142484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noProof="1" smtClean="0"/>
                <a:t>Prototype</a:t>
              </a:r>
              <a:endParaRPr lang="en-US" sz="1200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 rot="16200000" flipH="1">
              <a:off x="1435590" y="2506903"/>
              <a:ext cx="142484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noProof="1" smtClean="0"/>
                <a:t>Investments</a:t>
              </a:r>
              <a:endParaRPr lang="en-US" sz="1200" noProof="1"/>
            </a:p>
          </p:txBody>
        </p:sp>
        <p:sp>
          <p:nvSpPr>
            <p:cNvPr id="45" name="Textfeld 44"/>
            <p:cNvSpPr txBox="1"/>
            <p:nvPr/>
          </p:nvSpPr>
          <p:spPr bwMode="gray">
            <a:xfrm rot="16200000" flipH="1">
              <a:off x="1741804" y="2506903"/>
              <a:ext cx="142484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noProof="1" smtClean="0"/>
                <a:t>Market Entry Costs</a:t>
              </a:r>
              <a:endParaRPr lang="en-US" sz="1200" noProof="1"/>
            </a:p>
          </p:txBody>
        </p:sp>
        <p:sp>
          <p:nvSpPr>
            <p:cNvPr id="63" name="Textfeld 62"/>
            <p:cNvSpPr txBox="1"/>
            <p:nvPr/>
          </p:nvSpPr>
          <p:spPr bwMode="gray">
            <a:xfrm>
              <a:off x="3647332" y="3467872"/>
              <a:ext cx="12534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Break-Even-Point</a:t>
              </a:r>
              <a:endParaRPr lang="en-US" sz="1200" noProof="1"/>
            </a:p>
          </p:txBody>
        </p:sp>
        <p:sp>
          <p:nvSpPr>
            <p:cNvPr id="64" name="Textfeld 63"/>
            <p:cNvSpPr txBox="1"/>
            <p:nvPr/>
          </p:nvSpPr>
          <p:spPr bwMode="gray">
            <a:xfrm>
              <a:off x="4643438" y="2667248"/>
              <a:ext cx="8995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Market exit</a:t>
              </a:r>
              <a:endParaRPr lang="en-US" sz="1200" noProof="1"/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2654368" y="4690982"/>
              <a:ext cx="10005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Market entry</a:t>
              </a:r>
              <a:endParaRPr lang="en-US" sz="1200" noProof="1"/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807388" y="3652504"/>
              <a:ext cx="81785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/>
                <a:t>Technical 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200" noProof="1" smtClean="0"/>
                <a:t>feasibility </a:t>
              </a:r>
              <a:br>
                <a:rPr lang="en-US" sz="1200" noProof="1" smtClean="0"/>
              </a:br>
              <a:r>
                <a:rPr lang="en-US" sz="1200" noProof="1" smtClean="0"/>
                <a:t>is </a:t>
              </a:r>
              <a:r>
                <a:rPr lang="en-US" sz="1200" noProof="1"/>
                <a:t>clarified</a:t>
              </a:r>
            </a:p>
          </p:txBody>
        </p:sp>
        <p:sp>
          <p:nvSpPr>
            <p:cNvPr id="67" name="Textfeld 66"/>
            <p:cNvSpPr txBox="1"/>
            <p:nvPr/>
          </p:nvSpPr>
          <p:spPr bwMode="gray">
            <a:xfrm>
              <a:off x="1179669" y="4376886"/>
              <a:ext cx="90672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Production </a:t>
              </a:r>
              <a:br>
                <a:rPr lang="en-US" sz="1200" noProof="1" smtClean="0"/>
              </a:br>
              <a:r>
                <a:rPr lang="en-US" sz="1200" noProof="1" smtClean="0"/>
                <a:t>technique </a:t>
              </a:r>
              <a:br>
                <a:rPr lang="en-US" sz="1200" noProof="1" smtClean="0"/>
              </a:br>
              <a:r>
                <a:rPr lang="en-US" sz="1200" noProof="1" smtClean="0"/>
                <a:t>is ready</a:t>
              </a:r>
              <a:endParaRPr lang="en-US" sz="1200" noProof="1"/>
            </a:p>
          </p:txBody>
        </p:sp>
        <p:sp>
          <p:nvSpPr>
            <p:cNvPr id="68" name="Textfeld 67"/>
            <p:cNvSpPr txBox="1"/>
            <p:nvPr/>
          </p:nvSpPr>
          <p:spPr bwMode="gray">
            <a:xfrm rot="16200000" flipH="1">
              <a:off x="-208757" y="2465949"/>
              <a:ext cx="150675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noProof="1" smtClean="0"/>
                <a:t>positive</a:t>
              </a:r>
              <a:endParaRPr lang="en-US" sz="1200" noProof="1"/>
            </a:p>
          </p:txBody>
        </p:sp>
        <p:sp>
          <p:nvSpPr>
            <p:cNvPr id="69" name="Textfeld 68"/>
            <p:cNvSpPr txBox="1"/>
            <p:nvPr/>
          </p:nvSpPr>
          <p:spPr bwMode="gray">
            <a:xfrm rot="16200000" flipH="1">
              <a:off x="-254034" y="4086128"/>
              <a:ext cx="159730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noProof="1" smtClean="0"/>
                <a:t>negative</a:t>
              </a:r>
              <a:endParaRPr lang="en-US" sz="1200" noProof="1"/>
            </a:p>
          </p:txBody>
        </p:sp>
        <p:sp>
          <p:nvSpPr>
            <p:cNvPr id="70" name="Textfeld 69"/>
            <p:cNvSpPr txBox="1"/>
            <p:nvPr/>
          </p:nvSpPr>
          <p:spPr bwMode="gray">
            <a:xfrm>
              <a:off x="505344" y="3219248"/>
              <a:ext cx="7854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noProof="1" smtClean="0"/>
                <a:t>0</a:t>
              </a:r>
              <a:endParaRPr lang="en-US" sz="1200" noProof="1"/>
            </a:p>
          </p:txBody>
        </p:sp>
        <p:sp>
          <p:nvSpPr>
            <p:cNvPr id="71" name="Textfeld 70"/>
            <p:cNvSpPr txBox="1"/>
            <p:nvPr/>
          </p:nvSpPr>
          <p:spPr bwMode="gray">
            <a:xfrm>
              <a:off x="823936" y="5008840"/>
              <a:ext cx="5748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1</a:t>
              </a:r>
              <a:endParaRPr lang="en-US" sz="1200" noProof="1"/>
            </a:p>
          </p:txBody>
        </p:sp>
        <p:sp>
          <p:nvSpPr>
            <p:cNvPr id="72" name="Textfeld 71"/>
            <p:cNvSpPr txBox="1"/>
            <p:nvPr/>
          </p:nvSpPr>
          <p:spPr bwMode="gray">
            <a:xfrm>
              <a:off x="1399838" y="5008840"/>
              <a:ext cx="55525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2</a:t>
              </a:r>
              <a:endParaRPr lang="en-US" sz="1200" noProof="1"/>
            </a:p>
          </p:txBody>
        </p:sp>
        <p:sp>
          <p:nvSpPr>
            <p:cNvPr id="73" name="Textfeld 72"/>
            <p:cNvSpPr txBox="1"/>
            <p:nvPr/>
          </p:nvSpPr>
          <p:spPr bwMode="gray">
            <a:xfrm>
              <a:off x="1956098" y="5008840"/>
              <a:ext cx="37237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3</a:t>
              </a:r>
              <a:endParaRPr lang="en-US" sz="1200" noProof="1"/>
            </a:p>
          </p:txBody>
        </p:sp>
        <p:sp>
          <p:nvSpPr>
            <p:cNvPr id="74" name="Textfeld 73"/>
            <p:cNvSpPr txBox="1"/>
            <p:nvPr/>
          </p:nvSpPr>
          <p:spPr bwMode="gray">
            <a:xfrm>
              <a:off x="2329478" y="5008840"/>
              <a:ext cx="22198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4</a:t>
              </a:r>
              <a:endParaRPr lang="en-US" sz="1200" noProof="1"/>
            </a:p>
          </p:txBody>
        </p:sp>
        <p:sp>
          <p:nvSpPr>
            <p:cNvPr id="75" name="Textfeld 74"/>
            <p:cNvSpPr txBox="1"/>
            <p:nvPr/>
          </p:nvSpPr>
          <p:spPr bwMode="gray">
            <a:xfrm>
              <a:off x="2551461" y="5008840"/>
              <a:ext cx="328962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5</a:t>
              </a:r>
              <a:endParaRPr lang="en-US" sz="1200" noProof="1"/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824940" y="1563648"/>
              <a:ext cx="1600503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en-US" sz="1400" noProof="1" smtClean="0"/>
                <a:t>Cumulative Cash Flow</a:t>
              </a:r>
              <a:endParaRPr lang="en-US" sz="1400" noProof="1"/>
            </a:p>
          </p:txBody>
        </p:sp>
        <p:cxnSp>
          <p:nvCxnSpPr>
            <p:cNvPr id="76" name="Gerade Verbindung 75"/>
            <p:cNvCxnSpPr/>
            <p:nvPr/>
          </p:nvCxnSpPr>
          <p:spPr bwMode="gray">
            <a:xfrm>
              <a:off x="2551462" y="5264879"/>
              <a:ext cx="3289626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oduct Variation </a:t>
            </a:r>
            <a:r>
              <a:rPr lang="en-US" b="0" noProof="1" smtClean="0"/>
              <a:t>- New- and Replacement Demand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urse of the overall demand of a product by product variation</a:t>
            </a:r>
            <a:endParaRPr lang="en-US" noProof="1"/>
          </a:p>
        </p:txBody>
      </p:sp>
      <p:grpSp>
        <p:nvGrpSpPr>
          <p:cNvPr id="21" name="Gruppieren 20"/>
          <p:cNvGrpSpPr/>
          <p:nvPr/>
        </p:nvGrpSpPr>
        <p:grpSpPr>
          <a:xfrm>
            <a:off x="323850" y="1555751"/>
            <a:ext cx="8497092" cy="4246563"/>
            <a:chOff x="323850" y="1555751"/>
            <a:chExt cx="8497092" cy="4246563"/>
          </a:xfrm>
        </p:grpSpPr>
        <p:sp>
          <p:nvSpPr>
            <p:cNvPr id="29" name="Textfeld 28"/>
            <p:cNvSpPr txBox="1"/>
            <p:nvPr/>
          </p:nvSpPr>
          <p:spPr bwMode="gray">
            <a:xfrm>
              <a:off x="3649593" y="4431903"/>
              <a:ext cx="148348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Replacement demand 1</a:t>
              </a:r>
              <a:endParaRPr lang="en-US" sz="1200" noProof="1"/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6837126" y="4431903"/>
              <a:ext cx="148348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noProof="1" smtClean="0"/>
                <a:t>Replacement demand 2</a:t>
              </a:r>
              <a:endParaRPr lang="en-US" sz="1200" noProof="1"/>
            </a:p>
          </p:txBody>
        </p:sp>
        <p:sp>
          <p:nvSpPr>
            <p:cNvPr id="31" name="Textfeld 30"/>
            <p:cNvSpPr txBox="1"/>
            <p:nvPr/>
          </p:nvSpPr>
          <p:spPr bwMode="gray">
            <a:xfrm rot="281381">
              <a:off x="4749988" y="3901574"/>
              <a:ext cx="99084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noProof="1" smtClean="0"/>
                <a:t>Overall demand</a:t>
              </a:r>
              <a:endParaRPr lang="en-US" sz="12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 rot="21121995">
              <a:off x="4436530" y="2145151"/>
              <a:ext cx="104913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200" noProof="1" smtClean="0"/>
                <a:t>Market potential</a:t>
              </a:r>
              <a:endParaRPr lang="en-US" sz="1200" noProof="1"/>
            </a:p>
          </p:txBody>
        </p:sp>
        <p:grpSp>
          <p:nvGrpSpPr>
            <p:cNvPr id="4" name="Gruppieren 26"/>
            <p:cNvGrpSpPr/>
            <p:nvPr/>
          </p:nvGrpSpPr>
          <p:grpSpPr bwMode="gray">
            <a:xfrm>
              <a:off x="323850" y="1555751"/>
              <a:ext cx="8497092" cy="3886200"/>
              <a:chOff x="323850" y="1555750"/>
              <a:chExt cx="8497094" cy="4247357"/>
            </a:xfrm>
          </p:grpSpPr>
          <p:grpSp>
            <p:nvGrpSpPr>
              <p:cNvPr id="5" name="Gruppieren 13"/>
              <p:cNvGrpSpPr/>
              <p:nvPr/>
            </p:nvGrpSpPr>
            <p:grpSpPr bwMode="gray">
              <a:xfrm>
                <a:off x="325438" y="1916114"/>
                <a:ext cx="8285115" cy="3886199"/>
                <a:chOff x="-1465263" y="598488"/>
                <a:chExt cx="12082463" cy="5667375"/>
              </a:xfrm>
            </p:grpSpPr>
            <p:sp>
              <p:nvSpPr>
                <p:cNvPr id="3078" name="Freeform 6"/>
                <p:cNvSpPr>
                  <a:spLocks/>
                </p:cNvSpPr>
                <p:nvPr/>
              </p:nvSpPr>
              <p:spPr bwMode="gray">
                <a:xfrm>
                  <a:off x="-1465263" y="598488"/>
                  <a:ext cx="11430000" cy="5614988"/>
                </a:xfrm>
                <a:custGeom>
                  <a:avLst/>
                  <a:gdLst/>
                  <a:ahLst/>
                  <a:cxnLst>
                    <a:cxn ang="0">
                      <a:pos x="0" y="1497"/>
                    </a:cxn>
                    <a:cxn ang="0">
                      <a:pos x="660" y="657"/>
                    </a:cxn>
                    <a:cxn ang="0">
                      <a:pos x="3048" y="0"/>
                    </a:cxn>
                  </a:cxnLst>
                  <a:rect l="0" t="0" r="r" b="b"/>
                  <a:pathLst>
                    <a:path w="3048" h="1497">
                      <a:moveTo>
                        <a:pt x="0" y="1497"/>
                      </a:moveTo>
                      <a:cubicBezTo>
                        <a:pt x="402" y="1218"/>
                        <a:pt x="404" y="1085"/>
                        <a:pt x="660" y="657"/>
                      </a:cubicBezTo>
                      <a:cubicBezTo>
                        <a:pt x="925" y="215"/>
                        <a:pt x="1524" y="27"/>
                        <a:pt x="3048" y="0"/>
                      </a:cubicBezTo>
                    </a:path>
                  </a:pathLst>
                </a:custGeom>
                <a:noFill/>
                <a:ln w="38100" cap="flat">
                  <a:solidFill>
                    <a:schemeClr val="accent1">
                      <a:lumMod val="60000"/>
                      <a:lumOff val="40000"/>
                    </a:schemeClr>
                  </a:solidFill>
                  <a:prstDash val="lgDashDot"/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3079" name="Freeform 7"/>
                <p:cNvSpPr>
                  <a:spLocks/>
                </p:cNvSpPr>
                <p:nvPr/>
              </p:nvSpPr>
              <p:spPr bwMode="gray">
                <a:xfrm>
                  <a:off x="-66675" y="4078288"/>
                  <a:ext cx="10683875" cy="833438"/>
                </a:xfrm>
                <a:custGeom>
                  <a:avLst/>
                  <a:gdLst/>
                  <a:ahLst/>
                  <a:cxnLst>
                    <a:cxn ang="0">
                      <a:pos x="0" y="222"/>
                    </a:cxn>
                    <a:cxn ang="0">
                      <a:pos x="378" y="3"/>
                    </a:cxn>
                    <a:cxn ang="0">
                      <a:pos x="774" y="47"/>
                    </a:cxn>
                    <a:cxn ang="0">
                      <a:pos x="1189" y="3"/>
                    </a:cxn>
                    <a:cxn ang="0">
                      <a:pos x="1847" y="49"/>
                    </a:cxn>
                    <a:cxn ang="0">
                      <a:pos x="2405" y="17"/>
                    </a:cxn>
                    <a:cxn ang="0">
                      <a:pos x="2849" y="59"/>
                    </a:cxn>
                  </a:cxnLst>
                  <a:rect l="0" t="0" r="r" b="b"/>
                  <a:pathLst>
                    <a:path w="2849" h="222">
                      <a:moveTo>
                        <a:pt x="0" y="222"/>
                      </a:moveTo>
                      <a:cubicBezTo>
                        <a:pt x="119" y="100"/>
                        <a:pt x="214" y="5"/>
                        <a:pt x="378" y="3"/>
                      </a:cubicBezTo>
                      <a:cubicBezTo>
                        <a:pt x="542" y="1"/>
                        <a:pt x="652" y="47"/>
                        <a:pt x="774" y="47"/>
                      </a:cubicBezTo>
                      <a:cubicBezTo>
                        <a:pt x="896" y="47"/>
                        <a:pt x="1079" y="7"/>
                        <a:pt x="1189" y="3"/>
                      </a:cubicBezTo>
                      <a:cubicBezTo>
                        <a:pt x="1300" y="0"/>
                        <a:pt x="1706" y="53"/>
                        <a:pt x="1847" y="49"/>
                      </a:cubicBezTo>
                      <a:cubicBezTo>
                        <a:pt x="1988" y="45"/>
                        <a:pt x="2285" y="19"/>
                        <a:pt x="2405" y="17"/>
                      </a:cubicBezTo>
                      <a:cubicBezTo>
                        <a:pt x="2525" y="15"/>
                        <a:pt x="2799" y="57"/>
                        <a:pt x="2849" y="59"/>
                      </a:cubicBezTo>
                    </a:path>
                  </a:pathLst>
                </a:custGeom>
                <a:noFill/>
                <a:ln w="381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3080" name="Freeform 8"/>
                <p:cNvSpPr>
                  <a:spLocks/>
                </p:cNvSpPr>
                <p:nvPr/>
              </p:nvSpPr>
              <p:spPr bwMode="gray">
                <a:xfrm>
                  <a:off x="-66675" y="4337050"/>
                  <a:ext cx="8483600" cy="1901825"/>
                </a:xfrm>
                <a:custGeom>
                  <a:avLst/>
                  <a:gdLst/>
                  <a:ahLst/>
                  <a:cxnLst>
                    <a:cxn ang="0">
                      <a:pos x="0" y="153"/>
                    </a:cxn>
                    <a:cxn ang="0">
                      <a:pos x="292" y="5"/>
                    </a:cxn>
                    <a:cxn ang="0">
                      <a:pos x="713" y="310"/>
                    </a:cxn>
                    <a:cxn ang="0">
                      <a:pos x="1395" y="464"/>
                    </a:cxn>
                    <a:cxn ang="0">
                      <a:pos x="2262" y="500"/>
                    </a:cxn>
                  </a:cxnLst>
                  <a:rect l="0" t="0" r="r" b="b"/>
                  <a:pathLst>
                    <a:path w="2262" h="507">
                      <a:moveTo>
                        <a:pt x="0" y="153"/>
                      </a:moveTo>
                      <a:cubicBezTo>
                        <a:pt x="41" y="117"/>
                        <a:pt x="173" y="0"/>
                        <a:pt x="292" y="5"/>
                      </a:cubicBezTo>
                      <a:cubicBezTo>
                        <a:pt x="507" y="14"/>
                        <a:pt x="397" y="153"/>
                        <a:pt x="713" y="310"/>
                      </a:cubicBezTo>
                      <a:cubicBezTo>
                        <a:pt x="877" y="391"/>
                        <a:pt x="1151" y="473"/>
                        <a:pt x="1395" y="464"/>
                      </a:cubicBezTo>
                      <a:cubicBezTo>
                        <a:pt x="1639" y="454"/>
                        <a:pt x="2146" y="507"/>
                        <a:pt x="2262" y="500"/>
                      </a:cubicBezTo>
                    </a:path>
                  </a:pathLst>
                </a:custGeom>
                <a:noFill/>
                <a:ln w="38100" cap="flat">
                  <a:solidFill>
                    <a:schemeClr val="accent1">
                      <a:lumMod val="60000"/>
                      <a:lumOff val="40000"/>
                    </a:schemeClr>
                  </a:solidFill>
                  <a:prstDash val="lgDashDot"/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3081" name="Freeform 9"/>
                <p:cNvSpPr>
                  <a:spLocks/>
                </p:cNvSpPr>
                <p:nvPr/>
              </p:nvSpPr>
              <p:spPr bwMode="gray">
                <a:xfrm>
                  <a:off x="-66675" y="4468813"/>
                  <a:ext cx="9202738" cy="1797050"/>
                </a:xfrm>
                <a:custGeom>
                  <a:avLst/>
                  <a:gdLst/>
                  <a:ahLst/>
                  <a:cxnLst>
                    <a:cxn ang="0">
                      <a:pos x="0" y="479"/>
                    </a:cxn>
                    <a:cxn ang="0">
                      <a:pos x="305" y="444"/>
                    </a:cxn>
                    <a:cxn ang="0">
                      <a:pos x="631" y="358"/>
                    </a:cxn>
                    <a:cxn ang="0">
                      <a:pos x="1085" y="27"/>
                    </a:cxn>
                    <a:cxn ang="0">
                      <a:pos x="1761" y="229"/>
                    </a:cxn>
                    <a:cxn ang="0">
                      <a:pos x="2454" y="465"/>
                    </a:cxn>
                  </a:cxnLst>
                  <a:rect l="0" t="0" r="r" b="b"/>
                  <a:pathLst>
                    <a:path w="2454" h="479">
                      <a:moveTo>
                        <a:pt x="0" y="479"/>
                      </a:moveTo>
                      <a:cubicBezTo>
                        <a:pt x="151" y="461"/>
                        <a:pt x="244" y="448"/>
                        <a:pt x="305" y="444"/>
                      </a:cubicBezTo>
                      <a:cubicBezTo>
                        <a:pt x="366" y="440"/>
                        <a:pt x="561" y="448"/>
                        <a:pt x="631" y="358"/>
                      </a:cubicBezTo>
                      <a:cubicBezTo>
                        <a:pt x="701" y="268"/>
                        <a:pt x="869" y="54"/>
                        <a:pt x="1085" y="27"/>
                      </a:cubicBezTo>
                      <a:cubicBezTo>
                        <a:pt x="1300" y="0"/>
                        <a:pt x="1475" y="12"/>
                        <a:pt x="1761" y="229"/>
                      </a:cubicBezTo>
                      <a:cubicBezTo>
                        <a:pt x="2047" y="446"/>
                        <a:pt x="2367" y="464"/>
                        <a:pt x="2454" y="465"/>
                      </a:cubicBezTo>
                    </a:path>
                  </a:pathLst>
                </a:custGeom>
                <a:noFill/>
                <a:ln w="38100" cap="flat">
                  <a:solidFill>
                    <a:schemeClr val="accent1"/>
                  </a:solidFill>
                  <a:prstDash val="dash"/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3082" name="Freeform 10"/>
                <p:cNvSpPr>
                  <a:spLocks/>
                </p:cNvSpPr>
                <p:nvPr/>
              </p:nvSpPr>
              <p:spPr bwMode="gray">
                <a:xfrm>
                  <a:off x="4073525" y="4468813"/>
                  <a:ext cx="6284913" cy="1797050"/>
                </a:xfrm>
                <a:custGeom>
                  <a:avLst/>
                  <a:gdLst/>
                  <a:ahLst/>
                  <a:cxnLst>
                    <a:cxn ang="0">
                      <a:pos x="0" y="479"/>
                    </a:cxn>
                    <a:cxn ang="0">
                      <a:pos x="552" y="387"/>
                    </a:cxn>
                    <a:cxn ang="0">
                      <a:pos x="1208" y="17"/>
                    </a:cxn>
                    <a:cxn ang="0">
                      <a:pos x="1676" y="139"/>
                    </a:cxn>
                  </a:cxnLst>
                  <a:rect l="0" t="0" r="r" b="b"/>
                  <a:pathLst>
                    <a:path w="1676" h="479">
                      <a:moveTo>
                        <a:pt x="0" y="479"/>
                      </a:moveTo>
                      <a:cubicBezTo>
                        <a:pt x="167" y="473"/>
                        <a:pt x="404" y="461"/>
                        <a:pt x="552" y="387"/>
                      </a:cubicBezTo>
                      <a:cubicBezTo>
                        <a:pt x="701" y="313"/>
                        <a:pt x="829" y="43"/>
                        <a:pt x="1208" y="17"/>
                      </a:cubicBezTo>
                      <a:cubicBezTo>
                        <a:pt x="1444" y="0"/>
                        <a:pt x="1585" y="88"/>
                        <a:pt x="1676" y="139"/>
                      </a:cubicBezTo>
                    </a:path>
                  </a:pathLst>
                </a:custGeom>
                <a:noFill/>
                <a:ln w="38100" cap="flat">
                  <a:solidFill>
                    <a:schemeClr val="accent1"/>
                  </a:solidFill>
                  <a:prstDash val="dash"/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grpSp>
            <p:nvGrpSpPr>
              <p:cNvPr id="6" name="Gruppieren 25"/>
              <p:cNvGrpSpPr/>
              <p:nvPr/>
            </p:nvGrpSpPr>
            <p:grpSpPr bwMode="gray">
              <a:xfrm>
                <a:off x="323850" y="1555750"/>
                <a:ext cx="8497094" cy="4247357"/>
                <a:chOff x="323850" y="1555750"/>
                <a:chExt cx="8497094" cy="4247357"/>
              </a:xfrm>
            </p:grpSpPr>
            <p:cxnSp>
              <p:nvCxnSpPr>
                <p:cNvPr id="23" name="Gerade Verbindung mit Pfeil 22"/>
                <p:cNvCxnSpPr>
                  <a:stCxn id="18" idx="1"/>
                  <a:endCxn id="19" idx="1"/>
                </p:cNvCxnSpPr>
                <p:nvPr/>
              </p:nvCxnSpPr>
              <p:spPr bwMode="gray">
                <a:xfrm flipV="1">
                  <a:off x="323850" y="1555750"/>
                  <a:ext cx="1588" cy="424656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 Verbindung mit Pfeil 24"/>
                <p:cNvCxnSpPr>
                  <a:stCxn id="16" idx="1"/>
                  <a:endCxn id="18" idx="0"/>
                </p:cNvCxnSpPr>
                <p:nvPr/>
              </p:nvCxnSpPr>
              <p:spPr bwMode="gray">
                <a:xfrm rot="5400000" flipH="1" flipV="1">
                  <a:off x="4572000" y="1554163"/>
                  <a:ext cx="1588" cy="8496300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8" name="Textfeld 27"/>
            <p:cNvSpPr txBox="1"/>
            <p:nvPr/>
          </p:nvSpPr>
          <p:spPr bwMode="gray">
            <a:xfrm>
              <a:off x="2597683" y="5525315"/>
              <a:ext cx="272888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noProof="1" smtClean="0"/>
                <a:t>Change of model or variation</a:t>
              </a:r>
              <a:endParaRPr lang="en-US" noProof="1"/>
            </a:p>
          </p:txBody>
        </p:sp>
        <p:cxnSp>
          <p:nvCxnSpPr>
            <p:cNvPr id="33" name="Gerade Verbindung mit Pfeil 32"/>
            <p:cNvCxnSpPr/>
            <p:nvPr/>
          </p:nvCxnSpPr>
          <p:spPr bwMode="gray">
            <a:xfrm rot="5400000">
              <a:off x="2395884" y="5435720"/>
              <a:ext cx="228213" cy="1736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/>
          </p:nvCxnSpPr>
          <p:spPr bwMode="gray">
            <a:xfrm rot="5400000">
              <a:off x="5113809" y="5435720"/>
              <a:ext cx="228213" cy="1736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341682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oduct variation </a:t>
            </a:r>
            <a:r>
              <a:rPr lang="en-US" b="0" noProof="1" smtClean="0"/>
              <a:t>- Product life cycl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oretical course of life cycle of a product when revenue is increased by product variation</a:t>
            </a:r>
            <a:endParaRPr lang="en-US" noProof="1"/>
          </a:p>
        </p:txBody>
      </p:sp>
      <p:grpSp>
        <p:nvGrpSpPr>
          <p:cNvPr id="4" name="Gruppieren 45"/>
          <p:cNvGrpSpPr/>
          <p:nvPr/>
        </p:nvGrpSpPr>
        <p:grpSpPr>
          <a:xfrm>
            <a:off x="323850" y="1555751"/>
            <a:ext cx="8497092" cy="4048350"/>
            <a:chOff x="323850" y="1555751"/>
            <a:chExt cx="8497092" cy="4048350"/>
          </a:xfrm>
        </p:grpSpPr>
        <p:grpSp>
          <p:nvGrpSpPr>
            <p:cNvPr id="5" name="Gruppieren 14"/>
            <p:cNvGrpSpPr/>
            <p:nvPr/>
          </p:nvGrpSpPr>
          <p:grpSpPr bwMode="gray">
            <a:xfrm>
              <a:off x="323850" y="2672732"/>
              <a:ext cx="8497092" cy="2769219"/>
              <a:chOff x="-1776413" y="1203325"/>
              <a:chExt cx="12690476" cy="4437063"/>
            </a:xfrm>
          </p:grpSpPr>
          <p:sp>
            <p:nvSpPr>
              <p:cNvPr id="4102" name="Freeform 6"/>
              <p:cNvSpPr>
                <a:spLocks/>
              </p:cNvSpPr>
              <p:nvPr/>
            </p:nvSpPr>
            <p:spPr bwMode="gray">
              <a:xfrm>
                <a:off x="-1776413" y="2373313"/>
                <a:ext cx="5921375" cy="3267075"/>
              </a:xfrm>
              <a:custGeom>
                <a:avLst/>
                <a:gdLst/>
                <a:ahLst/>
                <a:cxnLst>
                  <a:cxn ang="0">
                    <a:pos x="0" y="871"/>
                  </a:cxn>
                  <a:cxn ang="0">
                    <a:pos x="499" y="482"/>
                  </a:cxn>
                  <a:cxn ang="0">
                    <a:pos x="1253" y="16"/>
                  </a:cxn>
                  <a:cxn ang="0">
                    <a:pos x="1579" y="26"/>
                  </a:cxn>
                </a:cxnLst>
                <a:rect l="0" t="0" r="r" b="b"/>
                <a:pathLst>
                  <a:path w="1579" h="871">
                    <a:moveTo>
                      <a:pt x="0" y="871"/>
                    </a:moveTo>
                    <a:cubicBezTo>
                      <a:pt x="195" y="814"/>
                      <a:pt x="369" y="692"/>
                      <a:pt x="499" y="482"/>
                    </a:cubicBezTo>
                    <a:cubicBezTo>
                      <a:pt x="629" y="272"/>
                      <a:pt x="878" y="83"/>
                      <a:pt x="1253" y="16"/>
                    </a:cubicBezTo>
                    <a:cubicBezTo>
                      <a:pt x="1346" y="0"/>
                      <a:pt x="1463" y="6"/>
                      <a:pt x="1579" y="26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3" name="Freeform 7"/>
              <p:cNvSpPr>
                <a:spLocks/>
              </p:cNvSpPr>
              <p:nvPr/>
            </p:nvSpPr>
            <p:spPr bwMode="gray">
              <a:xfrm>
                <a:off x="4144962" y="2471738"/>
                <a:ext cx="1693863" cy="6477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52" y="173"/>
                  </a:cxn>
                </a:cxnLst>
                <a:rect l="0" t="0" r="r" b="b"/>
                <a:pathLst>
                  <a:path w="452" h="173">
                    <a:moveTo>
                      <a:pt x="0" y="0"/>
                    </a:moveTo>
                    <a:cubicBezTo>
                      <a:pt x="182" y="31"/>
                      <a:pt x="363" y="98"/>
                      <a:pt x="452" y="173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dash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4" name="Freeform 8"/>
              <p:cNvSpPr>
                <a:spLocks/>
              </p:cNvSpPr>
              <p:nvPr/>
            </p:nvSpPr>
            <p:spPr bwMode="gray">
              <a:xfrm>
                <a:off x="4144962" y="1698625"/>
                <a:ext cx="3097213" cy="773113"/>
              </a:xfrm>
              <a:custGeom>
                <a:avLst/>
                <a:gdLst/>
                <a:ahLst/>
                <a:cxnLst>
                  <a:cxn ang="0">
                    <a:pos x="0" y="206"/>
                  </a:cxn>
                  <a:cxn ang="0">
                    <a:pos x="505" y="15"/>
                  </a:cxn>
                  <a:cxn ang="0">
                    <a:pos x="826" y="23"/>
                  </a:cxn>
                </a:cxnLst>
                <a:rect l="0" t="0" r="r" b="b"/>
                <a:pathLst>
                  <a:path w="826" h="206">
                    <a:moveTo>
                      <a:pt x="0" y="206"/>
                    </a:moveTo>
                    <a:cubicBezTo>
                      <a:pt x="131" y="118"/>
                      <a:pt x="299" y="49"/>
                      <a:pt x="505" y="15"/>
                    </a:cubicBezTo>
                    <a:cubicBezTo>
                      <a:pt x="596" y="0"/>
                      <a:pt x="711" y="4"/>
                      <a:pt x="826" y="23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5" name="Freeform 9"/>
              <p:cNvSpPr>
                <a:spLocks/>
              </p:cNvSpPr>
              <p:nvPr/>
            </p:nvSpPr>
            <p:spPr bwMode="gray">
              <a:xfrm>
                <a:off x="7242175" y="1784350"/>
                <a:ext cx="1563688" cy="511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17" y="136"/>
                  </a:cxn>
                </a:cxnLst>
                <a:rect l="0" t="0" r="r" b="b"/>
                <a:pathLst>
                  <a:path w="417" h="136">
                    <a:moveTo>
                      <a:pt x="0" y="0"/>
                    </a:moveTo>
                    <a:cubicBezTo>
                      <a:pt x="159" y="25"/>
                      <a:pt x="319" y="76"/>
                      <a:pt x="417" y="136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dash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6" name="Freeform 10"/>
              <p:cNvSpPr>
                <a:spLocks/>
              </p:cNvSpPr>
              <p:nvPr/>
            </p:nvSpPr>
            <p:spPr bwMode="gray">
              <a:xfrm>
                <a:off x="7242175" y="1203325"/>
                <a:ext cx="2816225" cy="581025"/>
              </a:xfrm>
              <a:custGeom>
                <a:avLst/>
                <a:gdLst/>
                <a:ahLst/>
                <a:cxnLst>
                  <a:cxn ang="0">
                    <a:pos x="0" y="155"/>
                  </a:cxn>
                  <a:cxn ang="0">
                    <a:pos x="437" y="13"/>
                  </a:cxn>
                  <a:cxn ang="0">
                    <a:pos x="751" y="24"/>
                  </a:cxn>
                </a:cxnLst>
                <a:rect l="0" t="0" r="r" b="b"/>
                <a:pathLst>
                  <a:path w="751" h="155">
                    <a:moveTo>
                      <a:pt x="0" y="155"/>
                    </a:moveTo>
                    <a:cubicBezTo>
                      <a:pt x="113" y="90"/>
                      <a:pt x="258" y="38"/>
                      <a:pt x="437" y="13"/>
                    </a:cubicBezTo>
                    <a:cubicBezTo>
                      <a:pt x="525" y="0"/>
                      <a:pt x="640" y="6"/>
                      <a:pt x="751" y="24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7" name="Freeform 11"/>
              <p:cNvSpPr>
                <a:spLocks/>
              </p:cNvSpPr>
              <p:nvPr/>
            </p:nvSpPr>
            <p:spPr bwMode="gray">
              <a:xfrm>
                <a:off x="10058400" y="1293813"/>
                <a:ext cx="855663" cy="2095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8" y="56"/>
                  </a:cxn>
                </a:cxnLst>
                <a:rect l="0" t="0" r="r" b="b"/>
                <a:pathLst>
                  <a:path w="228" h="56">
                    <a:moveTo>
                      <a:pt x="0" y="0"/>
                    </a:moveTo>
                    <a:cubicBezTo>
                      <a:pt x="81" y="13"/>
                      <a:pt x="161" y="33"/>
                      <a:pt x="228" y="56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dash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grpSp>
          <p:nvGrpSpPr>
            <p:cNvPr id="6" name="Gruppieren 22"/>
            <p:cNvGrpSpPr/>
            <p:nvPr/>
          </p:nvGrpSpPr>
          <p:grpSpPr bwMode="gray">
            <a:xfrm>
              <a:off x="323850" y="1555751"/>
              <a:ext cx="8340796" cy="3886200"/>
              <a:chOff x="323850" y="1555750"/>
              <a:chExt cx="8497094" cy="4247357"/>
            </a:xfrm>
          </p:grpSpPr>
          <p:cxnSp>
            <p:nvCxnSpPr>
              <p:cNvPr id="24" name="Gerade Verbindung mit Pfeil 23"/>
              <p:cNvCxnSpPr/>
              <p:nvPr/>
            </p:nvCxnSpPr>
            <p:spPr bwMode="gray">
              <a:xfrm flipV="1">
                <a:off x="323850" y="1555750"/>
                <a:ext cx="1588" cy="4246563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mit Pfeil 24"/>
              <p:cNvCxnSpPr/>
              <p:nvPr/>
            </p:nvCxnSpPr>
            <p:spPr bwMode="gray">
              <a:xfrm rot="5400000" flipH="1" flipV="1">
                <a:off x="4572000" y="1554163"/>
                <a:ext cx="1588" cy="849630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Gerade Verbindung mit Pfeil 26"/>
            <p:cNvCxnSpPr/>
            <p:nvPr/>
          </p:nvCxnSpPr>
          <p:spPr bwMode="gray">
            <a:xfrm rot="5400000">
              <a:off x="3235489" y="4542913"/>
              <a:ext cx="2119085" cy="1704"/>
            </a:xfrm>
            <a:prstGeom prst="straightConnector1">
              <a:avLst/>
            </a:prstGeom>
            <a:ln w="127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 bwMode="gray">
            <a:xfrm rot="5400000">
              <a:off x="5094050" y="4316072"/>
              <a:ext cx="2574355" cy="1704"/>
            </a:xfrm>
            <a:prstGeom prst="straightConnector1">
              <a:avLst/>
            </a:prstGeom>
            <a:ln w="127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 bwMode="gray">
            <a:xfrm>
              <a:off x="2998446" y="3622378"/>
              <a:ext cx="74488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/>
                <a:t>Variant 1</a:t>
              </a:r>
              <a:endParaRPr lang="en-US" sz="1600" noProof="1"/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8705522" y="5317387"/>
              <a:ext cx="6893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/>
                <a:t>t</a:t>
              </a:r>
              <a:endParaRPr lang="en-US" sz="1600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5236341" y="3156713"/>
              <a:ext cx="74488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/>
                <a:t>Variant 2</a:t>
              </a:r>
              <a:endParaRPr lang="en-US" sz="16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7341162" y="2789135"/>
              <a:ext cx="74488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noProof="1" smtClean="0"/>
                <a:t>Variant 3</a:t>
              </a:r>
              <a:endParaRPr lang="en-US" sz="1600" noProof="1"/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325409" y="1555751"/>
              <a:ext cx="9963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noProof="1" smtClean="0"/>
                <a:t>Revenue</a:t>
              </a:r>
              <a:endParaRPr lang="en-US" noProof="1"/>
            </a:p>
          </p:txBody>
        </p:sp>
      </p:grpSp>
    </p:spTree>
    <p:extLst>
      <p:ext uri="{BB962C8B-B14F-4D97-AF65-F5344CB8AC3E}">
        <p14:creationId xmlns:p14="http://schemas.microsoft.com/office/powerpoint/2010/main" val="25495627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oduct Life Cycle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Life cycle with the representation of sales, profit and loss zones in the course of time in separate phases</a:t>
            </a:r>
            <a:endParaRPr lang="en-US" noProof="1"/>
          </a:p>
        </p:txBody>
      </p:sp>
      <p:grpSp>
        <p:nvGrpSpPr>
          <p:cNvPr id="4" name="Gruppieren 36"/>
          <p:cNvGrpSpPr/>
          <p:nvPr/>
        </p:nvGrpSpPr>
        <p:grpSpPr>
          <a:xfrm>
            <a:off x="323849" y="1555679"/>
            <a:ext cx="8519894" cy="3894147"/>
            <a:chOff x="323849" y="1555679"/>
            <a:chExt cx="8519894" cy="3894147"/>
          </a:xfrm>
        </p:grpSpPr>
        <p:sp>
          <p:nvSpPr>
            <p:cNvPr id="29" name="_content"/>
            <p:cNvSpPr>
              <a:spLocks noChangeArrowheads="1"/>
            </p:cNvSpPr>
            <p:nvPr/>
          </p:nvSpPr>
          <p:spPr bwMode="gray">
            <a:xfrm>
              <a:off x="153816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Introduction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9" name="_color1"/>
            <p:cNvSpPr>
              <a:spLocks/>
            </p:cNvSpPr>
            <p:nvPr/>
          </p:nvSpPr>
          <p:spPr bwMode="gray">
            <a:xfrm>
              <a:off x="323849" y="5048292"/>
              <a:ext cx="2848089" cy="384303"/>
            </a:xfrm>
            <a:custGeom>
              <a:avLst/>
              <a:gdLst>
                <a:gd name="connsiteX0" fmla="*/ 0 w 10000"/>
                <a:gd name="connsiteY0" fmla="*/ 6563 h 9928"/>
                <a:gd name="connsiteX1" fmla="*/ 1623 w 10000"/>
                <a:gd name="connsiteY1" fmla="*/ 9928 h 9928"/>
                <a:gd name="connsiteX2" fmla="*/ 3360 w 10000"/>
                <a:gd name="connsiteY2" fmla="*/ 6375 h 9928"/>
                <a:gd name="connsiteX3" fmla="*/ 5522 w 10000"/>
                <a:gd name="connsiteY3" fmla="*/ 481 h 9928"/>
                <a:gd name="connsiteX4" fmla="*/ 10000 w 10000"/>
                <a:gd name="connsiteY4" fmla="*/ 8654 h 9928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127 h 9516"/>
                <a:gd name="connsiteX1" fmla="*/ 1623 w 10000"/>
                <a:gd name="connsiteY1" fmla="*/ 9516 h 9516"/>
                <a:gd name="connsiteX2" fmla="*/ 3360 w 10000"/>
                <a:gd name="connsiteY2" fmla="*/ 5937 h 9516"/>
                <a:gd name="connsiteX3" fmla="*/ 5522 w 10000"/>
                <a:gd name="connsiteY3" fmla="*/ 0 h 9516"/>
                <a:gd name="connsiteX4" fmla="*/ 8358 w 10000"/>
                <a:gd name="connsiteY4" fmla="*/ 5937 h 9516"/>
                <a:gd name="connsiteX5" fmla="*/ 10000 w 10000"/>
                <a:gd name="connsiteY5" fmla="*/ 8233 h 9516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10000"/>
                <a:gd name="connsiteY0" fmla="*/ 827 h 4388"/>
                <a:gd name="connsiteX1" fmla="*/ 1623 w 10000"/>
                <a:gd name="connsiteY1" fmla="*/ 4388 h 4388"/>
                <a:gd name="connsiteX2" fmla="*/ 3360 w 10000"/>
                <a:gd name="connsiteY2" fmla="*/ 627 h 4388"/>
                <a:gd name="connsiteX3" fmla="*/ 8358 w 10000"/>
                <a:gd name="connsiteY3" fmla="*/ 627 h 4388"/>
                <a:gd name="connsiteX4" fmla="*/ 10000 w 10000"/>
                <a:gd name="connsiteY4" fmla="*/ 3040 h 4388"/>
                <a:gd name="connsiteX0" fmla="*/ 0 w 10000"/>
                <a:gd name="connsiteY0" fmla="*/ 968 h 9083"/>
                <a:gd name="connsiteX1" fmla="*/ 1623 w 10000"/>
                <a:gd name="connsiteY1" fmla="*/ 9083 h 9083"/>
                <a:gd name="connsiteX2" fmla="*/ 3360 w 10000"/>
                <a:gd name="connsiteY2" fmla="*/ 512 h 9083"/>
                <a:gd name="connsiteX3" fmla="*/ 10000 w 10000"/>
                <a:gd name="connsiteY3" fmla="*/ 6011 h 9083"/>
                <a:gd name="connsiteX0" fmla="*/ 0 w 3360"/>
                <a:gd name="connsiteY0" fmla="*/ 502 h 9436"/>
                <a:gd name="connsiteX1" fmla="*/ 1623 w 3360"/>
                <a:gd name="connsiteY1" fmla="*/ 9436 h 9436"/>
                <a:gd name="connsiteX2" fmla="*/ 3360 w 3360"/>
                <a:gd name="connsiteY2" fmla="*/ 0 h 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0" h="9436">
                  <a:moveTo>
                    <a:pt x="0" y="502"/>
                  </a:moveTo>
                  <a:cubicBezTo>
                    <a:pt x="611" y="6882"/>
                    <a:pt x="1143" y="9373"/>
                    <a:pt x="1623" y="9436"/>
                  </a:cubicBezTo>
                  <a:cubicBezTo>
                    <a:pt x="2183" y="9353"/>
                    <a:pt x="2735" y="6285"/>
                    <a:pt x="3360" y="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sz="1600" noProof="1"/>
            </a:p>
          </p:txBody>
        </p:sp>
        <p:sp>
          <p:nvSpPr>
            <p:cNvPr id="1030" name="Freeform 6"/>
            <p:cNvSpPr>
              <a:spLocks/>
            </p:cNvSpPr>
            <p:nvPr/>
          </p:nvSpPr>
          <p:spPr bwMode="gray">
            <a:xfrm>
              <a:off x="323850" y="5045367"/>
              <a:ext cx="2819400" cy="373304"/>
            </a:xfrm>
            <a:custGeom>
              <a:avLst/>
              <a:gdLst/>
              <a:ahLst/>
              <a:cxnLst>
                <a:cxn ang="0">
                  <a:pos x="189" y="102"/>
                </a:cxn>
                <a:cxn ang="0">
                  <a:pos x="189" y="102"/>
                </a:cxn>
                <a:cxn ang="0">
                  <a:pos x="374" y="177"/>
                </a:cxn>
                <a:cxn ang="0">
                  <a:pos x="551" y="239"/>
                </a:cxn>
                <a:cxn ang="0">
                  <a:pos x="723" y="288"/>
                </a:cxn>
                <a:cxn ang="0">
                  <a:pos x="723" y="288"/>
                </a:cxn>
                <a:cxn ang="0">
                  <a:pos x="891" y="324"/>
                </a:cxn>
                <a:cxn ang="0">
                  <a:pos x="1051" y="350"/>
                </a:cxn>
                <a:cxn ang="0">
                  <a:pos x="1051" y="350"/>
                </a:cxn>
                <a:cxn ang="0">
                  <a:pos x="1207" y="366"/>
                </a:cxn>
                <a:cxn ang="0">
                  <a:pos x="1207" y="366"/>
                </a:cxn>
                <a:cxn ang="0">
                  <a:pos x="1361" y="371"/>
                </a:cxn>
                <a:cxn ang="0">
                  <a:pos x="1479" y="369"/>
                </a:cxn>
                <a:cxn ang="0">
                  <a:pos x="1595" y="361"/>
                </a:cxn>
                <a:cxn ang="0">
                  <a:pos x="1595" y="361"/>
                </a:cxn>
                <a:cxn ang="0">
                  <a:pos x="1711" y="350"/>
                </a:cxn>
                <a:cxn ang="0">
                  <a:pos x="1708" y="350"/>
                </a:cxn>
                <a:cxn ang="0">
                  <a:pos x="1822" y="333"/>
                </a:cxn>
                <a:cxn ang="0">
                  <a:pos x="1930" y="310"/>
                </a:cxn>
                <a:cxn ang="0">
                  <a:pos x="2039" y="286"/>
                </a:cxn>
                <a:cxn ang="0">
                  <a:pos x="2037" y="286"/>
                </a:cxn>
                <a:cxn ang="0">
                  <a:pos x="2143" y="255"/>
                </a:cxn>
                <a:cxn ang="0">
                  <a:pos x="2247" y="224"/>
                </a:cxn>
                <a:cxn ang="0">
                  <a:pos x="2452" y="151"/>
                </a:cxn>
                <a:cxn ang="0">
                  <a:pos x="2452" y="151"/>
                </a:cxn>
                <a:cxn ang="0">
                  <a:pos x="2651" y="69"/>
                </a:cxn>
                <a:cxn ang="0">
                  <a:pos x="2802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97" y="59"/>
                </a:cxn>
                <a:cxn ang="0">
                  <a:pos x="189" y="102"/>
                </a:cxn>
              </a:cxnLst>
              <a:rect l="0" t="0" r="r" b="b"/>
              <a:pathLst>
                <a:path w="2802" h="371">
                  <a:moveTo>
                    <a:pt x="189" y="102"/>
                  </a:moveTo>
                  <a:lnTo>
                    <a:pt x="189" y="102"/>
                  </a:lnTo>
                  <a:lnTo>
                    <a:pt x="374" y="177"/>
                  </a:lnTo>
                  <a:lnTo>
                    <a:pt x="551" y="239"/>
                  </a:lnTo>
                  <a:lnTo>
                    <a:pt x="723" y="288"/>
                  </a:lnTo>
                  <a:lnTo>
                    <a:pt x="723" y="288"/>
                  </a:lnTo>
                  <a:lnTo>
                    <a:pt x="891" y="324"/>
                  </a:lnTo>
                  <a:lnTo>
                    <a:pt x="1051" y="350"/>
                  </a:lnTo>
                  <a:lnTo>
                    <a:pt x="1051" y="350"/>
                  </a:lnTo>
                  <a:lnTo>
                    <a:pt x="1207" y="366"/>
                  </a:lnTo>
                  <a:lnTo>
                    <a:pt x="1207" y="366"/>
                  </a:lnTo>
                  <a:lnTo>
                    <a:pt x="1361" y="371"/>
                  </a:lnTo>
                  <a:lnTo>
                    <a:pt x="1479" y="369"/>
                  </a:lnTo>
                  <a:lnTo>
                    <a:pt x="1595" y="361"/>
                  </a:lnTo>
                  <a:lnTo>
                    <a:pt x="1595" y="361"/>
                  </a:lnTo>
                  <a:lnTo>
                    <a:pt x="1711" y="350"/>
                  </a:lnTo>
                  <a:lnTo>
                    <a:pt x="1708" y="350"/>
                  </a:lnTo>
                  <a:lnTo>
                    <a:pt x="1822" y="333"/>
                  </a:lnTo>
                  <a:lnTo>
                    <a:pt x="1930" y="310"/>
                  </a:lnTo>
                  <a:lnTo>
                    <a:pt x="2039" y="286"/>
                  </a:lnTo>
                  <a:lnTo>
                    <a:pt x="2037" y="286"/>
                  </a:lnTo>
                  <a:lnTo>
                    <a:pt x="2143" y="255"/>
                  </a:lnTo>
                  <a:lnTo>
                    <a:pt x="2247" y="224"/>
                  </a:lnTo>
                  <a:lnTo>
                    <a:pt x="2452" y="151"/>
                  </a:lnTo>
                  <a:lnTo>
                    <a:pt x="2452" y="151"/>
                  </a:lnTo>
                  <a:lnTo>
                    <a:pt x="2651" y="69"/>
                  </a:lnTo>
                  <a:lnTo>
                    <a:pt x="2802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97" y="59"/>
                  </a:lnTo>
                  <a:lnTo>
                    <a:pt x="189" y="102"/>
                  </a:lnTo>
                  <a:close/>
                </a:path>
              </a:pathLst>
            </a:custGeom>
            <a:solidFill>
              <a:srgbClr val="C00000">
                <a:alpha val="50000"/>
              </a:srgb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1031" name="Freeform 7"/>
            <p:cNvSpPr>
              <a:spLocks/>
            </p:cNvSpPr>
            <p:nvPr/>
          </p:nvSpPr>
          <p:spPr bwMode="gray">
            <a:xfrm>
              <a:off x="7419145" y="5045367"/>
              <a:ext cx="1401797" cy="2410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3" y="69"/>
                </a:cxn>
                <a:cxn ang="0">
                  <a:pos x="233" y="69"/>
                </a:cxn>
                <a:cxn ang="0">
                  <a:pos x="359" y="102"/>
                </a:cxn>
                <a:cxn ang="0">
                  <a:pos x="484" y="130"/>
                </a:cxn>
                <a:cxn ang="0">
                  <a:pos x="616" y="156"/>
                </a:cxn>
                <a:cxn ang="0">
                  <a:pos x="751" y="180"/>
                </a:cxn>
                <a:cxn ang="0">
                  <a:pos x="892" y="199"/>
                </a:cxn>
                <a:cxn ang="0">
                  <a:pos x="892" y="199"/>
                </a:cxn>
                <a:cxn ang="0">
                  <a:pos x="1037" y="215"/>
                </a:cxn>
                <a:cxn ang="0">
                  <a:pos x="1037" y="215"/>
                </a:cxn>
                <a:cxn ang="0">
                  <a:pos x="1188" y="227"/>
                </a:cxn>
                <a:cxn ang="0">
                  <a:pos x="1341" y="234"/>
                </a:cxn>
                <a:cxn ang="0">
                  <a:pos x="1341" y="0"/>
                </a:cxn>
                <a:cxn ang="0">
                  <a:pos x="0" y="0"/>
                </a:cxn>
              </a:cxnLst>
              <a:rect l="0" t="0" r="r" b="b"/>
              <a:pathLst>
                <a:path w="1341" h="234">
                  <a:moveTo>
                    <a:pt x="0" y="0"/>
                  </a:moveTo>
                  <a:lnTo>
                    <a:pt x="233" y="69"/>
                  </a:lnTo>
                  <a:lnTo>
                    <a:pt x="233" y="69"/>
                  </a:lnTo>
                  <a:lnTo>
                    <a:pt x="359" y="102"/>
                  </a:lnTo>
                  <a:lnTo>
                    <a:pt x="484" y="130"/>
                  </a:lnTo>
                  <a:lnTo>
                    <a:pt x="616" y="156"/>
                  </a:lnTo>
                  <a:lnTo>
                    <a:pt x="751" y="180"/>
                  </a:lnTo>
                  <a:lnTo>
                    <a:pt x="892" y="199"/>
                  </a:lnTo>
                  <a:lnTo>
                    <a:pt x="892" y="199"/>
                  </a:lnTo>
                  <a:lnTo>
                    <a:pt x="1037" y="215"/>
                  </a:lnTo>
                  <a:lnTo>
                    <a:pt x="1037" y="215"/>
                  </a:lnTo>
                  <a:lnTo>
                    <a:pt x="1188" y="227"/>
                  </a:lnTo>
                  <a:lnTo>
                    <a:pt x="1341" y="234"/>
                  </a:lnTo>
                  <a:lnTo>
                    <a:pt x="13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50000"/>
              </a:srgb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10" name="_color1"/>
            <p:cNvSpPr>
              <a:spLocks/>
            </p:cNvSpPr>
            <p:nvPr/>
          </p:nvSpPr>
          <p:spPr bwMode="gray">
            <a:xfrm>
              <a:off x="1538158" y="2627980"/>
              <a:ext cx="7262146" cy="2417387"/>
            </a:xfrm>
            <a:custGeom>
              <a:avLst/>
              <a:gdLst>
                <a:gd name="connsiteX0" fmla="*/ 0 w 10000"/>
                <a:gd name="connsiteY0" fmla="*/ 9598 h 9598"/>
                <a:gd name="connsiteX1" fmla="*/ 5477 w 10000"/>
                <a:gd name="connsiteY1" fmla="*/ 73 h 9598"/>
                <a:gd name="connsiteX2" fmla="*/ 10000 w 10000"/>
                <a:gd name="connsiteY2" fmla="*/ 9598 h 9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9598">
                  <a:moveTo>
                    <a:pt x="0" y="9598"/>
                  </a:moveTo>
                  <a:cubicBezTo>
                    <a:pt x="3198" y="6327"/>
                    <a:pt x="3887" y="0"/>
                    <a:pt x="5477" y="73"/>
                  </a:cubicBezTo>
                  <a:cubicBezTo>
                    <a:pt x="7067" y="146"/>
                    <a:pt x="9870" y="9010"/>
                    <a:pt x="10000" y="9598"/>
                  </a:cubicBezTo>
                </a:path>
              </a:pathLst>
            </a:custGeom>
            <a:noFill/>
            <a:ln w="38100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sz="1600" noProof="1"/>
            </a:p>
          </p:txBody>
        </p:sp>
        <p:sp>
          <p:nvSpPr>
            <p:cNvPr id="11" name="_content" descr="© INSCALE GmbH, 26.05.2010&#10;http://www.presentationload.com/"/>
            <p:cNvSpPr>
              <a:spLocks noChangeArrowheads="1"/>
            </p:cNvSpPr>
            <p:nvPr/>
          </p:nvSpPr>
          <p:spPr bwMode="gray">
            <a:xfrm rot="16200000">
              <a:off x="-1210226" y="3138819"/>
              <a:ext cx="3441420" cy="37168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1600" b="1" noProof="1" smtClean="0">
                  <a:cs typeface="Arial" pitchFamily="34" charset="0"/>
                </a:rPr>
                <a:t>Sales and Profit</a:t>
              </a:r>
            </a:p>
          </p:txBody>
        </p:sp>
        <p:sp>
          <p:nvSpPr>
            <p:cNvPr id="12" name="Line 30" descr="© INSCALE GmbH, 26.05.2010&#10;http://www.presentationload.com/"/>
            <p:cNvSpPr>
              <a:spLocks noChangeShapeType="1"/>
            </p:cNvSpPr>
            <p:nvPr/>
          </p:nvSpPr>
          <p:spPr bwMode="gray">
            <a:xfrm>
              <a:off x="324643" y="5045367"/>
              <a:ext cx="8494606" cy="0"/>
            </a:xfrm>
            <a:prstGeom prst="line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13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2018116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14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3231631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15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4445146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16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5658661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17" name="_content"/>
            <p:cNvSpPr>
              <a:spLocks noChangeArrowheads="1"/>
            </p:cNvSpPr>
            <p:nvPr/>
          </p:nvSpPr>
          <p:spPr bwMode="gray">
            <a:xfrm>
              <a:off x="32385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Development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25" name="Line 29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-1622428" y="3502754"/>
              <a:ext cx="3894143" cy="0"/>
            </a:xfrm>
            <a:prstGeom prst="line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26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6872176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27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-408914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28" name="Line 138" descr="© INSCALE GmbH, 26.05.2010&#10;http://www.presentationload.com/"/>
            <p:cNvSpPr>
              <a:spLocks noChangeShapeType="1"/>
            </p:cNvSpPr>
            <p:nvPr/>
          </p:nvSpPr>
          <p:spPr bwMode="gray">
            <a:xfrm rot="16200000">
              <a:off x="804601" y="3502753"/>
              <a:ext cx="38941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30" name="_content"/>
            <p:cNvSpPr>
              <a:spLocks noChangeArrowheads="1"/>
            </p:cNvSpPr>
            <p:nvPr/>
          </p:nvSpPr>
          <p:spPr bwMode="gray">
            <a:xfrm>
              <a:off x="275247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Growth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31" name="_content"/>
            <p:cNvSpPr>
              <a:spLocks noChangeArrowheads="1"/>
            </p:cNvSpPr>
            <p:nvPr/>
          </p:nvSpPr>
          <p:spPr bwMode="gray">
            <a:xfrm>
              <a:off x="396678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Maturity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32" name="_content"/>
            <p:cNvSpPr>
              <a:spLocks noChangeArrowheads="1"/>
            </p:cNvSpPr>
            <p:nvPr/>
          </p:nvSpPr>
          <p:spPr bwMode="gray">
            <a:xfrm>
              <a:off x="518109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Saturation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33" name="_content"/>
            <p:cNvSpPr>
              <a:spLocks noChangeArrowheads="1"/>
            </p:cNvSpPr>
            <p:nvPr/>
          </p:nvSpPr>
          <p:spPr bwMode="gray">
            <a:xfrm>
              <a:off x="6395400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Degeneration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34" name="_content"/>
            <p:cNvSpPr>
              <a:spLocks noChangeArrowheads="1"/>
            </p:cNvSpPr>
            <p:nvPr/>
          </p:nvSpPr>
          <p:spPr bwMode="gray">
            <a:xfrm>
              <a:off x="7629433" y="1555679"/>
              <a:ext cx="1214310" cy="3603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1400" noProof="1" smtClean="0">
                  <a:cs typeface="Arial" charset="0"/>
                </a:rPr>
                <a:t>Elimination</a:t>
              </a:r>
              <a:endParaRPr lang="en-US" sz="1400" noProof="1">
                <a:cs typeface="Arial" charset="0"/>
              </a:endParaRPr>
            </a:p>
          </p:txBody>
        </p:sp>
        <p:sp>
          <p:nvSpPr>
            <p:cNvPr id="42" name="_color1"/>
            <p:cNvSpPr>
              <a:spLocks/>
            </p:cNvSpPr>
            <p:nvPr/>
          </p:nvSpPr>
          <p:spPr bwMode="gray">
            <a:xfrm>
              <a:off x="3171939" y="4348815"/>
              <a:ext cx="4236470" cy="699497"/>
            </a:xfrm>
            <a:custGeom>
              <a:avLst/>
              <a:gdLst>
                <a:gd name="connsiteX0" fmla="*/ 0 w 10000"/>
                <a:gd name="connsiteY0" fmla="*/ 6563 h 9928"/>
                <a:gd name="connsiteX1" fmla="*/ 1623 w 10000"/>
                <a:gd name="connsiteY1" fmla="*/ 9928 h 9928"/>
                <a:gd name="connsiteX2" fmla="*/ 3360 w 10000"/>
                <a:gd name="connsiteY2" fmla="*/ 6375 h 9928"/>
                <a:gd name="connsiteX3" fmla="*/ 5522 w 10000"/>
                <a:gd name="connsiteY3" fmla="*/ 481 h 9928"/>
                <a:gd name="connsiteX4" fmla="*/ 10000 w 10000"/>
                <a:gd name="connsiteY4" fmla="*/ 8654 h 9928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127 h 9516"/>
                <a:gd name="connsiteX1" fmla="*/ 1623 w 10000"/>
                <a:gd name="connsiteY1" fmla="*/ 9516 h 9516"/>
                <a:gd name="connsiteX2" fmla="*/ 3360 w 10000"/>
                <a:gd name="connsiteY2" fmla="*/ 5937 h 9516"/>
                <a:gd name="connsiteX3" fmla="*/ 5522 w 10000"/>
                <a:gd name="connsiteY3" fmla="*/ 0 h 9516"/>
                <a:gd name="connsiteX4" fmla="*/ 8358 w 10000"/>
                <a:gd name="connsiteY4" fmla="*/ 5937 h 9516"/>
                <a:gd name="connsiteX5" fmla="*/ 10000 w 10000"/>
                <a:gd name="connsiteY5" fmla="*/ 8233 h 9516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10000"/>
                <a:gd name="connsiteY0" fmla="*/ 7045 h 9258"/>
                <a:gd name="connsiteX1" fmla="*/ 3360 w 10000"/>
                <a:gd name="connsiteY1" fmla="*/ 6845 h 9258"/>
                <a:gd name="connsiteX2" fmla="*/ 5522 w 10000"/>
                <a:gd name="connsiteY2" fmla="*/ 606 h 9258"/>
                <a:gd name="connsiteX3" fmla="*/ 8358 w 10000"/>
                <a:gd name="connsiteY3" fmla="*/ 6845 h 9258"/>
                <a:gd name="connsiteX4" fmla="*/ 10000 w 10000"/>
                <a:gd name="connsiteY4" fmla="*/ 9258 h 9258"/>
                <a:gd name="connsiteX0" fmla="*/ 0 w 6640"/>
                <a:gd name="connsiteY0" fmla="*/ 7394 h 10000"/>
                <a:gd name="connsiteX1" fmla="*/ 2162 w 6640"/>
                <a:gd name="connsiteY1" fmla="*/ 655 h 10000"/>
                <a:gd name="connsiteX2" fmla="*/ 4998 w 6640"/>
                <a:gd name="connsiteY2" fmla="*/ 7394 h 10000"/>
                <a:gd name="connsiteX3" fmla="*/ 6640 w 6640"/>
                <a:gd name="connsiteY3" fmla="*/ 10000 h 10000"/>
                <a:gd name="connsiteX0" fmla="*/ 0 w 7527"/>
                <a:gd name="connsiteY0" fmla="*/ 7394 h 7394"/>
                <a:gd name="connsiteX1" fmla="*/ 3256 w 7527"/>
                <a:gd name="connsiteY1" fmla="*/ 655 h 7394"/>
                <a:gd name="connsiteX2" fmla="*/ 7527 w 7527"/>
                <a:gd name="connsiteY2" fmla="*/ 7394 h 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27" h="7394">
                  <a:moveTo>
                    <a:pt x="0" y="7394"/>
                  </a:moveTo>
                  <a:cubicBezTo>
                    <a:pt x="937" y="4965"/>
                    <a:pt x="1923" y="1027"/>
                    <a:pt x="3256" y="655"/>
                  </a:cubicBezTo>
                  <a:cubicBezTo>
                    <a:pt x="4761" y="0"/>
                    <a:pt x="6404" y="5257"/>
                    <a:pt x="7527" y="7394"/>
                  </a:cubicBezTo>
                </a:path>
              </a:pathLst>
            </a:custGeom>
            <a:noFill/>
            <a:ln w="38100">
              <a:solidFill>
                <a:srgbClr val="92D05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sz="1600" noProof="1"/>
            </a:p>
          </p:txBody>
        </p:sp>
        <p:sp>
          <p:nvSpPr>
            <p:cNvPr id="43" name="_color1"/>
            <p:cNvSpPr>
              <a:spLocks/>
            </p:cNvSpPr>
            <p:nvPr/>
          </p:nvSpPr>
          <p:spPr bwMode="gray">
            <a:xfrm>
              <a:off x="7408650" y="5048311"/>
              <a:ext cx="1412291" cy="246536"/>
            </a:xfrm>
            <a:custGeom>
              <a:avLst/>
              <a:gdLst>
                <a:gd name="connsiteX0" fmla="*/ 0 w 10000"/>
                <a:gd name="connsiteY0" fmla="*/ 6563 h 9928"/>
                <a:gd name="connsiteX1" fmla="*/ 1623 w 10000"/>
                <a:gd name="connsiteY1" fmla="*/ 9928 h 9928"/>
                <a:gd name="connsiteX2" fmla="*/ 3360 w 10000"/>
                <a:gd name="connsiteY2" fmla="*/ 6375 h 9928"/>
                <a:gd name="connsiteX3" fmla="*/ 5522 w 10000"/>
                <a:gd name="connsiteY3" fmla="*/ 481 h 9928"/>
                <a:gd name="connsiteX4" fmla="*/ 10000 w 10000"/>
                <a:gd name="connsiteY4" fmla="*/ 8654 h 9928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611 h 10000"/>
                <a:gd name="connsiteX1" fmla="*/ 1623 w 10000"/>
                <a:gd name="connsiteY1" fmla="*/ 10000 h 10000"/>
                <a:gd name="connsiteX2" fmla="*/ 3360 w 10000"/>
                <a:gd name="connsiteY2" fmla="*/ 6421 h 10000"/>
                <a:gd name="connsiteX3" fmla="*/ 5522 w 10000"/>
                <a:gd name="connsiteY3" fmla="*/ 484 h 10000"/>
                <a:gd name="connsiteX4" fmla="*/ 10000 w 10000"/>
                <a:gd name="connsiteY4" fmla="*/ 8717 h 10000"/>
                <a:gd name="connsiteX0" fmla="*/ 0 w 10000"/>
                <a:gd name="connsiteY0" fmla="*/ 6127 h 9516"/>
                <a:gd name="connsiteX1" fmla="*/ 1623 w 10000"/>
                <a:gd name="connsiteY1" fmla="*/ 9516 h 9516"/>
                <a:gd name="connsiteX2" fmla="*/ 3360 w 10000"/>
                <a:gd name="connsiteY2" fmla="*/ 5937 h 9516"/>
                <a:gd name="connsiteX3" fmla="*/ 5522 w 10000"/>
                <a:gd name="connsiteY3" fmla="*/ 0 h 9516"/>
                <a:gd name="connsiteX4" fmla="*/ 8358 w 10000"/>
                <a:gd name="connsiteY4" fmla="*/ 5937 h 9516"/>
                <a:gd name="connsiteX5" fmla="*/ 10000 w 10000"/>
                <a:gd name="connsiteY5" fmla="*/ 8233 h 9516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6439 h 10000"/>
                <a:gd name="connsiteX1" fmla="*/ 1623 w 10000"/>
                <a:gd name="connsiteY1" fmla="*/ 10000 h 10000"/>
                <a:gd name="connsiteX2" fmla="*/ 3360 w 10000"/>
                <a:gd name="connsiteY2" fmla="*/ 6239 h 10000"/>
                <a:gd name="connsiteX3" fmla="*/ 5522 w 10000"/>
                <a:gd name="connsiteY3" fmla="*/ 0 h 10000"/>
                <a:gd name="connsiteX4" fmla="*/ 8358 w 10000"/>
                <a:gd name="connsiteY4" fmla="*/ 6239 h 10000"/>
                <a:gd name="connsiteX5" fmla="*/ 10000 w 10000"/>
                <a:gd name="connsiteY5" fmla="*/ 8652 h 10000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10000"/>
                <a:gd name="connsiteY0" fmla="*/ 7045 h 10606"/>
                <a:gd name="connsiteX1" fmla="*/ 1623 w 10000"/>
                <a:gd name="connsiteY1" fmla="*/ 10606 h 10606"/>
                <a:gd name="connsiteX2" fmla="*/ 3360 w 10000"/>
                <a:gd name="connsiteY2" fmla="*/ 6845 h 10606"/>
                <a:gd name="connsiteX3" fmla="*/ 5522 w 10000"/>
                <a:gd name="connsiteY3" fmla="*/ 606 h 10606"/>
                <a:gd name="connsiteX4" fmla="*/ 8358 w 10000"/>
                <a:gd name="connsiteY4" fmla="*/ 6845 h 10606"/>
                <a:gd name="connsiteX5" fmla="*/ 10000 w 10000"/>
                <a:gd name="connsiteY5" fmla="*/ 9258 h 10606"/>
                <a:gd name="connsiteX0" fmla="*/ 0 w 8377"/>
                <a:gd name="connsiteY0" fmla="*/ 10606 h 10606"/>
                <a:gd name="connsiteX1" fmla="*/ 1737 w 8377"/>
                <a:gd name="connsiteY1" fmla="*/ 6845 h 10606"/>
                <a:gd name="connsiteX2" fmla="*/ 3899 w 8377"/>
                <a:gd name="connsiteY2" fmla="*/ 606 h 10606"/>
                <a:gd name="connsiteX3" fmla="*/ 6735 w 8377"/>
                <a:gd name="connsiteY3" fmla="*/ 6845 h 10606"/>
                <a:gd name="connsiteX4" fmla="*/ 8377 w 8377"/>
                <a:gd name="connsiteY4" fmla="*/ 9258 h 10606"/>
                <a:gd name="connsiteX0" fmla="*/ 0 w 7926"/>
                <a:gd name="connsiteY0" fmla="*/ 6454 h 8729"/>
                <a:gd name="connsiteX1" fmla="*/ 2580 w 7926"/>
                <a:gd name="connsiteY1" fmla="*/ 571 h 8729"/>
                <a:gd name="connsiteX2" fmla="*/ 5966 w 7926"/>
                <a:gd name="connsiteY2" fmla="*/ 6454 h 8729"/>
                <a:gd name="connsiteX3" fmla="*/ 7926 w 7926"/>
                <a:gd name="connsiteY3" fmla="*/ 8729 h 8729"/>
                <a:gd name="connsiteX0" fmla="*/ 0 w 6745"/>
                <a:gd name="connsiteY0" fmla="*/ 654 h 10000"/>
                <a:gd name="connsiteX1" fmla="*/ 4272 w 6745"/>
                <a:gd name="connsiteY1" fmla="*/ 7394 h 10000"/>
                <a:gd name="connsiteX2" fmla="*/ 6745 w 6745"/>
                <a:gd name="connsiteY2" fmla="*/ 10000 h 10000"/>
                <a:gd name="connsiteX0" fmla="*/ 0 w 3666"/>
                <a:gd name="connsiteY0" fmla="*/ 0 h 2606"/>
                <a:gd name="connsiteX1" fmla="*/ 3666 w 3666"/>
                <a:gd name="connsiteY1" fmla="*/ 2606 h 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66" h="2606">
                  <a:moveTo>
                    <a:pt x="0" y="0"/>
                  </a:moveTo>
                  <a:cubicBezTo>
                    <a:pt x="1558" y="2187"/>
                    <a:pt x="3006" y="2549"/>
                    <a:pt x="3666" y="2606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sz="16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3376848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venue profile analysis with defense of production capacities</a:t>
            </a:r>
            <a:endParaRPr lang="en-US" noProof="1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Revenue Profile of an Assortment</a:t>
            </a:r>
            <a:endParaRPr lang="en-US" noProof="1"/>
          </a:p>
        </p:txBody>
      </p:sp>
      <p:grpSp>
        <p:nvGrpSpPr>
          <p:cNvPr id="66" name="Gruppieren 65"/>
          <p:cNvGrpSpPr/>
          <p:nvPr/>
        </p:nvGrpSpPr>
        <p:grpSpPr bwMode="gray">
          <a:xfrm>
            <a:off x="228600" y="1515995"/>
            <a:ext cx="8596314" cy="4442051"/>
            <a:chOff x="323850" y="1515995"/>
            <a:chExt cx="8501064" cy="4442051"/>
          </a:xfrm>
        </p:grpSpPr>
        <p:sp>
          <p:nvSpPr>
            <p:cNvPr id="31" name="Textfeld 30"/>
            <p:cNvSpPr txBox="1"/>
            <p:nvPr/>
          </p:nvSpPr>
          <p:spPr bwMode="gray">
            <a:xfrm>
              <a:off x="5957888" y="5681047"/>
              <a:ext cx="286226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ct val="30000"/>
                </a:spcAft>
              </a:pPr>
              <a:r>
                <a:rPr lang="en-US" b="1" noProof="1" smtClean="0"/>
                <a:t>Production capacity in %</a:t>
              </a:r>
              <a:endParaRPr lang="en-US" b="1" noProof="1"/>
            </a:p>
          </p:txBody>
        </p:sp>
        <p:sp>
          <p:nvSpPr>
            <p:cNvPr id="91" name="Textfeld 90"/>
            <p:cNvSpPr txBox="1"/>
            <p:nvPr/>
          </p:nvSpPr>
          <p:spPr bwMode="gray">
            <a:xfrm>
              <a:off x="420233" y="1515995"/>
              <a:ext cx="168503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ct val="30000"/>
                </a:spcAft>
              </a:pPr>
              <a:r>
                <a:rPr lang="en-US" b="1" noProof="1" smtClean="0"/>
                <a:t>Revenue in %</a:t>
              </a:r>
              <a:endParaRPr lang="en-US" b="1" noProof="1"/>
            </a:p>
          </p:txBody>
        </p:sp>
        <p:cxnSp>
          <p:nvCxnSpPr>
            <p:cNvPr id="108" name="Gerade Verbindung 107"/>
            <p:cNvCxnSpPr/>
            <p:nvPr/>
          </p:nvCxnSpPr>
          <p:spPr bwMode="gray">
            <a:xfrm flipV="1">
              <a:off x="946627" y="1916113"/>
              <a:ext cx="7873523" cy="3419337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Freihandform 108"/>
            <p:cNvSpPr/>
            <p:nvPr/>
          </p:nvSpPr>
          <p:spPr bwMode="gray">
            <a:xfrm>
              <a:off x="939800" y="4413250"/>
              <a:ext cx="3587750" cy="920750"/>
            </a:xfrm>
            <a:custGeom>
              <a:avLst/>
              <a:gdLst>
                <a:gd name="connsiteX0" fmla="*/ 0 w 3587750"/>
                <a:gd name="connsiteY0" fmla="*/ 914400 h 920750"/>
                <a:gd name="connsiteX1" fmla="*/ 3568700 w 3587750"/>
                <a:gd name="connsiteY1" fmla="*/ 0 h 920750"/>
                <a:gd name="connsiteX2" fmla="*/ 3587750 w 3587750"/>
                <a:gd name="connsiteY2" fmla="*/ 920750 h 920750"/>
                <a:gd name="connsiteX3" fmla="*/ 0 w 3587750"/>
                <a:gd name="connsiteY3" fmla="*/ 914400 h 920750"/>
                <a:gd name="connsiteX0" fmla="*/ 0 w 3587750"/>
                <a:gd name="connsiteY0" fmla="*/ 914400 h 920750"/>
                <a:gd name="connsiteX1" fmla="*/ 3585702 w 3587750"/>
                <a:gd name="connsiteY1" fmla="*/ 0 h 920750"/>
                <a:gd name="connsiteX2" fmla="*/ 3587750 w 3587750"/>
                <a:gd name="connsiteY2" fmla="*/ 920750 h 920750"/>
                <a:gd name="connsiteX3" fmla="*/ 0 w 3587750"/>
                <a:gd name="connsiteY3" fmla="*/ 914400 h 920750"/>
                <a:gd name="connsiteX0" fmla="*/ 0 w 3587750"/>
                <a:gd name="connsiteY0" fmla="*/ 920750 h 920750"/>
                <a:gd name="connsiteX1" fmla="*/ 3585702 w 3587750"/>
                <a:gd name="connsiteY1" fmla="*/ 0 h 920750"/>
                <a:gd name="connsiteX2" fmla="*/ 3587750 w 3587750"/>
                <a:gd name="connsiteY2" fmla="*/ 920750 h 920750"/>
                <a:gd name="connsiteX3" fmla="*/ 0 w 3587750"/>
                <a:gd name="connsiteY3" fmla="*/ 920750 h 920750"/>
                <a:gd name="connsiteX0" fmla="*/ 0 w 3587750"/>
                <a:gd name="connsiteY0" fmla="*/ 920750 h 920750"/>
                <a:gd name="connsiteX1" fmla="*/ 3586957 w 3587750"/>
                <a:gd name="connsiteY1" fmla="*/ 0 h 920750"/>
                <a:gd name="connsiteX2" fmla="*/ 3587750 w 3587750"/>
                <a:gd name="connsiteY2" fmla="*/ 920750 h 920750"/>
                <a:gd name="connsiteX3" fmla="*/ 0 w 3587750"/>
                <a:gd name="connsiteY3" fmla="*/ 920750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87750" h="920750">
                  <a:moveTo>
                    <a:pt x="0" y="920750"/>
                  </a:moveTo>
                  <a:lnTo>
                    <a:pt x="3586957" y="0"/>
                  </a:lnTo>
                  <a:cubicBezTo>
                    <a:pt x="3587640" y="306917"/>
                    <a:pt x="3587067" y="613833"/>
                    <a:pt x="3587750" y="920750"/>
                  </a:cubicBezTo>
                  <a:lnTo>
                    <a:pt x="0" y="9207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44000" tIns="0" rIns="144000" bIns="72000" anchor="b" anchorCtr="0"/>
            <a:lstStyle/>
            <a:p>
              <a:pPr algn="ctr">
                <a:spcAft>
                  <a:spcPts val="600"/>
                </a:spcAft>
              </a:pPr>
              <a:r>
                <a:rPr lang="en-US" sz="2400" b="1" noProof="1" smtClean="0">
                  <a:solidFill>
                    <a:srgbClr val="000000"/>
                  </a:solidFill>
                  <a:latin typeface="+mj-lt"/>
                  <a:cs typeface="Times New Roman" pitchFamily="18" charset="0"/>
                </a:rPr>
                <a:t>      I</a:t>
              </a:r>
              <a:endParaRPr lang="en-US" sz="2400" b="1" noProof="1">
                <a:solidFill>
                  <a:srgbClr val="000000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10" name="Freihandform 109"/>
            <p:cNvSpPr/>
            <p:nvPr/>
          </p:nvSpPr>
          <p:spPr bwMode="gray">
            <a:xfrm>
              <a:off x="4526757" y="3852863"/>
              <a:ext cx="1430295" cy="1484132"/>
            </a:xfrm>
            <a:custGeom>
              <a:avLst/>
              <a:gdLst>
                <a:gd name="connsiteX0" fmla="*/ 0 w 1428750"/>
                <a:gd name="connsiteY0" fmla="*/ 561975 h 1485900"/>
                <a:gd name="connsiteX1" fmla="*/ 1404937 w 1428750"/>
                <a:gd name="connsiteY1" fmla="*/ 0 h 1485900"/>
                <a:gd name="connsiteX2" fmla="*/ 1428750 w 1428750"/>
                <a:gd name="connsiteY2" fmla="*/ 1485900 h 1485900"/>
                <a:gd name="connsiteX3" fmla="*/ 0 w 1428750"/>
                <a:gd name="connsiteY3" fmla="*/ 1481137 h 1485900"/>
                <a:gd name="connsiteX4" fmla="*/ 0 w 1428750"/>
                <a:gd name="connsiteY4" fmla="*/ 561975 h 1485900"/>
                <a:gd name="connsiteX0" fmla="*/ 0 w 1430295"/>
                <a:gd name="connsiteY0" fmla="*/ 561975 h 1484132"/>
                <a:gd name="connsiteX1" fmla="*/ 1404937 w 1430295"/>
                <a:gd name="connsiteY1" fmla="*/ 0 h 1484132"/>
                <a:gd name="connsiteX2" fmla="*/ 1430295 w 1430295"/>
                <a:gd name="connsiteY2" fmla="*/ 1484132 h 1484132"/>
                <a:gd name="connsiteX3" fmla="*/ 0 w 1430295"/>
                <a:gd name="connsiteY3" fmla="*/ 1481137 h 1484132"/>
                <a:gd name="connsiteX4" fmla="*/ 0 w 1430295"/>
                <a:gd name="connsiteY4" fmla="*/ 561975 h 1484132"/>
                <a:gd name="connsiteX0" fmla="*/ 0 w 1430295"/>
                <a:gd name="connsiteY0" fmla="*/ 561975 h 1484132"/>
                <a:gd name="connsiteX1" fmla="*/ 1430295 w 1430295"/>
                <a:gd name="connsiteY1" fmla="*/ 0 h 1484132"/>
                <a:gd name="connsiteX2" fmla="*/ 1430295 w 1430295"/>
                <a:gd name="connsiteY2" fmla="*/ 1484132 h 1484132"/>
                <a:gd name="connsiteX3" fmla="*/ 0 w 1430295"/>
                <a:gd name="connsiteY3" fmla="*/ 1481137 h 1484132"/>
                <a:gd name="connsiteX4" fmla="*/ 0 w 1430295"/>
                <a:gd name="connsiteY4" fmla="*/ 561975 h 1484132"/>
                <a:gd name="connsiteX0" fmla="*/ 46498 w 1430295"/>
                <a:gd name="connsiteY0" fmla="*/ 544495 h 1484132"/>
                <a:gd name="connsiteX1" fmla="*/ 1430295 w 1430295"/>
                <a:gd name="connsiteY1" fmla="*/ 0 h 1484132"/>
                <a:gd name="connsiteX2" fmla="*/ 1430295 w 1430295"/>
                <a:gd name="connsiteY2" fmla="*/ 1484132 h 1484132"/>
                <a:gd name="connsiteX3" fmla="*/ 0 w 1430295"/>
                <a:gd name="connsiteY3" fmla="*/ 1481137 h 1484132"/>
                <a:gd name="connsiteX4" fmla="*/ 46498 w 1430295"/>
                <a:gd name="connsiteY4" fmla="*/ 544495 h 1484132"/>
                <a:gd name="connsiteX0" fmla="*/ 793 w 1430295"/>
                <a:gd name="connsiteY0" fmla="*/ 560387 h 1484132"/>
                <a:gd name="connsiteX1" fmla="*/ 1430295 w 1430295"/>
                <a:gd name="connsiteY1" fmla="*/ 0 h 1484132"/>
                <a:gd name="connsiteX2" fmla="*/ 1430295 w 1430295"/>
                <a:gd name="connsiteY2" fmla="*/ 1484132 h 1484132"/>
                <a:gd name="connsiteX3" fmla="*/ 0 w 1430295"/>
                <a:gd name="connsiteY3" fmla="*/ 1481137 h 1484132"/>
                <a:gd name="connsiteX4" fmla="*/ 793 w 1430295"/>
                <a:gd name="connsiteY4" fmla="*/ 560387 h 14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0295" h="1484132">
                  <a:moveTo>
                    <a:pt x="793" y="560387"/>
                  </a:moveTo>
                  <a:lnTo>
                    <a:pt x="1430295" y="0"/>
                  </a:lnTo>
                  <a:lnTo>
                    <a:pt x="1430295" y="1484132"/>
                  </a:lnTo>
                  <a:lnTo>
                    <a:pt x="0" y="1481137"/>
                  </a:lnTo>
                  <a:cubicBezTo>
                    <a:pt x="1587" y="1174750"/>
                    <a:pt x="3968" y="866774"/>
                    <a:pt x="793" y="56038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44000" tIns="0" rIns="144000" bIns="468000" anchor="b" anchorCtr="0"/>
            <a:lstStyle/>
            <a:p>
              <a:pPr algn="ctr">
                <a:spcAft>
                  <a:spcPts val="600"/>
                </a:spcAft>
              </a:pPr>
              <a:r>
                <a:rPr lang="en-US" sz="2400" b="1" noProof="1" smtClean="0">
                  <a:solidFill>
                    <a:srgbClr val="FFFFFF"/>
                  </a:solidFill>
                  <a:latin typeface="+mj-lt"/>
                  <a:cs typeface="Times New Roman" pitchFamily="18" charset="0"/>
                </a:rPr>
                <a:t>II</a:t>
              </a:r>
              <a:endParaRPr lang="en-US" sz="2400" b="1" noProof="1">
                <a:solidFill>
                  <a:srgbClr val="FFFFFF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11" name="Freihandform 110"/>
            <p:cNvSpPr/>
            <p:nvPr/>
          </p:nvSpPr>
          <p:spPr bwMode="gray">
            <a:xfrm>
              <a:off x="5957888" y="1919288"/>
              <a:ext cx="2867025" cy="3414712"/>
            </a:xfrm>
            <a:custGeom>
              <a:avLst/>
              <a:gdLst>
                <a:gd name="connsiteX0" fmla="*/ 477044 w 3344069"/>
                <a:gd name="connsiteY0" fmla="*/ 1933575 h 3414712"/>
                <a:gd name="connsiteX1" fmla="*/ 3339306 w 3344069"/>
                <a:gd name="connsiteY1" fmla="*/ 0 h 3414712"/>
                <a:gd name="connsiteX2" fmla="*/ 3344069 w 3344069"/>
                <a:gd name="connsiteY2" fmla="*/ 3409950 h 3414712"/>
                <a:gd name="connsiteX3" fmla="*/ 477044 w 3344069"/>
                <a:gd name="connsiteY3" fmla="*/ 3414712 h 3414712"/>
                <a:gd name="connsiteX4" fmla="*/ 477044 w 3344069"/>
                <a:gd name="connsiteY4" fmla="*/ 1933575 h 3414712"/>
                <a:gd name="connsiteX0" fmla="*/ 477044 w 3344069"/>
                <a:gd name="connsiteY0" fmla="*/ 1933575 h 3414712"/>
                <a:gd name="connsiteX1" fmla="*/ 3339306 w 3344069"/>
                <a:gd name="connsiteY1" fmla="*/ 0 h 3414712"/>
                <a:gd name="connsiteX2" fmla="*/ 3344069 w 3344069"/>
                <a:gd name="connsiteY2" fmla="*/ 3409950 h 3414712"/>
                <a:gd name="connsiteX3" fmla="*/ 477044 w 3344069"/>
                <a:gd name="connsiteY3" fmla="*/ 3414712 h 3414712"/>
                <a:gd name="connsiteX4" fmla="*/ 477044 w 3344069"/>
                <a:gd name="connsiteY4" fmla="*/ 1933575 h 3414712"/>
                <a:gd name="connsiteX0" fmla="*/ 0 w 2867025"/>
                <a:gd name="connsiteY0" fmla="*/ 1933575 h 3414712"/>
                <a:gd name="connsiteX1" fmla="*/ 2862262 w 2867025"/>
                <a:gd name="connsiteY1" fmla="*/ 0 h 3414712"/>
                <a:gd name="connsiteX2" fmla="*/ 2867025 w 2867025"/>
                <a:gd name="connsiteY2" fmla="*/ 3409950 h 3414712"/>
                <a:gd name="connsiteX3" fmla="*/ 0 w 2867025"/>
                <a:gd name="connsiteY3" fmla="*/ 3414712 h 3414712"/>
                <a:gd name="connsiteX4" fmla="*/ 0 w 2867025"/>
                <a:gd name="connsiteY4" fmla="*/ 1933575 h 3414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025" h="3414712">
                  <a:moveTo>
                    <a:pt x="0" y="1933575"/>
                  </a:moveTo>
                  <a:lnTo>
                    <a:pt x="2862262" y="0"/>
                  </a:lnTo>
                  <a:cubicBezTo>
                    <a:pt x="2863850" y="1136650"/>
                    <a:pt x="2865437" y="2273300"/>
                    <a:pt x="2867025" y="3409950"/>
                  </a:cubicBezTo>
                  <a:lnTo>
                    <a:pt x="0" y="3414712"/>
                  </a:lnTo>
                  <a:lnTo>
                    <a:pt x="0" y="193357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44000" tIns="0" rIns="144000" bIns="1152000" anchor="b" anchorCtr="0"/>
            <a:lstStyle/>
            <a:p>
              <a:pPr algn="ctr">
                <a:spcAft>
                  <a:spcPts val="600"/>
                </a:spcAft>
              </a:pPr>
              <a:r>
                <a:rPr lang="en-US" sz="2400" b="1" noProof="1" smtClean="0">
                  <a:solidFill>
                    <a:srgbClr val="FFFFFF"/>
                  </a:solidFill>
                  <a:latin typeface="+mj-lt"/>
                  <a:cs typeface="Times New Roman" pitchFamily="18" charset="0"/>
                </a:rPr>
                <a:t>III</a:t>
              </a:r>
              <a:endParaRPr lang="en-US" sz="2400" b="1" noProof="1">
                <a:solidFill>
                  <a:srgbClr val="FFFFFF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64" name="Textfeld 63"/>
            <p:cNvSpPr txBox="1"/>
            <p:nvPr/>
          </p:nvSpPr>
          <p:spPr bwMode="gray">
            <a:xfrm>
              <a:off x="323850" y="1816602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100%</a:t>
              </a:r>
              <a:endParaRPr lang="en-US" sz="1400" noProof="1"/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3436973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40%</a:t>
              </a:r>
              <a:endParaRPr lang="en-US" sz="1400" noProof="1"/>
            </a:p>
          </p:txBody>
        </p:sp>
        <p:sp>
          <p:nvSpPr>
            <p:cNvPr id="49" name="Textfeld 48"/>
            <p:cNvSpPr txBox="1"/>
            <p:nvPr/>
          </p:nvSpPr>
          <p:spPr bwMode="gray">
            <a:xfrm>
              <a:off x="1287892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>
                  <a:solidFill>
                    <a:srgbClr val="000000"/>
                  </a:solidFill>
                </a:rPr>
                <a:t>10%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cxnSp>
          <p:nvCxnSpPr>
            <p:cNvPr id="52" name="Gerade Verbindung 51"/>
            <p:cNvCxnSpPr/>
            <p:nvPr/>
          </p:nvCxnSpPr>
          <p:spPr bwMode="gray">
            <a:xfrm rot="5400000">
              <a:off x="807204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54" name="Gerade Verbindung 53"/>
            <p:cNvCxnSpPr/>
            <p:nvPr/>
          </p:nvCxnSpPr>
          <p:spPr bwMode="gray">
            <a:xfrm rot="5400000">
              <a:off x="4493172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56" name="Gerade Verbindung 55"/>
            <p:cNvCxnSpPr/>
            <p:nvPr/>
          </p:nvCxnSpPr>
          <p:spPr bwMode="gray">
            <a:xfrm rot="5400000">
              <a:off x="377739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57" name="Gerade Verbindung 56"/>
            <p:cNvCxnSpPr/>
            <p:nvPr/>
          </p:nvCxnSpPr>
          <p:spPr bwMode="gray">
            <a:xfrm rot="5400000">
              <a:off x="3061622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58" name="Gerade Verbindung 57"/>
            <p:cNvCxnSpPr/>
            <p:nvPr/>
          </p:nvCxnSpPr>
          <p:spPr bwMode="gray">
            <a:xfrm rot="5400000">
              <a:off x="234584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60" name="Gerade Verbindung 59"/>
            <p:cNvCxnSpPr/>
            <p:nvPr/>
          </p:nvCxnSpPr>
          <p:spPr bwMode="gray">
            <a:xfrm rot="5400000">
              <a:off x="7356272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61" name="Gerade Verbindung 60"/>
            <p:cNvCxnSpPr/>
            <p:nvPr/>
          </p:nvCxnSpPr>
          <p:spPr bwMode="gray">
            <a:xfrm rot="5400000">
              <a:off x="664049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62" name="Gerade Verbindung 61"/>
            <p:cNvCxnSpPr/>
            <p:nvPr/>
          </p:nvCxnSpPr>
          <p:spPr bwMode="gray">
            <a:xfrm rot="5400000">
              <a:off x="5924722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63" name="Gerade Verbindung 62"/>
            <p:cNvCxnSpPr/>
            <p:nvPr/>
          </p:nvCxnSpPr>
          <p:spPr bwMode="gray">
            <a:xfrm rot="5400000">
              <a:off x="520894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98" name="Gerade Verbindung 97"/>
            <p:cNvCxnSpPr/>
            <p:nvPr/>
          </p:nvCxnSpPr>
          <p:spPr bwMode="gray">
            <a:xfrm rot="5400000">
              <a:off x="1630072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26" name="Gerade Verbindung mit Pfeil 25"/>
            <p:cNvCxnSpPr/>
            <p:nvPr/>
          </p:nvCxnSpPr>
          <p:spPr bwMode="gray">
            <a:xfrm>
              <a:off x="944880" y="5335450"/>
              <a:ext cx="7875270" cy="0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med" len="med"/>
              <a:tailEnd type="none"/>
            </a:ln>
          </p:spPr>
        </p:cxnSp>
        <p:cxnSp>
          <p:nvCxnSpPr>
            <p:cNvPr id="24" name="Gerade Verbindung mit Pfeil 23"/>
            <p:cNvCxnSpPr/>
            <p:nvPr/>
          </p:nvCxnSpPr>
          <p:spPr bwMode="gray">
            <a:xfrm flipV="1">
              <a:off x="944880" y="1903294"/>
              <a:ext cx="0" cy="3435322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med" len="med"/>
              <a:tailEnd type="none"/>
            </a:ln>
          </p:spPr>
        </p:cxnSp>
        <p:cxnSp>
          <p:nvCxnSpPr>
            <p:cNvPr id="78" name="Gerade Verbindung 77"/>
            <p:cNvCxnSpPr/>
            <p:nvPr/>
          </p:nvCxnSpPr>
          <p:spPr bwMode="gray">
            <a:xfrm>
              <a:off x="871838" y="4649655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79" name="Gerade Verbindung 78"/>
            <p:cNvCxnSpPr/>
            <p:nvPr/>
          </p:nvCxnSpPr>
          <p:spPr bwMode="gray">
            <a:xfrm>
              <a:off x="871838" y="4306756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0" name="Gerade Verbindung 79"/>
            <p:cNvCxnSpPr/>
            <p:nvPr/>
          </p:nvCxnSpPr>
          <p:spPr bwMode="gray">
            <a:xfrm>
              <a:off x="871838" y="3963857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1" name="Gerade Verbindung 80"/>
            <p:cNvCxnSpPr/>
            <p:nvPr/>
          </p:nvCxnSpPr>
          <p:spPr bwMode="gray">
            <a:xfrm>
              <a:off x="871838" y="3620958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2" name="Gerade Verbindung 81"/>
            <p:cNvCxnSpPr/>
            <p:nvPr/>
          </p:nvCxnSpPr>
          <p:spPr bwMode="gray">
            <a:xfrm>
              <a:off x="871838" y="3278058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3" name="Gerade Verbindung 82"/>
            <p:cNvCxnSpPr/>
            <p:nvPr/>
          </p:nvCxnSpPr>
          <p:spPr bwMode="gray">
            <a:xfrm>
              <a:off x="871838" y="2935159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4" name="Gerade Verbindung 83"/>
            <p:cNvCxnSpPr/>
            <p:nvPr/>
          </p:nvCxnSpPr>
          <p:spPr bwMode="gray">
            <a:xfrm>
              <a:off x="871838" y="2592260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85" name="Gerade Verbindung 84"/>
            <p:cNvCxnSpPr/>
            <p:nvPr/>
          </p:nvCxnSpPr>
          <p:spPr bwMode="gray">
            <a:xfrm>
              <a:off x="871838" y="2249361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103" name="Gerade Verbindung 102"/>
            <p:cNvCxnSpPr/>
            <p:nvPr/>
          </p:nvCxnSpPr>
          <p:spPr bwMode="gray">
            <a:xfrm>
              <a:off x="871838" y="4992555"/>
              <a:ext cx="74789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sp>
          <p:nvSpPr>
            <p:cNvPr id="72" name="Textfeld 71"/>
            <p:cNvSpPr txBox="1"/>
            <p:nvPr/>
          </p:nvSpPr>
          <p:spPr bwMode="gray">
            <a:xfrm>
              <a:off x="323850" y="2159607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90%</a:t>
              </a:r>
              <a:endParaRPr lang="en-US" sz="1400" noProof="1"/>
            </a:p>
          </p:txBody>
        </p:sp>
        <p:sp>
          <p:nvSpPr>
            <p:cNvPr id="73" name="Textfeld 72"/>
            <p:cNvSpPr txBox="1"/>
            <p:nvPr/>
          </p:nvSpPr>
          <p:spPr bwMode="gray">
            <a:xfrm>
              <a:off x="323850" y="2502612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80%</a:t>
              </a:r>
              <a:endParaRPr lang="en-US" sz="1400" noProof="1"/>
            </a:p>
          </p:txBody>
        </p:sp>
        <p:sp>
          <p:nvSpPr>
            <p:cNvPr id="74" name="Textfeld 73"/>
            <p:cNvSpPr txBox="1"/>
            <p:nvPr/>
          </p:nvSpPr>
          <p:spPr bwMode="gray">
            <a:xfrm>
              <a:off x="323850" y="2845618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70%</a:t>
              </a:r>
              <a:endParaRPr lang="en-US" sz="1400" noProof="1"/>
            </a:p>
          </p:txBody>
        </p:sp>
        <p:sp>
          <p:nvSpPr>
            <p:cNvPr id="75" name="Textfeld 74"/>
            <p:cNvSpPr txBox="1"/>
            <p:nvPr/>
          </p:nvSpPr>
          <p:spPr bwMode="gray">
            <a:xfrm>
              <a:off x="323850" y="3188623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60%</a:t>
              </a:r>
              <a:endParaRPr lang="en-US" sz="1400" noProof="1"/>
            </a:p>
          </p:txBody>
        </p:sp>
        <p:sp>
          <p:nvSpPr>
            <p:cNvPr id="76" name="Textfeld 75"/>
            <p:cNvSpPr txBox="1"/>
            <p:nvPr/>
          </p:nvSpPr>
          <p:spPr bwMode="gray">
            <a:xfrm>
              <a:off x="323850" y="3531628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50%</a:t>
              </a:r>
              <a:endParaRPr lang="en-US" sz="1400" noProof="1"/>
            </a:p>
          </p:txBody>
        </p:sp>
        <p:sp>
          <p:nvSpPr>
            <p:cNvPr id="77" name="Textfeld 76"/>
            <p:cNvSpPr txBox="1"/>
            <p:nvPr/>
          </p:nvSpPr>
          <p:spPr bwMode="gray">
            <a:xfrm>
              <a:off x="323850" y="3874634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40%</a:t>
              </a:r>
              <a:endParaRPr lang="en-US" sz="1400" noProof="1"/>
            </a:p>
          </p:txBody>
        </p:sp>
        <p:sp>
          <p:nvSpPr>
            <p:cNvPr id="87" name="Textfeld 86"/>
            <p:cNvSpPr txBox="1"/>
            <p:nvPr/>
          </p:nvSpPr>
          <p:spPr bwMode="gray">
            <a:xfrm>
              <a:off x="323850" y="4217639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30%</a:t>
              </a:r>
              <a:endParaRPr lang="en-US" sz="1400" noProof="1"/>
            </a:p>
          </p:txBody>
        </p:sp>
        <p:sp>
          <p:nvSpPr>
            <p:cNvPr id="88" name="Textfeld 87"/>
            <p:cNvSpPr txBox="1"/>
            <p:nvPr/>
          </p:nvSpPr>
          <p:spPr bwMode="gray">
            <a:xfrm>
              <a:off x="323850" y="4560644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20%</a:t>
              </a:r>
              <a:endParaRPr lang="en-US" sz="1400" noProof="1"/>
            </a:p>
          </p:txBody>
        </p:sp>
        <p:sp>
          <p:nvSpPr>
            <p:cNvPr id="89" name="Textfeld 88"/>
            <p:cNvSpPr txBox="1"/>
            <p:nvPr/>
          </p:nvSpPr>
          <p:spPr bwMode="gray">
            <a:xfrm>
              <a:off x="323850" y="4903650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10%</a:t>
              </a:r>
              <a:endParaRPr lang="en-US" sz="1400" noProof="1"/>
            </a:p>
          </p:txBody>
        </p:sp>
        <p:sp>
          <p:nvSpPr>
            <p:cNvPr id="90" name="Textfeld 89"/>
            <p:cNvSpPr txBox="1"/>
            <p:nvPr/>
          </p:nvSpPr>
          <p:spPr bwMode="gray">
            <a:xfrm>
              <a:off x="323850" y="5246656"/>
              <a:ext cx="4953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noProof="1" smtClean="0"/>
                <a:t>0%</a:t>
              </a:r>
              <a:endParaRPr lang="en-US" sz="1400" noProof="1"/>
            </a:p>
          </p:txBody>
        </p:sp>
        <p:sp>
          <p:nvSpPr>
            <p:cNvPr id="96" name="Textfeld 95"/>
            <p:cNvSpPr txBox="1"/>
            <p:nvPr/>
          </p:nvSpPr>
          <p:spPr bwMode="gray">
            <a:xfrm>
              <a:off x="576738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>
                  <a:solidFill>
                    <a:srgbClr val="000000"/>
                  </a:solidFill>
                </a:rPr>
                <a:t>0%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97" name="Textfeld 96"/>
            <p:cNvSpPr txBox="1"/>
            <p:nvPr/>
          </p:nvSpPr>
          <p:spPr bwMode="gray">
            <a:xfrm>
              <a:off x="2011511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20%</a:t>
              </a:r>
              <a:endParaRPr lang="en-US" sz="1400" noProof="1"/>
            </a:p>
          </p:txBody>
        </p:sp>
        <p:sp>
          <p:nvSpPr>
            <p:cNvPr id="99" name="Textfeld 98"/>
            <p:cNvSpPr txBox="1"/>
            <p:nvPr/>
          </p:nvSpPr>
          <p:spPr bwMode="gray">
            <a:xfrm>
              <a:off x="2713092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30%</a:t>
              </a:r>
              <a:endParaRPr lang="en-US" sz="1400" noProof="1"/>
            </a:p>
          </p:txBody>
        </p:sp>
        <p:sp>
          <p:nvSpPr>
            <p:cNvPr id="100" name="Textfeld 99"/>
            <p:cNvSpPr txBox="1"/>
            <p:nvPr/>
          </p:nvSpPr>
          <p:spPr bwMode="gray">
            <a:xfrm>
              <a:off x="4150992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50%</a:t>
              </a:r>
              <a:endParaRPr lang="en-US" sz="1400" noProof="1"/>
            </a:p>
          </p:txBody>
        </p:sp>
        <p:sp>
          <p:nvSpPr>
            <p:cNvPr id="101" name="Textfeld 100"/>
            <p:cNvSpPr txBox="1"/>
            <p:nvPr/>
          </p:nvSpPr>
          <p:spPr bwMode="gray">
            <a:xfrm>
              <a:off x="4866767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60%</a:t>
              </a:r>
              <a:endParaRPr lang="en-US" sz="1400" noProof="1"/>
            </a:p>
          </p:txBody>
        </p:sp>
        <p:sp>
          <p:nvSpPr>
            <p:cNvPr id="102" name="Textfeld 101"/>
            <p:cNvSpPr txBox="1"/>
            <p:nvPr/>
          </p:nvSpPr>
          <p:spPr bwMode="gray">
            <a:xfrm>
              <a:off x="5577686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70%</a:t>
              </a:r>
              <a:endParaRPr lang="en-US" sz="1400" noProof="1"/>
            </a:p>
          </p:txBody>
        </p:sp>
        <p:sp>
          <p:nvSpPr>
            <p:cNvPr id="104" name="Textfeld 103"/>
            <p:cNvSpPr txBox="1"/>
            <p:nvPr/>
          </p:nvSpPr>
          <p:spPr bwMode="gray">
            <a:xfrm>
              <a:off x="6298317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80%</a:t>
              </a:r>
              <a:endParaRPr lang="en-US" sz="1400" noProof="1"/>
            </a:p>
          </p:txBody>
        </p:sp>
        <p:sp>
          <p:nvSpPr>
            <p:cNvPr id="105" name="Textfeld 104"/>
            <p:cNvSpPr txBox="1"/>
            <p:nvPr/>
          </p:nvSpPr>
          <p:spPr bwMode="gray">
            <a:xfrm>
              <a:off x="7020442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90%</a:t>
              </a:r>
              <a:endParaRPr lang="en-US" sz="1400" noProof="1"/>
            </a:p>
          </p:txBody>
        </p:sp>
        <p:sp>
          <p:nvSpPr>
            <p:cNvPr id="106" name="Textfeld 105"/>
            <p:cNvSpPr txBox="1"/>
            <p:nvPr/>
          </p:nvSpPr>
          <p:spPr bwMode="gray">
            <a:xfrm>
              <a:off x="7729867" y="5409522"/>
              <a:ext cx="74901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noProof="1" smtClean="0"/>
                <a:t>100%</a:t>
              </a:r>
              <a:endParaRPr lang="en-US" sz="1400" noProof="1"/>
            </a:p>
          </p:txBody>
        </p:sp>
        <p:sp>
          <p:nvSpPr>
            <p:cNvPr id="114" name="Textfeld 113"/>
            <p:cNvSpPr txBox="1"/>
            <p:nvPr/>
          </p:nvSpPr>
          <p:spPr bwMode="gray">
            <a:xfrm>
              <a:off x="6672828" y="1562100"/>
              <a:ext cx="215208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ct val="30000"/>
                </a:spcAft>
              </a:pPr>
              <a:r>
                <a:rPr lang="en-US" sz="1400" noProof="1" smtClean="0"/>
                <a:t>I - III = Product programs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29692266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uppieren 67"/>
          <p:cNvGrpSpPr/>
          <p:nvPr/>
        </p:nvGrpSpPr>
        <p:grpSpPr>
          <a:xfrm>
            <a:off x="0" y="4554311"/>
            <a:ext cx="9144000" cy="1163782"/>
            <a:chOff x="0" y="4534215"/>
            <a:chExt cx="9144000" cy="1163782"/>
          </a:xfrm>
        </p:grpSpPr>
        <p:sp>
          <p:nvSpPr>
            <p:cNvPr id="66" name="Rechteck 65"/>
            <p:cNvSpPr/>
            <p:nvPr/>
          </p:nvSpPr>
          <p:spPr bwMode="auto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67" name="Rechteck 66"/>
            <p:cNvSpPr/>
            <p:nvPr/>
          </p:nvSpPr>
          <p:spPr bwMode="auto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ntributions of individual product programs to sales and profit</a:t>
            </a:r>
            <a:endParaRPr lang="en-US" noProof="1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Revenue and Profit according to products</a:t>
            </a:r>
            <a:endParaRPr lang="en-US" noProof="1"/>
          </a:p>
        </p:txBody>
      </p:sp>
      <p:graphicFrame>
        <p:nvGraphicFramePr>
          <p:cNvPr id="65" name="Diagramm 64"/>
          <p:cNvGraphicFramePr/>
          <p:nvPr>
            <p:extLst>
              <p:ext uri="{D42A27DB-BD31-4B8C-83A1-F6EECF244321}">
                <p14:modId xmlns:p14="http://schemas.microsoft.com/office/powerpoint/2010/main" val="4120918770"/>
              </p:ext>
            </p:extLst>
          </p:nvPr>
        </p:nvGraphicFramePr>
        <p:xfrm>
          <a:off x="324643" y="1554953"/>
          <a:ext cx="8496300" cy="4247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3578085" y="5772495"/>
            <a:ext cx="1986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noProof="1" smtClean="0"/>
              <a:t>Product programm</a:t>
            </a:r>
            <a:endParaRPr lang="en-US" b="1" noProof="1"/>
          </a:p>
        </p:txBody>
      </p:sp>
      <p:grpSp>
        <p:nvGrpSpPr>
          <p:cNvPr id="9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Rechteck 9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en-US" sz="1200" noProof="1" smtClean="0">
                  <a:solidFill>
                    <a:srgbClr val="FFFFFF"/>
                  </a:solidFill>
                </a:rPr>
                <a:t>DATADRIVEN</a:t>
              </a:r>
              <a:endParaRPr lang="en-US" sz="1200" noProof="1">
                <a:solidFill>
                  <a:srgbClr val="FFFFFF"/>
                </a:solidFill>
              </a:endParaRPr>
            </a:p>
          </p:txBody>
        </p:sp>
        <p:grpSp>
          <p:nvGrpSpPr>
            <p:cNvPr id="11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12" name="Gerade Verbindung 11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12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13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156172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Price / Cost Management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4833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osition of Profit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price is the only component of the marketing mix, which directly affects sales and profits</a:t>
            </a:r>
            <a:endParaRPr lang="en-US" noProof="1"/>
          </a:p>
        </p:txBody>
      </p:sp>
      <p:grpSp>
        <p:nvGrpSpPr>
          <p:cNvPr id="22" name="Gruppieren 21"/>
          <p:cNvGrpSpPr/>
          <p:nvPr/>
        </p:nvGrpSpPr>
        <p:grpSpPr>
          <a:xfrm>
            <a:off x="324643" y="1554954"/>
            <a:ext cx="8495507" cy="4247358"/>
            <a:chOff x="324643" y="1554954"/>
            <a:chExt cx="8495507" cy="4247358"/>
          </a:xfrm>
        </p:grpSpPr>
        <p:sp>
          <p:nvSpPr>
            <p:cNvPr id="14" name="Rechteck 13"/>
            <p:cNvSpPr/>
            <p:nvPr/>
          </p:nvSpPr>
          <p:spPr bwMode="gray">
            <a:xfrm>
              <a:off x="4041814" y="1554954"/>
              <a:ext cx="2109470" cy="540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FFFFFF"/>
                  </a:solidFill>
                </a:rPr>
                <a:t>Profit</a:t>
              </a:r>
              <a:endParaRPr lang="en-US" sz="2000" noProof="1">
                <a:solidFill>
                  <a:srgbClr val="FFFFFF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4643" y="3405594"/>
              <a:ext cx="1612265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Amount</a:t>
              </a:r>
              <a:endParaRPr lang="en-US" sz="2000" noProof="1">
                <a:solidFill>
                  <a:srgbClr val="000000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2918460" y="3405594"/>
              <a:ext cx="1612265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Price</a:t>
              </a:r>
              <a:endParaRPr lang="en-US" sz="2000" noProof="1">
                <a:solidFill>
                  <a:srgbClr val="000000"/>
                </a:solidFill>
              </a:endParaRPr>
            </a:p>
          </p:txBody>
        </p:sp>
        <p:sp>
          <p:nvSpPr>
            <p:cNvPr id="20" name="Ellipse 19"/>
            <p:cNvSpPr/>
            <p:nvPr/>
          </p:nvSpPr>
          <p:spPr bwMode="gray">
            <a:xfrm>
              <a:off x="2238836" y="3486746"/>
              <a:ext cx="377696" cy="37769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3600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FFFFFF"/>
                  </a:solidFill>
                </a:rPr>
                <a:t>x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1372949" y="2480274"/>
              <a:ext cx="2109470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Sales</a:t>
              </a:r>
              <a:endParaRPr lang="en-US" sz="2000" noProof="1">
                <a:solidFill>
                  <a:srgbClr val="000000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6710680" y="2480274"/>
              <a:ext cx="2109470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Sales</a:t>
              </a:r>
              <a:endParaRPr lang="en-US" sz="2000" noProof="1">
                <a:solidFill>
                  <a:srgbClr val="000000"/>
                </a:solidFill>
              </a:endParaRPr>
            </a:p>
          </p:txBody>
        </p:sp>
        <p:sp>
          <p:nvSpPr>
            <p:cNvPr id="21" name="Ellipse 20"/>
            <p:cNvSpPr/>
            <p:nvPr/>
          </p:nvSpPr>
          <p:spPr bwMode="gray">
            <a:xfrm>
              <a:off x="4907702" y="2561426"/>
              <a:ext cx="377696" cy="37769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3600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b="1" noProof="1" smtClean="0">
                  <a:solidFill>
                    <a:srgbClr val="FFFFFF"/>
                  </a:solidFill>
                </a:rPr>
                <a:t>-</a:t>
              </a:r>
              <a:endParaRPr lang="en-US" b="1" noProof="1">
                <a:solidFill>
                  <a:srgbClr val="FFFFFF"/>
                </a:solidFill>
              </a:endParaRPr>
            </a:p>
          </p:txBody>
        </p:sp>
        <p:cxnSp>
          <p:nvCxnSpPr>
            <p:cNvPr id="23" name="Gerade Verbindung 22"/>
            <p:cNvCxnSpPr>
              <a:stCxn id="13" idx="3"/>
              <a:endCxn id="21" idx="2"/>
            </p:cNvCxnSpPr>
            <p:nvPr/>
          </p:nvCxnSpPr>
          <p:spPr bwMode="gray">
            <a:xfrm>
              <a:off x="3482419" y="2750274"/>
              <a:ext cx="1425283" cy="0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>
              <a:stCxn id="21" idx="6"/>
              <a:endCxn id="15" idx="1"/>
            </p:cNvCxnSpPr>
            <p:nvPr/>
          </p:nvCxnSpPr>
          <p:spPr bwMode="gray">
            <a:xfrm>
              <a:off x="5285398" y="2750274"/>
              <a:ext cx="1425282" cy="0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>
              <a:stCxn id="17" idx="3"/>
              <a:endCxn id="20" idx="2"/>
            </p:cNvCxnSpPr>
            <p:nvPr/>
          </p:nvCxnSpPr>
          <p:spPr bwMode="gray">
            <a:xfrm>
              <a:off x="1936908" y="3675594"/>
              <a:ext cx="301928" cy="0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>
              <a:stCxn id="20" idx="6"/>
              <a:endCxn id="18" idx="1"/>
            </p:cNvCxnSpPr>
            <p:nvPr/>
          </p:nvCxnSpPr>
          <p:spPr bwMode="gray">
            <a:xfrm>
              <a:off x="2616532" y="3675594"/>
              <a:ext cx="301928" cy="0"/>
            </a:xfrm>
            <a:prstGeom prst="line">
              <a:avLst/>
            </a:prstGeom>
            <a:ln w="12700">
              <a:solidFill>
                <a:srgbClr val="AFAFA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winkelte Verbindung 31"/>
            <p:cNvCxnSpPr>
              <a:stCxn id="14" idx="2"/>
              <a:endCxn id="13" idx="0"/>
            </p:cNvCxnSpPr>
            <p:nvPr/>
          </p:nvCxnSpPr>
          <p:spPr bwMode="gray">
            <a:xfrm rot="5400000">
              <a:off x="3569457" y="953182"/>
              <a:ext cx="385320" cy="2668865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winkelte Verbindung 33"/>
            <p:cNvCxnSpPr>
              <a:stCxn id="13" idx="2"/>
              <a:endCxn id="17" idx="0"/>
            </p:cNvCxnSpPr>
            <p:nvPr/>
          </p:nvCxnSpPr>
          <p:spPr bwMode="gray">
            <a:xfrm rot="5400000">
              <a:off x="1586570" y="2564480"/>
              <a:ext cx="385320" cy="1296908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13" idx="2"/>
              <a:endCxn id="18" idx="0"/>
            </p:cNvCxnSpPr>
            <p:nvPr/>
          </p:nvCxnSpPr>
          <p:spPr bwMode="gray">
            <a:xfrm rot="16200000" flipH="1">
              <a:off x="2883478" y="2564479"/>
              <a:ext cx="385320" cy="1296909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14" idx="2"/>
              <a:endCxn id="15" idx="0"/>
            </p:cNvCxnSpPr>
            <p:nvPr/>
          </p:nvCxnSpPr>
          <p:spPr bwMode="gray">
            <a:xfrm rot="16200000" flipH="1">
              <a:off x="6238322" y="953181"/>
              <a:ext cx="385320" cy="2668866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 bwMode="gray">
            <a:xfrm>
              <a:off x="324643" y="3945593"/>
              <a:ext cx="2103040" cy="185671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180000" rIns="0" bIns="0" anchor="t" anchorCtr="0"/>
            <a:lstStyle/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Product development /</a:t>
              </a:r>
            </a:p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innovation</a:t>
              </a:r>
            </a:p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Product line expansion</a:t>
              </a:r>
            </a:p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product differentiation</a:t>
              </a:r>
            </a:p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New customer groups</a:t>
              </a:r>
            </a:p>
            <a:p>
              <a:pPr marL="139700" indent="-139700">
                <a:spcAft>
                  <a:spcPts val="600"/>
                </a:spcAft>
                <a:buClr>
                  <a:srgbClr val="646464"/>
                </a:buClr>
                <a:buFont typeface="Wingdings" pitchFamily="2" charset="2"/>
                <a:buChar char="§"/>
              </a:pPr>
              <a:r>
                <a:rPr lang="en-US" sz="1400" noProof="1">
                  <a:solidFill>
                    <a:srgbClr val="000000"/>
                  </a:solidFill>
                </a:rPr>
                <a:t>New territories</a:t>
              </a: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2918460" y="3945593"/>
              <a:ext cx="1989242" cy="106372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180000" rIns="0" bIns="0" anchor="t" anchorCtr="0"/>
            <a:lstStyle/>
            <a:p>
              <a:pPr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Factor with the greatest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b="1" noProof="1" smtClean="0"/>
                <a:t>unexploited </a:t>
              </a:r>
              <a:r>
                <a:rPr lang="en-US" sz="1400" b="1" noProof="1" smtClean="0">
                  <a:solidFill>
                    <a:srgbClr val="000000"/>
                  </a:solidFill>
                </a:rPr>
                <a:t>profit potential</a:t>
              </a:r>
              <a:endParaRPr lang="en-US" sz="1400" b="1" noProof="1">
                <a:solidFill>
                  <a:srgbClr val="000000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 bwMode="gray">
            <a:xfrm>
              <a:off x="6710680" y="3020275"/>
              <a:ext cx="2109470" cy="84416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0" tIns="180000" rIns="0" bIns="0" anchor="t" anchorCtr="0"/>
            <a:lstStyle/>
            <a:p>
              <a:pPr>
                <a:spcAft>
                  <a:spcPts val="600"/>
                </a:spcAft>
              </a:pPr>
              <a:r>
                <a:rPr lang="en-US" sz="1400" noProof="1" smtClean="0"/>
                <a:t>High cost reduction potential reached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918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ice Strategies</a:t>
            </a:r>
            <a:endParaRPr lang="en-US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trix with high-price, low price and value-oriented price strategies</a:t>
            </a:r>
            <a:endParaRPr lang="en-US" noProof="1"/>
          </a:p>
        </p:txBody>
      </p:sp>
      <p:sp>
        <p:nvSpPr>
          <p:cNvPr id="17" name="Inhaltsplatzhalter 5"/>
          <p:cNvSpPr txBox="1">
            <a:spLocks/>
          </p:cNvSpPr>
          <p:nvPr/>
        </p:nvSpPr>
        <p:spPr bwMode="gray">
          <a:xfrm>
            <a:off x="6084887" y="1554163"/>
            <a:ext cx="2735263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b="1" noProof="1" smtClean="0"/>
              <a:t>L</a:t>
            </a:r>
            <a:r>
              <a:rPr lang="en-US" b="1" noProof="1" smtClean="0">
                <a:solidFill>
                  <a:srgbClr val="000000"/>
                </a:solidFill>
              </a:rPr>
              <a:t>ow price strategies</a:t>
            </a:r>
            <a:r>
              <a:rPr kumimoji="0" lang="en-US" sz="1800" b="1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:</a:t>
            </a: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/>
            </a:r>
            <a:b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</a:br>
            <a:r>
              <a:rPr lang="en-US" noProof="1" smtClean="0"/>
              <a:t>Traditional approach with the lowest possible price for the product.</a:t>
            </a:r>
          </a:p>
          <a:p>
            <a:pPr marL="18000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b="1" noProof="1" smtClean="0"/>
              <a:t>H</a:t>
            </a:r>
            <a:r>
              <a:rPr lang="en-US" b="1" noProof="1" smtClean="0">
                <a:solidFill>
                  <a:srgbClr val="000000"/>
                </a:solidFill>
              </a:rPr>
              <a:t>igh price strategies</a:t>
            </a:r>
            <a:r>
              <a:rPr lang="en-US" b="1" noProof="1" smtClean="0"/>
              <a:t>:</a:t>
            </a:r>
            <a:r>
              <a:rPr lang="en-US" noProof="1" smtClean="0"/>
              <a:t/>
            </a:r>
            <a:br>
              <a:rPr lang="en-US" noProof="1" smtClean="0"/>
            </a:br>
            <a:r>
              <a:rPr lang="en-US" noProof="1" smtClean="0"/>
              <a:t>Target specific customer through high price level.</a:t>
            </a:r>
          </a:p>
          <a:p>
            <a:pPr marL="18000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b="1" noProof="1" smtClean="0"/>
              <a:t>V</a:t>
            </a:r>
            <a:r>
              <a:rPr lang="en-US" b="1" noProof="1" smtClean="0">
                <a:solidFill>
                  <a:srgbClr val="000000"/>
                </a:solidFill>
              </a:rPr>
              <a:t>alue oriented price strategies</a:t>
            </a:r>
            <a:r>
              <a:rPr lang="en-US" b="1" noProof="1" smtClean="0"/>
              <a:t>:</a:t>
            </a:r>
            <a:r>
              <a:rPr lang="en-US" noProof="1" smtClean="0"/>
              <a:t/>
            </a:r>
            <a:br>
              <a:rPr lang="en-US" noProof="1" smtClean="0"/>
            </a:br>
            <a:r>
              <a:rPr lang="en-US" noProof="1" smtClean="0"/>
              <a:t>Prices of the service correspond exactly to the customer value.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397637" y="1554163"/>
            <a:ext cx="5427525" cy="4377987"/>
            <a:chOff x="397637" y="1554163"/>
            <a:chExt cx="5427525" cy="4377987"/>
          </a:xfrm>
        </p:grpSpPr>
        <p:grpSp>
          <p:nvGrpSpPr>
            <p:cNvPr id="3" name="Gruppieren 25"/>
            <p:cNvGrpSpPr/>
            <p:nvPr/>
          </p:nvGrpSpPr>
          <p:grpSpPr bwMode="gray">
            <a:xfrm>
              <a:off x="677863" y="1554163"/>
              <a:ext cx="5147299" cy="3887787"/>
              <a:chOff x="-8308975" y="-444500"/>
              <a:chExt cx="7778750" cy="5875338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5" name="Rectangle 6"/>
              <p:cNvSpPr>
                <a:spLocks noChangeArrowheads="1"/>
              </p:cNvSpPr>
              <p:nvPr/>
            </p:nvSpPr>
            <p:spPr bwMode="gray">
              <a:xfrm>
                <a:off x="-8308975" y="-444500"/>
                <a:ext cx="7778750" cy="5875338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58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3079" name="Freeform 7"/>
              <p:cNvSpPr>
                <a:spLocks/>
              </p:cNvSpPr>
              <p:nvPr/>
            </p:nvSpPr>
            <p:spPr bwMode="gray">
              <a:xfrm>
                <a:off x="-7310438" y="2490788"/>
                <a:ext cx="6780213" cy="2940050"/>
              </a:xfrm>
              <a:custGeom>
                <a:avLst/>
                <a:gdLst/>
                <a:ahLst/>
                <a:cxnLst>
                  <a:cxn ang="0">
                    <a:pos x="1808" y="784"/>
                  </a:cxn>
                  <a:cxn ang="0">
                    <a:pos x="1808" y="0"/>
                  </a:cxn>
                  <a:cxn ang="0">
                    <a:pos x="0" y="784"/>
                  </a:cxn>
                  <a:cxn ang="0">
                    <a:pos x="1808" y="784"/>
                  </a:cxn>
                </a:cxnLst>
                <a:rect l="0" t="0" r="r" b="b"/>
                <a:pathLst>
                  <a:path w="1808" h="784">
                    <a:moveTo>
                      <a:pt x="1808" y="784"/>
                    </a:moveTo>
                    <a:cubicBezTo>
                      <a:pt x="1808" y="0"/>
                      <a:pt x="1808" y="0"/>
                      <a:pt x="1808" y="0"/>
                    </a:cubicBezTo>
                    <a:cubicBezTo>
                      <a:pt x="1014" y="0"/>
                      <a:pt x="220" y="573"/>
                      <a:pt x="0" y="784"/>
                    </a:cubicBezTo>
                    <a:lnTo>
                      <a:pt x="1808" y="78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58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3080" name="Freeform 8"/>
              <p:cNvSpPr>
                <a:spLocks/>
              </p:cNvSpPr>
              <p:nvPr/>
            </p:nvSpPr>
            <p:spPr bwMode="gray">
              <a:xfrm>
                <a:off x="-8308975" y="-444500"/>
                <a:ext cx="6832600" cy="2935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783"/>
                  </a:cxn>
                  <a:cxn ang="0">
                    <a:pos x="1822" y="0"/>
                  </a:cxn>
                  <a:cxn ang="0">
                    <a:pos x="0" y="0"/>
                  </a:cxn>
                </a:cxnLst>
                <a:rect l="0" t="0" r="r" b="b"/>
                <a:pathLst>
                  <a:path w="1822" h="783">
                    <a:moveTo>
                      <a:pt x="0" y="0"/>
                    </a:moveTo>
                    <a:cubicBezTo>
                      <a:pt x="0" y="783"/>
                      <a:pt x="0" y="783"/>
                      <a:pt x="0" y="783"/>
                    </a:cubicBezTo>
                    <a:cubicBezTo>
                      <a:pt x="794" y="783"/>
                      <a:pt x="1601" y="210"/>
                      <a:pt x="182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58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3081" name="Freeform 9"/>
              <p:cNvSpPr>
                <a:spLocks/>
              </p:cNvSpPr>
              <p:nvPr/>
            </p:nvSpPr>
            <p:spPr bwMode="gray">
              <a:xfrm>
                <a:off x="-8308975" y="-444500"/>
                <a:ext cx="7778750" cy="5875338"/>
              </a:xfrm>
              <a:custGeom>
                <a:avLst/>
                <a:gdLst/>
                <a:ahLst/>
                <a:cxnLst>
                  <a:cxn ang="0">
                    <a:pos x="0" y="3701"/>
                  </a:cxn>
                  <a:cxn ang="0">
                    <a:pos x="4900" y="0"/>
                  </a:cxn>
                  <a:cxn ang="0">
                    <a:pos x="0" y="3701"/>
                  </a:cxn>
                </a:cxnLst>
                <a:rect l="0" t="0" r="r" b="b"/>
                <a:pathLst>
                  <a:path w="4900" h="3701">
                    <a:moveTo>
                      <a:pt x="0" y="3701"/>
                    </a:moveTo>
                    <a:lnTo>
                      <a:pt x="4900" y="0"/>
                    </a:lnTo>
                    <a:lnTo>
                      <a:pt x="0" y="370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3082" name="Line 10"/>
              <p:cNvSpPr>
                <a:spLocks noChangeShapeType="1"/>
              </p:cNvSpPr>
              <p:nvPr/>
            </p:nvSpPr>
            <p:spPr bwMode="gray">
              <a:xfrm flipV="1">
                <a:off x="-8308975" y="-444500"/>
                <a:ext cx="7778750" cy="5875338"/>
              </a:xfrm>
              <a:prstGeom prst="line">
                <a:avLst/>
              </a:prstGeom>
              <a:noFill/>
              <a:ln w="158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sp>
          <p:nvSpPr>
            <p:cNvPr id="27" name="Textfeld 26"/>
            <p:cNvSpPr txBox="1"/>
            <p:nvPr/>
          </p:nvSpPr>
          <p:spPr bwMode="gray">
            <a:xfrm rot="16200000">
              <a:off x="60859" y="1890941"/>
              <a:ext cx="88899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b="1" noProof="1" smtClean="0"/>
                <a:t>high</a:t>
              </a:r>
              <a:endParaRPr lang="en-US" sz="1400" b="1" noProof="1"/>
            </a:p>
          </p:txBody>
        </p:sp>
        <p:sp>
          <p:nvSpPr>
            <p:cNvPr id="28" name="Textfeld 27"/>
            <p:cNvSpPr txBox="1"/>
            <p:nvPr/>
          </p:nvSpPr>
          <p:spPr bwMode="gray">
            <a:xfrm rot="16200000">
              <a:off x="60859" y="4889730"/>
              <a:ext cx="88900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noProof="1" smtClean="0"/>
                <a:t>low</a:t>
              </a:r>
              <a:endParaRPr lang="en-US" sz="1400" b="1" noProof="1"/>
            </a:p>
          </p:txBody>
        </p:sp>
        <p:sp>
          <p:nvSpPr>
            <p:cNvPr id="29" name="Textfeld 28"/>
            <p:cNvSpPr txBox="1"/>
            <p:nvPr/>
          </p:nvSpPr>
          <p:spPr bwMode="gray">
            <a:xfrm rot="16200000">
              <a:off x="-549535" y="3390335"/>
              <a:ext cx="210979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noProof="1" smtClean="0"/>
                <a:t>Price level</a:t>
              </a:r>
              <a:endParaRPr lang="en-US" sz="1400" b="1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4841278" y="5501263"/>
              <a:ext cx="98388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b="1" noProof="1" smtClean="0"/>
                <a:t>high</a:t>
              </a:r>
              <a:endParaRPr lang="en-US" sz="1400" b="1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677862" y="5501263"/>
              <a:ext cx="98388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noProof="1" smtClean="0"/>
                <a:t>low</a:t>
              </a:r>
              <a:endParaRPr lang="en-US" sz="1400" b="1" noProof="1"/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1859588" y="5501263"/>
              <a:ext cx="278385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noProof="1" smtClean="0"/>
                <a:t>Service/Performance </a:t>
              </a:r>
              <a:br>
                <a:rPr lang="en-US" sz="1400" b="1" noProof="1" smtClean="0"/>
              </a:br>
              <a:r>
                <a:rPr lang="en-US" sz="1400" b="1" noProof="1" smtClean="0"/>
                <a:t>(Customer value)</a:t>
              </a:r>
              <a:endParaRPr lang="en-US" sz="1400" b="1" noProof="1"/>
            </a:p>
          </p:txBody>
        </p:sp>
        <p:sp>
          <p:nvSpPr>
            <p:cNvPr id="36" name="Textfeld 35"/>
            <p:cNvSpPr txBox="1"/>
            <p:nvPr/>
          </p:nvSpPr>
          <p:spPr bwMode="gray">
            <a:xfrm>
              <a:off x="1084262" y="1846592"/>
              <a:ext cx="171576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noProof="1" smtClean="0">
                  <a:solidFill>
                    <a:srgbClr val="FFFFFF"/>
                  </a:solidFill>
                </a:rPr>
                <a:t>High price strategies</a:t>
              </a:r>
              <a:endParaRPr lang="en-US" sz="1400" b="1" noProof="1">
                <a:solidFill>
                  <a:srgbClr val="FFFFFF"/>
                </a:solidFill>
              </a:endParaRPr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1084261" y="3676134"/>
              <a:ext cx="1397681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noProof="1" smtClean="0">
                  <a:solidFill>
                    <a:srgbClr val="080808"/>
                  </a:solidFill>
                </a:rPr>
                <a:t>Value oriented price strategies</a:t>
              </a:r>
              <a:endParaRPr lang="en-US" sz="1400" b="1" noProof="1">
                <a:solidFill>
                  <a:srgbClr val="080808"/>
                </a:solidFill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3785555" y="4933434"/>
              <a:ext cx="1715766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b="1" noProof="1" smtClean="0">
                  <a:solidFill>
                    <a:srgbClr val="000000"/>
                  </a:solidFill>
                </a:rPr>
                <a:t>Low price strategies</a:t>
              </a:r>
            </a:p>
            <a:p>
              <a:pPr algn="r"/>
              <a:endParaRPr lang="en-US" sz="1400" b="1" noProof="1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Leaning/Experience Curv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very doubling of the cumulated Revenue of a product results in a cost lowering potential between 10 and 30%</a:t>
            </a:r>
          </a:p>
          <a:p>
            <a:endParaRPr lang="en-US" noProof="1"/>
          </a:p>
        </p:txBody>
      </p:sp>
      <p:grpSp>
        <p:nvGrpSpPr>
          <p:cNvPr id="23" name="Gruppieren 22"/>
          <p:cNvGrpSpPr/>
          <p:nvPr/>
        </p:nvGrpSpPr>
        <p:grpSpPr>
          <a:xfrm>
            <a:off x="281377" y="1522961"/>
            <a:ext cx="8539565" cy="4329405"/>
            <a:chOff x="281377" y="1522961"/>
            <a:chExt cx="8539565" cy="4329405"/>
          </a:xfrm>
        </p:grpSpPr>
        <p:sp>
          <p:nvSpPr>
            <p:cNvPr id="25" name="Rectangle 7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78702" y="1553391"/>
              <a:ext cx="8142240" cy="3882598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buFont typeface="Wingdings" pitchFamily="2" charset="2"/>
                <a:buChar char="§"/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graphicFrame>
          <p:nvGraphicFramePr>
            <p:cNvPr id="17" name="Diagramm 16"/>
            <p:cNvGraphicFramePr/>
            <p:nvPr>
              <p:extLst>
                <p:ext uri="{D42A27DB-BD31-4B8C-83A1-F6EECF244321}">
                  <p14:modId xmlns:p14="http://schemas.microsoft.com/office/powerpoint/2010/main" val="374954623"/>
                </p:ext>
              </p:extLst>
            </p:nvPr>
          </p:nvGraphicFramePr>
          <p:xfrm>
            <a:off x="537028" y="1522961"/>
            <a:ext cx="8283913" cy="406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8" name="Textfeld 17"/>
            <p:cNvSpPr txBox="1"/>
            <p:nvPr/>
          </p:nvSpPr>
          <p:spPr bwMode="gray">
            <a:xfrm rot="16200000">
              <a:off x="-107132" y="3380110"/>
              <a:ext cx="1126719" cy="349702"/>
            </a:xfrm>
            <a:prstGeom prst="rect">
              <a:avLst/>
            </a:prstGeom>
            <a:noFill/>
          </p:spPr>
          <p:txBody>
            <a:bodyPr wrap="none" tIns="36000" bIns="36000" rtlCol="0">
              <a:spAutoFit/>
            </a:bodyPr>
            <a:lstStyle/>
            <a:p>
              <a:pPr algn="ctr"/>
              <a:r>
                <a:rPr lang="en-US" b="1" noProof="1" smtClean="0"/>
                <a:t>Unit costs</a:t>
              </a:r>
              <a:endParaRPr lang="en-US" b="1" noProof="1"/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2824309" y="5502664"/>
              <a:ext cx="3709350" cy="349702"/>
            </a:xfrm>
            <a:prstGeom prst="rect">
              <a:avLst/>
            </a:prstGeom>
            <a:noFill/>
          </p:spPr>
          <p:txBody>
            <a:bodyPr wrap="none" tIns="36000" bIns="36000" rtlCol="0">
              <a:spAutoFit/>
            </a:bodyPr>
            <a:lstStyle/>
            <a:p>
              <a:pPr algn="ctr"/>
              <a:r>
                <a:rPr lang="en-US" b="1" noProof="1" smtClean="0"/>
                <a:t>Cumulated volume and market share</a:t>
              </a:r>
              <a:endParaRPr lang="en-US" b="1" noProof="1"/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7703585" y="3220812"/>
              <a:ext cx="1117357" cy="503590"/>
            </a:xfrm>
            <a:prstGeom prst="rect">
              <a:avLst/>
            </a:prstGeom>
            <a:noFill/>
          </p:spPr>
          <p:txBody>
            <a:bodyPr wrap="none" tIns="36000" bIns="36000" rtlCol="0">
              <a:spAutoFit/>
            </a:bodyPr>
            <a:lstStyle/>
            <a:p>
              <a:pPr algn="r"/>
              <a:r>
                <a:rPr lang="en-US" sz="1400" noProof="1" smtClean="0">
                  <a:solidFill>
                    <a:srgbClr val="000000"/>
                  </a:solidFill>
                </a:rPr>
                <a:t>Market price</a:t>
              </a:r>
            </a:p>
            <a:p>
              <a:pPr algn="r"/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1" name="Textfeld 20"/>
            <p:cNvSpPr txBox="1"/>
            <p:nvPr/>
          </p:nvSpPr>
          <p:spPr bwMode="gray">
            <a:xfrm>
              <a:off x="7741800" y="4276988"/>
              <a:ext cx="1079142" cy="288147"/>
            </a:xfrm>
            <a:prstGeom prst="rect">
              <a:avLst/>
            </a:prstGeom>
            <a:noFill/>
          </p:spPr>
          <p:txBody>
            <a:bodyPr wrap="none" tIns="36000" bIns="36000" rtlCol="0">
              <a:spAutoFit/>
            </a:bodyPr>
            <a:lstStyle/>
            <a:p>
              <a:pPr algn="r"/>
              <a:r>
                <a:rPr lang="en-US" sz="1400" noProof="1" smtClean="0">
                  <a:solidFill>
                    <a:srgbClr val="000000"/>
                  </a:solidFill>
                </a:rPr>
                <a:t>20% Decline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7741800" y="4891314"/>
              <a:ext cx="1079142" cy="288147"/>
            </a:xfrm>
            <a:prstGeom prst="rect">
              <a:avLst/>
            </a:prstGeom>
            <a:noFill/>
          </p:spPr>
          <p:txBody>
            <a:bodyPr wrap="none" tIns="36000" bIns="36000" rtlCol="0">
              <a:spAutoFit/>
            </a:bodyPr>
            <a:lstStyle/>
            <a:p>
              <a:pPr algn="r"/>
              <a:r>
                <a:rPr lang="en-US" sz="1400" noProof="1" smtClean="0">
                  <a:solidFill>
                    <a:srgbClr val="000000"/>
                  </a:solidFill>
                </a:rPr>
                <a:t>30% Decline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DataDriven_Label"/>
          <p:cNvGrpSpPr/>
          <p:nvPr/>
        </p:nvGrpSpPr>
        <p:grpSpPr>
          <a:xfrm>
            <a:off x="9161418" y="534489"/>
            <a:ext cx="323850" cy="1018902"/>
            <a:chOff x="9144000" y="543198"/>
            <a:chExt cx="323850" cy="101890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1" name="Rechteck 30"/>
            <p:cNvSpPr/>
            <p:nvPr/>
          </p:nvSpPr>
          <p:spPr bwMode="auto">
            <a:xfrm>
              <a:off x="9144000" y="543198"/>
              <a:ext cx="323850" cy="101890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vert="vert270" rtlCol="0" anchor="ctr"/>
            <a:lstStyle/>
            <a:p>
              <a:pPr algn="ctr"/>
              <a:r>
                <a:rPr lang="en-US" sz="1200" noProof="1" smtClean="0">
                  <a:solidFill>
                    <a:srgbClr val="FFFFFF"/>
                  </a:solidFill>
                </a:rPr>
                <a:t>DATADRIVEN</a:t>
              </a:r>
              <a:endParaRPr lang="en-US" sz="1200" noProof="1">
                <a:solidFill>
                  <a:srgbClr val="FFFFFF"/>
                </a:solidFill>
              </a:endParaRPr>
            </a:p>
          </p:txBody>
        </p:sp>
        <p:grpSp>
          <p:nvGrpSpPr>
            <p:cNvPr id="5" name="Gruppieren 36"/>
            <p:cNvGrpSpPr/>
            <p:nvPr/>
          </p:nvGrpSpPr>
          <p:grpSpPr>
            <a:xfrm>
              <a:off x="9144000" y="569121"/>
              <a:ext cx="297657" cy="962022"/>
              <a:chOff x="9144000" y="569121"/>
              <a:chExt cx="297657" cy="962022"/>
            </a:xfrm>
          </p:grpSpPr>
          <p:cxnSp>
            <p:nvCxnSpPr>
              <p:cNvPr id="33" name="Gerade Verbindung 32"/>
              <p:cNvCxnSpPr/>
              <p:nvPr/>
            </p:nvCxnSpPr>
            <p:spPr>
              <a:xfrm>
                <a:off x="9144000" y="569121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/>
            </p:nvCxnSpPr>
            <p:spPr>
              <a:xfrm rot="5400000" flipH="1" flipV="1">
                <a:off x="8960646" y="1050133"/>
                <a:ext cx="962021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/>
            </p:nvCxnSpPr>
            <p:spPr>
              <a:xfrm>
                <a:off x="9144000" y="1531143"/>
                <a:ext cx="297656" cy="0"/>
              </a:xfrm>
              <a:prstGeom prst="line">
                <a:avLst/>
              </a:prstGeom>
              <a:ln w="3175">
                <a:solidFill>
                  <a:srgbClr val="AFAFAF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Development Phases of Marketing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Development phases in the last 100 years</a:t>
            </a:r>
            <a:endParaRPr lang="en-US" dirty="0"/>
          </a:p>
        </p:txBody>
      </p:sp>
      <p:grpSp>
        <p:nvGrpSpPr>
          <p:cNvPr id="39" name="Gruppieren 38"/>
          <p:cNvGrpSpPr/>
          <p:nvPr/>
        </p:nvGrpSpPr>
        <p:grpSpPr>
          <a:xfrm>
            <a:off x="323850" y="1493520"/>
            <a:ext cx="8497092" cy="4743125"/>
            <a:chOff x="323850" y="1493520"/>
            <a:chExt cx="8497092" cy="4743125"/>
          </a:xfrm>
        </p:grpSpPr>
        <p:sp>
          <p:nvSpPr>
            <p:cNvPr id="47" name="Rechteck 46"/>
            <p:cNvSpPr/>
            <p:nvPr/>
          </p:nvSpPr>
          <p:spPr bwMode="gray">
            <a:xfrm>
              <a:off x="7186780" y="1493520"/>
              <a:ext cx="1634162" cy="6966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Customer / individual orientation</a:t>
              </a:r>
              <a:endParaRPr lang="en-US" sz="1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8" name="Rechteck 47"/>
            <p:cNvSpPr/>
            <p:nvPr/>
          </p:nvSpPr>
          <p:spPr bwMode="gray">
            <a:xfrm>
              <a:off x="5443857" y="1493520"/>
              <a:ext cx="1634162" cy="6966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Market and competition orientation</a:t>
              </a: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3700934" y="1493520"/>
              <a:ext cx="1634162" cy="6966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Sales and distribution orientation</a:t>
              </a: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323850" y="1493520"/>
              <a:ext cx="3268323" cy="6966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Production </a:t>
              </a:r>
              <a:b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orientation</a:t>
              </a: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7186780" y="2301240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dirty="0" smtClean="0"/>
                <a:t>market oriented company management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7186780" y="2696011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customer relationship</a:t>
              </a:r>
              <a:br>
                <a:rPr lang="en-US" sz="1000" smtClean="0"/>
              </a:br>
              <a:r>
                <a:rPr lang="en-US" sz="1000" smtClean="0"/>
                <a:t> management (CRM)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7186780" y="3090782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marketing implementation</a:t>
              </a:r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7186780" y="3485553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b="1" noProof="1" smtClean="0">
                  <a:solidFill>
                    <a:srgbClr val="FFFFFF"/>
                  </a:solidFill>
                  <a:cs typeface="Arial" charset="0"/>
                </a:rPr>
                <a:t>marketing mix</a:t>
              </a:r>
              <a:endParaRPr lang="en-US" sz="10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8" name="Rechteck 57"/>
            <p:cNvSpPr/>
            <p:nvPr/>
          </p:nvSpPr>
          <p:spPr bwMode="gray">
            <a:xfrm>
              <a:off x="7186780" y="3880324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/>
              <a:r>
                <a:rPr lang="en-US" sz="1000" smtClean="0"/>
                <a:t>product policy</a:t>
              </a:r>
              <a:endParaRPr lang="en-US" sz="1000" dirty="0"/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7186780" y="427509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price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7186780" y="4669866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communica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Rechteck 60"/>
            <p:cNvSpPr/>
            <p:nvPr/>
          </p:nvSpPr>
          <p:spPr bwMode="gray">
            <a:xfrm>
              <a:off x="7186780" y="5064637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distribu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Rechteck 61"/>
            <p:cNvSpPr/>
            <p:nvPr/>
          </p:nvSpPr>
          <p:spPr bwMode="gray">
            <a:xfrm>
              <a:off x="7186780" y="545940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noProof="1">
                  <a:solidFill>
                    <a:srgbClr val="000000"/>
                  </a:solidFill>
                  <a:cs typeface="Arial" charset="0"/>
                </a:rPr>
                <a:t>m</a:t>
              </a: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ix extension</a:t>
              </a:r>
            </a:p>
          </p:txBody>
        </p:sp>
        <p:sp>
          <p:nvSpPr>
            <p:cNvPr id="63" name="Rechteck 62"/>
            <p:cNvSpPr/>
            <p:nvPr/>
          </p:nvSpPr>
          <p:spPr bwMode="gray">
            <a:xfrm>
              <a:off x="5443857" y="3485553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marketing implementation</a:t>
              </a:r>
            </a:p>
          </p:txBody>
        </p:sp>
        <p:sp>
          <p:nvSpPr>
            <p:cNvPr id="64" name="Rechteck 63"/>
            <p:cNvSpPr/>
            <p:nvPr/>
          </p:nvSpPr>
          <p:spPr bwMode="gray">
            <a:xfrm>
              <a:off x="5443857" y="3880324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b="1" noProof="1" smtClean="0">
                  <a:solidFill>
                    <a:srgbClr val="FFFFFF"/>
                  </a:solidFill>
                  <a:cs typeface="Arial" charset="0"/>
                </a:rPr>
                <a:t>marketing mix</a:t>
              </a:r>
              <a:endParaRPr lang="en-US" sz="10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5" name="Rechteck 64"/>
            <p:cNvSpPr/>
            <p:nvPr/>
          </p:nvSpPr>
          <p:spPr bwMode="gray">
            <a:xfrm>
              <a:off x="5443857" y="427509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product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6" name="Rechteck 65"/>
            <p:cNvSpPr/>
            <p:nvPr/>
          </p:nvSpPr>
          <p:spPr bwMode="gray">
            <a:xfrm>
              <a:off x="5443857" y="4669866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price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Rechteck 66"/>
            <p:cNvSpPr/>
            <p:nvPr/>
          </p:nvSpPr>
          <p:spPr bwMode="gray">
            <a:xfrm>
              <a:off x="5443857" y="5064637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communica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Rechteck 67"/>
            <p:cNvSpPr/>
            <p:nvPr/>
          </p:nvSpPr>
          <p:spPr bwMode="gray">
            <a:xfrm>
              <a:off x="5443857" y="545940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distribu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3700934" y="3880324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b="1" noProof="1" smtClean="0">
                  <a:solidFill>
                    <a:srgbClr val="FFFFFF"/>
                  </a:solidFill>
                  <a:cs typeface="Arial" charset="0"/>
                </a:rPr>
                <a:t>marketing mix</a:t>
              </a:r>
            </a:p>
          </p:txBody>
        </p:sp>
        <p:sp>
          <p:nvSpPr>
            <p:cNvPr id="70" name="Rechteck 69"/>
            <p:cNvSpPr/>
            <p:nvPr/>
          </p:nvSpPr>
          <p:spPr bwMode="gray">
            <a:xfrm>
              <a:off x="3700934" y="427509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product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1" name="Rechteck 70"/>
            <p:cNvSpPr/>
            <p:nvPr/>
          </p:nvSpPr>
          <p:spPr bwMode="gray">
            <a:xfrm>
              <a:off x="3700934" y="4669866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price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Rechteck 71"/>
            <p:cNvSpPr/>
            <p:nvPr/>
          </p:nvSpPr>
          <p:spPr bwMode="gray">
            <a:xfrm>
              <a:off x="3700934" y="5064637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communica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3" name="Rechteck 72"/>
            <p:cNvSpPr/>
            <p:nvPr/>
          </p:nvSpPr>
          <p:spPr bwMode="gray">
            <a:xfrm>
              <a:off x="3700934" y="5459405"/>
              <a:ext cx="1634162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distribution policy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4" name="Rechteck 73"/>
            <p:cNvSpPr/>
            <p:nvPr/>
          </p:nvSpPr>
          <p:spPr bwMode="gray">
            <a:xfrm>
              <a:off x="2011172" y="5064637"/>
              <a:ext cx="1581000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advertisement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Rechteck 74"/>
            <p:cNvSpPr/>
            <p:nvPr/>
          </p:nvSpPr>
          <p:spPr bwMode="gray">
            <a:xfrm>
              <a:off x="2011172" y="5459405"/>
              <a:ext cx="1581000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sales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6" name="Rechteck 75"/>
            <p:cNvSpPr/>
            <p:nvPr/>
          </p:nvSpPr>
          <p:spPr bwMode="gray">
            <a:xfrm>
              <a:off x="323850" y="5459405"/>
              <a:ext cx="1581000" cy="3429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900"/>
                </a:lnSpc>
                <a:buClr>
                  <a:srgbClr val="808080"/>
                </a:buClr>
                <a:defRPr/>
              </a:pPr>
              <a:r>
                <a:rPr lang="en-US" sz="1000" smtClean="0"/>
                <a:t>sales</a:t>
              </a:r>
              <a:endParaRPr lang="en-US" sz="10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35" name="Gerade Verbindung 34"/>
            <p:cNvCxnSpPr/>
            <p:nvPr/>
          </p:nvCxnSpPr>
          <p:spPr>
            <a:xfrm>
              <a:off x="3646554" y="2190206"/>
              <a:ext cx="0" cy="2874431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>
            <a:xfrm>
              <a:off x="5389477" y="2190206"/>
              <a:ext cx="0" cy="1638247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>
            <a:xfrm>
              <a:off x="7132400" y="2190206"/>
              <a:ext cx="0" cy="1295347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40"/>
            <p:cNvSpPr/>
            <p:nvPr/>
          </p:nvSpPr>
          <p:spPr bwMode="gray">
            <a:xfrm>
              <a:off x="7186780" y="5893745"/>
              <a:ext cx="1634162" cy="3429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/>
              <a:r>
                <a:rPr lang="en-US" sz="1200" b="1" smtClean="0">
                  <a:solidFill>
                    <a:prstClr val="black"/>
                  </a:solidFill>
                </a:rPr>
                <a:t>since 1990</a:t>
              </a:r>
              <a:endParaRPr lang="en-US" sz="1200" b="1" dirty="0" smtClean="0">
                <a:solidFill>
                  <a:prstClr val="black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5443857" y="5893745"/>
              <a:ext cx="1634162" cy="3429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/>
              <a:r>
                <a:rPr lang="en-US" sz="1200" b="1" smtClean="0">
                  <a:solidFill>
                    <a:prstClr val="black"/>
                  </a:solidFill>
                </a:rPr>
                <a:t>approx. 1980 - 1990 </a:t>
              </a:r>
              <a:endParaRPr lang="en-US" sz="1200" b="1" dirty="0" smtClean="0">
                <a:solidFill>
                  <a:prstClr val="black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 bwMode="gray">
            <a:xfrm>
              <a:off x="3700934" y="5893745"/>
              <a:ext cx="1634162" cy="3429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algn="ctr"/>
              <a:r>
                <a:rPr lang="en-US" sz="1200" b="1" smtClean="0">
                  <a:solidFill>
                    <a:prstClr val="black"/>
                  </a:solidFill>
                </a:rPr>
                <a:t>approx. 1950 - 1980</a:t>
              </a:r>
              <a:endParaRPr lang="en-US" sz="1200" b="1" dirty="0" smtClean="0">
                <a:solidFill>
                  <a:prstClr val="black"/>
                </a:solidFill>
              </a:endParaRPr>
            </a:p>
          </p:txBody>
        </p:sp>
        <p:sp>
          <p:nvSpPr>
            <p:cNvPr id="44" name="Rechteck 43"/>
            <p:cNvSpPr/>
            <p:nvPr/>
          </p:nvSpPr>
          <p:spPr bwMode="gray">
            <a:xfrm>
              <a:off x="2011172" y="5893745"/>
              <a:ext cx="1581000" cy="3429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lvl="0" algn="ctr"/>
              <a:r>
                <a:rPr lang="en-US" sz="1200" b="1" smtClean="0">
                  <a:solidFill>
                    <a:prstClr val="black"/>
                  </a:solidFill>
                </a:rPr>
                <a:t>approx. 1920 - 1950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 bwMode="gray">
            <a:xfrm>
              <a:off x="323850" y="5893745"/>
              <a:ext cx="1581000" cy="3429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0"/>
            <a:lstStyle/>
            <a:p>
              <a:pPr lvl="0" algn="ctr"/>
              <a:r>
                <a:rPr lang="en-US" sz="1200" b="1" smtClean="0">
                  <a:solidFill>
                    <a:prstClr val="black"/>
                  </a:solidFill>
                </a:rPr>
                <a:t>1900 - 1920</a:t>
              </a:r>
              <a:endParaRPr lang="en-US" sz="12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567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Break-Even Analysi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valuation model to determine the sales volume required to achieve</a:t>
            </a:r>
            <a:br>
              <a:rPr lang="en-US" noProof="1" smtClean="0"/>
            </a:br>
            <a:r>
              <a:rPr lang="en-US" noProof="1" smtClean="0"/>
              <a:t>the break-even point</a:t>
            </a:r>
            <a:endParaRPr lang="en-US" noProof="1"/>
          </a:p>
        </p:txBody>
      </p:sp>
      <p:grpSp>
        <p:nvGrpSpPr>
          <p:cNvPr id="28" name="Gruppieren 27"/>
          <p:cNvGrpSpPr/>
          <p:nvPr/>
        </p:nvGrpSpPr>
        <p:grpSpPr>
          <a:xfrm>
            <a:off x="333374" y="1485901"/>
            <a:ext cx="9189702" cy="4461511"/>
            <a:chOff x="333374" y="1485901"/>
            <a:chExt cx="9189702" cy="4461511"/>
          </a:xfrm>
        </p:grpSpPr>
        <p:sp>
          <p:nvSpPr>
            <p:cNvPr id="53" name="Freihandform 52"/>
            <p:cNvSpPr/>
            <p:nvPr/>
          </p:nvSpPr>
          <p:spPr bwMode="auto">
            <a:xfrm>
              <a:off x="4533260" y="1653540"/>
              <a:ext cx="3540548" cy="1874520"/>
            </a:xfrm>
            <a:custGeom>
              <a:avLst/>
              <a:gdLst>
                <a:gd name="connsiteX0" fmla="*/ 0 w 3733800"/>
                <a:gd name="connsiteY0" fmla="*/ 1874520 h 1874520"/>
                <a:gd name="connsiteX1" fmla="*/ 3726180 w 3733800"/>
                <a:gd name="connsiteY1" fmla="*/ 0 h 1874520"/>
                <a:gd name="connsiteX2" fmla="*/ 3733800 w 3733800"/>
                <a:gd name="connsiteY2" fmla="*/ 937260 h 1874520"/>
                <a:gd name="connsiteX3" fmla="*/ 0 w 3733800"/>
                <a:gd name="connsiteY3" fmla="*/ 187452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33800" h="1874520">
                  <a:moveTo>
                    <a:pt x="0" y="1874520"/>
                  </a:moveTo>
                  <a:lnTo>
                    <a:pt x="3726180" y="0"/>
                  </a:lnTo>
                  <a:lnTo>
                    <a:pt x="3733800" y="937260"/>
                  </a:lnTo>
                  <a:lnTo>
                    <a:pt x="0" y="187452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51" name="Freihandform 50"/>
            <p:cNvSpPr/>
            <p:nvPr/>
          </p:nvSpPr>
          <p:spPr bwMode="auto">
            <a:xfrm>
              <a:off x="674785" y="3520440"/>
              <a:ext cx="3894603" cy="2057400"/>
            </a:xfrm>
            <a:custGeom>
              <a:avLst/>
              <a:gdLst>
                <a:gd name="connsiteX0" fmla="*/ 0 w 4107180"/>
                <a:gd name="connsiteY0" fmla="*/ 2057400 h 2057400"/>
                <a:gd name="connsiteX1" fmla="*/ 0 w 4107180"/>
                <a:gd name="connsiteY1" fmla="*/ 1028700 h 2057400"/>
                <a:gd name="connsiteX2" fmla="*/ 4107180 w 4107180"/>
                <a:gd name="connsiteY2" fmla="*/ 0 h 2057400"/>
                <a:gd name="connsiteX3" fmla="*/ 0 w 4107180"/>
                <a:gd name="connsiteY3" fmla="*/ 205740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07180" h="2057400">
                  <a:moveTo>
                    <a:pt x="0" y="2057400"/>
                  </a:moveTo>
                  <a:lnTo>
                    <a:pt x="0" y="1028700"/>
                  </a:lnTo>
                  <a:lnTo>
                    <a:pt x="4107180" y="0"/>
                  </a:lnTo>
                  <a:lnTo>
                    <a:pt x="0" y="205740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4" name="Gerade Verbindung mit Pfeil 23"/>
            <p:cNvCxnSpPr/>
            <p:nvPr/>
          </p:nvCxnSpPr>
          <p:spPr bwMode="gray">
            <a:xfrm rot="5400000" flipH="1" flipV="1">
              <a:off x="-1269863" y="3649664"/>
              <a:ext cx="3886199" cy="1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mit Pfeil 24"/>
            <p:cNvCxnSpPr/>
            <p:nvPr/>
          </p:nvCxnSpPr>
          <p:spPr bwMode="gray">
            <a:xfrm>
              <a:off x="674741" y="5591174"/>
              <a:ext cx="7713683" cy="0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 bwMode="gray">
            <a:xfrm rot="16200000">
              <a:off x="-501064" y="2481964"/>
              <a:ext cx="2008738" cy="33986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 Cost of sales €</a:t>
              </a:r>
              <a:endParaRPr lang="en-US" sz="1400" b="1" noProof="1"/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7262625" y="5600700"/>
              <a:ext cx="1125799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Quantity</a:t>
              </a:r>
              <a:endParaRPr lang="en-US" sz="1400" b="1" noProof="1"/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3724715" y="5600700"/>
              <a:ext cx="1973352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400" b="1" noProof="1" smtClean="0"/>
                <a:t>Break-even quantity</a:t>
              </a:r>
              <a:endParaRPr lang="en-US" sz="1400" b="1" noProof="1"/>
            </a:p>
          </p:txBody>
        </p:sp>
        <p:cxnSp>
          <p:nvCxnSpPr>
            <p:cNvPr id="31" name="Gerade Verbindung 30"/>
            <p:cNvCxnSpPr/>
            <p:nvPr/>
          </p:nvCxnSpPr>
          <p:spPr bwMode="gray">
            <a:xfrm>
              <a:off x="4554937" y="3528060"/>
              <a:ext cx="0" cy="2078355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feld 38"/>
            <p:cNvSpPr txBox="1"/>
            <p:nvPr/>
          </p:nvSpPr>
          <p:spPr bwMode="gray">
            <a:xfrm rot="20284765">
              <a:off x="1961812" y="4061460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200" noProof="1" smtClean="0"/>
                <a:t>loss</a:t>
              </a:r>
              <a:endParaRPr lang="en-US" sz="1200" noProof="1"/>
            </a:p>
          </p:txBody>
        </p:sp>
        <p:cxnSp>
          <p:nvCxnSpPr>
            <p:cNvPr id="43" name="Gerade Verbindung 42"/>
            <p:cNvCxnSpPr/>
            <p:nvPr/>
          </p:nvCxnSpPr>
          <p:spPr bwMode="gray">
            <a:xfrm flipH="1">
              <a:off x="674741" y="3528061"/>
              <a:ext cx="3880196" cy="0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/>
            <p:cNvSpPr txBox="1"/>
            <p:nvPr/>
          </p:nvSpPr>
          <p:spPr bwMode="gray">
            <a:xfrm>
              <a:off x="673236" y="3181349"/>
              <a:ext cx="1660443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400" b="1" noProof="1" smtClean="0"/>
                <a:t>Break-even sales</a:t>
              </a:r>
              <a:endParaRPr lang="en-US" sz="1400" b="1" noProof="1"/>
            </a:p>
          </p:txBody>
        </p:sp>
        <p:cxnSp>
          <p:nvCxnSpPr>
            <p:cNvPr id="47" name="Gerade Verbindung 46"/>
            <p:cNvCxnSpPr>
              <a:endCxn id="53" idx="1"/>
            </p:cNvCxnSpPr>
            <p:nvPr/>
          </p:nvCxnSpPr>
          <p:spPr>
            <a:xfrm flipV="1">
              <a:off x="673236" y="1653540"/>
              <a:ext cx="7393347" cy="3937634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>
            <a:xfrm flipV="1">
              <a:off x="674741" y="2590800"/>
              <a:ext cx="7399067" cy="195834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>
              <a:stCxn id="51" idx="1"/>
            </p:cNvCxnSpPr>
            <p:nvPr/>
          </p:nvCxnSpPr>
          <p:spPr>
            <a:xfrm>
              <a:off x="674785" y="4549140"/>
              <a:ext cx="7391798" cy="0"/>
            </a:xfrm>
            <a:prstGeom prst="line">
              <a:avLst/>
            </a:prstGeom>
            <a:ln w="1905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>
              <a:stCxn id="51" idx="0"/>
            </p:cNvCxnSpPr>
            <p:nvPr/>
          </p:nvCxnSpPr>
          <p:spPr>
            <a:xfrm flipV="1">
              <a:off x="674785" y="3604260"/>
              <a:ext cx="7387175" cy="197358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/>
            <p:cNvSpPr txBox="1"/>
            <p:nvPr/>
          </p:nvSpPr>
          <p:spPr>
            <a:xfrm>
              <a:off x="434340" y="5600700"/>
              <a:ext cx="2760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0</a:t>
              </a:r>
              <a:endParaRPr lang="en-US" sz="1400" b="1" noProof="1"/>
            </a:p>
          </p:txBody>
        </p:sp>
        <p:sp>
          <p:nvSpPr>
            <p:cNvPr id="64" name="Textfeld 63"/>
            <p:cNvSpPr txBox="1"/>
            <p:nvPr/>
          </p:nvSpPr>
          <p:spPr bwMode="gray">
            <a:xfrm rot="20284765">
              <a:off x="6015652" y="2491741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200" noProof="1" smtClean="0"/>
                <a:t>profit</a:t>
              </a:r>
              <a:endParaRPr lang="en-US" sz="1200" noProof="1"/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8073051" y="1485901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200" noProof="1" smtClean="0"/>
                <a:t>Revenues</a:t>
              </a:r>
              <a:endParaRPr lang="en-US" sz="1200" noProof="1"/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8073051" y="2415541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200" noProof="1" smtClean="0"/>
                <a:t>Total </a:t>
              </a:r>
              <a:br>
                <a:rPr lang="en-US" sz="1200" noProof="1" smtClean="0"/>
              </a:br>
              <a:r>
                <a:rPr lang="en-US" sz="1200" noProof="1" smtClean="0"/>
                <a:t>cost</a:t>
              </a:r>
              <a:endParaRPr lang="en-US" sz="1200" noProof="1"/>
            </a:p>
          </p:txBody>
        </p:sp>
        <p:sp>
          <p:nvSpPr>
            <p:cNvPr id="67" name="Textfeld 66"/>
            <p:cNvSpPr txBox="1"/>
            <p:nvPr/>
          </p:nvSpPr>
          <p:spPr bwMode="gray">
            <a:xfrm>
              <a:off x="8073051" y="3429001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200" noProof="1" smtClean="0"/>
                <a:t>Variable</a:t>
              </a:r>
              <a:br>
                <a:rPr lang="en-US" sz="1200" noProof="1" smtClean="0"/>
              </a:br>
              <a:r>
                <a:rPr lang="en-US" sz="1200" noProof="1" smtClean="0"/>
                <a:t>costs</a:t>
              </a:r>
              <a:endParaRPr lang="en-US" sz="1200" noProof="1"/>
            </a:p>
          </p:txBody>
        </p:sp>
        <p:sp>
          <p:nvSpPr>
            <p:cNvPr id="68" name="Textfeld 67"/>
            <p:cNvSpPr txBox="1"/>
            <p:nvPr/>
          </p:nvSpPr>
          <p:spPr bwMode="gray">
            <a:xfrm>
              <a:off x="8073051" y="4373881"/>
              <a:ext cx="1450025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200" noProof="1" smtClean="0"/>
                <a:t>Fixed</a:t>
              </a:r>
              <a:br>
                <a:rPr lang="en-US" sz="1200" noProof="1" smtClean="0"/>
              </a:br>
              <a:r>
                <a:rPr lang="en-US" sz="1200" noProof="1" smtClean="0"/>
                <a:t>costs</a:t>
              </a:r>
              <a:endParaRPr lang="en-US" sz="1200" noProof="1"/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4559436" y="3463289"/>
              <a:ext cx="1660443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en-US" sz="1400" b="1" noProof="1" smtClean="0"/>
                <a:t>Break-even-Point</a:t>
              </a:r>
              <a:endParaRPr lang="en-US" sz="14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393330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/ Controlling </a:t>
            </a:r>
            <a:r>
              <a:rPr lang="en-US" b="0" noProof="1" smtClean="0"/>
              <a:t>- Experienc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Volume related cost reduction (cost reduction effect)</a:t>
            </a:r>
            <a:endParaRPr lang="en-US" noProof="1"/>
          </a:p>
        </p:txBody>
      </p:sp>
      <p:grpSp>
        <p:nvGrpSpPr>
          <p:cNvPr id="5" name="Gruppieren 20"/>
          <p:cNvGrpSpPr/>
          <p:nvPr/>
        </p:nvGrpSpPr>
        <p:grpSpPr>
          <a:xfrm>
            <a:off x="323851" y="1646003"/>
            <a:ext cx="8496299" cy="4168553"/>
            <a:chOff x="323851" y="1646003"/>
            <a:chExt cx="8496299" cy="4168553"/>
          </a:xfrm>
        </p:grpSpPr>
        <p:cxnSp>
          <p:nvCxnSpPr>
            <p:cNvPr id="20" name="Gerade Verbindung 19"/>
            <p:cNvCxnSpPr/>
            <p:nvPr/>
          </p:nvCxnSpPr>
          <p:spPr bwMode="gray">
            <a:xfrm flipH="1">
              <a:off x="323851" y="3711388"/>
              <a:ext cx="8496299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uppieren 14"/>
            <p:cNvGrpSpPr/>
            <p:nvPr/>
          </p:nvGrpSpPr>
          <p:grpSpPr bwMode="gray">
            <a:xfrm>
              <a:off x="3111300" y="2265438"/>
              <a:ext cx="2900860" cy="2900861"/>
              <a:chOff x="824753" y="2043952"/>
              <a:chExt cx="2357718" cy="2357719"/>
            </a:xfrm>
            <a:solidFill>
              <a:schemeClr val="accent1"/>
            </a:solidFill>
          </p:grpSpPr>
          <p:sp>
            <p:nvSpPr>
              <p:cNvPr id="14" name="Halbbogen 13"/>
              <p:cNvSpPr/>
              <p:nvPr/>
            </p:nvSpPr>
            <p:spPr bwMode="gray">
              <a:xfrm>
                <a:off x="824753" y="2043952"/>
                <a:ext cx="2357718" cy="2357718"/>
              </a:xfrm>
              <a:prstGeom prst="blockArc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6" name="Halbbogen 15"/>
              <p:cNvSpPr/>
              <p:nvPr/>
            </p:nvSpPr>
            <p:spPr bwMode="gray">
              <a:xfrm rot="10800000">
                <a:off x="824753" y="2043953"/>
                <a:ext cx="2357718" cy="2357718"/>
              </a:xfrm>
              <a:prstGeom prst="blockArc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endParaRPr lang="en-US" sz="120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17" name="Textfeld 16"/>
            <p:cNvSpPr txBox="1"/>
            <p:nvPr/>
          </p:nvSpPr>
          <p:spPr bwMode="gray">
            <a:xfrm>
              <a:off x="4082925" y="2440190"/>
              <a:ext cx="9781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FFFFFF"/>
                  </a:solidFill>
                </a:rPr>
                <a:t>dynamic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4230945" y="4653136"/>
              <a:ext cx="6821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FFFFFF"/>
                  </a:solidFill>
                </a:rPr>
                <a:t>static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851647" y="2501153"/>
              <a:ext cx="184011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b="1" noProof="1" smtClean="0"/>
                <a:t>Learning effects</a:t>
              </a:r>
              <a:r>
                <a:rPr lang="en-US" noProof="1" smtClean="0"/>
                <a:t/>
              </a:r>
              <a:br>
                <a:rPr lang="en-US" noProof="1" smtClean="0"/>
              </a:br>
              <a:r>
                <a:rPr lang="en-US" sz="1400" noProof="1" smtClean="0"/>
                <a:t>(knowledge collection)</a:t>
              </a:r>
              <a:endParaRPr lang="en-US" sz="1400" noProof="1"/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6543000" y="2461660"/>
              <a:ext cx="145206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Technical </a:t>
              </a:r>
              <a:br>
                <a:rPr lang="en-US" b="1" noProof="1" smtClean="0"/>
              </a:br>
              <a:r>
                <a:rPr lang="en-US" b="1" noProof="1" smtClean="0"/>
                <a:t>development</a:t>
              </a:r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2915713" y="1646003"/>
              <a:ext cx="33125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Rationalisation / standardisation</a:t>
              </a:r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3354282" y="5445224"/>
              <a:ext cx="24078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Favorable procurement</a:t>
              </a:r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1098765" y="4530745"/>
              <a:ext cx="19843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b="1" noProof="1" smtClean="0"/>
                <a:t>Economies of scale</a:t>
              </a:r>
              <a:br>
                <a:rPr lang="en-US" b="1" noProof="1" smtClean="0"/>
              </a:br>
              <a:endParaRPr lang="en-US" sz="1400" noProof="1" smtClean="0"/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6585616" y="4468470"/>
              <a:ext cx="148534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Degression of</a:t>
              </a:r>
            </a:p>
            <a:p>
              <a:r>
                <a:rPr lang="en-US" b="1" noProof="1" smtClean="0"/>
                <a:t>fixed costs</a:t>
              </a:r>
            </a:p>
          </p:txBody>
        </p:sp>
        <p:cxnSp>
          <p:nvCxnSpPr>
            <p:cNvPr id="33" name="Gerade Verbindung 32"/>
            <p:cNvCxnSpPr/>
            <p:nvPr/>
          </p:nvCxnSpPr>
          <p:spPr bwMode="gray">
            <a:xfrm rot="10800000">
              <a:off x="3111302" y="3711388"/>
              <a:ext cx="2900858" cy="0"/>
            </a:xfrm>
            <a:prstGeom prst="line">
              <a:avLst/>
            </a:prstGeom>
            <a:ln w="28575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Ellipse 3"/>
            <p:cNvSpPr/>
            <p:nvPr/>
          </p:nvSpPr>
          <p:spPr bwMode="gray">
            <a:xfrm>
              <a:off x="3761982" y="2919301"/>
              <a:ext cx="1602106" cy="1602106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xperiences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Strategy </a:t>
            </a:r>
            <a:r>
              <a:rPr lang="en-US" b="0" noProof="1" smtClean="0"/>
              <a:t>- Cost Factor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st factors that should be considered in a marketing </a:t>
            </a:r>
            <a:r>
              <a:rPr lang="en-US" noProof="1"/>
              <a:t>s</a:t>
            </a:r>
            <a:r>
              <a:rPr lang="en-US" noProof="1" smtClean="0"/>
              <a:t>trategy</a:t>
            </a:r>
            <a:endParaRPr lang="en-US" noProof="1"/>
          </a:p>
        </p:txBody>
      </p:sp>
      <p:grpSp>
        <p:nvGrpSpPr>
          <p:cNvPr id="4" name="Gruppieren 27"/>
          <p:cNvGrpSpPr/>
          <p:nvPr/>
        </p:nvGrpSpPr>
        <p:grpSpPr>
          <a:xfrm>
            <a:off x="199507" y="1574800"/>
            <a:ext cx="8695460" cy="4227513"/>
            <a:chOff x="199507" y="1574800"/>
            <a:chExt cx="8695460" cy="4227513"/>
          </a:xfrm>
        </p:grpSpPr>
        <p:grpSp>
          <p:nvGrpSpPr>
            <p:cNvPr id="5" name="Gruppieren 51"/>
            <p:cNvGrpSpPr/>
            <p:nvPr/>
          </p:nvGrpSpPr>
          <p:grpSpPr>
            <a:xfrm>
              <a:off x="2470148" y="1574800"/>
              <a:ext cx="4203704" cy="4205208"/>
              <a:chOff x="2470148" y="1574800"/>
              <a:chExt cx="4203704" cy="4205208"/>
            </a:xfrm>
          </p:grpSpPr>
          <p:grpSp>
            <p:nvGrpSpPr>
              <p:cNvPr id="6" name="Gruppieren 46"/>
              <p:cNvGrpSpPr/>
              <p:nvPr/>
            </p:nvGrpSpPr>
            <p:grpSpPr bwMode="gray">
              <a:xfrm>
                <a:off x="2470148" y="1574800"/>
                <a:ext cx="4203704" cy="4205208"/>
                <a:chOff x="2445780" y="1574800"/>
                <a:chExt cx="4203704" cy="4205208"/>
              </a:xfr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  <a:tileRect/>
              </a:gradFill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031" name="Freeform 7"/>
                <p:cNvSpPr>
                  <a:spLocks/>
                </p:cNvSpPr>
                <p:nvPr/>
              </p:nvSpPr>
              <p:spPr bwMode="gray">
                <a:xfrm>
                  <a:off x="2545009" y="1574800"/>
                  <a:ext cx="2002623" cy="2103356"/>
                </a:xfrm>
                <a:custGeom>
                  <a:avLst/>
                  <a:gdLst/>
                  <a:ahLst/>
                  <a:cxnLst>
                    <a:cxn ang="0">
                      <a:pos x="564" y="0"/>
                    </a:cxn>
                    <a:cxn ang="0">
                      <a:pos x="0" y="409"/>
                    </a:cxn>
                    <a:cxn ang="0">
                      <a:pos x="564" y="592"/>
                    </a:cxn>
                    <a:cxn ang="0">
                      <a:pos x="564" y="0"/>
                    </a:cxn>
                  </a:cxnLst>
                  <a:rect l="0" t="0" r="r" b="b"/>
                  <a:pathLst>
                    <a:path w="564" h="592">
                      <a:moveTo>
                        <a:pt x="564" y="0"/>
                      </a:moveTo>
                      <a:cubicBezTo>
                        <a:pt x="300" y="0"/>
                        <a:pt x="78" y="172"/>
                        <a:pt x="0" y="409"/>
                      </a:cubicBezTo>
                      <a:cubicBezTo>
                        <a:pt x="564" y="592"/>
                        <a:pt x="564" y="592"/>
                        <a:pt x="564" y="592"/>
                      </a:cubicBezTo>
                      <a:lnTo>
                        <a:pt x="56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32" name="Freeform 8"/>
                <p:cNvSpPr>
                  <a:spLocks/>
                </p:cNvSpPr>
                <p:nvPr/>
              </p:nvSpPr>
              <p:spPr bwMode="gray">
                <a:xfrm>
                  <a:off x="4547632" y="1574800"/>
                  <a:ext cx="1999616" cy="2103356"/>
                </a:xfrm>
                <a:custGeom>
                  <a:avLst/>
                  <a:gdLst/>
                  <a:ahLst/>
                  <a:cxnLst>
                    <a:cxn ang="0">
                      <a:pos x="563" y="409"/>
                    </a:cxn>
                    <a:cxn ang="0">
                      <a:pos x="0" y="0"/>
                    </a:cxn>
                    <a:cxn ang="0">
                      <a:pos x="0" y="592"/>
                    </a:cxn>
                    <a:cxn ang="0">
                      <a:pos x="563" y="409"/>
                    </a:cxn>
                  </a:cxnLst>
                  <a:rect l="0" t="0" r="r" b="b"/>
                  <a:pathLst>
                    <a:path w="563" h="592">
                      <a:moveTo>
                        <a:pt x="563" y="409"/>
                      </a:moveTo>
                      <a:cubicBezTo>
                        <a:pt x="486" y="172"/>
                        <a:pt x="263" y="0"/>
                        <a:pt x="0" y="0"/>
                      </a:cubicBezTo>
                      <a:cubicBezTo>
                        <a:pt x="0" y="592"/>
                        <a:pt x="0" y="592"/>
                        <a:pt x="0" y="592"/>
                      </a:cubicBezTo>
                      <a:lnTo>
                        <a:pt x="563" y="4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30" name="Freeform 6"/>
                <p:cNvSpPr>
                  <a:spLocks/>
                </p:cNvSpPr>
                <p:nvPr/>
              </p:nvSpPr>
              <p:spPr bwMode="gray">
                <a:xfrm>
                  <a:off x="2445780" y="3027153"/>
                  <a:ext cx="2101852" cy="2351428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0" y="183"/>
                    </a:cxn>
                    <a:cxn ang="0">
                      <a:pos x="244" y="662"/>
                    </a:cxn>
                    <a:cxn ang="0">
                      <a:pos x="592" y="183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592" h="662">
                      <a:moveTo>
                        <a:pt x="28" y="0"/>
                      </a:moveTo>
                      <a:cubicBezTo>
                        <a:pt x="10" y="58"/>
                        <a:pt x="0" y="119"/>
                        <a:pt x="0" y="183"/>
                      </a:cubicBezTo>
                      <a:cubicBezTo>
                        <a:pt x="0" y="380"/>
                        <a:pt x="96" y="555"/>
                        <a:pt x="244" y="662"/>
                      </a:cubicBezTo>
                      <a:cubicBezTo>
                        <a:pt x="592" y="183"/>
                        <a:pt x="592" y="183"/>
                        <a:pt x="592" y="183"/>
                      </a:cubicBezTo>
                      <a:lnTo>
                        <a:pt x="2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33" name="Freeform 9"/>
                <p:cNvSpPr>
                  <a:spLocks/>
                </p:cNvSpPr>
                <p:nvPr/>
              </p:nvSpPr>
              <p:spPr bwMode="gray">
                <a:xfrm>
                  <a:off x="3311779" y="3678156"/>
                  <a:ext cx="2471707" cy="2101852"/>
                </a:xfrm>
                <a:custGeom>
                  <a:avLst/>
                  <a:gdLst/>
                  <a:ahLst/>
                  <a:cxnLst>
                    <a:cxn ang="0">
                      <a:pos x="0" y="479"/>
                    </a:cxn>
                    <a:cxn ang="0">
                      <a:pos x="348" y="592"/>
                    </a:cxn>
                    <a:cxn ang="0">
                      <a:pos x="696" y="479"/>
                    </a:cxn>
                    <a:cxn ang="0">
                      <a:pos x="348" y="0"/>
                    </a:cxn>
                    <a:cxn ang="0">
                      <a:pos x="0" y="479"/>
                    </a:cxn>
                  </a:cxnLst>
                  <a:rect l="0" t="0" r="r" b="b"/>
                  <a:pathLst>
                    <a:path w="696" h="592">
                      <a:moveTo>
                        <a:pt x="0" y="479"/>
                      </a:moveTo>
                      <a:cubicBezTo>
                        <a:pt x="97" y="550"/>
                        <a:pt x="218" y="592"/>
                        <a:pt x="348" y="592"/>
                      </a:cubicBezTo>
                      <a:cubicBezTo>
                        <a:pt x="478" y="592"/>
                        <a:pt x="598" y="550"/>
                        <a:pt x="696" y="479"/>
                      </a:cubicBezTo>
                      <a:cubicBezTo>
                        <a:pt x="348" y="0"/>
                        <a:pt x="348" y="0"/>
                        <a:pt x="348" y="0"/>
                      </a:cubicBezTo>
                      <a:lnTo>
                        <a:pt x="0" y="479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034" name="Freeform 10"/>
                <p:cNvSpPr>
                  <a:spLocks/>
                </p:cNvSpPr>
                <p:nvPr/>
              </p:nvSpPr>
              <p:spPr bwMode="gray">
                <a:xfrm>
                  <a:off x="4547632" y="3027153"/>
                  <a:ext cx="2101852" cy="2351428"/>
                </a:xfrm>
                <a:custGeom>
                  <a:avLst/>
                  <a:gdLst/>
                  <a:ahLst/>
                  <a:cxnLst>
                    <a:cxn ang="0">
                      <a:pos x="0" y="183"/>
                    </a:cxn>
                    <a:cxn ang="0">
                      <a:pos x="348" y="662"/>
                    </a:cxn>
                    <a:cxn ang="0">
                      <a:pos x="592" y="183"/>
                    </a:cxn>
                    <a:cxn ang="0">
                      <a:pos x="563" y="0"/>
                    </a:cxn>
                    <a:cxn ang="0">
                      <a:pos x="0" y="183"/>
                    </a:cxn>
                  </a:cxnLst>
                  <a:rect l="0" t="0" r="r" b="b"/>
                  <a:pathLst>
                    <a:path w="592" h="662">
                      <a:moveTo>
                        <a:pt x="0" y="183"/>
                      </a:moveTo>
                      <a:cubicBezTo>
                        <a:pt x="348" y="662"/>
                        <a:pt x="348" y="662"/>
                        <a:pt x="348" y="662"/>
                      </a:cubicBezTo>
                      <a:cubicBezTo>
                        <a:pt x="495" y="555"/>
                        <a:pt x="592" y="380"/>
                        <a:pt x="592" y="183"/>
                      </a:cubicBezTo>
                      <a:cubicBezTo>
                        <a:pt x="592" y="119"/>
                        <a:pt x="581" y="58"/>
                        <a:pt x="563" y="0"/>
                      </a:cubicBezTo>
                      <a:lnTo>
                        <a:pt x="0" y="183"/>
                      </a:lnTo>
                      <a:close/>
                    </a:path>
                  </a:pathLst>
                </a:custGeom>
                <a:grpFill/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200" noProof="1" smtClean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sp>
            <p:nvSpPr>
              <p:cNvPr id="31" name="Textfeld 30"/>
              <p:cNvSpPr txBox="1"/>
              <p:nvPr/>
            </p:nvSpPr>
            <p:spPr bwMode="gray">
              <a:xfrm rot="19500000">
                <a:off x="3083277" y="2164456"/>
                <a:ext cx="110068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noProof="1" smtClean="0">
                    <a:solidFill>
                      <a:srgbClr val="000000"/>
                    </a:solidFill>
                  </a:rPr>
                  <a:t>Transport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Textfeld 31"/>
              <p:cNvSpPr txBox="1"/>
              <p:nvPr/>
            </p:nvSpPr>
            <p:spPr bwMode="gray">
              <a:xfrm rot="2100000">
                <a:off x="5054515" y="2173248"/>
                <a:ext cx="9074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noProof="1" smtClean="0">
                    <a:solidFill>
                      <a:srgbClr val="000000"/>
                    </a:solidFill>
                  </a:rPr>
                  <a:t>Storage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Textfeld 32"/>
              <p:cNvSpPr txBox="1"/>
              <p:nvPr/>
            </p:nvSpPr>
            <p:spPr bwMode="gray">
              <a:xfrm rot="17384189">
                <a:off x="5304650" y="3964323"/>
                <a:ext cx="165199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noProof="1" smtClean="0">
                    <a:solidFill>
                      <a:srgbClr val="000000"/>
                    </a:solidFill>
                  </a:rPr>
                  <a:t>Advertisement 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Textfeld 33"/>
              <p:cNvSpPr txBox="1"/>
              <p:nvPr/>
            </p:nvSpPr>
            <p:spPr bwMode="gray">
              <a:xfrm>
                <a:off x="3924923" y="5084028"/>
                <a:ext cx="109196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noProof="1" smtClean="0">
                    <a:solidFill>
                      <a:srgbClr val="000000"/>
                    </a:solidFill>
                  </a:rPr>
                  <a:t>Financing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Textfeld 34"/>
              <p:cNvSpPr txBox="1"/>
              <p:nvPr/>
            </p:nvSpPr>
            <p:spPr bwMode="gray">
              <a:xfrm rot="4456075">
                <a:off x="2702885" y="3998889"/>
                <a:ext cx="67037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noProof="1" smtClean="0">
                    <a:solidFill>
                      <a:srgbClr val="000000"/>
                    </a:solidFill>
                  </a:rPr>
                  <a:t>Sales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Ellipse 17"/>
              <p:cNvSpPr/>
              <p:nvPr/>
            </p:nvSpPr>
            <p:spPr bwMode="gray">
              <a:xfrm>
                <a:off x="3414171" y="2519576"/>
                <a:ext cx="2315660" cy="2315658"/>
              </a:xfrm>
              <a:prstGeom prst="ellipse">
                <a:avLst/>
              </a:pr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sz="2400" b="1" noProof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Ellipse 60"/>
              <p:cNvSpPr/>
              <p:nvPr/>
            </p:nvSpPr>
            <p:spPr bwMode="gray">
              <a:xfrm>
                <a:off x="3728484" y="2833890"/>
                <a:ext cx="1687034" cy="1687030"/>
              </a:xfrm>
              <a:prstGeom prst="ellipse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Strategy</a:t>
                </a:r>
              </a:p>
            </p:txBody>
          </p:sp>
          <p:sp>
            <p:nvSpPr>
              <p:cNvPr id="36" name="Pfeil nach rechts 35"/>
              <p:cNvSpPr/>
              <p:nvPr/>
            </p:nvSpPr>
            <p:spPr bwMode="gray">
              <a:xfrm rot="20460000">
                <a:off x="3406178" y="3754091"/>
                <a:ext cx="466647" cy="5447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7" name="Pfeil nach rechts 36"/>
              <p:cNvSpPr/>
              <p:nvPr/>
            </p:nvSpPr>
            <p:spPr bwMode="gray">
              <a:xfrm rot="1020000" flipH="1">
                <a:off x="5271176" y="3758898"/>
                <a:ext cx="466647" cy="5447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8" name="Pfeil nach rechts 37"/>
              <p:cNvSpPr/>
              <p:nvPr/>
            </p:nvSpPr>
            <p:spPr bwMode="gray">
              <a:xfrm rot="18305297" flipH="1">
                <a:off x="4933089" y="2610863"/>
                <a:ext cx="466647" cy="5447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39" name="Pfeil nach rechts 38"/>
              <p:cNvSpPr/>
              <p:nvPr/>
            </p:nvSpPr>
            <p:spPr bwMode="gray">
              <a:xfrm rot="3294703">
                <a:off x="3744265" y="2610863"/>
                <a:ext cx="466647" cy="5447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40" name="Pfeil nach rechts 39"/>
              <p:cNvSpPr/>
              <p:nvPr/>
            </p:nvSpPr>
            <p:spPr bwMode="gray">
              <a:xfrm rot="5400000" flipH="1">
                <a:off x="4338677" y="4405298"/>
                <a:ext cx="466647" cy="5447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sp>
          <p:nvSpPr>
            <p:cNvPr id="41" name="Textfeld 40"/>
            <p:cNvSpPr txBox="1"/>
            <p:nvPr/>
          </p:nvSpPr>
          <p:spPr bwMode="gray">
            <a:xfrm>
              <a:off x="199507" y="1887263"/>
              <a:ext cx="2660417" cy="3262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801688">
                <a:lnSpc>
                  <a:spcPct val="95000"/>
                </a:lnSpc>
              </a:pPr>
              <a:r>
                <a:rPr lang="en-US" sz="1600" noProof="1" smtClean="0"/>
                <a:t>Placeholder for your own text</a:t>
              </a:r>
              <a:endParaRPr lang="en-US" sz="1600" noProof="1"/>
            </a:p>
          </p:txBody>
        </p:sp>
        <p:sp>
          <p:nvSpPr>
            <p:cNvPr id="42" name="Textfeld 41"/>
            <p:cNvSpPr txBox="1"/>
            <p:nvPr/>
          </p:nvSpPr>
          <p:spPr bwMode="gray">
            <a:xfrm>
              <a:off x="6153492" y="1887263"/>
              <a:ext cx="2533650" cy="3262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01688">
                <a:lnSpc>
                  <a:spcPct val="95000"/>
                </a:lnSpc>
              </a:pPr>
              <a:r>
                <a:rPr lang="en-US" sz="1600" noProof="1" smtClean="0"/>
                <a:t>Insert your own text here</a:t>
              </a:r>
              <a:endParaRPr lang="en-US" sz="1600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249034" y="3869478"/>
              <a:ext cx="2146298" cy="560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801688">
                <a:lnSpc>
                  <a:spcPct val="95000"/>
                </a:lnSpc>
              </a:pPr>
              <a:r>
                <a:rPr lang="en-US" sz="1600" noProof="1" smtClean="0"/>
                <a:t>This is a placeholder text</a:t>
              </a:r>
              <a:endParaRPr lang="en-US" sz="1600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6748669" y="3869478"/>
              <a:ext cx="2146298" cy="3262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01688">
                <a:lnSpc>
                  <a:spcPct val="95000"/>
                </a:lnSpc>
              </a:pPr>
              <a:r>
                <a:rPr lang="en-US" sz="1600" noProof="1" smtClean="0"/>
                <a:t>Placeholder for text</a:t>
              </a:r>
              <a:endParaRPr lang="en-US" sz="1600" noProof="1"/>
            </a:p>
          </p:txBody>
        </p:sp>
        <p:sp>
          <p:nvSpPr>
            <p:cNvPr id="45" name="Textfeld 44"/>
            <p:cNvSpPr txBox="1"/>
            <p:nvPr/>
          </p:nvSpPr>
          <p:spPr bwMode="gray">
            <a:xfrm>
              <a:off x="5757771" y="5476070"/>
              <a:ext cx="2921059" cy="326243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defTabSz="801688">
                <a:lnSpc>
                  <a:spcPct val="95000"/>
                </a:lnSpc>
              </a:pPr>
              <a:r>
                <a:rPr lang="en-US" sz="1600" noProof="1" smtClean="0"/>
                <a:t>Placeholder for your own text</a:t>
              </a:r>
              <a:endParaRPr lang="en-US" sz="1600" noProof="1"/>
            </a:p>
          </p:txBody>
        </p:sp>
      </p:grpSp>
    </p:spTree>
  </p:cSld>
  <p:clrMapOvr>
    <a:masterClrMapping/>
  </p:clrMapOvr>
  <p:transition spd="med">
    <p:fade/>
  </p:transition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ice Differentiation and Profit Potential</a:t>
            </a:r>
            <a:endParaRPr lang="en-US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xhaustion the profit potential through price differentiation</a:t>
            </a:r>
            <a:endParaRPr lang="en-US" noProof="1"/>
          </a:p>
        </p:txBody>
      </p:sp>
      <p:grpSp>
        <p:nvGrpSpPr>
          <p:cNvPr id="31" name="Gruppieren 30"/>
          <p:cNvGrpSpPr/>
          <p:nvPr/>
        </p:nvGrpSpPr>
        <p:grpSpPr>
          <a:xfrm>
            <a:off x="323849" y="1555751"/>
            <a:ext cx="8496301" cy="4332722"/>
            <a:chOff x="323849" y="1555751"/>
            <a:chExt cx="8496301" cy="4332722"/>
          </a:xfrm>
        </p:grpSpPr>
        <p:sp>
          <p:nvSpPr>
            <p:cNvPr id="2" name="Rechtwinkliges Dreieck 1"/>
            <p:cNvSpPr/>
            <p:nvPr/>
          </p:nvSpPr>
          <p:spPr bwMode="gray">
            <a:xfrm>
              <a:off x="323849" y="2675188"/>
              <a:ext cx="6185415" cy="2763501"/>
            </a:xfrm>
            <a:prstGeom prst="rtTriangle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9" name="Rechtwinkliges Dreieck 28"/>
            <p:cNvSpPr/>
            <p:nvPr/>
          </p:nvSpPr>
          <p:spPr bwMode="gray">
            <a:xfrm>
              <a:off x="2386181" y="3601064"/>
              <a:ext cx="2061543" cy="920136"/>
            </a:xfrm>
            <a:prstGeom prst="rt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0" name="Rechtwinkliges Dreieck 29"/>
            <p:cNvSpPr/>
            <p:nvPr/>
          </p:nvSpPr>
          <p:spPr bwMode="gray">
            <a:xfrm>
              <a:off x="4447724" y="4521788"/>
              <a:ext cx="2061543" cy="920136"/>
            </a:xfrm>
            <a:prstGeom prst="rt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" name="Rechteck 2"/>
            <p:cNvSpPr/>
            <p:nvPr/>
          </p:nvSpPr>
          <p:spPr bwMode="gray">
            <a:xfrm>
              <a:off x="2386182" y="4521200"/>
              <a:ext cx="2061542" cy="91748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grpSp>
          <p:nvGrpSpPr>
            <p:cNvPr id="7" name="Gruppieren 40"/>
            <p:cNvGrpSpPr/>
            <p:nvPr/>
          </p:nvGrpSpPr>
          <p:grpSpPr bwMode="gray">
            <a:xfrm>
              <a:off x="324643" y="1903293"/>
              <a:ext cx="8495507" cy="3538657"/>
              <a:chOff x="944880" y="1903294"/>
              <a:chExt cx="7875270" cy="3435322"/>
            </a:xfrm>
          </p:grpSpPr>
          <p:cxnSp>
            <p:nvCxnSpPr>
              <p:cNvPr id="57" name="Gerade Verbindung mit Pfeil 56"/>
              <p:cNvCxnSpPr/>
              <p:nvPr/>
            </p:nvCxnSpPr>
            <p:spPr bwMode="gray">
              <a:xfrm>
                <a:off x="944880" y="5335450"/>
                <a:ext cx="7875270" cy="0"/>
              </a:xfrm>
              <a:prstGeom prst="straightConnector1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 type="none" w="med" len="med"/>
                <a:tailEnd type="triangle"/>
              </a:ln>
            </p:spPr>
          </p:cxnSp>
          <p:cxnSp>
            <p:nvCxnSpPr>
              <p:cNvPr id="58" name="Gerade Verbindung mit Pfeil 57"/>
              <p:cNvCxnSpPr/>
              <p:nvPr/>
            </p:nvCxnSpPr>
            <p:spPr bwMode="gray">
              <a:xfrm flipV="1">
                <a:off x="944880" y="1903294"/>
                <a:ext cx="0" cy="3435322"/>
              </a:xfrm>
              <a:prstGeom prst="straightConnector1">
                <a:avLst/>
              </a:prstGeom>
              <a:noFill/>
              <a:ln w="12700">
                <a:solidFill>
                  <a:schemeClr val="tx1">
                    <a:lumMod val="50000"/>
                    <a:lumOff val="50000"/>
                  </a:schemeClr>
                </a:solidFill>
                <a:round/>
                <a:headEnd type="none" w="med" len="med"/>
                <a:tailEnd type="triangle"/>
              </a:ln>
            </p:spPr>
          </p:cxnSp>
        </p:grpSp>
        <p:sp>
          <p:nvSpPr>
            <p:cNvPr id="87" name="Textfeld 86"/>
            <p:cNvSpPr txBox="1"/>
            <p:nvPr/>
          </p:nvSpPr>
          <p:spPr bwMode="gray">
            <a:xfrm>
              <a:off x="7135115" y="5611474"/>
              <a:ext cx="168503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ct val="30000"/>
                </a:spcAft>
              </a:pPr>
              <a:r>
                <a:rPr lang="en-US" b="1" noProof="1" smtClean="0"/>
                <a:t>Price</a:t>
              </a:r>
              <a:endParaRPr lang="en-US" b="1" noProof="1"/>
            </a:p>
          </p:txBody>
        </p:sp>
        <p:sp>
          <p:nvSpPr>
            <p:cNvPr id="88" name="Textfeld 87"/>
            <p:cNvSpPr txBox="1"/>
            <p:nvPr/>
          </p:nvSpPr>
          <p:spPr bwMode="gray">
            <a:xfrm>
              <a:off x="324643" y="1555751"/>
              <a:ext cx="168503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ct val="30000"/>
                </a:spcAft>
              </a:pPr>
              <a:r>
                <a:rPr lang="en-US" b="1" noProof="1" smtClean="0"/>
                <a:t>Sales</a:t>
              </a:r>
              <a:endParaRPr lang="en-US" b="1" noProof="1"/>
            </a:p>
          </p:txBody>
        </p:sp>
        <p:grpSp>
          <p:nvGrpSpPr>
            <p:cNvPr id="8" name="Gruppieren 93"/>
            <p:cNvGrpSpPr/>
            <p:nvPr/>
          </p:nvGrpSpPr>
          <p:grpSpPr bwMode="gray">
            <a:xfrm>
              <a:off x="2386182" y="3612257"/>
              <a:ext cx="2061542" cy="1829693"/>
              <a:chOff x="3518919" y="2824879"/>
              <a:chExt cx="1495175" cy="1774426"/>
            </a:xfrm>
          </p:grpSpPr>
          <p:cxnSp>
            <p:nvCxnSpPr>
              <p:cNvPr id="91" name="Gerade Verbindung 90"/>
              <p:cNvCxnSpPr/>
              <p:nvPr/>
            </p:nvCxnSpPr>
            <p:spPr bwMode="gray">
              <a:xfrm flipV="1">
                <a:off x="3518919" y="2824879"/>
                <a:ext cx="0" cy="177442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  <p:cxnSp>
            <p:nvCxnSpPr>
              <p:cNvPr id="92" name="Gerade Verbindung 91"/>
              <p:cNvCxnSpPr/>
              <p:nvPr/>
            </p:nvCxnSpPr>
            <p:spPr bwMode="gray">
              <a:xfrm flipV="1">
                <a:off x="5014094" y="3706366"/>
                <a:ext cx="0" cy="889775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</p:grpSp>
        <p:cxnSp>
          <p:nvCxnSpPr>
            <p:cNvPr id="45" name="Gerade Verbindung 44"/>
            <p:cNvCxnSpPr/>
            <p:nvPr/>
          </p:nvCxnSpPr>
          <p:spPr bwMode="gray">
            <a:xfrm>
              <a:off x="324643" y="2675188"/>
              <a:ext cx="6184622" cy="2763501"/>
            </a:xfrm>
            <a:prstGeom prst="line">
              <a:avLst/>
            </a:prstGeom>
            <a:ln w="2857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324643" y="4521200"/>
              <a:ext cx="4123081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 type="none"/>
              <a:tailEnd type="none"/>
            </a:ln>
          </p:spPr>
        </p:cxnSp>
        <p:sp>
          <p:nvSpPr>
            <p:cNvPr id="65" name="Ellipse 64"/>
            <p:cNvSpPr/>
            <p:nvPr/>
          </p:nvSpPr>
          <p:spPr bwMode="gray">
            <a:xfrm>
              <a:off x="2557136" y="3974995"/>
              <a:ext cx="377696" cy="3776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3600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FFFFFF"/>
                  </a:solidFill>
                </a:rPr>
                <a:t>B</a:t>
              </a:r>
              <a:endParaRPr lang="en-US" sz="2000" b="1" noProof="1">
                <a:solidFill>
                  <a:srgbClr val="FFFFFF"/>
                </a:solidFill>
              </a:endParaRPr>
            </a:p>
          </p:txBody>
        </p:sp>
        <p:sp>
          <p:nvSpPr>
            <p:cNvPr id="66" name="Ellipse 65"/>
            <p:cNvSpPr/>
            <p:nvPr/>
          </p:nvSpPr>
          <p:spPr bwMode="gray">
            <a:xfrm>
              <a:off x="2557136" y="4890776"/>
              <a:ext cx="377696" cy="3776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3600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FFFFFF"/>
                  </a:solidFill>
                </a:rPr>
                <a:t>A</a:t>
              </a:r>
              <a:endParaRPr lang="en-US" sz="2000" b="1" noProof="1">
                <a:solidFill>
                  <a:srgbClr val="FFFFFF"/>
                </a:solidFill>
              </a:endParaRPr>
            </a:p>
          </p:txBody>
        </p:sp>
        <p:sp>
          <p:nvSpPr>
            <p:cNvPr id="67" name="Ellipse 66"/>
            <p:cNvSpPr/>
            <p:nvPr/>
          </p:nvSpPr>
          <p:spPr bwMode="gray">
            <a:xfrm>
              <a:off x="4628860" y="4890776"/>
              <a:ext cx="377696" cy="3776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3600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2000" b="1" noProof="1" smtClean="0">
                  <a:solidFill>
                    <a:srgbClr val="FFFFFF"/>
                  </a:solidFill>
                </a:rPr>
                <a:t>C</a:t>
              </a:r>
              <a:endParaRPr lang="en-US" sz="2000" b="1" noProof="1">
                <a:solidFill>
                  <a:srgbClr val="FFFFFF"/>
                </a:solidFill>
              </a:endParaRPr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426972" y="4148977"/>
              <a:ext cx="101091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Your sales</a:t>
              </a:r>
              <a:endParaRPr lang="en-US" sz="1600" noProof="1"/>
            </a:p>
          </p:txBody>
        </p:sp>
        <p:sp>
          <p:nvSpPr>
            <p:cNvPr id="70" name="Textfeld 69"/>
            <p:cNvSpPr txBox="1"/>
            <p:nvPr/>
          </p:nvSpPr>
          <p:spPr bwMode="gray">
            <a:xfrm>
              <a:off x="1923174" y="5525314"/>
              <a:ext cx="9260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noProof="1" smtClean="0"/>
                <a:t>Unit cost</a:t>
              </a:r>
              <a:endParaRPr lang="en-US" sz="1600" noProof="1"/>
            </a:p>
          </p:txBody>
        </p:sp>
        <p:sp>
          <p:nvSpPr>
            <p:cNvPr id="71" name="Textfeld 70"/>
            <p:cNvSpPr txBox="1"/>
            <p:nvPr/>
          </p:nvSpPr>
          <p:spPr bwMode="gray">
            <a:xfrm>
              <a:off x="3945818" y="5525314"/>
              <a:ext cx="101893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noProof="1" smtClean="0"/>
                <a:t>Your price</a:t>
              </a:r>
              <a:endParaRPr lang="en-US" sz="1600" noProof="1"/>
            </a:p>
          </p:txBody>
        </p:sp>
        <p:sp>
          <p:nvSpPr>
            <p:cNvPr id="74" name="Textfeld 73"/>
            <p:cNvSpPr txBox="1"/>
            <p:nvPr/>
          </p:nvSpPr>
          <p:spPr bwMode="gray">
            <a:xfrm>
              <a:off x="3532152" y="3231376"/>
              <a:ext cx="11167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Lost profits</a:t>
              </a:r>
              <a:endParaRPr lang="en-US" sz="1600" noProof="1"/>
            </a:p>
          </p:txBody>
        </p:sp>
        <p:cxnSp>
          <p:nvCxnSpPr>
            <p:cNvPr id="76" name="Form 75"/>
            <p:cNvCxnSpPr>
              <a:stCxn id="74" idx="1"/>
            </p:cNvCxnSpPr>
            <p:nvPr/>
          </p:nvCxnSpPr>
          <p:spPr bwMode="gray">
            <a:xfrm rot="10800000" flipV="1">
              <a:off x="3302420" y="3400652"/>
              <a:ext cx="229732" cy="808605"/>
            </a:xfrm>
            <a:prstGeom prst="bentConnector2">
              <a:avLst/>
            </a:prstGeom>
            <a:noFill/>
            <a:ln w="12700">
              <a:solidFill>
                <a:srgbClr val="969696"/>
              </a:solidFill>
              <a:prstDash val="solid"/>
              <a:round/>
              <a:headEnd type="none"/>
              <a:tailEnd type="none"/>
            </a:ln>
          </p:spPr>
        </p:cxnSp>
        <p:sp>
          <p:nvSpPr>
            <p:cNvPr id="81" name="Textfeld 80"/>
            <p:cNvSpPr txBox="1"/>
            <p:nvPr/>
          </p:nvSpPr>
          <p:spPr bwMode="gray">
            <a:xfrm>
              <a:off x="2519197" y="4521200"/>
              <a:ext cx="11470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Your profits</a:t>
              </a:r>
              <a:endParaRPr lang="en-US" sz="1600" noProof="1"/>
            </a:p>
          </p:txBody>
        </p:sp>
        <p:sp>
          <p:nvSpPr>
            <p:cNvPr id="14" name="Gleichschenkliges Dreieck 13"/>
            <p:cNvSpPr/>
            <p:nvPr/>
          </p:nvSpPr>
          <p:spPr bwMode="gray">
            <a:xfrm>
              <a:off x="2282660" y="5268472"/>
              <a:ext cx="197449" cy="170215"/>
            </a:xfrm>
            <a:prstGeom prst="triangle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6" name="Gleichschenkliges Dreieck 35"/>
            <p:cNvSpPr/>
            <p:nvPr/>
          </p:nvSpPr>
          <p:spPr bwMode="gray">
            <a:xfrm>
              <a:off x="4346037" y="5268472"/>
              <a:ext cx="197449" cy="170215"/>
            </a:xfrm>
            <a:prstGeom prst="triangle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7" name="Gleichschenkliges Dreieck 36"/>
            <p:cNvSpPr/>
            <p:nvPr/>
          </p:nvSpPr>
          <p:spPr bwMode="gray">
            <a:xfrm rot="5400000">
              <a:off x="318722" y="4442246"/>
              <a:ext cx="197449" cy="170215"/>
            </a:xfrm>
            <a:prstGeom prst="triangle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38" name="Form 32"/>
            <p:cNvCxnSpPr/>
            <p:nvPr/>
          </p:nvCxnSpPr>
          <p:spPr bwMode="gray">
            <a:xfrm rot="16200000" flipH="1">
              <a:off x="4127824" y="3913510"/>
              <a:ext cx="1752373" cy="726655"/>
            </a:xfrm>
            <a:prstGeom prst="bentConnector3">
              <a:avLst>
                <a:gd name="adj1" fmla="val -278"/>
              </a:avLst>
            </a:prstGeom>
            <a:noFill/>
            <a:ln w="12700">
              <a:solidFill>
                <a:srgbClr val="969696"/>
              </a:solidFill>
              <a:prstDash val="solid"/>
              <a:round/>
              <a:headEnd type="none"/>
              <a:tailEnd type="none"/>
            </a:ln>
          </p:spPr>
        </p:cxnSp>
      </p:grpSp>
    </p:spTree>
    <p:extLst>
      <p:ext uri="{BB962C8B-B14F-4D97-AF65-F5344CB8AC3E}">
        <p14:creationId xmlns:p14="http://schemas.microsoft.com/office/powerpoint/2010/main" val="222063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Types of price differenti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4 types according to various characteristics of differentiation </a:t>
            </a:r>
            <a:endParaRPr lang="en-US" noProof="1"/>
          </a:p>
        </p:txBody>
      </p:sp>
      <p:grpSp>
        <p:nvGrpSpPr>
          <p:cNvPr id="13" name="Gruppieren 12"/>
          <p:cNvGrpSpPr/>
          <p:nvPr/>
        </p:nvGrpSpPr>
        <p:grpSpPr>
          <a:xfrm>
            <a:off x="323850" y="1555750"/>
            <a:ext cx="8497093" cy="3891176"/>
            <a:chOff x="323850" y="1555750"/>
            <a:chExt cx="8497093" cy="3891176"/>
          </a:xfrm>
        </p:grpSpPr>
        <p:sp>
          <p:nvSpPr>
            <p:cNvPr id="4" name="Rechteck 3"/>
            <p:cNvSpPr/>
            <p:nvPr/>
          </p:nvSpPr>
          <p:spPr bwMode="gray">
            <a:xfrm>
              <a:off x="323851" y="1555750"/>
              <a:ext cx="2015926" cy="7146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Customer-related </a:t>
              </a:r>
              <a:b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ice differentiation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" name="Rechteck 4"/>
            <p:cNvSpPr/>
            <p:nvPr/>
          </p:nvSpPr>
          <p:spPr bwMode="gray">
            <a:xfrm>
              <a:off x="323850" y="2270366"/>
              <a:ext cx="2015927" cy="317350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0" anchor="t" anchorCtr="0"/>
            <a:lstStyle/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Demographic characteristics: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ge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ex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>
                  <a:solidFill>
                    <a:srgbClr val="000000"/>
                  </a:solidFill>
                  <a:cs typeface="Arial" charset="0"/>
                </a:rPr>
                <a:t>s</a:t>
              </a: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ize of household </a:t>
              </a:r>
            </a:p>
            <a:p>
              <a:pPr>
                <a:spcAft>
                  <a:spcPts val="300"/>
                </a:spcAft>
                <a:buClr>
                  <a:srgbClr val="969696"/>
                </a:buClr>
                <a:buSzPct val="90000"/>
                <a:defRPr/>
              </a:pPr>
              <a:endParaRPr lang="en-US" sz="11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Socio-economic characteristics: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income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ofession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education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>
                  <a:solidFill>
                    <a:srgbClr val="000000"/>
                  </a:solidFill>
                  <a:cs typeface="Arial" charset="0"/>
                </a:rPr>
                <a:t>b</a:t>
              </a: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usiness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100" noProof="1" smtClean="0">
                <a:solidFill>
                  <a:srgbClr val="000000"/>
                </a:solidFill>
                <a:cs typeface="Arial" charset="0"/>
              </a:endParaRP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Psychological characteristics: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>
                  <a:solidFill>
                    <a:srgbClr val="000000"/>
                  </a:solidFill>
                  <a:cs typeface="Arial" charset="0"/>
                </a:rPr>
                <a:t>l</a:t>
              </a: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ifestyle</a:t>
              </a:r>
            </a:p>
            <a:p>
              <a:pPr marL="180975" indent="-180975">
                <a:spcAft>
                  <a:spcPts val="3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ersonality</a:t>
              </a:r>
            </a:p>
            <a:p>
              <a:pPr>
                <a:spcAft>
                  <a:spcPts val="300"/>
                </a:spcAft>
                <a:buClr>
                  <a:srgbClr val="969696"/>
                </a:buClr>
                <a:buSzPct val="90000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hteck 5"/>
            <p:cNvSpPr/>
            <p:nvPr/>
          </p:nvSpPr>
          <p:spPr bwMode="gray">
            <a:xfrm>
              <a:off x="2484636" y="1558805"/>
              <a:ext cx="2015926" cy="7146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Regional</a:t>
              </a:r>
              <a:b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ice differentiation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2484636" y="2273421"/>
              <a:ext cx="2015926" cy="317350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0" anchor="t" anchorCtr="0"/>
            <a:lstStyle/>
            <a:p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Different prices in two or more regions or countries -&gt;</a:t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/>
                <a:t>By partitioning the markets of each other (clients can’t obtain market overview)</a:t>
              </a:r>
              <a:endParaRPr lang="en-US" sz="1100" noProof="1"/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4645420" y="1558805"/>
              <a:ext cx="2015926" cy="7146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Temporal</a:t>
              </a:r>
              <a:b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ice differentiation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4645421" y="2273421"/>
              <a:ext cx="2015926" cy="317350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0" anchor="t" anchorCtr="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Customers pay different prices for the same performance as a function of the day, week or year</a:t>
              </a:r>
              <a:endParaRPr lang="en-US" sz="11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6806207" y="1555750"/>
              <a:ext cx="2014736" cy="7146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Usage-related</a:t>
              </a:r>
              <a:b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ice differentiation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6806206" y="2270366"/>
              <a:ext cx="2014737" cy="317350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0" anchor="t" anchorCtr="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>Price differentiation according to applications such as for example Fuel oil for heating / diesel for motor vehicles -&gt; </a:t>
              </a:r>
            </a:p>
            <a:p>
              <a:r>
                <a:rPr lang="en-US" sz="1100" noProof="1" smtClean="0"/>
                <a:t>Difficult to implement because it’s rarely seen in practice</a:t>
              </a:r>
              <a:endParaRPr lang="en-US" sz="11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79300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Distribution / Sales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27377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mparisson of the classical (above the line) and the “non-classical” </a:t>
            </a:r>
            <a:br>
              <a:rPr lang="en-US" noProof="1" smtClean="0"/>
            </a:br>
            <a:r>
              <a:rPr lang="en-US" noProof="1" smtClean="0"/>
              <a:t>(below the line) communication instruments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Communication Instruments</a:t>
            </a:r>
          </a:p>
        </p:txBody>
      </p:sp>
      <p:grpSp>
        <p:nvGrpSpPr>
          <p:cNvPr id="27" name="Gruppieren 26"/>
          <p:cNvGrpSpPr/>
          <p:nvPr/>
        </p:nvGrpSpPr>
        <p:grpSpPr>
          <a:xfrm>
            <a:off x="323850" y="1558827"/>
            <a:ext cx="8497092" cy="4243486"/>
            <a:chOff x="323850" y="1558827"/>
            <a:chExt cx="8497092" cy="4243486"/>
          </a:xfrm>
        </p:grpSpPr>
        <p:grpSp>
          <p:nvGrpSpPr>
            <p:cNvPr id="2" name="Gruppieren 25"/>
            <p:cNvGrpSpPr/>
            <p:nvPr/>
          </p:nvGrpSpPr>
          <p:grpSpPr>
            <a:xfrm>
              <a:off x="4643438" y="1566013"/>
              <a:ext cx="4177504" cy="4236300"/>
              <a:chOff x="4643438" y="1566013"/>
              <a:chExt cx="4177504" cy="4236300"/>
            </a:xfrm>
          </p:grpSpPr>
          <p:sp>
            <p:nvSpPr>
              <p:cNvPr id="5" name="Rechteck 4"/>
              <p:cNvSpPr/>
              <p:nvPr/>
            </p:nvSpPr>
            <p:spPr bwMode="gray">
              <a:xfrm>
                <a:off x="4643438" y="1566013"/>
                <a:ext cx="4176712" cy="369332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Below The Line (BTL)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gray">
              <a:xfrm>
                <a:off x="4645817" y="1916113"/>
                <a:ext cx="4175125" cy="38862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Rechteck 66"/>
              <p:cNvSpPr/>
              <p:nvPr/>
            </p:nvSpPr>
            <p:spPr bwMode="gray">
              <a:xfrm>
                <a:off x="4803446" y="2393576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ponsoring</a:t>
                </a:r>
              </a:p>
            </p:txBody>
          </p:sp>
          <p:sp>
            <p:nvSpPr>
              <p:cNvPr id="68" name="Rechteck 67"/>
              <p:cNvSpPr/>
              <p:nvPr/>
            </p:nvSpPr>
            <p:spPr bwMode="gray">
              <a:xfrm>
                <a:off x="4803446" y="2724374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vent marketing</a:t>
                </a:r>
              </a:p>
            </p:txBody>
          </p:sp>
          <p:sp>
            <p:nvSpPr>
              <p:cNvPr id="69" name="Rechteck 68"/>
              <p:cNvSpPr/>
              <p:nvPr/>
            </p:nvSpPr>
            <p:spPr bwMode="gray">
              <a:xfrm>
                <a:off x="4803446" y="3055171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xhibitions / Trade fair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 bwMode="gray">
              <a:xfrm>
                <a:off x="4803446" y="3385969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duct placement</a:t>
                </a:r>
              </a:p>
            </p:txBody>
          </p:sp>
          <p:sp>
            <p:nvSpPr>
              <p:cNvPr id="71" name="Rechteck 70"/>
              <p:cNvSpPr/>
              <p:nvPr/>
            </p:nvSpPr>
            <p:spPr bwMode="gray">
              <a:xfrm>
                <a:off x="4803446" y="3716767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motions</a:t>
                </a:r>
              </a:p>
            </p:txBody>
          </p:sp>
          <p:sp>
            <p:nvSpPr>
              <p:cNvPr id="72" name="Rechteck 71"/>
              <p:cNvSpPr/>
              <p:nvPr/>
            </p:nvSpPr>
            <p:spPr bwMode="gray">
              <a:xfrm>
                <a:off x="4803446" y="4047564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irect marketing</a:t>
                </a:r>
              </a:p>
            </p:txBody>
          </p:sp>
          <p:sp>
            <p:nvSpPr>
              <p:cNvPr id="73" name="Rechteck 72"/>
              <p:cNvSpPr/>
              <p:nvPr/>
            </p:nvSpPr>
            <p:spPr bwMode="gray">
              <a:xfrm>
                <a:off x="4803446" y="4378362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Mobile marketing</a:t>
                </a:r>
              </a:p>
            </p:txBody>
          </p:sp>
          <p:sp>
            <p:nvSpPr>
              <p:cNvPr id="78" name="Rechteck 77"/>
              <p:cNvSpPr/>
              <p:nvPr/>
            </p:nvSpPr>
            <p:spPr bwMode="gray">
              <a:xfrm>
                <a:off x="4803446" y="4709160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Online marketing / Search engines</a:t>
                </a:r>
              </a:p>
            </p:txBody>
          </p:sp>
          <p:sp>
            <p:nvSpPr>
              <p:cNvPr id="79" name="Rechteck 78"/>
              <p:cNvSpPr/>
              <p:nvPr/>
            </p:nvSpPr>
            <p:spPr bwMode="gray">
              <a:xfrm>
                <a:off x="4803446" y="5039958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Viral marketing / Guerilla marketing</a:t>
                </a:r>
              </a:p>
            </p:txBody>
          </p:sp>
          <p:sp>
            <p:nvSpPr>
              <p:cNvPr id="80" name="Rechteck 79"/>
              <p:cNvSpPr/>
              <p:nvPr/>
            </p:nvSpPr>
            <p:spPr bwMode="gray">
              <a:xfrm>
                <a:off x="4803446" y="5370755"/>
                <a:ext cx="3838532" cy="330798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… further instruments</a:t>
                </a:r>
              </a:p>
            </p:txBody>
          </p:sp>
          <p:sp>
            <p:nvSpPr>
              <p:cNvPr id="83" name="Rechteck 82"/>
              <p:cNvSpPr/>
              <p:nvPr/>
            </p:nvSpPr>
            <p:spPr bwMode="gray">
              <a:xfrm>
                <a:off x="4643438" y="2024412"/>
                <a:ext cx="417671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noProof="1" smtClean="0"/>
                  <a:t>Alternative marketing</a:t>
                </a:r>
                <a:endParaRPr lang="en-US" noProof="1"/>
              </a:p>
            </p:txBody>
          </p:sp>
        </p:grpSp>
        <p:grpSp>
          <p:nvGrpSpPr>
            <p:cNvPr id="4" name="Gruppieren 26"/>
            <p:cNvGrpSpPr/>
            <p:nvPr/>
          </p:nvGrpSpPr>
          <p:grpSpPr>
            <a:xfrm>
              <a:off x="323850" y="1558827"/>
              <a:ext cx="4175125" cy="4243486"/>
              <a:chOff x="323850" y="1558827"/>
              <a:chExt cx="4175125" cy="4243486"/>
            </a:xfrm>
          </p:grpSpPr>
          <p:sp>
            <p:nvSpPr>
              <p:cNvPr id="3" name="Rechteck 2"/>
              <p:cNvSpPr/>
              <p:nvPr/>
            </p:nvSpPr>
            <p:spPr bwMode="gray">
              <a:xfrm>
                <a:off x="323850" y="1558827"/>
                <a:ext cx="4175125" cy="369332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Above The Line (ATL)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8" name="Rechteck 7"/>
              <p:cNvSpPr/>
              <p:nvPr/>
            </p:nvSpPr>
            <p:spPr bwMode="gray">
              <a:xfrm>
                <a:off x="323850" y="1916113"/>
                <a:ext cx="4175125" cy="38862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gray">
              <a:xfrm>
                <a:off x="495519" y="2393576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lassical advertisement</a:t>
                </a:r>
              </a:p>
            </p:txBody>
          </p:sp>
          <p:sp>
            <p:nvSpPr>
              <p:cNvPr id="75" name="Rechteck 74"/>
              <p:cNvSpPr/>
              <p:nvPr/>
            </p:nvSpPr>
            <p:spPr bwMode="gray">
              <a:xfrm>
                <a:off x="495519" y="2724374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int media</a:t>
                </a:r>
              </a:p>
            </p:txBody>
          </p:sp>
          <p:sp>
            <p:nvSpPr>
              <p:cNvPr id="76" name="Rechteck 75"/>
              <p:cNvSpPr/>
              <p:nvPr/>
            </p:nvSpPr>
            <p:spPr bwMode="gray">
              <a:xfrm>
                <a:off x="495519" y="3055171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adio / TV / Movies</a:t>
                </a:r>
              </a:p>
            </p:txBody>
          </p:sp>
          <p:sp>
            <p:nvSpPr>
              <p:cNvPr id="77" name="Rechteck 76"/>
              <p:cNvSpPr/>
              <p:nvPr/>
            </p:nvSpPr>
            <p:spPr bwMode="gray">
              <a:xfrm>
                <a:off x="495519" y="3385969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Outdoor advertisement  / Billboard advertisement 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 bwMode="gray">
              <a:xfrm>
                <a:off x="323850" y="2017226"/>
                <a:ext cx="417512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noProof="1" smtClean="0"/>
                  <a:t>Classical marketing</a:t>
                </a:r>
                <a:endParaRPr lang="en-US" noProof="1"/>
              </a:p>
            </p:txBody>
          </p:sp>
          <p:sp>
            <p:nvSpPr>
              <p:cNvPr id="66" name="Rechteck 65"/>
              <p:cNvSpPr/>
              <p:nvPr/>
            </p:nvSpPr>
            <p:spPr bwMode="gray">
              <a:xfrm>
                <a:off x="495519" y="3716766"/>
                <a:ext cx="3838532" cy="33079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ublic relation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8176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Advertising Measur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dvertising types in classic media and online</a:t>
            </a:r>
            <a:endParaRPr lang="en-US" noProof="1"/>
          </a:p>
        </p:txBody>
      </p:sp>
      <p:grpSp>
        <p:nvGrpSpPr>
          <p:cNvPr id="38" name="Gruppieren 37"/>
          <p:cNvGrpSpPr/>
          <p:nvPr/>
        </p:nvGrpSpPr>
        <p:grpSpPr>
          <a:xfrm>
            <a:off x="323850" y="1555749"/>
            <a:ext cx="8497092" cy="4266820"/>
            <a:chOff x="323850" y="1555749"/>
            <a:chExt cx="8497092" cy="4266820"/>
          </a:xfrm>
        </p:grpSpPr>
        <p:grpSp>
          <p:nvGrpSpPr>
            <p:cNvPr id="4" name="Gruppieren 54"/>
            <p:cNvGrpSpPr/>
            <p:nvPr/>
          </p:nvGrpSpPr>
          <p:grpSpPr bwMode="gray">
            <a:xfrm>
              <a:off x="323850" y="1555749"/>
              <a:ext cx="4175125" cy="4266820"/>
              <a:chOff x="323850" y="1555749"/>
              <a:chExt cx="4175125" cy="3079566"/>
            </a:xfrm>
          </p:grpSpPr>
          <p:sp>
            <p:nvSpPr>
              <p:cNvPr id="56" name="Rechteck 55"/>
              <p:cNvSpPr/>
              <p:nvPr/>
            </p:nvSpPr>
            <p:spPr bwMode="gray">
              <a:xfrm>
                <a:off x="323850" y="1555749"/>
                <a:ext cx="4175125" cy="51326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Classic Media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grpSp>
            <p:nvGrpSpPr>
              <p:cNvPr id="5" name="Gruppieren 20"/>
              <p:cNvGrpSpPr/>
              <p:nvPr/>
            </p:nvGrpSpPr>
            <p:grpSpPr bwMode="gray">
              <a:xfrm>
                <a:off x="323851" y="2069010"/>
                <a:ext cx="4175124" cy="513261"/>
                <a:chOff x="323851" y="1554480"/>
                <a:chExt cx="5490140" cy="1606731"/>
              </a:xfrm>
            </p:grpSpPr>
            <p:sp>
              <p:nvSpPr>
                <p:cNvPr id="70" name="Rechteck 69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Direct mail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71" name="Rechteck 70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Events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6" name="Gruppieren 23"/>
              <p:cNvGrpSpPr/>
              <p:nvPr/>
            </p:nvGrpSpPr>
            <p:grpSpPr bwMode="gray">
              <a:xfrm>
                <a:off x="323851" y="2582271"/>
                <a:ext cx="4175124" cy="513261"/>
                <a:chOff x="323851" y="1554480"/>
                <a:chExt cx="5490140" cy="1606731"/>
              </a:xfrm>
            </p:grpSpPr>
            <p:sp>
              <p:nvSpPr>
                <p:cNvPr id="68" name="Rechteck 67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Movies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9" name="Rechteck 68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Posters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7" name="Gruppieren 26"/>
              <p:cNvGrpSpPr/>
              <p:nvPr/>
            </p:nvGrpSpPr>
            <p:grpSpPr bwMode="gray">
              <a:xfrm>
                <a:off x="323851" y="3095532"/>
                <a:ext cx="4175124" cy="513261"/>
                <a:chOff x="323851" y="1554480"/>
                <a:chExt cx="5490140" cy="1606731"/>
              </a:xfrm>
            </p:grpSpPr>
            <p:sp>
              <p:nvSpPr>
                <p:cNvPr id="66" name="Rechteck 65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PR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7" name="Rechteck 66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Print media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8" name="Gruppieren 29"/>
              <p:cNvGrpSpPr/>
              <p:nvPr/>
            </p:nvGrpSpPr>
            <p:grpSpPr bwMode="gray">
              <a:xfrm>
                <a:off x="323851" y="3608793"/>
                <a:ext cx="4175124" cy="513261"/>
                <a:chOff x="323851" y="1554480"/>
                <a:chExt cx="5490140" cy="1606731"/>
              </a:xfrm>
            </p:grpSpPr>
            <p:sp>
              <p:nvSpPr>
                <p:cNvPr id="64" name="Rechteck 63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Sponsoring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5" name="Rechteck 64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Telephone/Fax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9" name="Gruppieren 33"/>
              <p:cNvGrpSpPr/>
              <p:nvPr/>
            </p:nvGrpSpPr>
            <p:grpSpPr bwMode="gray">
              <a:xfrm>
                <a:off x="323851" y="4122054"/>
                <a:ext cx="4175124" cy="513261"/>
                <a:chOff x="323851" y="1554480"/>
                <a:chExt cx="5490140" cy="1606731"/>
              </a:xfrm>
            </p:grpSpPr>
            <p:sp>
              <p:nvSpPr>
                <p:cNvPr id="62" name="Rechteck 61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Teletext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3" name="Rechteck 62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TV &amp; Radio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10" name="Gruppieren 71"/>
            <p:cNvGrpSpPr/>
            <p:nvPr/>
          </p:nvGrpSpPr>
          <p:grpSpPr bwMode="gray">
            <a:xfrm>
              <a:off x="4645817" y="1555749"/>
              <a:ext cx="4175125" cy="4266820"/>
              <a:chOff x="323850" y="1555749"/>
              <a:chExt cx="4175125" cy="3079566"/>
            </a:xfrm>
          </p:grpSpPr>
          <p:sp>
            <p:nvSpPr>
              <p:cNvPr id="73" name="Rechteck 72"/>
              <p:cNvSpPr/>
              <p:nvPr/>
            </p:nvSpPr>
            <p:spPr bwMode="gray">
              <a:xfrm>
                <a:off x="323850" y="1555749"/>
                <a:ext cx="4175125" cy="51326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Online-Medien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grpSp>
            <p:nvGrpSpPr>
              <p:cNvPr id="11" name="Gruppieren 39"/>
              <p:cNvGrpSpPr/>
              <p:nvPr/>
            </p:nvGrpSpPr>
            <p:grpSpPr bwMode="gray">
              <a:xfrm>
                <a:off x="323851" y="2069010"/>
                <a:ext cx="4175124" cy="513261"/>
                <a:chOff x="323851" y="1554480"/>
                <a:chExt cx="5490140" cy="1606731"/>
              </a:xfrm>
            </p:grpSpPr>
            <p:sp>
              <p:nvSpPr>
                <p:cNvPr id="87" name="Rechteck 86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Affiliate - program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8" name="Rechteck 87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Banner campaign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2" name="Gruppieren 40"/>
              <p:cNvGrpSpPr/>
              <p:nvPr/>
            </p:nvGrpSpPr>
            <p:grpSpPr bwMode="gray">
              <a:xfrm>
                <a:off x="323851" y="2582271"/>
                <a:ext cx="4175124" cy="513261"/>
                <a:chOff x="323851" y="1554480"/>
                <a:chExt cx="5490140" cy="1606731"/>
              </a:xfrm>
            </p:grpSpPr>
            <p:sp>
              <p:nvSpPr>
                <p:cNvPr id="85" name="Rechteck 84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E-Mail marketing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6" name="Rechteck 85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Keyword advertising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3" name="Gruppieren 41"/>
              <p:cNvGrpSpPr/>
              <p:nvPr/>
            </p:nvGrpSpPr>
            <p:grpSpPr bwMode="gray">
              <a:xfrm>
                <a:off x="323851" y="3095532"/>
                <a:ext cx="4175124" cy="513261"/>
                <a:chOff x="323851" y="1554480"/>
                <a:chExt cx="5490140" cy="1606731"/>
              </a:xfrm>
            </p:grpSpPr>
            <p:sp>
              <p:nvSpPr>
                <p:cNvPr id="83" name="Rechteck 82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PR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4" name="Rechteck 83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Mobile marketing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4" name="Gruppieren 42"/>
              <p:cNvGrpSpPr/>
              <p:nvPr/>
            </p:nvGrpSpPr>
            <p:grpSpPr bwMode="gray">
              <a:xfrm>
                <a:off x="323851" y="3608793"/>
                <a:ext cx="4175124" cy="513261"/>
                <a:chOff x="323851" y="1554480"/>
                <a:chExt cx="5490140" cy="1606731"/>
              </a:xfrm>
            </p:grpSpPr>
            <p:sp>
              <p:nvSpPr>
                <p:cNvPr id="81" name="Rechteck 80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Sponsoring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2" name="Rechteck 81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Product serarch </a:t>
                  </a:r>
                  <a:r>
                    <a:rPr lang="en-US" sz="1600" noProof="1">
                      <a:solidFill>
                        <a:srgbClr val="000000"/>
                      </a:solidFill>
                      <a:cs typeface="Arial" charset="0"/>
                    </a:rPr>
                    <a:t>e</a:t>
                  </a: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ngines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15" name="Gruppieren 43"/>
              <p:cNvGrpSpPr/>
              <p:nvPr/>
            </p:nvGrpSpPr>
            <p:grpSpPr bwMode="gray">
              <a:xfrm>
                <a:off x="323851" y="4122054"/>
                <a:ext cx="4175124" cy="513261"/>
                <a:chOff x="323851" y="1554480"/>
                <a:chExt cx="5490140" cy="1606731"/>
              </a:xfrm>
            </p:grpSpPr>
            <p:sp>
              <p:nvSpPr>
                <p:cNvPr id="79" name="Rechteck 78"/>
                <p:cNvSpPr/>
                <p:nvPr/>
              </p:nvSpPr>
              <p:spPr bwMode="gray">
                <a:xfrm>
                  <a:off x="32385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r>
                    <a:rPr lang="en-US" sz="1600" noProof="1" smtClean="0">
                      <a:solidFill>
                        <a:srgbClr val="000000"/>
                      </a:solidFill>
                      <a:cs typeface="Arial" charset="0"/>
                    </a:rPr>
                    <a:t>Teletext</a:t>
                  </a: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80" name="Rechteck 79"/>
                <p:cNvSpPr/>
                <p:nvPr/>
              </p:nvSpPr>
              <p:spPr bwMode="gray">
                <a:xfrm>
                  <a:off x="3068921" y="1554480"/>
                  <a:ext cx="2745070" cy="1606731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 anchor="ctr" anchorCtr="0"/>
                <a:lstStyle/>
                <a:p>
                  <a:pPr algn="ctr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defRPr/>
                  </a:pPr>
                  <a:endParaRPr lang="en-US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58"/>
          <p:cNvGrpSpPr/>
          <p:nvPr/>
        </p:nvGrpSpPr>
        <p:grpSpPr bwMode="gray">
          <a:xfrm>
            <a:off x="0" y="1236061"/>
            <a:ext cx="9144000" cy="2950464"/>
            <a:chOff x="0" y="1953768"/>
            <a:chExt cx="9144000" cy="2950464"/>
          </a:xfrm>
        </p:grpSpPr>
        <p:pic>
          <p:nvPicPr>
            <p:cNvPr id="60" name="Grafik 59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1953768"/>
              <a:ext cx="9144000" cy="2950464"/>
            </a:xfrm>
            <a:prstGeom prst="rect">
              <a:avLst/>
            </a:prstGeom>
          </p:spPr>
        </p:pic>
        <p:pic>
          <p:nvPicPr>
            <p:cNvPr id="61" name="Grafik 60"/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1373" t="19768" r="54020" b="50152"/>
            <a:stretch/>
          </p:blipFill>
          <p:spPr bwMode="gray">
            <a:xfrm>
              <a:off x="2868706" y="2537012"/>
              <a:ext cx="1335741" cy="887506"/>
            </a:xfrm>
            <a:prstGeom prst="rect">
              <a:avLst/>
            </a:prstGeom>
          </p:spPr>
        </p:pic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/>
              <a:t>Comparisson of the classical (above the line) and </a:t>
            </a:r>
            <a:r>
              <a:rPr lang="en-US" noProof="1" smtClean="0"/>
              <a:t>the “non-classical</a:t>
            </a:r>
            <a:r>
              <a:rPr lang="en-US" noProof="1"/>
              <a:t>” </a:t>
            </a:r>
            <a:br>
              <a:rPr lang="en-US" noProof="1"/>
            </a:br>
            <a:r>
              <a:rPr lang="en-US" noProof="1"/>
              <a:t>(below the line) communication instruments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Communication Instrument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224119" y="1770910"/>
            <a:ext cx="8919881" cy="2880773"/>
            <a:chOff x="224119" y="1770910"/>
            <a:chExt cx="8919881" cy="2880773"/>
          </a:xfrm>
        </p:grpSpPr>
        <p:sp>
          <p:nvSpPr>
            <p:cNvPr id="4" name="Rechteck 3"/>
            <p:cNvSpPr/>
            <p:nvPr/>
          </p:nvSpPr>
          <p:spPr bwMode="gray">
            <a:xfrm>
              <a:off x="224364" y="2433474"/>
              <a:ext cx="346934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noProof="1" smtClean="0"/>
                <a:t>Classical marketing- </a:t>
              </a:r>
              <a:br>
                <a:rPr lang="en-US" sz="1200" noProof="1" smtClean="0"/>
              </a:br>
              <a:r>
                <a:rPr lang="en-US" sz="1200" noProof="1" smtClean="0"/>
                <a:t>recognizable for everybody</a:t>
              </a:r>
              <a:endParaRPr lang="en-US" sz="1200" noProof="1"/>
            </a:p>
          </p:txBody>
        </p:sp>
        <p:sp>
          <p:nvSpPr>
            <p:cNvPr id="36" name="Rechteck 35"/>
            <p:cNvSpPr/>
            <p:nvPr/>
          </p:nvSpPr>
          <p:spPr bwMode="gray">
            <a:xfrm>
              <a:off x="224364" y="2075341"/>
              <a:ext cx="21739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b="1" noProof="1" smtClean="0"/>
                <a:t>Above The Line (ATL)</a:t>
              </a:r>
              <a:endParaRPr lang="en-US" noProof="1"/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224119" y="3621741"/>
              <a:ext cx="21652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b="1" noProof="1" smtClean="0"/>
                <a:t>Below The Line (BTL)</a:t>
              </a:r>
              <a:endParaRPr lang="en-US" noProof="1"/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224365" y="4005352"/>
              <a:ext cx="231289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noProof="1" smtClean="0"/>
                <a:t>Alternative marketing- </a:t>
              </a:r>
              <a:br>
                <a:rPr lang="en-US" sz="1200" noProof="1" smtClean="0"/>
              </a:br>
              <a:r>
                <a:rPr lang="en-US" sz="1200" noProof="1" smtClean="0"/>
                <a:t>mainly visible only for </a:t>
              </a:r>
            </a:p>
            <a:p>
              <a:r>
                <a:rPr lang="en-US" sz="1200" noProof="1" smtClean="0"/>
                <a:t>targeted groups</a:t>
              </a:r>
              <a:endParaRPr lang="en-US" sz="1200" noProof="1"/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4683297" y="1770910"/>
              <a:ext cx="4460703" cy="25683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t" anchorCtr="0"/>
            <a:lstStyle/>
            <a:p>
              <a:r>
                <a:rPr lang="en-US" sz="1600" noProof="1" smtClean="0"/>
                <a:t>Classical advertisement</a:t>
              </a:r>
              <a:br>
                <a:rPr lang="en-US" sz="1600" noProof="1" smtClean="0"/>
              </a:br>
              <a:r>
                <a:rPr lang="en-US" sz="1600" noProof="1" smtClean="0"/>
                <a:t>Print media</a:t>
              </a:r>
            </a:p>
            <a:p>
              <a:r>
                <a:rPr lang="en-US" sz="1600" noProof="1" smtClean="0"/>
                <a:t>Radio / TV / Movies</a:t>
              </a:r>
            </a:p>
            <a:p>
              <a:r>
                <a:rPr lang="en-US" sz="1600" noProof="1" smtClean="0"/>
                <a:t>Outdoor advertisement  / Billboard advertisement </a:t>
              </a:r>
            </a:p>
            <a:p>
              <a:r>
                <a:rPr lang="en-US" sz="1600" noProof="1" smtClean="0"/>
                <a:t>Public relations</a:t>
              </a:r>
            </a:p>
            <a:p>
              <a:endParaRPr lang="en-US" sz="1600" noProof="1"/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4691248" y="3542419"/>
              <a:ext cx="3838532" cy="25683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t" anchorCtr="0"/>
            <a:lstStyle/>
            <a:p>
              <a:r>
                <a:rPr lang="en-US" sz="1600" noProof="1" smtClean="0"/>
                <a:t>Sponsoring</a:t>
              </a:r>
              <a:br>
                <a:rPr lang="en-US" sz="1600" noProof="1" smtClean="0"/>
              </a:br>
              <a:r>
                <a:rPr lang="en-US" sz="1600" noProof="1" smtClean="0"/>
                <a:t>Event marketing</a:t>
              </a:r>
              <a:br>
                <a:rPr lang="en-US" sz="1600" noProof="1" smtClean="0"/>
              </a:br>
              <a:r>
                <a:rPr lang="en-US" sz="1600" noProof="1" smtClean="0"/>
                <a:t>Exhibitions / Trade fair</a:t>
              </a:r>
            </a:p>
            <a:p>
              <a:r>
                <a:rPr lang="en-US" sz="1600" noProof="1" smtClean="0"/>
                <a:t>Product placement</a:t>
              </a:r>
            </a:p>
            <a:p>
              <a:r>
                <a:rPr lang="en-US" sz="1600" noProof="1" smtClean="0"/>
                <a:t>Promotions</a:t>
              </a:r>
            </a:p>
            <a:p>
              <a:r>
                <a:rPr lang="en-US" sz="1600" noProof="1" smtClean="0"/>
                <a:t>Direct marketing</a:t>
              </a:r>
            </a:p>
            <a:p>
              <a:r>
                <a:rPr lang="en-US" sz="1600" noProof="1" smtClean="0"/>
                <a:t>Mobile marketing</a:t>
              </a:r>
            </a:p>
            <a:p>
              <a:r>
                <a:rPr lang="en-US" sz="1600" noProof="1" smtClean="0"/>
                <a:t>Online marketing / </a:t>
              </a: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Search engines</a:t>
              </a:r>
            </a:p>
            <a:p>
              <a:r>
                <a:rPr lang="en-US" sz="1600" noProof="1" smtClean="0"/>
                <a:t>Viral marketing / Guerilla marketing</a:t>
              </a:r>
            </a:p>
            <a:p>
              <a:endParaRPr lang="en-US" sz="1600" noProof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9404973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urchase Decision Process Phas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Graphical representation of the five phases of an extensive buying decision process (real purchasing decision)</a:t>
            </a:r>
            <a:endParaRPr lang="en-US" noProof="1"/>
          </a:p>
        </p:txBody>
      </p:sp>
      <p:grpSp>
        <p:nvGrpSpPr>
          <p:cNvPr id="16" name="Gruppieren 15"/>
          <p:cNvGrpSpPr/>
          <p:nvPr/>
        </p:nvGrpSpPr>
        <p:grpSpPr>
          <a:xfrm>
            <a:off x="237708" y="1370637"/>
            <a:ext cx="8282301" cy="4675843"/>
            <a:chOff x="237708" y="1370637"/>
            <a:chExt cx="8282301" cy="4675843"/>
          </a:xfrm>
        </p:grpSpPr>
        <p:sp>
          <p:nvSpPr>
            <p:cNvPr id="7" name="Textfeld 6"/>
            <p:cNvSpPr txBox="1"/>
            <p:nvPr/>
          </p:nvSpPr>
          <p:spPr bwMode="gray">
            <a:xfrm>
              <a:off x="6262340" y="1844559"/>
              <a:ext cx="136793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/>
                <a:t>Information search</a:t>
              </a:r>
            </a:p>
            <a:p>
              <a:r>
                <a:rPr lang="en-US" sz="1200" noProof="1"/>
                <a:t>o</a:t>
              </a:r>
              <a:r>
                <a:rPr lang="en-US" sz="1200" noProof="1" smtClean="0"/>
                <a:t>ffline / online</a:t>
              </a:r>
              <a:endParaRPr lang="en-US" sz="1200" noProof="1"/>
            </a:p>
          </p:txBody>
        </p:sp>
        <p:sp>
          <p:nvSpPr>
            <p:cNvPr id="8" name="Textfeld 7"/>
            <p:cNvSpPr txBox="1"/>
            <p:nvPr/>
          </p:nvSpPr>
          <p:spPr bwMode="gray">
            <a:xfrm>
              <a:off x="6262340" y="5215483"/>
              <a:ext cx="225766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Testing of alternatives regarding</a:t>
              </a:r>
              <a:br>
                <a:rPr lang="en-US" sz="1200" noProof="1" smtClean="0"/>
              </a:br>
              <a:r>
                <a:rPr lang="en-US" sz="1200" noProof="1" smtClean="0"/>
                <a:t>suitability and satisfaction of the </a:t>
              </a:r>
              <a:br>
                <a:rPr lang="en-US" sz="1200" noProof="1" smtClean="0"/>
              </a:br>
              <a:r>
                <a:rPr lang="en-US" sz="1200" noProof="1" smtClean="0"/>
                <a:t>purchase need (requirement / </a:t>
              </a:r>
              <a:br>
                <a:rPr lang="en-US" sz="1200" noProof="1" smtClean="0"/>
              </a:br>
              <a:r>
                <a:rPr lang="en-US" sz="1200" noProof="1" smtClean="0"/>
                <a:t>demand)</a:t>
              </a:r>
              <a:endParaRPr lang="en-US" sz="1200" noProof="1"/>
            </a:p>
          </p:txBody>
        </p:sp>
        <p:sp>
          <p:nvSpPr>
            <p:cNvPr id="9" name="Textfeld 8"/>
            <p:cNvSpPr txBox="1"/>
            <p:nvPr/>
          </p:nvSpPr>
          <p:spPr bwMode="gray">
            <a:xfrm>
              <a:off x="3263135" y="5291683"/>
              <a:ext cx="268177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noProof="1" smtClean="0"/>
                <a:t>Acquisition decision, if the </a:t>
              </a:r>
              <a:br>
                <a:rPr lang="en-US" sz="1200" noProof="1" smtClean="0"/>
              </a:br>
              <a:r>
                <a:rPr lang="en-US" sz="1200" noProof="1" smtClean="0"/>
                <a:t>necessary purchasing power is available.</a:t>
              </a:r>
              <a:endParaRPr lang="en-US" sz="1200" noProof="1"/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237708" y="1844559"/>
              <a:ext cx="247375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noProof="1" smtClean="0"/>
                <a:t>Demand or lack recognition (motive)</a:t>
              </a:r>
              <a:endParaRPr lang="en-US" sz="1200" noProof="1"/>
            </a:p>
          </p:txBody>
        </p:sp>
        <p:sp>
          <p:nvSpPr>
            <p:cNvPr id="11" name="Textfeld 10"/>
            <p:cNvSpPr txBox="1"/>
            <p:nvPr/>
          </p:nvSpPr>
          <p:spPr bwMode="gray">
            <a:xfrm>
              <a:off x="1325457" y="4274383"/>
              <a:ext cx="90678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Evaluation, </a:t>
              </a:r>
              <a:br>
                <a:rPr lang="en-US" sz="1200" noProof="1" smtClean="0"/>
              </a:br>
              <a:r>
                <a:rPr lang="en-US" sz="1200" noProof="1" smtClean="0"/>
                <a:t>feedback,</a:t>
              </a:r>
            </a:p>
            <a:p>
              <a:r>
                <a:rPr lang="en-US" sz="1200" noProof="1" smtClean="0"/>
                <a:t>service</a:t>
              </a:r>
              <a:endParaRPr lang="en-US" sz="1200" noProof="1"/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4121856" y="3398669"/>
              <a:ext cx="194688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noProof="1"/>
                <a:t>Purchase Decision </a:t>
              </a:r>
            </a:p>
          </p:txBody>
        </p:sp>
        <p:grpSp>
          <p:nvGrpSpPr>
            <p:cNvPr id="4" name="Gruppieren 22"/>
            <p:cNvGrpSpPr/>
            <p:nvPr/>
          </p:nvGrpSpPr>
          <p:grpSpPr bwMode="gray">
            <a:xfrm>
              <a:off x="598254" y="1370637"/>
              <a:ext cx="7143506" cy="4233863"/>
              <a:chOff x="-5889626" y="523875"/>
              <a:chExt cx="5618163" cy="4233863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perspectiveRelaxed">
                <a:rot lat="18873603" lon="0" rev="0"/>
              </a:camera>
              <a:lightRig rig="balanced" dir="t"/>
            </a:scene3d>
          </p:grpSpPr>
          <p:sp>
            <p:nvSpPr>
              <p:cNvPr id="5126" name="Freeform 6"/>
              <p:cNvSpPr>
                <a:spLocks/>
              </p:cNvSpPr>
              <p:nvPr/>
            </p:nvSpPr>
            <p:spPr bwMode="gray">
              <a:xfrm>
                <a:off x="-2247901" y="820738"/>
                <a:ext cx="1976438" cy="1822450"/>
              </a:xfrm>
              <a:custGeom>
                <a:avLst/>
                <a:gdLst/>
                <a:ahLst/>
                <a:cxnLst>
                  <a:cxn ang="0">
                    <a:pos x="435" y="324"/>
                  </a:cxn>
                  <a:cxn ang="0">
                    <a:pos x="0" y="0"/>
                  </a:cxn>
                  <a:cxn ang="0">
                    <a:pos x="86" y="126"/>
                  </a:cxn>
                  <a:cxn ang="0">
                    <a:pos x="9" y="264"/>
                  </a:cxn>
                  <a:cxn ang="0">
                    <a:pos x="181" y="392"/>
                  </a:cxn>
                  <a:cxn ang="0">
                    <a:pos x="90" y="417"/>
                  </a:cxn>
                  <a:cxn ang="0">
                    <a:pos x="204" y="447"/>
                  </a:cxn>
                  <a:cxn ang="0">
                    <a:pos x="351" y="486"/>
                  </a:cxn>
                  <a:cxn ang="0">
                    <a:pos x="453" y="377"/>
                  </a:cxn>
                  <a:cxn ang="0">
                    <a:pos x="527" y="299"/>
                  </a:cxn>
                  <a:cxn ang="0">
                    <a:pos x="435" y="324"/>
                  </a:cxn>
                </a:cxnLst>
                <a:rect l="0" t="0" r="r" b="b"/>
                <a:pathLst>
                  <a:path w="527" h="486">
                    <a:moveTo>
                      <a:pt x="435" y="324"/>
                    </a:moveTo>
                    <a:cubicBezTo>
                      <a:pt x="362" y="148"/>
                      <a:pt x="197" y="20"/>
                      <a:pt x="0" y="0"/>
                    </a:cubicBezTo>
                    <a:cubicBezTo>
                      <a:pt x="86" y="126"/>
                      <a:pt x="86" y="126"/>
                      <a:pt x="86" y="126"/>
                    </a:cubicBezTo>
                    <a:cubicBezTo>
                      <a:pt x="9" y="264"/>
                      <a:pt x="9" y="264"/>
                      <a:pt x="9" y="264"/>
                    </a:cubicBezTo>
                    <a:cubicBezTo>
                      <a:pt x="83" y="281"/>
                      <a:pt x="145" y="328"/>
                      <a:pt x="181" y="392"/>
                    </a:cubicBezTo>
                    <a:cubicBezTo>
                      <a:pt x="90" y="417"/>
                      <a:pt x="90" y="417"/>
                      <a:pt x="90" y="417"/>
                    </a:cubicBezTo>
                    <a:cubicBezTo>
                      <a:pt x="204" y="447"/>
                      <a:pt x="204" y="447"/>
                      <a:pt x="204" y="447"/>
                    </a:cubicBezTo>
                    <a:cubicBezTo>
                      <a:pt x="351" y="486"/>
                      <a:pt x="351" y="486"/>
                      <a:pt x="351" y="486"/>
                    </a:cubicBezTo>
                    <a:cubicBezTo>
                      <a:pt x="453" y="377"/>
                      <a:pt x="453" y="377"/>
                      <a:pt x="453" y="377"/>
                    </a:cubicBezTo>
                    <a:cubicBezTo>
                      <a:pt x="527" y="299"/>
                      <a:pt x="527" y="299"/>
                      <a:pt x="527" y="299"/>
                    </a:cubicBezTo>
                    <a:lnTo>
                      <a:pt x="435" y="324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solidFill>
                  <a:srgbClr val="C0C0C0"/>
                </a:solidFill>
                <a:prstDash val="solid"/>
                <a:miter lim="800000"/>
                <a:headEnd/>
                <a:tailEnd/>
              </a:ln>
              <a:sp3d extrusionH="127000">
                <a:extrusionClr>
                  <a:srgbClr val="C8C8C8"/>
                </a:extrusionClr>
              </a:sp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Search</a:t>
                </a:r>
                <a:endParaRPr lang="en-US" sz="1400" noProof="1">
                  <a:solidFill>
                    <a:srgbClr val="000000"/>
                  </a:solidFill>
                </a:endParaRPr>
              </a:p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Phase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127" name="Freeform 7"/>
              <p:cNvSpPr>
                <a:spLocks/>
              </p:cNvSpPr>
              <p:nvPr/>
            </p:nvSpPr>
            <p:spPr bwMode="gray">
              <a:xfrm>
                <a:off x="-1966913" y="2338388"/>
                <a:ext cx="1497013" cy="2328862"/>
              </a:xfrm>
              <a:custGeom>
                <a:avLst/>
                <a:gdLst/>
                <a:ahLst/>
                <a:cxnLst>
                  <a:cxn ang="0">
                    <a:pos x="399" y="119"/>
                  </a:cxn>
                  <a:cxn ang="0">
                    <a:pos x="386" y="0"/>
                  </a:cxn>
                  <a:cxn ang="0">
                    <a:pos x="281" y="108"/>
                  </a:cxn>
                  <a:cxn ang="0">
                    <a:pos x="136" y="70"/>
                  </a:cxn>
                  <a:cxn ang="0">
                    <a:pos x="140" y="119"/>
                  </a:cxn>
                  <a:cxn ang="0">
                    <a:pos x="54" y="316"/>
                  </a:cxn>
                  <a:cxn ang="0">
                    <a:pos x="0" y="222"/>
                  </a:cxn>
                  <a:cxn ang="0">
                    <a:pos x="0" y="354"/>
                  </a:cxn>
                  <a:cxn ang="0">
                    <a:pos x="0" y="491"/>
                  </a:cxn>
                  <a:cxn ang="0">
                    <a:pos x="142" y="571"/>
                  </a:cxn>
                  <a:cxn ang="0">
                    <a:pos x="229" y="621"/>
                  </a:cxn>
                  <a:cxn ang="0">
                    <a:pos x="184" y="543"/>
                  </a:cxn>
                  <a:cxn ang="0">
                    <a:pos x="399" y="119"/>
                  </a:cxn>
                </a:cxnLst>
                <a:rect l="0" t="0" r="r" b="b"/>
                <a:pathLst>
                  <a:path w="399" h="621">
                    <a:moveTo>
                      <a:pt x="399" y="119"/>
                    </a:moveTo>
                    <a:cubicBezTo>
                      <a:pt x="399" y="78"/>
                      <a:pt x="394" y="38"/>
                      <a:pt x="386" y="0"/>
                    </a:cubicBezTo>
                    <a:cubicBezTo>
                      <a:pt x="281" y="108"/>
                      <a:pt x="281" y="108"/>
                      <a:pt x="281" y="108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39" y="86"/>
                      <a:pt x="140" y="102"/>
                      <a:pt x="140" y="119"/>
                    </a:cubicBezTo>
                    <a:cubicBezTo>
                      <a:pt x="140" y="197"/>
                      <a:pt x="107" y="267"/>
                      <a:pt x="54" y="316"/>
                    </a:cubicBezTo>
                    <a:cubicBezTo>
                      <a:pt x="0" y="222"/>
                      <a:pt x="0" y="222"/>
                      <a:pt x="0" y="222"/>
                    </a:cubicBezTo>
                    <a:cubicBezTo>
                      <a:pt x="0" y="354"/>
                      <a:pt x="0" y="354"/>
                      <a:pt x="0" y="354"/>
                    </a:cubicBezTo>
                    <a:cubicBezTo>
                      <a:pt x="0" y="491"/>
                      <a:pt x="0" y="491"/>
                      <a:pt x="0" y="491"/>
                    </a:cubicBezTo>
                    <a:cubicBezTo>
                      <a:pt x="142" y="571"/>
                      <a:pt x="142" y="571"/>
                      <a:pt x="142" y="571"/>
                    </a:cubicBezTo>
                    <a:cubicBezTo>
                      <a:pt x="229" y="621"/>
                      <a:pt x="229" y="621"/>
                      <a:pt x="229" y="621"/>
                    </a:cubicBezTo>
                    <a:cubicBezTo>
                      <a:pt x="184" y="543"/>
                      <a:pt x="184" y="543"/>
                      <a:pt x="184" y="543"/>
                    </a:cubicBezTo>
                    <a:cubicBezTo>
                      <a:pt x="315" y="447"/>
                      <a:pt x="399" y="293"/>
                      <a:pt x="399" y="119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4288" cap="flat">
                <a:solidFill>
                  <a:srgbClr val="C0C0C0"/>
                </a:solidFill>
                <a:prstDash val="solid"/>
                <a:miter lim="800000"/>
                <a:headEnd/>
                <a:tailEnd/>
              </a:ln>
              <a:sp3d extrusionH="127000">
                <a:extrusionClr>
                  <a:srgbClr val="C8C8C8"/>
                </a:extrusionClr>
              </a:sp3d>
            </p:spPr>
            <p:txBody>
              <a:bodyPr vert="horz" wrap="square" lIns="32400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Eevaluation</a:t>
                </a:r>
                <a:endParaRPr lang="en-US" sz="1400" noProof="1">
                  <a:solidFill>
                    <a:srgbClr val="000000"/>
                  </a:solidFill>
                </a:endParaRPr>
              </a:p>
              <a:p>
                <a:pPr algn="ctr"/>
                <a:r>
                  <a:rPr lang="en-US" sz="1400" noProof="1">
                    <a:solidFill>
                      <a:srgbClr val="000000"/>
                    </a:solidFill>
                  </a:rPr>
                  <a:t>and</a:t>
                </a:r>
              </a:p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Selection</a:t>
                </a:r>
                <a:endParaRPr lang="en-US" sz="1400" noProof="1">
                  <a:solidFill>
                    <a:srgbClr val="000000"/>
                  </a:solidFill>
                </a:endParaRPr>
              </a:p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Phase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128" name="Freeform 8"/>
              <p:cNvSpPr>
                <a:spLocks/>
              </p:cNvSpPr>
              <p:nvPr/>
            </p:nvSpPr>
            <p:spPr bwMode="gray">
              <a:xfrm>
                <a:off x="-3856038" y="3328988"/>
                <a:ext cx="2320925" cy="1428750"/>
              </a:xfrm>
              <a:custGeom>
                <a:avLst/>
                <a:gdLst/>
                <a:ahLst/>
                <a:cxnLst>
                  <a:cxn ang="0">
                    <a:pos x="481" y="242"/>
                  </a:cxn>
                  <a:cxn ang="0">
                    <a:pos x="481" y="101"/>
                  </a:cxn>
                  <a:cxn ang="0">
                    <a:pos x="377" y="122"/>
                  </a:cxn>
                  <a:cxn ang="0">
                    <a:pos x="233" y="79"/>
                  </a:cxn>
                  <a:cxn ang="0">
                    <a:pos x="299" y="0"/>
                  </a:cxn>
                  <a:cxn ang="0">
                    <a:pos x="186" y="41"/>
                  </a:cxn>
                  <a:cxn ang="0">
                    <a:pos x="44" y="93"/>
                  </a:cxn>
                  <a:cxn ang="0">
                    <a:pos x="19" y="240"/>
                  </a:cxn>
                  <a:cxn ang="0">
                    <a:pos x="0" y="357"/>
                  </a:cxn>
                  <a:cxn ang="0">
                    <a:pos x="66" y="278"/>
                  </a:cxn>
                  <a:cxn ang="0">
                    <a:pos x="377" y="381"/>
                  </a:cxn>
                  <a:cxn ang="0">
                    <a:pos x="619" y="322"/>
                  </a:cxn>
                  <a:cxn ang="0">
                    <a:pos x="481" y="242"/>
                  </a:cxn>
                </a:cxnLst>
                <a:rect l="0" t="0" r="r" b="b"/>
                <a:pathLst>
                  <a:path w="619" h="381">
                    <a:moveTo>
                      <a:pt x="481" y="242"/>
                    </a:moveTo>
                    <a:cubicBezTo>
                      <a:pt x="481" y="101"/>
                      <a:pt x="481" y="101"/>
                      <a:pt x="481" y="101"/>
                    </a:cubicBezTo>
                    <a:cubicBezTo>
                      <a:pt x="449" y="115"/>
                      <a:pt x="414" y="122"/>
                      <a:pt x="377" y="122"/>
                    </a:cubicBezTo>
                    <a:cubicBezTo>
                      <a:pt x="324" y="122"/>
                      <a:pt x="274" y="106"/>
                      <a:pt x="233" y="79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44" y="93"/>
                      <a:pt x="44" y="93"/>
                      <a:pt x="44" y="93"/>
                    </a:cubicBezTo>
                    <a:cubicBezTo>
                      <a:pt x="19" y="240"/>
                      <a:pt x="19" y="240"/>
                      <a:pt x="19" y="240"/>
                    </a:cubicBezTo>
                    <a:cubicBezTo>
                      <a:pt x="0" y="357"/>
                      <a:pt x="0" y="357"/>
                      <a:pt x="0" y="357"/>
                    </a:cubicBezTo>
                    <a:cubicBezTo>
                      <a:pt x="66" y="278"/>
                      <a:pt x="66" y="278"/>
                      <a:pt x="66" y="278"/>
                    </a:cubicBezTo>
                    <a:cubicBezTo>
                      <a:pt x="153" y="343"/>
                      <a:pt x="261" y="381"/>
                      <a:pt x="377" y="381"/>
                    </a:cubicBezTo>
                    <a:cubicBezTo>
                      <a:pt x="464" y="381"/>
                      <a:pt x="547" y="359"/>
                      <a:pt x="619" y="322"/>
                    </a:cubicBezTo>
                    <a:lnTo>
                      <a:pt x="481" y="242"/>
                    </a:lnTo>
                    <a:close/>
                  </a:path>
                </a:pathLst>
              </a:custGeom>
              <a:solidFill>
                <a:schemeClr val="accent1"/>
              </a:solidFill>
              <a:ln w="14288" cap="flat">
                <a:solidFill>
                  <a:srgbClr val="C0C0C0"/>
                </a:solidFill>
                <a:prstDash val="solid"/>
                <a:miter lim="800000"/>
                <a:headEnd/>
                <a:tailEnd/>
              </a:ln>
              <a:sp3d extrusionH="127000">
                <a:extrusionClr>
                  <a:srgbClr val="C8C8C8"/>
                </a:extrusionClr>
              </a:sp3d>
            </p:spPr>
            <p:txBody>
              <a:bodyPr vert="horz" wrap="square" lIns="91440" tIns="28800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FFFFFF"/>
                    </a:solidFill>
                  </a:rPr>
                  <a:t>Purchase</a:t>
                </a:r>
              </a:p>
              <a:p>
                <a:pPr algn="ctr"/>
                <a:r>
                  <a:rPr lang="en-US" sz="1400" noProof="1" smtClean="0">
                    <a:solidFill>
                      <a:srgbClr val="FFFFFF"/>
                    </a:solidFill>
                  </a:rPr>
                  <a:t>Phase</a:t>
                </a:r>
                <a:endParaRPr lang="en-US" sz="1400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5129" name="Freeform 9"/>
              <p:cNvSpPr>
                <a:spLocks/>
              </p:cNvSpPr>
              <p:nvPr/>
            </p:nvSpPr>
            <p:spPr bwMode="gray">
              <a:xfrm>
                <a:off x="-5889626" y="523875"/>
                <a:ext cx="3856038" cy="1874837"/>
              </a:xfrm>
              <a:custGeom>
                <a:avLst/>
                <a:gdLst/>
                <a:ahLst/>
                <a:cxnLst>
                  <a:cxn ang="0">
                    <a:pos x="931" y="77"/>
                  </a:cxn>
                  <a:cxn ang="0">
                    <a:pos x="875" y="0"/>
                  </a:cxn>
                  <a:cxn ang="0">
                    <a:pos x="879" y="77"/>
                  </a:cxn>
                  <a:cxn ang="0">
                    <a:pos x="0" y="77"/>
                  </a:cxn>
                  <a:cxn ang="0">
                    <a:pos x="0" y="407"/>
                  </a:cxn>
                  <a:cxn ang="0">
                    <a:pos x="336" y="407"/>
                  </a:cxn>
                  <a:cxn ang="0">
                    <a:pos x="436" y="396"/>
                  </a:cxn>
                  <a:cxn ang="0">
                    <a:pos x="587" y="379"/>
                  </a:cxn>
                  <a:cxn ang="0">
                    <a:pos x="591" y="378"/>
                  </a:cxn>
                  <a:cxn ang="0">
                    <a:pos x="673" y="500"/>
                  </a:cxn>
                  <a:cxn ang="0">
                    <a:pos x="894" y="337"/>
                  </a:cxn>
                  <a:cxn ang="0">
                    <a:pos x="899" y="425"/>
                  </a:cxn>
                  <a:cxn ang="0">
                    <a:pos x="951" y="338"/>
                  </a:cxn>
                  <a:cxn ang="0">
                    <a:pos x="1028" y="210"/>
                  </a:cxn>
                  <a:cxn ang="0">
                    <a:pos x="931" y="77"/>
                  </a:cxn>
                </a:cxnLst>
                <a:rect l="0" t="0" r="r" b="b"/>
                <a:pathLst>
                  <a:path w="1028" h="500">
                    <a:moveTo>
                      <a:pt x="931" y="77"/>
                    </a:moveTo>
                    <a:cubicBezTo>
                      <a:pt x="875" y="0"/>
                      <a:pt x="875" y="0"/>
                      <a:pt x="875" y="0"/>
                    </a:cubicBezTo>
                    <a:cubicBezTo>
                      <a:pt x="879" y="77"/>
                      <a:pt x="879" y="77"/>
                      <a:pt x="879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407"/>
                      <a:pt x="0" y="407"/>
                      <a:pt x="0" y="407"/>
                    </a:cubicBezTo>
                    <a:cubicBezTo>
                      <a:pt x="336" y="407"/>
                      <a:pt x="336" y="407"/>
                      <a:pt x="336" y="407"/>
                    </a:cubicBezTo>
                    <a:cubicBezTo>
                      <a:pt x="436" y="396"/>
                      <a:pt x="436" y="396"/>
                      <a:pt x="436" y="396"/>
                    </a:cubicBezTo>
                    <a:cubicBezTo>
                      <a:pt x="587" y="379"/>
                      <a:pt x="587" y="379"/>
                      <a:pt x="587" y="379"/>
                    </a:cubicBezTo>
                    <a:cubicBezTo>
                      <a:pt x="591" y="378"/>
                      <a:pt x="591" y="378"/>
                      <a:pt x="591" y="378"/>
                    </a:cubicBezTo>
                    <a:cubicBezTo>
                      <a:pt x="673" y="500"/>
                      <a:pt x="673" y="500"/>
                      <a:pt x="673" y="500"/>
                    </a:cubicBezTo>
                    <a:cubicBezTo>
                      <a:pt x="710" y="411"/>
                      <a:pt x="794" y="346"/>
                      <a:pt x="894" y="337"/>
                    </a:cubicBezTo>
                    <a:cubicBezTo>
                      <a:pt x="899" y="425"/>
                      <a:pt x="899" y="425"/>
                      <a:pt x="899" y="425"/>
                    </a:cubicBezTo>
                    <a:cubicBezTo>
                      <a:pt x="951" y="338"/>
                      <a:pt x="951" y="338"/>
                      <a:pt x="951" y="338"/>
                    </a:cubicBezTo>
                    <a:cubicBezTo>
                      <a:pt x="1028" y="210"/>
                      <a:pt x="1028" y="210"/>
                      <a:pt x="1028" y="210"/>
                    </a:cubicBezTo>
                    <a:lnTo>
                      <a:pt x="931" y="7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4288" cap="flat">
                <a:solidFill>
                  <a:srgbClr val="C0C0C0"/>
                </a:solidFill>
                <a:prstDash val="solid"/>
                <a:miter lim="800000"/>
                <a:headEnd/>
                <a:tailEnd/>
              </a:ln>
              <a:sp3d extrusionH="127000">
                <a:extrusionClr>
                  <a:srgbClr val="C8C8C8"/>
                </a:extrusionClr>
              </a:sp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noProof="1" smtClean="0">
                    <a:solidFill>
                      <a:srgbClr val="000000"/>
                    </a:solidFill>
                  </a:rPr>
                  <a:t>Excitation Phase</a:t>
                </a:r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130" name="Freeform 10"/>
              <p:cNvSpPr>
                <a:spLocks/>
              </p:cNvSpPr>
              <p:nvPr/>
            </p:nvSpPr>
            <p:spPr bwMode="gray">
              <a:xfrm>
                <a:off x="-4678363" y="1941513"/>
                <a:ext cx="1571625" cy="2197100"/>
              </a:xfrm>
              <a:custGeom>
                <a:avLst/>
                <a:gdLst/>
                <a:ahLst/>
                <a:cxnLst>
                  <a:cxn ang="0">
                    <a:pos x="332" y="185"/>
                  </a:cxn>
                  <a:cxn ang="0">
                    <a:pos x="419" y="225"/>
                  </a:cxn>
                  <a:cxn ang="0">
                    <a:pos x="350" y="122"/>
                  </a:cxn>
                  <a:cxn ang="0">
                    <a:pos x="268" y="0"/>
                  </a:cxn>
                  <a:cxn ang="0">
                    <a:pos x="264" y="1"/>
                  </a:cxn>
                  <a:cxn ang="0">
                    <a:pos x="113" y="18"/>
                  </a:cxn>
                  <a:cxn ang="0">
                    <a:pos x="13" y="29"/>
                  </a:cxn>
                  <a:cxn ang="0">
                    <a:pos x="0" y="31"/>
                  </a:cxn>
                  <a:cxn ang="0">
                    <a:pos x="93" y="74"/>
                  </a:cxn>
                  <a:cxn ang="0">
                    <a:pos x="71" y="225"/>
                  </a:cxn>
                  <a:cxn ang="0">
                    <a:pos x="215" y="586"/>
                  </a:cxn>
                  <a:cxn ang="0">
                    <a:pos x="239" y="441"/>
                  </a:cxn>
                  <a:cxn ang="0">
                    <a:pos x="386" y="389"/>
                  </a:cxn>
                  <a:cxn ang="0">
                    <a:pos x="329" y="225"/>
                  </a:cxn>
                  <a:cxn ang="0">
                    <a:pos x="332" y="185"/>
                  </a:cxn>
                </a:cxnLst>
                <a:rect l="0" t="0" r="r" b="b"/>
                <a:pathLst>
                  <a:path w="419" h="586">
                    <a:moveTo>
                      <a:pt x="332" y="185"/>
                    </a:moveTo>
                    <a:cubicBezTo>
                      <a:pt x="419" y="225"/>
                      <a:pt x="419" y="225"/>
                      <a:pt x="419" y="225"/>
                    </a:cubicBezTo>
                    <a:cubicBezTo>
                      <a:pt x="350" y="122"/>
                      <a:pt x="350" y="122"/>
                      <a:pt x="350" y="122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264" y="1"/>
                      <a:pt x="264" y="1"/>
                      <a:pt x="264" y="1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93" y="74"/>
                      <a:pt x="93" y="74"/>
                      <a:pt x="93" y="74"/>
                    </a:cubicBezTo>
                    <a:cubicBezTo>
                      <a:pt x="78" y="122"/>
                      <a:pt x="71" y="172"/>
                      <a:pt x="71" y="225"/>
                    </a:cubicBezTo>
                    <a:cubicBezTo>
                      <a:pt x="71" y="365"/>
                      <a:pt x="125" y="492"/>
                      <a:pt x="215" y="586"/>
                    </a:cubicBezTo>
                    <a:cubicBezTo>
                      <a:pt x="239" y="441"/>
                      <a:pt x="239" y="441"/>
                      <a:pt x="239" y="441"/>
                    </a:cubicBezTo>
                    <a:cubicBezTo>
                      <a:pt x="386" y="389"/>
                      <a:pt x="386" y="389"/>
                      <a:pt x="386" y="389"/>
                    </a:cubicBezTo>
                    <a:cubicBezTo>
                      <a:pt x="350" y="344"/>
                      <a:pt x="329" y="287"/>
                      <a:pt x="329" y="225"/>
                    </a:cubicBezTo>
                    <a:cubicBezTo>
                      <a:pt x="329" y="211"/>
                      <a:pt x="330" y="198"/>
                      <a:pt x="332" y="18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4288" cap="flat">
                <a:solidFill>
                  <a:srgbClr val="C0C0C0"/>
                </a:solidFill>
                <a:prstDash val="solid"/>
                <a:miter lim="800000"/>
                <a:headEnd/>
                <a:tailEnd/>
              </a:ln>
              <a:sp3d extrusionH="127000">
                <a:extrusionClr>
                  <a:srgbClr val="C8C8C8"/>
                </a:extrusionClr>
              </a:sp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400" noProof="1">
                    <a:solidFill>
                      <a:srgbClr val="FFFFFF"/>
                    </a:solidFill>
                  </a:rPr>
                  <a:t>Repurchase</a:t>
                </a:r>
              </a:p>
              <a:p>
                <a:pPr algn="ctr"/>
                <a:r>
                  <a:rPr lang="en-US" sz="1400" noProof="1" smtClean="0">
                    <a:solidFill>
                      <a:srgbClr val="FFFFFF"/>
                    </a:solidFill>
                  </a:rPr>
                  <a:t>Phase</a:t>
                </a:r>
                <a:endParaRPr lang="en-US" sz="1400" noProof="1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eps of development of Marketing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noProof="1" smtClean="0"/>
              <a:t>Development of Marketing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323851" y="2329647"/>
            <a:ext cx="8790411" cy="2746031"/>
            <a:chOff x="323851" y="2329647"/>
            <a:chExt cx="8790411" cy="2746031"/>
          </a:xfrm>
        </p:grpSpPr>
        <p:grpSp>
          <p:nvGrpSpPr>
            <p:cNvPr id="30" name="Gruppieren 29"/>
            <p:cNvGrpSpPr/>
            <p:nvPr/>
          </p:nvGrpSpPr>
          <p:grpSpPr bwMode="gray">
            <a:xfrm>
              <a:off x="323851" y="3313217"/>
              <a:ext cx="8313254" cy="732010"/>
              <a:chOff x="323851" y="3313217"/>
              <a:chExt cx="8313254" cy="732010"/>
            </a:xfrm>
          </p:grpSpPr>
          <p:sp>
            <p:nvSpPr>
              <p:cNvPr id="8" name="Pfeil nach rechts 7"/>
              <p:cNvSpPr/>
              <p:nvPr/>
            </p:nvSpPr>
            <p:spPr bwMode="gray">
              <a:xfrm>
                <a:off x="323851" y="3313217"/>
                <a:ext cx="8313254" cy="732010"/>
              </a:xfrm>
              <a:prstGeom prst="rightArrow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endParaRPr lang="en-US" sz="1400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" name="Rechteck 4"/>
              <p:cNvSpPr/>
              <p:nvPr/>
            </p:nvSpPr>
            <p:spPr bwMode="gray">
              <a:xfrm>
                <a:off x="573488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0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 bwMode="gray">
              <a:xfrm>
                <a:off x="1679735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1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2785982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2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3892229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3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>
                <a:off x="4998476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4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6104723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5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gray">
              <a:xfrm>
                <a:off x="7210968" y="3487226"/>
                <a:ext cx="65274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noProof="1" smtClean="0">
                    <a:solidFill>
                      <a:srgbClr val="FFFFFF"/>
                    </a:solidFill>
                  </a:rPr>
                  <a:t>2026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mc:AlternateContent xmlns:mc="http://schemas.openxmlformats.org/markup-compatibility/2006" xmlns:p14="http://schemas.microsoft.com/office/powerpoint/2010/main">
            <mc:Choice Requires="p14">
              <p:contentPart p14:bwMode="auto" r:id="rId3">
                <p14:nvContentPartPr>
                  <p14:cNvPr id="7" name="Freihand 6"/>
                  <p14:cNvContentPartPr/>
                  <p14:nvPr/>
                </p14:nvContentPartPr>
                <p14:xfrm>
                  <a:off x="7984590" y="3391036"/>
                  <a:ext cx="12600" cy="360"/>
                </p14:xfrm>
              </p:contentPart>
            </mc:Choice>
            <mc:Fallback xmlns="">
              <p:pic>
                <p:nvPicPr>
                  <p:cNvPr id="7" name="Freihand 6"/>
                  <p:cNvPicPr/>
                  <p:nvPr/>
                </p:nvPicPr>
                <p:blipFill>
                  <a:blip r:embed="rId4" cstate="print"/>
                  <a:stretch>
                    <a:fillRect/>
                  </a:stretch>
                </p:blipFill>
                <p:spPr bwMode="gray">
                  <a:xfrm>
                    <a:off x="7974510" y="3380956"/>
                    <a:ext cx="32760" cy="2052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5">
                <p14:nvContentPartPr>
                  <p14:cNvPr id="10" name="Freihand 9"/>
                  <p14:cNvContentPartPr/>
                  <p14:nvPr/>
                </p14:nvContentPartPr>
                <p14:xfrm>
                  <a:off x="7971990" y="3438196"/>
                  <a:ext cx="360" cy="360"/>
                </p14:xfrm>
              </p:contentPart>
            </mc:Choice>
            <mc:Fallback xmlns="">
              <p:pic>
                <p:nvPicPr>
                  <p:cNvPr id="10" name="Freihand 9"/>
                  <p:cNvPicPr/>
                  <p:nvPr/>
                </p:nvPicPr>
                <p:blipFill>
                  <a:blip r:embed="rId6" cstate="print"/>
                  <a:stretch>
                    <a:fillRect/>
                  </a:stretch>
                </p:blipFill>
                <p:spPr bwMode="gray">
                  <a:xfrm>
                    <a:off x="7962990" y="3429196"/>
                    <a:ext cx="18360" cy="18360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28" name="Rechteck 27"/>
            <p:cNvSpPr/>
            <p:nvPr/>
          </p:nvSpPr>
          <p:spPr bwMode="gray">
            <a:xfrm>
              <a:off x="364252" y="2329647"/>
              <a:ext cx="2013968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Product orientation 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 smtClean="0"/>
                <a:t>Pure production due to </a:t>
              </a:r>
              <a:br>
                <a:rPr lang="en-US" sz="1100" noProof="1" smtClean="0"/>
              </a:br>
              <a:r>
                <a:rPr lang="en-US" sz="1100" noProof="1" smtClean="0"/>
                <a:t>popular demand </a:t>
              </a:r>
              <a:br>
                <a:rPr lang="en-US" sz="1100" noProof="1" smtClean="0"/>
              </a:br>
              <a:r>
                <a:rPr lang="en-US" sz="1100" noProof="1" smtClean="0"/>
                <a:t>(eg postwar period)</a:t>
              </a:r>
              <a:endParaRPr lang="en-US" sz="1100" noProof="1"/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1591771" y="4121571"/>
              <a:ext cx="2013968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Sales orientation 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 smtClean="0"/>
                <a:t>Change from the Production</a:t>
              </a:r>
            </a:p>
            <a:p>
              <a:r>
                <a:rPr lang="en-US" sz="1100" noProof="1" smtClean="0"/>
                <a:t>to distribution</a:t>
              </a:r>
            </a:p>
            <a:p>
              <a:endParaRPr lang="en-US" sz="1100" noProof="1"/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2640262" y="2329647"/>
              <a:ext cx="2204345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Market orientation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 smtClean="0"/>
                <a:t>Specialization on individual </a:t>
              </a:r>
              <a:br>
                <a:rPr lang="en-US" sz="1100" noProof="1" smtClean="0"/>
              </a:br>
              <a:r>
                <a:rPr lang="en-US" sz="1100" noProof="1" smtClean="0"/>
                <a:t>needs and market</a:t>
              </a:r>
            </a:p>
            <a:p>
              <a:r>
                <a:rPr lang="en-US" sz="1100" noProof="1" smtClean="0"/>
                <a:t>segmentation</a:t>
              </a:r>
              <a:endParaRPr lang="en-US" sz="1100" noProof="1"/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3704940" y="4121571"/>
              <a:ext cx="225323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Competition </a:t>
              </a:r>
              <a:br>
                <a:rPr lang="en-US" sz="1600" b="1" noProof="1" smtClean="0"/>
              </a:br>
              <a:r>
                <a:rPr lang="en-US" sz="1600" b="1" noProof="1" smtClean="0"/>
                <a:t>orientation 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/>
                <a:t>Emphasis on unique</a:t>
              </a:r>
            </a:p>
            <a:p>
              <a:r>
                <a:rPr lang="en-US" sz="1100" noProof="1"/>
                <a:t>selling points (USP)</a:t>
              </a:r>
            </a:p>
          </p:txBody>
        </p:sp>
        <p:sp>
          <p:nvSpPr>
            <p:cNvPr id="34" name="Rechteck 33"/>
            <p:cNvSpPr/>
            <p:nvPr/>
          </p:nvSpPr>
          <p:spPr bwMode="gray">
            <a:xfrm>
              <a:off x="4548231" y="2329647"/>
              <a:ext cx="2352292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Environment orientation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/>
                <a:t>Response to environmental, 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political</a:t>
              </a:r>
              <a:r>
                <a:rPr lang="en-US" sz="1100" noProof="1"/>
                <a:t>, technological or 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societal </a:t>
              </a:r>
              <a:r>
                <a:rPr lang="en-US" sz="1100" noProof="1"/>
                <a:t>changes</a:t>
              </a:r>
            </a:p>
          </p:txBody>
        </p:sp>
        <p:sp>
          <p:nvSpPr>
            <p:cNvPr id="35" name="Rechteck 34"/>
            <p:cNvSpPr/>
            <p:nvPr/>
          </p:nvSpPr>
          <p:spPr bwMode="gray">
            <a:xfrm>
              <a:off x="5759013" y="4121571"/>
              <a:ext cx="1875420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Dialog orientation 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 smtClean="0"/>
                <a:t>Interactive design of communication through the internet, e-mails</a:t>
              </a:r>
              <a:endParaRPr lang="en-US" sz="1100" noProof="1"/>
            </a:p>
          </p:txBody>
        </p:sp>
        <p:sp>
          <p:nvSpPr>
            <p:cNvPr id="36" name="Rechteck 35"/>
            <p:cNvSpPr/>
            <p:nvPr/>
          </p:nvSpPr>
          <p:spPr bwMode="gray">
            <a:xfrm>
              <a:off x="6908549" y="2329647"/>
              <a:ext cx="2205713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noProof="1" smtClean="0"/>
                <a:t>Network orientation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100" noProof="1" smtClean="0"/>
                <a:t>Web 2.0, social networks,</a:t>
              </a:r>
            </a:p>
            <a:p>
              <a:r>
                <a:rPr lang="en-US" sz="1100" noProof="1" smtClean="0"/>
                <a:t>Word of Mouth</a:t>
              </a:r>
              <a:endParaRPr lang="en-US" sz="11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19906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iffusion model by Rogers</a:t>
            </a:r>
            <a:endParaRPr lang="en-US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stinction of customers for their willingness to adopt a new product</a:t>
            </a:r>
            <a:endParaRPr lang="en-US" noProof="1"/>
          </a:p>
        </p:txBody>
      </p:sp>
      <p:grpSp>
        <p:nvGrpSpPr>
          <p:cNvPr id="33" name="Gruppieren 32"/>
          <p:cNvGrpSpPr/>
          <p:nvPr/>
        </p:nvGrpSpPr>
        <p:grpSpPr>
          <a:xfrm>
            <a:off x="324643" y="1555751"/>
            <a:ext cx="8495507" cy="4742515"/>
            <a:chOff x="324643" y="1555751"/>
            <a:chExt cx="8495507" cy="4742515"/>
          </a:xfrm>
        </p:grpSpPr>
        <p:grpSp>
          <p:nvGrpSpPr>
            <p:cNvPr id="7" name="Gruppieren 40"/>
            <p:cNvGrpSpPr/>
            <p:nvPr/>
          </p:nvGrpSpPr>
          <p:grpSpPr bwMode="gray">
            <a:xfrm>
              <a:off x="324643" y="1903294"/>
              <a:ext cx="8495507" cy="3783227"/>
              <a:chOff x="944880" y="1903294"/>
              <a:chExt cx="7875270" cy="3783227"/>
            </a:xfrm>
          </p:grpSpPr>
          <p:sp>
            <p:nvSpPr>
              <p:cNvPr id="43" name="Textfeld 42"/>
              <p:cNvSpPr txBox="1"/>
              <p:nvPr/>
            </p:nvSpPr>
            <p:spPr bwMode="gray">
              <a:xfrm>
                <a:off x="6869615" y="5409522"/>
                <a:ext cx="74901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t + σ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Textfeld 43"/>
              <p:cNvSpPr txBox="1"/>
              <p:nvPr/>
            </p:nvSpPr>
            <p:spPr bwMode="gray">
              <a:xfrm>
                <a:off x="2145424" y="5409522"/>
                <a:ext cx="74901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t - 2 σ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46" name="Gerade Verbindung 45"/>
              <p:cNvCxnSpPr/>
              <p:nvPr/>
            </p:nvCxnSpPr>
            <p:spPr bwMode="gray">
              <a:xfrm rot="5400000">
                <a:off x="7212765" y="5369325"/>
                <a:ext cx="64660" cy="0"/>
              </a:xfrm>
              <a:prstGeom prst="line">
                <a:avLst/>
              </a:prstGeom>
              <a:noFill/>
              <a:ln w="12700">
                <a:solidFill>
                  <a:srgbClr val="7D7D7D"/>
                </a:solidFill>
                <a:prstDash val="solid"/>
                <a:miter lim="800000"/>
                <a:headEnd/>
                <a:tailEnd/>
              </a:ln>
              <a:effectLst/>
            </p:spPr>
          </p:cxnSp>
          <p:cxnSp>
            <p:nvCxnSpPr>
              <p:cNvPr id="47" name="Gerade Verbindung 46"/>
              <p:cNvCxnSpPr/>
              <p:nvPr/>
            </p:nvCxnSpPr>
            <p:spPr bwMode="gray">
              <a:xfrm rot="5400000">
                <a:off x="5637711" y="5369325"/>
                <a:ext cx="64660" cy="0"/>
              </a:xfrm>
              <a:prstGeom prst="line">
                <a:avLst/>
              </a:prstGeom>
              <a:noFill/>
              <a:ln w="12700">
                <a:solidFill>
                  <a:srgbClr val="7D7D7D"/>
                </a:solidFill>
                <a:prstDash val="solid"/>
                <a:miter lim="800000"/>
                <a:headEnd/>
                <a:tailEnd/>
              </a:ln>
              <a:effectLst/>
            </p:spPr>
          </p:cxnSp>
          <p:cxnSp>
            <p:nvCxnSpPr>
              <p:cNvPr id="48" name="Gerade Verbindung 47"/>
              <p:cNvCxnSpPr/>
              <p:nvPr/>
            </p:nvCxnSpPr>
            <p:spPr bwMode="gray">
              <a:xfrm rot="5400000">
                <a:off x="4062657" y="5369325"/>
                <a:ext cx="64660" cy="0"/>
              </a:xfrm>
              <a:prstGeom prst="line">
                <a:avLst/>
              </a:prstGeom>
              <a:noFill/>
              <a:ln w="12700">
                <a:solidFill>
                  <a:srgbClr val="7D7D7D"/>
                </a:solidFill>
                <a:prstDash val="solid"/>
                <a:miter lim="800000"/>
                <a:headEnd/>
                <a:tailEnd/>
              </a:ln>
              <a:effectLst/>
            </p:spPr>
          </p:cxnSp>
          <p:cxnSp>
            <p:nvCxnSpPr>
              <p:cNvPr id="49" name="Gerade Verbindung 48"/>
              <p:cNvCxnSpPr/>
              <p:nvPr/>
            </p:nvCxnSpPr>
            <p:spPr bwMode="gray">
              <a:xfrm rot="5400000">
                <a:off x="2487604" y="5369325"/>
                <a:ext cx="64660" cy="0"/>
              </a:xfrm>
              <a:prstGeom prst="line">
                <a:avLst/>
              </a:prstGeom>
              <a:noFill/>
              <a:ln w="12700">
                <a:solidFill>
                  <a:srgbClr val="7D7D7D"/>
                </a:solidFill>
                <a:prstDash val="solid"/>
                <a:miter lim="800000"/>
                <a:headEnd/>
                <a:tailEnd/>
              </a:ln>
              <a:effectLst/>
            </p:spPr>
          </p:cxnSp>
          <p:cxnSp>
            <p:nvCxnSpPr>
              <p:cNvPr id="57" name="Gerade Verbindung mit Pfeil 56"/>
              <p:cNvCxnSpPr/>
              <p:nvPr/>
            </p:nvCxnSpPr>
            <p:spPr bwMode="gray">
              <a:xfrm>
                <a:off x="944880" y="5335450"/>
                <a:ext cx="7875270" cy="0"/>
              </a:xfrm>
              <a:prstGeom prst="straightConnector1">
                <a:avLst/>
              </a:prstGeom>
              <a:noFill/>
              <a:ln w="28575">
                <a:solidFill>
                  <a:srgbClr val="969696"/>
                </a:solidFill>
                <a:prstDash val="solid"/>
                <a:round/>
                <a:headEnd type="none" w="lg" len="lg"/>
                <a:tailEnd type="triangle" w="lg" len="lg"/>
              </a:ln>
            </p:spPr>
          </p:cxnSp>
          <p:cxnSp>
            <p:nvCxnSpPr>
              <p:cNvPr id="58" name="Gerade Verbindung mit Pfeil 57"/>
              <p:cNvCxnSpPr/>
              <p:nvPr/>
            </p:nvCxnSpPr>
            <p:spPr bwMode="gray">
              <a:xfrm flipV="1">
                <a:off x="944880" y="1903294"/>
                <a:ext cx="0" cy="3435322"/>
              </a:xfrm>
              <a:prstGeom prst="straightConnector1">
                <a:avLst/>
              </a:prstGeom>
              <a:noFill/>
              <a:ln w="28575">
                <a:solidFill>
                  <a:srgbClr val="969696"/>
                </a:solidFill>
                <a:prstDash val="solid"/>
                <a:round/>
                <a:headEnd type="none" w="lg" len="lg"/>
                <a:tailEnd type="triangle" w="lg" len="lg"/>
              </a:ln>
            </p:spPr>
          </p:cxnSp>
          <p:sp>
            <p:nvSpPr>
              <p:cNvPr id="79" name="Textfeld 78"/>
              <p:cNvSpPr txBox="1"/>
              <p:nvPr/>
            </p:nvSpPr>
            <p:spPr bwMode="gray">
              <a:xfrm>
                <a:off x="3727483" y="5409522"/>
                <a:ext cx="74901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t - σ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Textfeld 79"/>
              <p:cNvSpPr txBox="1"/>
              <p:nvPr/>
            </p:nvSpPr>
            <p:spPr bwMode="gray">
              <a:xfrm>
                <a:off x="5288526" y="5409522"/>
                <a:ext cx="74901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t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7" name="Textfeld 86"/>
            <p:cNvSpPr txBox="1"/>
            <p:nvPr/>
          </p:nvSpPr>
          <p:spPr bwMode="gray">
            <a:xfrm>
              <a:off x="7135115" y="5661169"/>
              <a:ext cx="1685035" cy="6370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ct val="30000"/>
                </a:spcAft>
              </a:pPr>
              <a:r>
                <a:rPr lang="en-US" b="1" noProof="1" smtClean="0"/>
                <a:t>Adoption time</a:t>
              </a:r>
              <a:endParaRPr lang="en-US" noProof="1" smtClean="0"/>
            </a:p>
            <a:p>
              <a:pPr algn="r">
                <a:spcAft>
                  <a:spcPct val="30000"/>
                </a:spcAft>
              </a:pPr>
              <a:endParaRPr lang="en-US" b="1" noProof="1"/>
            </a:p>
          </p:txBody>
        </p:sp>
        <p:sp>
          <p:nvSpPr>
            <p:cNvPr id="88" name="Textfeld 87"/>
            <p:cNvSpPr txBox="1"/>
            <p:nvPr/>
          </p:nvSpPr>
          <p:spPr bwMode="gray">
            <a:xfrm>
              <a:off x="324643" y="1555751"/>
              <a:ext cx="168503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ct val="30000"/>
                </a:spcAft>
              </a:pPr>
              <a:r>
                <a:rPr lang="en-US" b="1" noProof="1" smtClean="0"/>
                <a:t>Adopter</a:t>
              </a:r>
              <a:endParaRPr lang="en-US" b="1" noProof="1"/>
            </a:p>
          </p:txBody>
        </p:sp>
        <p:grpSp>
          <p:nvGrpSpPr>
            <p:cNvPr id="8" name="Gruppieren 93"/>
            <p:cNvGrpSpPr/>
            <p:nvPr/>
          </p:nvGrpSpPr>
          <p:grpSpPr bwMode="gray">
            <a:xfrm>
              <a:off x="2023745" y="1916114"/>
              <a:ext cx="5097302" cy="3419336"/>
              <a:chOff x="2023745" y="1916114"/>
              <a:chExt cx="5097302" cy="3419336"/>
            </a:xfrm>
          </p:grpSpPr>
          <p:cxnSp>
            <p:nvCxnSpPr>
              <p:cNvPr id="90" name="Gerade Verbindung 89"/>
              <p:cNvCxnSpPr/>
              <p:nvPr/>
            </p:nvCxnSpPr>
            <p:spPr bwMode="gray">
              <a:xfrm flipV="1">
                <a:off x="2023745" y="1916114"/>
                <a:ext cx="0" cy="341933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  <p:cxnSp>
            <p:nvCxnSpPr>
              <p:cNvPr id="91" name="Gerade Verbindung 90"/>
              <p:cNvCxnSpPr/>
              <p:nvPr/>
            </p:nvCxnSpPr>
            <p:spPr bwMode="gray">
              <a:xfrm flipV="1">
                <a:off x="3722845" y="1916114"/>
                <a:ext cx="0" cy="341933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  <p:cxnSp>
            <p:nvCxnSpPr>
              <p:cNvPr id="92" name="Gerade Verbindung 91"/>
              <p:cNvCxnSpPr/>
              <p:nvPr/>
            </p:nvCxnSpPr>
            <p:spPr bwMode="gray">
              <a:xfrm flipV="1">
                <a:off x="5421946" y="1916114"/>
                <a:ext cx="0" cy="341933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  <p:cxnSp>
            <p:nvCxnSpPr>
              <p:cNvPr id="93" name="Gerade Verbindung 92"/>
              <p:cNvCxnSpPr/>
              <p:nvPr/>
            </p:nvCxnSpPr>
            <p:spPr bwMode="gray">
              <a:xfrm flipV="1">
                <a:off x="7121047" y="1916114"/>
                <a:ext cx="0" cy="341933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 type="none"/>
                <a:tailEnd type="none"/>
              </a:ln>
            </p:spPr>
          </p:cxnSp>
        </p:grpSp>
        <p:sp>
          <p:nvSpPr>
            <p:cNvPr id="98" name="Textfeld 97"/>
            <p:cNvSpPr txBox="1"/>
            <p:nvPr/>
          </p:nvSpPr>
          <p:spPr bwMode="gray">
            <a:xfrm>
              <a:off x="851539" y="2194074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2,5%</a:t>
              </a:r>
              <a:endParaRPr lang="en-US" b="1" noProof="1"/>
            </a:p>
          </p:txBody>
        </p:sp>
        <p:sp>
          <p:nvSpPr>
            <p:cNvPr id="99" name="Textfeld 98"/>
            <p:cNvSpPr txBox="1"/>
            <p:nvPr/>
          </p:nvSpPr>
          <p:spPr bwMode="gray">
            <a:xfrm>
              <a:off x="2491413" y="2194074"/>
              <a:ext cx="7633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13,5%</a:t>
              </a:r>
              <a:endParaRPr lang="en-US" b="1" noProof="1"/>
            </a:p>
          </p:txBody>
        </p:sp>
        <p:sp>
          <p:nvSpPr>
            <p:cNvPr id="100" name="Textfeld 99"/>
            <p:cNvSpPr txBox="1"/>
            <p:nvPr/>
          </p:nvSpPr>
          <p:spPr bwMode="gray">
            <a:xfrm>
              <a:off x="4276374" y="2194074"/>
              <a:ext cx="5870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34%</a:t>
              </a:r>
              <a:endParaRPr lang="en-US" b="1" noProof="1"/>
            </a:p>
          </p:txBody>
        </p:sp>
        <p:sp>
          <p:nvSpPr>
            <p:cNvPr id="101" name="Textfeld 100"/>
            <p:cNvSpPr txBox="1"/>
            <p:nvPr/>
          </p:nvSpPr>
          <p:spPr bwMode="gray">
            <a:xfrm>
              <a:off x="5967931" y="2194074"/>
              <a:ext cx="5870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34%</a:t>
              </a:r>
              <a:endParaRPr lang="en-US" b="1" noProof="1"/>
            </a:p>
          </p:txBody>
        </p:sp>
        <p:sp>
          <p:nvSpPr>
            <p:cNvPr id="102" name="Textfeld 101"/>
            <p:cNvSpPr txBox="1"/>
            <p:nvPr/>
          </p:nvSpPr>
          <p:spPr bwMode="gray">
            <a:xfrm>
              <a:off x="7675819" y="2194074"/>
              <a:ext cx="5870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16%</a:t>
              </a:r>
              <a:endParaRPr lang="en-US" b="1" noProof="1"/>
            </a:p>
          </p:txBody>
        </p:sp>
        <p:sp>
          <p:nvSpPr>
            <p:cNvPr id="103" name="Freihandform 102"/>
            <p:cNvSpPr/>
            <p:nvPr/>
          </p:nvSpPr>
          <p:spPr bwMode="gray">
            <a:xfrm>
              <a:off x="2023745" y="2571751"/>
              <a:ext cx="6796405" cy="2045592"/>
            </a:xfrm>
            <a:custGeom>
              <a:avLst/>
              <a:gdLst>
                <a:gd name="connsiteX0" fmla="*/ 0 w 5743339"/>
                <a:gd name="connsiteY0" fmla="*/ 1826280 h 1838875"/>
                <a:gd name="connsiteX1" fmla="*/ 272053 w 5743339"/>
                <a:gd name="connsiteY1" fmla="*/ 1788495 h 1838875"/>
                <a:gd name="connsiteX2" fmla="*/ 544106 w 5743339"/>
                <a:gd name="connsiteY2" fmla="*/ 1652469 h 1838875"/>
                <a:gd name="connsiteX3" fmla="*/ 899286 w 5743339"/>
                <a:gd name="connsiteY3" fmla="*/ 1342631 h 1838875"/>
                <a:gd name="connsiteX4" fmla="*/ 1299809 w 5743339"/>
                <a:gd name="connsiteY4" fmla="*/ 911880 h 1838875"/>
                <a:gd name="connsiteX5" fmla="*/ 1602090 w 5743339"/>
                <a:gd name="connsiteY5" fmla="*/ 586928 h 1838875"/>
                <a:gd name="connsiteX6" fmla="*/ 1904371 w 5743339"/>
                <a:gd name="connsiteY6" fmla="*/ 314876 h 1838875"/>
                <a:gd name="connsiteX7" fmla="*/ 2274665 w 5743339"/>
                <a:gd name="connsiteY7" fmla="*/ 110836 h 1838875"/>
                <a:gd name="connsiteX8" fmla="*/ 2675187 w 5743339"/>
                <a:gd name="connsiteY8" fmla="*/ 12595 h 1838875"/>
                <a:gd name="connsiteX9" fmla="*/ 3090824 w 5743339"/>
                <a:gd name="connsiteY9" fmla="*/ 35266 h 1838875"/>
                <a:gd name="connsiteX10" fmla="*/ 3430890 w 5743339"/>
                <a:gd name="connsiteY10" fmla="*/ 163735 h 1838875"/>
                <a:gd name="connsiteX11" fmla="*/ 3740728 w 5743339"/>
                <a:gd name="connsiteY11" fmla="*/ 360218 h 1838875"/>
                <a:gd name="connsiteX12" fmla="*/ 4088351 w 5743339"/>
                <a:gd name="connsiteY12" fmla="*/ 662499 h 1838875"/>
                <a:gd name="connsiteX13" fmla="*/ 4413303 w 5743339"/>
                <a:gd name="connsiteY13" fmla="*/ 1025236 h 1838875"/>
                <a:gd name="connsiteX14" fmla="*/ 4715584 w 5743339"/>
                <a:gd name="connsiteY14" fmla="*/ 1327517 h 1838875"/>
                <a:gd name="connsiteX15" fmla="*/ 4995194 w 5743339"/>
                <a:gd name="connsiteY15" fmla="*/ 1561785 h 1838875"/>
                <a:gd name="connsiteX16" fmla="*/ 5259690 w 5743339"/>
                <a:gd name="connsiteY16" fmla="*/ 1712925 h 1838875"/>
                <a:gd name="connsiteX17" fmla="*/ 5561971 w 5743339"/>
                <a:gd name="connsiteY17" fmla="*/ 1818723 h 1838875"/>
                <a:gd name="connsiteX18" fmla="*/ 5743339 w 5743339"/>
                <a:gd name="connsiteY18" fmla="*/ 1833838 h 1838875"/>
                <a:gd name="connsiteX19" fmla="*/ 5743339 w 5743339"/>
                <a:gd name="connsiteY19" fmla="*/ 1833838 h 1838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43339" h="1838875">
                  <a:moveTo>
                    <a:pt x="0" y="1826280"/>
                  </a:moveTo>
                  <a:cubicBezTo>
                    <a:pt x="90684" y="1821871"/>
                    <a:pt x="181369" y="1817463"/>
                    <a:pt x="272053" y="1788495"/>
                  </a:cubicBezTo>
                  <a:cubicBezTo>
                    <a:pt x="362737" y="1759527"/>
                    <a:pt x="439567" y="1726780"/>
                    <a:pt x="544106" y="1652469"/>
                  </a:cubicBezTo>
                  <a:cubicBezTo>
                    <a:pt x="648645" y="1578158"/>
                    <a:pt x="773336" y="1466063"/>
                    <a:pt x="899286" y="1342631"/>
                  </a:cubicBezTo>
                  <a:cubicBezTo>
                    <a:pt x="1025237" y="1219200"/>
                    <a:pt x="1299809" y="911880"/>
                    <a:pt x="1299809" y="911880"/>
                  </a:cubicBezTo>
                  <a:cubicBezTo>
                    <a:pt x="1416943" y="785930"/>
                    <a:pt x="1501330" y="686429"/>
                    <a:pt x="1602090" y="586928"/>
                  </a:cubicBezTo>
                  <a:cubicBezTo>
                    <a:pt x="1702850" y="487427"/>
                    <a:pt x="1792275" y="394225"/>
                    <a:pt x="1904371" y="314876"/>
                  </a:cubicBezTo>
                  <a:cubicBezTo>
                    <a:pt x="2016467" y="235527"/>
                    <a:pt x="2146196" y="161216"/>
                    <a:pt x="2274665" y="110836"/>
                  </a:cubicBezTo>
                  <a:cubicBezTo>
                    <a:pt x="2403134" y="60456"/>
                    <a:pt x="2539161" y="25190"/>
                    <a:pt x="2675187" y="12595"/>
                  </a:cubicBezTo>
                  <a:cubicBezTo>
                    <a:pt x="2811213" y="0"/>
                    <a:pt x="2964874" y="10076"/>
                    <a:pt x="3090824" y="35266"/>
                  </a:cubicBezTo>
                  <a:cubicBezTo>
                    <a:pt x="3216774" y="60456"/>
                    <a:pt x="3322573" y="109576"/>
                    <a:pt x="3430890" y="163735"/>
                  </a:cubicBezTo>
                  <a:cubicBezTo>
                    <a:pt x="3539207" y="217894"/>
                    <a:pt x="3631151" y="277091"/>
                    <a:pt x="3740728" y="360218"/>
                  </a:cubicBezTo>
                  <a:cubicBezTo>
                    <a:pt x="3850305" y="443345"/>
                    <a:pt x="3976255" y="551663"/>
                    <a:pt x="4088351" y="662499"/>
                  </a:cubicBezTo>
                  <a:cubicBezTo>
                    <a:pt x="4200447" y="773335"/>
                    <a:pt x="4308764" y="914400"/>
                    <a:pt x="4413303" y="1025236"/>
                  </a:cubicBezTo>
                  <a:cubicBezTo>
                    <a:pt x="4517842" y="1136072"/>
                    <a:pt x="4618602" y="1238092"/>
                    <a:pt x="4715584" y="1327517"/>
                  </a:cubicBezTo>
                  <a:cubicBezTo>
                    <a:pt x="4812566" y="1416942"/>
                    <a:pt x="4904510" y="1497550"/>
                    <a:pt x="4995194" y="1561785"/>
                  </a:cubicBezTo>
                  <a:cubicBezTo>
                    <a:pt x="5085878" y="1626020"/>
                    <a:pt x="5165227" y="1670102"/>
                    <a:pt x="5259690" y="1712925"/>
                  </a:cubicBezTo>
                  <a:cubicBezTo>
                    <a:pt x="5354153" y="1755748"/>
                    <a:pt x="5481363" y="1798571"/>
                    <a:pt x="5561971" y="1818723"/>
                  </a:cubicBezTo>
                  <a:cubicBezTo>
                    <a:pt x="5642579" y="1838875"/>
                    <a:pt x="5743339" y="1833838"/>
                    <a:pt x="5743339" y="1833838"/>
                  </a:cubicBezTo>
                  <a:lnTo>
                    <a:pt x="5743339" y="1833838"/>
                  </a:lnTo>
                </a:path>
              </a:pathLst>
            </a:custGeom>
            <a:ln w="571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04" name="Textfeld 103"/>
            <p:cNvSpPr txBox="1"/>
            <p:nvPr/>
          </p:nvSpPr>
          <p:spPr bwMode="gray">
            <a:xfrm>
              <a:off x="626511" y="4705962"/>
              <a:ext cx="1096389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Innovators</a:t>
              </a:r>
              <a:br>
                <a:rPr lang="en-US" sz="1600" b="1" noProof="1" smtClean="0"/>
              </a:br>
              <a:r>
                <a:rPr lang="en-US" sz="1600" noProof="1" smtClean="0"/>
                <a:t>(Pioneers)</a:t>
              </a:r>
              <a:endParaRPr lang="en-US" sz="1600" noProof="1"/>
            </a:p>
          </p:txBody>
        </p:sp>
        <p:sp>
          <p:nvSpPr>
            <p:cNvPr id="105" name="Textfeld 104"/>
            <p:cNvSpPr txBox="1"/>
            <p:nvPr/>
          </p:nvSpPr>
          <p:spPr bwMode="gray">
            <a:xfrm>
              <a:off x="2442587" y="4705962"/>
              <a:ext cx="861005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Early </a:t>
              </a:r>
              <a:br>
                <a:rPr lang="en-US" sz="1600" b="1" noProof="1" smtClean="0"/>
              </a:br>
              <a:r>
                <a:rPr lang="en-US" sz="1600" b="1" noProof="1" smtClean="0"/>
                <a:t>adopter</a:t>
              </a:r>
              <a:endParaRPr lang="en-US" sz="1600" b="1" noProof="1"/>
            </a:p>
          </p:txBody>
        </p:sp>
        <p:sp>
          <p:nvSpPr>
            <p:cNvPr id="106" name="Textfeld 105"/>
            <p:cNvSpPr txBox="1"/>
            <p:nvPr/>
          </p:nvSpPr>
          <p:spPr bwMode="gray">
            <a:xfrm>
              <a:off x="4077603" y="4705962"/>
              <a:ext cx="907621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/>
                <a:t>Early </a:t>
              </a:r>
              <a:br>
                <a:rPr lang="en-US" sz="1600" b="1" noProof="1" smtClean="0"/>
              </a:br>
              <a:r>
                <a:rPr lang="en-US" sz="1600" b="1" noProof="1" smtClean="0"/>
                <a:t>majority</a:t>
              </a:r>
              <a:endParaRPr lang="en-US" sz="1600" noProof="1"/>
            </a:p>
          </p:txBody>
        </p:sp>
        <p:sp>
          <p:nvSpPr>
            <p:cNvPr id="107" name="Textfeld 106"/>
            <p:cNvSpPr txBox="1"/>
            <p:nvPr/>
          </p:nvSpPr>
          <p:spPr bwMode="gray">
            <a:xfrm>
              <a:off x="5769160" y="4705962"/>
              <a:ext cx="907621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/>
                <a:t>Late </a:t>
              </a:r>
              <a:br>
                <a:rPr lang="en-US" sz="1600" b="1" noProof="1" smtClean="0"/>
              </a:br>
              <a:r>
                <a:rPr lang="en-US" sz="1600" b="1" noProof="1" smtClean="0"/>
                <a:t>majority</a:t>
              </a:r>
              <a:endParaRPr lang="en-US" sz="1600" noProof="1"/>
            </a:p>
          </p:txBody>
        </p:sp>
        <p:sp>
          <p:nvSpPr>
            <p:cNvPr id="108" name="Textfeld 107"/>
            <p:cNvSpPr txBox="1"/>
            <p:nvPr/>
          </p:nvSpPr>
          <p:spPr bwMode="gray">
            <a:xfrm>
              <a:off x="7618912" y="4705962"/>
              <a:ext cx="9465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/>
                <a:t>Straggler</a:t>
              </a:r>
              <a:endParaRPr lang="en-US" sz="16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95236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yramid of Needs according to Maslow</a:t>
            </a:r>
            <a:endParaRPr lang="en-US" noProof="1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hierarchies of different levels of needs</a:t>
            </a:r>
            <a:endParaRPr lang="en-US" noProof="1"/>
          </a:p>
        </p:txBody>
      </p:sp>
      <p:grpSp>
        <p:nvGrpSpPr>
          <p:cNvPr id="25" name="Gruppieren 24"/>
          <p:cNvGrpSpPr/>
          <p:nvPr/>
        </p:nvGrpSpPr>
        <p:grpSpPr>
          <a:xfrm>
            <a:off x="324643" y="1555750"/>
            <a:ext cx="8266871" cy="4245768"/>
            <a:chOff x="324643" y="1555750"/>
            <a:chExt cx="8266871" cy="4245768"/>
          </a:xfrm>
        </p:grpSpPr>
        <p:sp>
          <p:nvSpPr>
            <p:cNvPr id="15" name="Gleichschenkliges Dreieck 14"/>
            <p:cNvSpPr/>
            <p:nvPr/>
          </p:nvSpPr>
          <p:spPr bwMode="gray">
            <a:xfrm>
              <a:off x="324643" y="1555750"/>
              <a:ext cx="4893400" cy="4245768"/>
            </a:xfrm>
            <a:prstGeom prst="triangle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600" b="1" noProof="1">
                <a:solidFill>
                  <a:srgbClr val="000000"/>
                </a:solidFill>
              </a:endParaRPr>
            </a:p>
          </p:txBody>
        </p:sp>
        <p:grpSp>
          <p:nvGrpSpPr>
            <p:cNvPr id="41" name="Gruppieren 40"/>
            <p:cNvGrpSpPr/>
            <p:nvPr/>
          </p:nvGrpSpPr>
          <p:grpSpPr bwMode="gray">
            <a:xfrm>
              <a:off x="3786808" y="3037924"/>
              <a:ext cx="4804706" cy="2073291"/>
              <a:chOff x="2035782" y="3037924"/>
              <a:chExt cx="2150810" cy="2073291"/>
            </a:xfrm>
          </p:grpSpPr>
          <p:cxnSp>
            <p:nvCxnSpPr>
              <p:cNvPr id="17" name="Gerade Verbindung 16"/>
              <p:cNvCxnSpPr/>
              <p:nvPr/>
            </p:nvCxnSpPr>
            <p:spPr bwMode="gray">
              <a:xfrm>
                <a:off x="2565239" y="5111215"/>
                <a:ext cx="162135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18" name="Gerade Verbindung 17"/>
              <p:cNvCxnSpPr/>
              <p:nvPr/>
            </p:nvCxnSpPr>
            <p:spPr bwMode="gray">
              <a:xfrm>
                <a:off x="2391720" y="4420118"/>
                <a:ext cx="1472602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19" name="Gerade Verbindung 18"/>
              <p:cNvCxnSpPr/>
              <p:nvPr/>
            </p:nvCxnSpPr>
            <p:spPr bwMode="gray">
              <a:xfrm>
                <a:off x="2187056" y="3729021"/>
                <a:ext cx="1393606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20" name="Gerade Verbindung 19"/>
              <p:cNvCxnSpPr/>
              <p:nvPr/>
            </p:nvCxnSpPr>
            <p:spPr bwMode="gray">
              <a:xfrm>
                <a:off x="2035782" y="3037924"/>
                <a:ext cx="1174674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9050">
                <a:solidFill>
                  <a:srgbClr val="AFAFAF"/>
                </a:solidFill>
                <a:prstDash val="sysDot"/>
                <a:miter lim="800000"/>
                <a:headEnd/>
                <a:tailEnd/>
              </a:ln>
              <a:effectLst/>
            </p:spPr>
          </p:cxnSp>
        </p:grpSp>
        <p:sp>
          <p:nvSpPr>
            <p:cNvPr id="31" name="Textfeld 30"/>
            <p:cNvSpPr txBox="1"/>
            <p:nvPr/>
          </p:nvSpPr>
          <p:spPr bwMode="gray">
            <a:xfrm>
              <a:off x="2248521" y="2253313"/>
              <a:ext cx="1078692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Self-</a:t>
              </a:r>
              <a:br>
                <a:rPr lang="en-US" sz="1600" b="1" noProof="1" smtClean="0"/>
              </a:br>
              <a:r>
                <a:rPr lang="en-US" sz="1600" b="1" noProof="1" smtClean="0"/>
                <a:t>realization</a:t>
              </a:r>
              <a:endParaRPr lang="en-US" sz="1600" b="1" noProof="1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2210691" y="3112884"/>
              <a:ext cx="1154355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Need for </a:t>
              </a:r>
              <a:br>
                <a:rPr lang="en-US" sz="1600" b="1" noProof="1" smtClean="0"/>
              </a:br>
              <a:r>
                <a:rPr lang="en-US" sz="1600" b="1" noProof="1" smtClean="0"/>
                <a:t>recognition</a:t>
              </a:r>
              <a:endParaRPr lang="en-US" sz="1600" b="1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2424630" y="3843737"/>
              <a:ext cx="726481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Social </a:t>
              </a:r>
              <a:br>
                <a:rPr lang="en-US" sz="1600" b="1" noProof="1" smtClean="0"/>
              </a:br>
              <a:r>
                <a:rPr lang="en-US" sz="1600" b="1" noProof="1" smtClean="0"/>
                <a:t>needs</a:t>
              </a:r>
              <a:endParaRPr lang="en-US" sz="1600" b="1" noProof="1"/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2327648" y="4514956"/>
              <a:ext cx="920445" cy="5355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Security </a:t>
              </a:r>
              <a:br>
                <a:rPr lang="en-US" sz="1600" b="1" noProof="1" smtClean="0"/>
              </a:br>
              <a:r>
                <a:rPr lang="en-US" sz="1600" b="1" noProof="1" smtClean="0"/>
                <a:t>needs</a:t>
              </a:r>
              <a:endParaRPr lang="en-US" sz="1600" b="1" noProof="1"/>
            </a:p>
          </p:txBody>
        </p:sp>
        <p:sp>
          <p:nvSpPr>
            <p:cNvPr id="35" name="Textfeld 34"/>
            <p:cNvSpPr txBox="1"/>
            <p:nvPr/>
          </p:nvSpPr>
          <p:spPr bwMode="gray">
            <a:xfrm>
              <a:off x="1627843" y="5262679"/>
              <a:ext cx="2320059" cy="3139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noProof="1" smtClean="0"/>
                <a:t>Basic physiological needs</a:t>
              </a:r>
              <a:endParaRPr lang="en-US" sz="1600" b="1" noProof="1"/>
            </a:p>
          </p:txBody>
        </p:sp>
        <p:sp>
          <p:nvSpPr>
            <p:cNvPr id="36" name="Textfeld 35"/>
            <p:cNvSpPr txBox="1"/>
            <p:nvPr/>
          </p:nvSpPr>
          <p:spPr bwMode="gray">
            <a:xfrm>
              <a:off x="4010232" y="2386918"/>
              <a:ext cx="23359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noProof="1" smtClean="0"/>
                <a:t>Adventure, </a:t>
              </a:r>
              <a:br>
                <a:rPr lang="en-US" sz="1600" noProof="1" smtClean="0"/>
              </a:br>
              <a:r>
                <a:rPr lang="en-US" sz="1600" noProof="1" smtClean="0"/>
                <a:t>independence</a:t>
              </a:r>
              <a:endParaRPr lang="en-US" sz="1600" noProof="1"/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4392665" y="3244973"/>
              <a:ext cx="23372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Power, status, recognition</a:t>
              </a:r>
              <a:endParaRPr lang="en-US" sz="1600" noProof="1"/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4742049" y="3936070"/>
              <a:ext cx="265810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Love, friendship, membership</a:t>
              </a:r>
              <a:endParaRPr lang="en-US" sz="1600" noProof="1"/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5126213" y="4468143"/>
              <a:ext cx="221977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Protect the health,</a:t>
              </a:r>
              <a:br>
                <a:rPr lang="en-US" sz="1600" noProof="1" smtClean="0"/>
              </a:br>
              <a:r>
                <a:rPr lang="en-US" sz="1600" noProof="1" smtClean="0"/>
                <a:t>Protection of belongings</a:t>
              </a:r>
              <a:endParaRPr lang="en-US" sz="1600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5427250" y="5288748"/>
              <a:ext cx="263097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noProof="1" smtClean="0"/>
                <a:t>Eating, drinking, sleeping, sex</a:t>
              </a:r>
              <a:endParaRPr lang="en-US" sz="1600" noProof="1"/>
            </a:p>
          </p:txBody>
        </p:sp>
        <p:grpSp>
          <p:nvGrpSpPr>
            <p:cNvPr id="29" name="Gruppieren 28"/>
            <p:cNvGrpSpPr/>
            <p:nvPr/>
          </p:nvGrpSpPr>
          <p:grpSpPr bwMode="gray">
            <a:xfrm>
              <a:off x="745435" y="3037924"/>
              <a:ext cx="4084982" cy="2073291"/>
              <a:chOff x="1386710" y="3037924"/>
              <a:chExt cx="1828628" cy="2073291"/>
            </a:xfrm>
          </p:grpSpPr>
          <p:cxnSp>
            <p:nvCxnSpPr>
              <p:cNvPr id="30" name="Gerade Verbindung 29"/>
              <p:cNvCxnSpPr/>
              <p:nvPr/>
            </p:nvCxnSpPr>
            <p:spPr bwMode="gray">
              <a:xfrm>
                <a:off x="1386710" y="5111215"/>
                <a:ext cx="1828628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28575">
                <a:solidFill>
                  <a:schemeClr val="bg1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42" name="Gerade Verbindung 41"/>
              <p:cNvCxnSpPr/>
              <p:nvPr/>
            </p:nvCxnSpPr>
            <p:spPr bwMode="gray">
              <a:xfrm>
                <a:off x="1560229" y="4420118"/>
                <a:ext cx="1459151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28575">
                <a:solidFill>
                  <a:schemeClr val="bg1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43" name="Gerade Verbindung 42"/>
              <p:cNvCxnSpPr/>
              <p:nvPr/>
            </p:nvCxnSpPr>
            <p:spPr bwMode="gray">
              <a:xfrm>
                <a:off x="1738198" y="3729021"/>
                <a:ext cx="1109987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28575">
                <a:solidFill>
                  <a:schemeClr val="bg1"/>
                </a:solidFill>
                <a:prstDash val="sysDot"/>
                <a:miter lim="800000"/>
                <a:headEnd/>
                <a:tailEnd/>
              </a:ln>
              <a:effectLst/>
            </p:spPr>
          </p:cxnSp>
          <p:cxnSp>
            <p:nvCxnSpPr>
              <p:cNvPr id="44" name="Gerade Verbindung 43"/>
              <p:cNvCxnSpPr/>
              <p:nvPr/>
            </p:nvCxnSpPr>
            <p:spPr bwMode="gray">
              <a:xfrm>
                <a:off x="1915588" y="3037924"/>
                <a:ext cx="770823" cy="0"/>
              </a:xfrm>
              <a:prstGeom prst="lin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28575">
                <a:solidFill>
                  <a:schemeClr val="bg1"/>
                </a:solidFill>
                <a:prstDash val="sysDot"/>
                <a:miter lim="800000"/>
                <a:headEnd/>
                <a:tailEnd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27474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OR- Model according to Howard &amp; Sheth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imulus-response scheme with assumptions about perception and information</a:t>
            </a:r>
            <a:br>
              <a:rPr lang="en-US" noProof="1" smtClean="0"/>
            </a:br>
            <a:r>
              <a:rPr lang="en-US" noProof="1" smtClean="0"/>
              <a:t>processing (learning effects)</a:t>
            </a:r>
            <a:endParaRPr lang="en-US" noProof="1"/>
          </a:p>
        </p:txBody>
      </p:sp>
      <p:grpSp>
        <p:nvGrpSpPr>
          <p:cNvPr id="63" name="Gruppieren 62"/>
          <p:cNvGrpSpPr/>
          <p:nvPr/>
        </p:nvGrpSpPr>
        <p:grpSpPr>
          <a:xfrm>
            <a:off x="323850" y="1442395"/>
            <a:ext cx="8496299" cy="4359123"/>
            <a:chOff x="323850" y="1442395"/>
            <a:chExt cx="8496299" cy="4359123"/>
          </a:xfrm>
        </p:grpSpPr>
        <p:sp>
          <p:nvSpPr>
            <p:cNvPr id="17" name="Textfeld 16"/>
            <p:cNvSpPr txBox="1"/>
            <p:nvPr/>
          </p:nvSpPr>
          <p:spPr bwMode="gray">
            <a:xfrm>
              <a:off x="682233" y="1442395"/>
              <a:ext cx="80329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b="1" noProof="1" smtClean="0"/>
                <a:t>S</a:t>
              </a:r>
              <a:r>
                <a:rPr lang="en-US" sz="2000" noProof="1" smtClean="0"/>
                <a:t/>
              </a:r>
              <a:br>
                <a:rPr lang="en-US" sz="2000" noProof="1" smtClean="0"/>
              </a:br>
              <a:r>
                <a:rPr lang="en-US" sz="1200" noProof="1" smtClean="0"/>
                <a:t>(stimulus)</a:t>
              </a:r>
              <a:endParaRPr lang="en-US" sz="2000" noProof="1"/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4135921" y="1442395"/>
              <a:ext cx="108375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b="1" noProof="1" smtClean="0"/>
                <a:t>O</a:t>
              </a:r>
              <a:r>
                <a:rPr lang="en-US" sz="2000" noProof="1" smtClean="0"/>
                <a:t> </a:t>
              </a:r>
              <a:r>
                <a:rPr lang="en-US" sz="1200" noProof="1" smtClean="0"/>
                <a:t>(organism)</a:t>
              </a:r>
              <a:endParaRPr lang="en-US" sz="2000" noProof="1"/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7742788" y="1442395"/>
              <a:ext cx="84625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b="1" noProof="1" smtClean="0"/>
                <a:t>R</a:t>
              </a:r>
              <a:r>
                <a:rPr lang="en-US" sz="2000" noProof="1" smtClean="0"/>
                <a:t/>
              </a:r>
              <a:br>
                <a:rPr lang="en-US" sz="2000" noProof="1" smtClean="0"/>
              </a:br>
              <a:r>
                <a:rPr lang="en-US" sz="1200" noProof="1" smtClean="0"/>
                <a:t>(response)</a:t>
              </a:r>
              <a:endParaRPr lang="en-US" sz="2000" noProof="1"/>
            </a:p>
          </p:txBody>
        </p:sp>
        <p:cxnSp>
          <p:nvCxnSpPr>
            <p:cNvPr id="20" name="Gerade Verbindung mit Pfeil 19"/>
            <p:cNvCxnSpPr/>
            <p:nvPr/>
          </p:nvCxnSpPr>
          <p:spPr bwMode="gray">
            <a:xfrm>
              <a:off x="2043624" y="2004499"/>
              <a:ext cx="5268348" cy="0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 type="triangle" w="med" len="med"/>
              <a:tailEnd type="triangle"/>
            </a:ln>
          </p:spPr>
        </p:cxnSp>
        <p:sp>
          <p:nvSpPr>
            <p:cNvPr id="22" name="Textfeld 21"/>
            <p:cNvSpPr txBox="1"/>
            <p:nvPr/>
          </p:nvSpPr>
          <p:spPr bwMode="gray">
            <a:xfrm>
              <a:off x="3846646" y="1870772"/>
              <a:ext cx="1662315" cy="276999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Hypothetical constructs</a:t>
              </a:r>
              <a:endParaRPr lang="en-US" sz="1200" noProof="1"/>
            </a:p>
          </p:txBody>
        </p:sp>
        <p:sp>
          <p:nvSpPr>
            <p:cNvPr id="23" name="Textfeld 22"/>
            <p:cNvSpPr txBox="1"/>
            <p:nvPr/>
          </p:nvSpPr>
          <p:spPr bwMode="gray">
            <a:xfrm>
              <a:off x="2313794" y="2145389"/>
              <a:ext cx="145905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Perception constructs</a:t>
              </a:r>
              <a:endParaRPr lang="en-US" sz="1100" b="1" noProof="1"/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5128649" y="2145389"/>
              <a:ext cx="13244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Learning constructs</a:t>
              </a:r>
              <a:endParaRPr lang="en-US" sz="1100" b="1" noProof="1"/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2043624" y="2440918"/>
              <a:ext cx="5268348" cy="336059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0" bIns="0" anchor="t" anchorCtr="0"/>
            <a:lstStyle/>
            <a:p>
              <a:pPr marL="90488" indent="-90488">
                <a:buClr>
                  <a:srgbClr val="646464"/>
                </a:buClr>
              </a:pPr>
              <a:endParaRPr lang="en-US" sz="1000" b="1" noProof="1">
                <a:solidFill>
                  <a:srgbClr val="000000"/>
                </a:solidFill>
              </a:endParaRPr>
            </a:p>
          </p:txBody>
        </p:sp>
        <p:cxnSp>
          <p:nvCxnSpPr>
            <p:cNvPr id="37" name="Gerade Verbindung 36"/>
            <p:cNvCxnSpPr/>
            <p:nvPr/>
          </p:nvCxnSpPr>
          <p:spPr bwMode="gray">
            <a:xfrm>
              <a:off x="4067944" y="2204864"/>
              <a:ext cx="0" cy="3596654"/>
            </a:xfrm>
            <a:prstGeom prst="lin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</p:cxnSp>
        <p:sp>
          <p:nvSpPr>
            <p:cNvPr id="40" name="Textfeld 39"/>
            <p:cNvSpPr txBox="1"/>
            <p:nvPr/>
          </p:nvSpPr>
          <p:spPr bwMode="gray">
            <a:xfrm>
              <a:off x="555531" y="2145389"/>
              <a:ext cx="105670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Input variables</a:t>
              </a:r>
              <a:endParaRPr lang="en-US" sz="1100" b="1" noProof="1"/>
            </a:p>
          </p:txBody>
        </p:sp>
        <p:sp>
          <p:nvSpPr>
            <p:cNvPr id="41" name="Textfeld 40"/>
            <p:cNvSpPr txBox="1"/>
            <p:nvPr/>
          </p:nvSpPr>
          <p:spPr bwMode="gray">
            <a:xfrm>
              <a:off x="7573446" y="2145389"/>
              <a:ext cx="118494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b="1" noProof="1" smtClean="0"/>
                <a:t>Output variablen</a:t>
              </a:r>
              <a:endParaRPr lang="en-US" sz="1100" b="1" noProof="1"/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2344375" y="3564937"/>
              <a:ext cx="1159171" cy="24596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search behavior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48" name="Rechteck 47"/>
            <p:cNvSpPr/>
            <p:nvPr/>
          </p:nvSpPr>
          <p:spPr bwMode="gray">
            <a:xfrm>
              <a:off x="2344375" y="4725633"/>
              <a:ext cx="1159171" cy="24596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attention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2344375" y="4093247"/>
              <a:ext cx="1159171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stimulus</a:t>
              </a:r>
            </a:p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ambiguity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50" name="Rechteck 49"/>
            <p:cNvSpPr/>
            <p:nvPr/>
          </p:nvSpPr>
          <p:spPr bwMode="gray">
            <a:xfrm>
              <a:off x="2344375" y="5253943"/>
              <a:ext cx="1454447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perceptive</a:t>
              </a:r>
            </a:p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distortion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4746626" y="4093247"/>
              <a:ext cx="697576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Einstellung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4246497" y="3564937"/>
              <a:ext cx="871537" cy="24596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security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sp>
          <p:nvSpPr>
            <p:cNvPr id="53" name="Rechteck 52"/>
            <p:cNvSpPr/>
            <p:nvPr/>
          </p:nvSpPr>
          <p:spPr bwMode="gray">
            <a:xfrm>
              <a:off x="4248879" y="4674570"/>
              <a:ext cx="731044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>
                  <a:solidFill>
                    <a:srgbClr val="FFFFFF"/>
                  </a:solidFill>
                </a:rPr>
                <a:t>motives</a:t>
              </a: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5210904" y="4674570"/>
              <a:ext cx="731044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646464"/>
                </a:buClr>
              </a:pPr>
              <a:r>
                <a:rPr lang="en-US" sz="1000" b="1" noProof="1">
                  <a:solidFill>
                    <a:srgbClr val="FFFFFF"/>
                  </a:solidFill>
                </a:rPr>
                <a:t>electoral</a:t>
              </a:r>
            </a:p>
            <a:p>
              <a:pPr algn="ctr">
                <a:buClr>
                  <a:srgbClr val="646464"/>
                </a:buClr>
              </a:pPr>
              <a:r>
                <a:rPr lang="en-US" sz="1000" b="1" noProof="1">
                  <a:solidFill>
                    <a:srgbClr val="FFFFFF"/>
                  </a:solidFill>
                </a:rPr>
                <a:t>criteria</a:t>
              </a: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6099111" y="4674570"/>
              <a:ext cx="731044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>
                  <a:solidFill>
                    <a:srgbClr val="FFFFFF"/>
                  </a:solidFill>
                </a:rPr>
                <a:t>brand knowledge</a:t>
              </a: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6363430" y="5253943"/>
              <a:ext cx="731044" cy="3500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>
                  <a:solidFill>
                    <a:srgbClr val="FFFFFF"/>
                  </a:solidFill>
                </a:rPr>
                <a:t>satisfaction</a:t>
              </a:r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6051419" y="2848880"/>
              <a:ext cx="824838" cy="245967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marL="90488" indent="-90488" algn="ctr">
                <a:buClr>
                  <a:srgbClr val="646464"/>
                </a:buClr>
              </a:pPr>
              <a:r>
                <a:rPr lang="en-US" sz="1000" b="1" noProof="1" smtClean="0">
                  <a:solidFill>
                    <a:srgbClr val="FFFFFF"/>
                  </a:solidFill>
                </a:rPr>
                <a:t>intention to buy</a:t>
              </a:r>
              <a:endParaRPr lang="en-US" sz="1000" b="1" noProof="1">
                <a:solidFill>
                  <a:srgbClr val="FFFFFF"/>
                </a:solidFill>
              </a:endParaRPr>
            </a:p>
          </p:txBody>
        </p:sp>
        <p:cxnSp>
          <p:nvCxnSpPr>
            <p:cNvPr id="59" name="Gerade Verbindung mit Pfeil 58"/>
            <p:cNvCxnSpPr>
              <a:stCxn id="47" idx="1"/>
            </p:cNvCxnSpPr>
            <p:nvPr/>
          </p:nvCxnSpPr>
          <p:spPr bwMode="gray">
            <a:xfrm flipH="1" flipV="1">
              <a:off x="1843914" y="3680651"/>
              <a:ext cx="500461" cy="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mit Pfeil 59"/>
            <p:cNvCxnSpPr/>
            <p:nvPr/>
          </p:nvCxnSpPr>
          <p:spPr bwMode="gray">
            <a:xfrm flipV="1">
              <a:off x="1843914" y="4268268"/>
              <a:ext cx="500461" cy="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mit Pfeil 61"/>
            <p:cNvCxnSpPr>
              <a:stCxn id="49" idx="0"/>
              <a:endCxn id="47" idx="2"/>
            </p:cNvCxnSpPr>
            <p:nvPr/>
          </p:nvCxnSpPr>
          <p:spPr bwMode="gray">
            <a:xfrm flipV="1">
              <a:off x="2923961" y="3810904"/>
              <a:ext cx="0" cy="282343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/>
            <p:cNvCxnSpPr>
              <a:stCxn id="49" idx="2"/>
              <a:endCxn id="48" idx="0"/>
            </p:cNvCxnSpPr>
            <p:nvPr/>
          </p:nvCxnSpPr>
          <p:spPr bwMode="gray">
            <a:xfrm>
              <a:off x="2923961" y="4443290"/>
              <a:ext cx="0" cy="282343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/>
            <p:cNvCxnSpPr>
              <a:stCxn id="48" idx="2"/>
            </p:cNvCxnSpPr>
            <p:nvPr/>
          </p:nvCxnSpPr>
          <p:spPr bwMode="gray">
            <a:xfrm>
              <a:off x="2923961" y="4971600"/>
              <a:ext cx="0" cy="282343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Form 67"/>
            <p:cNvCxnSpPr>
              <a:stCxn id="47" idx="3"/>
            </p:cNvCxnSpPr>
            <p:nvPr/>
          </p:nvCxnSpPr>
          <p:spPr bwMode="gray">
            <a:xfrm>
              <a:off x="3503546" y="3687921"/>
              <a:ext cx="176725" cy="1566022"/>
            </a:xfrm>
            <a:prstGeom prst="bentConnector2">
              <a:avLst/>
            </a:prstGeom>
            <a:ln w="12700">
              <a:solidFill>
                <a:srgbClr val="7D7D7D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Form 69"/>
            <p:cNvCxnSpPr>
              <a:stCxn id="50" idx="3"/>
              <a:endCxn id="53" idx="2"/>
            </p:cNvCxnSpPr>
            <p:nvPr/>
          </p:nvCxnSpPr>
          <p:spPr bwMode="gray">
            <a:xfrm flipV="1">
              <a:off x="3798822" y="5024613"/>
              <a:ext cx="815579" cy="404352"/>
            </a:xfrm>
            <a:prstGeom prst="bentConnector2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Form 71"/>
            <p:cNvCxnSpPr>
              <a:stCxn id="50" idx="3"/>
              <a:endCxn id="54" idx="2"/>
            </p:cNvCxnSpPr>
            <p:nvPr/>
          </p:nvCxnSpPr>
          <p:spPr bwMode="gray">
            <a:xfrm flipV="1">
              <a:off x="3798822" y="5024613"/>
              <a:ext cx="1777604" cy="404352"/>
            </a:xfrm>
            <a:prstGeom prst="bentConnector2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>
              <a:stCxn id="50" idx="3"/>
            </p:cNvCxnSpPr>
            <p:nvPr/>
          </p:nvCxnSpPr>
          <p:spPr bwMode="gray">
            <a:xfrm>
              <a:off x="3798822" y="5428965"/>
              <a:ext cx="2401953" cy="0"/>
            </a:xfrm>
            <a:prstGeom prst="line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mit Pfeil 82"/>
            <p:cNvCxnSpPr/>
            <p:nvPr/>
          </p:nvCxnSpPr>
          <p:spPr bwMode="gray">
            <a:xfrm flipV="1">
              <a:off x="6200775" y="5024613"/>
              <a:ext cx="0" cy="404352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mit Pfeil 83"/>
            <p:cNvCxnSpPr>
              <a:stCxn id="56" idx="0"/>
            </p:cNvCxnSpPr>
            <p:nvPr/>
          </p:nvCxnSpPr>
          <p:spPr bwMode="gray">
            <a:xfrm flipH="1" flipV="1">
              <a:off x="6727825" y="5024613"/>
              <a:ext cx="1127" cy="22933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Form 86"/>
            <p:cNvCxnSpPr>
              <a:stCxn id="53" idx="0"/>
              <a:endCxn id="51" idx="1"/>
            </p:cNvCxnSpPr>
            <p:nvPr/>
          </p:nvCxnSpPr>
          <p:spPr bwMode="gray">
            <a:xfrm rot="5400000" flipH="1" flipV="1">
              <a:off x="4477363" y="4405308"/>
              <a:ext cx="406301" cy="132225"/>
            </a:xfrm>
            <a:prstGeom prst="bentConnector2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winkelte Verbindung 88"/>
            <p:cNvCxnSpPr>
              <a:stCxn id="54" idx="0"/>
              <a:endCxn id="51" idx="2"/>
            </p:cNvCxnSpPr>
            <p:nvPr/>
          </p:nvCxnSpPr>
          <p:spPr bwMode="gray">
            <a:xfrm rot="16200000" flipV="1">
              <a:off x="5220280" y="4318424"/>
              <a:ext cx="231280" cy="481012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winkelte Verbindung 90"/>
            <p:cNvCxnSpPr>
              <a:stCxn id="55" idx="0"/>
              <a:endCxn id="57" idx="2"/>
            </p:cNvCxnSpPr>
            <p:nvPr/>
          </p:nvCxnSpPr>
          <p:spPr bwMode="gray">
            <a:xfrm rot="16200000" flipV="1">
              <a:off x="5674375" y="3884311"/>
              <a:ext cx="1579723" cy="795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Form 93"/>
            <p:cNvCxnSpPr>
              <a:stCxn id="52" idx="0"/>
              <a:endCxn id="57" idx="1"/>
            </p:cNvCxnSpPr>
            <p:nvPr/>
          </p:nvCxnSpPr>
          <p:spPr bwMode="gray">
            <a:xfrm rot="5400000" flipH="1" flipV="1">
              <a:off x="5070306" y="2583825"/>
              <a:ext cx="593073" cy="1369153"/>
            </a:xfrm>
            <a:prstGeom prst="bentConnector2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/>
          </p:nvCxnSpPr>
          <p:spPr bwMode="gray">
            <a:xfrm flipH="1">
              <a:off x="5118034" y="3687001"/>
              <a:ext cx="1346600" cy="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>
              <a:endCxn id="51" idx="3"/>
            </p:cNvCxnSpPr>
            <p:nvPr/>
          </p:nvCxnSpPr>
          <p:spPr bwMode="gray">
            <a:xfrm flipH="1">
              <a:off x="5444202" y="4268268"/>
              <a:ext cx="1020432" cy="1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winkelte Verbindung 98"/>
            <p:cNvCxnSpPr/>
            <p:nvPr/>
          </p:nvCxnSpPr>
          <p:spPr bwMode="gray">
            <a:xfrm rot="16200000" flipV="1">
              <a:off x="5937566" y="3884311"/>
              <a:ext cx="1579723" cy="795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winkelte Verbindung 100"/>
            <p:cNvCxnSpPr>
              <a:stCxn id="57" idx="3"/>
              <a:endCxn id="15" idx="1"/>
            </p:cNvCxnSpPr>
            <p:nvPr/>
          </p:nvCxnSpPr>
          <p:spPr bwMode="gray">
            <a:xfrm flipV="1">
              <a:off x="6876257" y="2622023"/>
              <a:ext cx="635426" cy="349841"/>
            </a:xfrm>
            <a:prstGeom prst="bentConnector3">
              <a:avLst>
                <a:gd name="adj1" fmla="val 16700"/>
              </a:avLst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Form 102"/>
            <p:cNvCxnSpPr>
              <a:endCxn id="15" idx="1"/>
            </p:cNvCxnSpPr>
            <p:nvPr/>
          </p:nvCxnSpPr>
          <p:spPr bwMode="gray">
            <a:xfrm rot="5400000" flipH="1" flipV="1">
              <a:off x="5930794" y="3673054"/>
              <a:ext cx="2631920" cy="529858"/>
            </a:xfrm>
            <a:prstGeom prst="bentConnector2">
              <a:avLst/>
            </a:prstGeom>
            <a:ln w="12700">
              <a:solidFill>
                <a:srgbClr val="7D7D7D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3"/>
            <p:cNvGrpSpPr/>
            <p:nvPr/>
          </p:nvGrpSpPr>
          <p:grpSpPr bwMode="gray">
            <a:xfrm>
              <a:off x="7511683" y="2440918"/>
              <a:ext cx="1308466" cy="2284715"/>
              <a:chOff x="7511683" y="2440918"/>
              <a:chExt cx="1308466" cy="3360599"/>
            </a:xfrm>
          </p:grpSpPr>
          <p:sp>
            <p:nvSpPr>
              <p:cNvPr id="15" name="Rechteck 14"/>
              <p:cNvSpPr/>
              <p:nvPr/>
            </p:nvSpPr>
            <p:spPr bwMode="gray">
              <a:xfrm>
                <a:off x="7511683" y="2440918"/>
                <a:ext cx="1308466" cy="53277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marL="90488" indent="-90488" algn="ctr">
                  <a:buClr>
                    <a:srgbClr val="646464"/>
                  </a:buClr>
                </a:pPr>
                <a:r>
                  <a:rPr lang="en-US" sz="1100" b="1" noProof="1">
                    <a:solidFill>
                      <a:srgbClr val="FFFFFF"/>
                    </a:solidFill>
                  </a:rPr>
                  <a:t>purchase</a:t>
                </a:r>
              </a:p>
            </p:txBody>
          </p:sp>
          <p:sp>
            <p:nvSpPr>
              <p:cNvPr id="30" name="Rechteck 29"/>
              <p:cNvSpPr/>
              <p:nvPr/>
            </p:nvSpPr>
            <p:spPr bwMode="gray">
              <a:xfrm>
                <a:off x="7511683" y="3147874"/>
                <a:ext cx="1308466" cy="53277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marL="90488" indent="-90488" algn="ctr">
                  <a:buClr>
                    <a:srgbClr val="646464"/>
                  </a:buClr>
                </a:pPr>
                <a:r>
                  <a:rPr lang="en-US" sz="1100" b="1" noProof="1">
                    <a:solidFill>
                      <a:srgbClr val="FFFFFF"/>
                    </a:solidFill>
                  </a:rPr>
                  <a:t>intention to buy</a:t>
                </a:r>
              </a:p>
            </p:txBody>
          </p:sp>
          <p:sp>
            <p:nvSpPr>
              <p:cNvPr id="31" name="Rechteck 30"/>
              <p:cNvSpPr/>
              <p:nvPr/>
            </p:nvSpPr>
            <p:spPr bwMode="gray">
              <a:xfrm>
                <a:off x="7511683" y="3854829"/>
                <a:ext cx="1308466" cy="53277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marL="90488" indent="-90488" algn="ctr">
                  <a:buClr>
                    <a:srgbClr val="646464"/>
                  </a:buClr>
                </a:pPr>
                <a:r>
                  <a:rPr lang="en-US" sz="1100" b="1" noProof="1" smtClean="0">
                    <a:solidFill>
                      <a:srgbClr val="FFFFFF"/>
                    </a:solidFill>
                  </a:rPr>
                  <a:t>attitude</a:t>
                </a:r>
                <a:endParaRPr lang="en-US" sz="11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Rechteck 31"/>
              <p:cNvSpPr/>
              <p:nvPr/>
            </p:nvSpPr>
            <p:spPr bwMode="gray">
              <a:xfrm>
                <a:off x="7511683" y="4561786"/>
                <a:ext cx="1308466" cy="53277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marL="90488" indent="-90488" algn="ctr">
                  <a:buClr>
                    <a:srgbClr val="646464"/>
                  </a:buClr>
                </a:pPr>
                <a:r>
                  <a:rPr lang="en-US" sz="1100" b="1" noProof="1">
                    <a:solidFill>
                      <a:srgbClr val="FFFFFF"/>
                    </a:solidFill>
                  </a:rPr>
                  <a:t>brand knowledge</a:t>
                </a:r>
              </a:p>
            </p:txBody>
          </p:sp>
          <p:sp>
            <p:nvSpPr>
              <p:cNvPr id="33" name="Rechteck 32"/>
              <p:cNvSpPr/>
              <p:nvPr/>
            </p:nvSpPr>
            <p:spPr bwMode="gray">
              <a:xfrm>
                <a:off x="7511683" y="5268740"/>
                <a:ext cx="1308466" cy="53277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marL="90488" indent="-90488" algn="ctr">
                  <a:buClr>
                    <a:srgbClr val="646464"/>
                  </a:buClr>
                </a:pPr>
                <a:r>
                  <a:rPr lang="en-US" sz="1100" b="1" noProof="1">
                    <a:solidFill>
                      <a:srgbClr val="FFFFFF"/>
                    </a:solidFill>
                  </a:rPr>
                  <a:t>attention</a:t>
                </a:r>
              </a:p>
            </p:txBody>
          </p:sp>
          <p:cxnSp>
            <p:nvCxnSpPr>
              <p:cNvPr id="106" name="Gerade Verbindung mit Pfeil 105"/>
              <p:cNvCxnSpPr>
                <a:stCxn id="30" idx="0"/>
                <a:endCxn id="15" idx="2"/>
              </p:cNvCxnSpPr>
              <p:nvPr/>
            </p:nvCxnSpPr>
            <p:spPr bwMode="gray">
              <a:xfrm flipV="1">
                <a:off x="8165916" y="2973695"/>
                <a:ext cx="0" cy="174179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mit Pfeil 107"/>
              <p:cNvCxnSpPr>
                <a:stCxn id="31" idx="0"/>
                <a:endCxn id="30" idx="2"/>
              </p:cNvCxnSpPr>
              <p:nvPr/>
            </p:nvCxnSpPr>
            <p:spPr bwMode="gray">
              <a:xfrm flipV="1">
                <a:off x="8165916" y="3680651"/>
                <a:ext cx="0" cy="174178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mit Pfeil 109"/>
              <p:cNvCxnSpPr>
                <a:stCxn id="32" idx="0"/>
                <a:endCxn id="31" idx="2"/>
              </p:cNvCxnSpPr>
              <p:nvPr/>
            </p:nvCxnSpPr>
            <p:spPr bwMode="gray">
              <a:xfrm flipV="1">
                <a:off x="8165916" y="4387606"/>
                <a:ext cx="0" cy="174180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mit Pfeil 111"/>
              <p:cNvCxnSpPr>
                <a:stCxn id="33" idx="0"/>
                <a:endCxn id="32" idx="2"/>
              </p:cNvCxnSpPr>
              <p:nvPr/>
            </p:nvCxnSpPr>
            <p:spPr bwMode="gray">
              <a:xfrm flipV="1">
                <a:off x="8165916" y="5094563"/>
                <a:ext cx="0" cy="174177"/>
              </a:xfrm>
              <a:prstGeom prst="straightConnector1">
                <a:avLst/>
              </a:prstGeom>
              <a:ln w="12700">
                <a:solidFill>
                  <a:srgbClr val="7D7D7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ieren 60"/>
            <p:cNvGrpSpPr/>
            <p:nvPr/>
          </p:nvGrpSpPr>
          <p:grpSpPr bwMode="gray">
            <a:xfrm>
              <a:off x="323850" y="2440918"/>
              <a:ext cx="1520064" cy="3360599"/>
              <a:chOff x="323850" y="2440918"/>
              <a:chExt cx="1520064" cy="3360599"/>
            </a:xfrm>
          </p:grpSpPr>
          <p:sp>
            <p:nvSpPr>
              <p:cNvPr id="13" name="Rechteck 12"/>
              <p:cNvSpPr/>
              <p:nvPr/>
            </p:nvSpPr>
            <p:spPr bwMode="gray">
              <a:xfrm>
                <a:off x="323850" y="2440918"/>
                <a:ext cx="1520064" cy="192034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0" bIns="0" anchor="t" anchorCtr="0"/>
              <a:lstStyle/>
              <a:p>
                <a:pPr marL="90488" indent="-90488">
                  <a:buClr>
                    <a:srgbClr val="646464"/>
                  </a:buClr>
                </a:pPr>
                <a:r>
                  <a:rPr lang="en-US" sz="1100" b="1" noProof="1" smtClean="0">
                    <a:solidFill>
                      <a:srgbClr val="000000"/>
                    </a:solidFill>
                  </a:rPr>
                  <a:t>Information from</a:t>
                </a:r>
              </a:p>
              <a:p>
                <a:pPr marL="90488" indent="-90488">
                  <a:buClr>
                    <a:srgbClr val="646464"/>
                  </a:buClr>
                </a:pPr>
                <a:r>
                  <a:rPr lang="en-US" sz="1100" b="1" noProof="1" smtClean="0">
                    <a:solidFill>
                      <a:srgbClr val="000000"/>
                    </a:solidFill>
                  </a:rPr>
                  <a:t>commercial sources</a:t>
                </a:r>
              </a:p>
              <a:p>
                <a:pPr marL="90488" indent="-90488">
                  <a:buClr>
                    <a:srgbClr val="646464"/>
                  </a:buClr>
                </a:pPr>
                <a:endParaRPr lang="en-US" sz="1100" b="1" noProof="1" smtClean="0">
                  <a:solidFill>
                    <a:srgbClr val="000000"/>
                  </a:solidFill>
                </a:endParaRP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quality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price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peculiarity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service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availability</a:t>
                </a:r>
                <a:endParaRPr lang="en-US" sz="11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 bwMode="gray">
              <a:xfrm>
                <a:off x="323850" y="4361261"/>
                <a:ext cx="1520064" cy="144025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0" bIns="0" anchor="t" anchorCtr="0"/>
              <a:lstStyle/>
              <a:p>
                <a:pPr marL="90488" indent="-90488">
                  <a:buClr>
                    <a:srgbClr val="646464"/>
                  </a:buClr>
                </a:pPr>
                <a:r>
                  <a:rPr lang="en-US" sz="1100" b="1" noProof="1" smtClean="0">
                    <a:solidFill>
                      <a:srgbClr val="000000"/>
                    </a:solidFill>
                  </a:rPr>
                  <a:t>Information from</a:t>
                </a:r>
              </a:p>
              <a:p>
                <a:pPr marL="90488" indent="-90488">
                  <a:buClr>
                    <a:srgbClr val="646464"/>
                  </a:buClr>
                </a:pPr>
                <a:r>
                  <a:rPr lang="en-US" sz="1100" b="1" noProof="1" smtClean="0">
                    <a:solidFill>
                      <a:srgbClr val="000000"/>
                    </a:solidFill>
                  </a:rPr>
                  <a:t>social sources</a:t>
                </a:r>
                <a:br>
                  <a:rPr lang="en-US" sz="1100" b="1" noProof="1" smtClean="0">
                    <a:solidFill>
                      <a:srgbClr val="000000"/>
                    </a:solidFill>
                  </a:rPr>
                </a:br>
                <a:endParaRPr lang="en-US" sz="1100" b="1" noProof="1" smtClean="0">
                  <a:solidFill>
                    <a:srgbClr val="000000"/>
                  </a:solidFill>
                </a:endParaRP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family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friends and acquaintances</a:t>
                </a:r>
              </a:p>
              <a:p>
                <a:pPr marL="90488" indent="-90488">
                  <a:spcAft>
                    <a:spcPts val="400"/>
                  </a:spcAft>
                  <a:buClr>
                    <a:srgbClr val="646464"/>
                  </a:buClr>
                  <a:buSzPct val="90000"/>
                  <a:buFont typeface="Wingdings" pitchFamily="2" charset="2"/>
                  <a:buChar char="§"/>
                </a:pPr>
                <a:r>
                  <a:rPr lang="en-US" sz="1100" noProof="1" smtClean="0">
                    <a:solidFill>
                      <a:srgbClr val="000000"/>
                    </a:solidFill>
                  </a:rPr>
                  <a:t>colleagues</a:t>
                </a:r>
                <a:endParaRPr lang="en-US" sz="1100" noProof="1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76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ocurement Center Model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oles in the purchase decision-making in the corporate sector</a:t>
            </a:r>
            <a:endParaRPr lang="en-US" noProof="1"/>
          </a:p>
        </p:txBody>
      </p:sp>
      <p:grpSp>
        <p:nvGrpSpPr>
          <p:cNvPr id="32" name="Gruppieren 31"/>
          <p:cNvGrpSpPr/>
          <p:nvPr/>
        </p:nvGrpSpPr>
        <p:grpSpPr>
          <a:xfrm>
            <a:off x="323850" y="1555750"/>
            <a:ext cx="8497244" cy="4171810"/>
            <a:chOff x="323850" y="1555750"/>
            <a:chExt cx="8497244" cy="4171810"/>
          </a:xfrm>
        </p:grpSpPr>
        <p:sp>
          <p:nvSpPr>
            <p:cNvPr id="147" name="Rechteck 146"/>
            <p:cNvSpPr/>
            <p:nvPr/>
          </p:nvSpPr>
          <p:spPr bwMode="gray">
            <a:xfrm>
              <a:off x="323850" y="1555750"/>
              <a:ext cx="1622341" cy="4330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Gatekeeper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Secretary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8" name="Rechteck 147"/>
            <p:cNvSpPr/>
            <p:nvPr/>
          </p:nvSpPr>
          <p:spPr bwMode="gray">
            <a:xfrm>
              <a:off x="2042324" y="1555750"/>
              <a:ext cx="1622341" cy="4330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Decision maker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Manager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9" name="Rechteck 148"/>
            <p:cNvSpPr/>
            <p:nvPr/>
          </p:nvSpPr>
          <p:spPr bwMode="gray">
            <a:xfrm>
              <a:off x="3761083" y="1555750"/>
              <a:ext cx="1622341" cy="4330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Buyer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/>
                <a:t>Employee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0" name="Rechteck 149"/>
            <p:cNvSpPr/>
            <p:nvPr/>
          </p:nvSpPr>
          <p:spPr bwMode="gray">
            <a:xfrm>
              <a:off x="5479842" y="1555750"/>
              <a:ext cx="1622341" cy="4330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User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/>
                <a:t>Employee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1" name="Rechteck 150"/>
            <p:cNvSpPr/>
            <p:nvPr/>
          </p:nvSpPr>
          <p:spPr bwMode="gray">
            <a:xfrm>
              <a:off x="7197961" y="1555750"/>
              <a:ext cx="1622981" cy="4330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Influencer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/>
                <a:t>Management consultant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2" name="Rechteck 151"/>
            <p:cNvSpPr/>
            <p:nvPr/>
          </p:nvSpPr>
          <p:spPr bwMode="gray">
            <a:xfrm>
              <a:off x="323850" y="1988840"/>
              <a:ext cx="1622341" cy="1821160"/>
            </a:xfrm>
            <a:prstGeom prst="rect">
              <a:avLst/>
            </a:prstGeom>
            <a:blipFill>
              <a:blip r:embed="rId2" cstate="print"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7" name="Rechteck 136"/>
            <p:cNvSpPr/>
            <p:nvPr/>
          </p:nvSpPr>
          <p:spPr bwMode="gray">
            <a:xfrm>
              <a:off x="323850" y="3810000"/>
              <a:ext cx="1622189" cy="4191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Gatekeeper</a:t>
              </a:r>
            </a:p>
          </p:txBody>
        </p:sp>
        <p:sp>
          <p:nvSpPr>
            <p:cNvPr id="142" name="Rechteck 141"/>
            <p:cNvSpPr/>
            <p:nvPr/>
          </p:nvSpPr>
          <p:spPr bwMode="gray">
            <a:xfrm>
              <a:off x="323850" y="4229100"/>
              <a:ext cx="1622189" cy="12271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Information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ollection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>
                  <a:solidFill>
                    <a:srgbClr val="000000"/>
                  </a:solidFill>
                  <a:cs typeface="Arial" charset="0"/>
                </a:rPr>
                <a:t>comparison of offer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decision-making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eparation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3" name="Rechteck 152"/>
            <p:cNvSpPr/>
            <p:nvPr/>
          </p:nvSpPr>
          <p:spPr bwMode="gray">
            <a:xfrm>
              <a:off x="2042324" y="1988840"/>
              <a:ext cx="1622341" cy="1821160"/>
            </a:xfrm>
            <a:prstGeom prst="rect">
              <a:avLst/>
            </a:prstGeom>
            <a:blipFill>
              <a:blip r:embed="rId3" cstate="print"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4" name="Rechteck 153"/>
            <p:cNvSpPr/>
            <p:nvPr/>
          </p:nvSpPr>
          <p:spPr bwMode="gray">
            <a:xfrm>
              <a:off x="3760611" y="1988840"/>
              <a:ext cx="1622341" cy="1821160"/>
            </a:xfrm>
            <a:prstGeom prst="rect">
              <a:avLst/>
            </a:prstGeom>
            <a:blipFill>
              <a:blip r:embed="rId4" cstate="print"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5" name="Rechteck 154"/>
            <p:cNvSpPr/>
            <p:nvPr/>
          </p:nvSpPr>
          <p:spPr bwMode="gray">
            <a:xfrm>
              <a:off x="5479842" y="1988840"/>
              <a:ext cx="1622341" cy="1821160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6" name="Rechteck 155"/>
            <p:cNvSpPr/>
            <p:nvPr/>
          </p:nvSpPr>
          <p:spPr bwMode="gray">
            <a:xfrm>
              <a:off x="7197961" y="1988840"/>
              <a:ext cx="1623133" cy="1821160"/>
            </a:xfrm>
            <a:prstGeom prst="rect">
              <a:avLst/>
            </a:prstGeom>
            <a:blipFill>
              <a:blip r:embed="rId6" cstate="print"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8" name="Rechteck 137"/>
            <p:cNvSpPr/>
            <p:nvPr/>
          </p:nvSpPr>
          <p:spPr bwMode="gray">
            <a:xfrm>
              <a:off x="2042164" y="3810000"/>
              <a:ext cx="1622189" cy="4191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Decision maker</a:t>
              </a:r>
            </a:p>
          </p:txBody>
        </p:sp>
        <p:sp>
          <p:nvSpPr>
            <p:cNvPr id="139" name="Rechteck 138"/>
            <p:cNvSpPr/>
            <p:nvPr/>
          </p:nvSpPr>
          <p:spPr bwMode="gray">
            <a:xfrm>
              <a:off x="3760763" y="3810000"/>
              <a:ext cx="1622189" cy="4191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Buyer</a:t>
              </a:r>
            </a:p>
          </p:txBody>
        </p:sp>
        <p:sp>
          <p:nvSpPr>
            <p:cNvPr id="140" name="Rechteck 139"/>
            <p:cNvSpPr/>
            <p:nvPr/>
          </p:nvSpPr>
          <p:spPr bwMode="gray">
            <a:xfrm>
              <a:off x="5479362" y="3810000"/>
              <a:ext cx="1622189" cy="419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User</a:t>
              </a:r>
            </a:p>
          </p:txBody>
        </p:sp>
        <p:sp>
          <p:nvSpPr>
            <p:cNvPr id="141" name="Rechteck 140"/>
            <p:cNvSpPr/>
            <p:nvPr/>
          </p:nvSpPr>
          <p:spPr bwMode="gray">
            <a:xfrm>
              <a:off x="7197961" y="3810000"/>
              <a:ext cx="1622189" cy="419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charset="0"/>
                </a:rPr>
                <a:t>Influencer</a:t>
              </a:r>
            </a:p>
          </p:txBody>
        </p:sp>
        <p:sp>
          <p:nvSpPr>
            <p:cNvPr id="143" name="Rechteck 142"/>
            <p:cNvSpPr/>
            <p:nvPr/>
          </p:nvSpPr>
          <p:spPr bwMode="gray">
            <a:xfrm>
              <a:off x="2042164" y="4229100"/>
              <a:ext cx="1622189" cy="12271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urchase decision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vendor selection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4" name="Rechteck 143"/>
            <p:cNvSpPr/>
            <p:nvPr/>
          </p:nvSpPr>
          <p:spPr bwMode="gray">
            <a:xfrm>
              <a:off x="3760763" y="4229100"/>
              <a:ext cx="1622189" cy="12271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urchase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ice negotiations, discounts, and quantitie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delivery conditions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5" name="Rechteck 144"/>
            <p:cNvSpPr/>
            <p:nvPr/>
          </p:nvSpPr>
          <p:spPr bwMode="gray">
            <a:xfrm>
              <a:off x="5479362" y="4229100"/>
              <a:ext cx="1622189" cy="12271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uggestions for purchase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ssessment after the purchase 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(qualitatively)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6" name="Rechteck 145"/>
            <p:cNvSpPr/>
            <p:nvPr/>
          </p:nvSpPr>
          <p:spPr bwMode="gray">
            <a:xfrm>
              <a:off x="7198753" y="4229100"/>
              <a:ext cx="1622189" cy="122715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riteria 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formulation 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for selection and evaluation of 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offers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" name="Pfeil nach rechts 3"/>
            <p:cNvSpPr/>
            <p:nvPr/>
          </p:nvSpPr>
          <p:spPr bwMode="gray">
            <a:xfrm>
              <a:off x="1868906" y="2612572"/>
              <a:ext cx="341644" cy="53256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7D7D7D"/>
              </a:solidFill>
              <a:round/>
              <a:headEnd/>
              <a:tailEnd/>
            </a:ln>
            <a:effectLst>
              <a:outerShdw blurRad="127000" sx="102000" sy="102000" algn="ctr" rotWithShape="0">
                <a:prstClr val="black">
                  <a:alpha val="79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5" name="Pfeil nach rechts 24"/>
            <p:cNvSpPr/>
            <p:nvPr/>
          </p:nvSpPr>
          <p:spPr bwMode="gray">
            <a:xfrm>
              <a:off x="3599014" y="2612572"/>
              <a:ext cx="341644" cy="53256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7D7D7D"/>
              </a:solidFill>
              <a:round/>
              <a:headEnd/>
              <a:tailEnd/>
            </a:ln>
            <a:effectLst>
              <a:outerShdw blurRad="127000" sx="102000" sy="102000" algn="ctr" rotWithShape="0">
                <a:prstClr val="black">
                  <a:alpha val="79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6" name="Pfeil nach rechts 25"/>
            <p:cNvSpPr/>
            <p:nvPr/>
          </p:nvSpPr>
          <p:spPr bwMode="gray">
            <a:xfrm>
              <a:off x="5310420" y="2612572"/>
              <a:ext cx="341644" cy="53256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7D7D7D"/>
              </a:solidFill>
              <a:round/>
              <a:headEnd/>
              <a:tailEnd/>
            </a:ln>
            <a:effectLst>
              <a:outerShdw blurRad="127000" sx="102000" sy="102000" algn="ctr" rotWithShape="0">
                <a:prstClr val="black">
                  <a:alpha val="79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8" name="Gerade Verbindung 7"/>
            <p:cNvCxnSpPr>
              <a:stCxn id="146" idx="2"/>
            </p:cNvCxnSpPr>
            <p:nvPr/>
          </p:nvCxnSpPr>
          <p:spPr bwMode="gray">
            <a:xfrm flipH="1">
              <a:off x="7998488" y="5456255"/>
              <a:ext cx="0" cy="271305"/>
            </a:xfrm>
            <a:prstGeom prst="line">
              <a:avLst/>
            </a:prstGeom>
            <a:ln w="1905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flipH="1">
              <a:off x="6300192" y="5456255"/>
              <a:ext cx="0" cy="271305"/>
            </a:xfrm>
            <a:prstGeom prst="line">
              <a:avLst/>
            </a:prstGeom>
            <a:ln w="1905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 bwMode="gray">
            <a:xfrm flipH="1">
              <a:off x="1135464" y="5727560"/>
              <a:ext cx="6863024" cy="0"/>
            </a:xfrm>
            <a:prstGeom prst="line">
              <a:avLst/>
            </a:prstGeom>
            <a:ln w="1905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/>
            <p:cNvCxnSpPr>
              <a:endCxn id="142" idx="2"/>
            </p:cNvCxnSpPr>
            <p:nvPr/>
          </p:nvCxnSpPr>
          <p:spPr bwMode="gray">
            <a:xfrm flipH="1" flipV="1">
              <a:off x="1134945" y="5456255"/>
              <a:ext cx="0" cy="271305"/>
            </a:xfrm>
            <a:prstGeom prst="straightConnector1">
              <a:avLst/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/>
            <p:cNvCxnSpPr/>
            <p:nvPr/>
          </p:nvCxnSpPr>
          <p:spPr bwMode="gray">
            <a:xfrm flipH="1" flipV="1">
              <a:off x="2843808" y="5456255"/>
              <a:ext cx="0" cy="271305"/>
            </a:xfrm>
            <a:prstGeom prst="straightConnector1">
              <a:avLst/>
            </a:prstGeom>
            <a:ln w="19050">
              <a:solidFill>
                <a:srgbClr val="7D7D7D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7335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ales Development </a:t>
            </a:r>
            <a:r>
              <a:rPr lang="en-US" b="0" noProof="1" smtClean="0"/>
              <a:t>-</a:t>
            </a:r>
            <a:r>
              <a:rPr lang="en-US" noProof="1" smtClean="0"/>
              <a:t> </a:t>
            </a:r>
            <a:r>
              <a:rPr lang="en-US" b="0" noProof="1" smtClean="0"/>
              <a:t>Options</a:t>
            </a:r>
            <a:endParaRPr lang="en-US" b="0" noProof="1"/>
          </a:p>
        </p:txBody>
      </p:sp>
      <p:grpSp>
        <p:nvGrpSpPr>
          <p:cNvPr id="34" name="Gruppieren 33"/>
          <p:cNvGrpSpPr/>
          <p:nvPr/>
        </p:nvGrpSpPr>
        <p:grpSpPr>
          <a:xfrm>
            <a:off x="323850" y="1555750"/>
            <a:ext cx="8496300" cy="4245768"/>
            <a:chOff x="323850" y="1555750"/>
            <a:chExt cx="8496300" cy="4245768"/>
          </a:xfrm>
        </p:grpSpPr>
        <p:sp>
          <p:nvSpPr>
            <p:cNvPr id="15" name="Textfeld 14"/>
            <p:cNvSpPr txBox="1"/>
            <p:nvPr/>
          </p:nvSpPr>
          <p:spPr bwMode="gray">
            <a:xfrm>
              <a:off x="438431" y="1555750"/>
              <a:ext cx="8450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Level 1</a:t>
              </a:r>
              <a:endParaRPr lang="en-US" b="1" noProof="1"/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2115873" y="1555750"/>
              <a:ext cx="8450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Level 2</a:t>
              </a:r>
              <a:endParaRPr lang="en-US" b="1" noProof="1"/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3863099" y="1555750"/>
              <a:ext cx="8450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Level 3</a:t>
              </a:r>
              <a:endParaRPr lang="en-US" b="1" noProof="1"/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5507229" y="1555750"/>
              <a:ext cx="12933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Advantages</a:t>
              </a:r>
              <a:endParaRPr lang="en-US" b="1" noProof="1"/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7242834" y="1555750"/>
              <a:ext cx="15610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Disadvantages</a:t>
              </a:r>
              <a:endParaRPr lang="en-US" b="1" noProof="1"/>
            </a:p>
          </p:txBody>
        </p:sp>
        <p:sp>
          <p:nvSpPr>
            <p:cNvPr id="35" name="Rechteck 34"/>
            <p:cNvSpPr/>
            <p:nvPr/>
          </p:nvSpPr>
          <p:spPr bwMode="gray">
            <a:xfrm>
              <a:off x="5341062" y="2047954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No surcharges</a:t>
              </a:r>
            </a:p>
          </p:txBody>
        </p:sp>
        <p:sp>
          <p:nvSpPr>
            <p:cNvPr id="36" name="Rechteck 35"/>
            <p:cNvSpPr/>
            <p:nvPr/>
          </p:nvSpPr>
          <p:spPr bwMode="gray">
            <a:xfrm>
              <a:off x="5341062" y="3044543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Building up own competence</a:t>
              </a:r>
            </a:p>
          </p:txBody>
        </p:sp>
        <p:sp>
          <p:nvSpPr>
            <p:cNvPr id="37" name="Rechteck 36"/>
            <p:cNvSpPr/>
            <p:nvPr/>
          </p:nvSpPr>
          <p:spPr bwMode="gray">
            <a:xfrm>
              <a:off x="5341062" y="4041131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Faster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rket access</a:t>
              </a:r>
            </a:p>
          </p:txBody>
        </p:sp>
        <p:sp>
          <p:nvSpPr>
            <p:cNvPr id="38" name="Rechteck 37"/>
            <p:cNvSpPr/>
            <p:nvPr/>
          </p:nvSpPr>
          <p:spPr bwMode="gray">
            <a:xfrm>
              <a:off x="5341062" y="5037719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Faster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market access</a:t>
              </a: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7210806" y="2047954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No competence</a:t>
              </a:r>
            </a:p>
          </p:txBody>
        </p:sp>
        <p:sp>
          <p:nvSpPr>
            <p:cNvPr id="40" name="Rechteck 39"/>
            <p:cNvSpPr/>
            <p:nvPr/>
          </p:nvSpPr>
          <p:spPr bwMode="gray">
            <a:xfrm>
              <a:off x="7210806" y="3044543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Short-term not possible</a:t>
              </a:r>
            </a:p>
          </p:txBody>
        </p:sp>
        <p:sp>
          <p:nvSpPr>
            <p:cNvPr id="41" name="Rechteck 40"/>
            <p:cNvSpPr/>
            <p:nvPr/>
          </p:nvSpPr>
          <p:spPr bwMode="gray">
            <a:xfrm>
              <a:off x="7210806" y="4041131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No customer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relations</a:t>
              </a: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7210806" y="5037719"/>
              <a:ext cx="1609344" cy="7637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sp3d/>
          </p:spPr>
          <p:txBody>
            <a:bodyPr lIns="0" tIns="0" rIns="0" bIns="0" anchor="ctr" anchorCtr="0"/>
            <a:lstStyle/>
            <a:p>
              <a:pPr algn="ctr"/>
              <a:r>
                <a:rPr lang="en-US" sz="1400" noProof="1" smtClean="0"/>
                <a:t>Partners </a:t>
              </a:r>
              <a:br>
                <a:rPr lang="en-US" sz="1400" noProof="1" smtClean="0"/>
              </a:br>
              <a:r>
                <a:rPr lang="en-US" sz="1400" noProof="1" smtClean="0"/>
                <a:t>optimize first</a:t>
              </a:r>
              <a:endParaRPr lang="en-US" sz="1400" noProof="1"/>
            </a:p>
          </p:txBody>
        </p:sp>
        <p:cxnSp>
          <p:nvCxnSpPr>
            <p:cNvPr id="47" name="Gerade Verbindung 46"/>
            <p:cNvCxnSpPr/>
            <p:nvPr/>
          </p:nvCxnSpPr>
          <p:spPr bwMode="gray">
            <a:xfrm>
              <a:off x="1700331" y="1916113"/>
              <a:ext cx="0" cy="3885405"/>
            </a:xfrm>
            <a:prstGeom prst="line">
              <a:avLst/>
            </a:prstGeom>
            <a:ln w="19050">
              <a:solidFill>
                <a:srgbClr val="C0C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 bwMode="gray">
            <a:xfrm>
              <a:off x="3347762" y="1916113"/>
              <a:ext cx="0" cy="3885405"/>
            </a:xfrm>
            <a:prstGeom prst="line">
              <a:avLst/>
            </a:prstGeom>
            <a:ln w="19050">
              <a:solidFill>
                <a:srgbClr val="C0C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5221904" y="1916113"/>
              <a:ext cx="0" cy="3885405"/>
            </a:xfrm>
            <a:prstGeom prst="line">
              <a:avLst/>
            </a:prstGeom>
            <a:ln w="19050">
              <a:solidFill>
                <a:srgbClr val="C0C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7179173" y="1916113"/>
              <a:ext cx="0" cy="3885405"/>
            </a:xfrm>
            <a:prstGeom prst="line">
              <a:avLst/>
            </a:prstGeom>
            <a:ln w="19050">
              <a:solidFill>
                <a:srgbClr val="C0C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winkelte Verbindung 52"/>
            <p:cNvCxnSpPr>
              <a:stCxn id="14" idx="3"/>
              <a:endCxn id="28" idx="1"/>
            </p:cNvCxnSpPr>
            <p:nvPr/>
          </p:nvCxnSpPr>
          <p:spPr bwMode="gray">
            <a:xfrm flipV="1">
              <a:off x="1398050" y="2928148"/>
              <a:ext cx="603242" cy="99658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winkelte Verbindung 54"/>
            <p:cNvCxnSpPr>
              <a:stCxn id="14" idx="3"/>
              <a:endCxn id="29" idx="1"/>
            </p:cNvCxnSpPr>
            <p:nvPr/>
          </p:nvCxnSpPr>
          <p:spPr bwMode="gray">
            <a:xfrm>
              <a:off x="1398050" y="3924737"/>
              <a:ext cx="603242" cy="99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winkelte Verbindung 56"/>
            <p:cNvCxnSpPr>
              <a:stCxn id="28" idx="3"/>
              <a:endCxn id="30" idx="1"/>
            </p:cNvCxnSpPr>
            <p:nvPr/>
          </p:nvCxnSpPr>
          <p:spPr bwMode="gray">
            <a:xfrm flipV="1">
              <a:off x="3075492" y="2429854"/>
              <a:ext cx="538338" cy="498294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>
              <a:stCxn id="28" idx="3"/>
              <a:endCxn id="31" idx="1"/>
            </p:cNvCxnSpPr>
            <p:nvPr/>
          </p:nvCxnSpPr>
          <p:spPr bwMode="gray">
            <a:xfrm>
              <a:off x="3075492" y="2928148"/>
              <a:ext cx="538338" cy="498295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>
              <a:stCxn id="29" idx="3"/>
              <a:endCxn id="32" idx="1"/>
            </p:cNvCxnSpPr>
            <p:nvPr/>
          </p:nvCxnSpPr>
          <p:spPr bwMode="gray">
            <a:xfrm flipV="1">
              <a:off x="3075492" y="4423031"/>
              <a:ext cx="538338" cy="498294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 Verbindung 62"/>
            <p:cNvCxnSpPr>
              <a:stCxn id="29" idx="3"/>
              <a:endCxn id="33" idx="1"/>
            </p:cNvCxnSpPr>
            <p:nvPr/>
          </p:nvCxnSpPr>
          <p:spPr bwMode="gray">
            <a:xfrm>
              <a:off x="3075492" y="4921325"/>
              <a:ext cx="538338" cy="498294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hteck 13"/>
            <p:cNvSpPr/>
            <p:nvPr/>
          </p:nvSpPr>
          <p:spPr bwMode="gray">
            <a:xfrm>
              <a:off x="323850" y="3607342"/>
              <a:ext cx="1074200" cy="6347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Distribution options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2001292" y="2610753"/>
              <a:ext cx="1074200" cy="6347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wn distribution</a:t>
              </a:r>
            </a:p>
          </p:txBody>
        </p:sp>
        <p:sp>
          <p:nvSpPr>
            <p:cNvPr id="29" name="Rechteck 28"/>
            <p:cNvSpPr/>
            <p:nvPr/>
          </p:nvSpPr>
          <p:spPr bwMode="gray">
            <a:xfrm>
              <a:off x="2001292" y="4603930"/>
              <a:ext cx="1074200" cy="6347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Foreign sales</a:t>
              </a:r>
            </a:p>
          </p:txBody>
        </p:sp>
        <p:sp>
          <p:nvSpPr>
            <p:cNvPr id="30" name="Rechteck 29"/>
            <p:cNvSpPr/>
            <p:nvPr/>
          </p:nvSpPr>
          <p:spPr bwMode="gray">
            <a:xfrm>
              <a:off x="3613830" y="2047954"/>
              <a:ext cx="1343578" cy="76379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Use of existing distribution</a:t>
              </a:r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3613830" y="3044543"/>
              <a:ext cx="1343578" cy="76379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onstruction of new distribution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3613830" y="4041131"/>
              <a:ext cx="1343578" cy="76379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Distribution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order</a:t>
              </a:r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3613830" y="5037719"/>
              <a:ext cx="1343578" cy="76379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Use </a:t>
              </a: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of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distribution </a:t>
              </a: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artners</a:t>
              </a:r>
            </a:p>
          </p:txBody>
        </p:sp>
        <p:cxnSp>
          <p:nvCxnSpPr>
            <p:cNvPr id="45" name="Gerade Verbindung 44"/>
            <p:cNvCxnSpPr/>
            <p:nvPr/>
          </p:nvCxnSpPr>
          <p:spPr bwMode="gray">
            <a:xfrm>
              <a:off x="323850" y="1916113"/>
              <a:ext cx="8496300" cy="0"/>
            </a:xfrm>
            <a:prstGeom prst="line">
              <a:avLst/>
            </a:prstGeom>
            <a:ln w="12700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081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Customer Relations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7812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uppieren 31"/>
          <p:cNvGrpSpPr/>
          <p:nvPr/>
        </p:nvGrpSpPr>
        <p:grpSpPr bwMode="gray">
          <a:xfrm>
            <a:off x="0" y="4534215"/>
            <a:ext cx="9144000" cy="1163782"/>
            <a:chOff x="0" y="4534215"/>
            <a:chExt cx="9144000" cy="1163782"/>
          </a:xfrm>
        </p:grpSpPr>
        <p:sp>
          <p:nvSpPr>
            <p:cNvPr id="33" name="Rechteck 32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4" name="Rechteck 33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py Platform / Copy Strategy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odel to develop an advertising argumentation</a:t>
            </a:r>
            <a:endParaRPr lang="en-US" noProof="1"/>
          </a:p>
        </p:txBody>
      </p:sp>
      <p:grpSp>
        <p:nvGrpSpPr>
          <p:cNvPr id="27" name="Gruppieren 26"/>
          <p:cNvGrpSpPr/>
          <p:nvPr/>
        </p:nvGrpSpPr>
        <p:grpSpPr>
          <a:xfrm>
            <a:off x="323850" y="1554954"/>
            <a:ext cx="8105547" cy="4436997"/>
            <a:chOff x="323850" y="1554954"/>
            <a:chExt cx="8105547" cy="4436997"/>
          </a:xfrm>
        </p:grpSpPr>
        <p:grpSp>
          <p:nvGrpSpPr>
            <p:cNvPr id="22" name="Gruppieren 21"/>
            <p:cNvGrpSpPr/>
            <p:nvPr/>
          </p:nvGrpSpPr>
          <p:grpSpPr>
            <a:xfrm>
              <a:off x="323850" y="1554954"/>
              <a:ext cx="8105547" cy="4436997"/>
              <a:chOff x="323850" y="1554954"/>
              <a:chExt cx="8105547" cy="4436997"/>
            </a:xfrm>
          </p:grpSpPr>
          <p:pic>
            <p:nvPicPr>
              <p:cNvPr id="28" name="Picture 8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gray">
              <a:xfrm>
                <a:off x="2679700" y="5550626"/>
                <a:ext cx="3786188" cy="441325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  <p:sp>
            <p:nvSpPr>
              <p:cNvPr id="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4635058" y="1554954"/>
                <a:ext cx="2065440" cy="3123466"/>
              </a:xfrm>
              <a:custGeom>
                <a:avLst/>
                <a:gdLst/>
                <a:ahLst/>
                <a:cxnLst>
                  <a:cxn ang="0">
                    <a:pos x="28" y="173"/>
                  </a:cxn>
                  <a:cxn ang="0">
                    <a:pos x="58" y="262"/>
                  </a:cxn>
                  <a:cxn ang="0">
                    <a:pos x="200" y="344"/>
                  </a:cxn>
                  <a:cxn ang="0">
                    <a:pos x="227" y="234"/>
                  </a:cxn>
                  <a:cxn ang="0">
                    <a:pos x="0" y="0"/>
                  </a:cxn>
                  <a:cxn ang="0">
                    <a:pos x="0" y="164"/>
                  </a:cxn>
                  <a:cxn ang="0">
                    <a:pos x="28" y="173"/>
                  </a:cxn>
                </a:cxnLst>
                <a:rect l="0" t="0" r="r" b="b"/>
                <a:pathLst>
                  <a:path w="227" h="344">
                    <a:moveTo>
                      <a:pt x="28" y="173"/>
                    </a:moveTo>
                    <a:cubicBezTo>
                      <a:pt x="60" y="191"/>
                      <a:pt x="72" y="230"/>
                      <a:pt x="58" y="262"/>
                    </a:cubicBezTo>
                    <a:cubicBezTo>
                      <a:pt x="200" y="344"/>
                      <a:pt x="200" y="344"/>
                      <a:pt x="200" y="344"/>
                    </a:cubicBezTo>
                    <a:cubicBezTo>
                      <a:pt x="217" y="311"/>
                      <a:pt x="227" y="274"/>
                      <a:pt x="227" y="234"/>
                    </a:cubicBezTo>
                    <a:cubicBezTo>
                      <a:pt x="227" y="107"/>
                      <a:pt x="126" y="4"/>
                      <a:pt x="0" y="0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10" y="165"/>
                      <a:pt x="20" y="168"/>
                      <a:pt x="28" y="17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endParaRPr lang="en-US" sz="14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444294" y="1554954"/>
                <a:ext cx="2060619" cy="3123466"/>
              </a:xfrm>
              <a:custGeom>
                <a:avLst/>
                <a:gdLst/>
                <a:ahLst/>
                <a:cxnLst>
                  <a:cxn ang="0">
                    <a:pos x="173" y="199"/>
                  </a:cxn>
                  <a:cxn ang="0">
                    <a:pos x="227" y="164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4"/>
                  </a:cxn>
                  <a:cxn ang="0">
                    <a:pos x="170" y="262"/>
                  </a:cxn>
                  <a:cxn ang="0">
                    <a:pos x="173" y="199"/>
                  </a:cxn>
                </a:cxnLst>
                <a:rect l="0" t="0" r="r" b="b"/>
                <a:pathLst>
                  <a:path w="227" h="344">
                    <a:moveTo>
                      <a:pt x="173" y="199"/>
                    </a:moveTo>
                    <a:cubicBezTo>
                      <a:pt x="185" y="178"/>
                      <a:pt x="205" y="166"/>
                      <a:pt x="227" y="164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1"/>
                      <a:pt x="28" y="344"/>
                    </a:cubicBezTo>
                    <a:cubicBezTo>
                      <a:pt x="170" y="262"/>
                      <a:pt x="170" y="262"/>
                      <a:pt x="170" y="262"/>
                    </a:cubicBezTo>
                    <a:cubicBezTo>
                      <a:pt x="161" y="242"/>
                      <a:pt x="162" y="219"/>
                      <a:pt x="173" y="19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endParaRPr lang="en-US" sz="14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760015" y="4051798"/>
                <a:ext cx="3624763" cy="1749719"/>
              </a:xfrm>
              <a:custGeom>
                <a:avLst/>
                <a:gdLst/>
                <a:ahLst/>
                <a:cxnLst>
                  <a:cxn ang="0">
                    <a:pos x="164" y="20"/>
                  </a:cxn>
                  <a:cxn ang="0">
                    <a:pos x="142" y="0"/>
                  </a:cxn>
                  <a:cxn ang="0">
                    <a:pos x="0" y="82"/>
                  </a:cxn>
                  <a:cxn ang="0">
                    <a:pos x="199" y="193"/>
                  </a:cxn>
                  <a:cxn ang="0">
                    <a:pos x="398" y="82"/>
                  </a:cxn>
                  <a:cxn ang="0">
                    <a:pos x="256" y="0"/>
                  </a:cxn>
                  <a:cxn ang="0">
                    <a:pos x="164" y="20"/>
                  </a:cxn>
                </a:cxnLst>
                <a:rect l="0" t="0" r="r" b="b"/>
                <a:pathLst>
                  <a:path w="398" h="193">
                    <a:moveTo>
                      <a:pt x="164" y="20"/>
                    </a:moveTo>
                    <a:cubicBezTo>
                      <a:pt x="155" y="14"/>
                      <a:pt x="148" y="8"/>
                      <a:pt x="142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41" y="148"/>
                      <a:pt x="115" y="193"/>
                      <a:pt x="199" y="193"/>
                    </a:cubicBezTo>
                    <a:cubicBezTo>
                      <a:pt x="283" y="193"/>
                      <a:pt x="357" y="148"/>
                      <a:pt x="398" y="82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236" y="29"/>
                      <a:pt x="196" y="38"/>
                      <a:pt x="164" y="2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144000" tIns="0" rIns="144000" bIns="0" anchor="ctr" anchorCtr="0"/>
              <a:lstStyle/>
              <a:p>
                <a:pPr algn="ctr">
                  <a:spcAft>
                    <a:spcPts val="600"/>
                  </a:spcAft>
                </a:pPr>
                <a:endParaRPr lang="en-US" sz="14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Ellipse 18"/>
              <p:cNvSpPr/>
              <p:nvPr/>
            </p:nvSpPr>
            <p:spPr bwMode="gray">
              <a:xfrm>
                <a:off x="2598840" y="1685925"/>
                <a:ext cx="3897280" cy="4042225"/>
              </a:xfrm>
              <a:prstGeom prst="ellips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tIns="0" rtlCol="0" anchor="t" anchorCtr="0">
                <a:prstTxWarp prst="textArchDown">
                  <a:avLst/>
                </a:prstTxWarp>
              </a:bodyPr>
              <a:lstStyle/>
              <a:p>
                <a:pPr algn="ctr"/>
                <a:r>
                  <a:rPr lang="en-US" sz="2400" b="1" noProof="1" smtClean="0"/>
                  <a:t>Reason Why</a:t>
                </a:r>
                <a:endParaRPr lang="en-US" sz="2400" b="1" noProof="1"/>
              </a:p>
            </p:txBody>
          </p:sp>
          <p:cxnSp>
            <p:nvCxnSpPr>
              <p:cNvPr id="20" name="Gerade Verbindung 19"/>
              <p:cNvCxnSpPr/>
              <p:nvPr/>
            </p:nvCxnSpPr>
            <p:spPr bwMode="gray">
              <a:xfrm>
                <a:off x="5516628" y="2103120"/>
                <a:ext cx="1500002" cy="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feld 20"/>
              <p:cNvSpPr txBox="1"/>
              <p:nvPr/>
            </p:nvSpPr>
            <p:spPr bwMode="gray">
              <a:xfrm>
                <a:off x="7054730" y="1943100"/>
                <a:ext cx="1374667" cy="307777"/>
              </a:xfrm>
              <a:prstGeom prst="rect">
                <a:avLst/>
              </a:prstGeom>
              <a:noFill/>
            </p:spPr>
            <p:txBody>
              <a:bodyPr wrap="none" lIns="36000" rtlCol="0">
                <a:spAutoFit/>
              </a:bodyPr>
              <a:lstStyle/>
              <a:p>
                <a:r>
                  <a:rPr lang="en-US" sz="1400" noProof="1" smtClean="0"/>
                  <a:t>Promise of usage</a:t>
                </a:r>
                <a:endParaRPr lang="en-US" sz="1400" noProof="1"/>
              </a:p>
            </p:txBody>
          </p:sp>
          <p:cxnSp>
            <p:nvCxnSpPr>
              <p:cNvPr id="23" name="Gerade Verbindung 22"/>
              <p:cNvCxnSpPr/>
              <p:nvPr/>
            </p:nvCxnSpPr>
            <p:spPr bwMode="gray">
              <a:xfrm>
                <a:off x="1917976" y="2103120"/>
                <a:ext cx="1500002" cy="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feld 23"/>
              <p:cNvSpPr txBox="1"/>
              <p:nvPr/>
            </p:nvSpPr>
            <p:spPr bwMode="gray">
              <a:xfrm>
                <a:off x="580953" y="1943100"/>
                <a:ext cx="1356906" cy="523220"/>
              </a:xfrm>
              <a:prstGeom prst="rect">
                <a:avLst/>
              </a:prstGeom>
              <a:noFill/>
            </p:spPr>
            <p:txBody>
              <a:bodyPr wrap="none" lIns="36000" rtlCol="0">
                <a:spAutoFit/>
              </a:bodyPr>
              <a:lstStyle/>
              <a:p>
                <a:pPr algn="r"/>
                <a:r>
                  <a:rPr lang="en-US" sz="1400" noProof="1"/>
                  <a:t>T</a:t>
                </a:r>
                <a:r>
                  <a:rPr lang="en-US" sz="1400" noProof="1" smtClean="0"/>
                  <a:t>one</a:t>
                </a:r>
                <a:r>
                  <a:rPr lang="en-US" sz="1400" noProof="1" smtClean="0"/>
                  <a:t>, </a:t>
                </a:r>
                <a:br>
                  <a:rPr lang="en-US" sz="1400" noProof="1" smtClean="0"/>
                </a:br>
                <a:r>
                  <a:rPr lang="en-US" sz="1400" noProof="1" smtClean="0"/>
                  <a:t>kind of approach</a:t>
                </a:r>
                <a:endParaRPr lang="en-US" sz="1400" noProof="1"/>
              </a:p>
            </p:txBody>
          </p:sp>
          <p:cxnSp>
            <p:nvCxnSpPr>
              <p:cNvPr id="25" name="Gerade Verbindung 24"/>
              <p:cNvCxnSpPr/>
              <p:nvPr/>
            </p:nvCxnSpPr>
            <p:spPr bwMode="gray">
              <a:xfrm>
                <a:off x="1362075" y="5078750"/>
                <a:ext cx="2055903" cy="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feld 25"/>
              <p:cNvSpPr txBox="1"/>
              <p:nvPr/>
            </p:nvSpPr>
            <p:spPr bwMode="gray">
              <a:xfrm>
                <a:off x="323850" y="5278297"/>
                <a:ext cx="2211691" cy="523220"/>
              </a:xfrm>
              <a:prstGeom prst="rect">
                <a:avLst/>
              </a:prstGeom>
              <a:noFill/>
            </p:spPr>
            <p:txBody>
              <a:bodyPr wrap="none" lIns="36000" rtlCol="0">
                <a:spAutoFit/>
              </a:bodyPr>
              <a:lstStyle/>
              <a:p>
                <a:r>
                  <a:rPr lang="en-US" sz="1400" noProof="1" smtClean="0"/>
                  <a:t>Justification of performance </a:t>
                </a:r>
                <a:br>
                  <a:rPr lang="en-US" sz="1400" noProof="1" smtClean="0"/>
                </a:br>
                <a:r>
                  <a:rPr lang="en-US" sz="1400" noProof="1" smtClean="0"/>
                  <a:t>of product or company</a:t>
                </a:r>
                <a:endParaRPr lang="en-US" sz="1400" noProof="1"/>
              </a:p>
            </p:txBody>
          </p:sp>
          <p:cxnSp>
            <p:nvCxnSpPr>
              <p:cNvPr id="29" name="Gerade Verbindung 28"/>
              <p:cNvCxnSpPr/>
              <p:nvPr/>
            </p:nvCxnSpPr>
            <p:spPr bwMode="gray">
              <a:xfrm flipH="1">
                <a:off x="1362075" y="5078750"/>
                <a:ext cx="1" cy="199547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Ellipse 16"/>
            <p:cNvSpPr/>
            <p:nvPr/>
          </p:nvSpPr>
          <p:spPr bwMode="gray">
            <a:xfrm rot="18000000">
              <a:off x="2703745" y="1681067"/>
              <a:ext cx="3793842" cy="3916669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tIns="0" rtlCol="0" anchor="t" anchorCtr="0">
              <a:prstTxWarp prst="textArchUp">
                <a:avLst/>
              </a:prstTxWarp>
            </a:bodyPr>
            <a:lstStyle/>
            <a:p>
              <a:pPr algn="ctr"/>
              <a:r>
                <a:rPr lang="en-US" sz="2400" b="1" noProof="1" smtClean="0"/>
                <a:t>Tonality</a:t>
              </a:r>
              <a:endParaRPr lang="en-US" sz="2400" b="1" noProof="1"/>
            </a:p>
          </p:txBody>
        </p:sp>
        <p:sp>
          <p:nvSpPr>
            <p:cNvPr id="18" name="Ellipse 17"/>
            <p:cNvSpPr/>
            <p:nvPr/>
          </p:nvSpPr>
          <p:spPr bwMode="gray">
            <a:xfrm rot="3600000">
              <a:off x="2664717" y="1683672"/>
              <a:ext cx="3881174" cy="3979683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tIns="0" rtlCol="0" anchor="t" anchorCtr="0">
              <a:prstTxWarp prst="textArchUp">
                <a:avLst/>
              </a:prstTxWarp>
            </a:bodyPr>
            <a:lstStyle/>
            <a:p>
              <a:pPr algn="ctr"/>
              <a:r>
                <a:rPr lang="en-US" sz="2400" b="1" noProof="1" smtClean="0"/>
                <a:t>Consumer Benefit</a:t>
              </a:r>
              <a:endParaRPr lang="en-US" sz="24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201440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ix different options of interpersonal interactio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Win- Win- Situation</a:t>
            </a:r>
          </a:p>
        </p:txBody>
      </p:sp>
      <p:grpSp>
        <p:nvGrpSpPr>
          <p:cNvPr id="2" name="Gruppieren 98"/>
          <p:cNvGrpSpPr/>
          <p:nvPr/>
        </p:nvGrpSpPr>
        <p:grpSpPr>
          <a:xfrm>
            <a:off x="324643" y="1555749"/>
            <a:ext cx="8496299" cy="4246563"/>
            <a:chOff x="324643" y="1555749"/>
            <a:chExt cx="8496299" cy="4246563"/>
          </a:xfrm>
        </p:grpSpPr>
        <p:sp>
          <p:nvSpPr>
            <p:cNvPr id="65" name="Textfeld 64"/>
            <p:cNvSpPr txBox="1"/>
            <p:nvPr/>
          </p:nvSpPr>
          <p:spPr bwMode="gray">
            <a:xfrm>
              <a:off x="685006" y="5441949"/>
              <a:ext cx="4422733" cy="36036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noProof="1" smtClean="0"/>
                <a:t>Supplier interest</a:t>
              </a:r>
              <a:endParaRPr lang="en-US" sz="1600" noProof="1"/>
            </a:p>
          </p:txBody>
        </p:sp>
        <p:sp>
          <p:nvSpPr>
            <p:cNvPr id="66" name="Textfeld 65"/>
            <p:cNvSpPr txBox="1"/>
            <p:nvPr/>
          </p:nvSpPr>
          <p:spPr bwMode="gray">
            <a:xfrm rot="16200000">
              <a:off x="-1438276" y="3318668"/>
              <a:ext cx="3886202" cy="36036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noProof="1" smtClean="0"/>
                <a:t>Customer interest</a:t>
              </a:r>
              <a:endParaRPr lang="en-US" sz="1600" noProof="1"/>
            </a:p>
          </p:txBody>
        </p:sp>
        <p:cxnSp>
          <p:nvCxnSpPr>
            <p:cNvPr id="49" name="Gerade Verbindung mit Pfeil 48"/>
            <p:cNvCxnSpPr/>
            <p:nvPr/>
          </p:nvCxnSpPr>
          <p:spPr bwMode="gray">
            <a:xfrm rot="5400000" flipH="1" flipV="1">
              <a:off x="-1258890" y="3498850"/>
              <a:ext cx="3886202" cy="1588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/>
          </p:nvCxnSpPr>
          <p:spPr bwMode="gray">
            <a:xfrm>
              <a:off x="683416" y="5441950"/>
              <a:ext cx="4424238" cy="2382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Pfeil nach rechts 61"/>
            <p:cNvSpPr/>
            <p:nvPr/>
          </p:nvSpPr>
          <p:spPr bwMode="gray">
            <a:xfrm>
              <a:off x="5409202" y="2254446"/>
              <a:ext cx="1000125" cy="411242"/>
            </a:xfrm>
            <a:prstGeom prst="right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08000" rIns="0" bIns="108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4" name="Pfeil nach rechts 63"/>
            <p:cNvSpPr/>
            <p:nvPr/>
          </p:nvSpPr>
          <p:spPr bwMode="gray">
            <a:xfrm>
              <a:off x="5409202" y="4169203"/>
              <a:ext cx="1000125" cy="411242"/>
            </a:xfrm>
            <a:prstGeom prst="rightArrow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08000" rIns="0" bIns="108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3" name="Gruppieren 210"/>
            <p:cNvGrpSpPr/>
            <p:nvPr/>
          </p:nvGrpSpPr>
          <p:grpSpPr bwMode="gray">
            <a:xfrm>
              <a:off x="811530" y="1555749"/>
              <a:ext cx="2059799" cy="1808636"/>
              <a:chOff x="830580" y="1555749"/>
              <a:chExt cx="2059799" cy="1808636"/>
            </a:xfrm>
          </p:grpSpPr>
          <p:sp>
            <p:nvSpPr>
              <p:cNvPr id="53" name="Rechteck 52"/>
              <p:cNvSpPr/>
              <p:nvPr/>
            </p:nvSpPr>
            <p:spPr bwMode="gray">
              <a:xfrm>
                <a:off x="830580" y="1555749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" name="Textfeld 17"/>
              <p:cNvSpPr txBox="1"/>
              <p:nvPr/>
            </p:nvSpPr>
            <p:spPr bwMode="gray">
              <a:xfrm>
                <a:off x="905341" y="2696087"/>
                <a:ext cx="1911600" cy="55399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Win / Lose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(only one partner wins)</a:t>
                </a:r>
              </a:p>
            </p:txBody>
          </p:sp>
          <p:grpSp>
            <p:nvGrpSpPr>
              <p:cNvPr id="4" name="Gruppieren 66"/>
              <p:cNvGrpSpPr/>
              <p:nvPr/>
            </p:nvGrpSpPr>
            <p:grpSpPr bwMode="gray">
              <a:xfrm>
                <a:off x="986920" y="1720849"/>
                <a:ext cx="783010" cy="779462"/>
                <a:chOff x="4024313" y="-1728787"/>
                <a:chExt cx="1050925" cy="1046163"/>
              </a:xfrm>
            </p:grpSpPr>
            <p:sp>
              <p:nvSpPr>
                <p:cNvPr id="68" name="Oval 6"/>
                <p:cNvSpPr>
                  <a:spLocks noChangeArrowheads="1"/>
                </p:cNvSpPr>
                <p:nvPr/>
              </p:nvSpPr>
              <p:spPr bwMode="gray">
                <a:xfrm>
                  <a:off x="4024313" y="-1728787"/>
                  <a:ext cx="1050925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9" name="Freeform 7"/>
                <p:cNvSpPr>
                  <a:spLocks/>
                </p:cNvSpPr>
                <p:nvPr/>
              </p:nvSpPr>
              <p:spPr bwMode="gray">
                <a:xfrm>
                  <a:off x="4234656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168" y="0"/>
                    </a:cxn>
                    <a:cxn ang="0">
                      <a:pos x="84" y="5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8" h="51">
                      <a:moveTo>
                        <a:pt x="168" y="0"/>
                      </a:moveTo>
                      <a:cubicBezTo>
                        <a:pt x="153" y="30"/>
                        <a:pt x="121" y="51"/>
                        <a:pt x="84" y="51"/>
                      </a:cubicBezTo>
                      <a:cubicBezTo>
                        <a:pt x="47" y="51"/>
                        <a:pt x="15" y="30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5" name="Gruppieren 69"/>
                <p:cNvGrpSpPr/>
                <p:nvPr/>
              </p:nvGrpSpPr>
              <p:grpSpPr bwMode="gray">
                <a:xfrm>
                  <a:off x="4352925" y="-1447800"/>
                  <a:ext cx="393700" cy="153988"/>
                  <a:chOff x="4335463" y="-1447800"/>
                  <a:chExt cx="393700" cy="153988"/>
                </a:xfrm>
              </p:grpSpPr>
              <p:sp>
                <p:nvSpPr>
                  <p:cNvPr id="71" name="Oval 8"/>
                  <p:cNvSpPr>
                    <a:spLocks noChangeArrowheads="1"/>
                  </p:cNvSpPr>
                  <p:nvPr/>
                </p:nvSpPr>
                <p:spPr bwMode="gray">
                  <a:xfrm>
                    <a:off x="4632325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335463" y="-1447800"/>
                    <a:ext cx="98425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grpSp>
            <p:nvGrpSpPr>
              <p:cNvPr id="6" name="Gruppieren 72"/>
              <p:cNvGrpSpPr/>
              <p:nvPr/>
            </p:nvGrpSpPr>
            <p:grpSpPr bwMode="gray">
              <a:xfrm>
                <a:off x="1954576" y="1720849"/>
                <a:ext cx="779462" cy="779462"/>
                <a:chOff x="5516563" y="-1728787"/>
                <a:chExt cx="1046163" cy="1046163"/>
              </a:xfrm>
            </p:grpSpPr>
            <p:sp>
              <p:nvSpPr>
                <p:cNvPr id="74" name="Oval 18"/>
                <p:cNvSpPr>
                  <a:spLocks noChangeArrowheads="1"/>
                </p:cNvSpPr>
                <p:nvPr/>
              </p:nvSpPr>
              <p:spPr bwMode="gray">
                <a:xfrm>
                  <a:off x="5516563" y="-1728787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5" name="Freeform 19"/>
                <p:cNvSpPr>
                  <a:spLocks/>
                </p:cNvSpPr>
                <p:nvPr/>
              </p:nvSpPr>
              <p:spPr bwMode="gray">
                <a:xfrm>
                  <a:off x="5724525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0" y="51"/>
                    </a:cxn>
                    <a:cxn ang="0">
                      <a:pos x="84" y="0"/>
                    </a:cxn>
                    <a:cxn ang="0">
                      <a:pos x="168" y="51"/>
                    </a:cxn>
                  </a:cxnLst>
                  <a:rect l="0" t="0" r="r" b="b"/>
                  <a:pathLst>
                    <a:path w="168" h="51">
                      <a:moveTo>
                        <a:pt x="0" y="51"/>
                      </a:moveTo>
                      <a:cubicBezTo>
                        <a:pt x="14" y="21"/>
                        <a:pt x="46" y="0"/>
                        <a:pt x="84" y="0"/>
                      </a:cubicBezTo>
                      <a:cubicBezTo>
                        <a:pt x="121" y="0"/>
                        <a:pt x="153" y="21"/>
                        <a:pt x="168" y="51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7" name="Gruppieren 75"/>
                <p:cNvGrpSpPr/>
                <p:nvPr/>
              </p:nvGrpSpPr>
              <p:grpSpPr bwMode="gray">
                <a:xfrm>
                  <a:off x="5842794" y="-1447800"/>
                  <a:ext cx="393700" cy="153988"/>
                  <a:chOff x="5824538" y="-1447800"/>
                  <a:chExt cx="393700" cy="153988"/>
                </a:xfrm>
              </p:grpSpPr>
              <p:sp>
                <p:nvSpPr>
                  <p:cNvPr id="77" name="Oval 20"/>
                  <p:cNvSpPr>
                    <a:spLocks noChangeArrowheads="1"/>
                  </p:cNvSpPr>
                  <p:nvPr/>
                </p:nvSpPr>
                <p:spPr bwMode="gray">
                  <a:xfrm>
                    <a:off x="6121400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5824538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</p:grpSp>
        <p:grpSp>
          <p:nvGrpSpPr>
            <p:cNvPr id="8" name="Gruppieren 208"/>
            <p:cNvGrpSpPr/>
            <p:nvPr/>
          </p:nvGrpSpPr>
          <p:grpSpPr bwMode="gray">
            <a:xfrm>
              <a:off x="2997587" y="3508606"/>
              <a:ext cx="2059799" cy="1808636"/>
              <a:chOff x="3016637" y="3470506"/>
              <a:chExt cx="2059799" cy="1808636"/>
            </a:xfrm>
          </p:grpSpPr>
          <p:sp>
            <p:nvSpPr>
              <p:cNvPr id="58" name="Rechteck 57"/>
              <p:cNvSpPr/>
              <p:nvPr/>
            </p:nvSpPr>
            <p:spPr bwMode="gray">
              <a:xfrm>
                <a:off x="3016637" y="3470506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" name="Textfeld 19"/>
              <p:cNvSpPr txBox="1"/>
              <p:nvPr/>
            </p:nvSpPr>
            <p:spPr bwMode="gray">
              <a:xfrm>
                <a:off x="3090736" y="4610844"/>
                <a:ext cx="1911600" cy="55399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Lose / Win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(only one partner wins)</a:t>
                </a:r>
              </a:p>
            </p:txBody>
          </p:sp>
          <p:grpSp>
            <p:nvGrpSpPr>
              <p:cNvPr id="9" name="Gruppieren 119"/>
              <p:cNvGrpSpPr/>
              <p:nvPr/>
            </p:nvGrpSpPr>
            <p:grpSpPr bwMode="gray">
              <a:xfrm>
                <a:off x="3172977" y="3635606"/>
                <a:ext cx="783010" cy="779462"/>
                <a:chOff x="4024313" y="-1728787"/>
                <a:chExt cx="1050925" cy="1046163"/>
              </a:xfrm>
            </p:grpSpPr>
            <p:sp>
              <p:nvSpPr>
                <p:cNvPr id="127" name="Oval 6"/>
                <p:cNvSpPr>
                  <a:spLocks noChangeArrowheads="1"/>
                </p:cNvSpPr>
                <p:nvPr/>
              </p:nvSpPr>
              <p:spPr bwMode="gray">
                <a:xfrm>
                  <a:off x="4024313" y="-1728787"/>
                  <a:ext cx="1050925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28" name="Freeform 7"/>
                <p:cNvSpPr>
                  <a:spLocks/>
                </p:cNvSpPr>
                <p:nvPr/>
              </p:nvSpPr>
              <p:spPr bwMode="gray">
                <a:xfrm>
                  <a:off x="4234656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168" y="0"/>
                    </a:cxn>
                    <a:cxn ang="0">
                      <a:pos x="84" y="5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8" h="51">
                      <a:moveTo>
                        <a:pt x="168" y="0"/>
                      </a:moveTo>
                      <a:cubicBezTo>
                        <a:pt x="153" y="30"/>
                        <a:pt x="121" y="51"/>
                        <a:pt x="84" y="51"/>
                      </a:cubicBezTo>
                      <a:cubicBezTo>
                        <a:pt x="47" y="51"/>
                        <a:pt x="15" y="30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10" name="Gruppieren 128"/>
                <p:cNvGrpSpPr/>
                <p:nvPr/>
              </p:nvGrpSpPr>
              <p:grpSpPr bwMode="gray">
                <a:xfrm>
                  <a:off x="4352925" y="-1447800"/>
                  <a:ext cx="393700" cy="153988"/>
                  <a:chOff x="4335463" y="-1447800"/>
                  <a:chExt cx="393700" cy="153988"/>
                </a:xfrm>
              </p:grpSpPr>
              <p:sp>
                <p:nvSpPr>
                  <p:cNvPr id="130" name="Oval 8"/>
                  <p:cNvSpPr>
                    <a:spLocks noChangeArrowheads="1"/>
                  </p:cNvSpPr>
                  <p:nvPr/>
                </p:nvSpPr>
                <p:spPr bwMode="gray">
                  <a:xfrm>
                    <a:off x="4632325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31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335463" y="-1447800"/>
                    <a:ext cx="98425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grpSp>
            <p:nvGrpSpPr>
              <p:cNvPr id="11" name="Gruppieren 120"/>
              <p:cNvGrpSpPr/>
              <p:nvPr/>
            </p:nvGrpSpPr>
            <p:grpSpPr bwMode="gray">
              <a:xfrm>
                <a:off x="4140633" y="3635606"/>
                <a:ext cx="779462" cy="779462"/>
                <a:chOff x="5516563" y="-1728787"/>
                <a:chExt cx="1046163" cy="1046163"/>
              </a:xfrm>
            </p:grpSpPr>
            <p:sp>
              <p:nvSpPr>
                <p:cNvPr id="122" name="Oval 18"/>
                <p:cNvSpPr>
                  <a:spLocks noChangeArrowheads="1"/>
                </p:cNvSpPr>
                <p:nvPr/>
              </p:nvSpPr>
              <p:spPr bwMode="gray">
                <a:xfrm>
                  <a:off x="5516563" y="-1728787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23" name="Freeform 19"/>
                <p:cNvSpPr>
                  <a:spLocks/>
                </p:cNvSpPr>
                <p:nvPr/>
              </p:nvSpPr>
              <p:spPr bwMode="gray">
                <a:xfrm>
                  <a:off x="5724525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0" y="51"/>
                    </a:cxn>
                    <a:cxn ang="0">
                      <a:pos x="84" y="0"/>
                    </a:cxn>
                    <a:cxn ang="0">
                      <a:pos x="168" y="51"/>
                    </a:cxn>
                  </a:cxnLst>
                  <a:rect l="0" t="0" r="r" b="b"/>
                  <a:pathLst>
                    <a:path w="168" h="51">
                      <a:moveTo>
                        <a:pt x="0" y="51"/>
                      </a:moveTo>
                      <a:cubicBezTo>
                        <a:pt x="14" y="21"/>
                        <a:pt x="46" y="0"/>
                        <a:pt x="84" y="0"/>
                      </a:cubicBezTo>
                      <a:cubicBezTo>
                        <a:pt x="121" y="0"/>
                        <a:pt x="153" y="21"/>
                        <a:pt x="168" y="51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12" name="Gruppieren 123"/>
                <p:cNvGrpSpPr/>
                <p:nvPr/>
              </p:nvGrpSpPr>
              <p:grpSpPr bwMode="gray">
                <a:xfrm>
                  <a:off x="5842794" y="-1447800"/>
                  <a:ext cx="393700" cy="153988"/>
                  <a:chOff x="5824538" y="-1447800"/>
                  <a:chExt cx="393700" cy="153988"/>
                </a:xfrm>
              </p:grpSpPr>
              <p:sp>
                <p:nvSpPr>
                  <p:cNvPr id="125" name="Oval 20"/>
                  <p:cNvSpPr>
                    <a:spLocks noChangeArrowheads="1"/>
                  </p:cNvSpPr>
                  <p:nvPr/>
                </p:nvSpPr>
                <p:spPr bwMode="gray">
                  <a:xfrm>
                    <a:off x="6121400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5824538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</p:grpSp>
        <p:grpSp>
          <p:nvGrpSpPr>
            <p:cNvPr id="13" name="Gruppieren 211"/>
            <p:cNvGrpSpPr/>
            <p:nvPr/>
          </p:nvGrpSpPr>
          <p:grpSpPr bwMode="gray">
            <a:xfrm>
              <a:off x="2997587" y="1555749"/>
              <a:ext cx="2059799" cy="1808636"/>
              <a:chOff x="3016637" y="1555749"/>
              <a:chExt cx="2059799" cy="1808636"/>
            </a:xfrm>
          </p:grpSpPr>
          <p:sp>
            <p:nvSpPr>
              <p:cNvPr id="57" name="Rechteck 56"/>
              <p:cNvSpPr/>
              <p:nvPr/>
            </p:nvSpPr>
            <p:spPr bwMode="gray">
              <a:xfrm>
                <a:off x="3016637" y="1555749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7" name="Textfeld 16"/>
              <p:cNvSpPr txBox="1"/>
              <p:nvPr/>
            </p:nvSpPr>
            <p:spPr bwMode="gray">
              <a:xfrm>
                <a:off x="3091398" y="2696087"/>
                <a:ext cx="1911600" cy="55399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Win / Win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(both partners win)</a:t>
                </a:r>
              </a:p>
            </p:txBody>
          </p:sp>
          <p:grpSp>
            <p:nvGrpSpPr>
              <p:cNvPr id="14" name="Gruppieren 80"/>
              <p:cNvGrpSpPr/>
              <p:nvPr/>
            </p:nvGrpSpPr>
            <p:grpSpPr bwMode="gray">
              <a:xfrm>
                <a:off x="3172977" y="1720849"/>
                <a:ext cx="783010" cy="779462"/>
                <a:chOff x="4024313" y="-1728787"/>
                <a:chExt cx="1050925" cy="1046163"/>
              </a:xfrm>
            </p:grpSpPr>
            <p:sp>
              <p:nvSpPr>
                <p:cNvPr id="88" name="Oval 6"/>
                <p:cNvSpPr>
                  <a:spLocks noChangeArrowheads="1"/>
                </p:cNvSpPr>
                <p:nvPr/>
              </p:nvSpPr>
              <p:spPr bwMode="gray">
                <a:xfrm>
                  <a:off x="4024313" y="-1728787"/>
                  <a:ext cx="1050925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" name="Freeform 7"/>
                <p:cNvSpPr>
                  <a:spLocks/>
                </p:cNvSpPr>
                <p:nvPr/>
              </p:nvSpPr>
              <p:spPr bwMode="gray">
                <a:xfrm>
                  <a:off x="4234656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168" y="0"/>
                    </a:cxn>
                    <a:cxn ang="0">
                      <a:pos x="84" y="5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8" h="51">
                      <a:moveTo>
                        <a:pt x="168" y="0"/>
                      </a:moveTo>
                      <a:cubicBezTo>
                        <a:pt x="153" y="30"/>
                        <a:pt x="121" y="51"/>
                        <a:pt x="84" y="51"/>
                      </a:cubicBezTo>
                      <a:cubicBezTo>
                        <a:pt x="47" y="51"/>
                        <a:pt x="15" y="30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15" name="Gruppieren 89"/>
                <p:cNvGrpSpPr/>
                <p:nvPr/>
              </p:nvGrpSpPr>
              <p:grpSpPr bwMode="gray">
                <a:xfrm>
                  <a:off x="4352925" y="-1447800"/>
                  <a:ext cx="393700" cy="153988"/>
                  <a:chOff x="4335463" y="-1447800"/>
                  <a:chExt cx="393700" cy="153988"/>
                </a:xfrm>
              </p:grpSpPr>
              <p:sp>
                <p:nvSpPr>
                  <p:cNvPr id="91" name="Oval 8"/>
                  <p:cNvSpPr>
                    <a:spLocks noChangeArrowheads="1"/>
                  </p:cNvSpPr>
                  <p:nvPr/>
                </p:nvSpPr>
                <p:spPr bwMode="gray">
                  <a:xfrm>
                    <a:off x="4632325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335463" y="-1447800"/>
                    <a:ext cx="98425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grpSp>
            <p:nvGrpSpPr>
              <p:cNvPr id="16" name="Gruppieren 151"/>
              <p:cNvGrpSpPr/>
              <p:nvPr/>
            </p:nvGrpSpPr>
            <p:grpSpPr bwMode="gray">
              <a:xfrm>
                <a:off x="4137085" y="1720849"/>
                <a:ext cx="783010" cy="779462"/>
                <a:chOff x="4024313" y="-1728787"/>
                <a:chExt cx="1050925" cy="1046163"/>
              </a:xfrm>
            </p:grpSpPr>
            <p:sp>
              <p:nvSpPr>
                <p:cNvPr id="153" name="Oval 6"/>
                <p:cNvSpPr>
                  <a:spLocks noChangeArrowheads="1"/>
                </p:cNvSpPr>
                <p:nvPr/>
              </p:nvSpPr>
              <p:spPr bwMode="gray">
                <a:xfrm>
                  <a:off x="4024313" y="-1728787"/>
                  <a:ext cx="1050925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4" name="Freeform 7"/>
                <p:cNvSpPr>
                  <a:spLocks/>
                </p:cNvSpPr>
                <p:nvPr/>
              </p:nvSpPr>
              <p:spPr bwMode="gray">
                <a:xfrm>
                  <a:off x="4234656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168" y="0"/>
                    </a:cxn>
                    <a:cxn ang="0">
                      <a:pos x="84" y="5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8" h="51">
                      <a:moveTo>
                        <a:pt x="168" y="0"/>
                      </a:moveTo>
                      <a:cubicBezTo>
                        <a:pt x="153" y="30"/>
                        <a:pt x="121" y="51"/>
                        <a:pt x="84" y="51"/>
                      </a:cubicBezTo>
                      <a:cubicBezTo>
                        <a:pt x="47" y="51"/>
                        <a:pt x="15" y="30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23" name="Gruppieren 148"/>
                <p:cNvGrpSpPr/>
                <p:nvPr/>
              </p:nvGrpSpPr>
              <p:grpSpPr bwMode="gray">
                <a:xfrm>
                  <a:off x="4352925" y="-1447800"/>
                  <a:ext cx="393700" cy="153988"/>
                  <a:chOff x="4335463" y="-1447800"/>
                  <a:chExt cx="393700" cy="153988"/>
                </a:xfrm>
              </p:grpSpPr>
              <p:sp>
                <p:nvSpPr>
                  <p:cNvPr id="156" name="Oval 8"/>
                  <p:cNvSpPr>
                    <a:spLocks noChangeArrowheads="1"/>
                  </p:cNvSpPr>
                  <p:nvPr/>
                </p:nvSpPr>
                <p:spPr bwMode="gray">
                  <a:xfrm>
                    <a:off x="4632325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57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335463" y="-1447800"/>
                    <a:ext cx="98425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</p:grpSp>
        <p:grpSp>
          <p:nvGrpSpPr>
            <p:cNvPr id="24" name="Gruppieren 209"/>
            <p:cNvGrpSpPr/>
            <p:nvPr/>
          </p:nvGrpSpPr>
          <p:grpSpPr bwMode="gray">
            <a:xfrm>
              <a:off x="811530" y="3508606"/>
              <a:ext cx="2059799" cy="1808636"/>
              <a:chOff x="830580" y="3470506"/>
              <a:chExt cx="2059799" cy="1808636"/>
            </a:xfrm>
          </p:grpSpPr>
          <p:sp>
            <p:nvSpPr>
              <p:cNvPr id="54" name="Rechteck 53"/>
              <p:cNvSpPr/>
              <p:nvPr/>
            </p:nvSpPr>
            <p:spPr bwMode="gray">
              <a:xfrm>
                <a:off x="830580" y="3470506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" name="Textfeld 18"/>
              <p:cNvSpPr txBox="1"/>
              <p:nvPr/>
            </p:nvSpPr>
            <p:spPr bwMode="gray">
              <a:xfrm>
                <a:off x="904679" y="4610844"/>
                <a:ext cx="1911600" cy="55399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Lose / Lose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(both are deprived)</a:t>
                </a:r>
              </a:p>
            </p:txBody>
          </p:sp>
          <p:grpSp>
            <p:nvGrpSpPr>
              <p:cNvPr id="25" name="Gruppieren 107"/>
              <p:cNvGrpSpPr/>
              <p:nvPr/>
            </p:nvGrpSpPr>
            <p:grpSpPr bwMode="gray">
              <a:xfrm>
                <a:off x="1954576" y="3635606"/>
                <a:ext cx="779462" cy="779462"/>
                <a:chOff x="5516563" y="-1728787"/>
                <a:chExt cx="1046163" cy="1046163"/>
              </a:xfrm>
            </p:grpSpPr>
            <p:sp>
              <p:nvSpPr>
                <p:cNvPr id="109" name="Oval 18"/>
                <p:cNvSpPr>
                  <a:spLocks noChangeArrowheads="1"/>
                </p:cNvSpPr>
                <p:nvPr/>
              </p:nvSpPr>
              <p:spPr bwMode="gray">
                <a:xfrm>
                  <a:off x="5516563" y="-1728787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0" name="Freeform 19"/>
                <p:cNvSpPr>
                  <a:spLocks/>
                </p:cNvSpPr>
                <p:nvPr/>
              </p:nvSpPr>
              <p:spPr bwMode="gray">
                <a:xfrm>
                  <a:off x="5724525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0" y="51"/>
                    </a:cxn>
                    <a:cxn ang="0">
                      <a:pos x="84" y="0"/>
                    </a:cxn>
                    <a:cxn ang="0">
                      <a:pos x="168" y="51"/>
                    </a:cxn>
                  </a:cxnLst>
                  <a:rect l="0" t="0" r="r" b="b"/>
                  <a:pathLst>
                    <a:path w="168" h="51">
                      <a:moveTo>
                        <a:pt x="0" y="51"/>
                      </a:moveTo>
                      <a:cubicBezTo>
                        <a:pt x="14" y="21"/>
                        <a:pt x="46" y="0"/>
                        <a:pt x="84" y="0"/>
                      </a:cubicBezTo>
                      <a:cubicBezTo>
                        <a:pt x="121" y="0"/>
                        <a:pt x="153" y="21"/>
                        <a:pt x="168" y="51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26" name="Gruppieren 110"/>
                <p:cNvGrpSpPr/>
                <p:nvPr/>
              </p:nvGrpSpPr>
              <p:grpSpPr bwMode="gray">
                <a:xfrm>
                  <a:off x="5842794" y="-1447800"/>
                  <a:ext cx="393700" cy="153988"/>
                  <a:chOff x="5824538" y="-1447800"/>
                  <a:chExt cx="393700" cy="153988"/>
                </a:xfrm>
              </p:grpSpPr>
              <p:sp>
                <p:nvSpPr>
                  <p:cNvPr id="112" name="Oval 20"/>
                  <p:cNvSpPr>
                    <a:spLocks noChangeArrowheads="1"/>
                  </p:cNvSpPr>
                  <p:nvPr/>
                </p:nvSpPr>
                <p:spPr bwMode="gray">
                  <a:xfrm>
                    <a:off x="6121400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5824538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grpSp>
            <p:nvGrpSpPr>
              <p:cNvPr id="27" name="Gruppieren 163"/>
              <p:cNvGrpSpPr/>
              <p:nvPr/>
            </p:nvGrpSpPr>
            <p:grpSpPr bwMode="gray">
              <a:xfrm>
                <a:off x="986920" y="3635606"/>
                <a:ext cx="779462" cy="779462"/>
                <a:chOff x="5516563" y="-1728787"/>
                <a:chExt cx="1046163" cy="1046163"/>
              </a:xfrm>
            </p:grpSpPr>
            <p:sp>
              <p:nvSpPr>
                <p:cNvPr id="165" name="Oval 18"/>
                <p:cNvSpPr>
                  <a:spLocks noChangeArrowheads="1"/>
                </p:cNvSpPr>
                <p:nvPr/>
              </p:nvSpPr>
              <p:spPr bwMode="gray">
                <a:xfrm>
                  <a:off x="5516563" y="-1728787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" name="Freeform 19"/>
                <p:cNvSpPr>
                  <a:spLocks/>
                </p:cNvSpPr>
                <p:nvPr/>
              </p:nvSpPr>
              <p:spPr bwMode="gray">
                <a:xfrm>
                  <a:off x="5724525" y="-1139825"/>
                  <a:ext cx="630238" cy="190500"/>
                </a:xfrm>
                <a:custGeom>
                  <a:avLst/>
                  <a:gdLst/>
                  <a:ahLst/>
                  <a:cxnLst>
                    <a:cxn ang="0">
                      <a:pos x="0" y="51"/>
                    </a:cxn>
                    <a:cxn ang="0">
                      <a:pos x="84" y="0"/>
                    </a:cxn>
                    <a:cxn ang="0">
                      <a:pos x="168" y="51"/>
                    </a:cxn>
                  </a:cxnLst>
                  <a:rect l="0" t="0" r="r" b="b"/>
                  <a:pathLst>
                    <a:path w="168" h="51">
                      <a:moveTo>
                        <a:pt x="0" y="51"/>
                      </a:moveTo>
                      <a:cubicBezTo>
                        <a:pt x="14" y="21"/>
                        <a:pt x="46" y="0"/>
                        <a:pt x="84" y="0"/>
                      </a:cubicBezTo>
                      <a:cubicBezTo>
                        <a:pt x="121" y="0"/>
                        <a:pt x="153" y="21"/>
                        <a:pt x="168" y="51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grpSp>
              <p:nvGrpSpPr>
                <p:cNvPr id="28" name="Gruppieren 160"/>
                <p:cNvGrpSpPr/>
                <p:nvPr/>
              </p:nvGrpSpPr>
              <p:grpSpPr bwMode="gray">
                <a:xfrm>
                  <a:off x="5842794" y="-1447800"/>
                  <a:ext cx="393700" cy="153988"/>
                  <a:chOff x="5824538" y="-1447800"/>
                  <a:chExt cx="393700" cy="153988"/>
                </a:xfrm>
              </p:grpSpPr>
              <p:sp>
                <p:nvSpPr>
                  <p:cNvPr id="168" name="Oval 20"/>
                  <p:cNvSpPr>
                    <a:spLocks noChangeArrowheads="1"/>
                  </p:cNvSpPr>
                  <p:nvPr/>
                </p:nvSpPr>
                <p:spPr bwMode="gray">
                  <a:xfrm>
                    <a:off x="6121400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69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5824538" y="-1447800"/>
                    <a:ext cx="96838" cy="153988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>
                        <a:lumMod val="5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</p:grpSp>
        <p:grpSp>
          <p:nvGrpSpPr>
            <p:cNvPr id="30" name="Gruppieren 212"/>
            <p:cNvGrpSpPr/>
            <p:nvPr/>
          </p:nvGrpSpPr>
          <p:grpSpPr bwMode="gray">
            <a:xfrm>
              <a:off x="6761143" y="1555749"/>
              <a:ext cx="2059799" cy="1808636"/>
              <a:chOff x="6761143" y="1555749"/>
              <a:chExt cx="2059799" cy="1808636"/>
            </a:xfrm>
          </p:grpSpPr>
          <p:sp>
            <p:nvSpPr>
              <p:cNvPr id="60" name="Rechteck 59"/>
              <p:cNvSpPr/>
              <p:nvPr/>
            </p:nvSpPr>
            <p:spPr bwMode="gray">
              <a:xfrm>
                <a:off x="6761143" y="1555749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Textfeld 20"/>
              <p:cNvSpPr txBox="1"/>
              <p:nvPr/>
            </p:nvSpPr>
            <p:spPr bwMode="gray">
              <a:xfrm>
                <a:off x="6835242" y="2696087"/>
                <a:ext cx="1911600" cy="55399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Compromise</a:t>
                </a:r>
                <a:b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which both agree on</a:t>
                </a:r>
              </a:p>
            </p:txBody>
          </p:sp>
          <p:grpSp>
            <p:nvGrpSpPr>
              <p:cNvPr id="31" name="Gruppieren 179"/>
              <p:cNvGrpSpPr/>
              <p:nvPr/>
            </p:nvGrpSpPr>
            <p:grpSpPr bwMode="gray">
              <a:xfrm>
                <a:off x="6921031" y="1720849"/>
                <a:ext cx="779462" cy="779462"/>
                <a:chOff x="13219113" y="-1712912"/>
                <a:chExt cx="1046163" cy="1046163"/>
              </a:xfrm>
            </p:grpSpPr>
            <p:sp>
              <p:nvSpPr>
                <p:cNvPr id="181" name="Oval 10"/>
                <p:cNvSpPr>
                  <a:spLocks noChangeArrowheads="1"/>
                </p:cNvSpPr>
                <p:nvPr/>
              </p:nvSpPr>
              <p:spPr bwMode="gray">
                <a:xfrm>
                  <a:off x="13219113" y="-1712912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2" name="Freeform 11"/>
                <p:cNvSpPr>
                  <a:spLocks/>
                </p:cNvSpPr>
                <p:nvPr/>
              </p:nvSpPr>
              <p:spPr bwMode="gray">
                <a:xfrm>
                  <a:off x="13500100" y="-1060450"/>
                  <a:ext cx="484188" cy="74613"/>
                </a:xfrm>
                <a:custGeom>
                  <a:avLst/>
                  <a:gdLst/>
                  <a:ahLst/>
                  <a:cxnLst>
                    <a:cxn ang="0">
                      <a:pos x="129" y="0"/>
                    </a:cxn>
                    <a:cxn ang="0">
                      <a:pos x="64" y="2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9" h="20">
                      <a:moveTo>
                        <a:pt x="129" y="0"/>
                      </a:moveTo>
                      <a:cubicBezTo>
                        <a:pt x="118" y="12"/>
                        <a:pt x="93" y="20"/>
                        <a:pt x="64" y="20"/>
                      </a:cubicBezTo>
                      <a:cubicBezTo>
                        <a:pt x="36" y="20"/>
                        <a:pt x="11" y="12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3" name="Oval 12"/>
                <p:cNvSpPr>
                  <a:spLocks noChangeArrowheads="1"/>
                </p:cNvSpPr>
                <p:nvPr/>
              </p:nvSpPr>
              <p:spPr bwMode="gray">
                <a:xfrm>
                  <a:off x="13841413" y="-1431925"/>
                  <a:ext cx="98425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4" name="Oval 13"/>
                <p:cNvSpPr>
                  <a:spLocks noChangeArrowheads="1"/>
                </p:cNvSpPr>
                <p:nvPr/>
              </p:nvSpPr>
              <p:spPr bwMode="gray">
                <a:xfrm>
                  <a:off x="13546138" y="-1431925"/>
                  <a:ext cx="96838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grpSp>
            <p:nvGrpSpPr>
              <p:cNvPr id="32" name="Gruppieren 184"/>
              <p:cNvGrpSpPr/>
              <p:nvPr/>
            </p:nvGrpSpPr>
            <p:grpSpPr bwMode="gray">
              <a:xfrm>
                <a:off x="7885139" y="1720849"/>
                <a:ext cx="779462" cy="779462"/>
                <a:chOff x="13219113" y="-1712912"/>
                <a:chExt cx="1046163" cy="1046163"/>
              </a:xfrm>
            </p:grpSpPr>
            <p:sp>
              <p:nvSpPr>
                <p:cNvPr id="186" name="Oval 10"/>
                <p:cNvSpPr>
                  <a:spLocks noChangeArrowheads="1"/>
                </p:cNvSpPr>
                <p:nvPr/>
              </p:nvSpPr>
              <p:spPr bwMode="gray">
                <a:xfrm>
                  <a:off x="13219113" y="-1712912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7" name="Freeform 11"/>
                <p:cNvSpPr>
                  <a:spLocks/>
                </p:cNvSpPr>
                <p:nvPr/>
              </p:nvSpPr>
              <p:spPr bwMode="gray">
                <a:xfrm>
                  <a:off x="13500100" y="-1060450"/>
                  <a:ext cx="484188" cy="74613"/>
                </a:xfrm>
                <a:custGeom>
                  <a:avLst/>
                  <a:gdLst/>
                  <a:ahLst/>
                  <a:cxnLst>
                    <a:cxn ang="0">
                      <a:pos x="129" y="0"/>
                    </a:cxn>
                    <a:cxn ang="0">
                      <a:pos x="64" y="2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9" h="20">
                      <a:moveTo>
                        <a:pt x="129" y="0"/>
                      </a:moveTo>
                      <a:cubicBezTo>
                        <a:pt x="118" y="12"/>
                        <a:pt x="93" y="20"/>
                        <a:pt x="64" y="20"/>
                      </a:cubicBezTo>
                      <a:cubicBezTo>
                        <a:pt x="36" y="20"/>
                        <a:pt x="11" y="12"/>
                        <a:pt x="0" y="0"/>
                      </a:cubicBezTo>
                    </a:path>
                  </a:pathLst>
                </a:cu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8" name="Oval 12"/>
                <p:cNvSpPr>
                  <a:spLocks noChangeArrowheads="1"/>
                </p:cNvSpPr>
                <p:nvPr/>
              </p:nvSpPr>
              <p:spPr bwMode="gray">
                <a:xfrm>
                  <a:off x="13841413" y="-1431925"/>
                  <a:ext cx="98425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89" name="Oval 13"/>
                <p:cNvSpPr>
                  <a:spLocks noChangeArrowheads="1"/>
                </p:cNvSpPr>
                <p:nvPr/>
              </p:nvSpPr>
              <p:spPr bwMode="gray">
                <a:xfrm>
                  <a:off x="13546138" y="-1431925"/>
                  <a:ext cx="96838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33" name="Gruppieren 213"/>
            <p:cNvGrpSpPr/>
            <p:nvPr/>
          </p:nvGrpSpPr>
          <p:grpSpPr bwMode="gray">
            <a:xfrm>
              <a:off x="6761143" y="3508606"/>
              <a:ext cx="2059799" cy="1808636"/>
              <a:chOff x="6761143" y="3470506"/>
              <a:chExt cx="2059799" cy="1808636"/>
            </a:xfrm>
          </p:grpSpPr>
          <p:sp>
            <p:nvSpPr>
              <p:cNvPr id="61" name="Rechteck 60"/>
              <p:cNvSpPr/>
              <p:nvPr/>
            </p:nvSpPr>
            <p:spPr bwMode="gray">
              <a:xfrm>
                <a:off x="6761143" y="3470506"/>
                <a:ext cx="2059799" cy="18086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2" name="Textfeld 21"/>
              <p:cNvSpPr txBox="1"/>
              <p:nvPr/>
            </p:nvSpPr>
            <p:spPr bwMode="gray">
              <a:xfrm>
                <a:off x="6835242" y="4610844"/>
                <a:ext cx="1911600" cy="50167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No business</a:t>
                </a:r>
              </a:p>
            </p:txBody>
          </p:sp>
          <p:grpSp>
            <p:nvGrpSpPr>
              <p:cNvPr id="34" name="Gruppieren 40"/>
              <p:cNvGrpSpPr/>
              <p:nvPr/>
            </p:nvGrpSpPr>
            <p:grpSpPr bwMode="gray">
              <a:xfrm>
                <a:off x="6917483" y="3635606"/>
                <a:ext cx="779462" cy="779462"/>
                <a:chOff x="13219113" y="1398588"/>
                <a:chExt cx="1046163" cy="1046163"/>
              </a:xfrm>
            </p:grpSpPr>
            <p:sp>
              <p:nvSpPr>
                <p:cNvPr id="2062" name="Oval 14"/>
                <p:cNvSpPr>
                  <a:spLocks noChangeArrowheads="1"/>
                </p:cNvSpPr>
                <p:nvPr/>
              </p:nvSpPr>
              <p:spPr bwMode="gray">
                <a:xfrm>
                  <a:off x="13219113" y="1398588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63" name="Line 15"/>
                <p:cNvSpPr>
                  <a:spLocks noChangeShapeType="1"/>
                </p:cNvSpPr>
                <p:nvPr/>
              </p:nvSpPr>
              <p:spPr bwMode="gray">
                <a:xfrm flipH="1">
                  <a:off x="13500100" y="2054225"/>
                  <a:ext cx="484188" cy="1588"/>
                </a:xfrm>
                <a:prstGeom prst="lin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64" name="Oval 16"/>
                <p:cNvSpPr>
                  <a:spLocks noChangeArrowheads="1"/>
                </p:cNvSpPr>
                <p:nvPr/>
              </p:nvSpPr>
              <p:spPr bwMode="gray">
                <a:xfrm>
                  <a:off x="13841413" y="1679575"/>
                  <a:ext cx="98425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65" name="Oval 17"/>
                <p:cNvSpPr>
                  <a:spLocks noChangeArrowheads="1"/>
                </p:cNvSpPr>
                <p:nvPr/>
              </p:nvSpPr>
              <p:spPr bwMode="gray">
                <a:xfrm>
                  <a:off x="13546138" y="1679575"/>
                  <a:ext cx="96838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grpSp>
            <p:nvGrpSpPr>
              <p:cNvPr id="35" name="Gruppieren 200"/>
              <p:cNvGrpSpPr/>
              <p:nvPr/>
            </p:nvGrpSpPr>
            <p:grpSpPr bwMode="gray">
              <a:xfrm>
                <a:off x="7885139" y="3635606"/>
                <a:ext cx="779462" cy="779462"/>
                <a:chOff x="13219113" y="1398588"/>
                <a:chExt cx="1046163" cy="1046163"/>
              </a:xfrm>
            </p:grpSpPr>
            <p:sp>
              <p:nvSpPr>
                <p:cNvPr id="202" name="Oval 14"/>
                <p:cNvSpPr>
                  <a:spLocks noChangeArrowheads="1"/>
                </p:cNvSpPr>
                <p:nvPr/>
              </p:nvSpPr>
              <p:spPr bwMode="gray">
                <a:xfrm>
                  <a:off x="13219113" y="1398588"/>
                  <a:ext cx="1046163" cy="1046163"/>
                </a:xfrm>
                <a:prstGeom prst="ellips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3" name="Line 15"/>
                <p:cNvSpPr>
                  <a:spLocks noChangeShapeType="1"/>
                </p:cNvSpPr>
                <p:nvPr/>
              </p:nvSpPr>
              <p:spPr bwMode="gray">
                <a:xfrm flipH="1">
                  <a:off x="13500100" y="2054225"/>
                  <a:ext cx="484188" cy="1588"/>
                </a:xfrm>
                <a:prstGeom prst="line">
                  <a:avLst/>
                </a:prstGeom>
                <a:noFill/>
                <a:ln w="15875" cap="flat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4" name="Oval 16"/>
                <p:cNvSpPr>
                  <a:spLocks noChangeArrowheads="1"/>
                </p:cNvSpPr>
                <p:nvPr/>
              </p:nvSpPr>
              <p:spPr bwMode="gray">
                <a:xfrm>
                  <a:off x="13841413" y="1679575"/>
                  <a:ext cx="98425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205" name="Oval 17"/>
                <p:cNvSpPr>
                  <a:spLocks noChangeArrowheads="1"/>
                </p:cNvSpPr>
                <p:nvPr/>
              </p:nvSpPr>
              <p:spPr bwMode="gray">
                <a:xfrm>
                  <a:off x="13546138" y="1679575"/>
                  <a:ext cx="96838" cy="153988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206" name="Textfeld 205"/>
            <p:cNvSpPr txBox="1"/>
            <p:nvPr/>
          </p:nvSpPr>
          <p:spPr bwMode="gray">
            <a:xfrm>
              <a:off x="5076436" y="2665688"/>
              <a:ext cx="1684707" cy="36036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noProof="1" smtClean="0"/>
                <a:t>optional</a:t>
              </a:r>
              <a:endParaRPr lang="en-US" sz="1600" noProof="1"/>
            </a:p>
          </p:txBody>
        </p:sp>
        <p:sp>
          <p:nvSpPr>
            <p:cNvPr id="207" name="Textfeld 206"/>
            <p:cNvSpPr txBox="1"/>
            <p:nvPr/>
          </p:nvSpPr>
          <p:spPr bwMode="gray">
            <a:xfrm>
              <a:off x="5076436" y="4591794"/>
              <a:ext cx="1684707" cy="36036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noProof="1" smtClean="0"/>
                <a:t>optional</a:t>
              </a:r>
              <a:endParaRPr lang="en-US" sz="16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42596879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ustomer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Offensive or defensive organization of a company's customer strategy</a:t>
            </a:r>
            <a:endParaRPr lang="en-US" noProof="1"/>
          </a:p>
        </p:txBody>
      </p:sp>
      <p:grpSp>
        <p:nvGrpSpPr>
          <p:cNvPr id="5" name="Gruppieren 34"/>
          <p:cNvGrpSpPr/>
          <p:nvPr/>
        </p:nvGrpSpPr>
        <p:grpSpPr>
          <a:xfrm>
            <a:off x="672071" y="1764805"/>
            <a:ext cx="7799859" cy="3830547"/>
            <a:chOff x="672071" y="1764805"/>
            <a:chExt cx="7799859" cy="3830547"/>
          </a:xfrm>
        </p:grpSpPr>
        <p:sp>
          <p:nvSpPr>
            <p:cNvPr id="4" name="Rechteck 3"/>
            <p:cNvSpPr/>
            <p:nvPr/>
          </p:nvSpPr>
          <p:spPr bwMode="gray">
            <a:xfrm>
              <a:off x="2634828" y="1764805"/>
              <a:ext cx="3874344" cy="440059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ustomer Strategies</a:t>
              </a:r>
            </a:p>
          </p:txBody>
        </p:sp>
        <p:sp>
          <p:nvSpPr>
            <p:cNvPr id="6" name="Rechteck 5"/>
            <p:cNvSpPr/>
            <p:nvPr/>
          </p:nvSpPr>
          <p:spPr bwMode="gray">
            <a:xfrm>
              <a:off x="1373697" y="2707779"/>
              <a:ext cx="2181225" cy="33679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000" b="1" noProof="1" smtClean="0"/>
                <a:t>offensive</a:t>
              </a: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5589080" y="2707779"/>
              <a:ext cx="2181225" cy="33679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000" b="1" noProof="1" smtClean="0"/>
                <a:t>defensive</a:t>
              </a: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1373697" y="3117725"/>
              <a:ext cx="2181225" cy="981075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Win new 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ustomers</a:t>
              </a: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5589080" y="3117725"/>
              <a:ext cx="2181225" cy="981075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mmit existing </a:t>
              </a:r>
            </a:p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ustomers</a:t>
              </a:r>
            </a:p>
          </p:txBody>
        </p:sp>
        <p:grpSp>
          <p:nvGrpSpPr>
            <p:cNvPr id="12" name="Gruppieren 4"/>
            <p:cNvGrpSpPr/>
            <p:nvPr/>
          </p:nvGrpSpPr>
          <p:grpSpPr bwMode="gray">
            <a:xfrm>
              <a:off x="672071" y="4614277"/>
              <a:ext cx="3584476" cy="981075"/>
              <a:chOff x="1095376" y="4437112"/>
              <a:chExt cx="2812950" cy="981075"/>
            </a:xfrm>
          </p:grpSpPr>
          <p:sp>
            <p:nvSpPr>
              <p:cNvPr id="10" name="Rechteck 9"/>
              <p:cNvSpPr/>
              <p:nvPr/>
            </p:nvSpPr>
            <p:spPr bwMode="gray">
              <a:xfrm>
                <a:off x="1095376" y="4437112"/>
                <a:ext cx="1352550" cy="98107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xpand 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market 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2555776" y="4437112"/>
                <a:ext cx="1352550" cy="98107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Increase market share</a:t>
                </a:r>
              </a:p>
            </p:txBody>
          </p:sp>
        </p:grpSp>
        <p:grpSp>
          <p:nvGrpSpPr>
            <p:cNvPr id="13" name="Gruppieren 12"/>
            <p:cNvGrpSpPr/>
            <p:nvPr/>
          </p:nvGrpSpPr>
          <p:grpSpPr bwMode="gray">
            <a:xfrm>
              <a:off x="4887454" y="4614277"/>
              <a:ext cx="3584476" cy="981075"/>
              <a:chOff x="1095376" y="4437112"/>
              <a:chExt cx="2812950" cy="981075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1095376" y="4437112"/>
                <a:ext cx="1352550" cy="98107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Build hurdles against provider switch</a:t>
                </a:r>
              </a:p>
            </p:txBody>
          </p:sp>
          <p:sp>
            <p:nvSpPr>
              <p:cNvPr id="15" name="Rechteck 14"/>
              <p:cNvSpPr/>
              <p:nvPr/>
            </p:nvSpPr>
            <p:spPr bwMode="gray">
              <a:xfrm>
                <a:off x="2555776" y="4437112"/>
                <a:ext cx="1352550" cy="981075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Increase customer satisfaction</a:t>
                </a:r>
              </a:p>
            </p:txBody>
          </p:sp>
        </p:grpSp>
        <p:grpSp>
          <p:nvGrpSpPr>
            <p:cNvPr id="16" name="Gruppieren 54"/>
            <p:cNvGrpSpPr/>
            <p:nvPr/>
          </p:nvGrpSpPr>
          <p:grpSpPr bwMode="gray">
            <a:xfrm>
              <a:off x="2430373" y="2204864"/>
              <a:ext cx="4283255" cy="440768"/>
              <a:chOff x="2497978" y="2204864"/>
              <a:chExt cx="4182557" cy="440768"/>
            </a:xfrm>
          </p:grpSpPr>
          <p:cxnSp>
            <p:nvCxnSpPr>
              <p:cNvPr id="17" name="Gerade Verbindung mit Pfeil 16"/>
              <p:cNvCxnSpPr/>
              <p:nvPr/>
            </p:nvCxnSpPr>
            <p:spPr bwMode="gray">
              <a:xfrm>
                <a:off x="2497978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mit Pfeil 20"/>
              <p:cNvCxnSpPr/>
              <p:nvPr/>
            </p:nvCxnSpPr>
            <p:spPr bwMode="gray">
              <a:xfrm>
                <a:off x="6679692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 bwMode="gray">
              <a:xfrm>
                <a:off x="2497978" y="2414865"/>
                <a:ext cx="4182557" cy="0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 bwMode="gray">
              <a:xfrm flipV="1">
                <a:off x="4573666" y="2204864"/>
                <a:ext cx="0" cy="210001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29"/>
            <p:cNvGrpSpPr/>
            <p:nvPr/>
          </p:nvGrpSpPr>
          <p:grpSpPr bwMode="gray">
            <a:xfrm>
              <a:off x="1414275" y="4098800"/>
              <a:ext cx="2100068" cy="440768"/>
              <a:chOff x="2152148" y="2204864"/>
              <a:chExt cx="4148044" cy="440768"/>
            </a:xfrm>
          </p:grpSpPr>
          <p:cxnSp>
            <p:nvCxnSpPr>
              <p:cNvPr id="31" name="Gerade Verbindung mit Pfeil 30"/>
              <p:cNvCxnSpPr/>
              <p:nvPr/>
            </p:nvCxnSpPr>
            <p:spPr bwMode="gray">
              <a:xfrm>
                <a:off x="2152148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mit Pfeil 31"/>
              <p:cNvCxnSpPr/>
              <p:nvPr/>
            </p:nvCxnSpPr>
            <p:spPr bwMode="gray">
              <a:xfrm>
                <a:off x="6300192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/>
            </p:nvCxnSpPr>
            <p:spPr bwMode="gray">
              <a:xfrm>
                <a:off x="2152148" y="2414865"/>
                <a:ext cx="4148044" cy="0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/>
            </p:nvCxnSpPr>
            <p:spPr bwMode="gray">
              <a:xfrm flipV="1">
                <a:off x="4227836" y="2204864"/>
                <a:ext cx="0" cy="210001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uppieren 34"/>
            <p:cNvGrpSpPr/>
            <p:nvPr/>
          </p:nvGrpSpPr>
          <p:grpSpPr bwMode="gray">
            <a:xfrm>
              <a:off x="5629658" y="4098800"/>
              <a:ext cx="2100068" cy="440768"/>
              <a:chOff x="2152148" y="2204864"/>
              <a:chExt cx="4148044" cy="440768"/>
            </a:xfrm>
          </p:grpSpPr>
          <p:cxnSp>
            <p:nvCxnSpPr>
              <p:cNvPr id="36" name="Gerade Verbindung mit Pfeil 35"/>
              <p:cNvCxnSpPr/>
              <p:nvPr/>
            </p:nvCxnSpPr>
            <p:spPr bwMode="gray">
              <a:xfrm>
                <a:off x="2152148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mit Pfeil 36"/>
              <p:cNvCxnSpPr/>
              <p:nvPr/>
            </p:nvCxnSpPr>
            <p:spPr bwMode="gray">
              <a:xfrm>
                <a:off x="6300192" y="2414865"/>
                <a:ext cx="0" cy="230767"/>
              </a:xfrm>
              <a:prstGeom prst="straightConnector1">
                <a:avLst/>
              </a:prstGeom>
              <a:ln w="19050">
                <a:solidFill>
                  <a:srgbClr val="AFAFA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/>
            </p:nvCxnSpPr>
            <p:spPr bwMode="gray">
              <a:xfrm>
                <a:off x="2152148" y="2414865"/>
                <a:ext cx="4148044" cy="0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/>
            </p:nvCxnSpPr>
            <p:spPr bwMode="gray">
              <a:xfrm flipV="1">
                <a:off x="4227836" y="2204864"/>
                <a:ext cx="0" cy="210001"/>
              </a:xfrm>
              <a:prstGeom prst="line">
                <a:avLst/>
              </a:prstGeom>
              <a:ln w="19050">
                <a:solidFill>
                  <a:srgbClr val="AFAFA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66434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odel of a one-step communication / information </a:t>
            </a:r>
            <a:r>
              <a:rPr lang="en-US" noProof="1"/>
              <a:t>transmission</a:t>
            </a:r>
            <a:endParaRPr lang="en-US" noProof="1" smtClean="0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Communication </a:t>
            </a:r>
            <a:r>
              <a:rPr lang="en-US" b="0" noProof="1" smtClean="0"/>
              <a:t>- One step Model</a:t>
            </a:r>
          </a:p>
        </p:txBody>
      </p:sp>
      <p:grpSp>
        <p:nvGrpSpPr>
          <p:cNvPr id="2" name="Gruppieren 24"/>
          <p:cNvGrpSpPr/>
          <p:nvPr/>
        </p:nvGrpSpPr>
        <p:grpSpPr>
          <a:xfrm>
            <a:off x="323850" y="2382558"/>
            <a:ext cx="8494712" cy="3585511"/>
            <a:chOff x="323850" y="2382558"/>
            <a:chExt cx="8494712" cy="3585511"/>
          </a:xfrm>
        </p:grpSpPr>
        <p:sp>
          <p:nvSpPr>
            <p:cNvPr id="27" name="Rechteck 26"/>
            <p:cNvSpPr/>
            <p:nvPr/>
          </p:nvSpPr>
          <p:spPr bwMode="gray">
            <a:xfrm>
              <a:off x="3390631" y="2384338"/>
              <a:ext cx="1442506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400" noProof="1" smtClean="0"/>
                <a:t>Information</a:t>
              </a:r>
              <a:endParaRPr lang="en-US" sz="1400" noProof="1"/>
            </a:p>
            <a:p>
              <a:pPr algn="ctr"/>
              <a:r>
                <a:rPr lang="en-US" sz="1400" noProof="1"/>
                <a:t>transmission</a:t>
              </a: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4797337" y="2382558"/>
              <a:ext cx="4021225" cy="33855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600" b="1" noProof="1">
                  <a:solidFill>
                    <a:srgbClr val="FFFFFF"/>
                  </a:solidFill>
                  <a:cs typeface="Arial" charset="0"/>
                </a:rPr>
                <a:t>R</a:t>
              </a: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ecipient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323852" y="2382558"/>
              <a:ext cx="3074284" cy="33855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nder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3" name="Gruppieren 10"/>
            <p:cNvGrpSpPr/>
            <p:nvPr/>
          </p:nvGrpSpPr>
          <p:grpSpPr bwMode="gray">
            <a:xfrm>
              <a:off x="323850" y="2751890"/>
              <a:ext cx="3074286" cy="824753"/>
              <a:chOff x="4948519" y="4346963"/>
              <a:chExt cx="2833793" cy="824753"/>
            </a:xfrm>
            <a:solidFill>
              <a:schemeClr val="bg1">
                <a:lumMod val="95000"/>
              </a:schemeClr>
            </a:solidFill>
          </p:grpSpPr>
          <p:sp>
            <p:nvSpPr>
              <p:cNvPr id="54" name="Rechteck 53"/>
              <p:cNvSpPr/>
              <p:nvPr/>
            </p:nvSpPr>
            <p:spPr bwMode="gray">
              <a:xfrm>
                <a:off x="4948519" y="4346963"/>
                <a:ext cx="1415825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Intended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signal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gray">
              <a:xfrm>
                <a:off x="6366487" y="4346963"/>
                <a:ext cx="1415825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Coded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signal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5" name="Rechteck 64"/>
            <p:cNvSpPr/>
            <p:nvPr/>
          </p:nvSpPr>
          <p:spPr bwMode="gray">
            <a:xfrm>
              <a:off x="3430783" y="2992163"/>
              <a:ext cx="1308330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400" b="1" noProof="1"/>
                <a:t>Advertising</a:t>
              </a:r>
              <a:br>
                <a:rPr lang="en-US" sz="1400" b="1" noProof="1"/>
              </a:br>
              <a:r>
                <a:rPr lang="en-US" sz="1400" b="1" noProof="1"/>
                <a:t>medium </a:t>
              </a:r>
              <a:endParaRPr lang="en-US" sz="1400" b="1" noProof="1" smtClean="0"/>
            </a:p>
          </p:txBody>
        </p:sp>
        <p:sp>
          <p:nvSpPr>
            <p:cNvPr id="68" name="Rechteck 67"/>
            <p:cNvSpPr/>
            <p:nvPr/>
          </p:nvSpPr>
          <p:spPr bwMode="gray">
            <a:xfrm>
              <a:off x="323852" y="5068806"/>
              <a:ext cx="8494710" cy="7462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noProof="1">
                  <a:solidFill>
                    <a:srgbClr val="000000"/>
                  </a:solidFill>
                </a:rPr>
                <a:t>The sender has to ensure that the recipient</a:t>
              </a:r>
            </a:p>
            <a:p>
              <a:pPr algn="ctr"/>
              <a:r>
                <a:rPr lang="en-US" sz="1600" noProof="1">
                  <a:solidFill>
                    <a:srgbClr val="000000"/>
                  </a:solidFill>
                </a:rPr>
                <a:t>can decode the message correctly.</a:t>
              </a:r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379745" y="4952406"/>
              <a:ext cx="44114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 Black" pitchFamily="34" charset="0"/>
                </a:rPr>
                <a:t>!</a:t>
              </a:r>
              <a:endParaRPr lang="en-US" sz="6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itchFamily="34" charset="0"/>
              </a:endParaRPr>
            </a:p>
          </p:txBody>
        </p:sp>
        <p:cxnSp>
          <p:nvCxnSpPr>
            <p:cNvPr id="37" name="Gerade Verbindung 36"/>
            <p:cNvCxnSpPr/>
            <p:nvPr/>
          </p:nvCxnSpPr>
          <p:spPr bwMode="gray">
            <a:xfrm>
              <a:off x="8496784" y="3715998"/>
              <a:ext cx="0" cy="609600"/>
            </a:xfrm>
            <a:prstGeom prst="line">
              <a:avLst/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Gerade Verbindung 424"/>
            <p:cNvCxnSpPr/>
            <p:nvPr/>
          </p:nvCxnSpPr>
          <p:spPr bwMode="gray">
            <a:xfrm>
              <a:off x="699236" y="4325598"/>
              <a:ext cx="7797548" cy="0"/>
            </a:xfrm>
            <a:prstGeom prst="line">
              <a:avLst/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Gerade Verbindung 427"/>
            <p:cNvCxnSpPr/>
            <p:nvPr/>
          </p:nvCxnSpPr>
          <p:spPr bwMode="gray">
            <a:xfrm>
              <a:off x="697694" y="3715998"/>
              <a:ext cx="0" cy="609600"/>
            </a:xfrm>
            <a:prstGeom prst="line">
              <a:avLst/>
            </a:prstGeom>
            <a:ln w="19050">
              <a:solidFill>
                <a:srgbClr val="AFAFAF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" name="Rechteck 429"/>
            <p:cNvSpPr/>
            <p:nvPr/>
          </p:nvSpPr>
          <p:spPr bwMode="gray">
            <a:xfrm>
              <a:off x="2611865" y="3931021"/>
              <a:ext cx="3000042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400" noProof="1" smtClean="0"/>
                <a:t>Feedback</a:t>
              </a:r>
            </a:p>
          </p:txBody>
        </p:sp>
        <p:cxnSp>
          <p:nvCxnSpPr>
            <p:cNvPr id="5" name="Gerade Verbindung mit Pfeil 4"/>
            <p:cNvCxnSpPr/>
            <p:nvPr/>
          </p:nvCxnSpPr>
          <p:spPr bwMode="gray">
            <a:xfrm>
              <a:off x="3430783" y="2891117"/>
              <a:ext cx="1308330" cy="0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2"/>
            <p:cNvGrpSpPr/>
            <p:nvPr/>
          </p:nvGrpSpPr>
          <p:grpSpPr bwMode="gray">
            <a:xfrm>
              <a:off x="4797336" y="2751890"/>
              <a:ext cx="4021225" cy="824753"/>
              <a:chOff x="5143912" y="2699892"/>
              <a:chExt cx="3280492" cy="824753"/>
            </a:xfrm>
            <a:solidFill>
              <a:schemeClr val="bg1">
                <a:lumMod val="95000"/>
              </a:schemeClr>
            </a:solidFill>
          </p:grpSpPr>
          <p:sp>
            <p:nvSpPr>
              <p:cNvPr id="43" name="Rechteck 42"/>
              <p:cNvSpPr/>
              <p:nvPr/>
            </p:nvSpPr>
            <p:spPr bwMode="gray">
              <a:xfrm>
                <a:off x="5143912" y="2699892"/>
                <a:ext cx="1093498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Received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signal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6237410" y="2699892"/>
                <a:ext cx="1093498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Decoded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signal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7330906" y="2699892"/>
                <a:ext cx="1093498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Behavioral </a:t>
                </a: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effect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3408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dirty="0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  <a:shade val="30000"/>
                  <a:satMod val="115000"/>
                </a:schemeClr>
              </a:gs>
              <a:gs pos="50000">
                <a:schemeClr val="bg1">
                  <a:lumMod val="50000"/>
                  <a:shade val="67500"/>
                  <a:satMod val="115000"/>
                </a:schemeClr>
              </a:gs>
              <a:gs pos="100000">
                <a:schemeClr val="bg1">
                  <a:lumMod val="50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 w="12700">
            <a:noFill/>
            <a:round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Basics</a:t>
            </a:r>
          </a:p>
        </p:txBody>
      </p:sp>
      <p:sp>
        <p:nvSpPr>
          <p:cNvPr id="11" name="Untertitel 2"/>
          <p:cNvSpPr txBox="1">
            <a:spLocks/>
          </p:cNvSpPr>
          <p:nvPr/>
        </p:nvSpPr>
        <p:spPr bwMode="gray">
          <a:xfrm>
            <a:off x="647702" y="4326978"/>
            <a:ext cx="7856218" cy="938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sz="2800" noProof="1" smtClean="0">
                <a:solidFill>
                  <a:schemeClr val="bg1"/>
                </a:solidFill>
              </a:rPr>
              <a:t>Definitions / Explanations</a:t>
            </a:r>
            <a:endParaRPr kumimoji="0" lang="en-US" sz="2800" b="0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8696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53"/>
          <p:cNvGrpSpPr/>
          <p:nvPr/>
        </p:nvGrpSpPr>
        <p:grpSpPr bwMode="gray">
          <a:xfrm>
            <a:off x="0" y="4989856"/>
            <a:ext cx="9144000" cy="1341120"/>
            <a:chOff x="0" y="4236720"/>
            <a:chExt cx="9144000" cy="1341120"/>
          </a:xfrm>
        </p:grpSpPr>
        <p:sp>
          <p:nvSpPr>
            <p:cNvPr id="23" name="Rechteck 22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5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4" name="Rechteck 23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5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Pyramid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yramid with (higher-ranked) marketing objectives on the top</a:t>
            </a:r>
            <a:endParaRPr lang="en-US" noProof="1"/>
          </a:p>
        </p:txBody>
      </p:sp>
      <p:grpSp>
        <p:nvGrpSpPr>
          <p:cNvPr id="25" name="Gruppieren 24"/>
          <p:cNvGrpSpPr/>
          <p:nvPr/>
        </p:nvGrpSpPr>
        <p:grpSpPr>
          <a:xfrm>
            <a:off x="1259633" y="1435922"/>
            <a:ext cx="6624736" cy="4296400"/>
            <a:chOff x="1259633" y="1435922"/>
            <a:chExt cx="6624736" cy="429640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4" name="Gleichschenkliges Dreieck 3"/>
            <p:cNvSpPr/>
            <p:nvPr/>
          </p:nvSpPr>
          <p:spPr bwMode="gray">
            <a:xfrm>
              <a:off x="1259633" y="1435922"/>
              <a:ext cx="6624736" cy="4296400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2" name="Gruppieren 41"/>
            <p:cNvGrpSpPr/>
            <p:nvPr/>
          </p:nvGrpSpPr>
          <p:grpSpPr bwMode="gray">
            <a:xfrm>
              <a:off x="1434610" y="1574801"/>
              <a:ext cx="6274781" cy="4069442"/>
              <a:chOff x="1306635" y="1562100"/>
              <a:chExt cx="6274781" cy="4109495"/>
            </a:xfrm>
            <a:effectLst>
              <a:outerShdw blurRad="254000" dist="203200" dir="5400000" algn="ctr" rotWithShape="0">
                <a:srgbClr val="000000">
                  <a:alpha val="11000"/>
                </a:srgbClr>
              </a:outerShdw>
            </a:effectLst>
          </p:grpSpPr>
          <p:sp>
            <p:nvSpPr>
              <p:cNvPr id="4102" name="Freeform 6"/>
              <p:cNvSpPr>
                <a:spLocks/>
              </p:cNvSpPr>
              <p:nvPr/>
            </p:nvSpPr>
            <p:spPr bwMode="gray">
              <a:xfrm>
                <a:off x="3692619" y="1562100"/>
                <a:ext cx="1504849" cy="987997"/>
              </a:xfrm>
              <a:custGeom>
                <a:avLst/>
                <a:gdLst/>
                <a:ahLst/>
                <a:cxnLst>
                  <a:cxn ang="0">
                    <a:pos x="740" y="0"/>
                  </a:cxn>
                  <a:cxn ang="0">
                    <a:pos x="0" y="966"/>
                  </a:cxn>
                  <a:cxn ang="0">
                    <a:pos x="1479" y="966"/>
                  </a:cxn>
                  <a:cxn ang="0">
                    <a:pos x="740" y="0"/>
                  </a:cxn>
                </a:cxnLst>
                <a:rect l="0" t="0" r="r" b="b"/>
                <a:pathLst>
                  <a:path w="1479" h="966">
                    <a:moveTo>
                      <a:pt x="740" y="0"/>
                    </a:moveTo>
                    <a:lnTo>
                      <a:pt x="0" y="966"/>
                    </a:lnTo>
                    <a:lnTo>
                      <a:pt x="1479" y="966"/>
                    </a:lnTo>
                    <a:lnTo>
                      <a:pt x="740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4104" name="Freeform 8"/>
              <p:cNvSpPr>
                <a:spLocks/>
              </p:cNvSpPr>
              <p:nvPr/>
            </p:nvSpPr>
            <p:spPr bwMode="gray">
              <a:xfrm>
                <a:off x="2834885" y="2550097"/>
                <a:ext cx="3220315" cy="1120957"/>
              </a:xfrm>
              <a:custGeom>
                <a:avLst/>
                <a:gdLst/>
                <a:ahLst/>
                <a:cxnLst>
                  <a:cxn ang="0">
                    <a:pos x="2322" y="0"/>
                  </a:cxn>
                  <a:cxn ang="0">
                    <a:pos x="843" y="0"/>
                  </a:cxn>
                  <a:cxn ang="0">
                    <a:pos x="0" y="1096"/>
                  </a:cxn>
                  <a:cxn ang="0">
                    <a:pos x="3165" y="1096"/>
                  </a:cxn>
                  <a:cxn ang="0">
                    <a:pos x="2322" y="0"/>
                  </a:cxn>
                </a:cxnLst>
                <a:rect l="0" t="0" r="r" b="b"/>
                <a:pathLst>
                  <a:path w="3165" h="1096">
                    <a:moveTo>
                      <a:pt x="2322" y="0"/>
                    </a:moveTo>
                    <a:lnTo>
                      <a:pt x="843" y="0"/>
                    </a:lnTo>
                    <a:lnTo>
                      <a:pt x="0" y="1096"/>
                    </a:lnTo>
                    <a:lnTo>
                      <a:pt x="3165" y="1096"/>
                    </a:lnTo>
                    <a:lnTo>
                      <a:pt x="2322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accent1">
                      <a:lumMod val="20000"/>
                      <a:lumOff val="8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4103" name="Freeform 7"/>
              <p:cNvSpPr>
                <a:spLocks/>
              </p:cNvSpPr>
              <p:nvPr/>
            </p:nvSpPr>
            <p:spPr bwMode="gray">
              <a:xfrm>
                <a:off x="1306635" y="3671054"/>
                <a:ext cx="6274781" cy="2000541"/>
              </a:xfrm>
              <a:custGeom>
                <a:avLst/>
                <a:gdLst/>
                <a:ahLst/>
                <a:cxnLst>
                  <a:cxn ang="0">
                    <a:pos x="6167" y="1956"/>
                  </a:cxn>
                  <a:cxn ang="0">
                    <a:pos x="4667" y="0"/>
                  </a:cxn>
                  <a:cxn ang="0">
                    <a:pos x="1502" y="0"/>
                  </a:cxn>
                  <a:cxn ang="0">
                    <a:pos x="0" y="1956"/>
                  </a:cxn>
                  <a:cxn ang="0">
                    <a:pos x="6167" y="1956"/>
                  </a:cxn>
                </a:cxnLst>
                <a:rect l="0" t="0" r="r" b="b"/>
                <a:pathLst>
                  <a:path w="6167" h="1956">
                    <a:moveTo>
                      <a:pt x="6167" y="1956"/>
                    </a:moveTo>
                    <a:lnTo>
                      <a:pt x="4667" y="0"/>
                    </a:lnTo>
                    <a:lnTo>
                      <a:pt x="1502" y="0"/>
                    </a:lnTo>
                    <a:lnTo>
                      <a:pt x="0" y="1956"/>
                    </a:lnTo>
                    <a:lnTo>
                      <a:pt x="6167" y="195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" name="Textfeld 7"/>
              <p:cNvSpPr txBox="1"/>
              <p:nvPr/>
            </p:nvSpPr>
            <p:spPr bwMode="gray">
              <a:xfrm>
                <a:off x="2888569" y="3946973"/>
                <a:ext cx="3110916" cy="4662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2400" b="1" noProof="1" smtClean="0">
                    <a:solidFill>
                      <a:srgbClr val="000000"/>
                    </a:solidFill>
                  </a:rPr>
                  <a:t>Marketing instruments</a:t>
                </a:r>
                <a:endParaRPr lang="en-US" sz="2400" b="1" noProof="1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1" name="Gerade Verbindung 10"/>
              <p:cNvCxnSpPr/>
              <p:nvPr/>
            </p:nvCxnSpPr>
            <p:spPr bwMode="gray">
              <a:xfrm rot="5400000">
                <a:off x="2513643" y="4905784"/>
                <a:ext cx="1087843" cy="428261"/>
              </a:xfrm>
              <a:prstGeom prst="line">
                <a:avLst/>
              </a:prstGeom>
              <a:ln w="12700">
                <a:solidFill>
                  <a:srgbClr val="C0C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14"/>
              <p:cNvCxnSpPr/>
              <p:nvPr/>
            </p:nvCxnSpPr>
            <p:spPr bwMode="gray">
              <a:xfrm rot="16200000" flipH="1">
                <a:off x="5392665" y="4905784"/>
                <a:ext cx="1087843" cy="428261"/>
              </a:xfrm>
              <a:prstGeom prst="line">
                <a:avLst/>
              </a:prstGeom>
              <a:ln w="12700">
                <a:solidFill>
                  <a:srgbClr val="C0C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feld 16"/>
              <p:cNvSpPr txBox="1"/>
              <p:nvPr/>
            </p:nvSpPr>
            <p:spPr bwMode="gray">
              <a:xfrm>
                <a:off x="1827574" y="4826643"/>
                <a:ext cx="1276183" cy="5283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Product- and</a:t>
                </a:r>
                <a:br>
                  <a:rPr lang="en-US" sz="1400" noProof="1" smtClean="0">
                    <a:solidFill>
                      <a:srgbClr val="000000"/>
                    </a:solidFill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</a:rPr>
                  <a:t>program policy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Textfeld 17"/>
              <p:cNvSpPr txBox="1"/>
              <p:nvPr/>
            </p:nvSpPr>
            <p:spPr bwMode="gray">
              <a:xfrm>
                <a:off x="3095423" y="4826643"/>
                <a:ext cx="1345368" cy="5283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Price and</a:t>
                </a:r>
                <a:br>
                  <a:rPr lang="en-US" sz="1400" noProof="1" smtClean="0">
                    <a:solidFill>
                      <a:srgbClr val="000000"/>
                    </a:solidFill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</a:rPr>
                  <a:t>condition policy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Textfeld 18"/>
              <p:cNvSpPr txBox="1"/>
              <p:nvPr/>
            </p:nvSpPr>
            <p:spPr bwMode="gray">
              <a:xfrm>
                <a:off x="4464425" y="4826643"/>
                <a:ext cx="1382173" cy="5283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Communication </a:t>
                </a:r>
                <a:br>
                  <a:rPr lang="en-US" sz="1400" noProof="1" smtClean="0">
                    <a:solidFill>
                      <a:srgbClr val="000000"/>
                    </a:solidFill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</a:rPr>
                  <a:t>policy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Textfeld 19"/>
              <p:cNvSpPr txBox="1"/>
              <p:nvPr/>
            </p:nvSpPr>
            <p:spPr bwMode="gray">
              <a:xfrm>
                <a:off x="5948021" y="4826643"/>
                <a:ext cx="1051506" cy="5283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noProof="1" smtClean="0">
                    <a:solidFill>
                      <a:srgbClr val="000000"/>
                    </a:solidFill>
                  </a:rPr>
                  <a:t>Distribution</a:t>
                </a:r>
                <a:br>
                  <a:rPr lang="en-US" sz="1400" noProof="1" smtClean="0">
                    <a:solidFill>
                      <a:srgbClr val="000000"/>
                    </a:solidFill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</a:rPr>
                  <a:t>policy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6" name="Gerade Verbindung 25"/>
              <p:cNvCxnSpPr/>
              <p:nvPr/>
            </p:nvCxnSpPr>
            <p:spPr bwMode="gray">
              <a:xfrm rot="5400000">
                <a:off x="3888439" y="5116008"/>
                <a:ext cx="1111173" cy="0"/>
              </a:xfrm>
              <a:prstGeom prst="line">
                <a:avLst/>
              </a:prstGeom>
              <a:ln w="12700">
                <a:solidFill>
                  <a:srgbClr val="C0C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/>
              <p:cNvSpPr txBox="1"/>
              <p:nvPr/>
            </p:nvSpPr>
            <p:spPr bwMode="gray">
              <a:xfrm>
                <a:off x="3833059" y="2850959"/>
                <a:ext cx="1221937" cy="65269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Marketing </a:t>
                </a:r>
                <a:br>
                  <a:rPr lang="en-US" b="1" noProof="1" smtClean="0">
                    <a:solidFill>
                      <a:srgbClr val="000000"/>
                    </a:solidFill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</a:rPr>
                  <a:t>strategies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Textfeld 28"/>
              <p:cNvSpPr txBox="1"/>
              <p:nvPr/>
            </p:nvSpPr>
            <p:spPr bwMode="gray">
              <a:xfrm>
                <a:off x="4022500" y="2047254"/>
                <a:ext cx="843051" cy="4662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b="1" noProof="1" smtClean="0">
                    <a:solidFill>
                      <a:srgbClr val="FFFFFF"/>
                    </a:solidFill>
                  </a:rPr>
                  <a:t>Marketing</a:t>
                </a:r>
                <a:br>
                  <a:rPr lang="en-US" sz="1200" b="1" noProof="1" smtClean="0">
                    <a:solidFill>
                      <a:srgbClr val="FFFFFF"/>
                    </a:solidFill>
                  </a:rPr>
                </a:br>
                <a:r>
                  <a:rPr lang="en-US" sz="1200" b="1" noProof="1" smtClean="0">
                    <a:solidFill>
                      <a:srgbClr val="FFFFFF"/>
                    </a:solidFill>
                  </a:rPr>
                  <a:t>objectiv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797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/>
              <a:t>Model of a one-step communication / information transmissio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Communication </a:t>
            </a:r>
            <a:r>
              <a:rPr lang="en-US" b="0" noProof="1" smtClean="0"/>
              <a:t>- One step Model</a:t>
            </a:r>
          </a:p>
        </p:txBody>
      </p:sp>
      <p:grpSp>
        <p:nvGrpSpPr>
          <p:cNvPr id="2" name="Gruppieren 183"/>
          <p:cNvGrpSpPr/>
          <p:nvPr/>
        </p:nvGrpSpPr>
        <p:grpSpPr>
          <a:xfrm>
            <a:off x="323852" y="1555751"/>
            <a:ext cx="8577692" cy="4412318"/>
            <a:chOff x="323852" y="1555751"/>
            <a:chExt cx="8577692" cy="4412318"/>
          </a:xfrm>
        </p:grpSpPr>
        <p:sp>
          <p:nvSpPr>
            <p:cNvPr id="27" name="Rechteck 26"/>
            <p:cNvSpPr/>
            <p:nvPr/>
          </p:nvSpPr>
          <p:spPr bwMode="gray">
            <a:xfrm>
              <a:off x="2567040" y="1555751"/>
              <a:ext cx="3000042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 smtClean="0"/>
                <a:t>Information transmission</a:t>
              </a:r>
              <a:br>
                <a:rPr lang="en-US" sz="1200" noProof="1" smtClean="0"/>
              </a:br>
              <a:r>
                <a:rPr lang="en-US" sz="1400" b="1" noProof="1" smtClean="0"/>
                <a:t>Advertising message</a:t>
              </a:r>
            </a:p>
          </p:txBody>
        </p:sp>
        <p:sp>
          <p:nvSpPr>
            <p:cNvPr id="53" name="Auf der gleichen Seite des Rechtecks liegende Ecken abrunden 52"/>
            <p:cNvSpPr/>
            <p:nvPr/>
          </p:nvSpPr>
          <p:spPr bwMode="gray">
            <a:xfrm>
              <a:off x="688331" y="2583347"/>
              <a:ext cx="2441990" cy="1220123"/>
            </a:xfrm>
            <a:prstGeom prst="round2SameRect">
              <a:avLst>
                <a:gd name="adj1" fmla="val 10847"/>
                <a:gd name="adj2" fmla="val 0"/>
              </a:avLst>
            </a:prstGeom>
            <a:solidFill>
              <a:srgbClr val="D7D7D7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36" name="Trapezoid 35"/>
            <p:cNvSpPr/>
            <p:nvPr/>
          </p:nvSpPr>
          <p:spPr bwMode="gray">
            <a:xfrm>
              <a:off x="458324" y="3803470"/>
              <a:ext cx="2939811" cy="251012"/>
            </a:xfrm>
            <a:prstGeom prst="trapezoid">
              <a:avLst>
                <a:gd name="adj" fmla="val 107143"/>
              </a:avLst>
            </a:prstGeom>
            <a:solidFill>
              <a:srgbClr val="E6E6E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458326" y="4045512"/>
              <a:ext cx="2939810" cy="338554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0">
              <a:solidFill>
                <a:srgbClr val="C0C0C0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nder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3" name="Gruppieren 10"/>
            <p:cNvGrpSpPr/>
            <p:nvPr/>
          </p:nvGrpSpPr>
          <p:grpSpPr bwMode="gray">
            <a:xfrm>
              <a:off x="856833" y="2699892"/>
              <a:ext cx="2148894" cy="824753"/>
              <a:chOff x="4948520" y="4346963"/>
              <a:chExt cx="2784424" cy="824753"/>
            </a:xfrm>
            <a:solidFill>
              <a:srgbClr val="FFFFFF"/>
            </a:solidFill>
          </p:grpSpPr>
          <p:sp>
            <p:nvSpPr>
              <p:cNvPr id="54" name="Rechteck 53"/>
              <p:cNvSpPr/>
              <p:nvPr/>
            </p:nvSpPr>
            <p:spPr bwMode="gray">
              <a:xfrm>
                <a:off x="4948520" y="4346963"/>
                <a:ext cx="1368599" cy="82475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Intended</a:t>
                </a:r>
                <a:b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signal</a:t>
                </a:r>
                <a:endParaRPr lang="en-US" sz="120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gray">
              <a:xfrm>
                <a:off x="6317118" y="4346963"/>
                <a:ext cx="1415826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Coded</a:t>
                </a:r>
                <a:b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signal</a:t>
                </a:r>
              </a:p>
            </p:txBody>
          </p:sp>
        </p:grpSp>
        <p:sp>
          <p:nvSpPr>
            <p:cNvPr id="58" name="Rechteck 57"/>
            <p:cNvSpPr/>
            <p:nvPr/>
          </p:nvSpPr>
          <p:spPr bwMode="gray">
            <a:xfrm>
              <a:off x="1115255" y="2144075"/>
              <a:ext cx="1854130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b="1" noProof="1" smtClean="0"/>
                <a:t>Advertiser</a:t>
              </a:r>
            </a:p>
          </p:txBody>
        </p:sp>
        <p:sp>
          <p:nvSpPr>
            <p:cNvPr id="65" name="Rechteck 64"/>
            <p:cNvSpPr/>
            <p:nvPr/>
          </p:nvSpPr>
          <p:spPr bwMode="gray">
            <a:xfrm>
              <a:off x="3430783" y="4045517"/>
              <a:ext cx="1308330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b="1" noProof="1"/>
                <a:t>Advertising</a:t>
              </a:r>
              <a:br>
                <a:rPr lang="en-US" sz="1600" b="1" noProof="1"/>
              </a:br>
              <a:r>
                <a:rPr lang="en-US" sz="1600" b="1" noProof="1"/>
                <a:t>medium </a:t>
              </a:r>
            </a:p>
          </p:txBody>
        </p:sp>
        <p:sp>
          <p:nvSpPr>
            <p:cNvPr id="68" name="Rechteck 67"/>
            <p:cNvSpPr/>
            <p:nvPr/>
          </p:nvSpPr>
          <p:spPr bwMode="gray">
            <a:xfrm>
              <a:off x="323852" y="5068806"/>
              <a:ext cx="8494710" cy="7462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noProof="1">
                  <a:solidFill>
                    <a:srgbClr val="000000"/>
                  </a:solidFill>
                </a:rPr>
                <a:t>The sender has to ensure that the recipient</a:t>
              </a:r>
            </a:p>
            <a:p>
              <a:pPr algn="ctr"/>
              <a:r>
                <a:rPr lang="en-US" sz="1600" noProof="1">
                  <a:solidFill>
                    <a:srgbClr val="000000"/>
                  </a:solidFill>
                </a:rPr>
                <a:t>can decode the message correctly.</a:t>
              </a:r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379745" y="4952406"/>
              <a:ext cx="44114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 Black" pitchFamily="34" charset="0"/>
                </a:rPr>
                <a:t>!</a:t>
              </a:r>
              <a:endParaRPr lang="en-US" sz="6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itchFamily="34" charset="0"/>
              </a:endParaRPr>
            </a:p>
          </p:txBody>
        </p:sp>
        <p:grpSp>
          <p:nvGrpSpPr>
            <p:cNvPr id="4" name="Gruppieren 342"/>
            <p:cNvGrpSpPr/>
            <p:nvPr/>
          </p:nvGrpSpPr>
          <p:grpSpPr bwMode="gray">
            <a:xfrm>
              <a:off x="390880" y="1903972"/>
              <a:ext cx="784800" cy="2179031"/>
              <a:chOff x="1612041" y="3053045"/>
              <a:chExt cx="879296" cy="2441400"/>
            </a:xfrm>
          </p:grpSpPr>
          <p:pic>
            <p:nvPicPr>
              <p:cNvPr id="34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1644114" y="5128133"/>
                <a:ext cx="781458" cy="366312"/>
              </a:xfrm>
              <a:prstGeom prst="rect">
                <a:avLst/>
              </a:prstGeom>
              <a:noFill/>
            </p:spPr>
          </p:pic>
          <p:grpSp>
            <p:nvGrpSpPr>
              <p:cNvPr id="5" name="Gruppieren 344"/>
              <p:cNvGrpSpPr/>
              <p:nvPr/>
            </p:nvGrpSpPr>
            <p:grpSpPr bwMode="gray">
              <a:xfrm>
                <a:off x="1612041" y="3053045"/>
                <a:ext cx="879296" cy="2383640"/>
                <a:chOff x="-13061950" y="-19913600"/>
                <a:chExt cx="7807325" cy="21164550"/>
              </a:xfrm>
            </p:grpSpPr>
            <p:sp>
              <p:nvSpPr>
                <p:cNvPr id="346" name="Freeform 7"/>
                <p:cNvSpPr>
                  <a:spLocks/>
                </p:cNvSpPr>
                <p:nvPr/>
              </p:nvSpPr>
              <p:spPr bwMode="gray">
                <a:xfrm>
                  <a:off x="-6859588" y="-14300200"/>
                  <a:ext cx="768350" cy="630238"/>
                </a:xfrm>
                <a:custGeom>
                  <a:avLst/>
                  <a:gdLst/>
                  <a:ahLst/>
                  <a:cxnLst>
                    <a:cxn ang="0">
                      <a:pos x="187" y="98"/>
                    </a:cxn>
                    <a:cxn ang="0">
                      <a:pos x="203" y="59"/>
                    </a:cxn>
                    <a:cxn ang="0">
                      <a:pos x="171" y="28"/>
                    </a:cxn>
                    <a:cxn ang="0">
                      <a:pos x="129" y="9"/>
                    </a:cxn>
                    <a:cxn ang="0">
                      <a:pos x="76" y="2"/>
                    </a:cxn>
                    <a:cxn ang="0">
                      <a:pos x="38" y="41"/>
                    </a:cxn>
                    <a:cxn ang="0">
                      <a:pos x="73" y="52"/>
                    </a:cxn>
                    <a:cxn ang="0">
                      <a:pos x="107" y="64"/>
                    </a:cxn>
                    <a:cxn ang="0">
                      <a:pos x="58" y="71"/>
                    </a:cxn>
                    <a:cxn ang="0">
                      <a:pos x="5" y="87"/>
                    </a:cxn>
                    <a:cxn ang="0">
                      <a:pos x="2" y="120"/>
                    </a:cxn>
                    <a:cxn ang="0">
                      <a:pos x="11" y="135"/>
                    </a:cxn>
                    <a:cxn ang="0">
                      <a:pos x="22" y="150"/>
                    </a:cxn>
                    <a:cxn ang="0">
                      <a:pos x="128" y="144"/>
                    </a:cxn>
                    <a:cxn ang="0">
                      <a:pos x="147" y="133"/>
                    </a:cxn>
                    <a:cxn ang="0">
                      <a:pos x="168" y="121"/>
                    </a:cxn>
                    <a:cxn ang="0">
                      <a:pos x="189" y="98"/>
                    </a:cxn>
                  </a:cxnLst>
                  <a:rect l="0" t="0" r="r" b="b"/>
                  <a:pathLst>
                    <a:path w="205" h="168">
                      <a:moveTo>
                        <a:pt x="187" y="98"/>
                      </a:moveTo>
                      <a:cubicBezTo>
                        <a:pt x="187" y="85"/>
                        <a:pt x="205" y="74"/>
                        <a:pt x="203" y="59"/>
                      </a:cubicBezTo>
                      <a:cubicBezTo>
                        <a:pt x="200" y="47"/>
                        <a:pt x="181" y="34"/>
                        <a:pt x="171" y="28"/>
                      </a:cubicBezTo>
                      <a:cubicBezTo>
                        <a:pt x="158" y="19"/>
                        <a:pt x="144" y="12"/>
                        <a:pt x="129" y="9"/>
                      </a:cubicBezTo>
                      <a:cubicBezTo>
                        <a:pt x="113" y="5"/>
                        <a:pt x="93" y="0"/>
                        <a:pt x="76" y="2"/>
                      </a:cubicBezTo>
                      <a:cubicBezTo>
                        <a:pt x="59" y="4"/>
                        <a:pt x="16" y="17"/>
                        <a:pt x="38" y="41"/>
                      </a:cubicBezTo>
                      <a:cubicBezTo>
                        <a:pt x="47" y="51"/>
                        <a:pt x="62" y="49"/>
                        <a:pt x="73" y="52"/>
                      </a:cubicBezTo>
                      <a:cubicBezTo>
                        <a:pt x="82" y="54"/>
                        <a:pt x="100" y="57"/>
                        <a:pt x="107" y="64"/>
                      </a:cubicBezTo>
                      <a:cubicBezTo>
                        <a:pt x="100" y="74"/>
                        <a:pt x="70" y="71"/>
                        <a:pt x="58" y="71"/>
                      </a:cubicBezTo>
                      <a:cubicBezTo>
                        <a:pt x="38" y="72"/>
                        <a:pt x="15" y="66"/>
                        <a:pt x="5" y="87"/>
                      </a:cubicBezTo>
                      <a:cubicBezTo>
                        <a:pt x="1" y="96"/>
                        <a:pt x="0" y="109"/>
                        <a:pt x="2" y="120"/>
                      </a:cubicBezTo>
                      <a:cubicBezTo>
                        <a:pt x="3" y="128"/>
                        <a:pt x="6" y="128"/>
                        <a:pt x="11" y="135"/>
                      </a:cubicBezTo>
                      <a:cubicBezTo>
                        <a:pt x="15" y="141"/>
                        <a:pt x="15" y="146"/>
                        <a:pt x="22" y="150"/>
                      </a:cubicBezTo>
                      <a:cubicBezTo>
                        <a:pt x="47" y="168"/>
                        <a:pt x="104" y="159"/>
                        <a:pt x="128" y="144"/>
                      </a:cubicBezTo>
                      <a:cubicBezTo>
                        <a:pt x="134" y="141"/>
                        <a:pt x="140" y="136"/>
                        <a:pt x="147" y="133"/>
                      </a:cubicBezTo>
                      <a:cubicBezTo>
                        <a:pt x="155" y="129"/>
                        <a:pt x="162" y="128"/>
                        <a:pt x="168" y="121"/>
                      </a:cubicBezTo>
                      <a:cubicBezTo>
                        <a:pt x="175" y="114"/>
                        <a:pt x="182" y="103"/>
                        <a:pt x="189" y="98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47" name="Freeform 8"/>
                <p:cNvSpPr>
                  <a:spLocks/>
                </p:cNvSpPr>
                <p:nvPr/>
              </p:nvSpPr>
              <p:spPr bwMode="gray">
                <a:xfrm>
                  <a:off x="-11168063" y="-739775"/>
                  <a:ext cx="2095500" cy="1990725"/>
                </a:xfrm>
                <a:custGeom>
                  <a:avLst/>
                  <a:gdLst/>
                  <a:ahLst/>
                  <a:cxnLst>
                    <a:cxn ang="0">
                      <a:pos x="18" y="77"/>
                    </a:cxn>
                    <a:cxn ang="0">
                      <a:pos x="11" y="248"/>
                    </a:cxn>
                    <a:cxn ang="0">
                      <a:pos x="102" y="359"/>
                    </a:cxn>
                    <a:cxn ang="0">
                      <a:pos x="242" y="485"/>
                    </a:cxn>
                    <a:cxn ang="0">
                      <a:pos x="413" y="531"/>
                    </a:cxn>
                    <a:cxn ang="0">
                      <a:pos x="538" y="470"/>
                    </a:cxn>
                    <a:cxn ang="0">
                      <a:pos x="471" y="316"/>
                    </a:cxn>
                    <a:cxn ang="0">
                      <a:pos x="309" y="68"/>
                    </a:cxn>
                    <a:cxn ang="0">
                      <a:pos x="145" y="3"/>
                    </a:cxn>
                    <a:cxn ang="0">
                      <a:pos x="18" y="77"/>
                    </a:cxn>
                  </a:cxnLst>
                  <a:rect l="0" t="0" r="r" b="b"/>
                  <a:pathLst>
                    <a:path w="559" h="531">
                      <a:moveTo>
                        <a:pt x="18" y="77"/>
                      </a:moveTo>
                      <a:cubicBezTo>
                        <a:pt x="18" y="123"/>
                        <a:pt x="0" y="211"/>
                        <a:pt x="11" y="248"/>
                      </a:cubicBezTo>
                      <a:cubicBezTo>
                        <a:pt x="26" y="302"/>
                        <a:pt x="109" y="296"/>
                        <a:pt x="102" y="359"/>
                      </a:cubicBezTo>
                      <a:cubicBezTo>
                        <a:pt x="157" y="390"/>
                        <a:pt x="189" y="454"/>
                        <a:pt x="242" y="485"/>
                      </a:cubicBezTo>
                      <a:cubicBezTo>
                        <a:pt x="289" y="513"/>
                        <a:pt x="360" y="531"/>
                        <a:pt x="413" y="531"/>
                      </a:cubicBezTo>
                      <a:cubicBezTo>
                        <a:pt x="457" y="531"/>
                        <a:pt x="521" y="515"/>
                        <a:pt x="538" y="470"/>
                      </a:cubicBezTo>
                      <a:cubicBezTo>
                        <a:pt x="559" y="413"/>
                        <a:pt x="499" y="359"/>
                        <a:pt x="471" y="316"/>
                      </a:cubicBezTo>
                      <a:cubicBezTo>
                        <a:pt x="418" y="234"/>
                        <a:pt x="374" y="134"/>
                        <a:pt x="309" y="68"/>
                      </a:cubicBezTo>
                      <a:cubicBezTo>
                        <a:pt x="269" y="29"/>
                        <a:pt x="203" y="0"/>
                        <a:pt x="145" y="3"/>
                      </a:cubicBezTo>
                      <a:cubicBezTo>
                        <a:pt x="78" y="7"/>
                        <a:pt x="64" y="37"/>
                        <a:pt x="18" y="77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48" name="Freeform 9"/>
                <p:cNvSpPr>
                  <a:spLocks/>
                </p:cNvSpPr>
                <p:nvPr/>
              </p:nvSpPr>
              <p:spPr bwMode="gray">
                <a:xfrm>
                  <a:off x="-10085388" y="-1509712"/>
                  <a:ext cx="2535238" cy="1876425"/>
                </a:xfrm>
                <a:custGeom>
                  <a:avLst/>
                  <a:gdLst/>
                  <a:ahLst/>
                  <a:cxnLst>
                    <a:cxn ang="0">
                      <a:pos x="27" y="245"/>
                    </a:cxn>
                    <a:cxn ang="0">
                      <a:pos x="193" y="347"/>
                    </a:cxn>
                    <a:cxn ang="0">
                      <a:pos x="319" y="452"/>
                    </a:cxn>
                    <a:cxn ang="0">
                      <a:pos x="666" y="430"/>
                    </a:cxn>
                    <a:cxn ang="0">
                      <a:pos x="503" y="275"/>
                    </a:cxn>
                    <a:cxn ang="0">
                      <a:pos x="413" y="225"/>
                    </a:cxn>
                    <a:cxn ang="0">
                      <a:pos x="338" y="113"/>
                    </a:cxn>
                    <a:cxn ang="0">
                      <a:pos x="137" y="43"/>
                    </a:cxn>
                    <a:cxn ang="0">
                      <a:pos x="42" y="245"/>
                    </a:cxn>
                  </a:cxnLst>
                  <a:rect l="0" t="0" r="r" b="b"/>
                  <a:pathLst>
                    <a:path w="676" h="500">
                      <a:moveTo>
                        <a:pt x="27" y="245"/>
                      </a:moveTo>
                      <a:cubicBezTo>
                        <a:pt x="72" y="298"/>
                        <a:pt x="140" y="309"/>
                        <a:pt x="193" y="347"/>
                      </a:cubicBezTo>
                      <a:cubicBezTo>
                        <a:pt x="238" y="381"/>
                        <a:pt x="268" y="426"/>
                        <a:pt x="319" y="452"/>
                      </a:cubicBezTo>
                      <a:cubicBezTo>
                        <a:pt x="417" y="500"/>
                        <a:pt x="579" y="491"/>
                        <a:pt x="666" y="430"/>
                      </a:cubicBezTo>
                      <a:cubicBezTo>
                        <a:pt x="676" y="377"/>
                        <a:pt x="547" y="304"/>
                        <a:pt x="503" y="275"/>
                      </a:cubicBezTo>
                      <a:cubicBezTo>
                        <a:pt x="476" y="257"/>
                        <a:pt x="437" y="246"/>
                        <a:pt x="413" y="225"/>
                      </a:cubicBezTo>
                      <a:cubicBezTo>
                        <a:pt x="379" y="196"/>
                        <a:pt x="363" y="152"/>
                        <a:pt x="338" y="113"/>
                      </a:cubicBezTo>
                      <a:cubicBezTo>
                        <a:pt x="283" y="31"/>
                        <a:pt x="229" y="0"/>
                        <a:pt x="137" y="43"/>
                      </a:cubicBezTo>
                      <a:cubicBezTo>
                        <a:pt x="60" y="79"/>
                        <a:pt x="0" y="162"/>
                        <a:pt x="42" y="245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49" name="Freeform 10"/>
                <p:cNvSpPr>
                  <a:spLocks/>
                </p:cNvSpPr>
                <p:nvPr/>
              </p:nvSpPr>
              <p:spPr bwMode="gray">
                <a:xfrm>
                  <a:off x="-8243888" y="-11663362"/>
                  <a:ext cx="1343025" cy="3681413"/>
                </a:xfrm>
                <a:custGeom>
                  <a:avLst/>
                  <a:gdLst/>
                  <a:ahLst/>
                  <a:cxnLst>
                    <a:cxn ang="0">
                      <a:pos x="0" y="147"/>
                    </a:cxn>
                    <a:cxn ang="0">
                      <a:pos x="169" y="465"/>
                    </a:cxn>
                    <a:cxn ang="0">
                      <a:pos x="156" y="656"/>
                    </a:cxn>
                    <a:cxn ang="0">
                      <a:pos x="207" y="753"/>
                    </a:cxn>
                    <a:cxn ang="0">
                      <a:pos x="150" y="811"/>
                    </a:cxn>
                    <a:cxn ang="0">
                      <a:pos x="202" y="810"/>
                    </a:cxn>
                    <a:cxn ang="0">
                      <a:pos x="100" y="860"/>
                    </a:cxn>
                    <a:cxn ang="0">
                      <a:pos x="168" y="864"/>
                    </a:cxn>
                    <a:cxn ang="0">
                      <a:pos x="130" y="929"/>
                    </a:cxn>
                    <a:cxn ang="0">
                      <a:pos x="237" y="903"/>
                    </a:cxn>
                    <a:cxn ang="0">
                      <a:pos x="220" y="969"/>
                    </a:cxn>
                    <a:cxn ang="0">
                      <a:pos x="256" y="969"/>
                    </a:cxn>
                    <a:cxn ang="0">
                      <a:pos x="348" y="713"/>
                    </a:cxn>
                    <a:cxn ang="0">
                      <a:pos x="320" y="581"/>
                    </a:cxn>
                    <a:cxn ang="0">
                      <a:pos x="288" y="423"/>
                    </a:cxn>
                    <a:cxn ang="0">
                      <a:pos x="211" y="128"/>
                    </a:cxn>
                    <a:cxn ang="0">
                      <a:pos x="0" y="147"/>
                    </a:cxn>
                  </a:cxnLst>
                  <a:rect l="0" t="0" r="r" b="b"/>
                  <a:pathLst>
                    <a:path w="358" h="982">
                      <a:moveTo>
                        <a:pt x="0" y="147"/>
                      </a:moveTo>
                      <a:cubicBezTo>
                        <a:pt x="61" y="230"/>
                        <a:pt x="164" y="358"/>
                        <a:pt x="169" y="465"/>
                      </a:cubicBezTo>
                      <a:cubicBezTo>
                        <a:pt x="172" y="534"/>
                        <a:pt x="135" y="587"/>
                        <a:pt x="156" y="656"/>
                      </a:cubicBezTo>
                      <a:cubicBezTo>
                        <a:pt x="168" y="694"/>
                        <a:pt x="209" y="705"/>
                        <a:pt x="207" y="753"/>
                      </a:cubicBezTo>
                      <a:cubicBezTo>
                        <a:pt x="207" y="758"/>
                        <a:pt x="126" y="789"/>
                        <a:pt x="150" y="811"/>
                      </a:cubicBezTo>
                      <a:cubicBezTo>
                        <a:pt x="163" y="812"/>
                        <a:pt x="190" y="809"/>
                        <a:pt x="202" y="810"/>
                      </a:cubicBezTo>
                      <a:cubicBezTo>
                        <a:pt x="176" y="818"/>
                        <a:pt x="87" y="842"/>
                        <a:pt x="100" y="860"/>
                      </a:cubicBezTo>
                      <a:cubicBezTo>
                        <a:pt x="106" y="878"/>
                        <a:pt x="147" y="865"/>
                        <a:pt x="168" y="864"/>
                      </a:cubicBezTo>
                      <a:cubicBezTo>
                        <a:pt x="275" y="837"/>
                        <a:pt x="120" y="908"/>
                        <a:pt x="130" y="929"/>
                      </a:cubicBezTo>
                      <a:cubicBezTo>
                        <a:pt x="174" y="953"/>
                        <a:pt x="247" y="873"/>
                        <a:pt x="237" y="903"/>
                      </a:cubicBezTo>
                      <a:cubicBezTo>
                        <a:pt x="247" y="930"/>
                        <a:pt x="214" y="951"/>
                        <a:pt x="220" y="969"/>
                      </a:cubicBezTo>
                      <a:cubicBezTo>
                        <a:pt x="231" y="978"/>
                        <a:pt x="239" y="982"/>
                        <a:pt x="256" y="969"/>
                      </a:cubicBezTo>
                      <a:cubicBezTo>
                        <a:pt x="299" y="880"/>
                        <a:pt x="358" y="829"/>
                        <a:pt x="348" y="713"/>
                      </a:cubicBezTo>
                      <a:cubicBezTo>
                        <a:pt x="343" y="661"/>
                        <a:pt x="338" y="628"/>
                        <a:pt x="320" y="581"/>
                      </a:cubicBezTo>
                      <a:cubicBezTo>
                        <a:pt x="295" y="517"/>
                        <a:pt x="297" y="491"/>
                        <a:pt x="288" y="423"/>
                      </a:cubicBezTo>
                      <a:cubicBezTo>
                        <a:pt x="276" y="333"/>
                        <a:pt x="240" y="214"/>
                        <a:pt x="211" y="128"/>
                      </a:cubicBezTo>
                      <a:cubicBezTo>
                        <a:pt x="169" y="0"/>
                        <a:pt x="49" y="31"/>
                        <a:pt x="0" y="14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0" name="Freeform 11"/>
                <p:cNvSpPr>
                  <a:spLocks/>
                </p:cNvSpPr>
                <p:nvPr/>
              </p:nvSpPr>
              <p:spPr bwMode="gray">
                <a:xfrm>
                  <a:off x="-11974513" y="-11715750"/>
                  <a:ext cx="4462463" cy="11758613"/>
                </a:xfrm>
                <a:custGeom>
                  <a:avLst/>
                  <a:gdLst/>
                  <a:ahLst/>
                  <a:cxnLst>
                    <a:cxn ang="0">
                      <a:pos x="100" y="333"/>
                    </a:cxn>
                    <a:cxn ang="0">
                      <a:pos x="55" y="459"/>
                    </a:cxn>
                    <a:cxn ang="0">
                      <a:pos x="55" y="630"/>
                    </a:cxn>
                    <a:cxn ang="0">
                      <a:pos x="3" y="757"/>
                    </a:cxn>
                    <a:cxn ang="0">
                      <a:pos x="10" y="921"/>
                    </a:cxn>
                    <a:cxn ang="0">
                      <a:pos x="62" y="1062"/>
                    </a:cxn>
                    <a:cxn ang="0">
                      <a:pos x="84" y="1256"/>
                    </a:cxn>
                    <a:cxn ang="0">
                      <a:pos x="92" y="1434"/>
                    </a:cxn>
                    <a:cxn ang="0">
                      <a:pos x="99" y="1495"/>
                    </a:cxn>
                    <a:cxn ang="0">
                      <a:pos x="135" y="1567"/>
                    </a:cxn>
                    <a:cxn ang="0">
                      <a:pos x="113" y="1849"/>
                    </a:cxn>
                    <a:cxn ang="0">
                      <a:pos x="85" y="2226"/>
                    </a:cxn>
                    <a:cxn ang="0">
                      <a:pos x="123" y="2646"/>
                    </a:cxn>
                    <a:cxn ang="0">
                      <a:pos x="143" y="2648"/>
                    </a:cxn>
                    <a:cxn ang="0">
                      <a:pos x="232" y="3005"/>
                    </a:cxn>
                    <a:cxn ang="0">
                      <a:pos x="516" y="3064"/>
                    </a:cxn>
                    <a:cxn ang="0">
                      <a:pos x="575" y="3026"/>
                    </a:cxn>
                    <a:cxn ang="0">
                      <a:pos x="583" y="2937"/>
                    </a:cxn>
                    <a:cxn ang="0">
                      <a:pos x="577" y="2750"/>
                    </a:cxn>
                    <a:cxn ang="0">
                      <a:pos x="457" y="2424"/>
                    </a:cxn>
                    <a:cxn ang="0">
                      <a:pos x="503" y="2194"/>
                    </a:cxn>
                    <a:cxn ang="0">
                      <a:pos x="537" y="1968"/>
                    </a:cxn>
                    <a:cxn ang="0">
                      <a:pos x="600" y="1466"/>
                    </a:cxn>
                    <a:cxn ang="0">
                      <a:pos x="673" y="1613"/>
                    </a:cxn>
                    <a:cxn ang="0">
                      <a:pos x="658" y="1806"/>
                    </a:cxn>
                    <a:cxn ang="0">
                      <a:pos x="686" y="1946"/>
                    </a:cxn>
                    <a:cxn ang="0">
                      <a:pos x="620" y="2079"/>
                    </a:cxn>
                    <a:cxn ang="0">
                      <a:pos x="566" y="2416"/>
                    </a:cxn>
                    <a:cxn ang="0">
                      <a:pos x="509" y="2573"/>
                    </a:cxn>
                    <a:cxn ang="0">
                      <a:pos x="576" y="2729"/>
                    </a:cxn>
                    <a:cxn ang="0">
                      <a:pos x="605" y="2900"/>
                    </a:cxn>
                    <a:cxn ang="0">
                      <a:pos x="757" y="2872"/>
                    </a:cxn>
                    <a:cxn ang="0">
                      <a:pos x="946" y="2638"/>
                    </a:cxn>
                    <a:cxn ang="0">
                      <a:pos x="963" y="2455"/>
                    </a:cxn>
                    <a:cxn ang="0">
                      <a:pos x="1021" y="2297"/>
                    </a:cxn>
                    <a:cxn ang="0">
                      <a:pos x="1089" y="1910"/>
                    </a:cxn>
                    <a:cxn ang="0">
                      <a:pos x="1097" y="1709"/>
                    </a:cxn>
                    <a:cxn ang="0">
                      <a:pos x="1134" y="1560"/>
                    </a:cxn>
                    <a:cxn ang="0">
                      <a:pos x="1106" y="1367"/>
                    </a:cxn>
                    <a:cxn ang="0">
                      <a:pos x="1164" y="1218"/>
                    </a:cxn>
                    <a:cxn ang="0">
                      <a:pos x="1110" y="876"/>
                    </a:cxn>
                    <a:cxn ang="0">
                      <a:pos x="1054" y="532"/>
                    </a:cxn>
                    <a:cxn ang="0">
                      <a:pos x="733" y="72"/>
                    </a:cxn>
                    <a:cxn ang="0">
                      <a:pos x="191" y="96"/>
                    </a:cxn>
                    <a:cxn ang="0">
                      <a:pos x="85" y="347"/>
                    </a:cxn>
                  </a:cxnLst>
                  <a:rect l="0" t="0" r="r" b="b"/>
                  <a:pathLst>
                    <a:path w="1190" h="3136">
                      <a:moveTo>
                        <a:pt x="100" y="333"/>
                      </a:moveTo>
                      <a:cubicBezTo>
                        <a:pt x="85" y="375"/>
                        <a:pt x="62" y="412"/>
                        <a:pt x="55" y="459"/>
                      </a:cubicBezTo>
                      <a:cubicBezTo>
                        <a:pt x="47" y="516"/>
                        <a:pt x="72" y="584"/>
                        <a:pt x="55" y="630"/>
                      </a:cubicBezTo>
                      <a:cubicBezTo>
                        <a:pt x="34" y="685"/>
                        <a:pt x="2" y="682"/>
                        <a:pt x="3" y="757"/>
                      </a:cubicBezTo>
                      <a:cubicBezTo>
                        <a:pt x="3" y="800"/>
                        <a:pt x="0" y="876"/>
                        <a:pt x="10" y="921"/>
                      </a:cubicBezTo>
                      <a:cubicBezTo>
                        <a:pt x="21" y="970"/>
                        <a:pt x="53" y="1010"/>
                        <a:pt x="62" y="1062"/>
                      </a:cubicBezTo>
                      <a:cubicBezTo>
                        <a:pt x="73" y="1126"/>
                        <a:pt x="77" y="1191"/>
                        <a:pt x="84" y="1256"/>
                      </a:cubicBezTo>
                      <a:cubicBezTo>
                        <a:pt x="91" y="1314"/>
                        <a:pt x="87" y="1375"/>
                        <a:pt x="92" y="1434"/>
                      </a:cubicBezTo>
                      <a:cubicBezTo>
                        <a:pt x="95" y="1458"/>
                        <a:pt x="91" y="1471"/>
                        <a:pt x="99" y="1495"/>
                      </a:cubicBezTo>
                      <a:cubicBezTo>
                        <a:pt x="110" y="1528"/>
                        <a:pt x="143" y="1522"/>
                        <a:pt x="135" y="1567"/>
                      </a:cubicBezTo>
                      <a:cubicBezTo>
                        <a:pt x="27" y="1602"/>
                        <a:pt x="125" y="1778"/>
                        <a:pt x="113" y="1849"/>
                      </a:cubicBezTo>
                      <a:cubicBezTo>
                        <a:pt x="29" y="1904"/>
                        <a:pt x="57" y="2138"/>
                        <a:pt x="85" y="2226"/>
                      </a:cubicBezTo>
                      <a:cubicBezTo>
                        <a:pt x="127" y="2361"/>
                        <a:pt x="101" y="2507"/>
                        <a:pt x="123" y="2646"/>
                      </a:cubicBezTo>
                      <a:cubicBezTo>
                        <a:pt x="130" y="2648"/>
                        <a:pt x="136" y="2645"/>
                        <a:pt x="143" y="2648"/>
                      </a:cubicBezTo>
                      <a:cubicBezTo>
                        <a:pt x="188" y="2762"/>
                        <a:pt x="180" y="2896"/>
                        <a:pt x="232" y="3005"/>
                      </a:cubicBezTo>
                      <a:cubicBezTo>
                        <a:pt x="295" y="3136"/>
                        <a:pt x="406" y="3101"/>
                        <a:pt x="516" y="3064"/>
                      </a:cubicBezTo>
                      <a:cubicBezTo>
                        <a:pt x="565" y="3047"/>
                        <a:pt x="552" y="3075"/>
                        <a:pt x="575" y="3026"/>
                      </a:cubicBezTo>
                      <a:cubicBezTo>
                        <a:pt x="588" y="3000"/>
                        <a:pt x="583" y="2967"/>
                        <a:pt x="583" y="2937"/>
                      </a:cubicBezTo>
                      <a:cubicBezTo>
                        <a:pt x="583" y="2875"/>
                        <a:pt x="586" y="2808"/>
                        <a:pt x="577" y="2750"/>
                      </a:cubicBezTo>
                      <a:cubicBezTo>
                        <a:pt x="559" y="2628"/>
                        <a:pt x="462" y="2553"/>
                        <a:pt x="457" y="2424"/>
                      </a:cubicBezTo>
                      <a:cubicBezTo>
                        <a:pt x="453" y="2338"/>
                        <a:pt x="478" y="2274"/>
                        <a:pt x="503" y="2194"/>
                      </a:cubicBezTo>
                      <a:cubicBezTo>
                        <a:pt x="525" y="2124"/>
                        <a:pt x="528" y="2045"/>
                        <a:pt x="537" y="1968"/>
                      </a:cubicBezTo>
                      <a:cubicBezTo>
                        <a:pt x="555" y="1813"/>
                        <a:pt x="612" y="1625"/>
                        <a:pt x="600" y="1466"/>
                      </a:cubicBezTo>
                      <a:cubicBezTo>
                        <a:pt x="634" y="1513"/>
                        <a:pt x="665" y="1553"/>
                        <a:pt x="673" y="1613"/>
                      </a:cubicBezTo>
                      <a:cubicBezTo>
                        <a:pt x="682" y="1678"/>
                        <a:pt x="646" y="1746"/>
                        <a:pt x="658" y="1806"/>
                      </a:cubicBezTo>
                      <a:cubicBezTo>
                        <a:pt x="669" y="1865"/>
                        <a:pt x="717" y="1878"/>
                        <a:pt x="686" y="1946"/>
                      </a:cubicBezTo>
                      <a:cubicBezTo>
                        <a:pt x="665" y="1992"/>
                        <a:pt x="623" y="2014"/>
                        <a:pt x="620" y="2079"/>
                      </a:cubicBezTo>
                      <a:cubicBezTo>
                        <a:pt x="613" y="2215"/>
                        <a:pt x="623" y="2296"/>
                        <a:pt x="566" y="2416"/>
                      </a:cubicBezTo>
                      <a:cubicBezTo>
                        <a:pt x="551" y="2450"/>
                        <a:pt x="506" y="2539"/>
                        <a:pt x="509" y="2573"/>
                      </a:cubicBezTo>
                      <a:cubicBezTo>
                        <a:pt x="512" y="2620"/>
                        <a:pt x="564" y="2678"/>
                        <a:pt x="576" y="2729"/>
                      </a:cubicBezTo>
                      <a:cubicBezTo>
                        <a:pt x="587" y="2774"/>
                        <a:pt x="581" y="2863"/>
                        <a:pt x="605" y="2900"/>
                      </a:cubicBezTo>
                      <a:cubicBezTo>
                        <a:pt x="647" y="2964"/>
                        <a:pt x="712" y="2911"/>
                        <a:pt x="757" y="2872"/>
                      </a:cubicBezTo>
                      <a:cubicBezTo>
                        <a:pt x="819" y="2818"/>
                        <a:pt x="917" y="2712"/>
                        <a:pt x="946" y="2638"/>
                      </a:cubicBezTo>
                      <a:cubicBezTo>
                        <a:pt x="968" y="2580"/>
                        <a:pt x="951" y="2519"/>
                        <a:pt x="963" y="2455"/>
                      </a:cubicBezTo>
                      <a:cubicBezTo>
                        <a:pt x="973" y="2401"/>
                        <a:pt x="1001" y="2349"/>
                        <a:pt x="1021" y="2297"/>
                      </a:cubicBezTo>
                      <a:cubicBezTo>
                        <a:pt x="1064" y="2182"/>
                        <a:pt x="1090" y="2042"/>
                        <a:pt x="1089" y="1910"/>
                      </a:cubicBezTo>
                      <a:cubicBezTo>
                        <a:pt x="1089" y="1844"/>
                        <a:pt x="1083" y="1773"/>
                        <a:pt x="1097" y="1709"/>
                      </a:cubicBezTo>
                      <a:cubicBezTo>
                        <a:pt x="1108" y="1656"/>
                        <a:pt x="1133" y="1619"/>
                        <a:pt x="1134" y="1560"/>
                      </a:cubicBezTo>
                      <a:cubicBezTo>
                        <a:pt x="1135" y="1498"/>
                        <a:pt x="1100" y="1423"/>
                        <a:pt x="1106" y="1367"/>
                      </a:cubicBezTo>
                      <a:cubicBezTo>
                        <a:pt x="1111" y="1317"/>
                        <a:pt x="1153" y="1273"/>
                        <a:pt x="1164" y="1218"/>
                      </a:cubicBezTo>
                      <a:cubicBezTo>
                        <a:pt x="1190" y="1087"/>
                        <a:pt x="1134" y="999"/>
                        <a:pt x="1110" y="876"/>
                      </a:cubicBezTo>
                      <a:cubicBezTo>
                        <a:pt x="1089" y="765"/>
                        <a:pt x="1094" y="637"/>
                        <a:pt x="1054" y="532"/>
                      </a:cubicBezTo>
                      <a:cubicBezTo>
                        <a:pt x="985" y="349"/>
                        <a:pt x="954" y="140"/>
                        <a:pt x="733" y="72"/>
                      </a:cubicBezTo>
                      <a:cubicBezTo>
                        <a:pt x="605" y="33"/>
                        <a:pt x="290" y="0"/>
                        <a:pt x="191" y="96"/>
                      </a:cubicBezTo>
                      <a:cubicBezTo>
                        <a:pt x="143" y="144"/>
                        <a:pt x="95" y="280"/>
                        <a:pt x="85" y="347"/>
                      </a:cubicBezTo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1" name="Freeform 12"/>
                <p:cNvSpPr>
                  <a:spLocks/>
                </p:cNvSpPr>
                <p:nvPr/>
              </p:nvSpPr>
              <p:spPr bwMode="gray">
                <a:xfrm>
                  <a:off x="-10628313" y="-3938587"/>
                  <a:ext cx="495300" cy="1957388"/>
                </a:xfrm>
                <a:custGeom>
                  <a:avLst/>
                  <a:gdLst/>
                  <a:ahLst/>
                  <a:cxnLst>
                    <a:cxn ang="0">
                      <a:pos x="131" y="0"/>
                    </a:cxn>
                    <a:cxn ang="0">
                      <a:pos x="101" y="118"/>
                    </a:cxn>
                    <a:cxn ang="0">
                      <a:pos x="76" y="257"/>
                    </a:cxn>
                    <a:cxn ang="0">
                      <a:pos x="31" y="522"/>
                    </a:cxn>
                    <a:cxn ang="0">
                      <a:pos x="106" y="273"/>
                    </a:cxn>
                    <a:cxn ang="0">
                      <a:pos x="120" y="130"/>
                    </a:cxn>
                    <a:cxn ang="0">
                      <a:pos x="128" y="4"/>
                    </a:cxn>
                  </a:cxnLst>
                  <a:rect l="0" t="0" r="r" b="b"/>
                  <a:pathLst>
                    <a:path w="132" h="522">
                      <a:moveTo>
                        <a:pt x="131" y="0"/>
                      </a:moveTo>
                      <a:cubicBezTo>
                        <a:pt x="130" y="44"/>
                        <a:pt x="109" y="77"/>
                        <a:pt x="101" y="118"/>
                      </a:cubicBezTo>
                      <a:cubicBezTo>
                        <a:pt x="91" y="164"/>
                        <a:pt x="90" y="210"/>
                        <a:pt x="76" y="257"/>
                      </a:cubicBezTo>
                      <a:cubicBezTo>
                        <a:pt x="55" y="331"/>
                        <a:pt x="0" y="446"/>
                        <a:pt x="31" y="522"/>
                      </a:cubicBezTo>
                      <a:cubicBezTo>
                        <a:pt x="55" y="439"/>
                        <a:pt x="81" y="357"/>
                        <a:pt x="106" y="273"/>
                      </a:cubicBezTo>
                      <a:cubicBezTo>
                        <a:pt x="119" y="229"/>
                        <a:pt x="109" y="176"/>
                        <a:pt x="120" y="130"/>
                      </a:cubicBezTo>
                      <a:cubicBezTo>
                        <a:pt x="131" y="84"/>
                        <a:pt x="132" y="51"/>
                        <a:pt x="128" y="4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2" name="Freeform 13"/>
                <p:cNvSpPr>
                  <a:spLocks/>
                </p:cNvSpPr>
                <p:nvPr/>
              </p:nvSpPr>
              <p:spPr bwMode="gray">
                <a:xfrm>
                  <a:off x="-8558213" y="-9991725"/>
                  <a:ext cx="498475" cy="1335088"/>
                </a:xfrm>
                <a:custGeom>
                  <a:avLst/>
                  <a:gdLst/>
                  <a:ahLst/>
                  <a:cxnLst>
                    <a:cxn ang="0">
                      <a:pos x="59" y="88"/>
                    </a:cxn>
                    <a:cxn ang="0">
                      <a:pos x="19" y="170"/>
                    </a:cxn>
                    <a:cxn ang="0">
                      <a:pos x="14" y="214"/>
                    </a:cxn>
                    <a:cxn ang="0">
                      <a:pos x="0" y="266"/>
                    </a:cxn>
                    <a:cxn ang="0">
                      <a:pos x="63" y="241"/>
                    </a:cxn>
                    <a:cxn ang="0">
                      <a:pos x="11" y="356"/>
                    </a:cxn>
                    <a:cxn ang="0">
                      <a:pos x="88" y="266"/>
                    </a:cxn>
                    <a:cxn ang="0">
                      <a:pos x="130" y="164"/>
                    </a:cxn>
                    <a:cxn ang="0">
                      <a:pos x="111" y="107"/>
                    </a:cxn>
                    <a:cxn ang="0">
                      <a:pos x="103" y="51"/>
                    </a:cxn>
                    <a:cxn ang="0">
                      <a:pos x="56" y="92"/>
                    </a:cxn>
                  </a:cxnLst>
                  <a:rect l="0" t="0" r="r" b="b"/>
                  <a:pathLst>
                    <a:path w="133" h="356">
                      <a:moveTo>
                        <a:pt x="59" y="88"/>
                      </a:moveTo>
                      <a:cubicBezTo>
                        <a:pt x="57" y="127"/>
                        <a:pt x="26" y="137"/>
                        <a:pt x="19" y="170"/>
                      </a:cubicBezTo>
                      <a:cubicBezTo>
                        <a:pt x="17" y="182"/>
                        <a:pt x="19" y="198"/>
                        <a:pt x="14" y="214"/>
                      </a:cubicBezTo>
                      <a:cubicBezTo>
                        <a:pt x="8" y="232"/>
                        <a:pt x="3" y="247"/>
                        <a:pt x="0" y="266"/>
                      </a:cubicBezTo>
                      <a:cubicBezTo>
                        <a:pt x="13" y="240"/>
                        <a:pt x="66" y="168"/>
                        <a:pt x="63" y="241"/>
                      </a:cubicBezTo>
                      <a:cubicBezTo>
                        <a:pt x="61" y="280"/>
                        <a:pt x="24" y="319"/>
                        <a:pt x="11" y="356"/>
                      </a:cubicBezTo>
                      <a:cubicBezTo>
                        <a:pt x="47" y="344"/>
                        <a:pt x="71" y="296"/>
                        <a:pt x="88" y="266"/>
                      </a:cubicBezTo>
                      <a:cubicBezTo>
                        <a:pt x="107" y="235"/>
                        <a:pt x="133" y="202"/>
                        <a:pt x="130" y="164"/>
                      </a:cubicBezTo>
                      <a:cubicBezTo>
                        <a:pt x="128" y="142"/>
                        <a:pt x="116" y="127"/>
                        <a:pt x="111" y="107"/>
                      </a:cubicBezTo>
                      <a:cubicBezTo>
                        <a:pt x="106" y="87"/>
                        <a:pt x="114" y="70"/>
                        <a:pt x="103" y="51"/>
                      </a:cubicBezTo>
                      <a:cubicBezTo>
                        <a:pt x="71" y="0"/>
                        <a:pt x="64" y="64"/>
                        <a:pt x="56" y="92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3" name="Freeform 14"/>
                <p:cNvSpPr>
                  <a:spLocks/>
                </p:cNvSpPr>
                <p:nvPr/>
              </p:nvSpPr>
              <p:spPr bwMode="gray">
                <a:xfrm>
                  <a:off x="-11685588" y="-8664575"/>
                  <a:ext cx="454025" cy="698500"/>
                </a:xfrm>
                <a:custGeom>
                  <a:avLst/>
                  <a:gdLst/>
                  <a:ahLst/>
                  <a:cxnLst>
                    <a:cxn ang="0">
                      <a:pos x="15" y="166"/>
                    </a:cxn>
                    <a:cxn ang="0">
                      <a:pos x="118" y="38"/>
                    </a:cxn>
                    <a:cxn ang="0">
                      <a:pos x="0" y="186"/>
                    </a:cxn>
                  </a:cxnLst>
                  <a:rect l="0" t="0" r="r" b="b"/>
                  <a:pathLst>
                    <a:path w="121" h="186">
                      <a:moveTo>
                        <a:pt x="15" y="166"/>
                      </a:moveTo>
                      <a:cubicBezTo>
                        <a:pt x="54" y="156"/>
                        <a:pt x="121" y="78"/>
                        <a:pt x="118" y="38"/>
                      </a:cubicBezTo>
                      <a:cubicBezTo>
                        <a:pt x="49" y="0"/>
                        <a:pt x="40" y="154"/>
                        <a:pt x="0" y="186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4" name="Freeform 15"/>
                <p:cNvSpPr>
                  <a:spLocks/>
                </p:cNvSpPr>
                <p:nvPr/>
              </p:nvSpPr>
              <p:spPr bwMode="gray">
                <a:xfrm>
                  <a:off x="-11531600" y="-5735637"/>
                  <a:ext cx="782638" cy="979488"/>
                </a:xfrm>
                <a:custGeom>
                  <a:avLst/>
                  <a:gdLst/>
                  <a:ahLst/>
                  <a:cxnLst>
                    <a:cxn ang="0">
                      <a:pos x="20" y="247"/>
                    </a:cxn>
                    <a:cxn ang="0">
                      <a:pos x="118" y="147"/>
                    </a:cxn>
                    <a:cxn ang="0">
                      <a:pos x="209" y="0"/>
                    </a:cxn>
                    <a:cxn ang="0">
                      <a:pos x="0" y="261"/>
                    </a:cxn>
                  </a:cxnLst>
                  <a:rect l="0" t="0" r="r" b="b"/>
                  <a:pathLst>
                    <a:path w="209" h="261">
                      <a:moveTo>
                        <a:pt x="20" y="247"/>
                      </a:moveTo>
                      <a:cubicBezTo>
                        <a:pt x="72" y="229"/>
                        <a:pt x="80" y="176"/>
                        <a:pt x="118" y="147"/>
                      </a:cubicBezTo>
                      <a:cubicBezTo>
                        <a:pt x="141" y="93"/>
                        <a:pt x="181" y="53"/>
                        <a:pt x="209" y="0"/>
                      </a:cubicBezTo>
                      <a:cubicBezTo>
                        <a:pt x="119" y="79"/>
                        <a:pt x="83" y="186"/>
                        <a:pt x="0" y="261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5" name="Freeform 16"/>
                <p:cNvSpPr>
                  <a:spLocks/>
                </p:cNvSpPr>
                <p:nvPr/>
              </p:nvSpPr>
              <p:spPr bwMode="gray">
                <a:xfrm>
                  <a:off x="-9398000" y="-9934575"/>
                  <a:ext cx="708025" cy="682625"/>
                </a:xfrm>
                <a:custGeom>
                  <a:avLst/>
                  <a:gdLst/>
                  <a:ahLst/>
                  <a:cxnLst>
                    <a:cxn ang="0">
                      <a:pos x="35" y="158"/>
                    </a:cxn>
                    <a:cxn ang="0">
                      <a:pos x="148" y="122"/>
                    </a:cxn>
                    <a:cxn ang="0">
                      <a:pos x="106" y="30"/>
                    </a:cxn>
                    <a:cxn ang="0">
                      <a:pos x="1" y="58"/>
                    </a:cxn>
                    <a:cxn ang="0">
                      <a:pos x="1" y="34"/>
                    </a:cxn>
                    <a:cxn ang="0">
                      <a:pos x="168" y="0"/>
                    </a:cxn>
                    <a:cxn ang="0">
                      <a:pos x="183" y="142"/>
                    </a:cxn>
                    <a:cxn ang="0">
                      <a:pos x="25" y="182"/>
                    </a:cxn>
                    <a:cxn ang="0">
                      <a:pos x="16" y="159"/>
                    </a:cxn>
                    <a:cxn ang="0">
                      <a:pos x="35" y="158"/>
                    </a:cxn>
                  </a:cxnLst>
                  <a:rect l="0" t="0" r="r" b="b"/>
                  <a:pathLst>
                    <a:path w="189" h="182">
                      <a:moveTo>
                        <a:pt x="35" y="158"/>
                      </a:moveTo>
                      <a:cubicBezTo>
                        <a:pt x="61" y="160"/>
                        <a:pt x="133" y="144"/>
                        <a:pt x="148" y="122"/>
                      </a:cubicBezTo>
                      <a:cubicBezTo>
                        <a:pt x="171" y="90"/>
                        <a:pt x="159" y="2"/>
                        <a:pt x="106" y="30"/>
                      </a:cubicBezTo>
                      <a:cubicBezTo>
                        <a:pt x="88" y="60"/>
                        <a:pt x="35" y="61"/>
                        <a:pt x="1" y="58"/>
                      </a:cubicBezTo>
                      <a:cubicBezTo>
                        <a:pt x="0" y="50"/>
                        <a:pt x="0" y="42"/>
                        <a:pt x="1" y="34"/>
                      </a:cubicBezTo>
                      <a:cubicBezTo>
                        <a:pt x="57" y="25"/>
                        <a:pt x="113" y="8"/>
                        <a:pt x="168" y="0"/>
                      </a:cubicBezTo>
                      <a:cubicBezTo>
                        <a:pt x="189" y="43"/>
                        <a:pt x="186" y="94"/>
                        <a:pt x="183" y="142"/>
                      </a:cubicBezTo>
                      <a:cubicBezTo>
                        <a:pt x="133" y="165"/>
                        <a:pt x="76" y="164"/>
                        <a:pt x="25" y="182"/>
                      </a:cubicBezTo>
                      <a:cubicBezTo>
                        <a:pt x="20" y="175"/>
                        <a:pt x="17" y="166"/>
                        <a:pt x="16" y="159"/>
                      </a:cubicBezTo>
                      <a:cubicBezTo>
                        <a:pt x="22" y="157"/>
                        <a:pt x="29" y="158"/>
                        <a:pt x="35" y="15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6" name="Freeform 17"/>
                <p:cNvSpPr>
                  <a:spLocks/>
                </p:cNvSpPr>
                <p:nvPr/>
              </p:nvSpPr>
              <p:spPr bwMode="gray">
                <a:xfrm>
                  <a:off x="-11566525" y="-16860837"/>
                  <a:ext cx="1827213" cy="1319213"/>
                </a:xfrm>
                <a:custGeom>
                  <a:avLst/>
                  <a:gdLst/>
                  <a:ahLst/>
                  <a:cxnLst>
                    <a:cxn ang="0">
                      <a:pos x="3" y="57"/>
                    </a:cxn>
                    <a:cxn ang="0">
                      <a:pos x="1" y="40"/>
                    </a:cxn>
                    <a:cxn ang="0">
                      <a:pos x="95" y="8"/>
                    </a:cxn>
                    <a:cxn ang="0">
                      <a:pos x="250" y="5"/>
                    </a:cxn>
                    <a:cxn ang="0">
                      <a:pos x="390" y="8"/>
                    </a:cxn>
                    <a:cxn ang="0">
                      <a:pos x="459" y="97"/>
                    </a:cxn>
                    <a:cxn ang="0">
                      <a:pos x="456" y="263"/>
                    </a:cxn>
                    <a:cxn ang="0">
                      <a:pos x="287" y="338"/>
                    </a:cxn>
                    <a:cxn ang="0">
                      <a:pos x="193" y="325"/>
                    </a:cxn>
                    <a:cxn ang="0">
                      <a:pos x="72" y="204"/>
                    </a:cxn>
                    <a:cxn ang="0">
                      <a:pos x="3" y="85"/>
                    </a:cxn>
                    <a:cxn ang="0">
                      <a:pos x="5" y="55"/>
                    </a:cxn>
                  </a:cxnLst>
                  <a:rect l="0" t="0" r="r" b="b"/>
                  <a:pathLst>
                    <a:path w="487" h="352">
                      <a:moveTo>
                        <a:pt x="3" y="57"/>
                      </a:moveTo>
                      <a:cubicBezTo>
                        <a:pt x="0" y="53"/>
                        <a:pt x="0" y="46"/>
                        <a:pt x="1" y="40"/>
                      </a:cubicBezTo>
                      <a:cubicBezTo>
                        <a:pt x="32" y="26"/>
                        <a:pt x="60" y="13"/>
                        <a:pt x="95" y="8"/>
                      </a:cubicBezTo>
                      <a:cubicBezTo>
                        <a:pt x="145" y="0"/>
                        <a:pt x="199" y="2"/>
                        <a:pt x="250" y="5"/>
                      </a:cubicBezTo>
                      <a:cubicBezTo>
                        <a:pt x="297" y="7"/>
                        <a:pt x="344" y="5"/>
                        <a:pt x="390" y="8"/>
                      </a:cubicBezTo>
                      <a:cubicBezTo>
                        <a:pt x="444" y="11"/>
                        <a:pt x="447" y="53"/>
                        <a:pt x="459" y="97"/>
                      </a:cubicBezTo>
                      <a:cubicBezTo>
                        <a:pt x="473" y="151"/>
                        <a:pt x="487" y="211"/>
                        <a:pt x="456" y="263"/>
                      </a:cubicBezTo>
                      <a:cubicBezTo>
                        <a:pt x="424" y="318"/>
                        <a:pt x="348" y="326"/>
                        <a:pt x="287" y="338"/>
                      </a:cubicBezTo>
                      <a:cubicBezTo>
                        <a:pt x="246" y="345"/>
                        <a:pt x="221" y="352"/>
                        <a:pt x="193" y="325"/>
                      </a:cubicBezTo>
                      <a:cubicBezTo>
                        <a:pt x="152" y="286"/>
                        <a:pt x="107" y="250"/>
                        <a:pt x="72" y="204"/>
                      </a:cubicBezTo>
                      <a:cubicBezTo>
                        <a:pt x="47" y="170"/>
                        <a:pt x="2" y="131"/>
                        <a:pt x="3" y="85"/>
                      </a:cubicBezTo>
                      <a:cubicBezTo>
                        <a:pt x="3" y="72"/>
                        <a:pt x="15" y="62"/>
                        <a:pt x="5" y="55"/>
                      </a:cubicBezTo>
                    </a:path>
                  </a:pathLst>
                </a:custGeom>
                <a:solidFill>
                  <a:srgbClr val="8A97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7" name="Freeform 18"/>
                <p:cNvSpPr>
                  <a:spLocks/>
                </p:cNvSpPr>
                <p:nvPr/>
              </p:nvSpPr>
              <p:spPr bwMode="gray">
                <a:xfrm>
                  <a:off x="-11825288" y="-18024475"/>
                  <a:ext cx="2809875" cy="3270250"/>
                </a:xfrm>
                <a:custGeom>
                  <a:avLst/>
                  <a:gdLst/>
                  <a:ahLst/>
                  <a:cxnLst>
                    <a:cxn ang="0">
                      <a:pos x="82" y="117"/>
                    </a:cxn>
                    <a:cxn ang="0">
                      <a:pos x="107" y="221"/>
                    </a:cxn>
                    <a:cxn ang="0">
                      <a:pos x="132" y="330"/>
                    </a:cxn>
                    <a:cxn ang="0">
                      <a:pos x="87" y="554"/>
                    </a:cxn>
                    <a:cxn ang="0">
                      <a:pos x="474" y="871"/>
                    </a:cxn>
                    <a:cxn ang="0">
                      <a:pos x="689" y="768"/>
                    </a:cxn>
                    <a:cxn ang="0">
                      <a:pos x="652" y="558"/>
                    </a:cxn>
                    <a:cxn ang="0">
                      <a:pos x="510" y="378"/>
                    </a:cxn>
                    <a:cxn ang="0">
                      <a:pos x="455" y="171"/>
                    </a:cxn>
                    <a:cxn ang="0">
                      <a:pos x="246" y="8"/>
                    </a:cxn>
                    <a:cxn ang="0">
                      <a:pos x="82" y="137"/>
                    </a:cxn>
                  </a:cxnLst>
                  <a:rect l="0" t="0" r="r" b="b"/>
                  <a:pathLst>
                    <a:path w="749" h="872">
                      <a:moveTo>
                        <a:pt x="82" y="117"/>
                      </a:moveTo>
                      <a:cubicBezTo>
                        <a:pt x="95" y="151"/>
                        <a:pt x="91" y="186"/>
                        <a:pt x="107" y="221"/>
                      </a:cubicBezTo>
                      <a:cubicBezTo>
                        <a:pt x="122" y="256"/>
                        <a:pt x="140" y="286"/>
                        <a:pt x="132" y="330"/>
                      </a:cubicBezTo>
                      <a:cubicBezTo>
                        <a:pt x="119" y="404"/>
                        <a:pt x="87" y="475"/>
                        <a:pt x="87" y="554"/>
                      </a:cubicBezTo>
                      <a:cubicBezTo>
                        <a:pt x="86" y="750"/>
                        <a:pt x="299" y="869"/>
                        <a:pt x="474" y="871"/>
                      </a:cubicBezTo>
                      <a:cubicBezTo>
                        <a:pt x="569" y="872"/>
                        <a:pt x="633" y="838"/>
                        <a:pt x="689" y="768"/>
                      </a:cubicBezTo>
                      <a:cubicBezTo>
                        <a:pt x="749" y="692"/>
                        <a:pt x="700" y="629"/>
                        <a:pt x="652" y="558"/>
                      </a:cubicBezTo>
                      <a:cubicBezTo>
                        <a:pt x="609" y="495"/>
                        <a:pt x="550" y="445"/>
                        <a:pt x="510" y="378"/>
                      </a:cubicBezTo>
                      <a:cubicBezTo>
                        <a:pt x="471" y="316"/>
                        <a:pt x="476" y="240"/>
                        <a:pt x="455" y="171"/>
                      </a:cubicBezTo>
                      <a:cubicBezTo>
                        <a:pt x="422" y="61"/>
                        <a:pt x="366" y="0"/>
                        <a:pt x="246" y="8"/>
                      </a:cubicBezTo>
                      <a:cubicBezTo>
                        <a:pt x="211" y="10"/>
                        <a:pt x="0" y="108"/>
                        <a:pt x="82" y="13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8" name="Freeform 19"/>
                <p:cNvSpPr>
                  <a:spLocks/>
                </p:cNvSpPr>
                <p:nvPr/>
              </p:nvSpPr>
              <p:spPr bwMode="gray">
                <a:xfrm>
                  <a:off x="-8213725" y="-11528425"/>
                  <a:ext cx="674688" cy="754063"/>
                </a:xfrm>
                <a:custGeom>
                  <a:avLst/>
                  <a:gdLst/>
                  <a:ahLst/>
                  <a:cxnLst>
                    <a:cxn ang="0">
                      <a:pos x="57" y="197"/>
                    </a:cxn>
                    <a:cxn ang="0">
                      <a:pos x="63" y="63"/>
                    </a:cxn>
                    <a:cxn ang="0">
                      <a:pos x="180" y="47"/>
                    </a:cxn>
                    <a:cxn ang="0">
                      <a:pos x="90" y="3"/>
                    </a:cxn>
                    <a:cxn ang="0">
                      <a:pos x="13" y="45"/>
                    </a:cxn>
                    <a:cxn ang="0">
                      <a:pos x="4" y="130"/>
                    </a:cxn>
                    <a:cxn ang="0">
                      <a:pos x="53" y="201"/>
                    </a:cxn>
                  </a:cxnLst>
                  <a:rect l="0" t="0" r="r" b="b"/>
                  <a:pathLst>
                    <a:path w="180" h="201">
                      <a:moveTo>
                        <a:pt x="57" y="197"/>
                      </a:moveTo>
                      <a:cubicBezTo>
                        <a:pt x="63" y="143"/>
                        <a:pt x="24" y="112"/>
                        <a:pt x="63" y="63"/>
                      </a:cubicBezTo>
                      <a:cubicBezTo>
                        <a:pt x="84" y="36"/>
                        <a:pt x="147" y="13"/>
                        <a:pt x="180" y="47"/>
                      </a:cubicBezTo>
                      <a:cubicBezTo>
                        <a:pt x="166" y="15"/>
                        <a:pt x="123" y="0"/>
                        <a:pt x="90" y="3"/>
                      </a:cubicBezTo>
                      <a:cubicBezTo>
                        <a:pt x="56" y="7"/>
                        <a:pt x="41" y="29"/>
                        <a:pt x="13" y="45"/>
                      </a:cubicBezTo>
                      <a:cubicBezTo>
                        <a:pt x="7" y="63"/>
                        <a:pt x="0" y="112"/>
                        <a:pt x="4" y="130"/>
                      </a:cubicBezTo>
                      <a:cubicBezTo>
                        <a:pt x="10" y="155"/>
                        <a:pt x="39" y="179"/>
                        <a:pt x="53" y="201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59" name="Freeform 20"/>
                <p:cNvSpPr>
                  <a:spLocks/>
                </p:cNvSpPr>
                <p:nvPr/>
              </p:nvSpPr>
              <p:spPr bwMode="gray">
                <a:xfrm>
                  <a:off x="-13061950" y="-16805275"/>
                  <a:ext cx="5811838" cy="7023100"/>
                </a:xfrm>
                <a:custGeom>
                  <a:avLst/>
                  <a:gdLst/>
                  <a:ahLst/>
                  <a:cxnLst>
                    <a:cxn ang="0">
                      <a:pos x="399" y="25"/>
                    </a:cxn>
                    <a:cxn ang="0">
                      <a:pos x="583" y="142"/>
                    </a:cxn>
                    <a:cxn ang="0">
                      <a:pos x="714" y="204"/>
                    </a:cxn>
                    <a:cxn ang="0">
                      <a:pos x="799" y="296"/>
                    </a:cxn>
                    <a:cxn ang="0">
                      <a:pos x="858" y="357"/>
                    </a:cxn>
                    <a:cxn ang="0">
                      <a:pos x="861" y="298"/>
                    </a:cxn>
                    <a:cxn ang="0">
                      <a:pos x="873" y="246"/>
                    </a:cxn>
                    <a:cxn ang="0">
                      <a:pos x="817" y="149"/>
                    </a:cxn>
                    <a:cxn ang="0">
                      <a:pos x="856" y="89"/>
                    </a:cxn>
                    <a:cxn ang="0">
                      <a:pos x="831" y="0"/>
                    </a:cxn>
                    <a:cxn ang="0">
                      <a:pos x="896" y="91"/>
                    </a:cxn>
                    <a:cxn ang="0">
                      <a:pos x="1013" y="137"/>
                    </a:cxn>
                    <a:cxn ang="0">
                      <a:pos x="1164" y="201"/>
                    </a:cxn>
                    <a:cxn ang="0">
                      <a:pos x="1273" y="283"/>
                    </a:cxn>
                    <a:cxn ang="0">
                      <a:pos x="1315" y="409"/>
                    </a:cxn>
                    <a:cxn ang="0">
                      <a:pos x="1352" y="530"/>
                    </a:cxn>
                    <a:cxn ang="0">
                      <a:pos x="1362" y="715"/>
                    </a:cxn>
                    <a:cxn ang="0">
                      <a:pos x="1369" y="822"/>
                    </a:cxn>
                    <a:cxn ang="0">
                      <a:pos x="1389" y="890"/>
                    </a:cxn>
                    <a:cxn ang="0">
                      <a:pos x="1399" y="968"/>
                    </a:cxn>
                    <a:cxn ang="0">
                      <a:pos x="1417" y="1049"/>
                    </a:cxn>
                    <a:cxn ang="0">
                      <a:pos x="1423" y="1116"/>
                    </a:cxn>
                    <a:cxn ang="0">
                      <a:pos x="1451" y="1185"/>
                    </a:cxn>
                    <a:cxn ang="0">
                      <a:pos x="1466" y="1251"/>
                    </a:cxn>
                    <a:cxn ang="0">
                      <a:pos x="1497" y="1292"/>
                    </a:cxn>
                    <a:cxn ang="0">
                      <a:pos x="1499" y="1359"/>
                    </a:cxn>
                    <a:cxn ang="0">
                      <a:pos x="1525" y="1402"/>
                    </a:cxn>
                    <a:cxn ang="0">
                      <a:pos x="1453" y="1547"/>
                    </a:cxn>
                    <a:cxn ang="0">
                      <a:pos x="1296" y="1548"/>
                    </a:cxn>
                    <a:cxn ang="0">
                      <a:pos x="1278" y="1662"/>
                    </a:cxn>
                    <a:cxn ang="0">
                      <a:pos x="1214" y="1762"/>
                    </a:cxn>
                    <a:cxn ang="0">
                      <a:pos x="988" y="1871"/>
                    </a:cxn>
                    <a:cxn ang="0">
                      <a:pos x="656" y="1816"/>
                    </a:cxn>
                    <a:cxn ang="0">
                      <a:pos x="482" y="1774"/>
                    </a:cxn>
                    <a:cxn ang="0">
                      <a:pos x="350" y="1696"/>
                    </a:cxn>
                    <a:cxn ang="0">
                      <a:pos x="288" y="1591"/>
                    </a:cxn>
                    <a:cxn ang="0">
                      <a:pos x="248" y="1546"/>
                    </a:cxn>
                    <a:cxn ang="0">
                      <a:pos x="208" y="1509"/>
                    </a:cxn>
                    <a:cxn ang="0">
                      <a:pos x="228" y="1386"/>
                    </a:cxn>
                    <a:cxn ang="0">
                      <a:pos x="213" y="1330"/>
                    </a:cxn>
                    <a:cxn ang="0">
                      <a:pos x="221" y="1270"/>
                    </a:cxn>
                    <a:cxn ang="0">
                      <a:pos x="228" y="1206"/>
                    </a:cxn>
                    <a:cxn ang="0">
                      <a:pos x="206" y="1144"/>
                    </a:cxn>
                    <a:cxn ang="0">
                      <a:pos x="171" y="998"/>
                    </a:cxn>
                    <a:cxn ang="0">
                      <a:pos x="107" y="878"/>
                    </a:cxn>
                    <a:cxn ang="0">
                      <a:pos x="99" y="795"/>
                    </a:cxn>
                    <a:cxn ang="0">
                      <a:pos x="78" y="743"/>
                    </a:cxn>
                    <a:cxn ang="0">
                      <a:pos x="54" y="670"/>
                    </a:cxn>
                    <a:cxn ang="0">
                      <a:pos x="24" y="608"/>
                    </a:cxn>
                    <a:cxn ang="0">
                      <a:pos x="14" y="479"/>
                    </a:cxn>
                    <a:cxn ang="0">
                      <a:pos x="80" y="395"/>
                    </a:cxn>
                    <a:cxn ang="0">
                      <a:pos x="125" y="363"/>
                    </a:cxn>
                    <a:cxn ang="0">
                      <a:pos x="156" y="322"/>
                    </a:cxn>
                    <a:cxn ang="0">
                      <a:pos x="239" y="254"/>
                    </a:cxn>
                    <a:cxn ang="0">
                      <a:pos x="317" y="196"/>
                    </a:cxn>
                    <a:cxn ang="0">
                      <a:pos x="354" y="164"/>
                    </a:cxn>
                    <a:cxn ang="0">
                      <a:pos x="370" y="119"/>
                    </a:cxn>
                    <a:cxn ang="0">
                      <a:pos x="399" y="20"/>
                    </a:cxn>
                  </a:cxnLst>
                  <a:rect l="0" t="0" r="r" b="b"/>
                  <a:pathLst>
                    <a:path w="1550" h="1873">
                      <a:moveTo>
                        <a:pt x="399" y="25"/>
                      </a:moveTo>
                      <a:cubicBezTo>
                        <a:pt x="452" y="73"/>
                        <a:pt x="517" y="116"/>
                        <a:pt x="583" y="142"/>
                      </a:cubicBezTo>
                      <a:cubicBezTo>
                        <a:pt x="626" y="159"/>
                        <a:pt x="677" y="176"/>
                        <a:pt x="714" y="204"/>
                      </a:cubicBezTo>
                      <a:cubicBezTo>
                        <a:pt x="746" y="228"/>
                        <a:pt x="771" y="265"/>
                        <a:pt x="799" y="296"/>
                      </a:cubicBezTo>
                      <a:cubicBezTo>
                        <a:pt x="818" y="317"/>
                        <a:pt x="836" y="339"/>
                        <a:pt x="858" y="357"/>
                      </a:cubicBezTo>
                      <a:cubicBezTo>
                        <a:pt x="859" y="338"/>
                        <a:pt x="857" y="317"/>
                        <a:pt x="861" y="298"/>
                      </a:cubicBezTo>
                      <a:cubicBezTo>
                        <a:pt x="866" y="280"/>
                        <a:pt x="880" y="266"/>
                        <a:pt x="873" y="246"/>
                      </a:cubicBezTo>
                      <a:cubicBezTo>
                        <a:pt x="860" y="209"/>
                        <a:pt x="810" y="194"/>
                        <a:pt x="817" y="149"/>
                      </a:cubicBezTo>
                      <a:cubicBezTo>
                        <a:pt x="842" y="138"/>
                        <a:pt x="856" y="118"/>
                        <a:pt x="856" y="89"/>
                      </a:cubicBezTo>
                      <a:cubicBezTo>
                        <a:pt x="856" y="56"/>
                        <a:pt x="826" y="34"/>
                        <a:pt x="831" y="0"/>
                      </a:cubicBezTo>
                      <a:cubicBezTo>
                        <a:pt x="869" y="16"/>
                        <a:pt x="869" y="73"/>
                        <a:pt x="896" y="91"/>
                      </a:cubicBezTo>
                      <a:cubicBezTo>
                        <a:pt x="926" y="112"/>
                        <a:pt x="976" y="126"/>
                        <a:pt x="1013" y="137"/>
                      </a:cubicBezTo>
                      <a:cubicBezTo>
                        <a:pt x="1065" y="153"/>
                        <a:pt x="1114" y="177"/>
                        <a:pt x="1164" y="201"/>
                      </a:cubicBezTo>
                      <a:cubicBezTo>
                        <a:pt x="1203" y="221"/>
                        <a:pt x="1247" y="246"/>
                        <a:pt x="1273" y="283"/>
                      </a:cubicBezTo>
                      <a:cubicBezTo>
                        <a:pt x="1299" y="321"/>
                        <a:pt x="1305" y="365"/>
                        <a:pt x="1315" y="409"/>
                      </a:cubicBezTo>
                      <a:cubicBezTo>
                        <a:pt x="1324" y="452"/>
                        <a:pt x="1343" y="489"/>
                        <a:pt x="1352" y="530"/>
                      </a:cubicBezTo>
                      <a:cubicBezTo>
                        <a:pt x="1365" y="589"/>
                        <a:pt x="1362" y="655"/>
                        <a:pt x="1362" y="715"/>
                      </a:cubicBezTo>
                      <a:cubicBezTo>
                        <a:pt x="1362" y="750"/>
                        <a:pt x="1357" y="791"/>
                        <a:pt x="1369" y="822"/>
                      </a:cubicBezTo>
                      <a:cubicBezTo>
                        <a:pt x="1378" y="846"/>
                        <a:pt x="1384" y="864"/>
                        <a:pt x="1389" y="890"/>
                      </a:cubicBezTo>
                      <a:cubicBezTo>
                        <a:pt x="1394" y="916"/>
                        <a:pt x="1397" y="942"/>
                        <a:pt x="1399" y="968"/>
                      </a:cubicBezTo>
                      <a:cubicBezTo>
                        <a:pt x="1402" y="997"/>
                        <a:pt x="1410" y="1021"/>
                        <a:pt x="1417" y="1049"/>
                      </a:cubicBezTo>
                      <a:cubicBezTo>
                        <a:pt x="1422" y="1069"/>
                        <a:pt x="1418" y="1094"/>
                        <a:pt x="1423" y="1116"/>
                      </a:cubicBezTo>
                      <a:cubicBezTo>
                        <a:pt x="1429" y="1139"/>
                        <a:pt x="1444" y="1161"/>
                        <a:pt x="1451" y="1185"/>
                      </a:cubicBezTo>
                      <a:cubicBezTo>
                        <a:pt x="1457" y="1207"/>
                        <a:pt x="1457" y="1231"/>
                        <a:pt x="1466" y="1251"/>
                      </a:cubicBezTo>
                      <a:cubicBezTo>
                        <a:pt x="1472" y="1267"/>
                        <a:pt x="1491" y="1279"/>
                        <a:pt x="1497" y="1292"/>
                      </a:cubicBezTo>
                      <a:cubicBezTo>
                        <a:pt x="1505" y="1311"/>
                        <a:pt x="1493" y="1339"/>
                        <a:pt x="1499" y="1359"/>
                      </a:cubicBezTo>
                      <a:cubicBezTo>
                        <a:pt x="1503" y="1374"/>
                        <a:pt x="1519" y="1388"/>
                        <a:pt x="1525" y="1402"/>
                      </a:cubicBezTo>
                      <a:cubicBezTo>
                        <a:pt x="1550" y="1458"/>
                        <a:pt x="1501" y="1520"/>
                        <a:pt x="1453" y="1547"/>
                      </a:cubicBezTo>
                      <a:cubicBezTo>
                        <a:pt x="1416" y="1568"/>
                        <a:pt x="1329" y="1592"/>
                        <a:pt x="1296" y="1548"/>
                      </a:cubicBezTo>
                      <a:cubicBezTo>
                        <a:pt x="1315" y="1566"/>
                        <a:pt x="1288" y="1641"/>
                        <a:pt x="1278" y="1662"/>
                      </a:cubicBezTo>
                      <a:cubicBezTo>
                        <a:pt x="1261" y="1696"/>
                        <a:pt x="1237" y="1731"/>
                        <a:pt x="1214" y="1762"/>
                      </a:cubicBezTo>
                      <a:cubicBezTo>
                        <a:pt x="1165" y="1829"/>
                        <a:pt x="1076" y="1873"/>
                        <a:pt x="988" y="1871"/>
                      </a:cubicBezTo>
                      <a:cubicBezTo>
                        <a:pt x="877" y="1867"/>
                        <a:pt x="763" y="1836"/>
                        <a:pt x="656" y="1816"/>
                      </a:cubicBezTo>
                      <a:cubicBezTo>
                        <a:pt x="596" y="1804"/>
                        <a:pt x="539" y="1793"/>
                        <a:pt x="482" y="1774"/>
                      </a:cubicBezTo>
                      <a:cubicBezTo>
                        <a:pt x="431" y="1757"/>
                        <a:pt x="382" y="1742"/>
                        <a:pt x="350" y="1696"/>
                      </a:cubicBezTo>
                      <a:cubicBezTo>
                        <a:pt x="327" y="1663"/>
                        <a:pt x="312" y="1625"/>
                        <a:pt x="288" y="1591"/>
                      </a:cubicBezTo>
                      <a:cubicBezTo>
                        <a:pt x="275" y="1573"/>
                        <a:pt x="265" y="1559"/>
                        <a:pt x="248" y="1546"/>
                      </a:cubicBezTo>
                      <a:cubicBezTo>
                        <a:pt x="234" y="1536"/>
                        <a:pt x="215" y="1525"/>
                        <a:pt x="208" y="1509"/>
                      </a:cubicBezTo>
                      <a:cubicBezTo>
                        <a:pt x="192" y="1474"/>
                        <a:pt x="234" y="1428"/>
                        <a:pt x="228" y="1386"/>
                      </a:cubicBezTo>
                      <a:cubicBezTo>
                        <a:pt x="225" y="1366"/>
                        <a:pt x="216" y="1350"/>
                        <a:pt x="213" y="1330"/>
                      </a:cubicBezTo>
                      <a:cubicBezTo>
                        <a:pt x="209" y="1306"/>
                        <a:pt x="215" y="1291"/>
                        <a:pt x="221" y="1270"/>
                      </a:cubicBezTo>
                      <a:cubicBezTo>
                        <a:pt x="227" y="1249"/>
                        <a:pt x="228" y="1230"/>
                        <a:pt x="228" y="1206"/>
                      </a:cubicBezTo>
                      <a:cubicBezTo>
                        <a:pt x="228" y="1173"/>
                        <a:pt x="222" y="1169"/>
                        <a:pt x="206" y="1144"/>
                      </a:cubicBezTo>
                      <a:cubicBezTo>
                        <a:pt x="185" y="1110"/>
                        <a:pt x="168" y="1037"/>
                        <a:pt x="171" y="998"/>
                      </a:cubicBezTo>
                      <a:cubicBezTo>
                        <a:pt x="130" y="991"/>
                        <a:pt x="113" y="912"/>
                        <a:pt x="107" y="878"/>
                      </a:cubicBezTo>
                      <a:cubicBezTo>
                        <a:pt x="101" y="851"/>
                        <a:pt x="104" y="822"/>
                        <a:pt x="99" y="795"/>
                      </a:cubicBezTo>
                      <a:cubicBezTo>
                        <a:pt x="96" y="775"/>
                        <a:pt x="85" y="762"/>
                        <a:pt x="78" y="743"/>
                      </a:cubicBezTo>
                      <a:cubicBezTo>
                        <a:pt x="68" y="719"/>
                        <a:pt x="65" y="694"/>
                        <a:pt x="54" y="670"/>
                      </a:cubicBezTo>
                      <a:cubicBezTo>
                        <a:pt x="45" y="650"/>
                        <a:pt x="33" y="628"/>
                        <a:pt x="24" y="608"/>
                      </a:cubicBezTo>
                      <a:cubicBezTo>
                        <a:pt x="8" y="569"/>
                        <a:pt x="0" y="520"/>
                        <a:pt x="14" y="479"/>
                      </a:cubicBezTo>
                      <a:cubicBezTo>
                        <a:pt x="25" y="449"/>
                        <a:pt x="54" y="413"/>
                        <a:pt x="80" y="395"/>
                      </a:cubicBezTo>
                      <a:cubicBezTo>
                        <a:pt x="95" y="384"/>
                        <a:pt x="113" y="376"/>
                        <a:pt x="125" y="363"/>
                      </a:cubicBezTo>
                      <a:cubicBezTo>
                        <a:pt x="136" y="350"/>
                        <a:pt x="141" y="331"/>
                        <a:pt x="156" y="322"/>
                      </a:cubicBezTo>
                      <a:cubicBezTo>
                        <a:pt x="160" y="297"/>
                        <a:pt x="219" y="269"/>
                        <a:pt x="239" y="254"/>
                      </a:cubicBezTo>
                      <a:cubicBezTo>
                        <a:pt x="264" y="235"/>
                        <a:pt x="293" y="216"/>
                        <a:pt x="317" y="196"/>
                      </a:cubicBezTo>
                      <a:cubicBezTo>
                        <a:pt x="328" y="186"/>
                        <a:pt x="346" y="175"/>
                        <a:pt x="354" y="164"/>
                      </a:cubicBezTo>
                      <a:cubicBezTo>
                        <a:pt x="362" y="153"/>
                        <a:pt x="365" y="132"/>
                        <a:pt x="370" y="119"/>
                      </a:cubicBezTo>
                      <a:cubicBezTo>
                        <a:pt x="382" y="86"/>
                        <a:pt x="392" y="53"/>
                        <a:pt x="399" y="20"/>
                      </a:cubicBezTo>
                    </a:path>
                  </a:pathLst>
                </a:custGeom>
                <a:solidFill>
                  <a:srgbClr val="C2D1E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0" name="Freeform 21"/>
                <p:cNvSpPr>
                  <a:spLocks/>
                </p:cNvSpPr>
                <p:nvPr/>
              </p:nvSpPr>
              <p:spPr bwMode="gray">
                <a:xfrm>
                  <a:off x="-11472863" y="-17295812"/>
                  <a:ext cx="1463675" cy="1019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86" y="235"/>
                    </a:cxn>
                    <a:cxn ang="0">
                      <a:pos x="390" y="81"/>
                    </a:cxn>
                  </a:cxnLst>
                  <a:rect l="0" t="0" r="r" b="b"/>
                  <a:pathLst>
                    <a:path w="390" h="272">
                      <a:moveTo>
                        <a:pt x="0" y="0"/>
                      </a:moveTo>
                      <a:cubicBezTo>
                        <a:pt x="53" y="100"/>
                        <a:pt x="61" y="200"/>
                        <a:pt x="186" y="235"/>
                      </a:cubicBezTo>
                      <a:cubicBezTo>
                        <a:pt x="317" y="272"/>
                        <a:pt x="363" y="191"/>
                        <a:pt x="390" y="81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1" name="Freeform 22"/>
                <p:cNvSpPr>
                  <a:spLocks/>
                </p:cNvSpPr>
                <p:nvPr/>
              </p:nvSpPr>
              <p:spPr bwMode="gray">
                <a:xfrm>
                  <a:off x="-12001500" y="-19794537"/>
                  <a:ext cx="2457450" cy="3352800"/>
                </a:xfrm>
                <a:custGeom>
                  <a:avLst/>
                  <a:gdLst/>
                  <a:ahLst/>
                  <a:cxnLst>
                    <a:cxn ang="0">
                      <a:pos x="69" y="231"/>
                    </a:cxn>
                    <a:cxn ang="0">
                      <a:pos x="80" y="387"/>
                    </a:cxn>
                    <a:cxn ang="0">
                      <a:pos x="19" y="490"/>
                    </a:cxn>
                    <a:cxn ang="0">
                      <a:pos x="126" y="621"/>
                    </a:cxn>
                    <a:cxn ang="0">
                      <a:pos x="327" y="857"/>
                    </a:cxn>
                    <a:cxn ang="0">
                      <a:pos x="546" y="688"/>
                    </a:cxn>
                    <a:cxn ang="0">
                      <a:pos x="548" y="591"/>
                    </a:cxn>
                    <a:cxn ang="0">
                      <a:pos x="603" y="537"/>
                    </a:cxn>
                    <a:cxn ang="0">
                      <a:pos x="595" y="379"/>
                    </a:cxn>
                    <a:cxn ang="0">
                      <a:pos x="575" y="402"/>
                    </a:cxn>
                    <a:cxn ang="0">
                      <a:pos x="357" y="33"/>
                    </a:cxn>
                    <a:cxn ang="0">
                      <a:pos x="69" y="231"/>
                    </a:cxn>
                  </a:cxnLst>
                  <a:rect l="0" t="0" r="r" b="b"/>
                  <a:pathLst>
                    <a:path w="655" h="894">
                      <a:moveTo>
                        <a:pt x="69" y="231"/>
                      </a:moveTo>
                      <a:cubicBezTo>
                        <a:pt x="62" y="287"/>
                        <a:pt x="80" y="333"/>
                        <a:pt x="80" y="387"/>
                      </a:cubicBezTo>
                      <a:cubicBezTo>
                        <a:pt x="14" y="340"/>
                        <a:pt x="0" y="439"/>
                        <a:pt x="19" y="490"/>
                      </a:cubicBezTo>
                      <a:cubicBezTo>
                        <a:pt x="38" y="537"/>
                        <a:pt x="101" y="571"/>
                        <a:pt x="126" y="621"/>
                      </a:cubicBezTo>
                      <a:cubicBezTo>
                        <a:pt x="179" y="722"/>
                        <a:pt x="202" y="821"/>
                        <a:pt x="327" y="857"/>
                      </a:cubicBezTo>
                      <a:cubicBezTo>
                        <a:pt x="458" y="894"/>
                        <a:pt x="518" y="798"/>
                        <a:pt x="546" y="688"/>
                      </a:cubicBezTo>
                      <a:cubicBezTo>
                        <a:pt x="553" y="658"/>
                        <a:pt x="536" y="620"/>
                        <a:pt x="548" y="591"/>
                      </a:cubicBezTo>
                      <a:cubicBezTo>
                        <a:pt x="556" y="568"/>
                        <a:pt x="592" y="558"/>
                        <a:pt x="603" y="537"/>
                      </a:cubicBezTo>
                      <a:cubicBezTo>
                        <a:pt x="627" y="489"/>
                        <a:pt x="655" y="411"/>
                        <a:pt x="595" y="379"/>
                      </a:cubicBezTo>
                      <a:cubicBezTo>
                        <a:pt x="591" y="385"/>
                        <a:pt x="572" y="409"/>
                        <a:pt x="575" y="402"/>
                      </a:cubicBezTo>
                      <a:cubicBezTo>
                        <a:pt x="575" y="236"/>
                        <a:pt x="549" y="75"/>
                        <a:pt x="357" y="33"/>
                      </a:cubicBezTo>
                      <a:cubicBezTo>
                        <a:pt x="211" y="0"/>
                        <a:pt x="2" y="47"/>
                        <a:pt x="69" y="23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2" name="Freeform 23"/>
                <p:cNvSpPr>
                  <a:spLocks/>
                </p:cNvSpPr>
                <p:nvPr/>
              </p:nvSpPr>
              <p:spPr bwMode="gray">
                <a:xfrm>
                  <a:off x="-9563100" y="-12788900"/>
                  <a:ext cx="1897063" cy="1323975"/>
                </a:xfrm>
                <a:custGeom>
                  <a:avLst/>
                  <a:gdLst/>
                  <a:ahLst/>
                  <a:cxnLst>
                    <a:cxn ang="0">
                      <a:pos x="7" y="313"/>
                    </a:cxn>
                    <a:cxn ang="0">
                      <a:pos x="456" y="107"/>
                    </a:cxn>
                    <a:cxn ang="0">
                      <a:pos x="424" y="17"/>
                    </a:cxn>
                    <a:cxn ang="0">
                      <a:pos x="298" y="118"/>
                    </a:cxn>
                    <a:cxn ang="0">
                      <a:pos x="31" y="263"/>
                    </a:cxn>
                    <a:cxn ang="0">
                      <a:pos x="0" y="299"/>
                    </a:cxn>
                  </a:cxnLst>
                  <a:rect l="0" t="0" r="r" b="b"/>
                  <a:pathLst>
                    <a:path w="506" h="353">
                      <a:moveTo>
                        <a:pt x="7" y="313"/>
                      </a:moveTo>
                      <a:cubicBezTo>
                        <a:pt x="188" y="353"/>
                        <a:pt x="367" y="277"/>
                        <a:pt x="456" y="107"/>
                      </a:cubicBezTo>
                      <a:cubicBezTo>
                        <a:pt x="474" y="71"/>
                        <a:pt x="506" y="0"/>
                        <a:pt x="424" y="17"/>
                      </a:cubicBezTo>
                      <a:cubicBezTo>
                        <a:pt x="389" y="24"/>
                        <a:pt x="330" y="95"/>
                        <a:pt x="298" y="118"/>
                      </a:cubicBezTo>
                      <a:cubicBezTo>
                        <a:pt x="214" y="176"/>
                        <a:pt x="131" y="250"/>
                        <a:pt x="31" y="263"/>
                      </a:cubicBezTo>
                      <a:cubicBezTo>
                        <a:pt x="22" y="276"/>
                        <a:pt x="10" y="285"/>
                        <a:pt x="0" y="299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3" name="Freeform 24"/>
                <p:cNvSpPr>
                  <a:spLocks/>
                </p:cNvSpPr>
                <p:nvPr/>
              </p:nvSpPr>
              <p:spPr bwMode="gray">
                <a:xfrm>
                  <a:off x="-8715375" y="-14732000"/>
                  <a:ext cx="677863" cy="1879600"/>
                </a:xfrm>
                <a:custGeom>
                  <a:avLst/>
                  <a:gdLst/>
                  <a:ahLst/>
                  <a:cxnLst>
                    <a:cxn ang="0">
                      <a:pos x="34" y="430"/>
                    </a:cxn>
                    <a:cxn ang="0">
                      <a:pos x="13" y="319"/>
                    </a:cxn>
                    <a:cxn ang="0">
                      <a:pos x="64" y="341"/>
                    </a:cxn>
                    <a:cxn ang="0">
                      <a:pos x="0" y="221"/>
                    </a:cxn>
                    <a:cxn ang="0">
                      <a:pos x="93" y="257"/>
                    </a:cxn>
                    <a:cxn ang="0">
                      <a:pos x="58" y="0"/>
                    </a:cxn>
                    <a:cxn ang="0">
                      <a:pos x="176" y="281"/>
                    </a:cxn>
                    <a:cxn ang="0">
                      <a:pos x="35" y="495"/>
                    </a:cxn>
                    <a:cxn ang="0">
                      <a:pos x="34" y="444"/>
                    </a:cxn>
                  </a:cxnLst>
                  <a:rect l="0" t="0" r="r" b="b"/>
                  <a:pathLst>
                    <a:path w="181" h="501">
                      <a:moveTo>
                        <a:pt x="34" y="430"/>
                      </a:moveTo>
                      <a:cubicBezTo>
                        <a:pt x="47" y="381"/>
                        <a:pt x="31" y="355"/>
                        <a:pt x="13" y="319"/>
                      </a:cubicBezTo>
                      <a:cubicBezTo>
                        <a:pt x="36" y="325"/>
                        <a:pt x="46" y="319"/>
                        <a:pt x="64" y="341"/>
                      </a:cubicBezTo>
                      <a:cubicBezTo>
                        <a:pt x="103" y="308"/>
                        <a:pt x="27" y="252"/>
                        <a:pt x="0" y="221"/>
                      </a:cubicBezTo>
                      <a:cubicBezTo>
                        <a:pt x="30" y="233"/>
                        <a:pt x="56" y="260"/>
                        <a:pt x="93" y="257"/>
                      </a:cubicBezTo>
                      <a:cubicBezTo>
                        <a:pt x="105" y="161"/>
                        <a:pt x="82" y="92"/>
                        <a:pt x="58" y="0"/>
                      </a:cubicBezTo>
                      <a:cubicBezTo>
                        <a:pt x="106" y="96"/>
                        <a:pt x="169" y="173"/>
                        <a:pt x="176" y="281"/>
                      </a:cubicBezTo>
                      <a:cubicBezTo>
                        <a:pt x="181" y="357"/>
                        <a:pt x="126" y="501"/>
                        <a:pt x="35" y="495"/>
                      </a:cubicBezTo>
                      <a:cubicBezTo>
                        <a:pt x="34" y="480"/>
                        <a:pt x="31" y="460"/>
                        <a:pt x="34" y="444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4" name="Freeform 25"/>
                <p:cNvSpPr>
                  <a:spLocks/>
                </p:cNvSpPr>
                <p:nvPr/>
              </p:nvSpPr>
              <p:spPr bwMode="gray">
                <a:xfrm>
                  <a:off x="-10058400" y="-14716125"/>
                  <a:ext cx="4803775" cy="3281363"/>
                </a:xfrm>
                <a:custGeom>
                  <a:avLst/>
                  <a:gdLst/>
                  <a:ahLst/>
                  <a:cxnLst>
                    <a:cxn ang="0">
                      <a:pos x="370" y="460"/>
                    </a:cxn>
                    <a:cxn ang="0">
                      <a:pos x="572" y="360"/>
                    </a:cxn>
                    <a:cxn ang="0">
                      <a:pos x="668" y="301"/>
                    </a:cxn>
                    <a:cxn ang="0">
                      <a:pos x="714" y="197"/>
                    </a:cxn>
                    <a:cxn ang="0">
                      <a:pos x="857" y="89"/>
                    </a:cxn>
                    <a:cxn ang="0">
                      <a:pos x="966" y="6"/>
                    </a:cxn>
                    <a:cxn ang="0">
                      <a:pos x="898" y="184"/>
                    </a:cxn>
                    <a:cxn ang="0">
                      <a:pos x="1074" y="158"/>
                    </a:cxn>
                    <a:cxn ang="0">
                      <a:pos x="1244" y="98"/>
                    </a:cxn>
                    <a:cxn ang="0">
                      <a:pos x="1277" y="124"/>
                    </a:cxn>
                    <a:cxn ang="0">
                      <a:pos x="1183" y="171"/>
                    </a:cxn>
                    <a:cxn ang="0">
                      <a:pos x="1098" y="221"/>
                    </a:cxn>
                    <a:cxn ang="0">
                      <a:pos x="1050" y="238"/>
                    </a:cxn>
                    <a:cxn ang="0">
                      <a:pos x="1025" y="287"/>
                    </a:cxn>
                    <a:cxn ang="0">
                      <a:pos x="980" y="371"/>
                    </a:cxn>
                    <a:cxn ang="0">
                      <a:pos x="876" y="402"/>
                    </a:cxn>
                    <a:cxn ang="0">
                      <a:pos x="756" y="444"/>
                    </a:cxn>
                    <a:cxn ang="0">
                      <a:pos x="600" y="555"/>
                    </a:cxn>
                    <a:cxn ang="0">
                      <a:pos x="302" y="804"/>
                    </a:cxn>
                    <a:cxn ang="0">
                      <a:pos x="83" y="826"/>
                    </a:cxn>
                    <a:cxn ang="0">
                      <a:pos x="52" y="600"/>
                    </a:cxn>
                    <a:cxn ang="0">
                      <a:pos x="226" y="535"/>
                    </a:cxn>
                    <a:cxn ang="0">
                      <a:pos x="380" y="460"/>
                    </a:cxn>
                  </a:cxnLst>
                  <a:rect l="0" t="0" r="r" b="b"/>
                  <a:pathLst>
                    <a:path w="1281" h="875">
                      <a:moveTo>
                        <a:pt x="370" y="460"/>
                      </a:moveTo>
                      <a:cubicBezTo>
                        <a:pt x="446" y="442"/>
                        <a:pt x="505" y="399"/>
                        <a:pt x="572" y="360"/>
                      </a:cubicBezTo>
                      <a:cubicBezTo>
                        <a:pt x="604" y="341"/>
                        <a:pt x="641" y="327"/>
                        <a:pt x="668" y="301"/>
                      </a:cubicBezTo>
                      <a:cubicBezTo>
                        <a:pt x="696" y="274"/>
                        <a:pt x="683" y="232"/>
                        <a:pt x="714" y="197"/>
                      </a:cubicBezTo>
                      <a:cubicBezTo>
                        <a:pt x="742" y="150"/>
                        <a:pt x="815" y="128"/>
                        <a:pt x="857" y="89"/>
                      </a:cubicBezTo>
                      <a:cubicBezTo>
                        <a:pt x="898" y="52"/>
                        <a:pt x="900" y="0"/>
                        <a:pt x="966" y="6"/>
                      </a:cubicBezTo>
                      <a:cubicBezTo>
                        <a:pt x="1027" y="83"/>
                        <a:pt x="833" y="129"/>
                        <a:pt x="898" y="184"/>
                      </a:cubicBezTo>
                      <a:cubicBezTo>
                        <a:pt x="929" y="210"/>
                        <a:pt x="1023" y="164"/>
                        <a:pt x="1074" y="158"/>
                      </a:cubicBezTo>
                      <a:cubicBezTo>
                        <a:pt x="1127" y="113"/>
                        <a:pt x="1218" y="117"/>
                        <a:pt x="1244" y="98"/>
                      </a:cubicBezTo>
                      <a:cubicBezTo>
                        <a:pt x="1269" y="99"/>
                        <a:pt x="1281" y="98"/>
                        <a:pt x="1277" y="124"/>
                      </a:cubicBezTo>
                      <a:cubicBezTo>
                        <a:pt x="1277" y="135"/>
                        <a:pt x="1211" y="159"/>
                        <a:pt x="1183" y="171"/>
                      </a:cubicBezTo>
                      <a:cubicBezTo>
                        <a:pt x="1152" y="185"/>
                        <a:pt x="1128" y="205"/>
                        <a:pt x="1098" y="221"/>
                      </a:cubicBezTo>
                      <a:cubicBezTo>
                        <a:pt x="1085" y="228"/>
                        <a:pt x="1062" y="228"/>
                        <a:pt x="1050" y="238"/>
                      </a:cubicBezTo>
                      <a:cubicBezTo>
                        <a:pt x="1028" y="256"/>
                        <a:pt x="1037" y="267"/>
                        <a:pt x="1025" y="287"/>
                      </a:cubicBezTo>
                      <a:cubicBezTo>
                        <a:pt x="1012" y="307"/>
                        <a:pt x="996" y="358"/>
                        <a:pt x="980" y="371"/>
                      </a:cubicBezTo>
                      <a:cubicBezTo>
                        <a:pt x="963" y="387"/>
                        <a:pt x="900" y="393"/>
                        <a:pt x="876" y="402"/>
                      </a:cubicBezTo>
                      <a:cubicBezTo>
                        <a:pt x="835" y="416"/>
                        <a:pt x="795" y="430"/>
                        <a:pt x="756" y="444"/>
                      </a:cubicBezTo>
                      <a:cubicBezTo>
                        <a:pt x="694" y="467"/>
                        <a:pt x="649" y="506"/>
                        <a:pt x="600" y="555"/>
                      </a:cubicBezTo>
                      <a:cubicBezTo>
                        <a:pt x="511" y="642"/>
                        <a:pt x="419" y="750"/>
                        <a:pt x="302" y="804"/>
                      </a:cubicBezTo>
                      <a:cubicBezTo>
                        <a:pt x="251" y="827"/>
                        <a:pt x="136" y="875"/>
                        <a:pt x="83" y="826"/>
                      </a:cubicBezTo>
                      <a:cubicBezTo>
                        <a:pt x="37" y="783"/>
                        <a:pt x="0" y="635"/>
                        <a:pt x="52" y="600"/>
                      </a:cubicBezTo>
                      <a:cubicBezTo>
                        <a:pt x="101" y="568"/>
                        <a:pt x="173" y="558"/>
                        <a:pt x="226" y="535"/>
                      </a:cubicBezTo>
                      <a:cubicBezTo>
                        <a:pt x="278" y="511"/>
                        <a:pt x="321" y="477"/>
                        <a:pt x="380" y="46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5" name="Freeform 26"/>
                <p:cNvSpPr>
                  <a:spLocks/>
                </p:cNvSpPr>
                <p:nvPr/>
              </p:nvSpPr>
              <p:spPr bwMode="gray">
                <a:xfrm>
                  <a:off x="-9967913" y="-12128500"/>
                  <a:ext cx="1296988" cy="6064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" y="85"/>
                    </a:cxn>
                    <a:cxn ang="0">
                      <a:pos x="152" y="130"/>
                    </a:cxn>
                    <a:cxn ang="0">
                      <a:pos x="198" y="116"/>
                    </a:cxn>
                    <a:cxn ang="0">
                      <a:pos x="256" y="107"/>
                    </a:cxn>
                    <a:cxn ang="0">
                      <a:pos x="346" y="72"/>
                    </a:cxn>
                    <a:cxn ang="0">
                      <a:pos x="145" y="156"/>
                    </a:cxn>
                    <a:cxn ang="0">
                      <a:pos x="48" y="126"/>
                    </a:cxn>
                    <a:cxn ang="0">
                      <a:pos x="4" y="15"/>
                    </a:cxn>
                  </a:cxnLst>
                  <a:rect l="0" t="0" r="r" b="b"/>
                  <a:pathLst>
                    <a:path w="346" h="162">
                      <a:moveTo>
                        <a:pt x="0" y="0"/>
                      </a:moveTo>
                      <a:cubicBezTo>
                        <a:pt x="2" y="23"/>
                        <a:pt x="31" y="66"/>
                        <a:pt x="44" y="85"/>
                      </a:cubicBezTo>
                      <a:cubicBezTo>
                        <a:pt x="68" y="122"/>
                        <a:pt x="109" y="133"/>
                        <a:pt x="152" y="130"/>
                      </a:cubicBezTo>
                      <a:cubicBezTo>
                        <a:pt x="175" y="128"/>
                        <a:pt x="180" y="121"/>
                        <a:pt x="198" y="116"/>
                      </a:cubicBezTo>
                      <a:cubicBezTo>
                        <a:pt x="217" y="110"/>
                        <a:pt x="236" y="112"/>
                        <a:pt x="256" y="107"/>
                      </a:cubicBezTo>
                      <a:cubicBezTo>
                        <a:pt x="284" y="99"/>
                        <a:pt x="321" y="85"/>
                        <a:pt x="346" y="72"/>
                      </a:cubicBezTo>
                      <a:cubicBezTo>
                        <a:pt x="275" y="108"/>
                        <a:pt x="227" y="143"/>
                        <a:pt x="145" y="156"/>
                      </a:cubicBezTo>
                      <a:cubicBezTo>
                        <a:pt x="102" y="162"/>
                        <a:pt x="76" y="157"/>
                        <a:pt x="48" y="126"/>
                      </a:cubicBezTo>
                      <a:cubicBezTo>
                        <a:pt x="14" y="87"/>
                        <a:pt x="18" y="59"/>
                        <a:pt x="4" y="1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6" name="Freeform 27"/>
                <p:cNvSpPr>
                  <a:spLocks/>
                </p:cNvSpPr>
                <p:nvPr/>
              </p:nvSpPr>
              <p:spPr bwMode="gray">
                <a:xfrm>
                  <a:off x="-11960225" y="-19913600"/>
                  <a:ext cx="2347913" cy="1990725"/>
                </a:xfrm>
                <a:custGeom>
                  <a:avLst/>
                  <a:gdLst/>
                  <a:ahLst/>
                  <a:cxnLst>
                    <a:cxn ang="0">
                      <a:pos x="103" y="251"/>
                    </a:cxn>
                    <a:cxn ang="0">
                      <a:pos x="91" y="393"/>
                    </a:cxn>
                    <a:cxn ang="0">
                      <a:pos x="75" y="531"/>
                    </a:cxn>
                    <a:cxn ang="0">
                      <a:pos x="69" y="531"/>
                    </a:cxn>
                    <a:cxn ang="0">
                      <a:pos x="54" y="504"/>
                    </a:cxn>
                    <a:cxn ang="0">
                      <a:pos x="53" y="445"/>
                    </a:cxn>
                    <a:cxn ang="0">
                      <a:pos x="14" y="405"/>
                    </a:cxn>
                    <a:cxn ang="0">
                      <a:pos x="14" y="343"/>
                    </a:cxn>
                    <a:cxn ang="0">
                      <a:pos x="1" y="288"/>
                    </a:cxn>
                    <a:cxn ang="0">
                      <a:pos x="75" y="92"/>
                    </a:cxn>
                    <a:cxn ang="0">
                      <a:pos x="282" y="8"/>
                    </a:cxn>
                    <a:cxn ang="0">
                      <a:pos x="423" y="32"/>
                    </a:cxn>
                    <a:cxn ang="0">
                      <a:pos x="530" y="92"/>
                    </a:cxn>
                    <a:cxn ang="0">
                      <a:pos x="587" y="175"/>
                    </a:cxn>
                    <a:cxn ang="0">
                      <a:pos x="612" y="221"/>
                    </a:cxn>
                    <a:cxn ang="0">
                      <a:pos x="599" y="271"/>
                    </a:cxn>
                    <a:cxn ang="0">
                      <a:pos x="621" y="377"/>
                    </a:cxn>
                    <a:cxn ang="0">
                      <a:pos x="602" y="380"/>
                    </a:cxn>
                    <a:cxn ang="0">
                      <a:pos x="606" y="394"/>
                    </a:cxn>
                    <a:cxn ang="0">
                      <a:pos x="584" y="440"/>
                    </a:cxn>
                    <a:cxn ang="0">
                      <a:pos x="571" y="494"/>
                    </a:cxn>
                    <a:cxn ang="0">
                      <a:pos x="535" y="269"/>
                    </a:cxn>
                    <a:cxn ang="0">
                      <a:pos x="514" y="217"/>
                    </a:cxn>
                    <a:cxn ang="0">
                      <a:pos x="480" y="192"/>
                    </a:cxn>
                    <a:cxn ang="0">
                      <a:pos x="436" y="211"/>
                    </a:cxn>
                    <a:cxn ang="0">
                      <a:pos x="383" y="224"/>
                    </a:cxn>
                    <a:cxn ang="0">
                      <a:pos x="227" y="216"/>
                    </a:cxn>
                    <a:cxn ang="0">
                      <a:pos x="98" y="254"/>
                    </a:cxn>
                  </a:cxnLst>
                  <a:rect l="0" t="0" r="r" b="b"/>
                  <a:pathLst>
                    <a:path w="626" h="531">
                      <a:moveTo>
                        <a:pt x="103" y="251"/>
                      </a:moveTo>
                      <a:cubicBezTo>
                        <a:pt x="99" y="293"/>
                        <a:pt x="93" y="347"/>
                        <a:pt x="91" y="393"/>
                      </a:cubicBezTo>
                      <a:cubicBezTo>
                        <a:pt x="89" y="442"/>
                        <a:pt x="78" y="483"/>
                        <a:pt x="75" y="531"/>
                      </a:cubicBezTo>
                      <a:cubicBezTo>
                        <a:pt x="74" y="531"/>
                        <a:pt x="70" y="531"/>
                        <a:pt x="69" y="531"/>
                      </a:cubicBezTo>
                      <a:cubicBezTo>
                        <a:pt x="63" y="521"/>
                        <a:pt x="62" y="511"/>
                        <a:pt x="54" y="504"/>
                      </a:cubicBezTo>
                      <a:cubicBezTo>
                        <a:pt x="48" y="486"/>
                        <a:pt x="60" y="462"/>
                        <a:pt x="53" y="445"/>
                      </a:cubicBezTo>
                      <a:cubicBezTo>
                        <a:pt x="45" y="428"/>
                        <a:pt x="20" y="423"/>
                        <a:pt x="14" y="405"/>
                      </a:cubicBezTo>
                      <a:cubicBezTo>
                        <a:pt x="7" y="386"/>
                        <a:pt x="19" y="362"/>
                        <a:pt x="14" y="343"/>
                      </a:cubicBezTo>
                      <a:cubicBezTo>
                        <a:pt x="8" y="323"/>
                        <a:pt x="0" y="313"/>
                        <a:pt x="1" y="288"/>
                      </a:cubicBezTo>
                      <a:cubicBezTo>
                        <a:pt x="4" y="215"/>
                        <a:pt x="23" y="141"/>
                        <a:pt x="75" y="92"/>
                      </a:cubicBezTo>
                      <a:cubicBezTo>
                        <a:pt x="134" y="35"/>
                        <a:pt x="205" y="20"/>
                        <a:pt x="282" y="8"/>
                      </a:cubicBezTo>
                      <a:cubicBezTo>
                        <a:pt x="335" y="0"/>
                        <a:pt x="374" y="21"/>
                        <a:pt x="423" y="32"/>
                      </a:cubicBezTo>
                      <a:cubicBezTo>
                        <a:pt x="470" y="42"/>
                        <a:pt x="496" y="56"/>
                        <a:pt x="530" y="92"/>
                      </a:cubicBezTo>
                      <a:cubicBezTo>
                        <a:pt x="539" y="101"/>
                        <a:pt x="626" y="174"/>
                        <a:pt x="587" y="175"/>
                      </a:cubicBezTo>
                      <a:cubicBezTo>
                        <a:pt x="595" y="190"/>
                        <a:pt x="609" y="201"/>
                        <a:pt x="612" y="221"/>
                      </a:cubicBezTo>
                      <a:cubicBezTo>
                        <a:pt x="615" y="246"/>
                        <a:pt x="603" y="252"/>
                        <a:pt x="599" y="271"/>
                      </a:cubicBezTo>
                      <a:cubicBezTo>
                        <a:pt x="592" y="309"/>
                        <a:pt x="615" y="346"/>
                        <a:pt x="621" y="377"/>
                      </a:cubicBezTo>
                      <a:cubicBezTo>
                        <a:pt x="614" y="377"/>
                        <a:pt x="609" y="381"/>
                        <a:pt x="602" y="380"/>
                      </a:cubicBezTo>
                      <a:cubicBezTo>
                        <a:pt x="604" y="383"/>
                        <a:pt x="604" y="391"/>
                        <a:pt x="606" y="394"/>
                      </a:cubicBezTo>
                      <a:cubicBezTo>
                        <a:pt x="574" y="404"/>
                        <a:pt x="586" y="416"/>
                        <a:pt x="584" y="440"/>
                      </a:cubicBezTo>
                      <a:cubicBezTo>
                        <a:pt x="583" y="458"/>
                        <a:pt x="573" y="473"/>
                        <a:pt x="571" y="494"/>
                      </a:cubicBezTo>
                      <a:cubicBezTo>
                        <a:pt x="546" y="423"/>
                        <a:pt x="553" y="342"/>
                        <a:pt x="535" y="269"/>
                      </a:cubicBezTo>
                      <a:cubicBezTo>
                        <a:pt x="530" y="250"/>
                        <a:pt x="525" y="233"/>
                        <a:pt x="514" y="217"/>
                      </a:cubicBezTo>
                      <a:cubicBezTo>
                        <a:pt x="503" y="200"/>
                        <a:pt x="497" y="189"/>
                        <a:pt x="480" y="192"/>
                      </a:cubicBezTo>
                      <a:cubicBezTo>
                        <a:pt x="466" y="194"/>
                        <a:pt x="449" y="207"/>
                        <a:pt x="436" y="211"/>
                      </a:cubicBezTo>
                      <a:cubicBezTo>
                        <a:pt x="419" y="217"/>
                        <a:pt x="401" y="221"/>
                        <a:pt x="383" y="224"/>
                      </a:cubicBezTo>
                      <a:cubicBezTo>
                        <a:pt x="329" y="232"/>
                        <a:pt x="278" y="219"/>
                        <a:pt x="227" y="216"/>
                      </a:cubicBezTo>
                      <a:cubicBezTo>
                        <a:pt x="192" y="215"/>
                        <a:pt x="123" y="229"/>
                        <a:pt x="98" y="254"/>
                      </a:cubicBezTo>
                    </a:path>
                  </a:pathLst>
                </a:custGeom>
                <a:solidFill>
                  <a:srgbClr val="7C5D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7" name="Freeform 28"/>
                <p:cNvSpPr>
                  <a:spLocks/>
                </p:cNvSpPr>
                <p:nvPr/>
              </p:nvSpPr>
              <p:spPr bwMode="gray">
                <a:xfrm>
                  <a:off x="-11539538" y="-19569112"/>
                  <a:ext cx="1166813" cy="457200"/>
                </a:xfrm>
                <a:custGeom>
                  <a:avLst/>
                  <a:gdLst/>
                  <a:ahLst/>
                  <a:cxnLst>
                    <a:cxn ang="0">
                      <a:pos x="209" y="112"/>
                    </a:cxn>
                    <a:cxn ang="0">
                      <a:pos x="120" y="62"/>
                    </a:cxn>
                    <a:cxn ang="0">
                      <a:pos x="0" y="57"/>
                    </a:cxn>
                    <a:cxn ang="0">
                      <a:pos x="110" y="46"/>
                    </a:cxn>
                    <a:cxn ang="0">
                      <a:pos x="233" y="81"/>
                    </a:cxn>
                    <a:cxn ang="0">
                      <a:pos x="105" y="14"/>
                    </a:cxn>
                    <a:cxn ang="0">
                      <a:pos x="258" y="37"/>
                    </a:cxn>
                    <a:cxn ang="0">
                      <a:pos x="241" y="7"/>
                    </a:cxn>
                    <a:cxn ang="0">
                      <a:pos x="304" y="87"/>
                    </a:cxn>
                    <a:cxn ang="0">
                      <a:pos x="209" y="122"/>
                    </a:cxn>
                  </a:cxnLst>
                  <a:rect l="0" t="0" r="r" b="b"/>
                  <a:pathLst>
                    <a:path w="311" h="122">
                      <a:moveTo>
                        <a:pt x="209" y="112"/>
                      </a:moveTo>
                      <a:cubicBezTo>
                        <a:pt x="179" y="97"/>
                        <a:pt x="152" y="71"/>
                        <a:pt x="120" y="62"/>
                      </a:cubicBezTo>
                      <a:cubicBezTo>
                        <a:pt x="84" y="52"/>
                        <a:pt x="39" y="57"/>
                        <a:pt x="0" y="57"/>
                      </a:cubicBezTo>
                      <a:cubicBezTo>
                        <a:pt x="23" y="42"/>
                        <a:pt x="73" y="39"/>
                        <a:pt x="110" y="46"/>
                      </a:cubicBezTo>
                      <a:cubicBezTo>
                        <a:pt x="154" y="56"/>
                        <a:pt x="185" y="90"/>
                        <a:pt x="233" y="81"/>
                      </a:cubicBezTo>
                      <a:cubicBezTo>
                        <a:pt x="254" y="4"/>
                        <a:pt x="139" y="25"/>
                        <a:pt x="105" y="14"/>
                      </a:cubicBezTo>
                      <a:cubicBezTo>
                        <a:pt x="163" y="0"/>
                        <a:pt x="211" y="11"/>
                        <a:pt x="258" y="37"/>
                      </a:cubicBezTo>
                      <a:cubicBezTo>
                        <a:pt x="253" y="29"/>
                        <a:pt x="250" y="17"/>
                        <a:pt x="241" y="7"/>
                      </a:cubicBezTo>
                      <a:cubicBezTo>
                        <a:pt x="263" y="12"/>
                        <a:pt x="311" y="63"/>
                        <a:pt x="304" y="87"/>
                      </a:cubicBezTo>
                      <a:cubicBezTo>
                        <a:pt x="297" y="109"/>
                        <a:pt x="232" y="119"/>
                        <a:pt x="209" y="122"/>
                      </a:cubicBezTo>
                    </a:path>
                  </a:pathLst>
                </a:custGeom>
                <a:solidFill>
                  <a:srgbClr val="60484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8" name="Freeform 29"/>
                <p:cNvSpPr>
                  <a:spLocks/>
                </p:cNvSpPr>
                <p:nvPr/>
              </p:nvSpPr>
              <p:spPr bwMode="gray">
                <a:xfrm>
                  <a:off x="-10264775" y="-19553237"/>
                  <a:ext cx="239713" cy="258763"/>
                </a:xfrm>
                <a:custGeom>
                  <a:avLst/>
                  <a:gdLst/>
                  <a:ahLst/>
                  <a:cxnLst>
                    <a:cxn ang="0">
                      <a:pos x="3" y="48"/>
                    </a:cxn>
                    <a:cxn ang="0">
                      <a:pos x="12" y="0"/>
                    </a:cxn>
                    <a:cxn ang="0">
                      <a:pos x="14" y="38"/>
                    </a:cxn>
                    <a:cxn ang="0">
                      <a:pos x="64" y="19"/>
                    </a:cxn>
                    <a:cxn ang="0">
                      <a:pos x="8" y="69"/>
                    </a:cxn>
                    <a:cxn ang="0">
                      <a:pos x="3" y="53"/>
                    </a:cxn>
                  </a:cxnLst>
                  <a:rect l="0" t="0" r="r" b="b"/>
                  <a:pathLst>
                    <a:path w="64" h="69">
                      <a:moveTo>
                        <a:pt x="3" y="48"/>
                      </a:moveTo>
                      <a:cubicBezTo>
                        <a:pt x="1" y="31"/>
                        <a:pt x="4" y="15"/>
                        <a:pt x="12" y="0"/>
                      </a:cubicBezTo>
                      <a:cubicBezTo>
                        <a:pt x="10" y="11"/>
                        <a:pt x="14" y="26"/>
                        <a:pt x="14" y="38"/>
                      </a:cubicBezTo>
                      <a:cubicBezTo>
                        <a:pt x="30" y="29"/>
                        <a:pt x="48" y="12"/>
                        <a:pt x="64" y="19"/>
                      </a:cubicBezTo>
                      <a:cubicBezTo>
                        <a:pt x="48" y="34"/>
                        <a:pt x="22" y="47"/>
                        <a:pt x="8" y="69"/>
                      </a:cubicBezTo>
                      <a:cubicBezTo>
                        <a:pt x="0" y="65"/>
                        <a:pt x="4" y="61"/>
                        <a:pt x="3" y="53"/>
                      </a:cubicBezTo>
                    </a:path>
                  </a:pathLst>
                </a:custGeom>
                <a:solidFill>
                  <a:srgbClr val="60484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69" name="Freeform 30"/>
                <p:cNvSpPr>
                  <a:spLocks/>
                </p:cNvSpPr>
                <p:nvPr/>
              </p:nvSpPr>
              <p:spPr bwMode="gray">
                <a:xfrm>
                  <a:off x="-11831638" y="-19035712"/>
                  <a:ext cx="277813" cy="369888"/>
                </a:xfrm>
                <a:custGeom>
                  <a:avLst/>
                  <a:gdLst/>
                  <a:ahLst/>
                  <a:cxnLst>
                    <a:cxn ang="0">
                      <a:pos x="74" y="0"/>
                    </a:cxn>
                    <a:cxn ang="0">
                      <a:pos x="0" y="48"/>
                    </a:cxn>
                    <a:cxn ang="0">
                      <a:pos x="29" y="50"/>
                    </a:cxn>
                    <a:cxn ang="0">
                      <a:pos x="4" y="79"/>
                    </a:cxn>
                    <a:cxn ang="0">
                      <a:pos x="64" y="10"/>
                    </a:cxn>
                  </a:cxnLst>
                  <a:rect l="0" t="0" r="r" b="b"/>
                  <a:pathLst>
                    <a:path w="74" h="99">
                      <a:moveTo>
                        <a:pt x="74" y="0"/>
                      </a:moveTo>
                      <a:cubicBezTo>
                        <a:pt x="50" y="10"/>
                        <a:pt x="12" y="17"/>
                        <a:pt x="0" y="48"/>
                      </a:cubicBezTo>
                      <a:cubicBezTo>
                        <a:pt x="9" y="47"/>
                        <a:pt x="20" y="52"/>
                        <a:pt x="29" y="50"/>
                      </a:cubicBezTo>
                      <a:cubicBezTo>
                        <a:pt x="20" y="58"/>
                        <a:pt x="13" y="71"/>
                        <a:pt x="4" y="79"/>
                      </a:cubicBezTo>
                      <a:cubicBezTo>
                        <a:pt x="43" y="99"/>
                        <a:pt x="42" y="26"/>
                        <a:pt x="64" y="10"/>
                      </a:cubicBezTo>
                    </a:path>
                  </a:pathLst>
                </a:custGeom>
                <a:solidFill>
                  <a:srgbClr val="60484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0" name="Freeform 31"/>
                <p:cNvSpPr>
                  <a:spLocks/>
                </p:cNvSpPr>
                <p:nvPr/>
              </p:nvSpPr>
              <p:spPr bwMode="gray">
                <a:xfrm>
                  <a:off x="-10515600" y="-13898562"/>
                  <a:ext cx="701675" cy="1195388"/>
                </a:xfrm>
                <a:custGeom>
                  <a:avLst/>
                  <a:gdLst/>
                  <a:ahLst/>
                  <a:cxnLst>
                    <a:cxn ang="0">
                      <a:pos x="187" y="304"/>
                    </a:cxn>
                    <a:cxn ang="0">
                      <a:pos x="105" y="163"/>
                    </a:cxn>
                    <a:cxn ang="0">
                      <a:pos x="32" y="0"/>
                    </a:cxn>
                    <a:cxn ang="0">
                      <a:pos x="68" y="200"/>
                    </a:cxn>
                    <a:cxn ang="0">
                      <a:pos x="179" y="319"/>
                    </a:cxn>
                  </a:cxnLst>
                  <a:rect l="0" t="0" r="r" b="b"/>
                  <a:pathLst>
                    <a:path w="187" h="319">
                      <a:moveTo>
                        <a:pt x="187" y="304"/>
                      </a:moveTo>
                      <a:cubicBezTo>
                        <a:pt x="171" y="233"/>
                        <a:pt x="137" y="211"/>
                        <a:pt x="105" y="163"/>
                      </a:cubicBezTo>
                      <a:cubicBezTo>
                        <a:pt x="75" y="119"/>
                        <a:pt x="83" y="25"/>
                        <a:pt x="32" y="0"/>
                      </a:cubicBezTo>
                      <a:cubicBezTo>
                        <a:pt x="0" y="56"/>
                        <a:pt x="65" y="137"/>
                        <a:pt x="68" y="200"/>
                      </a:cubicBezTo>
                      <a:cubicBezTo>
                        <a:pt x="72" y="292"/>
                        <a:pt x="68" y="319"/>
                        <a:pt x="179" y="319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1" name="Freeform 32"/>
                <p:cNvSpPr>
                  <a:spLocks/>
                </p:cNvSpPr>
                <p:nvPr/>
              </p:nvSpPr>
              <p:spPr bwMode="gray">
                <a:xfrm>
                  <a:off x="-12436475" y="-14701837"/>
                  <a:ext cx="1422400" cy="938213"/>
                </a:xfrm>
                <a:custGeom>
                  <a:avLst/>
                  <a:gdLst/>
                  <a:ahLst/>
                  <a:cxnLst>
                    <a:cxn ang="0">
                      <a:pos x="364" y="235"/>
                    </a:cxn>
                    <a:cxn ang="0">
                      <a:pos x="163" y="124"/>
                    </a:cxn>
                    <a:cxn ang="0">
                      <a:pos x="0" y="0"/>
                    </a:cxn>
                    <a:cxn ang="0">
                      <a:pos x="199" y="125"/>
                    </a:cxn>
                    <a:cxn ang="0">
                      <a:pos x="379" y="250"/>
                    </a:cxn>
                  </a:cxnLst>
                  <a:rect l="0" t="0" r="r" b="b"/>
                  <a:pathLst>
                    <a:path w="379" h="250">
                      <a:moveTo>
                        <a:pt x="364" y="235"/>
                      </a:moveTo>
                      <a:cubicBezTo>
                        <a:pt x="304" y="237"/>
                        <a:pt x="216" y="155"/>
                        <a:pt x="163" y="124"/>
                      </a:cubicBezTo>
                      <a:cubicBezTo>
                        <a:pt x="114" y="95"/>
                        <a:pt x="19" y="53"/>
                        <a:pt x="0" y="0"/>
                      </a:cubicBezTo>
                      <a:cubicBezTo>
                        <a:pt x="68" y="47"/>
                        <a:pt x="127" y="90"/>
                        <a:pt x="199" y="125"/>
                      </a:cubicBezTo>
                      <a:cubicBezTo>
                        <a:pt x="261" y="156"/>
                        <a:pt x="320" y="229"/>
                        <a:pt x="379" y="25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2" name="Freeform 33"/>
                <p:cNvSpPr>
                  <a:spLocks/>
                </p:cNvSpPr>
                <p:nvPr/>
              </p:nvSpPr>
              <p:spPr bwMode="gray">
                <a:xfrm>
                  <a:off x="-11255375" y="-12815887"/>
                  <a:ext cx="800100" cy="701675"/>
                </a:xfrm>
                <a:custGeom>
                  <a:avLst/>
                  <a:gdLst/>
                  <a:ahLst/>
                  <a:cxnLst>
                    <a:cxn ang="0">
                      <a:pos x="213" y="38"/>
                    </a:cxn>
                    <a:cxn ang="0">
                      <a:pos x="13" y="91"/>
                    </a:cxn>
                    <a:cxn ang="0">
                      <a:pos x="213" y="30"/>
                    </a:cxn>
                  </a:cxnLst>
                  <a:rect l="0" t="0" r="r" b="b"/>
                  <a:pathLst>
                    <a:path w="213" h="187">
                      <a:moveTo>
                        <a:pt x="213" y="38"/>
                      </a:moveTo>
                      <a:cubicBezTo>
                        <a:pt x="179" y="52"/>
                        <a:pt x="0" y="187"/>
                        <a:pt x="13" y="91"/>
                      </a:cubicBezTo>
                      <a:cubicBezTo>
                        <a:pt x="53" y="72"/>
                        <a:pt x="181" y="0"/>
                        <a:pt x="213" y="3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3" name="Freeform 34"/>
                <p:cNvSpPr>
                  <a:spLocks/>
                </p:cNvSpPr>
                <p:nvPr/>
              </p:nvSpPr>
              <p:spPr bwMode="gray">
                <a:xfrm>
                  <a:off x="-12541250" y="-13846175"/>
                  <a:ext cx="1357313" cy="809625"/>
                </a:xfrm>
                <a:custGeom>
                  <a:avLst/>
                  <a:gdLst/>
                  <a:ahLst/>
                  <a:cxnLst>
                    <a:cxn ang="0">
                      <a:pos x="347" y="194"/>
                    </a:cxn>
                    <a:cxn ang="0">
                      <a:pos x="184" y="95"/>
                    </a:cxn>
                    <a:cxn ang="0">
                      <a:pos x="0" y="0"/>
                    </a:cxn>
                    <a:cxn ang="0">
                      <a:pos x="362" y="208"/>
                    </a:cxn>
                  </a:cxnLst>
                  <a:rect l="0" t="0" r="r" b="b"/>
                  <a:pathLst>
                    <a:path w="362" h="216">
                      <a:moveTo>
                        <a:pt x="347" y="194"/>
                      </a:moveTo>
                      <a:cubicBezTo>
                        <a:pt x="318" y="148"/>
                        <a:pt x="229" y="123"/>
                        <a:pt x="184" y="95"/>
                      </a:cubicBezTo>
                      <a:cubicBezTo>
                        <a:pt x="124" y="59"/>
                        <a:pt x="64" y="26"/>
                        <a:pt x="0" y="0"/>
                      </a:cubicBezTo>
                      <a:cubicBezTo>
                        <a:pt x="111" y="70"/>
                        <a:pt x="210" y="216"/>
                        <a:pt x="362" y="208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4" name="Freeform 35"/>
                <p:cNvSpPr>
                  <a:spLocks/>
                </p:cNvSpPr>
                <p:nvPr/>
              </p:nvSpPr>
              <p:spPr bwMode="gray">
                <a:xfrm>
                  <a:off x="-11955463" y="-11753850"/>
                  <a:ext cx="741363" cy="1098550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160" y="21"/>
                    </a:cxn>
                    <a:cxn ang="0">
                      <a:pos x="124" y="82"/>
                    </a:cxn>
                    <a:cxn ang="0">
                      <a:pos x="65" y="141"/>
                    </a:cxn>
                    <a:cxn ang="0">
                      <a:pos x="71" y="282"/>
                    </a:cxn>
                    <a:cxn ang="0">
                      <a:pos x="111" y="149"/>
                    </a:cxn>
                    <a:cxn ang="0">
                      <a:pos x="169" y="15"/>
                    </a:cxn>
                  </a:cxnLst>
                  <a:rect l="0" t="0" r="r" b="b"/>
                  <a:pathLst>
                    <a:path w="198" h="293">
                      <a:moveTo>
                        <a:pt x="169" y="0"/>
                      </a:moveTo>
                      <a:cubicBezTo>
                        <a:pt x="164" y="4"/>
                        <a:pt x="162" y="15"/>
                        <a:pt x="160" y="21"/>
                      </a:cubicBezTo>
                      <a:cubicBezTo>
                        <a:pt x="109" y="27"/>
                        <a:pt x="144" y="56"/>
                        <a:pt x="124" y="82"/>
                      </a:cubicBezTo>
                      <a:cubicBezTo>
                        <a:pt x="109" y="103"/>
                        <a:pt x="81" y="120"/>
                        <a:pt x="65" y="141"/>
                      </a:cubicBezTo>
                      <a:cubicBezTo>
                        <a:pt x="41" y="171"/>
                        <a:pt x="0" y="293"/>
                        <a:pt x="71" y="282"/>
                      </a:cubicBezTo>
                      <a:cubicBezTo>
                        <a:pt x="83" y="232"/>
                        <a:pt x="82" y="193"/>
                        <a:pt x="111" y="149"/>
                      </a:cubicBezTo>
                      <a:cubicBezTo>
                        <a:pt x="139" y="107"/>
                        <a:pt x="198" y="79"/>
                        <a:pt x="169" y="15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5" name="Freeform 36"/>
                <p:cNvSpPr>
                  <a:spLocks/>
                </p:cNvSpPr>
                <p:nvPr/>
              </p:nvSpPr>
              <p:spPr bwMode="gray">
                <a:xfrm>
                  <a:off x="-12285663" y="-12552362"/>
                  <a:ext cx="460375" cy="622300"/>
                </a:xfrm>
                <a:custGeom>
                  <a:avLst/>
                  <a:gdLst/>
                  <a:ahLst/>
                  <a:cxnLst>
                    <a:cxn ang="0">
                      <a:pos x="116" y="35"/>
                    </a:cxn>
                    <a:cxn ang="0">
                      <a:pos x="41" y="166"/>
                    </a:cxn>
                    <a:cxn ang="0">
                      <a:pos x="19" y="34"/>
                    </a:cxn>
                    <a:cxn ang="0">
                      <a:pos x="123" y="35"/>
                    </a:cxn>
                  </a:cxnLst>
                  <a:rect l="0" t="0" r="r" b="b"/>
                  <a:pathLst>
                    <a:path w="123" h="166">
                      <a:moveTo>
                        <a:pt x="116" y="35"/>
                      </a:moveTo>
                      <a:cubicBezTo>
                        <a:pt x="62" y="8"/>
                        <a:pt x="40" y="121"/>
                        <a:pt x="41" y="166"/>
                      </a:cubicBezTo>
                      <a:cubicBezTo>
                        <a:pt x="37" y="133"/>
                        <a:pt x="0" y="67"/>
                        <a:pt x="19" y="34"/>
                      </a:cubicBezTo>
                      <a:cubicBezTo>
                        <a:pt x="38" y="0"/>
                        <a:pt x="99" y="3"/>
                        <a:pt x="123" y="35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6" name="Freeform 37"/>
                <p:cNvSpPr>
                  <a:spLocks/>
                </p:cNvSpPr>
                <p:nvPr/>
              </p:nvSpPr>
              <p:spPr bwMode="gray">
                <a:xfrm>
                  <a:off x="-10752138" y="-16092487"/>
                  <a:ext cx="258763" cy="476250"/>
                </a:xfrm>
                <a:custGeom>
                  <a:avLst/>
                  <a:gdLst/>
                  <a:ahLst/>
                  <a:cxnLst>
                    <a:cxn ang="0">
                      <a:pos x="56" y="4"/>
                    </a:cxn>
                    <a:cxn ang="0">
                      <a:pos x="37" y="2"/>
                    </a:cxn>
                    <a:cxn ang="0">
                      <a:pos x="22" y="127"/>
                    </a:cxn>
                    <a:cxn ang="0">
                      <a:pos x="32" y="88"/>
                    </a:cxn>
                    <a:cxn ang="0">
                      <a:pos x="69" y="104"/>
                    </a:cxn>
                    <a:cxn ang="0">
                      <a:pos x="53" y="84"/>
                    </a:cxn>
                    <a:cxn ang="0">
                      <a:pos x="49" y="61"/>
                    </a:cxn>
                    <a:cxn ang="0">
                      <a:pos x="58" y="16"/>
                    </a:cxn>
                    <a:cxn ang="0">
                      <a:pos x="56" y="6"/>
                    </a:cxn>
                  </a:cxnLst>
                  <a:rect l="0" t="0" r="r" b="b"/>
                  <a:pathLst>
                    <a:path w="69" h="127">
                      <a:moveTo>
                        <a:pt x="56" y="4"/>
                      </a:moveTo>
                      <a:cubicBezTo>
                        <a:pt x="51" y="1"/>
                        <a:pt x="43" y="0"/>
                        <a:pt x="37" y="2"/>
                      </a:cubicBezTo>
                      <a:cubicBezTo>
                        <a:pt x="19" y="34"/>
                        <a:pt x="0" y="88"/>
                        <a:pt x="22" y="127"/>
                      </a:cubicBezTo>
                      <a:cubicBezTo>
                        <a:pt x="21" y="111"/>
                        <a:pt x="17" y="93"/>
                        <a:pt x="32" y="88"/>
                      </a:cubicBezTo>
                      <a:cubicBezTo>
                        <a:pt x="45" y="83"/>
                        <a:pt x="59" y="97"/>
                        <a:pt x="69" y="104"/>
                      </a:cubicBezTo>
                      <a:cubicBezTo>
                        <a:pt x="64" y="98"/>
                        <a:pt x="57" y="91"/>
                        <a:pt x="53" y="84"/>
                      </a:cubicBezTo>
                      <a:cubicBezTo>
                        <a:pt x="48" y="73"/>
                        <a:pt x="50" y="69"/>
                        <a:pt x="49" y="61"/>
                      </a:cubicBezTo>
                      <a:cubicBezTo>
                        <a:pt x="47" y="48"/>
                        <a:pt x="36" y="24"/>
                        <a:pt x="58" y="16"/>
                      </a:cubicBezTo>
                      <a:cubicBezTo>
                        <a:pt x="60" y="11"/>
                        <a:pt x="58" y="10"/>
                        <a:pt x="56" y="6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7" name="Freeform 38"/>
                <p:cNvSpPr>
                  <a:spLocks/>
                </p:cNvSpPr>
                <p:nvPr/>
              </p:nvSpPr>
              <p:spPr bwMode="gray">
                <a:xfrm>
                  <a:off x="-9871075" y="-15316200"/>
                  <a:ext cx="528638" cy="2414588"/>
                </a:xfrm>
                <a:custGeom>
                  <a:avLst/>
                  <a:gdLst/>
                  <a:ahLst/>
                  <a:cxnLst>
                    <a:cxn ang="0">
                      <a:pos x="2" y="3"/>
                    </a:cxn>
                    <a:cxn ang="0">
                      <a:pos x="46" y="132"/>
                    </a:cxn>
                    <a:cxn ang="0">
                      <a:pos x="80" y="257"/>
                    </a:cxn>
                    <a:cxn ang="0">
                      <a:pos x="104" y="391"/>
                    </a:cxn>
                    <a:cxn ang="0">
                      <a:pos x="129" y="529"/>
                    </a:cxn>
                    <a:cxn ang="0">
                      <a:pos x="141" y="644"/>
                    </a:cxn>
                    <a:cxn ang="0">
                      <a:pos x="121" y="543"/>
                    </a:cxn>
                    <a:cxn ang="0">
                      <a:pos x="102" y="427"/>
                    </a:cxn>
                    <a:cxn ang="0">
                      <a:pos x="77" y="313"/>
                    </a:cxn>
                    <a:cxn ang="0">
                      <a:pos x="55" y="201"/>
                    </a:cxn>
                    <a:cxn ang="0">
                      <a:pos x="25" y="10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1" h="644">
                      <a:moveTo>
                        <a:pt x="2" y="3"/>
                      </a:moveTo>
                      <a:cubicBezTo>
                        <a:pt x="27" y="43"/>
                        <a:pt x="30" y="88"/>
                        <a:pt x="46" y="132"/>
                      </a:cubicBezTo>
                      <a:cubicBezTo>
                        <a:pt x="62" y="173"/>
                        <a:pt x="65" y="216"/>
                        <a:pt x="80" y="257"/>
                      </a:cubicBezTo>
                      <a:cubicBezTo>
                        <a:pt x="95" y="297"/>
                        <a:pt x="97" y="349"/>
                        <a:pt x="104" y="391"/>
                      </a:cubicBezTo>
                      <a:cubicBezTo>
                        <a:pt x="111" y="437"/>
                        <a:pt x="122" y="482"/>
                        <a:pt x="129" y="529"/>
                      </a:cubicBezTo>
                      <a:cubicBezTo>
                        <a:pt x="135" y="567"/>
                        <a:pt x="141" y="603"/>
                        <a:pt x="141" y="644"/>
                      </a:cubicBezTo>
                      <a:cubicBezTo>
                        <a:pt x="104" y="622"/>
                        <a:pt x="120" y="576"/>
                        <a:pt x="121" y="543"/>
                      </a:cubicBezTo>
                      <a:cubicBezTo>
                        <a:pt x="124" y="509"/>
                        <a:pt x="112" y="461"/>
                        <a:pt x="102" y="427"/>
                      </a:cubicBezTo>
                      <a:cubicBezTo>
                        <a:pt x="91" y="389"/>
                        <a:pt x="83" y="352"/>
                        <a:pt x="77" y="313"/>
                      </a:cubicBezTo>
                      <a:cubicBezTo>
                        <a:pt x="71" y="274"/>
                        <a:pt x="62" y="238"/>
                        <a:pt x="55" y="201"/>
                      </a:cubicBezTo>
                      <a:cubicBezTo>
                        <a:pt x="48" y="166"/>
                        <a:pt x="34" y="138"/>
                        <a:pt x="25" y="104"/>
                      </a:cubicBezTo>
                      <a:cubicBezTo>
                        <a:pt x="16" y="68"/>
                        <a:pt x="13" y="34"/>
                        <a:pt x="0" y="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8" name="Freeform 39"/>
                <p:cNvSpPr>
                  <a:spLocks/>
                </p:cNvSpPr>
                <p:nvPr/>
              </p:nvSpPr>
              <p:spPr bwMode="gray">
                <a:xfrm>
                  <a:off x="-12484100" y="-15297150"/>
                  <a:ext cx="1570038" cy="1195388"/>
                </a:xfrm>
                <a:custGeom>
                  <a:avLst/>
                  <a:gdLst/>
                  <a:ahLst/>
                  <a:cxnLst>
                    <a:cxn ang="0">
                      <a:pos x="218" y="92"/>
                    </a:cxn>
                    <a:cxn ang="0">
                      <a:pos x="174" y="57"/>
                    </a:cxn>
                    <a:cxn ang="0">
                      <a:pos x="119" y="30"/>
                    </a:cxn>
                    <a:cxn ang="0">
                      <a:pos x="62" y="13"/>
                    </a:cxn>
                    <a:cxn ang="0">
                      <a:pos x="0" y="3"/>
                    </a:cxn>
                    <a:cxn ang="0">
                      <a:pos x="114" y="35"/>
                    </a:cxn>
                    <a:cxn ang="0">
                      <a:pos x="227" y="92"/>
                    </a:cxn>
                    <a:cxn ang="0">
                      <a:pos x="349" y="189"/>
                    </a:cxn>
                    <a:cxn ang="0">
                      <a:pos x="419" y="319"/>
                    </a:cxn>
                    <a:cxn ang="0">
                      <a:pos x="379" y="256"/>
                    </a:cxn>
                    <a:cxn ang="0">
                      <a:pos x="335" y="191"/>
                    </a:cxn>
                    <a:cxn ang="0">
                      <a:pos x="277" y="140"/>
                    </a:cxn>
                    <a:cxn ang="0">
                      <a:pos x="208" y="89"/>
                    </a:cxn>
                  </a:cxnLst>
                  <a:rect l="0" t="0" r="r" b="b"/>
                  <a:pathLst>
                    <a:path w="419" h="319">
                      <a:moveTo>
                        <a:pt x="218" y="92"/>
                      </a:moveTo>
                      <a:cubicBezTo>
                        <a:pt x="201" y="84"/>
                        <a:pt x="191" y="65"/>
                        <a:pt x="174" y="57"/>
                      </a:cubicBezTo>
                      <a:cubicBezTo>
                        <a:pt x="157" y="48"/>
                        <a:pt x="138" y="37"/>
                        <a:pt x="119" y="30"/>
                      </a:cubicBezTo>
                      <a:cubicBezTo>
                        <a:pt x="101" y="23"/>
                        <a:pt x="81" y="17"/>
                        <a:pt x="62" y="13"/>
                      </a:cubicBezTo>
                      <a:cubicBezTo>
                        <a:pt x="46" y="10"/>
                        <a:pt x="10" y="13"/>
                        <a:pt x="0" y="3"/>
                      </a:cubicBezTo>
                      <a:cubicBezTo>
                        <a:pt x="46" y="0"/>
                        <a:pt x="75" y="15"/>
                        <a:pt x="114" y="35"/>
                      </a:cubicBezTo>
                      <a:cubicBezTo>
                        <a:pt x="153" y="54"/>
                        <a:pt x="192" y="68"/>
                        <a:pt x="227" y="92"/>
                      </a:cubicBezTo>
                      <a:cubicBezTo>
                        <a:pt x="267" y="119"/>
                        <a:pt x="321" y="149"/>
                        <a:pt x="349" y="189"/>
                      </a:cubicBezTo>
                      <a:cubicBezTo>
                        <a:pt x="378" y="231"/>
                        <a:pt x="404" y="272"/>
                        <a:pt x="419" y="319"/>
                      </a:cubicBezTo>
                      <a:cubicBezTo>
                        <a:pt x="403" y="302"/>
                        <a:pt x="394" y="275"/>
                        <a:pt x="379" y="256"/>
                      </a:cubicBezTo>
                      <a:cubicBezTo>
                        <a:pt x="364" y="234"/>
                        <a:pt x="352" y="211"/>
                        <a:pt x="335" y="191"/>
                      </a:cubicBezTo>
                      <a:cubicBezTo>
                        <a:pt x="319" y="170"/>
                        <a:pt x="298" y="155"/>
                        <a:pt x="277" y="140"/>
                      </a:cubicBezTo>
                      <a:cubicBezTo>
                        <a:pt x="257" y="124"/>
                        <a:pt x="231" y="99"/>
                        <a:pt x="208" y="89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79" name="Freeform 40"/>
                <p:cNvSpPr>
                  <a:spLocks/>
                </p:cNvSpPr>
                <p:nvPr/>
              </p:nvSpPr>
              <p:spPr bwMode="gray">
                <a:xfrm>
                  <a:off x="-11820525" y="-16114712"/>
                  <a:ext cx="1173163" cy="66675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160" y="84"/>
                    </a:cxn>
                    <a:cxn ang="0">
                      <a:pos x="313" y="141"/>
                    </a:cxn>
                    <a:cxn ang="0">
                      <a:pos x="158" y="102"/>
                    </a:cxn>
                    <a:cxn ang="0">
                      <a:pos x="86" y="86"/>
                    </a:cxn>
                    <a:cxn ang="0">
                      <a:pos x="0" y="74"/>
                    </a:cxn>
                    <a:cxn ang="0">
                      <a:pos x="51" y="56"/>
                    </a:cxn>
                    <a:cxn ang="0">
                      <a:pos x="34" y="2"/>
                    </a:cxn>
                  </a:cxnLst>
                  <a:rect l="0" t="0" r="r" b="b"/>
                  <a:pathLst>
                    <a:path w="313" h="178">
                      <a:moveTo>
                        <a:pt x="39" y="0"/>
                      </a:moveTo>
                      <a:cubicBezTo>
                        <a:pt x="82" y="23"/>
                        <a:pt x="118" y="61"/>
                        <a:pt x="160" y="84"/>
                      </a:cubicBezTo>
                      <a:cubicBezTo>
                        <a:pt x="208" y="111"/>
                        <a:pt x="254" y="143"/>
                        <a:pt x="313" y="141"/>
                      </a:cubicBezTo>
                      <a:cubicBezTo>
                        <a:pt x="261" y="178"/>
                        <a:pt x="201" y="125"/>
                        <a:pt x="158" y="102"/>
                      </a:cubicBezTo>
                      <a:cubicBezTo>
                        <a:pt x="136" y="91"/>
                        <a:pt x="110" y="90"/>
                        <a:pt x="86" y="86"/>
                      </a:cubicBezTo>
                      <a:cubicBezTo>
                        <a:pt x="59" y="82"/>
                        <a:pt x="28" y="72"/>
                        <a:pt x="0" y="74"/>
                      </a:cubicBezTo>
                      <a:cubicBezTo>
                        <a:pt x="14" y="72"/>
                        <a:pt x="42" y="70"/>
                        <a:pt x="51" y="56"/>
                      </a:cubicBezTo>
                      <a:cubicBezTo>
                        <a:pt x="65" y="34"/>
                        <a:pt x="34" y="22"/>
                        <a:pt x="34" y="2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0" name="Freeform 41"/>
                <p:cNvSpPr>
                  <a:spLocks/>
                </p:cNvSpPr>
                <p:nvPr/>
              </p:nvSpPr>
              <p:spPr bwMode="gray">
                <a:xfrm>
                  <a:off x="-9739313" y="-16471900"/>
                  <a:ext cx="352425" cy="34131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34" y="43"/>
                    </a:cxn>
                    <a:cxn ang="0">
                      <a:pos x="62" y="91"/>
                    </a:cxn>
                    <a:cxn ang="0">
                      <a:pos x="94" y="3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4" h="91">
                      <a:moveTo>
                        <a:pt x="2" y="0"/>
                      </a:moveTo>
                      <a:cubicBezTo>
                        <a:pt x="11" y="15"/>
                        <a:pt x="22" y="28"/>
                        <a:pt x="34" y="43"/>
                      </a:cubicBezTo>
                      <a:cubicBezTo>
                        <a:pt x="49" y="59"/>
                        <a:pt x="52" y="75"/>
                        <a:pt x="62" y="91"/>
                      </a:cubicBezTo>
                      <a:cubicBezTo>
                        <a:pt x="61" y="59"/>
                        <a:pt x="52" y="32"/>
                        <a:pt x="94" y="35"/>
                      </a:cubicBezTo>
                      <a:cubicBezTo>
                        <a:pt x="72" y="14"/>
                        <a:pt x="25" y="21"/>
                        <a:pt x="0" y="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1" name="Freeform 42"/>
                <p:cNvSpPr>
                  <a:spLocks/>
                </p:cNvSpPr>
                <p:nvPr/>
              </p:nvSpPr>
              <p:spPr bwMode="gray">
                <a:xfrm>
                  <a:off x="-8167688" y="-15155862"/>
                  <a:ext cx="130175" cy="1177925"/>
                </a:xfrm>
                <a:custGeom>
                  <a:avLst/>
                  <a:gdLst/>
                  <a:ahLst/>
                  <a:cxnLst>
                    <a:cxn ang="0">
                      <a:pos x="20" y="260"/>
                    </a:cxn>
                    <a:cxn ang="0">
                      <a:pos x="0" y="0"/>
                    </a:cxn>
                    <a:cxn ang="0">
                      <a:pos x="32" y="146"/>
                    </a:cxn>
                    <a:cxn ang="0">
                      <a:pos x="32" y="314"/>
                    </a:cxn>
                    <a:cxn ang="0">
                      <a:pos x="25" y="314"/>
                    </a:cxn>
                    <a:cxn ang="0">
                      <a:pos x="20" y="260"/>
                    </a:cxn>
                  </a:cxnLst>
                  <a:rect l="0" t="0" r="r" b="b"/>
                  <a:pathLst>
                    <a:path w="35" h="314">
                      <a:moveTo>
                        <a:pt x="20" y="260"/>
                      </a:moveTo>
                      <a:cubicBezTo>
                        <a:pt x="20" y="171"/>
                        <a:pt x="21" y="85"/>
                        <a:pt x="0" y="0"/>
                      </a:cubicBezTo>
                      <a:cubicBezTo>
                        <a:pt x="29" y="34"/>
                        <a:pt x="32" y="102"/>
                        <a:pt x="32" y="146"/>
                      </a:cubicBezTo>
                      <a:cubicBezTo>
                        <a:pt x="32" y="202"/>
                        <a:pt x="35" y="257"/>
                        <a:pt x="32" y="314"/>
                      </a:cubicBezTo>
                      <a:cubicBezTo>
                        <a:pt x="30" y="314"/>
                        <a:pt x="27" y="314"/>
                        <a:pt x="25" y="314"/>
                      </a:cubicBezTo>
                      <a:cubicBezTo>
                        <a:pt x="16" y="299"/>
                        <a:pt x="20" y="277"/>
                        <a:pt x="20" y="26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2" name="Freeform 43"/>
                <p:cNvSpPr>
                  <a:spLocks/>
                </p:cNvSpPr>
                <p:nvPr/>
              </p:nvSpPr>
              <p:spPr bwMode="gray">
                <a:xfrm>
                  <a:off x="-12233275" y="-15687675"/>
                  <a:ext cx="974725" cy="825500"/>
                </a:xfrm>
                <a:custGeom>
                  <a:avLst/>
                  <a:gdLst/>
                  <a:ahLst/>
                  <a:cxnLst>
                    <a:cxn ang="0">
                      <a:pos x="74" y="0"/>
                    </a:cxn>
                    <a:cxn ang="0">
                      <a:pos x="121" y="20"/>
                    </a:cxn>
                    <a:cxn ang="0">
                      <a:pos x="173" y="39"/>
                    </a:cxn>
                    <a:cxn ang="0">
                      <a:pos x="255" y="106"/>
                    </a:cxn>
                    <a:cxn ang="0">
                      <a:pos x="194" y="121"/>
                    </a:cxn>
                    <a:cxn ang="0">
                      <a:pos x="260" y="220"/>
                    </a:cxn>
                    <a:cxn ang="0">
                      <a:pos x="152" y="104"/>
                    </a:cxn>
                    <a:cxn ang="0">
                      <a:pos x="0" y="44"/>
                    </a:cxn>
                    <a:cxn ang="0">
                      <a:pos x="109" y="23"/>
                    </a:cxn>
                    <a:cxn ang="0">
                      <a:pos x="74" y="2"/>
                    </a:cxn>
                  </a:cxnLst>
                  <a:rect l="0" t="0" r="r" b="b"/>
                  <a:pathLst>
                    <a:path w="260" h="220">
                      <a:moveTo>
                        <a:pt x="74" y="0"/>
                      </a:moveTo>
                      <a:cubicBezTo>
                        <a:pt x="79" y="15"/>
                        <a:pt x="107" y="16"/>
                        <a:pt x="121" y="20"/>
                      </a:cubicBezTo>
                      <a:cubicBezTo>
                        <a:pt x="143" y="24"/>
                        <a:pt x="155" y="29"/>
                        <a:pt x="173" y="39"/>
                      </a:cubicBezTo>
                      <a:cubicBezTo>
                        <a:pt x="202" y="56"/>
                        <a:pt x="240" y="78"/>
                        <a:pt x="255" y="106"/>
                      </a:cubicBezTo>
                      <a:cubicBezTo>
                        <a:pt x="229" y="84"/>
                        <a:pt x="167" y="70"/>
                        <a:pt x="194" y="121"/>
                      </a:cubicBezTo>
                      <a:cubicBezTo>
                        <a:pt x="212" y="155"/>
                        <a:pt x="240" y="187"/>
                        <a:pt x="260" y="220"/>
                      </a:cubicBezTo>
                      <a:cubicBezTo>
                        <a:pt x="219" y="187"/>
                        <a:pt x="186" y="144"/>
                        <a:pt x="152" y="104"/>
                      </a:cubicBezTo>
                      <a:cubicBezTo>
                        <a:pt x="112" y="58"/>
                        <a:pt x="60" y="46"/>
                        <a:pt x="0" y="44"/>
                      </a:cubicBezTo>
                      <a:cubicBezTo>
                        <a:pt x="25" y="29"/>
                        <a:pt x="120" y="67"/>
                        <a:pt x="109" y="23"/>
                      </a:cubicBezTo>
                      <a:cubicBezTo>
                        <a:pt x="93" y="25"/>
                        <a:pt x="82" y="15"/>
                        <a:pt x="74" y="2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3" name="Freeform 44"/>
                <p:cNvSpPr>
                  <a:spLocks/>
                </p:cNvSpPr>
                <p:nvPr/>
              </p:nvSpPr>
              <p:spPr bwMode="gray">
                <a:xfrm>
                  <a:off x="-12068175" y="-12238037"/>
                  <a:ext cx="401638" cy="957263"/>
                </a:xfrm>
                <a:custGeom>
                  <a:avLst/>
                  <a:gdLst/>
                  <a:ahLst/>
                  <a:cxnLst>
                    <a:cxn ang="0">
                      <a:pos x="105" y="30"/>
                    </a:cxn>
                    <a:cxn ang="0">
                      <a:pos x="73" y="150"/>
                    </a:cxn>
                    <a:cxn ang="0">
                      <a:pos x="3" y="255"/>
                    </a:cxn>
                    <a:cxn ang="0">
                      <a:pos x="0" y="152"/>
                    </a:cxn>
                    <a:cxn ang="0">
                      <a:pos x="58" y="62"/>
                    </a:cxn>
                    <a:cxn ang="0">
                      <a:pos x="70" y="10"/>
                    </a:cxn>
                    <a:cxn ang="0">
                      <a:pos x="105" y="35"/>
                    </a:cxn>
                  </a:cxnLst>
                  <a:rect l="0" t="0" r="r" b="b"/>
                  <a:pathLst>
                    <a:path w="107" h="255">
                      <a:moveTo>
                        <a:pt x="105" y="30"/>
                      </a:moveTo>
                      <a:cubicBezTo>
                        <a:pt x="105" y="75"/>
                        <a:pt x="93" y="113"/>
                        <a:pt x="73" y="150"/>
                      </a:cubicBezTo>
                      <a:cubicBezTo>
                        <a:pt x="58" y="179"/>
                        <a:pt x="29" y="241"/>
                        <a:pt x="3" y="255"/>
                      </a:cubicBezTo>
                      <a:cubicBezTo>
                        <a:pt x="10" y="232"/>
                        <a:pt x="69" y="115"/>
                        <a:pt x="0" y="152"/>
                      </a:cubicBezTo>
                      <a:cubicBezTo>
                        <a:pt x="38" y="138"/>
                        <a:pt x="52" y="98"/>
                        <a:pt x="58" y="62"/>
                      </a:cubicBezTo>
                      <a:cubicBezTo>
                        <a:pt x="60" y="48"/>
                        <a:pt x="56" y="19"/>
                        <a:pt x="70" y="10"/>
                      </a:cubicBezTo>
                      <a:cubicBezTo>
                        <a:pt x="88" y="0"/>
                        <a:pt x="107" y="18"/>
                        <a:pt x="105" y="35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4" name="Freeform 45"/>
                <p:cNvSpPr>
                  <a:spLocks/>
                </p:cNvSpPr>
                <p:nvPr/>
              </p:nvSpPr>
              <p:spPr bwMode="gray">
                <a:xfrm>
                  <a:off x="-10583863" y="-15178087"/>
                  <a:ext cx="935038" cy="828675"/>
                </a:xfrm>
                <a:custGeom>
                  <a:avLst/>
                  <a:gdLst/>
                  <a:ahLst/>
                  <a:cxnLst>
                    <a:cxn ang="0">
                      <a:pos x="220" y="189"/>
                    </a:cxn>
                    <a:cxn ang="0">
                      <a:pos x="0" y="1"/>
                    </a:cxn>
                    <a:cxn ang="0">
                      <a:pos x="87" y="47"/>
                    </a:cxn>
                    <a:cxn ang="0">
                      <a:pos x="150" y="99"/>
                    </a:cxn>
                    <a:cxn ang="0">
                      <a:pos x="249" y="221"/>
                    </a:cxn>
                    <a:cxn ang="0">
                      <a:pos x="220" y="189"/>
                    </a:cxn>
                  </a:cxnLst>
                  <a:rect l="0" t="0" r="r" b="b"/>
                  <a:pathLst>
                    <a:path w="249" h="221">
                      <a:moveTo>
                        <a:pt x="220" y="189"/>
                      </a:moveTo>
                      <a:cubicBezTo>
                        <a:pt x="165" y="107"/>
                        <a:pt x="60" y="76"/>
                        <a:pt x="0" y="1"/>
                      </a:cubicBezTo>
                      <a:cubicBezTo>
                        <a:pt x="24" y="0"/>
                        <a:pt x="65" y="34"/>
                        <a:pt x="87" y="47"/>
                      </a:cubicBezTo>
                      <a:cubicBezTo>
                        <a:pt x="109" y="61"/>
                        <a:pt x="132" y="80"/>
                        <a:pt x="150" y="99"/>
                      </a:cubicBezTo>
                      <a:cubicBezTo>
                        <a:pt x="177" y="129"/>
                        <a:pt x="246" y="179"/>
                        <a:pt x="249" y="221"/>
                      </a:cubicBezTo>
                      <a:cubicBezTo>
                        <a:pt x="234" y="217"/>
                        <a:pt x="228" y="201"/>
                        <a:pt x="220" y="189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5" name="Freeform 46"/>
                <p:cNvSpPr>
                  <a:spLocks/>
                </p:cNvSpPr>
                <p:nvPr/>
              </p:nvSpPr>
              <p:spPr bwMode="gray">
                <a:xfrm>
                  <a:off x="-10399713" y="-15530512"/>
                  <a:ext cx="641350" cy="698500"/>
                </a:xfrm>
                <a:custGeom>
                  <a:avLst/>
                  <a:gdLst/>
                  <a:ahLst/>
                  <a:cxnLst>
                    <a:cxn ang="0">
                      <a:pos x="168" y="181"/>
                    </a:cxn>
                    <a:cxn ang="0">
                      <a:pos x="118" y="120"/>
                    </a:cxn>
                    <a:cxn ang="0">
                      <a:pos x="81" y="82"/>
                    </a:cxn>
                    <a:cxn ang="0">
                      <a:pos x="0" y="0"/>
                    </a:cxn>
                    <a:cxn ang="0">
                      <a:pos x="71" y="65"/>
                    </a:cxn>
                    <a:cxn ang="0">
                      <a:pos x="143" y="111"/>
                    </a:cxn>
                    <a:cxn ang="0">
                      <a:pos x="141" y="65"/>
                    </a:cxn>
                    <a:cxn ang="0">
                      <a:pos x="149" y="126"/>
                    </a:cxn>
                    <a:cxn ang="0">
                      <a:pos x="171" y="186"/>
                    </a:cxn>
                  </a:cxnLst>
                  <a:rect l="0" t="0" r="r" b="b"/>
                  <a:pathLst>
                    <a:path w="171" h="186">
                      <a:moveTo>
                        <a:pt x="168" y="181"/>
                      </a:moveTo>
                      <a:cubicBezTo>
                        <a:pt x="148" y="165"/>
                        <a:pt x="136" y="138"/>
                        <a:pt x="118" y="120"/>
                      </a:cubicBezTo>
                      <a:cubicBezTo>
                        <a:pt x="106" y="107"/>
                        <a:pt x="92" y="96"/>
                        <a:pt x="81" y="82"/>
                      </a:cubicBezTo>
                      <a:cubicBezTo>
                        <a:pt x="55" y="53"/>
                        <a:pt x="26" y="28"/>
                        <a:pt x="0" y="0"/>
                      </a:cubicBezTo>
                      <a:cubicBezTo>
                        <a:pt x="26" y="4"/>
                        <a:pt x="51" y="48"/>
                        <a:pt x="71" y="65"/>
                      </a:cubicBezTo>
                      <a:cubicBezTo>
                        <a:pt x="88" y="79"/>
                        <a:pt x="121" y="112"/>
                        <a:pt x="143" y="111"/>
                      </a:cubicBezTo>
                      <a:cubicBezTo>
                        <a:pt x="147" y="97"/>
                        <a:pt x="148" y="78"/>
                        <a:pt x="141" y="65"/>
                      </a:cubicBezTo>
                      <a:cubicBezTo>
                        <a:pt x="141" y="89"/>
                        <a:pt x="141" y="106"/>
                        <a:pt x="149" y="126"/>
                      </a:cubicBezTo>
                      <a:cubicBezTo>
                        <a:pt x="155" y="143"/>
                        <a:pt x="160" y="174"/>
                        <a:pt x="171" y="186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6" name="Freeform 47"/>
                <p:cNvSpPr>
                  <a:spLocks/>
                </p:cNvSpPr>
                <p:nvPr/>
              </p:nvSpPr>
              <p:spPr bwMode="gray">
                <a:xfrm>
                  <a:off x="-12307888" y="-13550900"/>
                  <a:ext cx="1597025" cy="1582738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92" y="113"/>
                    </a:cxn>
                    <a:cxn ang="0">
                      <a:pos x="176" y="221"/>
                    </a:cxn>
                    <a:cxn ang="0">
                      <a:pos x="262" y="323"/>
                    </a:cxn>
                    <a:cxn ang="0">
                      <a:pos x="383" y="389"/>
                    </a:cxn>
                    <a:cxn ang="0">
                      <a:pos x="426" y="422"/>
                    </a:cxn>
                    <a:cxn ang="0">
                      <a:pos x="330" y="371"/>
                    </a:cxn>
                    <a:cxn ang="0">
                      <a:pos x="234" y="301"/>
                    </a:cxn>
                    <a:cxn ang="0">
                      <a:pos x="164" y="211"/>
                    </a:cxn>
                    <a:cxn ang="0">
                      <a:pos x="94" y="11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26" h="422">
                      <a:moveTo>
                        <a:pt x="0" y="3"/>
                      </a:moveTo>
                      <a:cubicBezTo>
                        <a:pt x="40" y="28"/>
                        <a:pt x="64" y="77"/>
                        <a:pt x="92" y="113"/>
                      </a:cubicBezTo>
                      <a:cubicBezTo>
                        <a:pt x="120" y="149"/>
                        <a:pt x="149" y="185"/>
                        <a:pt x="176" y="221"/>
                      </a:cubicBezTo>
                      <a:cubicBezTo>
                        <a:pt x="203" y="256"/>
                        <a:pt x="226" y="294"/>
                        <a:pt x="262" y="323"/>
                      </a:cubicBezTo>
                      <a:cubicBezTo>
                        <a:pt x="297" y="352"/>
                        <a:pt x="344" y="362"/>
                        <a:pt x="383" y="389"/>
                      </a:cubicBezTo>
                      <a:cubicBezTo>
                        <a:pt x="397" y="399"/>
                        <a:pt x="413" y="410"/>
                        <a:pt x="426" y="422"/>
                      </a:cubicBezTo>
                      <a:cubicBezTo>
                        <a:pt x="393" y="409"/>
                        <a:pt x="365" y="385"/>
                        <a:pt x="330" y="371"/>
                      </a:cubicBezTo>
                      <a:cubicBezTo>
                        <a:pt x="291" y="354"/>
                        <a:pt x="260" y="336"/>
                        <a:pt x="234" y="301"/>
                      </a:cubicBezTo>
                      <a:cubicBezTo>
                        <a:pt x="212" y="271"/>
                        <a:pt x="190" y="238"/>
                        <a:pt x="164" y="211"/>
                      </a:cubicBezTo>
                      <a:cubicBezTo>
                        <a:pt x="134" y="180"/>
                        <a:pt x="117" y="150"/>
                        <a:pt x="94" y="115"/>
                      </a:cubicBezTo>
                      <a:cubicBezTo>
                        <a:pt x="69" y="76"/>
                        <a:pt x="34" y="31"/>
                        <a:pt x="0" y="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7" name="Freeform 48"/>
                <p:cNvSpPr>
                  <a:spLocks/>
                </p:cNvSpPr>
                <p:nvPr/>
              </p:nvSpPr>
              <p:spPr bwMode="gray">
                <a:xfrm>
                  <a:off x="-11134725" y="-11585575"/>
                  <a:ext cx="2182813" cy="1054100"/>
                </a:xfrm>
                <a:custGeom>
                  <a:avLst/>
                  <a:gdLst/>
                  <a:ahLst/>
                  <a:cxnLst>
                    <a:cxn ang="0">
                      <a:pos x="191" y="144"/>
                    </a:cxn>
                    <a:cxn ang="0">
                      <a:pos x="273" y="120"/>
                    </a:cxn>
                    <a:cxn ang="0">
                      <a:pos x="364" y="97"/>
                    </a:cxn>
                    <a:cxn ang="0">
                      <a:pos x="417" y="87"/>
                    </a:cxn>
                    <a:cxn ang="0">
                      <a:pos x="456" y="69"/>
                    </a:cxn>
                    <a:cxn ang="0">
                      <a:pos x="533" y="34"/>
                    </a:cxn>
                    <a:cxn ang="0">
                      <a:pos x="580" y="10"/>
                    </a:cxn>
                    <a:cxn ang="0">
                      <a:pos x="506" y="74"/>
                    </a:cxn>
                    <a:cxn ang="0">
                      <a:pos x="438" y="133"/>
                    </a:cxn>
                    <a:cxn ang="0">
                      <a:pos x="406" y="187"/>
                    </a:cxn>
                    <a:cxn ang="0">
                      <a:pos x="370" y="226"/>
                    </a:cxn>
                    <a:cxn ang="0">
                      <a:pos x="261" y="275"/>
                    </a:cxn>
                    <a:cxn ang="0">
                      <a:pos x="332" y="174"/>
                    </a:cxn>
                    <a:cxn ang="0">
                      <a:pos x="291" y="203"/>
                    </a:cxn>
                    <a:cxn ang="0">
                      <a:pos x="216" y="223"/>
                    </a:cxn>
                    <a:cxn ang="0">
                      <a:pos x="266" y="183"/>
                    </a:cxn>
                    <a:cxn ang="0">
                      <a:pos x="288" y="127"/>
                    </a:cxn>
                    <a:cxn ang="0">
                      <a:pos x="186" y="146"/>
                    </a:cxn>
                    <a:cxn ang="0">
                      <a:pos x="0" y="0"/>
                    </a:cxn>
                    <a:cxn ang="0">
                      <a:pos x="76" y="97"/>
                    </a:cxn>
                    <a:cxn ang="0">
                      <a:pos x="123" y="139"/>
                    </a:cxn>
                    <a:cxn ang="0">
                      <a:pos x="166" y="136"/>
                    </a:cxn>
                  </a:cxnLst>
                  <a:rect l="0" t="0" r="r" b="b"/>
                  <a:pathLst>
                    <a:path w="582" h="281">
                      <a:moveTo>
                        <a:pt x="191" y="144"/>
                      </a:moveTo>
                      <a:cubicBezTo>
                        <a:pt x="222" y="147"/>
                        <a:pt x="246" y="128"/>
                        <a:pt x="273" y="120"/>
                      </a:cubicBezTo>
                      <a:cubicBezTo>
                        <a:pt x="303" y="110"/>
                        <a:pt x="334" y="107"/>
                        <a:pt x="364" y="97"/>
                      </a:cubicBezTo>
                      <a:cubicBezTo>
                        <a:pt x="381" y="91"/>
                        <a:pt x="398" y="91"/>
                        <a:pt x="417" y="87"/>
                      </a:cubicBezTo>
                      <a:cubicBezTo>
                        <a:pt x="432" y="83"/>
                        <a:pt x="442" y="76"/>
                        <a:pt x="456" y="69"/>
                      </a:cubicBezTo>
                      <a:cubicBezTo>
                        <a:pt x="482" y="57"/>
                        <a:pt x="505" y="40"/>
                        <a:pt x="533" y="34"/>
                      </a:cubicBezTo>
                      <a:cubicBezTo>
                        <a:pt x="542" y="20"/>
                        <a:pt x="564" y="14"/>
                        <a:pt x="580" y="10"/>
                      </a:cubicBezTo>
                      <a:cubicBezTo>
                        <a:pt x="582" y="29"/>
                        <a:pt x="523" y="60"/>
                        <a:pt x="506" y="74"/>
                      </a:cubicBezTo>
                      <a:cubicBezTo>
                        <a:pt x="484" y="91"/>
                        <a:pt x="453" y="110"/>
                        <a:pt x="438" y="133"/>
                      </a:cubicBezTo>
                      <a:cubicBezTo>
                        <a:pt x="415" y="138"/>
                        <a:pt x="416" y="170"/>
                        <a:pt x="406" y="187"/>
                      </a:cubicBezTo>
                      <a:cubicBezTo>
                        <a:pt x="398" y="202"/>
                        <a:pt x="381" y="215"/>
                        <a:pt x="370" y="226"/>
                      </a:cubicBezTo>
                      <a:cubicBezTo>
                        <a:pt x="344" y="252"/>
                        <a:pt x="300" y="281"/>
                        <a:pt x="261" y="275"/>
                      </a:cubicBezTo>
                      <a:cubicBezTo>
                        <a:pt x="285" y="266"/>
                        <a:pt x="382" y="208"/>
                        <a:pt x="332" y="174"/>
                      </a:cubicBezTo>
                      <a:cubicBezTo>
                        <a:pt x="310" y="159"/>
                        <a:pt x="304" y="191"/>
                        <a:pt x="291" y="203"/>
                      </a:cubicBezTo>
                      <a:cubicBezTo>
                        <a:pt x="269" y="223"/>
                        <a:pt x="244" y="224"/>
                        <a:pt x="216" y="223"/>
                      </a:cubicBezTo>
                      <a:cubicBezTo>
                        <a:pt x="218" y="203"/>
                        <a:pt x="254" y="196"/>
                        <a:pt x="266" y="183"/>
                      </a:cubicBezTo>
                      <a:cubicBezTo>
                        <a:pt x="277" y="171"/>
                        <a:pt x="304" y="139"/>
                        <a:pt x="288" y="127"/>
                      </a:cubicBezTo>
                      <a:cubicBezTo>
                        <a:pt x="272" y="115"/>
                        <a:pt x="210" y="149"/>
                        <a:pt x="186" y="146"/>
                      </a:cubicBezTo>
                      <a:cubicBezTo>
                        <a:pt x="111" y="136"/>
                        <a:pt x="57" y="42"/>
                        <a:pt x="0" y="0"/>
                      </a:cubicBezTo>
                      <a:cubicBezTo>
                        <a:pt x="32" y="27"/>
                        <a:pt x="48" y="67"/>
                        <a:pt x="76" y="97"/>
                      </a:cubicBezTo>
                      <a:cubicBezTo>
                        <a:pt x="89" y="112"/>
                        <a:pt x="107" y="126"/>
                        <a:pt x="123" y="139"/>
                      </a:cubicBezTo>
                      <a:cubicBezTo>
                        <a:pt x="134" y="149"/>
                        <a:pt x="185" y="166"/>
                        <a:pt x="166" y="136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8" name="Freeform 49"/>
                <p:cNvSpPr>
                  <a:spLocks/>
                </p:cNvSpPr>
                <p:nvPr/>
              </p:nvSpPr>
              <p:spPr bwMode="gray">
                <a:xfrm>
                  <a:off x="-9890125" y="-10245725"/>
                  <a:ext cx="608013" cy="400050"/>
                </a:xfrm>
                <a:custGeom>
                  <a:avLst/>
                  <a:gdLst/>
                  <a:ahLst/>
                  <a:cxnLst>
                    <a:cxn ang="0">
                      <a:pos x="0" y="102"/>
                    </a:cxn>
                    <a:cxn ang="0">
                      <a:pos x="133" y="0"/>
                    </a:cxn>
                    <a:cxn ang="0">
                      <a:pos x="79" y="60"/>
                    </a:cxn>
                    <a:cxn ang="0">
                      <a:pos x="2" y="107"/>
                    </a:cxn>
                  </a:cxnLst>
                  <a:rect l="0" t="0" r="r" b="b"/>
                  <a:pathLst>
                    <a:path w="162" h="107">
                      <a:moveTo>
                        <a:pt x="0" y="102"/>
                      </a:moveTo>
                      <a:cubicBezTo>
                        <a:pt x="56" y="92"/>
                        <a:pt x="82" y="12"/>
                        <a:pt x="133" y="0"/>
                      </a:cubicBezTo>
                      <a:cubicBezTo>
                        <a:pt x="162" y="34"/>
                        <a:pt x="96" y="50"/>
                        <a:pt x="79" y="60"/>
                      </a:cubicBezTo>
                      <a:cubicBezTo>
                        <a:pt x="55" y="74"/>
                        <a:pt x="29" y="99"/>
                        <a:pt x="2" y="107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89" name="Freeform 50"/>
                <p:cNvSpPr>
                  <a:spLocks/>
                </p:cNvSpPr>
                <p:nvPr/>
              </p:nvSpPr>
              <p:spPr bwMode="gray">
                <a:xfrm>
                  <a:off x="-11055350" y="-10545762"/>
                  <a:ext cx="617538" cy="300038"/>
                </a:xfrm>
                <a:custGeom>
                  <a:avLst/>
                  <a:gdLst/>
                  <a:ahLst/>
                  <a:cxnLst>
                    <a:cxn ang="0">
                      <a:pos x="3" y="68"/>
                    </a:cxn>
                    <a:cxn ang="0">
                      <a:pos x="165" y="8"/>
                    </a:cxn>
                    <a:cxn ang="0">
                      <a:pos x="78" y="43"/>
                    </a:cxn>
                    <a:cxn ang="0">
                      <a:pos x="36" y="60"/>
                    </a:cxn>
                    <a:cxn ang="0">
                      <a:pos x="1" y="80"/>
                    </a:cxn>
                    <a:cxn ang="0">
                      <a:pos x="1" y="70"/>
                    </a:cxn>
                  </a:cxnLst>
                  <a:rect l="0" t="0" r="r" b="b"/>
                  <a:pathLst>
                    <a:path w="165" h="80">
                      <a:moveTo>
                        <a:pt x="3" y="68"/>
                      </a:moveTo>
                      <a:cubicBezTo>
                        <a:pt x="0" y="40"/>
                        <a:pt x="141" y="0"/>
                        <a:pt x="165" y="8"/>
                      </a:cubicBezTo>
                      <a:cubicBezTo>
                        <a:pt x="135" y="12"/>
                        <a:pt x="105" y="30"/>
                        <a:pt x="78" y="43"/>
                      </a:cubicBezTo>
                      <a:cubicBezTo>
                        <a:pt x="64" y="49"/>
                        <a:pt x="49" y="54"/>
                        <a:pt x="36" y="60"/>
                      </a:cubicBezTo>
                      <a:cubicBezTo>
                        <a:pt x="23" y="66"/>
                        <a:pt x="15" y="80"/>
                        <a:pt x="1" y="80"/>
                      </a:cubicBezTo>
                      <a:cubicBezTo>
                        <a:pt x="1" y="76"/>
                        <a:pt x="1" y="73"/>
                        <a:pt x="1" y="7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0" name="Freeform 51"/>
                <p:cNvSpPr>
                  <a:spLocks/>
                </p:cNvSpPr>
                <p:nvPr/>
              </p:nvSpPr>
              <p:spPr bwMode="gray">
                <a:xfrm>
                  <a:off x="-12522200" y="-13520737"/>
                  <a:ext cx="1271588" cy="18113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5" y="112"/>
                    </a:cxn>
                    <a:cxn ang="0">
                      <a:pos x="125" y="231"/>
                    </a:cxn>
                    <a:cxn ang="0">
                      <a:pos x="221" y="334"/>
                    </a:cxn>
                    <a:cxn ang="0">
                      <a:pos x="293" y="428"/>
                    </a:cxn>
                    <a:cxn ang="0">
                      <a:pos x="309" y="448"/>
                    </a:cxn>
                    <a:cxn ang="0">
                      <a:pos x="298" y="447"/>
                    </a:cxn>
                    <a:cxn ang="0">
                      <a:pos x="339" y="483"/>
                    </a:cxn>
                    <a:cxn ang="0">
                      <a:pos x="278" y="391"/>
                    </a:cxn>
                    <a:cxn ang="0">
                      <a:pos x="198" y="298"/>
                    </a:cxn>
                    <a:cxn ang="0">
                      <a:pos x="127" y="218"/>
                    </a:cxn>
                    <a:cxn ang="0">
                      <a:pos x="71" y="114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339" h="483">
                      <a:moveTo>
                        <a:pt x="0" y="0"/>
                      </a:moveTo>
                      <a:cubicBezTo>
                        <a:pt x="23" y="37"/>
                        <a:pt x="47" y="71"/>
                        <a:pt x="65" y="112"/>
                      </a:cubicBezTo>
                      <a:cubicBezTo>
                        <a:pt x="82" y="151"/>
                        <a:pt x="100" y="195"/>
                        <a:pt x="125" y="231"/>
                      </a:cubicBezTo>
                      <a:cubicBezTo>
                        <a:pt x="152" y="270"/>
                        <a:pt x="190" y="298"/>
                        <a:pt x="221" y="334"/>
                      </a:cubicBezTo>
                      <a:cubicBezTo>
                        <a:pt x="247" y="364"/>
                        <a:pt x="269" y="397"/>
                        <a:pt x="293" y="428"/>
                      </a:cubicBezTo>
                      <a:cubicBezTo>
                        <a:pt x="298" y="435"/>
                        <a:pt x="302" y="442"/>
                        <a:pt x="309" y="448"/>
                      </a:cubicBezTo>
                      <a:cubicBezTo>
                        <a:pt x="306" y="448"/>
                        <a:pt x="301" y="448"/>
                        <a:pt x="298" y="447"/>
                      </a:cubicBezTo>
                      <a:cubicBezTo>
                        <a:pt x="312" y="459"/>
                        <a:pt x="322" y="474"/>
                        <a:pt x="339" y="483"/>
                      </a:cubicBezTo>
                      <a:cubicBezTo>
                        <a:pt x="311" y="460"/>
                        <a:pt x="299" y="419"/>
                        <a:pt x="278" y="391"/>
                      </a:cubicBezTo>
                      <a:cubicBezTo>
                        <a:pt x="253" y="357"/>
                        <a:pt x="227" y="329"/>
                        <a:pt x="198" y="298"/>
                      </a:cubicBezTo>
                      <a:cubicBezTo>
                        <a:pt x="173" y="272"/>
                        <a:pt x="150" y="245"/>
                        <a:pt x="127" y="218"/>
                      </a:cubicBezTo>
                      <a:cubicBezTo>
                        <a:pt x="103" y="188"/>
                        <a:pt x="90" y="148"/>
                        <a:pt x="71" y="114"/>
                      </a:cubicBezTo>
                      <a:cubicBezTo>
                        <a:pt x="50" y="75"/>
                        <a:pt x="33" y="34"/>
                        <a:pt x="0" y="2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1" name="Freeform 52"/>
                <p:cNvSpPr>
                  <a:spLocks/>
                </p:cNvSpPr>
                <p:nvPr/>
              </p:nvSpPr>
              <p:spPr bwMode="gray">
                <a:xfrm>
                  <a:off x="-12296775" y="-15147925"/>
                  <a:ext cx="1616075" cy="1885950"/>
                </a:xfrm>
                <a:custGeom>
                  <a:avLst/>
                  <a:gdLst/>
                  <a:ahLst/>
                  <a:cxnLst>
                    <a:cxn ang="0">
                      <a:pos x="426" y="493"/>
                    </a:cxn>
                    <a:cxn ang="0">
                      <a:pos x="352" y="406"/>
                    </a:cxn>
                    <a:cxn ang="0">
                      <a:pos x="305" y="322"/>
                    </a:cxn>
                    <a:cxn ang="0">
                      <a:pos x="272" y="290"/>
                    </a:cxn>
                    <a:cxn ang="0">
                      <a:pos x="246" y="255"/>
                    </a:cxn>
                    <a:cxn ang="0">
                      <a:pos x="174" y="183"/>
                    </a:cxn>
                    <a:cxn ang="0">
                      <a:pos x="225" y="215"/>
                    </a:cxn>
                    <a:cxn ang="0">
                      <a:pos x="196" y="146"/>
                    </a:cxn>
                    <a:cxn ang="0">
                      <a:pos x="134" y="84"/>
                    </a:cxn>
                    <a:cxn ang="0">
                      <a:pos x="0" y="8"/>
                    </a:cxn>
                    <a:cxn ang="0">
                      <a:pos x="114" y="59"/>
                    </a:cxn>
                    <a:cxn ang="0">
                      <a:pos x="206" y="143"/>
                    </a:cxn>
                    <a:cxn ang="0">
                      <a:pos x="278" y="260"/>
                    </a:cxn>
                    <a:cxn ang="0">
                      <a:pos x="349" y="370"/>
                    </a:cxn>
                    <a:cxn ang="0">
                      <a:pos x="385" y="440"/>
                    </a:cxn>
                    <a:cxn ang="0">
                      <a:pos x="431" y="503"/>
                    </a:cxn>
                  </a:cxnLst>
                  <a:rect l="0" t="0" r="r" b="b"/>
                  <a:pathLst>
                    <a:path w="431" h="503">
                      <a:moveTo>
                        <a:pt x="426" y="493"/>
                      </a:moveTo>
                      <a:cubicBezTo>
                        <a:pt x="401" y="464"/>
                        <a:pt x="381" y="434"/>
                        <a:pt x="352" y="406"/>
                      </a:cubicBezTo>
                      <a:cubicBezTo>
                        <a:pt x="327" y="381"/>
                        <a:pt x="324" y="348"/>
                        <a:pt x="305" y="322"/>
                      </a:cubicBezTo>
                      <a:cubicBezTo>
                        <a:pt x="297" y="309"/>
                        <a:pt x="281" y="302"/>
                        <a:pt x="272" y="290"/>
                      </a:cubicBezTo>
                      <a:cubicBezTo>
                        <a:pt x="262" y="278"/>
                        <a:pt x="258" y="267"/>
                        <a:pt x="246" y="255"/>
                      </a:cubicBezTo>
                      <a:cubicBezTo>
                        <a:pt x="220" y="232"/>
                        <a:pt x="196" y="211"/>
                        <a:pt x="174" y="183"/>
                      </a:cubicBezTo>
                      <a:cubicBezTo>
                        <a:pt x="188" y="192"/>
                        <a:pt x="208" y="217"/>
                        <a:pt x="225" y="215"/>
                      </a:cubicBezTo>
                      <a:cubicBezTo>
                        <a:pt x="230" y="194"/>
                        <a:pt x="205" y="163"/>
                        <a:pt x="196" y="146"/>
                      </a:cubicBezTo>
                      <a:cubicBezTo>
                        <a:pt x="182" y="119"/>
                        <a:pt x="156" y="105"/>
                        <a:pt x="134" y="84"/>
                      </a:cubicBezTo>
                      <a:cubicBezTo>
                        <a:pt x="96" y="47"/>
                        <a:pt x="46" y="32"/>
                        <a:pt x="0" y="8"/>
                      </a:cubicBezTo>
                      <a:cubicBezTo>
                        <a:pt x="35" y="0"/>
                        <a:pt x="87" y="40"/>
                        <a:pt x="114" y="59"/>
                      </a:cubicBezTo>
                      <a:cubicBezTo>
                        <a:pt x="148" y="83"/>
                        <a:pt x="180" y="109"/>
                        <a:pt x="206" y="143"/>
                      </a:cubicBezTo>
                      <a:cubicBezTo>
                        <a:pt x="235" y="180"/>
                        <a:pt x="259" y="216"/>
                        <a:pt x="278" y="260"/>
                      </a:cubicBezTo>
                      <a:cubicBezTo>
                        <a:pt x="296" y="302"/>
                        <a:pt x="325" y="332"/>
                        <a:pt x="349" y="370"/>
                      </a:cubicBezTo>
                      <a:cubicBezTo>
                        <a:pt x="362" y="392"/>
                        <a:pt x="372" y="418"/>
                        <a:pt x="385" y="440"/>
                      </a:cubicBezTo>
                      <a:cubicBezTo>
                        <a:pt x="398" y="464"/>
                        <a:pt x="420" y="479"/>
                        <a:pt x="431" y="503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2" name="Freeform 53"/>
                <p:cNvSpPr>
                  <a:spLocks/>
                </p:cNvSpPr>
                <p:nvPr/>
              </p:nvSpPr>
              <p:spPr bwMode="gray">
                <a:xfrm>
                  <a:off x="-9882188" y="-16448087"/>
                  <a:ext cx="438150" cy="546100"/>
                </a:xfrm>
                <a:custGeom>
                  <a:avLst/>
                  <a:gdLst/>
                  <a:ahLst/>
                  <a:cxnLst>
                    <a:cxn ang="0">
                      <a:pos x="0" y="51"/>
                    </a:cxn>
                    <a:cxn ang="0">
                      <a:pos x="68" y="146"/>
                    </a:cxn>
                    <a:cxn ang="0">
                      <a:pos x="8" y="51"/>
                    </a:cxn>
                  </a:cxnLst>
                  <a:rect l="0" t="0" r="r" b="b"/>
                  <a:pathLst>
                    <a:path w="117" h="146">
                      <a:moveTo>
                        <a:pt x="0" y="51"/>
                      </a:moveTo>
                      <a:cubicBezTo>
                        <a:pt x="54" y="0"/>
                        <a:pt x="117" y="103"/>
                        <a:pt x="68" y="146"/>
                      </a:cubicBezTo>
                      <a:cubicBezTo>
                        <a:pt x="71" y="117"/>
                        <a:pt x="35" y="61"/>
                        <a:pt x="8" y="51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3" name="Freeform 54"/>
                <p:cNvSpPr>
                  <a:spLocks/>
                </p:cNvSpPr>
                <p:nvPr/>
              </p:nvSpPr>
              <p:spPr bwMode="gray">
                <a:xfrm>
                  <a:off x="-8726488" y="-15594012"/>
                  <a:ext cx="231775" cy="16160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7" y="225"/>
                    </a:cxn>
                    <a:cxn ang="0">
                      <a:pos x="37" y="338"/>
                    </a:cxn>
                    <a:cxn ang="0">
                      <a:pos x="62" y="431"/>
                    </a:cxn>
                    <a:cxn ang="0">
                      <a:pos x="42" y="223"/>
                    </a:cxn>
                    <a:cxn ang="0">
                      <a:pos x="37" y="8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62" h="431">
                      <a:moveTo>
                        <a:pt x="0" y="0"/>
                      </a:moveTo>
                      <a:cubicBezTo>
                        <a:pt x="0" y="78"/>
                        <a:pt x="5" y="150"/>
                        <a:pt x="17" y="225"/>
                      </a:cubicBezTo>
                      <a:cubicBezTo>
                        <a:pt x="23" y="262"/>
                        <a:pt x="28" y="301"/>
                        <a:pt x="37" y="338"/>
                      </a:cubicBezTo>
                      <a:cubicBezTo>
                        <a:pt x="43" y="363"/>
                        <a:pt x="43" y="414"/>
                        <a:pt x="62" y="431"/>
                      </a:cubicBezTo>
                      <a:cubicBezTo>
                        <a:pt x="49" y="364"/>
                        <a:pt x="42" y="295"/>
                        <a:pt x="42" y="223"/>
                      </a:cubicBezTo>
                      <a:cubicBezTo>
                        <a:pt x="42" y="179"/>
                        <a:pt x="39" y="134"/>
                        <a:pt x="37" y="89"/>
                      </a:cubicBezTo>
                      <a:cubicBezTo>
                        <a:pt x="35" y="58"/>
                        <a:pt x="29" y="19"/>
                        <a:pt x="3" y="0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4" name="Freeform 55"/>
                <p:cNvSpPr>
                  <a:spLocks/>
                </p:cNvSpPr>
                <p:nvPr/>
              </p:nvSpPr>
              <p:spPr bwMode="gray">
                <a:xfrm>
                  <a:off x="-8261350" y="-12144375"/>
                  <a:ext cx="314325" cy="663575"/>
                </a:xfrm>
                <a:custGeom>
                  <a:avLst/>
                  <a:gdLst/>
                  <a:ahLst/>
                  <a:cxnLst>
                    <a:cxn ang="0">
                      <a:pos x="47" y="166"/>
                    </a:cxn>
                    <a:cxn ang="0">
                      <a:pos x="77" y="92"/>
                    </a:cxn>
                    <a:cxn ang="0">
                      <a:pos x="82" y="0"/>
                    </a:cxn>
                    <a:cxn ang="0">
                      <a:pos x="52" y="91"/>
                    </a:cxn>
                    <a:cxn ang="0">
                      <a:pos x="55" y="169"/>
                    </a:cxn>
                  </a:cxnLst>
                  <a:rect l="0" t="0" r="r" b="b"/>
                  <a:pathLst>
                    <a:path w="84" h="177">
                      <a:moveTo>
                        <a:pt x="47" y="166"/>
                      </a:moveTo>
                      <a:cubicBezTo>
                        <a:pt x="57" y="140"/>
                        <a:pt x="74" y="121"/>
                        <a:pt x="77" y="92"/>
                      </a:cubicBezTo>
                      <a:cubicBezTo>
                        <a:pt x="80" y="61"/>
                        <a:pt x="84" y="31"/>
                        <a:pt x="82" y="0"/>
                      </a:cubicBezTo>
                      <a:cubicBezTo>
                        <a:pt x="62" y="23"/>
                        <a:pt x="61" y="63"/>
                        <a:pt x="52" y="91"/>
                      </a:cubicBezTo>
                      <a:cubicBezTo>
                        <a:pt x="45" y="112"/>
                        <a:pt x="0" y="177"/>
                        <a:pt x="55" y="169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5" name="Freeform 56"/>
                <p:cNvSpPr>
                  <a:spLocks/>
                </p:cNvSpPr>
                <p:nvPr/>
              </p:nvSpPr>
              <p:spPr bwMode="gray">
                <a:xfrm>
                  <a:off x="-7891463" y="-11993562"/>
                  <a:ext cx="363538" cy="377825"/>
                </a:xfrm>
                <a:custGeom>
                  <a:avLst/>
                  <a:gdLst/>
                  <a:ahLst/>
                  <a:cxnLst>
                    <a:cxn ang="0">
                      <a:pos x="5" y="94"/>
                    </a:cxn>
                    <a:cxn ang="0">
                      <a:pos x="92" y="0"/>
                    </a:cxn>
                    <a:cxn ang="0">
                      <a:pos x="70" y="27"/>
                    </a:cxn>
                    <a:cxn ang="0">
                      <a:pos x="46" y="55"/>
                    </a:cxn>
                    <a:cxn ang="0">
                      <a:pos x="0" y="101"/>
                    </a:cxn>
                  </a:cxnLst>
                  <a:rect l="0" t="0" r="r" b="b"/>
                  <a:pathLst>
                    <a:path w="97" h="101">
                      <a:moveTo>
                        <a:pt x="5" y="94"/>
                      </a:moveTo>
                      <a:cubicBezTo>
                        <a:pt x="42" y="86"/>
                        <a:pt x="97" y="42"/>
                        <a:pt x="92" y="0"/>
                      </a:cubicBezTo>
                      <a:cubicBezTo>
                        <a:pt x="75" y="0"/>
                        <a:pt x="77" y="15"/>
                        <a:pt x="70" y="27"/>
                      </a:cubicBezTo>
                      <a:cubicBezTo>
                        <a:pt x="65" y="35"/>
                        <a:pt x="52" y="47"/>
                        <a:pt x="46" y="55"/>
                      </a:cubicBezTo>
                      <a:cubicBezTo>
                        <a:pt x="32" y="72"/>
                        <a:pt x="20" y="92"/>
                        <a:pt x="0" y="101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6" name="Freeform 57"/>
                <p:cNvSpPr>
                  <a:spLocks/>
                </p:cNvSpPr>
                <p:nvPr/>
              </p:nvSpPr>
              <p:spPr bwMode="gray">
                <a:xfrm>
                  <a:off x="-9221788" y="-10617200"/>
                  <a:ext cx="187325" cy="779463"/>
                </a:xfrm>
                <a:custGeom>
                  <a:avLst/>
                  <a:gdLst/>
                  <a:ahLst/>
                  <a:cxnLst>
                    <a:cxn ang="0">
                      <a:pos x="23" y="191"/>
                    </a:cxn>
                    <a:cxn ang="0">
                      <a:pos x="24" y="0"/>
                    </a:cxn>
                    <a:cxn ang="0">
                      <a:pos x="23" y="57"/>
                    </a:cxn>
                    <a:cxn ang="0">
                      <a:pos x="11" y="109"/>
                    </a:cxn>
                    <a:cxn ang="0">
                      <a:pos x="8" y="161"/>
                    </a:cxn>
                    <a:cxn ang="0">
                      <a:pos x="1" y="208"/>
                    </a:cxn>
                    <a:cxn ang="0">
                      <a:pos x="20" y="191"/>
                    </a:cxn>
                  </a:cxnLst>
                  <a:rect l="0" t="0" r="r" b="b"/>
                  <a:pathLst>
                    <a:path w="50" h="208">
                      <a:moveTo>
                        <a:pt x="23" y="191"/>
                      </a:moveTo>
                      <a:cubicBezTo>
                        <a:pt x="20" y="130"/>
                        <a:pt x="50" y="57"/>
                        <a:pt x="24" y="0"/>
                      </a:cubicBezTo>
                      <a:cubicBezTo>
                        <a:pt x="22" y="19"/>
                        <a:pt x="24" y="38"/>
                        <a:pt x="23" y="57"/>
                      </a:cubicBezTo>
                      <a:cubicBezTo>
                        <a:pt x="21" y="75"/>
                        <a:pt x="14" y="93"/>
                        <a:pt x="11" y="109"/>
                      </a:cubicBezTo>
                      <a:cubicBezTo>
                        <a:pt x="8" y="126"/>
                        <a:pt x="10" y="143"/>
                        <a:pt x="8" y="161"/>
                      </a:cubicBezTo>
                      <a:cubicBezTo>
                        <a:pt x="7" y="177"/>
                        <a:pt x="0" y="191"/>
                        <a:pt x="1" y="208"/>
                      </a:cubicBezTo>
                      <a:cubicBezTo>
                        <a:pt x="10" y="207"/>
                        <a:pt x="16" y="200"/>
                        <a:pt x="20" y="191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7" name="Freeform 58"/>
                <p:cNvSpPr>
                  <a:spLocks/>
                </p:cNvSpPr>
                <p:nvPr/>
              </p:nvSpPr>
              <p:spPr bwMode="gray">
                <a:xfrm>
                  <a:off x="-8632825" y="-12068175"/>
                  <a:ext cx="576263" cy="1941513"/>
                </a:xfrm>
                <a:custGeom>
                  <a:avLst/>
                  <a:gdLst/>
                  <a:ahLst/>
                  <a:cxnLst>
                    <a:cxn ang="0">
                      <a:pos x="30" y="489"/>
                    </a:cxn>
                    <a:cxn ang="0">
                      <a:pos x="67" y="424"/>
                    </a:cxn>
                    <a:cxn ang="0">
                      <a:pos x="35" y="354"/>
                    </a:cxn>
                    <a:cxn ang="0">
                      <a:pos x="80" y="333"/>
                    </a:cxn>
                    <a:cxn ang="0">
                      <a:pos x="45" y="270"/>
                    </a:cxn>
                    <a:cxn ang="0">
                      <a:pos x="32" y="223"/>
                    </a:cxn>
                    <a:cxn ang="0">
                      <a:pos x="71" y="255"/>
                    </a:cxn>
                    <a:cxn ang="0">
                      <a:pos x="92" y="196"/>
                    </a:cxn>
                    <a:cxn ang="0">
                      <a:pos x="59" y="159"/>
                    </a:cxn>
                    <a:cxn ang="0">
                      <a:pos x="77" y="136"/>
                    </a:cxn>
                    <a:cxn ang="0">
                      <a:pos x="138" y="8"/>
                    </a:cxn>
                    <a:cxn ang="0">
                      <a:pos x="123" y="141"/>
                    </a:cxn>
                    <a:cxn ang="0">
                      <a:pos x="117" y="283"/>
                    </a:cxn>
                    <a:cxn ang="0">
                      <a:pos x="92" y="417"/>
                    </a:cxn>
                    <a:cxn ang="0">
                      <a:pos x="20" y="489"/>
                    </a:cxn>
                    <a:cxn ang="0">
                      <a:pos x="0" y="518"/>
                    </a:cxn>
                  </a:cxnLst>
                  <a:rect l="0" t="0" r="r" b="b"/>
                  <a:pathLst>
                    <a:path w="154" h="518">
                      <a:moveTo>
                        <a:pt x="30" y="489"/>
                      </a:moveTo>
                      <a:cubicBezTo>
                        <a:pt x="46" y="468"/>
                        <a:pt x="64" y="451"/>
                        <a:pt x="67" y="424"/>
                      </a:cubicBezTo>
                      <a:cubicBezTo>
                        <a:pt x="70" y="394"/>
                        <a:pt x="45" y="378"/>
                        <a:pt x="35" y="354"/>
                      </a:cubicBezTo>
                      <a:cubicBezTo>
                        <a:pt x="60" y="347"/>
                        <a:pt x="76" y="362"/>
                        <a:pt x="80" y="333"/>
                      </a:cubicBezTo>
                      <a:cubicBezTo>
                        <a:pt x="83" y="305"/>
                        <a:pt x="64" y="288"/>
                        <a:pt x="45" y="270"/>
                      </a:cubicBezTo>
                      <a:cubicBezTo>
                        <a:pt x="35" y="261"/>
                        <a:pt x="5" y="234"/>
                        <a:pt x="32" y="223"/>
                      </a:cubicBezTo>
                      <a:cubicBezTo>
                        <a:pt x="52" y="215"/>
                        <a:pt x="40" y="260"/>
                        <a:pt x="71" y="255"/>
                      </a:cubicBezTo>
                      <a:cubicBezTo>
                        <a:pt x="70" y="230"/>
                        <a:pt x="91" y="217"/>
                        <a:pt x="92" y="196"/>
                      </a:cubicBezTo>
                      <a:cubicBezTo>
                        <a:pt x="93" y="174"/>
                        <a:pt x="62" y="175"/>
                        <a:pt x="59" y="159"/>
                      </a:cubicBezTo>
                      <a:cubicBezTo>
                        <a:pt x="57" y="149"/>
                        <a:pt x="72" y="143"/>
                        <a:pt x="77" y="136"/>
                      </a:cubicBezTo>
                      <a:cubicBezTo>
                        <a:pt x="99" y="98"/>
                        <a:pt x="75" y="0"/>
                        <a:pt x="138" y="8"/>
                      </a:cubicBezTo>
                      <a:cubicBezTo>
                        <a:pt x="154" y="56"/>
                        <a:pt x="128" y="97"/>
                        <a:pt x="123" y="141"/>
                      </a:cubicBezTo>
                      <a:cubicBezTo>
                        <a:pt x="119" y="188"/>
                        <a:pt x="117" y="234"/>
                        <a:pt x="117" y="283"/>
                      </a:cubicBezTo>
                      <a:cubicBezTo>
                        <a:pt x="117" y="331"/>
                        <a:pt x="112" y="374"/>
                        <a:pt x="92" y="417"/>
                      </a:cubicBezTo>
                      <a:cubicBezTo>
                        <a:pt x="74" y="454"/>
                        <a:pt x="49" y="463"/>
                        <a:pt x="20" y="489"/>
                      </a:cubicBezTo>
                      <a:cubicBezTo>
                        <a:pt x="13" y="495"/>
                        <a:pt x="4" y="510"/>
                        <a:pt x="0" y="518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8" name="Freeform 59"/>
                <p:cNvSpPr>
                  <a:spLocks/>
                </p:cNvSpPr>
                <p:nvPr/>
              </p:nvSpPr>
              <p:spPr bwMode="gray">
                <a:xfrm>
                  <a:off x="-9431338" y="-8450262"/>
                  <a:ext cx="1162050" cy="1879600"/>
                </a:xfrm>
                <a:custGeom>
                  <a:avLst/>
                  <a:gdLst/>
                  <a:ahLst/>
                  <a:cxnLst>
                    <a:cxn ang="0">
                      <a:pos x="0" y="501"/>
                    </a:cxn>
                    <a:cxn ang="0">
                      <a:pos x="45" y="398"/>
                    </a:cxn>
                    <a:cxn ang="0">
                      <a:pos x="99" y="304"/>
                    </a:cxn>
                    <a:cxn ang="0">
                      <a:pos x="163" y="229"/>
                    </a:cxn>
                    <a:cxn ang="0">
                      <a:pos x="208" y="144"/>
                    </a:cxn>
                    <a:cxn ang="0">
                      <a:pos x="254" y="46"/>
                    </a:cxn>
                    <a:cxn ang="0">
                      <a:pos x="302" y="94"/>
                    </a:cxn>
                    <a:cxn ang="0">
                      <a:pos x="189" y="269"/>
                    </a:cxn>
                    <a:cxn ang="0">
                      <a:pos x="5" y="501"/>
                    </a:cxn>
                  </a:cxnLst>
                  <a:rect l="0" t="0" r="r" b="b"/>
                  <a:pathLst>
                    <a:path w="310" h="501">
                      <a:moveTo>
                        <a:pt x="0" y="501"/>
                      </a:moveTo>
                      <a:cubicBezTo>
                        <a:pt x="44" y="466"/>
                        <a:pt x="32" y="446"/>
                        <a:pt x="45" y="398"/>
                      </a:cubicBezTo>
                      <a:cubicBezTo>
                        <a:pt x="53" y="368"/>
                        <a:pt x="81" y="328"/>
                        <a:pt x="99" y="304"/>
                      </a:cubicBezTo>
                      <a:cubicBezTo>
                        <a:pt x="118" y="278"/>
                        <a:pt x="142" y="254"/>
                        <a:pt x="163" y="229"/>
                      </a:cubicBezTo>
                      <a:cubicBezTo>
                        <a:pt x="187" y="201"/>
                        <a:pt x="194" y="180"/>
                        <a:pt x="208" y="144"/>
                      </a:cubicBezTo>
                      <a:cubicBezTo>
                        <a:pt x="220" y="112"/>
                        <a:pt x="231" y="71"/>
                        <a:pt x="254" y="46"/>
                      </a:cubicBezTo>
                      <a:cubicBezTo>
                        <a:pt x="295" y="0"/>
                        <a:pt x="310" y="43"/>
                        <a:pt x="302" y="94"/>
                      </a:cubicBezTo>
                      <a:cubicBezTo>
                        <a:pt x="292" y="166"/>
                        <a:pt x="244" y="224"/>
                        <a:pt x="189" y="269"/>
                      </a:cubicBezTo>
                      <a:cubicBezTo>
                        <a:pt x="107" y="336"/>
                        <a:pt x="99" y="445"/>
                        <a:pt x="5" y="501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99" name="Freeform 60"/>
                <p:cNvSpPr>
                  <a:spLocks/>
                </p:cNvSpPr>
                <p:nvPr/>
              </p:nvSpPr>
              <p:spPr bwMode="gray">
                <a:xfrm>
                  <a:off x="-9469438" y="-4321175"/>
                  <a:ext cx="1522413" cy="2659063"/>
                </a:xfrm>
                <a:custGeom>
                  <a:avLst/>
                  <a:gdLst/>
                  <a:ahLst/>
                  <a:cxnLst>
                    <a:cxn ang="0">
                      <a:pos x="183" y="273"/>
                    </a:cxn>
                    <a:cxn ang="0">
                      <a:pos x="287" y="144"/>
                    </a:cxn>
                    <a:cxn ang="0">
                      <a:pos x="372" y="0"/>
                    </a:cxn>
                    <a:cxn ang="0">
                      <a:pos x="333" y="194"/>
                    </a:cxn>
                    <a:cxn ang="0">
                      <a:pos x="254" y="399"/>
                    </a:cxn>
                    <a:cxn ang="0">
                      <a:pos x="139" y="581"/>
                    </a:cxn>
                    <a:cxn ang="0">
                      <a:pos x="0" y="709"/>
                    </a:cxn>
                    <a:cxn ang="0">
                      <a:pos x="150" y="506"/>
                    </a:cxn>
                    <a:cxn ang="0">
                      <a:pos x="183" y="273"/>
                    </a:cxn>
                  </a:cxnLst>
                  <a:rect l="0" t="0" r="r" b="b"/>
                  <a:pathLst>
                    <a:path w="406" h="709">
                      <a:moveTo>
                        <a:pt x="183" y="273"/>
                      </a:moveTo>
                      <a:cubicBezTo>
                        <a:pt x="212" y="228"/>
                        <a:pt x="261" y="193"/>
                        <a:pt x="287" y="144"/>
                      </a:cubicBezTo>
                      <a:cubicBezTo>
                        <a:pt x="314" y="95"/>
                        <a:pt x="328" y="39"/>
                        <a:pt x="372" y="0"/>
                      </a:cubicBezTo>
                      <a:cubicBezTo>
                        <a:pt x="406" y="34"/>
                        <a:pt x="347" y="155"/>
                        <a:pt x="333" y="194"/>
                      </a:cubicBezTo>
                      <a:cubicBezTo>
                        <a:pt x="310" y="260"/>
                        <a:pt x="289" y="336"/>
                        <a:pt x="254" y="399"/>
                      </a:cubicBezTo>
                      <a:cubicBezTo>
                        <a:pt x="218" y="462"/>
                        <a:pt x="173" y="515"/>
                        <a:pt x="139" y="581"/>
                      </a:cubicBezTo>
                      <a:cubicBezTo>
                        <a:pt x="107" y="643"/>
                        <a:pt x="56" y="674"/>
                        <a:pt x="0" y="709"/>
                      </a:cubicBezTo>
                      <a:cubicBezTo>
                        <a:pt x="43" y="636"/>
                        <a:pt x="120" y="585"/>
                        <a:pt x="150" y="506"/>
                      </a:cubicBezTo>
                      <a:cubicBezTo>
                        <a:pt x="176" y="437"/>
                        <a:pt x="241" y="331"/>
                        <a:pt x="183" y="273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0" name="Freeform 61"/>
                <p:cNvSpPr>
                  <a:spLocks/>
                </p:cNvSpPr>
                <p:nvPr/>
              </p:nvSpPr>
              <p:spPr bwMode="gray">
                <a:xfrm>
                  <a:off x="-11423650" y="-5618162"/>
                  <a:ext cx="1373188" cy="1905000"/>
                </a:xfrm>
                <a:custGeom>
                  <a:avLst/>
                  <a:gdLst/>
                  <a:ahLst/>
                  <a:cxnLst>
                    <a:cxn ang="0">
                      <a:pos x="307" y="34"/>
                    </a:cxn>
                    <a:cxn ang="0">
                      <a:pos x="229" y="163"/>
                    </a:cxn>
                    <a:cxn ang="0">
                      <a:pos x="170" y="277"/>
                    </a:cxn>
                    <a:cxn ang="0">
                      <a:pos x="0" y="453"/>
                    </a:cxn>
                    <a:cxn ang="0">
                      <a:pos x="114" y="396"/>
                    </a:cxn>
                    <a:cxn ang="0">
                      <a:pos x="119" y="508"/>
                    </a:cxn>
                    <a:cxn ang="0">
                      <a:pos x="249" y="266"/>
                    </a:cxn>
                    <a:cxn ang="0">
                      <a:pos x="318" y="0"/>
                    </a:cxn>
                    <a:cxn ang="0">
                      <a:pos x="307" y="44"/>
                    </a:cxn>
                  </a:cxnLst>
                  <a:rect l="0" t="0" r="r" b="b"/>
                  <a:pathLst>
                    <a:path w="366" h="508">
                      <a:moveTo>
                        <a:pt x="307" y="34"/>
                      </a:moveTo>
                      <a:cubicBezTo>
                        <a:pt x="311" y="80"/>
                        <a:pt x="248" y="125"/>
                        <a:pt x="229" y="163"/>
                      </a:cubicBezTo>
                      <a:cubicBezTo>
                        <a:pt x="211" y="201"/>
                        <a:pt x="196" y="240"/>
                        <a:pt x="170" y="277"/>
                      </a:cubicBezTo>
                      <a:cubicBezTo>
                        <a:pt x="118" y="348"/>
                        <a:pt x="61" y="401"/>
                        <a:pt x="0" y="453"/>
                      </a:cubicBezTo>
                      <a:cubicBezTo>
                        <a:pt x="32" y="439"/>
                        <a:pt x="77" y="389"/>
                        <a:pt x="114" y="396"/>
                      </a:cubicBezTo>
                      <a:cubicBezTo>
                        <a:pt x="172" y="406"/>
                        <a:pt x="150" y="477"/>
                        <a:pt x="119" y="508"/>
                      </a:cubicBezTo>
                      <a:cubicBezTo>
                        <a:pt x="178" y="431"/>
                        <a:pt x="210" y="355"/>
                        <a:pt x="249" y="266"/>
                      </a:cubicBezTo>
                      <a:cubicBezTo>
                        <a:pt x="266" y="228"/>
                        <a:pt x="366" y="2"/>
                        <a:pt x="318" y="0"/>
                      </a:cubicBezTo>
                      <a:cubicBezTo>
                        <a:pt x="314" y="14"/>
                        <a:pt x="309" y="30"/>
                        <a:pt x="307" y="44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1" name="Freeform 62"/>
                <p:cNvSpPr>
                  <a:spLocks/>
                </p:cNvSpPr>
                <p:nvPr/>
              </p:nvSpPr>
              <p:spPr bwMode="gray">
                <a:xfrm>
                  <a:off x="-10220325" y="-1512887"/>
                  <a:ext cx="420688" cy="338138"/>
                </a:xfrm>
                <a:custGeom>
                  <a:avLst/>
                  <a:gdLst/>
                  <a:ahLst/>
                  <a:cxnLst>
                    <a:cxn ang="0">
                      <a:pos x="90" y="90"/>
                    </a:cxn>
                    <a:cxn ang="0">
                      <a:pos x="20" y="30"/>
                    </a:cxn>
                    <a:cxn ang="0">
                      <a:pos x="30" y="74"/>
                    </a:cxn>
                    <a:cxn ang="0">
                      <a:pos x="85" y="56"/>
                    </a:cxn>
                    <a:cxn ang="0">
                      <a:pos x="95" y="90"/>
                    </a:cxn>
                  </a:cxnLst>
                  <a:rect l="0" t="0" r="r" b="b"/>
                  <a:pathLst>
                    <a:path w="112" h="90">
                      <a:moveTo>
                        <a:pt x="90" y="90"/>
                      </a:moveTo>
                      <a:cubicBezTo>
                        <a:pt x="112" y="50"/>
                        <a:pt x="51" y="0"/>
                        <a:pt x="20" y="30"/>
                      </a:cubicBezTo>
                      <a:cubicBezTo>
                        <a:pt x="0" y="49"/>
                        <a:pt x="11" y="69"/>
                        <a:pt x="30" y="74"/>
                      </a:cubicBezTo>
                      <a:cubicBezTo>
                        <a:pt x="29" y="74"/>
                        <a:pt x="66" y="52"/>
                        <a:pt x="85" y="56"/>
                      </a:cubicBezTo>
                      <a:cubicBezTo>
                        <a:pt x="92" y="66"/>
                        <a:pt x="96" y="77"/>
                        <a:pt x="95" y="9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2" name="Freeform 63"/>
                <p:cNvSpPr>
                  <a:spLocks/>
                </p:cNvSpPr>
                <p:nvPr/>
              </p:nvSpPr>
              <p:spPr bwMode="gray">
                <a:xfrm>
                  <a:off x="-8858250" y="-4695825"/>
                  <a:ext cx="719138" cy="952500"/>
                </a:xfrm>
                <a:custGeom>
                  <a:avLst/>
                  <a:gdLst/>
                  <a:ahLst/>
                  <a:cxnLst>
                    <a:cxn ang="0">
                      <a:pos x="20" y="254"/>
                    </a:cxn>
                    <a:cxn ang="0">
                      <a:pos x="85" y="22"/>
                    </a:cxn>
                    <a:cxn ang="0">
                      <a:pos x="27" y="179"/>
                    </a:cxn>
                    <a:cxn ang="0">
                      <a:pos x="0" y="249"/>
                    </a:cxn>
                  </a:cxnLst>
                  <a:rect l="0" t="0" r="r" b="b"/>
                  <a:pathLst>
                    <a:path w="192" h="254">
                      <a:moveTo>
                        <a:pt x="20" y="254"/>
                      </a:moveTo>
                      <a:cubicBezTo>
                        <a:pt x="81" y="230"/>
                        <a:pt x="192" y="0"/>
                        <a:pt x="85" y="22"/>
                      </a:cubicBezTo>
                      <a:cubicBezTo>
                        <a:pt x="77" y="69"/>
                        <a:pt x="74" y="150"/>
                        <a:pt x="27" y="179"/>
                      </a:cubicBezTo>
                      <a:cubicBezTo>
                        <a:pt x="86" y="168"/>
                        <a:pt x="52" y="248"/>
                        <a:pt x="0" y="249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3" name="Freeform 64"/>
                <p:cNvSpPr>
                  <a:spLocks/>
                </p:cNvSpPr>
                <p:nvPr/>
              </p:nvSpPr>
              <p:spPr bwMode="gray">
                <a:xfrm>
                  <a:off x="-11404600" y="-7046912"/>
                  <a:ext cx="619125" cy="1311275"/>
                </a:xfrm>
                <a:custGeom>
                  <a:avLst/>
                  <a:gdLst/>
                  <a:ahLst/>
                  <a:cxnLst>
                    <a:cxn ang="0">
                      <a:pos x="15" y="340"/>
                    </a:cxn>
                    <a:cxn ang="0">
                      <a:pos x="132" y="151"/>
                    </a:cxn>
                    <a:cxn ang="0">
                      <a:pos x="163" y="58"/>
                    </a:cxn>
                    <a:cxn ang="0">
                      <a:pos x="130" y="43"/>
                    </a:cxn>
                    <a:cxn ang="0">
                      <a:pos x="109" y="127"/>
                    </a:cxn>
                    <a:cxn ang="0">
                      <a:pos x="70" y="197"/>
                    </a:cxn>
                    <a:cxn ang="0">
                      <a:pos x="0" y="350"/>
                    </a:cxn>
                  </a:cxnLst>
                  <a:rect l="0" t="0" r="r" b="b"/>
                  <a:pathLst>
                    <a:path w="165" h="350">
                      <a:moveTo>
                        <a:pt x="15" y="340"/>
                      </a:moveTo>
                      <a:cubicBezTo>
                        <a:pt x="70" y="316"/>
                        <a:pt x="104" y="202"/>
                        <a:pt x="132" y="151"/>
                      </a:cubicBezTo>
                      <a:cubicBezTo>
                        <a:pt x="147" y="125"/>
                        <a:pt x="162" y="87"/>
                        <a:pt x="163" y="58"/>
                      </a:cubicBezTo>
                      <a:cubicBezTo>
                        <a:pt x="165" y="15"/>
                        <a:pt x="153" y="0"/>
                        <a:pt x="130" y="43"/>
                      </a:cubicBezTo>
                      <a:cubicBezTo>
                        <a:pt x="119" y="62"/>
                        <a:pt x="116" y="107"/>
                        <a:pt x="109" y="127"/>
                      </a:cubicBezTo>
                      <a:cubicBezTo>
                        <a:pt x="101" y="151"/>
                        <a:pt x="81" y="177"/>
                        <a:pt x="70" y="197"/>
                      </a:cubicBezTo>
                      <a:cubicBezTo>
                        <a:pt x="44" y="248"/>
                        <a:pt x="38" y="310"/>
                        <a:pt x="0" y="350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4" name="Freeform 65"/>
                <p:cNvSpPr>
                  <a:spLocks/>
                </p:cNvSpPr>
                <p:nvPr/>
              </p:nvSpPr>
              <p:spPr bwMode="gray">
                <a:xfrm>
                  <a:off x="-9620250" y="-4902200"/>
                  <a:ext cx="676275" cy="812800"/>
                </a:xfrm>
                <a:custGeom>
                  <a:avLst/>
                  <a:gdLst/>
                  <a:ahLst/>
                  <a:cxnLst>
                    <a:cxn ang="0">
                      <a:pos x="59" y="5"/>
                    </a:cxn>
                    <a:cxn ang="0">
                      <a:pos x="135" y="130"/>
                    </a:cxn>
                    <a:cxn ang="0">
                      <a:pos x="35" y="217"/>
                    </a:cxn>
                    <a:cxn ang="0">
                      <a:pos x="71" y="105"/>
                    </a:cxn>
                    <a:cxn ang="0">
                      <a:pos x="40" y="1"/>
                    </a:cxn>
                    <a:cxn ang="0">
                      <a:pos x="59" y="0"/>
                    </a:cxn>
                  </a:cxnLst>
                  <a:rect l="0" t="0" r="r" b="b"/>
                  <a:pathLst>
                    <a:path w="180" h="217">
                      <a:moveTo>
                        <a:pt x="59" y="5"/>
                      </a:moveTo>
                      <a:cubicBezTo>
                        <a:pt x="107" y="26"/>
                        <a:pt x="180" y="61"/>
                        <a:pt x="135" y="130"/>
                      </a:cubicBezTo>
                      <a:cubicBezTo>
                        <a:pt x="111" y="167"/>
                        <a:pt x="46" y="172"/>
                        <a:pt x="35" y="217"/>
                      </a:cubicBezTo>
                      <a:cubicBezTo>
                        <a:pt x="0" y="167"/>
                        <a:pt x="53" y="144"/>
                        <a:pt x="71" y="105"/>
                      </a:cubicBezTo>
                      <a:cubicBezTo>
                        <a:pt x="97" y="49"/>
                        <a:pt x="26" y="50"/>
                        <a:pt x="40" y="1"/>
                      </a:cubicBezTo>
                      <a:cubicBezTo>
                        <a:pt x="47" y="0"/>
                        <a:pt x="53" y="0"/>
                        <a:pt x="59" y="0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5" name="Freeform 66"/>
                <p:cNvSpPr>
                  <a:spLocks/>
                </p:cNvSpPr>
                <p:nvPr/>
              </p:nvSpPr>
              <p:spPr bwMode="gray">
                <a:xfrm>
                  <a:off x="-11168063" y="-1050925"/>
                  <a:ext cx="295275" cy="250825"/>
                </a:xfrm>
                <a:custGeom>
                  <a:avLst/>
                  <a:gdLst/>
                  <a:ahLst/>
                  <a:cxnLst>
                    <a:cxn ang="0">
                      <a:pos x="21" y="7"/>
                    </a:cxn>
                    <a:cxn ang="0">
                      <a:pos x="79" y="60"/>
                    </a:cxn>
                    <a:cxn ang="0">
                      <a:pos x="40" y="2"/>
                    </a:cxn>
                    <a:cxn ang="0">
                      <a:pos x="16" y="2"/>
                    </a:cxn>
                  </a:cxnLst>
                  <a:rect l="0" t="0" r="r" b="b"/>
                  <a:pathLst>
                    <a:path w="79" h="67">
                      <a:moveTo>
                        <a:pt x="21" y="7"/>
                      </a:moveTo>
                      <a:cubicBezTo>
                        <a:pt x="0" y="51"/>
                        <a:pt x="41" y="67"/>
                        <a:pt x="79" y="60"/>
                      </a:cubicBezTo>
                      <a:cubicBezTo>
                        <a:pt x="51" y="52"/>
                        <a:pt x="33" y="35"/>
                        <a:pt x="40" y="2"/>
                      </a:cubicBezTo>
                      <a:cubicBezTo>
                        <a:pt x="33" y="1"/>
                        <a:pt x="23" y="0"/>
                        <a:pt x="16" y="2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6" name="Freeform 67"/>
                <p:cNvSpPr>
                  <a:spLocks/>
                </p:cNvSpPr>
                <p:nvPr/>
              </p:nvSpPr>
              <p:spPr bwMode="gray">
                <a:xfrm>
                  <a:off x="-11630025" y="-10137775"/>
                  <a:ext cx="1485900" cy="847725"/>
                </a:xfrm>
                <a:custGeom>
                  <a:avLst/>
                  <a:gdLst/>
                  <a:ahLst/>
                  <a:cxnLst>
                    <a:cxn ang="0">
                      <a:pos x="5" y="117"/>
                    </a:cxn>
                    <a:cxn ang="0">
                      <a:pos x="89" y="142"/>
                    </a:cxn>
                    <a:cxn ang="0">
                      <a:pos x="189" y="177"/>
                    </a:cxn>
                    <a:cxn ang="0">
                      <a:pos x="396" y="226"/>
                    </a:cxn>
                    <a:cxn ang="0">
                      <a:pos x="396" y="108"/>
                    </a:cxn>
                    <a:cxn ang="0">
                      <a:pos x="193" y="63"/>
                    </a:cxn>
                    <a:cxn ang="0">
                      <a:pos x="11" y="0"/>
                    </a:cxn>
                    <a:cxn ang="0">
                      <a:pos x="0" y="112"/>
                    </a:cxn>
                  </a:cxnLst>
                  <a:rect l="0" t="0" r="r" b="b"/>
                  <a:pathLst>
                    <a:path w="396" h="226">
                      <a:moveTo>
                        <a:pt x="5" y="117"/>
                      </a:moveTo>
                      <a:cubicBezTo>
                        <a:pt x="28" y="114"/>
                        <a:pt x="67" y="135"/>
                        <a:pt x="89" y="142"/>
                      </a:cubicBezTo>
                      <a:cubicBezTo>
                        <a:pt x="123" y="153"/>
                        <a:pt x="155" y="166"/>
                        <a:pt x="189" y="177"/>
                      </a:cubicBezTo>
                      <a:cubicBezTo>
                        <a:pt x="257" y="198"/>
                        <a:pt x="325" y="217"/>
                        <a:pt x="396" y="226"/>
                      </a:cubicBezTo>
                      <a:cubicBezTo>
                        <a:pt x="393" y="188"/>
                        <a:pt x="389" y="145"/>
                        <a:pt x="396" y="108"/>
                      </a:cubicBezTo>
                      <a:cubicBezTo>
                        <a:pt x="320" y="104"/>
                        <a:pt x="263" y="86"/>
                        <a:pt x="193" y="63"/>
                      </a:cubicBezTo>
                      <a:cubicBezTo>
                        <a:pt x="133" y="42"/>
                        <a:pt x="66" y="36"/>
                        <a:pt x="11" y="0"/>
                      </a:cubicBezTo>
                      <a:cubicBezTo>
                        <a:pt x="2" y="36"/>
                        <a:pt x="4" y="76"/>
                        <a:pt x="0" y="112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7" name="Freeform 68"/>
                <p:cNvSpPr>
                  <a:spLocks/>
                </p:cNvSpPr>
                <p:nvPr/>
              </p:nvSpPr>
              <p:spPr bwMode="gray">
                <a:xfrm>
                  <a:off x="-8731250" y="-10564812"/>
                  <a:ext cx="574675" cy="1049338"/>
                </a:xfrm>
                <a:custGeom>
                  <a:avLst/>
                  <a:gdLst/>
                  <a:ahLst/>
                  <a:cxnLst>
                    <a:cxn ang="0">
                      <a:pos x="1" y="182"/>
                    </a:cxn>
                    <a:cxn ang="0">
                      <a:pos x="35" y="156"/>
                    </a:cxn>
                    <a:cxn ang="0">
                      <a:pos x="130" y="0"/>
                    </a:cxn>
                    <a:cxn ang="0">
                      <a:pos x="110" y="177"/>
                    </a:cxn>
                    <a:cxn ang="0">
                      <a:pos x="2" y="280"/>
                    </a:cxn>
                    <a:cxn ang="0">
                      <a:pos x="1" y="192"/>
                    </a:cxn>
                  </a:cxnLst>
                  <a:rect l="0" t="0" r="r" b="b"/>
                  <a:pathLst>
                    <a:path w="153" h="280">
                      <a:moveTo>
                        <a:pt x="1" y="182"/>
                      </a:moveTo>
                      <a:cubicBezTo>
                        <a:pt x="12" y="173"/>
                        <a:pt x="24" y="163"/>
                        <a:pt x="35" y="156"/>
                      </a:cubicBezTo>
                      <a:cubicBezTo>
                        <a:pt x="51" y="101"/>
                        <a:pt x="116" y="61"/>
                        <a:pt x="130" y="0"/>
                      </a:cubicBezTo>
                      <a:cubicBezTo>
                        <a:pt x="153" y="54"/>
                        <a:pt x="146" y="136"/>
                        <a:pt x="110" y="177"/>
                      </a:cubicBezTo>
                      <a:cubicBezTo>
                        <a:pt x="82" y="209"/>
                        <a:pt x="44" y="265"/>
                        <a:pt x="2" y="280"/>
                      </a:cubicBezTo>
                      <a:cubicBezTo>
                        <a:pt x="0" y="251"/>
                        <a:pt x="1" y="221"/>
                        <a:pt x="1" y="192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8" name="Freeform 69"/>
                <p:cNvSpPr>
                  <a:spLocks/>
                </p:cNvSpPr>
                <p:nvPr/>
              </p:nvSpPr>
              <p:spPr bwMode="gray">
                <a:xfrm>
                  <a:off x="-9372600" y="-9818687"/>
                  <a:ext cx="657225" cy="512763"/>
                </a:xfrm>
                <a:custGeom>
                  <a:avLst/>
                  <a:gdLst/>
                  <a:ahLst/>
                  <a:cxnLst>
                    <a:cxn ang="0">
                      <a:pos x="8" y="117"/>
                    </a:cxn>
                    <a:cxn ang="0">
                      <a:pos x="4" y="38"/>
                    </a:cxn>
                    <a:cxn ang="0">
                      <a:pos x="128" y="0"/>
                    </a:cxn>
                    <a:cxn ang="0">
                      <a:pos x="132" y="36"/>
                    </a:cxn>
                    <a:cxn ang="0">
                      <a:pos x="108" y="56"/>
                    </a:cxn>
                    <a:cxn ang="0">
                      <a:pos x="133" y="59"/>
                    </a:cxn>
                    <a:cxn ang="0">
                      <a:pos x="3" y="127"/>
                    </a:cxn>
                  </a:cxnLst>
                  <a:rect l="0" t="0" r="r" b="b"/>
                  <a:pathLst>
                    <a:path w="175" h="137">
                      <a:moveTo>
                        <a:pt x="8" y="117"/>
                      </a:moveTo>
                      <a:cubicBezTo>
                        <a:pt x="0" y="97"/>
                        <a:pt x="3" y="63"/>
                        <a:pt x="4" y="38"/>
                      </a:cubicBezTo>
                      <a:cubicBezTo>
                        <a:pt x="54" y="35"/>
                        <a:pt x="88" y="28"/>
                        <a:pt x="128" y="0"/>
                      </a:cubicBezTo>
                      <a:cubicBezTo>
                        <a:pt x="130" y="8"/>
                        <a:pt x="132" y="30"/>
                        <a:pt x="132" y="36"/>
                      </a:cubicBezTo>
                      <a:cubicBezTo>
                        <a:pt x="116" y="41"/>
                        <a:pt x="116" y="50"/>
                        <a:pt x="108" y="56"/>
                      </a:cubicBezTo>
                      <a:cubicBezTo>
                        <a:pt x="117" y="56"/>
                        <a:pt x="125" y="60"/>
                        <a:pt x="133" y="59"/>
                      </a:cubicBezTo>
                      <a:cubicBezTo>
                        <a:pt x="175" y="113"/>
                        <a:pt x="36" y="137"/>
                        <a:pt x="3" y="127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09" name="Freeform 70"/>
                <p:cNvSpPr>
                  <a:spLocks/>
                </p:cNvSpPr>
                <p:nvPr/>
              </p:nvSpPr>
              <p:spPr bwMode="gray">
                <a:xfrm>
                  <a:off x="-9975850" y="-9710737"/>
                  <a:ext cx="461963" cy="409575"/>
                </a:xfrm>
                <a:custGeom>
                  <a:avLst/>
                  <a:gdLst/>
                  <a:ahLst/>
                  <a:cxnLst>
                    <a:cxn ang="0">
                      <a:pos x="1" y="13"/>
                    </a:cxn>
                    <a:cxn ang="0">
                      <a:pos x="1" y="102"/>
                    </a:cxn>
                    <a:cxn ang="0">
                      <a:pos x="114" y="107"/>
                    </a:cxn>
                    <a:cxn ang="0">
                      <a:pos x="100" y="13"/>
                    </a:cxn>
                    <a:cxn ang="0">
                      <a:pos x="1" y="8"/>
                    </a:cxn>
                  </a:cxnLst>
                  <a:rect l="0" t="0" r="r" b="b"/>
                  <a:pathLst>
                    <a:path w="123" h="109">
                      <a:moveTo>
                        <a:pt x="1" y="13"/>
                      </a:moveTo>
                      <a:cubicBezTo>
                        <a:pt x="1" y="43"/>
                        <a:pt x="0" y="73"/>
                        <a:pt x="1" y="102"/>
                      </a:cubicBezTo>
                      <a:cubicBezTo>
                        <a:pt x="39" y="99"/>
                        <a:pt x="76" y="109"/>
                        <a:pt x="114" y="107"/>
                      </a:cubicBezTo>
                      <a:cubicBezTo>
                        <a:pt x="116" y="74"/>
                        <a:pt x="123" y="30"/>
                        <a:pt x="100" y="13"/>
                      </a:cubicBezTo>
                      <a:cubicBezTo>
                        <a:pt x="81" y="0"/>
                        <a:pt x="25" y="8"/>
                        <a:pt x="1" y="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0" name="Freeform 71"/>
                <p:cNvSpPr>
                  <a:spLocks/>
                </p:cNvSpPr>
                <p:nvPr/>
              </p:nvSpPr>
              <p:spPr bwMode="gray">
                <a:xfrm>
                  <a:off x="-9593263" y="-9185275"/>
                  <a:ext cx="573088" cy="2452688"/>
                </a:xfrm>
                <a:custGeom>
                  <a:avLst/>
                  <a:gdLst/>
                  <a:ahLst/>
                  <a:cxnLst>
                    <a:cxn ang="0">
                      <a:pos x="138" y="0"/>
                    </a:cxn>
                    <a:cxn ang="0">
                      <a:pos x="149" y="67"/>
                    </a:cxn>
                    <a:cxn ang="0">
                      <a:pos x="138" y="141"/>
                    </a:cxn>
                    <a:cxn ang="0">
                      <a:pos x="91" y="316"/>
                    </a:cxn>
                    <a:cxn ang="0">
                      <a:pos x="33" y="487"/>
                    </a:cxn>
                    <a:cxn ang="0">
                      <a:pos x="0" y="654"/>
                    </a:cxn>
                    <a:cxn ang="0">
                      <a:pos x="23" y="484"/>
                    </a:cxn>
                    <a:cxn ang="0">
                      <a:pos x="75" y="338"/>
                    </a:cxn>
                    <a:cxn ang="0">
                      <a:pos x="116" y="186"/>
                    </a:cxn>
                    <a:cxn ang="0">
                      <a:pos x="127" y="93"/>
                    </a:cxn>
                    <a:cxn ang="0">
                      <a:pos x="109" y="12"/>
                    </a:cxn>
                    <a:cxn ang="0">
                      <a:pos x="138" y="4"/>
                    </a:cxn>
                  </a:cxnLst>
                  <a:rect l="0" t="0" r="r" b="b"/>
                  <a:pathLst>
                    <a:path w="153" h="654">
                      <a:moveTo>
                        <a:pt x="138" y="0"/>
                      </a:moveTo>
                      <a:cubicBezTo>
                        <a:pt x="134" y="25"/>
                        <a:pt x="146" y="44"/>
                        <a:pt x="149" y="67"/>
                      </a:cubicBezTo>
                      <a:cubicBezTo>
                        <a:pt x="153" y="95"/>
                        <a:pt x="146" y="117"/>
                        <a:pt x="138" y="141"/>
                      </a:cubicBezTo>
                      <a:cubicBezTo>
                        <a:pt x="120" y="200"/>
                        <a:pt x="110" y="258"/>
                        <a:pt x="91" y="316"/>
                      </a:cubicBezTo>
                      <a:cubicBezTo>
                        <a:pt x="71" y="374"/>
                        <a:pt x="52" y="431"/>
                        <a:pt x="33" y="487"/>
                      </a:cubicBezTo>
                      <a:cubicBezTo>
                        <a:pt x="15" y="542"/>
                        <a:pt x="15" y="600"/>
                        <a:pt x="0" y="654"/>
                      </a:cubicBezTo>
                      <a:cubicBezTo>
                        <a:pt x="0" y="590"/>
                        <a:pt x="11" y="542"/>
                        <a:pt x="23" y="484"/>
                      </a:cubicBezTo>
                      <a:cubicBezTo>
                        <a:pt x="34" y="429"/>
                        <a:pt x="60" y="389"/>
                        <a:pt x="75" y="338"/>
                      </a:cubicBezTo>
                      <a:cubicBezTo>
                        <a:pt x="88" y="289"/>
                        <a:pt x="105" y="236"/>
                        <a:pt x="116" y="186"/>
                      </a:cubicBezTo>
                      <a:cubicBezTo>
                        <a:pt x="122" y="158"/>
                        <a:pt x="126" y="121"/>
                        <a:pt x="127" y="93"/>
                      </a:cubicBezTo>
                      <a:cubicBezTo>
                        <a:pt x="128" y="62"/>
                        <a:pt x="109" y="40"/>
                        <a:pt x="109" y="12"/>
                      </a:cubicBezTo>
                      <a:cubicBezTo>
                        <a:pt x="120" y="10"/>
                        <a:pt x="128" y="5"/>
                        <a:pt x="138" y="4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1" name="Freeform 72"/>
                <p:cNvSpPr>
                  <a:spLocks/>
                </p:cNvSpPr>
                <p:nvPr/>
              </p:nvSpPr>
              <p:spPr bwMode="gray">
                <a:xfrm>
                  <a:off x="-10085388" y="-4021137"/>
                  <a:ext cx="1076325" cy="2747963"/>
                </a:xfrm>
                <a:custGeom>
                  <a:avLst/>
                  <a:gdLst/>
                  <a:ahLst/>
                  <a:cxnLst>
                    <a:cxn ang="0">
                      <a:pos x="143" y="0"/>
                    </a:cxn>
                    <a:cxn ang="0">
                      <a:pos x="102" y="172"/>
                    </a:cxn>
                    <a:cxn ang="0">
                      <a:pos x="45" y="363"/>
                    </a:cxn>
                    <a:cxn ang="0">
                      <a:pos x="19" y="536"/>
                    </a:cxn>
                    <a:cxn ang="0">
                      <a:pos x="60" y="615"/>
                    </a:cxn>
                    <a:cxn ang="0">
                      <a:pos x="82" y="699"/>
                    </a:cxn>
                    <a:cxn ang="0">
                      <a:pos x="97" y="733"/>
                    </a:cxn>
                    <a:cxn ang="0">
                      <a:pos x="101" y="573"/>
                    </a:cxn>
                    <a:cxn ang="0">
                      <a:pos x="158" y="443"/>
                    </a:cxn>
                    <a:cxn ang="0">
                      <a:pos x="222" y="302"/>
                    </a:cxn>
                    <a:cxn ang="0">
                      <a:pos x="287" y="179"/>
                    </a:cxn>
                    <a:cxn ang="0">
                      <a:pos x="139" y="234"/>
                    </a:cxn>
                    <a:cxn ang="0">
                      <a:pos x="165" y="77"/>
                    </a:cxn>
                    <a:cxn ang="0">
                      <a:pos x="146" y="0"/>
                    </a:cxn>
                  </a:cxnLst>
                  <a:rect l="0" t="0" r="r" b="b"/>
                  <a:pathLst>
                    <a:path w="287" h="733">
                      <a:moveTo>
                        <a:pt x="143" y="0"/>
                      </a:moveTo>
                      <a:cubicBezTo>
                        <a:pt x="143" y="64"/>
                        <a:pt x="120" y="113"/>
                        <a:pt x="102" y="172"/>
                      </a:cubicBezTo>
                      <a:cubicBezTo>
                        <a:pt x="83" y="238"/>
                        <a:pt x="76" y="301"/>
                        <a:pt x="45" y="363"/>
                      </a:cubicBezTo>
                      <a:cubicBezTo>
                        <a:pt x="19" y="416"/>
                        <a:pt x="0" y="484"/>
                        <a:pt x="19" y="536"/>
                      </a:cubicBezTo>
                      <a:cubicBezTo>
                        <a:pt x="28" y="562"/>
                        <a:pt x="53" y="587"/>
                        <a:pt x="60" y="615"/>
                      </a:cubicBezTo>
                      <a:cubicBezTo>
                        <a:pt x="69" y="649"/>
                        <a:pt x="67" y="668"/>
                        <a:pt x="82" y="699"/>
                      </a:cubicBezTo>
                      <a:cubicBezTo>
                        <a:pt x="89" y="712"/>
                        <a:pt x="88" y="723"/>
                        <a:pt x="97" y="733"/>
                      </a:cubicBezTo>
                      <a:cubicBezTo>
                        <a:pt x="101" y="680"/>
                        <a:pt x="91" y="624"/>
                        <a:pt x="101" y="573"/>
                      </a:cubicBezTo>
                      <a:cubicBezTo>
                        <a:pt x="110" y="524"/>
                        <a:pt x="143" y="490"/>
                        <a:pt x="158" y="443"/>
                      </a:cubicBezTo>
                      <a:cubicBezTo>
                        <a:pt x="174" y="388"/>
                        <a:pt x="191" y="350"/>
                        <a:pt x="222" y="302"/>
                      </a:cubicBezTo>
                      <a:cubicBezTo>
                        <a:pt x="244" y="267"/>
                        <a:pt x="286" y="222"/>
                        <a:pt x="287" y="179"/>
                      </a:cubicBezTo>
                      <a:cubicBezTo>
                        <a:pt x="245" y="177"/>
                        <a:pt x="148" y="312"/>
                        <a:pt x="139" y="234"/>
                      </a:cubicBezTo>
                      <a:cubicBezTo>
                        <a:pt x="132" y="179"/>
                        <a:pt x="278" y="98"/>
                        <a:pt x="165" y="77"/>
                      </a:cubicBezTo>
                      <a:cubicBezTo>
                        <a:pt x="164" y="48"/>
                        <a:pt x="170" y="19"/>
                        <a:pt x="146" y="0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2" name="Freeform 73"/>
                <p:cNvSpPr>
                  <a:spLocks/>
                </p:cNvSpPr>
                <p:nvPr/>
              </p:nvSpPr>
              <p:spPr bwMode="gray">
                <a:xfrm>
                  <a:off x="-11971338" y="-9609137"/>
                  <a:ext cx="1200150" cy="979488"/>
                </a:xfrm>
                <a:custGeom>
                  <a:avLst/>
                  <a:gdLst/>
                  <a:ahLst/>
                  <a:cxnLst>
                    <a:cxn ang="0">
                      <a:pos x="95" y="5"/>
                    </a:cxn>
                    <a:cxn ang="0">
                      <a:pos x="199" y="53"/>
                    </a:cxn>
                    <a:cxn ang="0">
                      <a:pos x="320" y="102"/>
                    </a:cxn>
                    <a:cxn ang="0">
                      <a:pos x="221" y="101"/>
                    </a:cxn>
                    <a:cxn ang="0">
                      <a:pos x="140" y="69"/>
                    </a:cxn>
                    <a:cxn ang="0">
                      <a:pos x="158" y="105"/>
                    </a:cxn>
                    <a:cxn ang="0">
                      <a:pos x="107" y="102"/>
                    </a:cxn>
                    <a:cxn ang="0">
                      <a:pos x="88" y="128"/>
                    </a:cxn>
                    <a:cxn ang="0">
                      <a:pos x="64" y="143"/>
                    </a:cxn>
                    <a:cxn ang="0">
                      <a:pos x="49" y="261"/>
                    </a:cxn>
                    <a:cxn ang="0">
                      <a:pos x="2" y="191"/>
                    </a:cxn>
                    <a:cxn ang="0">
                      <a:pos x="38" y="134"/>
                    </a:cxn>
                    <a:cxn ang="0">
                      <a:pos x="72" y="71"/>
                    </a:cxn>
                    <a:cxn ang="0">
                      <a:pos x="91" y="9"/>
                    </a:cxn>
                  </a:cxnLst>
                  <a:rect l="0" t="0" r="r" b="b"/>
                  <a:pathLst>
                    <a:path w="320" h="261">
                      <a:moveTo>
                        <a:pt x="95" y="5"/>
                      </a:moveTo>
                      <a:cubicBezTo>
                        <a:pt x="137" y="0"/>
                        <a:pt x="167" y="33"/>
                        <a:pt x="199" y="53"/>
                      </a:cubicBezTo>
                      <a:cubicBezTo>
                        <a:pt x="235" y="76"/>
                        <a:pt x="288" y="77"/>
                        <a:pt x="320" y="102"/>
                      </a:cubicBezTo>
                      <a:cubicBezTo>
                        <a:pt x="288" y="103"/>
                        <a:pt x="254" y="111"/>
                        <a:pt x="221" y="101"/>
                      </a:cubicBezTo>
                      <a:cubicBezTo>
                        <a:pt x="192" y="91"/>
                        <a:pt x="172" y="69"/>
                        <a:pt x="140" y="69"/>
                      </a:cubicBezTo>
                      <a:cubicBezTo>
                        <a:pt x="144" y="82"/>
                        <a:pt x="153" y="93"/>
                        <a:pt x="158" y="105"/>
                      </a:cubicBezTo>
                      <a:cubicBezTo>
                        <a:pt x="138" y="106"/>
                        <a:pt x="124" y="95"/>
                        <a:pt x="107" y="102"/>
                      </a:cubicBezTo>
                      <a:cubicBezTo>
                        <a:pt x="111" y="100"/>
                        <a:pt x="89" y="127"/>
                        <a:pt x="88" y="128"/>
                      </a:cubicBezTo>
                      <a:cubicBezTo>
                        <a:pt x="80" y="136"/>
                        <a:pt x="72" y="133"/>
                        <a:pt x="64" y="143"/>
                      </a:cubicBezTo>
                      <a:cubicBezTo>
                        <a:pt x="43" y="168"/>
                        <a:pt x="36" y="229"/>
                        <a:pt x="49" y="261"/>
                      </a:cubicBezTo>
                      <a:cubicBezTo>
                        <a:pt x="27" y="247"/>
                        <a:pt x="0" y="219"/>
                        <a:pt x="2" y="191"/>
                      </a:cubicBezTo>
                      <a:cubicBezTo>
                        <a:pt x="3" y="164"/>
                        <a:pt x="25" y="154"/>
                        <a:pt x="38" y="134"/>
                      </a:cubicBezTo>
                      <a:cubicBezTo>
                        <a:pt x="49" y="119"/>
                        <a:pt x="68" y="88"/>
                        <a:pt x="72" y="71"/>
                      </a:cubicBezTo>
                      <a:cubicBezTo>
                        <a:pt x="78" y="51"/>
                        <a:pt x="61" y="12"/>
                        <a:pt x="91" y="9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3" name="Freeform 74"/>
                <p:cNvSpPr>
                  <a:spLocks/>
                </p:cNvSpPr>
                <p:nvPr/>
              </p:nvSpPr>
              <p:spPr bwMode="gray">
                <a:xfrm>
                  <a:off x="-10425113" y="681038"/>
                  <a:ext cx="719138" cy="484188"/>
                </a:xfrm>
                <a:custGeom>
                  <a:avLst/>
                  <a:gdLst/>
                  <a:ahLst/>
                  <a:cxnLst>
                    <a:cxn ang="0">
                      <a:pos x="18" y="7"/>
                    </a:cxn>
                    <a:cxn ang="0">
                      <a:pos x="51" y="31"/>
                    </a:cxn>
                    <a:cxn ang="0">
                      <a:pos x="95" y="45"/>
                    </a:cxn>
                    <a:cxn ang="0">
                      <a:pos x="181" y="75"/>
                    </a:cxn>
                    <a:cxn ang="0">
                      <a:pos x="78" y="85"/>
                    </a:cxn>
                    <a:cxn ang="0">
                      <a:pos x="0" y="12"/>
                    </a:cxn>
                    <a:cxn ang="0">
                      <a:pos x="7" y="7"/>
                    </a:cxn>
                  </a:cxnLst>
                  <a:rect l="0" t="0" r="r" b="b"/>
                  <a:pathLst>
                    <a:path w="192" h="129">
                      <a:moveTo>
                        <a:pt x="18" y="7"/>
                      </a:moveTo>
                      <a:cubicBezTo>
                        <a:pt x="47" y="0"/>
                        <a:pt x="35" y="23"/>
                        <a:pt x="51" y="31"/>
                      </a:cubicBezTo>
                      <a:cubicBezTo>
                        <a:pt x="66" y="38"/>
                        <a:pt x="83" y="39"/>
                        <a:pt x="95" y="45"/>
                      </a:cubicBezTo>
                      <a:cubicBezTo>
                        <a:pt x="128" y="59"/>
                        <a:pt x="140" y="73"/>
                        <a:pt x="181" y="75"/>
                      </a:cubicBezTo>
                      <a:cubicBezTo>
                        <a:pt x="192" y="129"/>
                        <a:pt x="97" y="99"/>
                        <a:pt x="78" y="85"/>
                      </a:cubicBezTo>
                      <a:cubicBezTo>
                        <a:pt x="55" y="66"/>
                        <a:pt x="6" y="37"/>
                        <a:pt x="0" y="12"/>
                      </a:cubicBezTo>
                      <a:cubicBezTo>
                        <a:pt x="5" y="12"/>
                        <a:pt x="4" y="9"/>
                        <a:pt x="7" y="7"/>
                      </a:cubicBezTo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4" name="Freeform 75"/>
                <p:cNvSpPr>
                  <a:spLocks/>
                </p:cNvSpPr>
                <p:nvPr/>
              </p:nvSpPr>
              <p:spPr bwMode="gray">
                <a:xfrm>
                  <a:off x="-9455150" y="714375"/>
                  <a:ext cx="200025" cy="252413"/>
                </a:xfrm>
                <a:custGeom>
                  <a:avLst/>
                  <a:gdLst/>
                  <a:ahLst/>
                  <a:cxnLst>
                    <a:cxn ang="0">
                      <a:pos x="30" y="2"/>
                    </a:cxn>
                    <a:cxn ang="0">
                      <a:pos x="26" y="42"/>
                    </a:cxn>
                    <a:cxn ang="0">
                      <a:pos x="1" y="55"/>
                    </a:cxn>
                    <a:cxn ang="0">
                      <a:pos x="0" y="62"/>
                    </a:cxn>
                    <a:cxn ang="0">
                      <a:pos x="33" y="65"/>
                    </a:cxn>
                    <a:cxn ang="0">
                      <a:pos x="48" y="2"/>
                    </a:cxn>
                    <a:cxn ang="0">
                      <a:pos x="27" y="6"/>
                    </a:cxn>
                  </a:cxnLst>
                  <a:rect l="0" t="0" r="r" b="b"/>
                  <a:pathLst>
                    <a:path w="53" h="67">
                      <a:moveTo>
                        <a:pt x="30" y="2"/>
                      </a:moveTo>
                      <a:cubicBezTo>
                        <a:pt x="31" y="16"/>
                        <a:pt x="30" y="30"/>
                        <a:pt x="26" y="42"/>
                      </a:cubicBezTo>
                      <a:cubicBezTo>
                        <a:pt x="14" y="46"/>
                        <a:pt x="12" y="52"/>
                        <a:pt x="1" y="55"/>
                      </a:cubicBezTo>
                      <a:cubicBezTo>
                        <a:pt x="0" y="57"/>
                        <a:pt x="0" y="59"/>
                        <a:pt x="0" y="62"/>
                      </a:cubicBezTo>
                      <a:cubicBezTo>
                        <a:pt x="8" y="66"/>
                        <a:pt x="23" y="67"/>
                        <a:pt x="33" y="65"/>
                      </a:cubicBezTo>
                      <a:cubicBezTo>
                        <a:pt x="43" y="44"/>
                        <a:pt x="53" y="27"/>
                        <a:pt x="48" y="2"/>
                      </a:cubicBezTo>
                      <a:cubicBezTo>
                        <a:pt x="39" y="0"/>
                        <a:pt x="32" y="2"/>
                        <a:pt x="27" y="6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5" name="Freeform 76"/>
                <p:cNvSpPr>
                  <a:spLocks/>
                </p:cNvSpPr>
                <p:nvPr/>
              </p:nvSpPr>
              <p:spPr bwMode="gray">
                <a:xfrm>
                  <a:off x="-8194675" y="39688"/>
                  <a:ext cx="539750" cy="184150"/>
                </a:xfrm>
                <a:custGeom>
                  <a:avLst/>
                  <a:gdLst/>
                  <a:ahLst/>
                  <a:cxnLst>
                    <a:cxn ang="0">
                      <a:pos x="133" y="3"/>
                    </a:cxn>
                    <a:cxn ang="0">
                      <a:pos x="108" y="4"/>
                    </a:cxn>
                    <a:cxn ang="0">
                      <a:pos x="0" y="23"/>
                    </a:cxn>
                    <a:cxn ang="0">
                      <a:pos x="140" y="18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144" h="49">
                      <a:moveTo>
                        <a:pt x="133" y="3"/>
                      </a:moveTo>
                      <a:cubicBezTo>
                        <a:pt x="126" y="2"/>
                        <a:pt x="116" y="3"/>
                        <a:pt x="108" y="4"/>
                      </a:cubicBezTo>
                      <a:cubicBezTo>
                        <a:pt x="95" y="33"/>
                        <a:pt x="28" y="21"/>
                        <a:pt x="0" y="23"/>
                      </a:cubicBezTo>
                      <a:cubicBezTo>
                        <a:pt x="35" y="49"/>
                        <a:pt x="106" y="41"/>
                        <a:pt x="140" y="18"/>
                      </a:cubicBezTo>
                      <a:cubicBezTo>
                        <a:pt x="144" y="2"/>
                        <a:pt x="138" y="2"/>
                        <a:pt x="126" y="0"/>
                      </a:cubicBezTo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6" name="Freeform 77"/>
                <p:cNvSpPr>
                  <a:spLocks/>
                </p:cNvSpPr>
                <p:nvPr/>
              </p:nvSpPr>
              <p:spPr bwMode="gray">
                <a:xfrm>
                  <a:off x="-10587038" y="-53975"/>
                  <a:ext cx="311150" cy="382588"/>
                </a:xfrm>
                <a:custGeom>
                  <a:avLst/>
                  <a:gdLst/>
                  <a:ahLst/>
                  <a:cxnLst>
                    <a:cxn ang="0">
                      <a:pos x="50" y="2"/>
                    </a:cxn>
                    <a:cxn ang="0">
                      <a:pos x="5" y="58"/>
                    </a:cxn>
                    <a:cxn ang="0">
                      <a:pos x="15" y="59"/>
                    </a:cxn>
                    <a:cxn ang="0">
                      <a:pos x="50" y="33"/>
                    </a:cxn>
                    <a:cxn ang="0">
                      <a:pos x="61" y="25"/>
                    </a:cxn>
                    <a:cxn ang="0">
                      <a:pos x="82" y="7"/>
                    </a:cxn>
                    <a:cxn ang="0">
                      <a:pos x="38" y="2"/>
                    </a:cxn>
                  </a:cxnLst>
                  <a:rect l="0" t="0" r="r" b="b"/>
                  <a:pathLst>
                    <a:path w="83" h="102">
                      <a:moveTo>
                        <a:pt x="50" y="2"/>
                      </a:moveTo>
                      <a:cubicBezTo>
                        <a:pt x="28" y="0"/>
                        <a:pt x="0" y="35"/>
                        <a:pt x="5" y="58"/>
                      </a:cubicBezTo>
                      <a:cubicBezTo>
                        <a:pt x="8" y="59"/>
                        <a:pt x="12" y="58"/>
                        <a:pt x="15" y="59"/>
                      </a:cubicBezTo>
                      <a:cubicBezTo>
                        <a:pt x="32" y="102"/>
                        <a:pt x="43" y="45"/>
                        <a:pt x="50" y="33"/>
                      </a:cubicBezTo>
                      <a:cubicBezTo>
                        <a:pt x="58" y="30"/>
                        <a:pt x="56" y="28"/>
                        <a:pt x="61" y="25"/>
                      </a:cubicBezTo>
                      <a:cubicBezTo>
                        <a:pt x="78" y="26"/>
                        <a:pt x="83" y="23"/>
                        <a:pt x="82" y="7"/>
                      </a:cubicBezTo>
                      <a:cubicBezTo>
                        <a:pt x="68" y="3"/>
                        <a:pt x="54" y="1"/>
                        <a:pt x="38" y="2"/>
                      </a:cubicBezTo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7" name="Freeform 78"/>
                <p:cNvSpPr>
                  <a:spLocks/>
                </p:cNvSpPr>
                <p:nvPr/>
              </p:nvSpPr>
              <p:spPr bwMode="gray">
                <a:xfrm>
                  <a:off x="-8615363" y="-631825"/>
                  <a:ext cx="263525" cy="255588"/>
                </a:xfrm>
                <a:custGeom>
                  <a:avLst/>
                  <a:gdLst/>
                  <a:ahLst/>
                  <a:cxnLst>
                    <a:cxn ang="0">
                      <a:pos x="15" y="4"/>
                    </a:cxn>
                    <a:cxn ang="0">
                      <a:pos x="70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0" h="68">
                      <a:moveTo>
                        <a:pt x="15" y="4"/>
                      </a:moveTo>
                      <a:cubicBezTo>
                        <a:pt x="35" y="22"/>
                        <a:pt x="70" y="35"/>
                        <a:pt x="70" y="66"/>
                      </a:cubicBezTo>
                      <a:cubicBezTo>
                        <a:pt x="38" y="68"/>
                        <a:pt x="15" y="22"/>
                        <a:pt x="0" y="0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8" name="Freeform 79"/>
                <p:cNvSpPr>
                  <a:spLocks/>
                </p:cNvSpPr>
                <p:nvPr/>
              </p:nvSpPr>
              <p:spPr bwMode="gray">
                <a:xfrm>
                  <a:off x="-10680700" y="-11974512"/>
                  <a:ext cx="1409700" cy="865188"/>
                </a:xfrm>
                <a:custGeom>
                  <a:avLst/>
                  <a:gdLst/>
                  <a:ahLst/>
                  <a:cxnLst>
                    <a:cxn ang="0">
                      <a:pos x="4" y="119"/>
                    </a:cxn>
                    <a:cxn ang="0">
                      <a:pos x="219" y="207"/>
                    </a:cxn>
                    <a:cxn ang="0">
                      <a:pos x="308" y="174"/>
                    </a:cxn>
                    <a:cxn ang="0">
                      <a:pos x="376" y="138"/>
                    </a:cxn>
                    <a:cxn ang="0">
                      <a:pos x="219" y="127"/>
                    </a:cxn>
                    <a:cxn ang="0">
                      <a:pos x="148" y="0"/>
                    </a:cxn>
                    <a:cxn ang="0">
                      <a:pos x="152" y="107"/>
                    </a:cxn>
                    <a:cxn ang="0">
                      <a:pos x="109" y="63"/>
                    </a:cxn>
                    <a:cxn ang="0">
                      <a:pos x="137" y="151"/>
                    </a:cxn>
                    <a:cxn ang="0">
                      <a:pos x="45" y="97"/>
                    </a:cxn>
                    <a:cxn ang="0">
                      <a:pos x="59" y="163"/>
                    </a:cxn>
                    <a:cxn ang="0">
                      <a:pos x="0" y="122"/>
                    </a:cxn>
                  </a:cxnLst>
                  <a:rect l="0" t="0" r="r" b="b"/>
                  <a:pathLst>
                    <a:path w="376" h="231">
                      <a:moveTo>
                        <a:pt x="4" y="119"/>
                      </a:moveTo>
                      <a:cubicBezTo>
                        <a:pt x="37" y="204"/>
                        <a:pt x="132" y="231"/>
                        <a:pt x="219" y="207"/>
                      </a:cubicBezTo>
                      <a:cubicBezTo>
                        <a:pt x="236" y="173"/>
                        <a:pt x="279" y="186"/>
                        <a:pt x="308" y="174"/>
                      </a:cubicBezTo>
                      <a:cubicBezTo>
                        <a:pt x="328" y="165"/>
                        <a:pt x="359" y="150"/>
                        <a:pt x="376" y="138"/>
                      </a:cubicBezTo>
                      <a:cubicBezTo>
                        <a:pt x="323" y="137"/>
                        <a:pt x="266" y="160"/>
                        <a:pt x="219" y="127"/>
                      </a:cubicBezTo>
                      <a:cubicBezTo>
                        <a:pt x="182" y="102"/>
                        <a:pt x="160" y="41"/>
                        <a:pt x="148" y="0"/>
                      </a:cubicBezTo>
                      <a:cubicBezTo>
                        <a:pt x="120" y="24"/>
                        <a:pt x="143" y="79"/>
                        <a:pt x="152" y="107"/>
                      </a:cubicBezTo>
                      <a:cubicBezTo>
                        <a:pt x="129" y="107"/>
                        <a:pt x="115" y="82"/>
                        <a:pt x="109" y="63"/>
                      </a:cubicBezTo>
                      <a:cubicBezTo>
                        <a:pt x="106" y="94"/>
                        <a:pt x="120" y="126"/>
                        <a:pt x="137" y="151"/>
                      </a:cubicBezTo>
                      <a:cubicBezTo>
                        <a:pt x="79" y="176"/>
                        <a:pt x="79" y="100"/>
                        <a:pt x="45" y="97"/>
                      </a:cubicBezTo>
                      <a:cubicBezTo>
                        <a:pt x="44" y="119"/>
                        <a:pt x="49" y="144"/>
                        <a:pt x="59" y="163"/>
                      </a:cubicBezTo>
                      <a:cubicBezTo>
                        <a:pt x="40" y="153"/>
                        <a:pt x="29" y="125"/>
                        <a:pt x="0" y="122"/>
                      </a:cubicBezTo>
                    </a:path>
                  </a:pathLst>
                </a:custGeom>
                <a:solidFill>
                  <a:srgbClr val="B6C3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419" name="Freeform 80"/>
                <p:cNvSpPr>
                  <a:spLocks/>
                </p:cNvSpPr>
                <p:nvPr/>
              </p:nvSpPr>
              <p:spPr bwMode="gray">
                <a:xfrm>
                  <a:off x="-10174288" y="-19205575"/>
                  <a:ext cx="333375" cy="833438"/>
                </a:xfrm>
                <a:custGeom>
                  <a:avLst/>
                  <a:gdLst/>
                  <a:ahLst/>
                  <a:cxnLst>
                    <a:cxn ang="0">
                      <a:pos x="24" y="5"/>
                    </a:cxn>
                    <a:cxn ang="0">
                      <a:pos x="88" y="79"/>
                    </a:cxn>
                    <a:cxn ang="0">
                      <a:pos x="69" y="75"/>
                    </a:cxn>
                    <a:cxn ang="0">
                      <a:pos x="77" y="138"/>
                    </a:cxn>
                    <a:cxn ang="0">
                      <a:pos x="79" y="222"/>
                    </a:cxn>
                    <a:cxn ang="0">
                      <a:pos x="59" y="109"/>
                    </a:cxn>
                    <a:cxn ang="0">
                      <a:pos x="0" y="6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89" h="222">
                      <a:moveTo>
                        <a:pt x="24" y="5"/>
                      </a:moveTo>
                      <a:cubicBezTo>
                        <a:pt x="56" y="5"/>
                        <a:pt x="89" y="49"/>
                        <a:pt x="88" y="79"/>
                      </a:cubicBezTo>
                      <a:cubicBezTo>
                        <a:pt x="82" y="77"/>
                        <a:pt x="75" y="77"/>
                        <a:pt x="69" y="75"/>
                      </a:cubicBezTo>
                      <a:cubicBezTo>
                        <a:pt x="69" y="97"/>
                        <a:pt x="73" y="116"/>
                        <a:pt x="77" y="138"/>
                      </a:cubicBezTo>
                      <a:cubicBezTo>
                        <a:pt x="63" y="156"/>
                        <a:pt x="79" y="193"/>
                        <a:pt x="79" y="222"/>
                      </a:cubicBezTo>
                      <a:cubicBezTo>
                        <a:pt x="60" y="187"/>
                        <a:pt x="68" y="148"/>
                        <a:pt x="59" y="109"/>
                      </a:cubicBezTo>
                      <a:cubicBezTo>
                        <a:pt x="49" y="66"/>
                        <a:pt x="8" y="42"/>
                        <a:pt x="0" y="6"/>
                      </a:cubicBezTo>
                      <a:cubicBezTo>
                        <a:pt x="8" y="0"/>
                        <a:pt x="15" y="0"/>
                        <a:pt x="24" y="0"/>
                      </a:cubicBezTo>
                    </a:path>
                  </a:pathLst>
                </a:custGeom>
                <a:solidFill>
                  <a:srgbClr val="60484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</p:grpSp>
        </p:grpSp>
        <p:cxnSp>
          <p:nvCxnSpPr>
            <p:cNvPr id="37" name="Gerade Verbindung 36"/>
            <p:cNvCxnSpPr/>
            <p:nvPr/>
          </p:nvCxnSpPr>
          <p:spPr bwMode="gray">
            <a:xfrm>
              <a:off x="8496784" y="4204447"/>
              <a:ext cx="0" cy="609600"/>
            </a:xfrm>
            <a:prstGeom prst="line">
              <a:avLst/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Gerade Verbindung 424"/>
            <p:cNvCxnSpPr/>
            <p:nvPr/>
          </p:nvCxnSpPr>
          <p:spPr bwMode="gray">
            <a:xfrm>
              <a:off x="699236" y="4814047"/>
              <a:ext cx="7797548" cy="0"/>
            </a:xfrm>
            <a:prstGeom prst="line">
              <a:avLst/>
            </a:prstGeom>
            <a:ln w="1905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Gerade Verbindung 427"/>
            <p:cNvCxnSpPr/>
            <p:nvPr/>
          </p:nvCxnSpPr>
          <p:spPr bwMode="gray">
            <a:xfrm>
              <a:off x="697694" y="4204447"/>
              <a:ext cx="0" cy="609600"/>
            </a:xfrm>
            <a:prstGeom prst="line">
              <a:avLst/>
            </a:prstGeom>
            <a:ln w="19050">
              <a:solidFill>
                <a:srgbClr val="AFAFAF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0" name="Rechteck 429"/>
            <p:cNvSpPr/>
            <p:nvPr/>
          </p:nvSpPr>
          <p:spPr bwMode="gray">
            <a:xfrm>
              <a:off x="2567040" y="4509120"/>
              <a:ext cx="3000042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/>
                <a:t>Feedback</a:t>
              </a:r>
            </a:p>
          </p:txBody>
        </p:sp>
        <p:grpSp>
          <p:nvGrpSpPr>
            <p:cNvPr id="6" name="Gruppieren 197"/>
            <p:cNvGrpSpPr/>
            <p:nvPr/>
          </p:nvGrpSpPr>
          <p:grpSpPr bwMode="gray">
            <a:xfrm>
              <a:off x="3270154" y="2111377"/>
              <a:ext cx="1644650" cy="1874558"/>
              <a:chOff x="3270154" y="2111377"/>
              <a:chExt cx="1644650" cy="1874558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4102" name="Freeform 6"/>
              <p:cNvSpPr>
                <a:spLocks/>
              </p:cNvSpPr>
              <p:nvPr/>
            </p:nvSpPr>
            <p:spPr bwMode="gray">
              <a:xfrm>
                <a:off x="3885467" y="3363944"/>
                <a:ext cx="486526" cy="552350"/>
              </a:xfrm>
              <a:custGeom>
                <a:avLst/>
                <a:gdLst/>
                <a:ahLst/>
                <a:cxnLst>
                  <a:cxn ang="0">
                    <a:pos x="510" y="579"/>
                  </a:cxn>
                  <a:cxn ang="0">
                    <a:pos x="0" y="518"/>
                  </a:cxn>
                  <a:cxn ang="0">
                    <a:pos x="437" y="338"/>
                  </a:cxn>
                  <a:cxn ang="0">
                    <a:pos x="87" y="229"/>
                  </a:cxn>
                  <a:cxn ang="0">
                    <a:pos x="354" y="71"/>
                  </a:cxn>
                  <a:cxn ang="0">
                    <a:pos x="156" y="0"/>
                  </a:cxn>
                </a:cxnLst>
                <a:rect l="0" t="0" r="r" b="b"/>
                <a:pathLst>
                  <a:path w="510" h="579">
                    <a:moveTo>
                      <a:pt x="510" y="579"/>
                    </a:moveTo>
                    <a:lnTo>
                      <a:pt x="0" y="518"/>
                    </a:lnTo>
                    <a:lnTo>
                      <a:pt x="437" y="338"/>
                    </a:lnTo>
                    <a:lnTo>
                      <a:pt x="87" y="229"/>
                    </a:lnTo>
                    <a:lnTo>
                      <a:pt x="354" y="71"/>
                    </a:lnTo>
                    <a:lnTo>
                      <a:pt x="156" y="0"/>
                    </a:lnTo>
                  </a:path>
                </a:pathLst>
              </a:custGeom>
              <a:noFill/>
              <a:ln w="4445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3" name="Freeform 7"/>
              <p:cNvSpPr>
                <a:spLocks/>
              </p:cNvSpPr>
              <p:nvPr/>
            </p:nvSpPr>
            <p:spPr bwMode="gray">
              <a:xfrm>
                <a:off x="3845400" y="3087292"/>
                <a:ext cx="546627" cy="898643"/>
              </a:xfrm>
              <a:custGeom>
                <a:avLst/>
                <a:gdLst/>
                <a:ahLst/>
                <a:cxnLst>
                  <a:cxn ang="0">
                    <a:pos x="0" y="942"/>
                  </a:cxn>
                  <a:cxn ang="0">
                    <a:pos x="288" y="0"/>
                  </a:cxn>
                  <a:cxn ang="0">
                    <a:pos x="573" y="942"/>
                  </a:cxn>
                </a:cxnLst>
                <a:rect l="0" t="0" r="r" b="b"/>
                <a:pathLst>
                  <a:path w="573" h="942">
                    <a:moveTo>
                      <a:pt x="0" y="942"/>
                    </a:moveTo>
                    <a:lnTo>
                      <a:pt x="288" y="0"/>
                    </a:lnTo>
                    <a:lnTo>
                      <a:pt x="573" y="942"/>
                    </a:lnTo>
                  </a:path>
                </a:pathLst>
              </a:custGeom>
              <a:noFill/>
              <a:ln w="444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4" name="Oval 8"/>
              <p:cNvSpPr>
                <a:spLocks noChangeArrowheads="1"/>
              </p:cNvSpPr>
              <p:nvPr/>
            </p:nvSpPr>
            <p:spPr bwMode="gray">
              <a:xfrm>
                <a:off x="3984680" y="2951828"/>
                <a:ext cx="269975" cy="270928"/>
              </a:xfrm>
              <a:prstGeom prst="ellipse">
                <a:avLst/>
              </a:prstGeom>
              <a:solidFill>
                <a:schemeClr val="accent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5" name="Freeform 9"/>
              <p:cNvSpPr>
                <a:spLocks/>
              </p:cNvSpPr>
              <p:nvPr/>
            </p:nvSpPr>
            <p:spPr bwMode="gray">
              <a:xfrm>
                <a:off x="3619308" y="2569284"/>
                <a:ext cx="967329" cy="574292"/>
              </a:xfrm>
              <a:custGeom>
                <a:avLst/>
                <a:gdLst/>
                <a:ahLst/>
                <a:cxnLst>
                  <a:cxn ang="0">
                    <a:pos x="66" y="255"/>
                  </a:cxn>
                  <a:cxn ang="0">
                    <a:pos x="64" y="230"/>
                  </a:cxn>
                  <a:cxn ang="0">
                    <a:pos x="222" y="72"/>
                  </a:cxn>
                  <a:cxn ang="0">
                    <a:pos x="380" y="227"/>
                  </a:cxn>
                  <a:cxn ang="0">
                    <a:pos x="429" y="130"/>
                  </a:cxn>
                  <a:cxn ang="0">
                    <a:pos x="222" y="0"/>
                  </a:cxn>
                  <a:cxn ang="0">
                    <a:pos x="0" y="168"/>
                  </a:cxn>
                  <a:cxn ang="0">
                    <a:pos x="66" y="255"/>
                  </a:cxn>
                </a:cxnLst>
                <a:rect l="0" t="0" r="r" b="b"/>
                <a:pathLst>
                  <a:path w="429" h="255">
                    <a:moveTo>
                      <a:pt x="66" y="255"/>
                    </a:moveTo>
                    <a:cubicBezTo>
                      <a:pt x="64" y="247"/>
                      <a:pt x="64" y="238"/>
                      <a:pt x="64" y="230"/>
                    </a:cubicBezTo>
                    <a:cubicBezTo>
                      <a:pt x="64" y="142"/>
                      <a:pt x="134" y="72"/>
                      <a:pt x="222" y="72"/>
                    </a:cubicBezTo>
                    <a:cubicBezTo>
                      <a:pt x="308" y="72"/>
                      <a:pt x="378" y="141"/>
                      <a:pt x="380" y="227"/>
                    </a:cubicBezTo>
                    <a:cubicBezTo>
                      <a:pt x="403" y="200"/>
                      <a:pt x="421" y="166"/>
                      <a:pt x="429" y="130"/>
                    </a:cubicBezTo>
                    <a:cubicBezTo>
                      <a:pt x="392" y="53"/>
                      <a:pt x="313" y="0"/>
                      <a:pt x="222" y="0"/>
                    </a:cubicBezTo>
                    <a:cubicBezTo>
                      <a:pt x="116" y="0"/>
                      <a:pt x="27" y="71"/>
                      <a:pt x="0" y="168"/>
                    </a:cubicBezTo>
                    <a:cubicBezTo>
                      <a:pt x="15" y="202"/>
                      <a:pt x="37" y="232"/>
                      <a:pt x="66" y="2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10000"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6" name="Freeform 10"/>
              <p:cNvSpPr>
                <a:spLocks/>
              </p:cNvSpPr>
              <p:nvPr/>
            </p:nvSpPr>
            <p:spPr bwMode="gray">
              <a:xfrm>
                <a:off x="3270154" y="2111377"/>
                <a:ext cx="1644650" cy="719296"/>
              </a:xfrm>
              <a:custGeom>
                <a:avLst/>
                <a:gdLst/>
                <a:ahLst/>
                <a:cxnLst>
                  <a:cxn ang="0">
                    <a:pos x="377" y="76"/>
                  </a:cxn>
                  <a:cxn ang="0">
                    <a:pos x="702" y="286"/>
                  </a:cxn>
                  <a:cxn ang="0">
                    <a:pos x="730" y="183"/>
                  </a:cxn>
                  <a:cxn ang="0">
                    <a:pos x="377" y="0"/>
                  </a:cxn>
                  <a:cxn ang="0">
                    <a:pos x="0" y="220"/>
                  </a:cxn>
                  <a:cxn ang="0">
                    <a:pos x="38" y="319"/>
                  </a:cxn>
                  <a:cxn ang="0">
                    <a:pos x="377" y="76"/>
                  </a:cxn>
                </a:cxnLst>
                <a:rect l="0" t="0" r="r" b="b"/>
                <a:pathLst>
                  <a:path w="730" h="319">
                    <a:moveTo>
                      <a:pt x="377" y="76"/>
                    </a:moveTo>
                    <a:cubicBezTo>
                      <a:pt x="522" y="76"/>
                      <a:pt x="646" y="162"/>
                      <a:pt x="702" y="286"/>
                    </a:cubicBezTo>
                    <a:cubicBezTo>
                      <a:pt x="716" y="254"/>
                      <a:pt x="726" y="219"/>
                      <a:pt x="730" y="183"/>
                    </a:cubicBezTo>
                    <a:cubicBezTo>
                      <a:pt x="652" y="72"/>
                      <a:pt x="523" y="0"/>
                      <a:pt x="377" y="0"/>
                    </a:cubicBezTo>
                    <a:cubicBezTo>
                      <a:pt x="215" y="0"/>
                      <a:pt x="74" y="88"/>
                      <a:pt x="0" y="220"/>
                    </a:cubicBezTo>
                    <a:cubicBezTo>
                      <a:pt x="8" y="255"/>
                      <a:pt x="21" y="288"/>
                      <a:pt x="38" y="319"/>
                    </a:cubicBezTo>
                    <a:cubicBezTo>
                      <a:pt x="86" y="177"/>
                      <a:pt x="219" y="76"/>
                      <a:pt x="377" y="7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10000"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sp>
          <p:nvSpPr>
            <p:cNvPr id="7" name="Trapezoid 6"/>
            <p:cNvSpPr/>
            <p:nvPr/>
          </p:nvSpPr>
          <p:spPr bwMode="gray">
            <a:xfrm>
              <a:off x="4797337" y="3803470"/>
              <a:ext cx="3924990" cy="251012"/>
            </a:xfrm>
            <a:prstGeom prst="trapezoid">
              <a:avLst>
                <a:gd name="adj" fmla="val 107143"/>
              </a:avLst>
            </a:prstGeom>
            <a:solidFill>
              <a:srgbClr val="E6E6E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8" name="Auf der gleichen Seite des Rechtecks liegende Ecken abrunden 7"/>
            <p:cNvSpPr/>
            <p:nvPr/>
          </p:nvSpPr>
          <p:spPr bwMode="gray">
            <a:xfrm>
              <a:off x="5052786" y="2583347"/>
              <a:ext cx="3414091" cy="1220123"/>
            </a:xfrm>
            <a:prstGeom prst="round2SameRect">
              <a:avLst>
                <a:gd name="adj1" fmla="val 10847"/>
                <a:gd name="adj2" fmla="val 0"/>
              </a:avLst>
            </a:prstGeom>
            <a:solidFill>
              <a:srgbClr val="D7D7D7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grpSp>
          <p:nvGrpSpPr>
            <p:cNvPr id="9" name="Gruppieren 41"/>
            <p:cNvGrpSpPr/>
            <p:nvPr/>
          </p:nvGrpSpPr>
          <p:grpSpPr bwMode="gray">
            <a:xfrm>
              <a:off x="5162961" y="2699892"/>
              <a:ext cx="3261443" cy="824753"/>
              <a:chOff x="4598132" y="3576917"/>
              <a:chExt cx="4222810" cy="824753"/>
            </a:xfrm>
          </p:grpSpPr>
          <p:sp>
            <p:nvSpPr>
              <p:cNvPr id="43" name="Rechteck 42"/>
              <p:cNvSpPr/>
              <p:nvPr/>
            </p:nvSpPr>
            <p:spPr bwMode="gray">
              <a:xfrm>
                <a:off x="4598132" y="3576917"/>
                <a:ext cx="1415825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Received</a:t>
                </a:r>
                <a:b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signal</a:t>
                </a:r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6013959" y="3576917"/>
                <a:ext cx="1391160" cy="82475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Decoded</a:t>
                </a:r>
                <a:b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signal</a:t>
                </a:r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7405117" y="3576917"/>
                <a:ext cx="1415825" cy="82475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Behavioral </a:t>
                </a:r>
                <a:b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FFFFFF"/>
                    </a:solidFill>
                    <a:cs typeface="Arial" charset="0"/>
                  </a:rPr>
                  <a:t>effects</a:t>
                </a:r>
                <a:endParaRPr lang="en-US" sz="120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51" name="Rechteck 50"/>
            <p:cNvSpPr/>
            <p:nvPr/>
          </p:nvSpPr>
          <p:spPr bwMode="gray">
            <a:xfrm>
              <a:off x="4797337" y="4045512"/>
              <a:ext cx="3924259" cy="338554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0">
              <a:solidFill>
                <a:srgbClr val="C0C0C0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Recipient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5472646" y="2144075"/>
              <a:ext cx="2582846" cy="36755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b="1" noProof="1" smtClean="0"/>
                <a:t>Customer</a:t>
              </a:r>
            </a:p>
          </p:txBody>
        </p:sp>
        <p:grpSp>
          <p:nvGrpSpPr>
            <p:cNvPr id="10" name="Gruppieren 13"/>
            <p:cNvGrpSpPr/>
            <p:nvPr/>
          </p:nvGrpSpPr>
          <p:grpSpPr bwMode="gray">
            <a:xfrm>
              <a:off x="8075238" y="1950943"/>
              <a:ext cx="826306" cy="2167867"/>
              <a:chOff x="4359894" y="2809769"/>
              <a:chExt cx="915672" cy="2402324"/>
            </a:xfrm>
          </p:grpSpPr>
          <p:pic>
            <p:nvPicPr>
              <p:cNvPr id="270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4359894" y="4845781"/>
                <a:ext cx="915672" cy="366312"/>
              </a:xfrm>
              <a:prstGeom prst="rect">
                <a:avLst/>
              </a:prstGeom>
              <a:noFill/>
            </p:spPr>
          </p:pic>
          <p:grpSp>
            <p:nvGrpSpPr>
              <p:cNvPr id="11" name="Gruppieren 270"/>
              <p:cNvGrpSpPr/>
              <p:nvPr/>
            </p:nvGrpSpPr>
            <p:grpSpPr bwMode="gray">
              <a:xfrm>
                <a:off x="4444342" y="2809769"/>
                <a:ext cx="626525" cy="2292056"/>
                <a:chOff x="-3870325" y="-19711987"/>
                <a:chExt cx="5864225" cy="21453475"/>
              </a:xfrm>
            </p:grpSpPr>
            <p:sp>
              <p:nvSpPr>
                <p:cNvPr id="272" name="Freeform 81"/>
                <p:cNvSpPr>
                  <a:spLocks/>
                </p:cNvSpPr>
                <p:nvPr/>
              </p:nvSpPr>
              <p:spPr bwMode="gray">
                <a:xfrm>
                  <a:off x="-3076575" y="-676275"/>
                  <a:ext cx="3457575" cy="1844675"/>
                </a:xfrm>
                <a:custGeom>
                  <a:avLst/>
                  <a:gdLst/>
                  <a:ahLst/>
                  <a:cxnLst>
                    <a:cxn ang="0">
                      <a:pos x="429" y="101"/>
                    </a:cxn>
                    <a:cxn ang="0">
                      <a:pos x="355" y="179"/>
                    </a:cxn>
                    <a:cxn ang="0">
                      <a:pos x="276" y="240"/>
                    </a:cxn>
                    <a:cxn ang="0">
                      <a:pos x="188" y="309"/>
                    </a:cxn>
                    <a:cxn ang="0">
                      <a:pos x="14" y="421"/>
                    </a:cxn>
                    <a:cxn ang="0">
                      <a:pos x="76" y="477"/>
                    </a:cxn>
                    <a:cxn ang="0">
                      <a:pos x="159" y="490"/>
                    </a:cxn>
                    <a:cxn ang="0">
                      <a:pos x="323" y="467"/>
                    </a:cxn>
                    <a:cxn ang="0">
                      <a:pos x="470" y="412"/>
                    </a:cxn>
                    <a:cxn ang="0">
                      <a:pos x="699" y="376"/>
                    </a:cxn>
                    <a:cxn ang="0">
                      <a:pos x="452" y="112"/>
                    </a:cxn>
                  </a:cxnLst>
                  <a:rect l="0" t="0" r="r" b="b"/>
                  <a:pathLst>
                    <a:path w="922" h="492">
                      <a:moveTo>
                        <a:pt x="429" y="101"/>
                      </a:moveTo>
                      <a:cubicBezTo>
                        <a:pt x="402" y="122"/>
                        <a:pt x="363" y="146"/>
                        <a:pt x="355" y="179"/>
                      </a:cubicBezTo>
                      <a:cubicBezTo>
                        <a:pt x="335" y="183"/>
                        <a:pt x="296" y="222"/>
                        <a:pt x="276" y="240"/>
                      </a:cubicBezTo>
                      <a:cubicBezTo>
                        <a:pt x="247" y="266"/>
                        <a:pt x="226" y="294"/>
                        <a:pt x="188" y="309"/>
                      </a:cubicBezTo>
                      <a:cubicBezTo>
                        <a:pt x="149" y="324"/>
                        <a:pt x="0" y="364"/>
                        <a:pt x="14" y="421"/>
                      </a:cubicBezTo>
                      <a:cubicBezTo>
                        <a:pt x="42" y="435"/>
                        <a:pt x="50" y="466"/>
                        <a:pt x="76" y="477"/>
                      </a:cubicBezTo>
                      <a:cubicBezTo>
                        <a:pt x="92" y="484"/>
                        <a:pt x="143" y="489"/>
                        <a:pt x="159" y="490"/>
                      </a:cubicBezTo>
                      <a:cubicBezTo>
                        <a:pt x="216" y="492"/>
                        <a:pt x="263" y="467"/>
                        <a:pt x="323" y="467"/>
                      </a:cubicBezTo>
                      <a:cubicBezTo>
                        <a:pt x="396" y="467"/>
                        <a:pt x="411" y="447"/>
                        <a:pt x="470" y="412"/>
                      </a:cubicBezTo>
                      <a:cubicBezTo>
                        <a:pt x="539" y="371"/>
                        <a:pt x="622" y="392"/>
                        <a:pt x="699" y="376"/>
                      </a:cubicBezTo>
                      <a:cubicBezTo>
                        <a:pt x="922" y="224"/>
                        <a:pt x="494" y="0"/>
                        <a:pt x="452" y="112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3" name="Freeform 82"/>
                <p:cNvSpPr>
                  <a:spLocks/>
                </p:cNvSpPr>
                <p:nvPr/>
              </p:nvSpPr>
              <p:spPr bwMode="gray">
                <a:xfrm>
                  <a:off x="-101600" y="-522287"/>
                  <a:ext cx="2095500" cy="2263775"/>
                </a:xfrm>
                <a:custGeom>
                  <a:avLst/>
                  <a:gdLst/>
                  <a:ahLst/>
                  <a:cxnLst>
                    <a:cxn ang="0">
                      <a:pos x="36" y="184"/>
                    </a:cxn>
                    <a:cxn ang="0">
                      <a:pos x="99" y="402"/>
                    </a:cxn>
                    <a:cxn ang="0">
                      <a:pos x="156" y="413"/>
                    </a:cxn>
                    <a:cxn ang="0">
                      <a:pos x="183" y="465"/>
                    </a:cxn>
                    <a:cxn ang="0">
                      <a:pos x="261" y="538"/>
                    </a:cxn>
                    <a:cxn ang="0">
                      <a:pos x="532" y="527"/>
                    </a:cxn>
                    <a:cxn ang="0">
                      <a:pos x="409" y="317"/>
                    </a:cxn>
                    <a:cxn ang="0">
                      <a:pos x="341" y="212"/>
                    </a:cxn>
                    <a:cxn ang="0">
                      <a:pos x="257" y="77"/>
                    </a:cxn>
                    <a:cxn ang="0">
                      <a:pos x="48" y="184"/>
                    </a:cxn>
                  </a:cxnLst>
                  <a:rect l="0" t="0" r="r" b="b"/>
                  <a:pathLst>
                    <a:path w="559" h="604">
                      <a:moveTo>
                        <a:pt x="36" y="184"/>
                      </a:moveTo>
                      <a:cubicBezTo>
                        <a:pt x="36" y="271"/>
                        <a:pt x="0" y="373"/>
                        <a:pt x="99" y="402"/>
                      </a:cubicBezTo>
                      <a:cubicBezTo>
                        <a:pt x="122" y="409"/>
                        <a:pt x="136" y="401"/>
                        <a:pt x="156" y="413"/>
                      </a:cubicBezTo>
                      <a:cubicBezTo>
                        <a:pt x="190" y="435"/>
                        <a:pt x="167" y="433"/>
                        <a:pt x="183" y="465"/>
                      </a:cubicBezTo>
                      <a:cubicBezTo>
                        <a:pt x="202" y="505"/>
                        <a:pt x="221" y="523"/>
                        <a:pt x="261" y="538"/>
                      </a:cubicBezTo>
                      <a:cubicBezTo>
                        <a:pt x="323" y="562"/>
                        <a:pt x="501" y="604"/>
                        <a:pt x="532" y="527"/>
                      </a:cubicBezTo>
                      <a:cubicBezTo>
                        <a:pt x="559" y="459"/>
                        <a:pt x="449" y="364"/>
                        <a:pt x="409" y="317"/>
                      </a:cubicBezTo>
                      <a:cubicBezTo>
                        <a:pt x="375" y="277"/>
                        <a:pt x="361" y="259"/>
                        <a:pt x="341" y="212"/>
                      </a:cubicBezTo>
                      <a:cubicBezTo>
                        <a:pt x="323" y="171"/>
                        <a:pt x="292" y="106"/>
                        <a:pt x="257" y="77"/>
                      </a:cubicBezTo>
                      <a:cubicBezTo>
                        <a:pt x="168" y="0"/>
                        <a:pt x="73" y="105"/>
                        <a:pt x="48" y="184"/>
                      </a:cubicBezTo>
                    </a:path>
                  </a:pathLst>
                </a:custGeom>
                <a:solidFill>
                  <a:srgbClr val="00040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4" name="Freeform 83"/>
                <p:cNvSpPr>
                  <a:spLocks/>
                </p:cNvSpPr>
                <p:nvPr/>
              </p:nvSpPr>
              <p:spPr bwMode="gray">
                <a:xfrm>
                  <a:off x="-1706563" y="61913"/>
                  <a:ext cx="382588" cy="393700"/>
                </a:xfrm>
                <a:custGeom>
                  <a:avLst/>
                  <a:gdLst/>
                  <a:ahLst/>
                  <a:cxnLst>
                    <a:cxn ang="0">
                      <a:pos x="31" y="41"/>
                    </a:cxn>
                    <a:cxn ang="0">
                      <a:pos x="2" y="74"/>
                    </a:cxn>
                    <a:cxn ang="0">
                      <a:pos x="30" y="76"/>
                    </a:cxn>
                    <a:cxn ang="0">
                      <a:pos x="31" y="91"/>
                    </a:cxn>
                    <a:cxn ang="0">
                      <a:pos x="31" y="45"/>
                    </a:cxn>
                  </a:cxnLst>
                  <a:rect l="0" t="0" r="r" b="b"/>
                  <a:pathLst>
                    <a:path w="102" h="105">
                      <a:moveTo>
                        <a:pt x="31" y="41"/>
                      </a:moveTo>
                      <a:cubicBezTo>
                        <a:pt x="12" y="42"/>
                        <a:pt x="0" y="55"/>
                        <a:pt x="2" y="74"/>
                      </a:cubicBezTo>
                      <a:cubicBezTo>
                        <a:pt x="10" y="72"/>
                        <a:pt x="22" y="77"/>
                        <a:pt x="30" y="76"/>
                      </a:cubicBezTo>
                      <a:cubicBezTo>
                        <a:pt x="30" y="80"/>
                        <a:pt x="31" y="86"/>
                        <a:pt x="31" y="91"/>
                      </a:cubicBezTo>
                      <a:cubicBezTo>
                        <a:pt x="102" y="105"/>
                        <a:pt x="90" y="0"/>
                        <a:pt x="31" y="45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5" name="Freeform 84"/>
                <p:cNvSpPr>
                  <a:spLocks/>
                </p:cNvSpPr>
                <p:nvPr/>
              </p:nvSpPr>
              <p:spPr bwMode="gray">
                <a:xfrm>
                  <a:off x="-1651000" y="249238"/>
                  <a:ext cx="1304925" cy="495300"/>
                </a:xfrm>
                <a:custGeom>
                  <a:avLst/>
                  <a:gdLst/>
                  <a:ahLst/>
                  <a:cxnLst>
                    <a:cxn ang="0">
                      <a:pos x="315" y="16"/>
                    </a:cxn>
                    <a:cxn ang="0">
                      <a:pos x="146" y="79"/>
                    </a:cxn>
                    <a:cxn ang="0">
                      <a:pos x="0" y="131"/>
                    </a:cxn>
                    <a:cxn ang="0">
                      <a:pos x="167" y="32"/>
                    </a:cxn>
                    <a:cxn ang="0">
                      <a:pos x="252" y="4"/>
                    </a:cxn>
                    <a:cxn ang="0">
                      <a:pos x="299" y="26"/>
                    </a:cxn>
                    <a:cxn ang="0">
                      <a:pos x="307" y="38"/>
                    </a:cxn>
                  </a:cxnLst>
                  <a:rect l="0" t="0" r="r" b="b"/>
                  <a:pathLst>
                    <a:path w="348" h="132">
                      <a:moveTo>
                        <a:pt x="315" y="16"/>
                      </a:moveTo>
                      <a:cubicBezTo>
                        <a:pt x="238" y="16"/>
                        <a:pt x="205" y="34"/>
                        <a:pt x="146" y="79"/>
                      </a:cubicBezTo>
                      <a:cubicBezTo>
                        <a:pt x="99" y="115"/>
                        <a:pt x="61" y="132"/>
                        <a:pt x="0" y="131"/>
                      </a:cubicBezTo>
                      <a:cubicBezTo>
                        <a:pt x="58" y="101"/>
                        <a:pt x="117" y="75"/>
                        <a:pt x="167" y="32"/>
                      </a:cubicBezTo>
                      <a:cubicBezTo>
                        <a:pt x="196" y="8"/>
                        <a:pt x="212" y="9"/>
                        <a:pt x="252" y="4"/>
                      </a:cubicBezTo>
                      <a:cubicBezTo>
                        <a:pt x="264" y="2"/>
                        <a:pt x="348" y="0"/>
                        <a:pt x="299" y="26"/>
                      </a:cubicBezTo>
                      <a:cubicBezTo>
                        <a:pt x="301" y="29"/>
                        <a:pt x="305" y="33"/>
                        <a:pt x="307" y="38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6" name="Freeform 85"/>
                <p:cNvSpPr>
                  <a:spLocks/>
                </p:cNvSpPr>
                <p:nvPr/>
              </p:nvSpPr>
              <p:spPr bwMode="gray">
                <a:xfrm>
                  <a:off x="1000125" y="419100"/>
                  <a:ext cx="949325" cy="911225"/>
                </a:xfrm>
                <a:custGeom>
                  <a:avLst/>
                  <a:gdLst/>
                  <a:ahLst/>
                  <a:cxnLst>
                    <a:cxn ang="0">
                      <a:pos x="35" y="35"/>
                    </a:cxn>
                    <a:cxn ang="0">
                      <a:pos x="68" y="106"/>
                    </a:cxn>
                    <a:cxn ang="0">
                      <a:pos x="10" y="135"/>
                    </a:cxn>
                    <a:cxn ang="0">
                      <a:pos x="72" y="162"/>
                    </a:cxn>
                    <a:cxn ang="0">
                      <a:pos x="187" y="220"/>
                    </a:cxn>
                    <a:cxn ang="0">
                      <a:pos x="135" y="124"/>
                    </a:cxn>
                    <a:cxn ang="0">
                      <a:pos x="55" y="10"/>
                    </a:cxn>
                    <a:cxn ang="0">
                      <a:pos x="14" y="14"/>
                    </a:cxn>
                  </a:cxnLst>
                  <a:rect l="0" t="0" r="r" b="b"/>
                  <a:pathLst>
                    <a:path w="253" h="243">
                      <a:moveTo>
                        <a:pt x="35" y="35"/>
                      </a:moveTo>
                      <a:cubicBezTo>
                        <a:pt x="52" y="54"/>
                        <a:pt x="67" y="81"/>
                        <a:pt x="68" y="106"/>
                      </a:cubicBezTo>
                      <a:cubicBezTo>
                        <a:pt x="50" y="105"/>
                        <a:pt x="0" y="104"/>
                        <a:pt x="10" y="135"/>
                      </a:cubicBezTo>
                      <a:cubicBezTo>
                        <a:pt x="15" y="150"/>
                        <a:pt x="61" y="156"/>
                        <a:pt x="72" y="162"/>
                      </a:cubicBezTo>
                      <a:cubicBezTo>
                        <a:pt x="102" y="180"/>
                        <a:pt x="143" y="243"/>
                        <a:pt x="187" y="220"/>
                      </a:cubicBezTo>
                      <a:cubicBezTo>
                        <a:pt x="253" y="185"/>
                        <a:pt x="156" y="138"/>
                        <a:pt x="135" y="124"/>
                      </a:cubicBezTo>
                      <a:cubicBezTo>
                        <a:pt x="96" y="98"/>
                        <a:pt x="79" y="53"/>
                        <a:pt x="55" y="10"/>
                      </a:cubicBezTo>
                      <a:cubicBezTo>
                        <a:pt x="40" y="5"/>
                        <a:pt x="21" y="0"/>
                        <a:pt x="14" y="14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7" name="Freeform 86"/>
                <p:cNvSpPr>
                  <a:spLocks/>
                </p:cNvSpPr>
                <p:nvPr/>
              </p:nvSpPr>
              <p:spPr bwMode="gray">
                <a:xfrm>
                  <a:off x="47625" y="452438"/>
                  <a:ext cx="809625" cy="919163"/>
                </a:xfrm>
                <a:custGeom>
                  <a:avLst/>
                  <a:gdLst/>
                  <a:ahLst/>
                  <a:cxnLst>
                    <a:cxn ang="0">
                      <a:pos x="36" y="13"/>
                    </a:cxn>
                    <a:cxn ang="0">
                      <a:pos x="216" y="237"/>
                    </a:cxn>
                    <a:cxn ang="0">
                      <a:pos x="108" y="130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216" h="245">
                      <a:moveTo>
                        <a:pt x="36" y="13"/>
                      </a:moveTo>
                      <a:cubicBezTo>
                        <a:pt x="156" y="33"/>
                        <a:pt x="104" y="200"/>
                        <a:pt x="216" y="237"/>
                      </a:cubicBezTo>
                      <a:cubicBezTo>
                        <a:pt x="163" y="245"/>
                        <a:pt x="127" y="165"/>
                        <a:pt x="108" y="130"/>
                      </a:cubicBezTo>
                      <a:cubicBezTo>
                        <a:pt x="94" y="104"/>
                        <a:pt x="0" y="23"/>
                        <a:pt x="27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8" name="Freeform 87"/>
                <p:cNvSpPr>
                  <a:spLocks/>
                </p:cNvSpPr>
                <p:nvPr/>
              </p:nvSpPr>
              <p:spPr bwMode="gray">
                <a:xfrm>
                  <a:off x="1427163" y="1300163"/>
                  <a:ext cx="180975" cy="130175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" y="3"/>
                    </a:cxn>
                    <a:cxn ang="0">
                      <a:pos x="43" y="31"/>
                    </a:cxn>
                    <a:cxn ang="0">
                      <a:pos x="47" y="7"/>
                    </a:cxn>
                    <a:cxn ang="0">
                      <a:pos x="35" y="2"/>
                    </a:cxn>
                  </a:cxnLst>
                  <a:rect l="0" t="0" r="r" b="b"/>
                  <a:pathLst>
                    <a:path w="48" h="35">
                      <a:moveTo>
                        <a:pt x="31" y="2"/>
                      </a:moveTo>
                      <a:cubicBezTo>
                        <a:pt x="22" y="0"/>
                        <a:pt x="10" y="2"/>
                        <a:pt x="2" y="3"/>
                      </a:cubicBezTo>
                      <a:cubicBezTo>
                        <a:pt x="0" y="27"/>
                        <a:pt x="21" y="35"/>
                        <a:pt x="43" y="31"/>
                      </a:cubicBezTo>
                      <a:cubicBezTo>
                        <a:pt x="47" y="24"/>
                        <a:pt x="48" y="16"/>
                        <a:pt x="47" y="7"/>
                      </a:cubicBezTo>
                      <a:cubicBezTo>
                        <a:pt x="40" y="9"/>
                        <a:pt x="38" y="4"/>
                        <a:pt x="35" y="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79" name="Freeform 88"/>
                <p:cNvSpPr>
                  <a:spLocks/>
                </p:cNvSpPr>
                <p:nvPr/>
              </p:nvSpPr>
              <p:spPr bwMode="gray">
                <a:xfrm>
                  <a:off x="614363" y="265113"/>
                  <a:ext cx="280988" cy="330200"/>
                </a:xfrm>
                <a:custGeom>
                  <a:avLst/>
                  <a:gdLst/>
                  <a:ahLst/>
                  <a:cxnLst>
                    <a:cxn ang="0">
                      <a:pos x="62" y="4"/>
                    </a:cxn>
                    <a:cxn ang="0">
                      <a:pos x="41" y="5"/>
                    </a:cxn>
                    <a:cxn ang="0">
                      <a:pos x="53" y="88"/>
                    </a:cxn>
                    <a:cxn ang="0">
                      <a:pos x="50" y="38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75" h="88">
                      <a:moveTo>
                        <a:pt x="62" y="4"/>
                      </a:moveTo>
                      <a:cubicBezTo>
                        <a:pt x="56" y="3"/>
                        <a:pt x="48" y="4"/>
                        <a:pt x="41" y="5"/>
                      </a:cubicBezTo>
                      <a:cubicBezTo>
                        <a:pt x="46" y="28"/>
                        <a:pt x="0" y="86"/>
                        <a:pt x="53" y="88"/>
                      </a:cubicBezTo>
                      <a:cubicBezTo>
                        <a:pt x="56" y="71"/>
                        <a:pt x="53" y="53"/>
                        <a:pt x="50" y="38"/>
                      </a:cubicBezTo>
                      <a:cubicBezTo>
                        <a:pt x="72" y="33"/>
                        <a:pt x="75" y="13"/>
                        <a:pt x="58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0" name="Freeform 89"/>
                <p:cNvSpPr>
                  <a:spLocks/>
                </p:cNvSpPr>
                <p:nvPr/>
              </p:nvSpPr>
              <p:spPr bwMode="gray">
                <a:xfrm>
                  <a:off x="-2847975" y="-150812"/>
                  <a:ext cx="1328738" cy="963613"/>
                </a:xfrm>
                <a:custGeom>
                  <a:avLst/>
                  <a:gdLst/>
                  <a:ahLst/>
                  <a:cxnLst>
                    <a:cxn ang="0">
                      <a:pos x="39" y="233"/>
                    </a:cxn>
                    <a:cxn ang="0">
                      <a:pos x="179" y="201"/>
                    </a:cxn>
                    <a:cxn ang="0">
                      <a:pos x="271" y="132"/>
                    </a:cxn>
                    <a:cxn ang="0">
                      <a:pos x="259" y="131"/>
                    </a:cxn>
                    <a:cxn ang="0">
                      <a:pos x="329" y="23"/>
                    </a:cxn>
                    <a:cxn ang="0">
                      <a:pos x="230" y="112"/>
                    </a:cxn>
                    <a:cxn ang="0">
                      <a:pos x="98" y="195"/>
                    </a:cxn>
                    <a:cxn ang="0">
                      <a:pos x="27" y="217"/>
                    </a:cxn>
                    <a:cxn ang="0">
                      <a:pos x="52" y="242"/>
                    </a:cxn>
                  </a:cxnLst>
                  <a:rect l="0" t="0" r="r" b="b"/>
                  <a:pathLst>
                    <a:path w="354" h="257">
                      <a:moveTo>
                        <a:pt x="39" y="233"/>
                      </a:moveTo>
                      <a:cubicBezTo>
                        <a:pt x="93" y="233"/>
                        <a:pt x="133" y="229"/>
                        <a:pt x="179" y="201"/>
                      </a:cubicBezTo>
                      <a:cubicBezTo>
                        <a:pt x="210" y="182"/>
                        <a:pt x="274" y="175"/>
                        <a:pt x="271" y="132"/>
                      </a:cubicBezTo>
                      <a:cubicBezTo>
                        <a:pt x="267" y="131"/>
                        <a:pt x="263" y="132"/>
                        <a:pt x="259" y="131"/>
                      </a:cubicBezTo>
                      <a:cubicBezTo>
                        <a:pt x="257" y="108"/>
                        <a:pt x="354" y="52"/>
                        <a:pt x="329" y="23"/>
                      </a:cubicBezTo>
                      <a:cubicBezTo>
                        <a:pt x="310" y="0"/>
                        <a:pt x="240" y="96"/>
                        <a:pt x="230" y="112"/>
                      </a:cubicBezTo>
                      <a:cubicBezTo>
                        <a:pt x="199" y="158"/>
                        <a:pt x="149" y="179"/>
                        <a:pt x="98" y="195"/>
                      </a:cubicBezTo>
                      <a:cubicBezTo>
                        <a:pt x="80" y="201"/>
                        <a:pt x="40" y="205"/>
                        <a:pt x="27" y="217"/>
                      </a:cubicBezTo>
                      <a:cubicBezTo>
                        <a:pt x="0" y="241"/>
                        <a:pt x="21" y="257"/>
                        <a:pt x="52" y="24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1" name="Freeform 90"/>
                <p:cNvSpPr>
                  <a:spLocks/>
                </p:cNvSpPr>
                <p:nvPr/>
              </p:nvSpPr>
              <p:spPr bwMode="gray">
                <a:xfrm>
                  <a:off x="-3046413" y="-11569700"/>
                  <a:ext cx="4418013" cy="12044363"/>
                </a:xfrm>
                <a:custGeom>
                  <a:avLst/>
                  <a:gdLst/>
                  <a:ahLst/>
                  <a:cxnLst>
                    <a:cxn ang="0">
                      <a:pos x="55" y="151"/>
                    </a:cxn>
                    <a:cxn ang="0">
                      <a:pos x="78" y="281"/>
                    </a:cxn>
                    <a:cxn ang="0">
                      <a:pos x="37" y="382"/>
                    </a:cxn>
                    <a:cxn ang="0">
                      <a:pos x="33" y="686"/>
                    </a:cxn>
                    <a:cxn ang="0">
                      <a:pos x="72" y="1082"/>
                    </a:cxn>
                    <a:cxn ang="0">
                      <a:pos x="100" y="1473"/>
                    </a:cxn>
                    <a:cxn ang="0">
                      <a:pos x="203" y="2087"/>
                    </a:cxn>
                    <a:cxn ang="0">
                      <a:pos x="268" y="2377"/>
                    </a:cxn>
                    <a:cxn ang="0">
                      <a:pos x="331" y="2676"/>
                    </a:cxn>
                    <a:cxn ang="0">
                      <a:pos x="331" y="2712"/>
                    </a:cxn>
                    <a:cxn ang="0">
                      <a:pos x="360" y="2865"/>
                    </a:cxn>
                    <a:cxn ang="0">
                      <a:pos x="398" y="3028"/>
                    </a:cxn>
                    <a:cxn ang="0">
                      <a:pos x="465" y="3046"/>
                    </a:cxn>
                    <a:cxn ang="0">
                      <a:pos x="551" y="3097"/>
                    </a:cxn>
                    <a:cxn ang="0">
                      <a:pos x="746" y="3164"/>
                    </a:cxn>
                    <a:cxn ang="0">
                      <a:pos x="765" y="2895"/>
                    </a:cxn>
                    <a:cxn ang="0">
                      <a:pos x="699" y="2595"/>
                    </a:cxn>
                    <a:cxn ang="0">
                      <a:pos x="664" y="2318"/>
                    </a:cxn>
                    <a:cxn ang="0">
                      <a:pos x="668" y="2009"/>
                    </a:cxn>
                    <a:cxn ang="0">
                      <a:pos x="635" y="1824"/>
                    </a:cxn>
                    <a:cxn ang="0">
                      <a:pos x="658" y="1638"/>
                    </a:cxn>
                    <a:cxn ang="0">
                      <a:pos x="613" y="1458"/>
                    </a:cxn>
                    <a:cxn ang="0">
                      <a:pos x="614" y="1261"/>
                    </a:cxn>
                    <a:cxn ang="0">
                      <a:pos x="681" y="1356"/>
                    </a:cxn>
                    <a:cxn ang="0">
                      <a:pos x="699" y="1501"/>
                    </a:cxn>
                    <a:cxn ang="0">
                      <a:pos x="742" y="1767"/>
                    </a:cxn>
                    <a:cxn ang="0">
                      <a:pos x="709" y="2110"/>
                    </a:cxn>
                    <a:cxn ang="0">
                      <a:pos x="720" y="2437"/>
                    </a:cxn>
                    <a:cxn ang="0">
                      <a:pos x="708" y="2657"/>
                    </a:cxn>
                    <a:cxn ang="0">
                      <a:pos x="681" y="2858"/>
                    </a:cxn>
                    <a:cxn ang="0">
                      <a:pos x="761" y="3062"/>
                    </a:cxn>
                    <a:cxn ang="0">
                      <a:pos x="888" y="3206"/>
                    </a:cxn>
                    <a:cxn ang="0">
                      <a:pos x="1108" y="3109"/>
                    </a:cxn>
                    <a:cxn ang="0">
                      <a:pos x="1125" y="2843"/>
                    </a:cxn>
                    <a:cxn ang="0">
                      <a:pos x="1125" y="2765"/>
                    </a:cxn>
                    <a:cxn ang="0">
                      <a:pos x="1108" y="2702"/>
                    </a:cxn>
                    <a:cxn ang="0">
                      <a:pos x="1148" y="2578"/>
                    </a:cxn>
                    <a:cxn ang="0">
                      <a:pos x="1148" y="2229"/>
                    </a:cxn>
                    <a:cxn ang="0">
                      <a:pos x="1153" y="2071"/>
                    </a:cxn>
                    <a:cxn ang="0">
                      <a:pos x="1125" y="1914"/>
                    </a:cxn>
                    <a:cxn ang="0">
                      <a:pos x="1148" y="1587"/>
                    </a:cxn>
                    <a:cxn ang="0">
                      <a:pos x="1142" y="1282"/>
                    </a:cxn>
                    <a:cxn ang="0">
                      <a:pos x="1153" y="1092"/>
                    </a:cxn>
                    <a:cxn ang="0">
                      <a:pos x="1125" y="911"/>
                    </a:cxn>
                    <a:cxn ang="0">
                      <a:pos x="1107" y="541"/>
                    </a:cxn>
                    <a:cxn ang="0">
                      <a:pos x="1024" y="168"/>
                    </a:cxn>
                    <a:cxn ang="0">
                      <a:pos x="731" y="17"/>
                    </a:cxn>
                    <a:cxn ang="0">
                      <a:pos x="152" y="79"/>
                    </a:cxn>
                    <a:cxn ang="0">
                      <a:pos x="72" y="151"/>
                    </a:cxn>
                  </a:cxnLst>
                  <a:rect l="0" t="0" r="r" b="b"/>
                  <a:pathLst>
                    <a:path w="1178" h="3212">
                      <a:moveTo>
                        <a:pt x="55" y="151"/>
                      </a:moveTo>
                      <a:cubicBezTo>
                        <a:pt x="49" y="196"/>
                        <a:pt x="81" y="231"/>
                        <a:pt x="78" y="281"/>
                      </a:cubicBezTo>
                      <a:cubicBezTo>
                        <a:pt x="75" y="326"/>
                        <a:pt x="52" y="346"/>
                        <a:pt x="37" y="382"/>
                      </a:cubicBezTo>
                      <a:cubicBezTo>
                        <a:pt x="0" y="468"/>
                        <a:pt x="24" y="594"/>
                        <a:pt x="33" y="686"/>
                      </a:cubicBezTo>
                      <a:cubicBezTo>
                        <a:pt x="45" y="819"/>
                        <a:pt x="58" y="950"/>
                        <a:pt x="72" y="1082"/>
                      </a:cubicBezTo>
                      <a:cubicBezTo>
                        <a:pt x="86" y="1213"/>
                        <a:pt x="107" y="1338"/>
                        <a:pt x="100" y="1473"/>
                      </a:cubicBezTo>
                      <a:cubicBezTo>
                        <a:pt x="90" y="1687"/>
                        <a:pt x="167" y="1885"/>
                        <a:pt x="203" y="2087"/>
                      </a:cubicBezTo>
                      <a:cubicBezTo>
                        <a:pt x="221" y="2184"/>
                        <a:pt x="253" y="2275"/>
                        <a:pt x="268" y="2377"/>
                      </a:cubicBezTo>
                      <a:cubicBezTo>
                        <a:pt x="282" y="2471"/>
                        <a:pt x="342" y="2574"/>
                        <a:pt x="331" y="2676"/>
                      </a:cubicBezTo>
                      <a:cubicBezTo>
                        <a:pt x="330" y="2688"/>
                        <a:pt x="331" y="2700"/>
                        <a:pt x="331" y="2712"/>
                      </a:cubicBezTo>
                      <a:cubicBezTo>
                        <a:pt x="268" y="2741"/>
                        <a:pt x="351" y="2832"/>
                        <a:pt x="360" y="2865"/>
                      </a:cubicBezTo>
                      <a:cubicBezTo>
                        <a:pt x="375" y="2925"/>
                        <a:pt x="339" y="2982"/>
                        <a:pt x="398" y="3028"/>
                      </a:cubicBezTo>
                      <a:cubicBezTo>
                        <a:pt x="420" y="3045"/>
                        <a:pt x="440" y="3037"/>
                        <a:pt x="465" y="3046"/>
                      </a:cubicBezTo>
                      <a:cubicBezTo>
                        <a:pt x="487" y="3054"/>
                        <a:pt x="527" y="3085"/>
                        <a:pt x="551" y="3097"/>
                      </a:cubicBezTo>
                      <a:cubicBezTo>
                        <a:pt x="609" y="3126"/>
                        <a:pt x="681" y="3156"/>
                        <a:pt x="746" y="3164"/>
                      </a:cubicBezTo>
                      <a:cubicBezTo>
                        <a:pt x="725" y="3072"/>
                        <a:pt x="773" y="2987"/>
                        <a:pt x="765" y="2895"/>
                      </a:cubicBezTo>
                      <a:cubicBezTo>
                        <a:pt x="757" y="2795"/>
                        <a:pt x="726" y="2690"/>
                        <a:pt x="699" y="2595"/>
                      </a:cubicBezTo>
                      <a:cubicBezTo>
                        <a:pt x="673" y="2503"/>
                        <a:pt x="654" y="2417"/>
                        <a:pt x="664" y="2318"/>
                      </a:cubicBezTo>
                      <a:cubicBezTo>
                        <a:pt x="673" y="2225"/>
                        <a:pt x="695" y="2102"/>
                        <a:pt x="668" y="2009"/>
                      </a:cubicBezTo>
                      <a:cubicBezTo>
                        <a:pt x="650" y="1949"/>
                        <a:pt x="625" y="1893"/>
                        <a:pt x="635" y="1824"/>
                      </a:cubicBezTo>
                      <a:cubicBezTo>
                        <a:pt x="646" y="1757"/>
                        <a:pt x="672" y="1710"/>
                        <a:pt x="658" y="1638"/>
                      </a:cubicBezTo>
                      <a:cubicBezTo>
                        <a:pt x="645" y="1572"/>
                        <a:pt x="613" y="1532"/>
                        <a:pt x="613" y="1458"/>
                      </a:cubicBezTo>
                      <a:cubicBezTo>
                        <a:pt x="613" y="1392"/>
                        <a:pt x="610" y="1326"/>
                        <a:pt x="614" y="1261"/>
                      </a:cubicBezTo>
                      <a:cubicBezTo>
                        <a:pt x="645" y="1296"/>
                        <a:pt x="669" y="1309"/>
                        <a:pt x="681" y="1356"/>
                      </a:cubicBezTo>
                      <a:cubicBezTo>
                        <a:pt x="693" y="1402"/>
                        <a:pt x="692" y="1455"/>
                        <a:pt x="699" y="1501"/>
                      </a:cubicBezTo>
                      <a:cubicBezTo>
                        <a:pt x="712" y="1593"/>
                        <a:pt x="742" y="1668"/>
                        <a:pt x="742" y="1767"/>
                      </a:cubicBezTo>
                      <a:cubicBezTo>
                        <a:pt x="742" y="1887"/>
                        <a:pt x="727" y="1996"/>
                        <a:pt x="709" y="2110"/>
                      </a:cubicBezTo>
                      <a:cubicBezTo>
                        <a:pt x="692" y="2218"/>
                        <a:pt x="720" y="2327"/>
                        <a:pt x="720" y="2437"/>
                      </a:cubicBezTo>
                      <a:cubicBezTo>
                        <a:pt x="720" y="2509"/>
                        <a:pt x="719" y="2585"/>
                        <a:pt x="708" y="2657"/>
                      </a:cubicBezTo>
                      <a:cubicBezTo>
                        <a:pt x="698" y="2726"/>
                        <a:pt x="676" y="2784"/>
                        <a:pt x="681" y="2858"/>
                      </a:cubicBezTo>
                      <a:cubicBezTo>
                        <a:pt x="685" y="2936"/>
                        <a:pt x="733" y="2993"/>
                        <a:pt x="761" y="3062"/>
                      </a:cubicBezTo>
                      <a:cubicBezTo>
                        <a:pt x="779" y="3106"/>
                        <a:pt x="832" y="3212"/>
                        <a:pt x="888" y="3206"/>
                      </a:cubicBezTo>
                      <a:cubicBezTo>
                        <a:pt x="920" y="3108"/>
                        <a:pt x="1051" y="3169"/>
                        <a:pt x="1108" y="3109"/>
                      </a:cubicBezTo>
                      <a:cubicBezTo>
                        <a:pt x="1178" y="3035"/>
                        <a:pt x="1133" y="2934"/>
                        <a:pt x="1125" y="2843"/>
                      </a:cubicBezTo>
                      <a:cubicBezTo>
                        <a:pt x="1123" y="2817"/>
                        <a:pt x="1129" y="2790"/>
                        <a:pt x="1125" y="2765"/>
                      </a:cubicBezTo>
                      <a:cubicBezTo>
                        <a:pt x="1122" y="2744"/>
                        <a:pt x="1107" y="2723"/>
                        <a:pt x="1108" y="2702"/>
                      </a:cubicBezTo>
                      <a:cubicBezTo>
                        <a:pt x="1111" y="2665"/>
                        <a:pt x="1139" y="2616"/>
                        <a:pt x="1148" y="2578"/>
                      </a:cubicBezTo>
                      <a:cubicBezTo>
                        <a:pt x="1175" y="2463"/>
                        <a:pt x="1153" y="2350"/>
                        <a:pt x="1148" y="2229"/>
                      </a:cubicBezTo>
                      <a:cubicBezTo>
                        <a:pt x="1145" y="2175"/>
                        <a:pt x="1151" y="2124"/>
                        <a:pt x="1153" y="2071"/>
                      </a:cubicBezTo>
                      <a:cubicBezTo>
                        <a:pt x="1156" y="2014"/>
                        <a:pt x="1131" y="1968"/>
                        <a:pt x="1125" y="1914"/>
                      </a:cubicBezTo>
                      <a:cubicBezTo>
                        <a:pt x="1112" y="1802"/>
                        <a:pt x="1143" y="1694"/>
                        <a:pt x="1148" y="1587"/>
                      </a:cubicBezTo>
                      <a:cubicBezTo>
                        <a:pt x="1153" y="1484"/>
                        <a:pt x="1137" y="1386"/>
                        <a:pt x="1142" y="1282"/>
                      </a:cubicBezTo>
                      <a:cubicBezTo>
                        <a:pt x="1145" y="1218"/>
                        <a:pt x="1154" y="1157"/>
                        <a:pt x="1153" y="1092"/>
                      </a:cubicBezTo>
                      <a:cubicBezTo>
                        <a:pt x="1153" y="1028"/>
                        <a:pt x="1131" y="969"/>
                        <a:pt x="1125" y="911"/>
                      </a:cubicBezTo>
                      <a:cubicBezTo>
                        <a:pt x="1114" y="786"/>
                        <a:pt x="1151" y="664"/>
                        <a:pt x="1107" y="541"/>
                      </a:cubicBezTo>
                      <a:cubicBezTo>
                        <a:pt x="1063" y="418"/>
                        <a:pt x="1051" y="297"/>
                        <a:pt x="1024" y="168"/>
                      </a:cubicBezTo>
                      <a:cubicBezTo>
                        <a:pt x="1000" y="52"/>
                        <a:pt x="839" y="26"/>
                        <a:pt x="731" y="17"/>
                      </a:cubicBezTo>
                      <a:cubicBezTo>
                        <a:pt x="534" y="0"/>
                        <a:pt x="335" y="29"/>
                        <a:pt x="152" y="79"/>
                      </a:cubicBezTo>
                      <a:cubicBezTo>
                        <a:pt x="146" y="114"/>
                        <a:pt x="107" y="143"/>
                        <a:pt x="72" y="151"/>
                      </a:cubicBezTo>
                    </a:path>
                  </a:pathLst>
                </a:custGeom>
                <a:solidFill>
                  <a:srgbClr val="585C5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2" name="Freeform 91"/>
                <p:cNvSpPr>
                  <a:spLocks/>
                </p:cNvSpPr>
                <p:nvPr/>
              </p:nvSpPr>
              <p:spPr bwMode="gray">
                <a:xfrm>
                  <a:off x="-2055813" y="-18129250"/>
                  <a:ext cx="1924050" cy="2647950"/>
                </a:xfrm>
                <a:custGeom>
                  <a:avLst/>
                  <a:gdLst/>
                  <a:ahLst/>
                  <a:cxnLst>
                    <a:cxn ang="0">
                      <a:pos x="122" y="205"/>
                    </a:cxn>
                    <a:cxn ang="0">
                      <a:pos x="141" y="437"/>
                    </a:cxn>
                    <a:cxn ang="0">
                      <a:pos x="214" y="683"/>
                    </a:cxn>
                    <a:cxn ang="0">
                      <a:pos x="488" y="510"/>
                    </a:cxn>
                    <a:cxn ang="0">
                      <a:pos x="407" y="124"/>
                    </a:cxn>
                    <a:cxn ang="0">
                      <a:pos x="143" y="184"/>
                    </a:cxn>
                  </a:cxnLst>
                  <a:rect l="0" t="0" r="r" b="b"/>
                  <a:pathLst>
                    <a:path w="513" h="706">
                      <a:moveTo>
                        <a:pt x="122" y="205"/>
                      </a:moveTo>
                      <a:cubicBezTo>
                        <a:pt x="137" y="280"/>
                        <a:pt x="146" y="354"/>
                        <a:pt x="141" y="437"/>
                      </a:cubicBezTo>
                      <a:cubicBezTo>
                        <a:pt x="0" y="522"/>
                        <a:pt x="74" y="660"/>
                        <a:pt x="214" y="683"/>
                      </a:cubicBezTo>
                      <a:cubicBezTo>
                        <a:pt x="351" y="706"/>
                        <a:pt x="455" y="646"/>
                        <a:pt x="488" y="510"/>
                      </a:cubicBezTo>
                      <a:cubicBezTo>
                        <a:pt x="513" y="407"/>
                        <a:pt x="455" y="214"/>
                        <a:pt x="407" y="124"/>
                      </a:cubicBezTo>
                      <a:cubicBezTo>
                        <a:pt x="342" y="0"/>
                        <a:pt x="146" y="43"/>
                        <a:pt x="143" y="18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3" name="Freeform 92"/>
                <p:cNvSpPr>
                  <a:spLocks/>
                </p:cNvSpPr>
                <p:nvPr/>
              </p:nvSpPr>
              <p:spPr bwMode="gray">
                <a:xfrm>
                  <a:off x="-409575" y="-17097375"/>
                  <a:ext cx="157163" cy="258763"/>
                </a:xfrm>
                <a:custGeom>
                  <a:avLst/>
                  <a:gdLst/>
                  <a:ahLst/>
                  <a:cxnLst>
                    <a:cxn ang="0">
                      <a:pos x="20" y="45"/>
                    </a:cxn>
                    <a:cxn ang="0">
                      <a:pos x="42" y="69"/>
                    </a:cxn>
                    <a:cxn ang="0">
                      <a:pos x="37" y="42"/>
                    </a:cxn>
                    <a:cxn ang="0">
                      <a:pos x="26" y="12"/>
                    </a:cxn>
                    <a:cxn ang="0">
                      <a:pos x="14" y="4"/>
                    </a:cxn>
                    <a:cxn ang="0">
                      <a:pos x="5" y="17"/>
                    </a:cxn>
                    <a:cxn ang="0">
                      <a:pos x="18" y="45"/>
                    </a:cxn>
                  </a:cxnLst>
                  <a:rect l="0" t="0" r="r" b="b"/>
                  <a:pathLst>
                    <a:path w="42" h="69">
                      <a:moveTo>
                        <a:pt x="20" y="45"/>
                      </a:moveTo>
                      <a:cubicBezTo>
                        <a:pt x="26" y="51"/>
                        <a:pt x="34" y="66"/>
                        <a:pt x="42" y="69"/>
                      </a:cubicBezTo>
                      <a:cubicBezTo>
                        <a:pt x="42" y="59"/>
                        <a:pt x="39" y="51"/>
                        <a:pt x="37" y="42"/>
                      </a:cubicBezTo>
                      <a:cubicBezTo>
                        <a:pt x="34" y="29"/>
                        <a:pt x="30" y="22"/>
                        <a:pt x="26" y="12"/>
                      </a:cubicBezTo>
                      <a:cubicBezTo>
                        <a:pt x="22" y="5"/>
                        <a:pt x="22" y="0"/>
                        <a:pt x="14" y="4"/>
                      </a:cubicBezTo>
                      <a:cubicBezTo>
                        <a:pt x="11" y="5"/>
                        <a:pt x="6" y="14"/>
                        <a:pt x="5" y="17"/>
                      </a:cubicBezTo>
                      <a:cubicBezTo>
                        <a:pt x="0" y="32"/>
                        <a:pt x="16" y="37"/>
                        <a:pt x="18" y="4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4" name="Freeform 93"/>
                <p:cNvSpPr>
                  <a:spLocks/>
                </p:cNvSpPr>
                <p:nvPr/>
              </p:nvSpPr>
              <p:spPr bwMode="gray">
                <a:xfrm>
                  <a:off x="-1587500" y="-17067212"/>
                  <a:ext cx="1296988" cy="7683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" y="45"/>
                    </a:cxn>
                    <a:cxn ang="0">
                      <a:pos x="45" y="97"/>
                    </a:cxn>
                    <a:cxn ang="0">
                      <a:pos x="125" y="177"/>
                    </a:cxn>
                    <a:cxn ang="0">
                      <a:pos x="246" y="190"/>
                    </a:cxn>
                    <a:cxn ang="0">
                      <a:pos x="346" y="14"/>
                    </a:cxn>
                  </a:cxnLst>
                  <a:rect l="0" t="0" r="r" b="b"/>
                  <a:pathLst>
                    <a:path w="346" h="205">
                      <a:moveTo>
                        <a:pt x="0" y="0"/>
                      </a:moveTo>
                      <a:cubicBezTo>
                        <a:pt x="7" y="19"/>
                        <a:pt x="13" y="29"/>
                        <a:pt x="23" y="45"/>
                      </a:cubicBezTo>
                      <a:cubicBezTo>
                        <a:pt x="33" y="62"/>
                        <a:pt x="33" y="82"/>
                        <a:pt x="45" y="97"/>
                      </a:cubicBezTo>
                      <a:cubicBezTo>
                        <a:pt x="70" y="127"/>
                        <a:pt x="87" y="157"/>
                        <a:pt x="125" y="177"/>
                      </a:cubicBezTo>
                      <a:cubicBezTo>
                        <a:pt x="150" y="191"/>
                        <a:pt x="216" y="205"/>
                        <a:pt x="246" y="190"/>
                      </a:cubicBezTo>
                      <a:cubicBezTo>
                        <a:pt x="303" y="163"/>
                        <a:pt x="346" y="38"/>
                        <a:pt x="346" y="1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5" name="Freeform 94"/>
                <p:cNvSpPr>
                  <a:spLocks/>
                </p:cNvSpPr>
                <p:nvPr/>
              </p:nvSpPr>
              <p:spPr bwMode="gray">
                <a:xfrm>
                  <a:off x="-2055813" y="-19629437"/>
                  <a:ext cx="2047875" cy="3203575"/>
                </a:xfrm>
                <a:custGeom>
                  <a:avLst/>
                  <a:gdLst/>
                  <a:ahLst/>
                  <a:cxnLst>
                    <a:cxn ang="0">
                      <a:pos x="48" y="367"/>
                    </a:cxn>
                    <a:cxn ang="0">
                      <a:pos x="1" y="422"/>
                    </a:cxn>
                    <a:cxn ang="0">
                      <a:pos x="43" y="495"/>
                    </a:cxn>
                    <a:cxn ang="0">
                      <a:pos x="63" y="525"/>
                    </a:cxn>
                    <a:cxn ang="0">
                      <a:pos x="76" y="578"/>
                    </a:cxn>
                    <a:cxn ang="0">
                      <a:pos x="132" y="702"/>
                    </a:cxn>
                    <a:cxn ang="0">
                      <a:pos x="171" y="746"/>
                    </a:cxn>
                    <a:cxn ang="0">
                      <a:pos x="251" y="827"/>
                    </a:cxn>
                    <a:cxn ang="0">
                      <a:pos x="372" y="840"/>
                    </a:cxn>
                    <a:cxn ang="0">
                      <a:pos x="473" y="692"/>
                    </a:cxn>
                    <a:cxn ang="0">
                      <a:pos x="511" y="599"/>
                    </a:cxn>
                    <a:cxn ang="0">
                      <a:pos x="529" y="410"/>
                    </a:cxn>
                    <a:cxn ang="0">
                      <a:pos x="372" y="60"/>
                    </a:cxn>
                    <a:cxn ang="0">
                      <a:pos x="112" y="89"/>
                    </a:cxn>
                    <a:cxn ang="0">
                      <a:pos x="40" y="216"/>
                    </a:cxn>
                    <a:cxn ang="0">
                      <a:pos x="48" y="367"/>
                    </a:cxn>
                  </a:cxnLst>
                  <a:rect l="0" t="0" r="r" b="b"/>
                  <a:pathLst>
                    <a:path w="546" h="854">
                      <a:moveTo>
                        <a:pt x="48" y="367"/>
                      </a:moveTo>
                      <a:cubicBezTo>
                        <a:pt x="6" y="358"/>
                        <a:pt x="2" y="391"/>
                        <a:pt x="1" y="422"/>
                      </a:cubicBezTo>
                      <a:cubicBezTo>
                        <a:pt x="0" y="467"/>
                        <a:pt x="17" y="469"/>
                        <a:pt x="43" y="495"/>
                      </a:cubicBezTo>
                      <a:cubicBezTo>
                        <a:pt x="51" y="503"/>
                        <a:pt x="54" y="517"/>
                        <a:pt x="63" y="525"/>
                      </a:cubicBezTo>
                      <a:cubicBezTo>
                        <a:pt x="75" y="534"/>
                        <a:pt x="67" y="564"/>
                        <a:pt x="76" y="578"/>
                      </a:cubicBezTo>
                      <a:cubicBezTo>
                        <a:pt x="92" y="600"/>
                        <a:pt x="122" y="686"/>
                        <a:pt x="132" y="702"/>
                      </a:cubicBezTo>
                      <a:cubicBezTo>
                        <a:pt x="142" y="719"/>
                        <a:pt x="159" y="731"/>
                        <a:pt x="171" y="746"/>
                      </a:cubicBezTo>
                      <a:cubicBezTo>
                        <a:pt x="196" y="777"/>
                        <a:pt x="213" y="806"/>
                        <a:pt x="251" y="827"/>
                      </a:cubicBezTo>
                      <a:cubicBezTo>
                        <a:pt x="277" y="840"/>
                        <a:pt x="342" y="854"/>
                        <a:pt x="372" y="840"/>
                      </a:cubicBezTo>
                      <a:cubicBezTo>
                        <a:pt x="400" y="826"/>
                        <a:pt x="464" y="716"/>
                        <a:pt x="473" y="692"/>
                      </a:cubicBezTo>
                      <a:cubicBezTo>
                        <a:pt x="485" y="660"/>
                        <a:pt x="498" y="628"/>
                        <a:pt x="511" y="599"/>
                      </a:cubicBezTo>
                      <a:cubicBezTo>
                        <a:pt x="537" y="542"/>
                        <a:pt x="521" y="470"/>
                        <a:pt x="529" y="410"/>
                      </a:cubicBezTo>
                      <a:cubicBezTo>
                        <a:pt x="546" y="285"/>
                        <a:pt x="466" y="132"/>
                        <a:pt x="372" y="60"/>
                      </a:cubicBezTo>
                      <a:cubicBezTo>
                        <a:pt x="294" y="0"/>
                        <a:pt x="170" y="12"/>
                        <a:pt x="112" y="89"/>
                      </a:cubicBezTo>
                      <a:cubicBezTo>
                        <a:pt x="88" y="120"/>
                        <a:pt x="55" y="179"/>
                        <a:pt x="40" y="216"/>
                      </a:cubicBezTo>
                      <a:cubicBezTo>
                        <a:pt x="28" y="248"/>
                        <a:pt x="1" y="298"/>
                        <a:pt x="48" y="36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6" name="Freeform 95"/>
                <p:cNvSpPr>
                  <a:spLocks/>
                </p:cNvSpPr>
                <p:nvPr/>
              </p:nvSpPr>
              <p:spPr bwMode="gray">
                <a:xfrm>
                  <a:off x="-3870325" y="-16865596"/>
                  <a:ext cx="5691179" cy="6361109"/>
                </a:xfrm>
                <a:custGeom>
                  <a:avLst/>
                  <a:gdLst/>
                  <a:ahLst/>
                  <a:cxnLst>
                    <a:cxn ang="0">
                      <a:pos x="568" y="110"/>
                    </a:cxn>
                    <a:cxn ang="0">
                      <a:pos x="365" y="239"/>
                    </a:cxn>
                    <a:cxn ang="0">
                      <a:pos x="185" y="357"/>
                    </a:cxn>
                    <a:cxn ang="0">
                      <a:pos x="67" y="567"/>
                    </a:cxn>
                    <a:cxn ang="0">
                      <a:pos x="74" y="680"/>
                    </a:cxn>
                    <a:cxn ang="0">
                      <a:pos x="62" y="820"/>
                    </a:cxn>
                    <a:cxn ang="0">
                      <a:pos x="5" y="1011"/>
                    </a:cxn>
                    <a:cxn ang="0">
                      <a:pos x="16" y="1237"/>
                    </a:cxn>
                    <a:cxn ang="0">
                      <a:pos x="101" y="1406"/>
                    </a:cxn>
                    <a:cxn ang="0">
                      <a:pos x="264" y="1417"/>
                    </a:cxn>
                    <a:cxn ang="0">
                      <a:pos x="276" y="1591"/>
                    </a:cxn>
                    <a:cxn ang="0">
                      <a:pos x="731" y="1681"/>
                    </a:cxn>
                    <a:cxn ang="0">
                      <a:pos x="968" y="1655"/>
                    </a:cxn>
                    <a:cxn ang="0">
                      <a:pos x="1154" y="1631"/>
                    </a:cxn>
                    <a:cxn ang="0">
                      <a:pos x="1283" y="1569"/>
                    </a:cxn>
                    <a:cxn ang="0">
                      <a:pos x="1447" y="1147"/>
                    </a:cxn>
                    <a:cxn ang="0">
                      <a:pos x="1509" y="617"/>
                    </a:cxn>
                    <a:cxn ang="0">
                      <a:pos x="1492" y="398"/>
                    </a:cxn>
                    <a:cxn ang="0">
                      <a:pos x="1417" y="202"/>
                    </a:cxn>
                    <a:cxn ang="0">
                      <a:pos x="1014" y="53"/>
                    </a:cxn>
                    <a:cxn ang="0">
                      <a:pos x="745" y="222"/>
                    </a:cxn>
                    <a:cxn ang="0">
                      <a:pos x="608" y="70"/>
                    </a:cxn>
                    <a:cxn ang="0">
                      <a:pos x="535" y="133"/>
                    </a:cxn>
                  </a:cxnLst>
                  <a:rect l="0" t="0" r="r" b="b"/>
                  <a:pathLst>
                    <a:path w="1518" h="1696">
                      <a:moveTo>
                        <a:pt x="568" y="110"/>
                      </a:moveTo>
                      <a:cubicBezTo>
                        <a:pt x="491" y="130"/>
                        <a:pt x="436" y="199"/>
                        <a:pt x="365" y="239"/>
                      </a:cubicBezTo>
                      <a:cubicBezTo>
                        <a:pt x="303" y="273"/>
                        <a:pt x="246" y="311"/>
                        <a:pt x="185" y="357"/>
                      </a:cubicBezTo>
                      <a:cubicBezTo>
                        <a:pt x="127" y="401"/>
                        <a:pt x="49" y="492"/>
                        <a:pt x="67" y="567"/>
                      </a:cubicBezTo>
                      <a:cubicBezTo>
                        <a:pt x="79" y="619"/>
                        <a:pt x="85" y="626"/>
                        <a:pt x="74" y="680"/>
                      </a:cubicBezTo>
                      <a:cubicBezTo>
                        <a:pt x="65" y="726"/>
                        <a:pt x="69" y="773"/>
                        <a:pt x="62" y="820"/>
                      </a:cubicBezTo>
                      <a:cubicBezTo>
                        <a:pt x="52" y="884"/>
                        <a:pt x="11" y="945"/>
                        <a:pt x="5" y="1011"/>
                      </a:cubicBezTo>
                      <a:cubicBezTo>
                        <a:pt x="0" y="1079"/>
                        <a:pt x="9" y="1168"/>
                        <a:pt x="16" y="1237"/>
                      </a:cubicBezTo>
                      <a:cubicBezTo>
                        <a:pt x="22" y="1288"/>
                        <a:pt x="46" y="1388"/>
                        <a:pt x="101" y="1406"/>
                      </a:cubicBezTo>
                      <a:cubicBezTo>
                        <a:pt x="173" y="1429"/>
                        <a:pt x="202" y="1362"/>
                        <a:pt x="264" y="1417"/>
                      </a:cubicBezTo>
                      <a:cubicBezTo>
                        <a:pt x="255" y="1448"/>
                        <a:pt x="169" y="1479"/>
                        <a:pt x="276" y="1591"/>
                      </a:cubicBezTo>
                      <a:cubicBezTo>
                        <a:pt x="319" y="1637"/>
                        <a:pt x="670" y="1696"/>
                        <a:pt x="731" y="1681"/>
                      </a:cubicBezTo>
                      <a:cubicBezTo>
                        <a:pt x="804" y="1663"/>
                        <a:pt x="915" y="1665"/>
                        <a:pt x="968" y="1655"/>
                      </a:cubicBezTo>
                      <a:cubicBezTo>
                        <a:pt x="1014" y="1646"/>
                        <a:pt x="1154" y="1630"/>
                        <a:pt x="1154" y="1631"/>
                      </a:cubicBezTo>
                      <a:cubicBezTo>
                        <a:pt x="1151" y="1611"/>
                        <a:pt x="1278" y="1590"/>
                        <a:pt x="1283" y="1569"/>
                      </a:cubicBezTo>
                      <a:cubicBezTo>
                        <a:pt x="1362" y="1451"/>
                        <a:pt x="1355" y="1386"/>
                        <a:pt x="1447" y="1147"/>
                      </a:cubicBezTo>
                      <a:cubicBezTo>
                        <a:pt x="1509" y="985"/>
                        <a:pt x="1518" y="806"/>
                        <a:pt x="1509" y="617"/>
                      </a:cubicBezTo>
                      <a:cubicBezTo>
                        <a:pt x="1505" y="543"/>
                        <a:pt x="1492" y="476"/>
                        <a:pt x="1492" y="398"/>
                      </a:cubicBezTo>
                      <a:cubicBezTo>
                        <a:pt x="1492" y="311"/>
                        <a:pt x="1485" y="256"/>
                        <a:pt x="1417" y="202"/>
                      </a:cubicBezTo>
                      <a:cubicBezTo>
                        <a:pt x="1308" y="115"/>
                        <a:pt x="1156" y="67"/>
                        <a:pt x="1014" y="53"/>
                      </a:cubicBezTo>
                      <a:cubicBezTo>
                        <a:pt x="988" y="0"/>
                        <a:pt x="813" y="250"/>
                        <a:pt x="745" y="222"/>
                      </a:cubicBezTo>
                      <a:cubicBezTo>
                        <a:pt x="667" y="189"/>
                        <a:pt x="574" y="100"/>
                        <a:pt x="608" y="70"/>
                      </a:cubicBezTo>
                      <a:cubicBezTo>
                        <a:pt x="588" y="98"/>
                        <a:pt x="551" y="100"/>
                        <a:pt x="535" y="133"/>
                      </a:cubicBezTo>
                    </a:path>
                  </a:pathLst>
                </a:custGeom>
                <a:solidFill>
                  <a:srgbClr val="DAE3E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7" name="Freeform 96"/>
                <p:cNvSpPr>
                  <a:spLocks/>
                </p:cNvSpPr>
                <p:nvPr/>
              </p:nvSpPr>
              <p:spPr bwMode="gray">
                <a:xfrm>
                  <a:off x="-577850" y="-16665575"/>
                  <a:ext cx="1341438" cy="857250"/>
                </a:xfrm>
                <a:custGeom>
                  <a:avLst/>
                  <a:gdLst/>
                  <a:ahLst/>
                  <a:cxnLst>
                    <a:cxn ang="0">
                      <a:pos x="97" y="0"/>
                    </a:cxn>
                    <a:cxn ang="0">
                      <a:pos x="303" y="60"/>
                    </a:cxn>
                    <a:cxn ang="0">
                      <a:pos x="358" y="106"/>
                    </a:cxn>
                    <a:cxn ang="0">
                      <a:pos x="203" y="76"/>
                    </a:cxn>
                    <a:cxn ang="0">
                      <a:pos x="136" y="173"/>
                    </a:cxn>
                    <a:cxn ang="0">
                      <a:pos x="21" y="223"/>
                    </a:cxn>
                    <a:cxn ang="0">
                      <a:pos x="58" y="105"/>
                    </a:cxn>
                    <a:cxn ang="0">
                      <a:pos x="131" y="13"/>
                    </a:cxn>
                  </a:cxnLst>
                  <a:rect l="0" t="0" r="r" b="b"/>
                  <a:pathLst>
                    <a:path w="358" h="229">
                      <a:moveTo>
                        <a:pt x="97" y="0"/>
                      </a:moveTo>
                      <a:cubicBezTo>
                        <a:pt x="155" y="28"/>
                        <a:pt x="241" y="50"/>
                        <a:pt x="303" y="60"/>
                      </a:cubicBezTo>
                      <a:cubicBezTo>
                        <a:pt x="315" y="77"/>
                        <a:pt x="339" y="97"/>
                        <a:pt x="358" y="106"/>
                      </a:cubicBezTo>
                      <a:cubicBezTo>
                        <a:pt x="309" y="97"/>
                        <a:pt x="254" y="70"/>
                        <a:pt x="203" y="76"/>
                      </a:cubicBezTo>
                      <a:cubicBezTo>
                        <a:pt x="136" y="84"/>
                        <a:pt x="190" y="147"/>
                        <a:pt x="136" y="173"/>
                      </a:cubicBezTo>
                      <a:cubicBezTo>
                        <a:pt x="106" y="119"/>
                        <a:pt x="62" y="229"/>
                        <a:pt x="21" y="223"/>
                      </a:cubicBezTo>
                      <a:cubicBezTo>
                        <a:pt x="0" y="173"/>
                        <a:pt x="31" y="144"/>
                        <a:pt x="58" y="105"/>
                      </a:cubicBezTo>
                      <a:cubicBezTo>
                        <a:pt x="76" y="79"/>
                        <a:pt x="92" y="8"/>
                        <a:pt x="131" y="1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8" name="Freeform 97"/>
                <p:cNvSpPr>
                  <a:spLocks/>
                </p:cNvSpPr>
                <p:nvPr/>
              </p:nvSpPr>
              <p:spPr bwMode="gray">
                <a:xfrm>
                  <a:off x="-1238250" y="-13482637"/>
                  <a:ext cx="390525" cy="850900"/>
                </a:xfrm>
                <a:custGeom>
                  <a:avLst/>
                  <a:gdLst/>
                  <a:ahLst/>
                  <a:cxnLst>
                    <a:cxn ang="0">
                      <a:pos x="79" y="17"/>
                    </a:cxn>
                    <a:cxn ang="0">
                      <a:pos x="3" y="131"/>
                    </a:cxn>
                    <a:cxn ang="0">
                      <a:pos x="45" y="227"/>
                    </a:cxn>
                    <a:cxn ang="0">
                      <a:pos x="99" y="21"/>
                    </a:cxn>
                    <a:cxn ang="0">
                      <a:pos x="87" y="0"/>
                    </a:cxn>
                  </a:cxnLst>
                  <a:rect l="0" t="0" r="r" b="b"/>
                  <a:pathLst>
                    <a:path w="104" h="227">
                      <a:moveTo>
                        <a:pt x="79" y="17"/>
                      </a:moveTo>
                      <a:cubicBezTo>
                        <a:pt x="44" y="66"/>
                        <a:pt x="6" y="63"/>
                        <a:pt x="3" y="131"/>
                      </a:cubicBezTo>
                      <a:cubicBezTo>
                        <a:pt x="0" y="185"/>
                        <a:pt x="11" y="194"/>
                        <a:pt x="45" y="227"/>
                      </a:cubicBezTo>
                      <a:cubicBezTo>
                        <a:pt x="42" y="170"/>
                        <a:pt x="3" y="39"/>
                        <a:pt x="99" y="21"/>
                      </a:cubicBezTo>
                      <a:cubicBezTo>
                        <a:pt x="104" y="6"/>
                        <a:pt x="97" y="5"/>
                        <a:pt x="87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89" name="Freeform 98"/>
                <p:cNvSpPr>
                  <a:spLocks/>
                </p:cNvSpPr>
                <p:nvPr/>
              </p:nvSpPr>
              <p:spPr bwMode="gray">
                <a:xfrm>
                  <a:off x="-3536950" y="-14465300"/>
                  <a:ext cx="738188" cy="492125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97" y="131"/>
                    </a:cxn>
                    <a:cxn ang="0">
                      <a:pos x="84" y="73"/>
                    </a:cxn>
                    <a:cxn ang="0">
                      <a:pos x="12" y="5"/>
                    </a:cxn>
                    <a:cxn ang="0">
                      <a:pos x="41" y="5"/>
                    </a:cxn>
                  </a:cxnLst>
                  <a:rect l="0" t="0" r="r" b="b"/>
                  <a:pathLst>
                    <a:path w="197" h="131">
                      <a:moveTo>
                        <a:pt x="12" y="0"/>
                      </a:moveTo>
                      <a:cubicBezTo>
                        <a:pt x="72" y="19"/>
                        <a:pt x="176" y="59"/>
                        <a:pt x="197" y="131"/>
                      </a:cubicBezTo>
                      <a:cubicBezTo>
                        <a:pt x="156" y="116"/>
                        <a:pt x="123" y="90"/>
                        <a:pt x="84" y="73"/>
                      </a:cubicBezTo>
                      <a:cubicBezTo>
                        <a:pt x="54" y="61"/>
                        <a:pt x="0" y="51"/>
                        <a:pt x="12" y="5"/>
                      </a:cubicBezTo>
                      <a:cubicBezTo>
                        <a:pt x="21" y="4"/>
                        <a:pt x="33" y="2"/>
                        <a:pt x="41" y="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0" name="Freeform 99"/>
                <p:cNvSpPr>
                  <a:spLocks/>
                </p:cNvSpPr>
                <p:nvPr/>
              </p:nvSpPr>
              <p:spPr bwMode="gray">
                <a:xfrm>
                  <a:off x="-2806700" y="-10966450"/>
                  <a:ext cx="3787775" cy="825500"/>
                </a:xfrm>
                <a:custGeom>
                  <a:avLst/>
                  <a:gdLst/>
                  <a:ahLst/>
                  <a:cxnLst>
                    <a:cxn ang="0">
                      <a:pos x="37" y="13"/>
                    </a:cxn>
                    <a:cxn ang="0">
                      <a:pos x="132" y="45"/>
                    </a:cxn>
                    <a:cxn ang="0">
                      <a:pos x="245" y="69"/>
                    </a:cxn>
                    <a:cxn ang="0">
                      <a:pos x="470" y="86"/>
                    </a:cxn>
                    <a:cxn ang="0">
                      <a:pos x="735" y="69"/>
                    </a:cxn>
                    <a:cxn ang="0">
                      <a:pos x="976" y="37"/>
                    </a:cxn>
                    <a:cxn ang="0">
                      <a:pos x="986" y="148"/>
                    </a:cxn>
                    <a:cxn ang="0">
                      <a:pos x="842" y="187"/>
                    </a:cxn>
                    <a:cxn ang="0">
                      <a:pos x="577" y="215"/>
                    </a:cxn>
                    <a:cxn ang="0">
                      <a:pos x="311" y="194"/>
                    </a:cxn>
                    <a:cxn ang="0">
                      <a:pos x="183" y="159"/>
                    </a:cxn>
                    <a:cxn ang="0">
                      <a:pos x="29" y="121"/>
                    </a:cxn>
                    <a:cxn ang="0">
                      <a:pos x="14" y="120"/>
                    </a:cxn>
                    <a:cxn ang="0">
                      <a:pos x="3" y="24"/>
                    </a:cxn>
                  </a:cxnLst>
                  <a:rect l="0" t="0" r="r" b="b"/>
                  <a:pathLst>
                    <a:path w="1010" h="220">
                      <a:moveTo>
                        <a:pt x="37" y="13"/>
                      </a:moveTo>
                      <a:cubicBezTo>
                        <a:pt x="73" y="16"/>
                        <a:pt x="98" y="32"/>
                        <a:pt x="132" y="45"/>
                      </a:cubicBezTo>
                      <a:cubicBezTo>
                        <a:pt x="171" y="59"/>
                        <a:pt x="206" y="60"/>
                        <a:pt x="245" y="69"/>
                      </a:cubicBezTo>
                      <a:cubicBezTo>
                        <a:pt x="317" y="84"/>
                        <a:pt x="391" y="82"/>
                        <a:pt x="470" y="86"/>
                      </a:cubicBezTo>
                      <a:cubicBezTo>
                        <a:pt x="563" y="90"/>
                        <a:pt x="652" y="100"/>
                        <a:pt x="735" y="69"/>
                      </a:cubicBezTo>
                      <a:cubicBezTo>
                        <a:pt x="797" y="46"/>
                        <a:pt x="909" y="0"/>
                        <a:pt x="976" y="37"/>
                      </a:cubicBezTo>
                      <a:cubicBezTo>
                        <a:pt x="975" y="87"/>
                        <a:pt x="1010" y="114"/>
                        <a:pt x="986" y="148"/>
                      </a:cubicBezTo>
                      <a:cubicBezTo>
                        <a:pt x="970" y="172"/>
                        <a:pt x="869" y="180"/>
                        <a:pt x="842" y="187"/>
                      </a:cubicBezTo>
                      <a:cubicBezTo>
                        <a:pt x="756" y="211"/>
                        <a:pt x="672" y="215"/>
                        <a:pt x="577" y="215"/>
                      </a:cubicBezTo>
                      <a:cubicBezTo>
                        <a:pt x="485" y="215"/>
                        <a:pt x="395" y="220"/>
                        <a:pt x="311" y="194"/>
                      </a:cubicBezTo>
                      <a:cubicBezTo>
                        <a:pt x="267" y="180"/>
                        <a:pt x="226" y="169"/>
                        <a:pt x="183" y="159"/>
                      </a:cubicBezTo>
                      <a:cubicBezTo>
                        <a:pt x="140" y="150"/>
                        <a:pt x="67" y="141"/>
                        <a:pt x="29" y="121"/>
                      </a:cubicBezTo>
                      <a:cubicBezTo>
                        <a:pt x="18" y="115"/>
                        <a:pt x="26" y="124"/>
                        <a:pt x="14" y="120"/>
                      </a:cubicBezTo>
                      <a:cubicBezTo>
                        <a:pt x="9" y="91"/>
                        <a:pt x="0" y="52"/>
                        <a:pt x="3" y="24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1" name="Freeform 100"/>
                <p:cNvSpPr>
                  <a:spLocks/>
                </p:cNvSpPr>
                <p:nvPr/>
              </p:nvSpPr>
              <p:spPr bwMode="gray">
                <a:xfrm>
                  <a:off x="-1778000" y="-10768012"/>
                  <a:ext cx="884238" cy="638175"/>
                </a:xfrm>
                <a:custGeom>
                  <a:avLst/>
                  <a:gdLst/>
                  <a:ahLst/>
                  <a:cxnLst>
                    <a:cxn ang="0">
                      <a:pos x="32" y="131"/>
                    </a:cxn>
                    <a:cxn ang="0">
                      <a:pos x="170" y="141"/>
                    </a:cxn>
                    <a:cxn ang="0">
                      <a:pos x="184" y="39"/>
                    </a:cxn>
                    <a:cxn ang="0">
                      <a:pos x="137" y="26"/>
                    </a:cxn>
                    <a:cxn ang="0">
                      <a:pos x="206" y="20"/>
                    </a:cxn>
                    <a:cxn ang="0">
                      <a:pos x="198" y="152"/>
                    </a:cxn>
                    <a:cxn ang="0">
                      <a:pos x="156" y="168"/>
                    </a:cxn>
                    <a:cxn ang="0">
                      <a:pos x="13" y="151"/>
                    </a:cxn>
                    <a:cxn ang="0">
                      <a:pos x="12" y="40"/>
                    </a:cxn>
                    <a:cxn ang="0">
                      <a:pos x="156" y="13"/>
                    </a:cxn>
                    <a:cxn ang="0">
                      <a:pos x="141" y="37"/>
                    </a:cxn>
                    <a:cxn ang="0">
                      <a:pos x="37" y="61"/>
                    </a:cxn>
                  </a:cxnLst>
                  <a:rect l="0" t="0" r="r" b="b"/>
                  <a:pathLst>
                    <a:path w="236" h="170">
                      <a:moveTo>
                        <a:pt x="32" y="131"/>
                      </a:moveTo>
                      <a:cubicBezTo>
                        <a:pt x="61" y="144"/>
                        <a:pt x="154" y="156"/>
                        <a:pt x="170" y="141"/>
                      </a:cubicBezTo>
                      <a:cubicBezTo>
                        <a:pt x="171" y="124"/>
                        <a:pt x="186" y="58"/>
                        <a:pt x="184" y="39"/>
                      </a:cubicBezTo>
                      <a:cubicBezTo>
                        <a:pt x="164" y="29"/>
                        <a:pt x="137" y="52"/>
                        <a:pt x="137" y="26"/>
                      </a:cubicBezTo>
                      <a:cubicBezTo>
                        <a:pt x="137" y="2"/>
                        <a:pt x="198" y="20"/>
                        <a:pt x="206" y="20"/>
                      </a:cubicBezTo>
                      <a:cubicBezTo>
                        <a:pt x="236" y="20"/>
                        <a:pt x="202" y="124"/>
                        <a:pt x="198" y="152"/>
                      </a:cubicBezTo>
                      <a:cubicBezTo>
                        <a:pt x="195" y="170"/>
                        <a:pt x="180" y="166"/>
                        <a:pt x="156" y="168"/>
                      </a:cubicBezTo>
                      <a:cubicBezTo>
                        <a:pt x="123" y="169"/>
                        <a:pt x="46" y="162"/>
                        <a:pt x="13" y="151"/>
                      </a:cubicBezTo>
                      <a:cubicBezTo>
                        <a:pt x="0" y="147"/>
                        <a:pt x="2" y="88"/>
                        <a:pt x="12" y="40"/>
                      </a:cubicBezTo>
                      <a:cubicBezTo>
                        <a:pt x="20" y="0"/>
                        <a:pt x="123" y="20"/>
                        <a:pt x="156" y="13"/>
                      </a:cubicBezTo>
                      <a:cubicBezTo>
                        <a:pt x="172" y="10"/>
                        <a:pt x="143" y="23"/>
                        <a:pt x="141" y="37"/>
                      </a:cubicBezTo>
                      <a:cubicBezTo>
                        <a:pt x="124" y="38"/>
                        <a:pt x="30" y="30"/>
                        <a:pt x="37" y="61"/>
                      </a:cubicBezTo>
                    </a:path>
                  </a:pathLst>
                </a:custGeom>
                <a:solidFill>
                  <a:srgbClr val="DBDCD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2" name="Freeform 101"/>
                <p:cNvSpPr>
                  <a:spLocks/>
                </p:cNvSpPr>
                <p:nvPr/>
              </p:nvSpPr>
              <p:spPr bwMode="gray">
                <a:xfrm>
                  <a:off x="-2228850" y="-19711987"/>
                  <a:ext cx="2320925" cy="2089150"/>
                </a:xfrm>
                <a:custGeom>
                  <a:avLst/>
                  <a:gdLst/>
                  <a:ahLst/>
                  <a:cxnLst>
                    <a:cxn ang="0">
                      <a:pos x="111" y="540"/>
                    </a:cxn>
                    <a:cxn ang="0">
                      <a:pos x="94" y="541"/>
                    </a:cxn>
                    <a:cxn ang="0">
                      <a:pos x="81" y="432"/>
                    </a:cxn>
                    <a:cxn ang="0">
                      <a:pos x="67" y="390"/>
                    </a:cxn>
                    <a:cxn ang="0">
                      <a:pos x="33" y="348"/>
                    </a:cxn>
                    <a:cxn ang="0">
                      <a:pos x="81" y="145"/>
                    </a:cxn>
                    <a:cxn ang="0">
                      <a:pos x="48" y="144"/>
                    </a:cxn>
                    <a:cxn ang="0">
                      <a:pos x="131" y="76"/>
                    </a:cxn>
                    <a:cxn ang="0">
                      <a:pos x="115" y="57"/>
                    </a:cxn>
                    <a:cxn ang="0">
                      <a:pos x="190" y="34"/>
                    </a:cxn>
                    <a:cxn ang="0">
                      <a:pos x="263" y="1"/>
                    </a:cxn>
                    <a:cxn ang="0">
                      <a:pos x="426" y="51"/>
                    </a:cxn>
                    <a:cxn ang="0">
                      <a:pos x="428" y="27"/>
                    </a:cxn>
                    <a:cxn ang="0">
                      <a:pos x="469" y="77"/>
                    </a:cxn>
                    <a:cxn ang="0">
                      <a:pos x="530" y="110"/>
                    </a:cxn>
                    <a:cxn ang="0">
                      <a:pos x="596" y="229"/>
                    </a:cxn>
                    <a:cxn ang="0">
                      <a:pos x="608" y="388"/>
                    </a:cxn>
                    <a:cxn ang="0">
                      <a:pos x="572" y="557"/>
                    </a:cxn>
                    <a:cxn ang="0">
                      <a:pos x="546" y="457"/>
                    </a:cxn>
                    <a:cxn ang="0">
                      <a:pos x="550" y="313"/>
                    </a:cxn>
                    <a:cxn ang="0">
                      <a:pos x="482" y="216"/>
                    </a:cxn>
                    <a:cxn ang="0">
                      <a:pos x="348" y="216"/>
                    </a:cxn>
                    <a:cxn ang="0">
                      <a:pos x="327" y="191"/>
                    </a:cxn>
                    <a:cxn ang="0">
                      <a:pos x="334" y="228"/>
                    </a:cxn>
                    <a:cxn ang="0">
                      <a:pos x="250" y="188"/>
                    </a:cxn>
                    <a:cxn ang="0">
                      <a:pos x="179" y="230"/>
                    </a:cxn>
                    <a:cxn ang="0">
                      <a:pos x="127" y="322"/>
                    </a:cxn>
                    <a:cxn ang="0">
                      <a:pos x="123" y="377"/>
                    </a:cxn>
                    <a:cxn ang="0">
                      <a:pos x="111" y="426"/>
                    </a:cxn>
                    <a:cxn ang="0">
                      <a:pos x="111" y="540"/>
                    </a:cxn>
                  </a:cxnLst>
                  <a:rect l="0" t="0" r="r" b="b"/>
                  <a:pathLst>
                    <a:path w="619" h="557">
                      <a:moveTo>
                        <a:pt x="111" y="540"/>
                      </a:moveTo>
                      <a:cubicBezTo>
                        <a:pt x="85" y="549"/>
                        <a:pt x="102" y="543"/>
                        <a:pt x="94" y="541"/>
                      </a:cubicBezTo>
                      <a:cubicBezTo>
                        <a:pt x="82" y="499"/>
                        <a:pt x="79" y="474"/>
                        <a:pt x="81" y="432"/>
                      </a:cubicBezTo>
                      <a:cubicBezTo>
                        <a:pt x="82" y="415"/>
                        <a:pt x="95" y="378"/>
                        <a:pt x="67" y="390"/>
                      </a:cubicBezTo>
                      <a:cubicBezTo>
                        <a:pt x="56" y="395"/>
                        <a:pt x="44" y="366"/>
                        <a:pt x="33" y="348"/>
                      </a:cubicBezTo>
                      <a:cubicBezTo>
                        <a:pt x="0" y="293"/>
                        <a:pt x="48" y="189"/>
                        <a:pt x="81" y="145"/>
                      </a:cubicBezTo>
                      <a:cubicBezTo>
                        <a:pt x="71" y="147"/>
                        <a:pt x="58" y="142"/>
                        <a:pt x="48" y="144"/>
                      </a:cubicBezTo>
                      <a:cubicBezTo>
                        <a:pt x="52" y="107"/>
                        <a:pt x="97" y="82"/>
                        <a:pt x="131" y="76"/>
                      </a:cubicBezTo>
                      <a:cubicBezTo>
                        <a:pt x="125" y="71"/>
                        <a:pt x="121" y="61"/>
                        <a:pt x="115" y="57"/>
                      </a:cubicBezTo>
                      <a:cubicBezTo>
                        <a:pt x="142" y="51"/>
                        <a:pt x="168" y="47"/>
                        <a:pt x="190" y="34"/>
                      </a:cubicBezTo>
                      <a:cubicBezTo>
                        <a:pt x="220" y="15"/>
                        <a:pt x="222" y="1"/>
                        <a:pt x="263" y="1"/>
                      </a:cubicBezTo>
                      <a:cubicBezTo>
                        <a:pt x="327" y="0"/>
                        <a:pt x="377" y="13"/>
                        <a:pt x="426" y="51"/>
                      </a:cubicBezTo>
                      <a:cubicBezTo>
                        <a:pt x="426" y="44"/>
                        <a:pt x="429" y="34"/>
                        <a:pt x="428" y="27"/>
                      </a:cubicBezTo>
                      <a:cubicBezTo>
                        <a:pt x="443" y="40"/>
                        <a:pt x="453" y="63"/>
                        <a:pt x="469" y="77"/>
                      </a:cubicBezTo>
                      <a:cubicBezTo>
                        <a:pt x="489" y="96"/>
                        <a:pt x="509" y="94"/>
                        <a:pt x="530" y="110"/>
                      </a:cubicBezTo>
                      <a:cubicBezTo>
                        <a:pt x="558" y="130"/>
                        <a:pt x="581" y="197"/>
                        <a:pt x="596" y="229"/>
                      </a:cubicBezTo>
                      <a:cubicBezTo>
                        <a:pt x="617" y="274"/>
                        <a:pt x="619" y="337"/>
                        <a:pt x="608" y="388"/>
                      </a:cubicBezTo>
                      <a:cubicBezTo>
                        <a:pt x="599" y="429"/>
                        <a:pt x="611" y="534"/>
                        <a:pt x="572" y="557"/>
                      </a:cubicBezTo>
                      <a:cubicBezTo>
                        <a:pt x="575" y="530"/>
                        <a:pt x="547" y="490"/>
                        <a:pt x="546" y="457"/>
                      </a:cubicBezTo>
                      <a:cubicBezTo>
                        <a:pt x="544" y="409"/>
                        <a:pt x="556" y="362"/>
                        <a:pt x="550" y="313"/>
                      </a:cubicBezTo>
                      <a:cubicBezTo>
                        <a:pt x="545" y="273"/>
                        <a:pt x="525" y="227"/>
                        <a:pt x="482" y="216"/>
                      </a:cubicBezTo>
                      <a:cubicBezTo>
                        <a:pt x="438" y="205"/>
                        <a:pt x="391" y="230"/>
                        <a:pt x="348" y="216"/>
                      </a:cubicBezTo>
                      <a:cubicBezTo>
                        <a:pt x="343" y="205"/>
                        <a:pt x="333" y="200"/>
                        <a:pt x="327" y="191"/>
                      </a:cubicBezTo>
                      <a:cubicBezTo>
                        <a:pt x="328" y="206"/>
                        <a:pt x="326" y="217"/>
                        <a:pt x="334" y="228"/>
                      </a:cubicBezTo>
                      <a:cubicBezTo>
                        <a:pt x="306" y="232"/>
                        <a:pt x="273" y="204"/>
                        <a:pt x="250" y="188"/>
                      </a:cubicBezTo>
                      <a:cubicBezTo>
                        <a:pt x="267" y="225"/>
                        <a:pt x="201" y="212"/>
                        <a:pt x="179" y="230"/>
                      </a:cubicBezTo>
                      <a:cubicBezTo>
                        <a:pt x="152" y="252"/>
                        <a:pt x="134" y="290"/>
                        <a:pt x="127" y="322"/>
                      </a:cubicBezTo>
                      <a:cubicBezTo>
                        <a:pt x="124" y="339"/>
                        <a:pt x="130" y="360"/>
                        <a:pt x="123" y="377"/>
                      </a:cubicBezTo>
                      <a:cubicBezTo>
                        <a:pt x="116" y="396"/>
                        <a:pt x="116" y="408"/>
                        <a:pt x="111" y="426"/>
                      </a:cubicBezTo>
                      <a:cubicBezTo>
                        <a:pt x="102" y="466"/>
                        <a:pt x="123" y="521"/>
                        <a:pt x="111" y="54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3" name="Freeform 102"/>
                <p:cNvSpPr>
                  <a:spLocks/>
                </p:cNvSpPr>
                <p:nvPr/>
              </p:nvSpPr>
              <p:spPr bwMode="gray">
                <a:xfrm>
                  <a:off x="-2928938" y="-12233275"/>
                  <a:ext cx="4244975" cy="1217613"/>
                </a:xfrm>
                <a:custGeom>
                  <a:avLst/>
                  <a:gdLst/>
                  <a:ahLst/>
                  <a:cxnLst>
                    <a:cxn ang="0">
                      <a:pos x="638" y="9"/>
                    </a:cxn>
                    <a:cxn ang="0">
                      <a:pos x="47" y="123"/>
                    </a:cxn>
                    <a:cxn ang="0">
                      <a:pos x="2" y="190"/>
                    </a:cxn>
                    <a:cxn ang="0">
                      <a:pos x="70" y="218"/>
                    </a:cxn>
                    <a:cxn ang="0">
                      <a:pos x="146" y="221"/>
                    </a:cxn>
                    <a:cxn ang="0">
                      <a:pos x="208" y="208"/>
                    </a:cxn>
                    <a:cxn ang="0">
                      <a:pos x="275" y="196"/>
                    </a:cxn>
                    <a:cxn ang="0">
                      <a:pos x="319" y="164"/>
                    </a:cxn>
                    <a:cxn ang="0">
                      <a:pos x="408" y="142"/>
                    </a:cxn>
                    <a:cxn ang="0">
                      <a:pos x="552" y="92"/>
                    </a:cxn>
                    <a:cxn ang="0">
                      <a:pos x="630" y="77"/>
                    </a:cxn>
                    <a:cxn ang="0">
                      <a:pos x="645" y="122"/>
                    </a:cxn>
                    <a:cxn ang="0">
                      <a:pos x="794" y="120"/>
                    </a:cxn>
                    <a:cxn ang="0">
                      <a:pos x="785" y="229"/>
                    </a:cxn>
                    <a:cxn ang="0">
                      <a:pos x="869" y="199"/>
                    </a:cxn>
                    <a:cxn ang="0">
                      <a:pos x="943" y="241"/>
                    </a:cxn>
                    <a:cxn ang="0">
                      <a:pos x="1008" y="325"/>
                    </a:cxn>
                    <a:cxn ang="0">
                      <a:pos x="1077" y="230"/>
                    </a:cxn>
                    <a:cxn ang="0">
                      <a:pos x="1107" y="121"/>
                    </a:cxn>
                    <a:cxn ang="0">
                      <a:pos x="661" y="15"/>
                    </a:cxn>
                  </a:cxnLst>
                  <a:rect l="0" t="0" r="r" b="b"/>
                  <a:pathLst>
                    <a:path w="1132" h="325">
                      <a:moveTo>
                        <a:pt x="638" y="9"/>
                      </a:moveTo>
                      <a:cubicBezTo>
                        <a:pt x="608" y="0"/>
                        <a:pt x="87" y="112"/>
                        <a:pt x="47" y="123"/>
                      </a:cubicBezTo>
                      <a:cubicBezTo>
                        <a:pt x="1" y="135"/>
                        <a:pt x="0" y="143"/>
                        <a:pt x="2" y="190"/>
                      </a:cubicBezTo>
                      <a:cubicBezTo>
                        <a:pt x="27" y="195"/>
                        <a:pt x="45" y="213"/>
                        <a:pt x="70" y="218"/>
                      </a:cubicBezTo>
                      <a:cubicBezTo>
                        <a:pt x="93" y="222"/>
                        <a:pt x="120" y="221"/>
                        <a:pt x="146" y="221"/>
                      </a:cubicBezTo>
                      <a:cubicBezTo>
                        <a:pt x="172" y="221"/>
                        <a:pt x="185" y="215"/>
                        <a:pt x="208" y="208"/>
                      </a:cubicBezTo>
                      <a:cubicBezTo>
                        <a:pt x="230" y="201"/>
                        <a:pt x="254" y="205"/>
                        <a:pt x="275" y="196"/>
                      </a:cubicBezTo>
                      <a:cubicBezTo>
                        <a:pt x="291" y="189"/>
                        <a:pt x="304" y="174"/>
                        <a:pt x="319" y="164"/>
                      </a:cubicBezTo>
                      <a:cubicBezTo>
                        <a:pt x="348" y="144"/>
                        <a:pt x="372" y="145"/>
                        <a:pt x="408" y="142"/>
                      </a:cubicBezTo>
                      <a:cubicBezTo>
                        <a:pt x="462" y="139"/>
                        <a:pt x="503" y="113"/>
                        <a:pt x="552" y="92"/>
                      </a:cubicBezTo>
                      <a:cubicBezTo>
                        <a:pt x="576" y="82"/>
                        <a:pt x="598" y="73"/>
                        <a:pt x="630" y="77"/>
                      </a:cubicBezTo>
                      <a:cubicBezTo>
                        <a:pt x="667" y="83"/>
                        <a:pt x="672" y="100"/>
                        <a:pt x="645" y="122"/>
                      </a:cubicBezTo>
                      <a:cubicBezTo>
                        <a:pt x="695" y="127"/>
                        <a:pt x="744" y="83"/>
                        <a:pt x="794" y="120"/>
                      </a:cubicBezTo>
                      <a:cubicBezTo>
                        <a:pt x="850" y="162"/>
                        <a:pt x="786" y="184"/>
                        <a:pt x="785" y="229"/>
                      </a:cubicBezTo>
                      <a:cubicBezTo>
                        <a:pt x="815" y="220"/>
                        <a:pt x="835" y="204"/>
                        <a:pt x="869" y="199"/>
                      </a:cubicBezTo>
                      <a:cubicBezTo>
                        <a:pt x="898" y="195"/>
                        <a:pt x="958" y="201"/>
                        <a:pt x="943" y="241"/>
                      </a:cubicBezTo>
                      <a:cubicBezTo>
                        <a:pt x="987" y="214"/>
                        <a:pt x="1045" y="292"/>
                        <a:pt x="1008" y="325"/>
                      </a:cubicBezTo>
                      <a:cubicBezTo>
                        <a:pt x="1040" y="304"/>
                        <a:pt x="1072" y="267"/>
                        <a:pt x="1077" y="230"/>
                      </a:cubicBezTo>
                      <a:cubicBezTo>
                        <a:pt x="1080" y="207"/>
                        <a:pt x="1132" y="121"/>
                        <a:pt x="1107" y="121"/>
                      </a:cubicBezTo>
                      <a:cubicBezTo>
                        <a:pt x="931" y="121"/>
                        <a:pt x="680" y="24"/>
                        <a:pt x="661" y="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4" name="Freeform 103"/>
                <p:cNvSpPr>
                  <a:spLocks/>
                </p:cNvSpPr>
                <p:nvPr/>
              </p:nvSpPr>
              <p:spPr bwMode="gray">
                <a:xfrm>
                  <a:off x="985838" y="-13890625"/>
                  <a:ext cx="704850" cy="1952625"/>
                </a:xfrm>
                <a:custGeom>
                  <a:avLst/>
                  <a:gdLst/>
                  <a:ahLst/>
                  <a:cxnLst>
                    <a:cxn ang="0">
                      <a:pos x="0" y="387"/>
                    </a:cxn>
                    <a:cxn ang="0">
                      <a:pos x="27" y="416"/>
                    </a:cxn>
                    <a:cxn ang="0">
                      <a:pos x="159" y="275"/>
                    </a:cxn>
                    <a:cxn ang="0">
                      <a:pos x="185" y="0"/>
                    </a:cxn>
                    <a:cxn ang="0">
                      <a:pos x="184" y="32"/>
                    </a:cxn>
                    <a:cxn ang="0">
                      <a:pos x="79" y="45"/>
                    </a:cxn>
                    <a:cxn ang="0">
                      <a:pos x="145" y="101"/>
                    </a:cxn>
                    <a:cxn ang="0">
                      <a:pos x="79" y="167"/>
                    </a:cxn>
                    <a:cxn ang="0">
                      <a:pos x="78" y="147"/>
                    </a:cxn>
                    <a:cxn ang="0">
                      <a:pos x="123" y="229"/>
                    </a:cxn>
                    <a:cxn ang="0">
                      <a:pos x="45" y="208"/>
                    </a:cxn>
                    <a:cxn ang="0">
                      <a:pos x="57" y="310"/>
                    </a:cxn>
                    <a:cxn ang="0">
                      <a:pos x="39" y="415"/>
                    </a:cxn>
                  </a:cxnLst>
                  <a:rect l="0" t="0" r="r" b="b"/>
                  <a:pathLst>
                    <a:path w="188" h="521">
                      <a:moveTo>
                        <a:pt x="0" y="387"/>
                      </a:moveTo>
                      <a:cubicBezTo>
                        <a:pt x="3" y="405"/>
                        <a:pt x="5" y="416"/>
                        <a:pt x="27" y="416"/>
                      </a:cubicBezTo>
                      <a:cubicBezTo>
                        <a:pt x="65" y="521"/>
                        <a:pt x="154" y="307"/>
                        <a:pt x="159" y="275"/>
                      </a:cubicBezTo>
                      <a:cubicBezTo>
                        <a:pt x="172" y="182"/>
                        <a:pt x="185" y="98"/>
                        <a:pt x="185" y="0"/>
                      </a:cubicBezTo>
                      <a:cubicBezTo>
                        <a:pt x="188" y="10"/>
                        <a:pt x="185" y="22"/>
                        <a:pt x="184" y="32"/>
                      </a:cubicBezTo>
                      <a:cubicBezTo>
                        <a:pt x="152" y="49"/>
                        <a:pt x="115" y="43"/>
                        <a:pt x="79" y="45"/>
                      </a:cubicBezTo>
                      <a:cubicBezTo>
                        <a:pt x="72" y="81"/>
                        <a:pt x="114" y="101"/>
                        <a:pt x="145" y="101"/>
                      </a:cubicBezTo>
                      <a:cubicBezTo>
                        <a:pt x="156" y="149"/>
                        <a:pt x="126" y="176"/>
                        <a:pt x="79" y="167"/>
                      </a:cubicBezTo>
                      <a:cubicBezTo>
                        <a:pt x="78" y="160"/>
                        <a:pt x="78" y="154"/>
                        <a:pt x="78" y="147"/>
                      </a:cubicBezTo>
                      <a:cubicBezTo>
                        <a:pt x="84" y="180"/>
                        <a:pt x="120" y="198"/>
                        <a:pt x="123" y="229"/>
                      </a:cubicBezTo>
                      <a:cubicBezTo>
                        <a:pt x="86" y="236"/>
                        <a:pt x="82" y="201"/>
                        <a:pt x="45" y="208"/>
                      </a:cubicBezTo>
                      <a:cubicBezTo>
                        <a:pt x="72" y="270"/>
                        <a:pt x="99" y="239"/>
                        <a:pt x="57" y="310"/>
                      </a:cubicBezTo>
                      <a:cubicBezTo>
                        <a:pt x="37" y="345"/>
                        <a:pt x="24" y="373"/>
                        <a:pt x="39" y="4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5" name="Freeform 104"/>
                <p:cNvSpPr>
                  <a:spLocks/>
                </p:cNvSpPr>
                <p:nvPr/>
              </p:nvSpPr>
              <p:spPr bwMode="gray">
                <a:xfrm>
                  <a:off x="-3746500" y="-11974512"/>
                  <a:ext cx="715963" cy="457200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91" y="8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1" h="122">
                      <a:moveTo>
                        <a:pt x="0" y="6"/>
                      </a:moveTo>
                      <a:cubicBezTo>
                        <a:pt x="46" y="112"/>
                        <a:pt x="71" y="122"/>
                        <a:pt x="191" y="83"/>
                      </a:cubicBezTo>
                      <a:cubicBezTo>
                        <a:pt x="131" y="41"/>
                        <a:pt x="34" y="99"/>
                        <a:pt x="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6" name="Freeform 105"/>
                <p:cNvSpPr>
                  <a:spLocks/>
                </p:cNvSpPr>
                <p:nvPr/>
              </p:nvSpPr>
              <p:spPr bwMode="gray">
                <a:xfrm>
                  <a:off x="798513" y="-15954375"/>
                  <a:ext cx="1109663" cy="1612900"/>
                </a:xfrm>
                <a:custGeom>
                  <a:avLst/>
                  <a:gdLst/>
                  <a:ahLst/>
                  <a:cxnLst>
                    <a:cxn ang="0">
                      <a:pos x="241" y="346"/>
                    </a:cxn>
                    <a:cxn ang="0">
                      <a:pos x="101" y="430"/>
                    </a:cxn>
                    <a:cxn ang="0">
                      <a:pos x="180" y="359"/>
                    </a:cxn>
                    <a:cxn ang="0">
                      <a:pos x="223" y="257"/>
                    </a:cxn>
                    <a:cxn ang="0">
                      <a:pos x="140" y="316"/>
                    </a:cxn>
                    <a:cxn ang="0">
                      <a:pos x="39" y="356"/>
                    </a:cxn>
                    <a:cxn ang="0">
                      <a:pos x="207" y="194"/>
                    </a:cxn>
                    <a:cxn ang="0">
                      <a:pos x="0" y="272"/>
                    </a:cxn>
                    <a:cxn ang="0">
                      <a:pos x="151" y="156"/>
                    </a:cxn>
                    <a:cxn ang="0">
                      <a:pos x="169" y="20"/>
                    </a:cxn>
                    <a:cxn ang="0">
                      <a:pos x="235" y="352"/>
                    </a:cxn>
                  </a:cxnLst>
                  <a:rect l="0" t="0" r="r" b="b"/>
                  <a:pathLst>
                    <a:path w="296" h="430">
                      <a:moveTo>
                        <a:pt x="241" y="346"/>
                      </a:moveTo>
                      <a:cubicBezTo>
                        <a:pt x="189" y="354"/>
                        <a:pt x="151" y="409"/>
                        <a:pt x="101" y="430"/>
                      </a:cubicBezTo>
                      <a:cubicBezTo>
                        <a:pt x="111" y="403"/>
                        <a:pt x="157" y="381"/>
                        <a:pt x="180" y="359"/>
                      </a:cubicBezTo>
                      <a:cubicBezTo>
                        <a:pt x="218" y="323"/>
                        <a:pt x="217" y="308"/>
                        <a:pt x="223" y="257"/>
                      </a:cubicBezTo>
                      <a:cubicBezTo>
                        <a:pt x="184" y="250"/>
                        <a:pt x="168" y="297"/>
                        <a:pt x="140" y="316"/>
                      </a:cubicBezTo>
                      <a:cubicBezTo>
                        <a:pt x="111" y="337"/>
                        <a:pt x="72" y="351"/>
                        <a:pt x="39" y="356"/>
                      </a:cubicBezTo>
                      <a:cubicBezTo>
                        <a:pt x="74" y="291"/>
                        <a:pt x="247" y="304"/>
                        <a:pt x="207" y="194"/>
                      </a:cubicBezTo>
                      <a:cubicBezTo>
                        <a:pt x="179" y="117"/>
                        <a:pt x="51" y="243"/>
                        <a:pt x="0" y="272"/>
                      </a:cubicBezTo>
                      <a:cubicBezTo>
                        <a:pt x="44" y="228"/>
                        <a:pt x="97" y="189"/>
                        <a:pt x="151" y="156"/>
                      </a:cubicBezTo>
                      <a:cubicBezTo>
                        <a:pt x="234" y="106"/>
                        <a:pt x="185" y="93"/>
                        <a:pt x="169" y="20"/>
                      </a:cubicBezTo>
                      <a:cubicBezTo>
                        <a:pt x="266" y="0"/>
                        <a:pt x="296" y="307"/>
                        <a:pt x="235" y="35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7" name="Freeform 106"/>
                <p:cNvSpPr>
                  <a:spLocks/>
                </p:cNvSpPr>
                <p:nvPr/>
              </p:nvSpPr>
              <p:spPr bwMode="gray">
                <a:xfrm>
                  <a:off x="-2224088" y="-12871450"/>
                  <a:ext cx="1916113" cy="985838"/>
                </a:xfrm>
                <a:custGeom>
                  <a:avLst/>
                  <a:gdLst/>
                  <a:ahLst/>
                  <a:cxnLst>
                    <a:cxn ang="0">
                      <a:pos x="45" y="8"/>
                    </a:cxn>
                    <a:cxn ang="0">
                      <a:pos x="249" y="97"/>
                    </a:cxn>
                    <a:cxn ang="0">
                      <a:pos x="511" y="195"/>
                    </a:cxn>
                    <a:cxn ang="0">
                      <a:pos x="394" y="176"/>
                    </a:cxn>
                    <a:cxn ang="0">
                      <a:pos x="252" y="117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511" h="263">
                      <a:moveTo>
                        <a:pt x="45" y="8"/>
                      </a:moveTo>
                      <a:cubicBezTo>
                        <a:pt x="120" y="0"/>
                        <a:pt x="186" y="70"/>
                        <a:pt x="249" y="97"/>
                      </a:cubicBezTo>
                      <a:cubicBezTo>
                        <a:pt x="327" y="130"/>
                        <a:pt x="427" y="177"/>
                        <a:pt x="511" y="195"/>
                      </a:cubicBezTo>
                      <a:cubicBezTo>
                        <a:pt x="494" y="263"/>
                        <a:pt x="420" y="190"/>
                        <a:pt x="394" y="176"/>
                      </a:cubicBezTo>
                      <a:cubicBezTo>
                        <a:pt x="349" y="152"/>
                        <a:pt x="299" y="136"/>
                        <a:pt x="252" y="117"/>
                      </a:cubicBezTo>
                      <a:cubicBezTo>
                        <a:pt x="166" y="82"/>
                        <a:pt x="61" y="69"/>
                        <a:pt x="0" y="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8" name="Freeform 107"/>
                <p:cNvSpPr>
                  <a:spLocks/>
                </p:cNvSpPr>
                <p:nvPr/>
              </p:nvSpPr>
              <p:spPr bwMode="gray">
                <a:xfrm>
                  <a:off x="-1689100" y="-16235362"/>
                  <a:ext cx="1609725" cy="784225"/>
                </a:xfrm>
                <a:custGeom>
                  <a:avLst/>
                  <a:gdLst/>
                  <a:ahLst/>
                  <a:cxnLst>
                    <a:cxn ang="0">
                      <a:pos x="51" y="147"/>
                    </a:cxn>
                    <a:cxn ang="0">
                      <a:pos x="46" y="209"/>
                    </a:cxn>
                    <a:cxn ang="0">
                      <a:pos x="103" y="160"/>
                    </a:cxn>
                    <a:cxn ang="0">
                      <a:pos x="178" y="177"/>
                    </a:cxn>
                    <a:cxn ang="0">
                      <a:pos x="220" y="172"/>
                    </a:cxn>
                    <a:cxn ang="0">
                      <a:pos x="254" y="161"/>
                    </a:cxn>
                    <a:cxn ang="0">
                      <a:pos x="309" y="192"/>
                    </a:cxn>
                    <a:cxn ang="0">
                      <a:pos x="309" y="122"/>
                    </a:cxn>
                    <a:cxn ang="0">
                      <a:pos x="394" y="23"/>
                    </a:cxn>
                    <a:cxn ang="0">
                      <a:pos x="262" y="71"/>
                    </a:cxn>
                    <a:cxn ang="0">
                      <a:pos x="106" y="63"/>
                    </a:cxn>
                    <a:cxn ang="0">
                      <a:pos x="14" y="54"/>
                    </a:cxn>
                    <a:cxn ang="0">
                      <a:pos x="47" y="109"/>
                    </a:cxn>
                  </a:cxnLst>
                  <a:rect l="0" t="0" r="r" b="b"/>
                  <a:pathLst>
                    <a:path w="429" h="209">
                      <a:moveTo>
                        <a:pt x="51" y="147"/>
                      </a:moveTo>
                      <a:cubicBezTo>
                        <a:pt x="51" y="168"/>
                        <a:pt x="52" y="189"/>
                        <a:pt x="46" y="209"/>
                      </a:cubicBezTo>
                      <a:cubicBezTo>
                        <a:pt x="56" y="199"/>
                        <a:pt x="91" y="163"/>
                        <a:pt x="103" y="160"/>
                      </a:cubicBezTo>
                      <a:cubicBezTo>
                        <a:pt x="123" y="156"/>
                        <a:pt x="152" y="177"/>
                        <a:pt x="178" y="177"/>
                      </a:cubicBezTo>
                      <a:cubicBezTo>
                        <a:pt x="193" y="177"/>
                        <a:pt x="206" y="175"/>
                        <a:pt x="220" y="172"/>
                      </a:cubicBezTo>
                      <a:cubicBezTo>
                        <a:pt x="224" y="172"/>
                        <a:pt x="260" y="161"/>
                        <a:pt x="254" y="161"/>
                      </a:cubicBezTo>
                      <a:cubicBezTo>
                        <a:pt x="281" y="162"/>
                        <a:pt x="280" y="184"/>
                        <a:pt x="309" y="192"/>
                      </a:cubicBezTo>
                      <a:cubicBezTo>
                        <a:pt x="308" y="169"/>
                        <a:pt x="308" y="145"/>
                        <a:pt x="309" y="122"/>
                      </a:cubicBezTo>
                      <a:cubicBezTo>
                        <a:pt x="341" y="127"/>
                        <a:pt x="429" y="56"/>
                        <a:pt x="394" y="23"/>
                      </a:cubicBezTo>
                      <a:cubicBezTo>
                        <a:pt x="369" y="0"/>
                        <a:pt x="289" y="64"/>
                        <a:pt x="262" y="71"/>
                      </a:cubicBezTo>
                      <a:cubicBezTo>
                        <a:pt x="212" y="84"/>
                        <a:pt x="153" y="86"/>
                        <a:pt x="106" y="63"/>
                      </a:cubicBezTo>
                      <a:cubicBezTo>
                        <a:pt x="86" y="53"/>
                        <a:pt x="32" y="18"/>
                        <a:pt x="14" y="54"/>
                      </a:cubicBezTo>
                      <a:cubicBezTo>
                        <a:pt x="0" y="81"/>
                        <a:pt x="33" y="99"/>
                        <a:pt x="47" y="10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299" name="Freeform 108"/>
                <p:cNvSpPr>
                  <a:spLocks/>
                </p:cNvSpPr>
                <p:nvPr/>
              </p:nvSpPr>
              <p:spPr bwMode="gray">
                <a:xfrm>
                  <a:off x="-1463675" y="-15713075"/>
                  <a:ext cx="768350" cy="2320925"/>
                </a:xfrm>
                <a:custGeom>
                  <a:avLst/>
                  <a:gdLst/>
                  <a:ahLst/>
                  <a:cxnLst>
                    <a:cxn ang="0">
                      <a:pos x="181" y="8"/>
                    </a:cxn>
                    <a:cxn ang="0">
                      <a:pos x="160" y="135"/>
                    </a:cxn>
                    <a:cxn ang="0">
                      <a:pos x="184" y="283"/>
                    </a:cxn>
                    <a:cxn ang="0">
                      <a:pos x="177" y="607"/>
                    </a:cxn>
                    <a:cxn ang="0">
                      <a:pos x="89" y="578"/>
                    </a:cxn>
                    <a:cxn ang="0">
                      <a:pos x="80" y="359"/>
                    </a:cxn>
                    <a:cxn ang="0">
                      <a:pos x="89" y="142"/>
                    </a:cxn>
                    <a:cxn ang="0">
                      <a:pos x="160" y="0"/>
                    </a:cxn>
                  </a:cxnLst>
                  <a:rect l="0" t="0" r="r" b="b"/>
                  <a:pathLst>
                    <a:path w="205" h="619">
                      <a:moveTo>
                        <a:pt x="181" y="8"/>
                      </a:moveTo>
                      <a:cubicBezTo>
                        <a:pt x="205" y="54"/>
                        <a:pt x="155" y="85"/>
                        <a:pt x="160" y="135"/>
                      </a:cubicBezTo>
                      <a:cubicBezTo>
                        <a:pt x="164" y="182"/>
                        <a:pt x="179" y="232"/>
                        <a:pt x="184" y="283"/>
                      </a:cubicBezTo>
                      <a:cubicBezTo>
                        <a:pt x="194" y="382"/>
                        <a:pt x="205" y="514"/>
                        <a:pt x="177" y="607"/>
                      </a:cubicBezTo>
                      <a:cubicBezTo>
                        <a:pt x="200" y="619"/>
                        <a:pt x="122" y="584"/>
                        <a:pt x="89" y="578"/>
                      </a:cubicBezTo>
                      <a:cubicBezTo>
                        <a:pt x="0" y="563"/>
                        <a:pt x="72" y="442"/>
                        <a:pt x="80" y="359"/>
                      </a:cubicBezTo>
                      <a:cubicBezTo>
                        <a:pt x="86" y="286"/>
                        <a:pt x="78" y="214"/>
                        <a:pt x="89" y="142"/>
                      </a:cubicBezTo>
                      <a:cubicBezTo>
                        <a:pt x="96" y="92"/>
                        <a:pt x="103" y="15"/>
                        <a:pt x="16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0" name="Freeform 109"/>
                <p:cNvSpPr>
                  <a:spLocks/>
                </p:cNvSpPr>
                <p:nvPr/>
              </p:nvSpPr>
              <p:spPr bwMode="gray">
                <a:xfrm>
                  <a:off x="-1673225" y="-12009437"/>
                  <a:ext cx="955675" cy="1216025"/>
                </a:xfrm>
                <a:custGeom>
                  <a:avLst/>
                  <a:gdLst/>
                  <a:ahLst/>
                  <a:cxnLst>
                    <a:cxn ang="0">
                      <a:pos x="26" y="291"/>
                    </a:cxn>
                    <a:cxn ang="0">
                      <a:pos x="22" y="324"/>
                    </a:cxn>
                    <a:cxn ang="0">
                      <a:pos x="203" y="218"/>
                    </a:cxn>
                    <a:cxn ang="0">
                      <a:pos x="241" y="118"/>
                    </a:cxn>
                    <a:cxn ang="0">
                      <a:pos x="249" y="1"/>
                    </a:cxn>
                    <a:cxn ang="0">
                      <a:pos x="119" y="151"/>
                    </a:cxn>
                    <a:cxn ang="0">
                      <a:pos x="0" y="308"/>
                    </a:cxn>
                  </a:cxnLst>
                  <a:rect l="0" t="0" r="r" b="b"/>
                  <a:pathLst>
                    <a:path w="255" h="324">
                      <a:moveTo>
                        <a:pt x="26" y="291"/>
                      </a:moveTo>
                      <a:cubicBezTo>
                        <a:pt x="22" y="301"/>
                        <a:pt x="23" y="314"/>
                        <a:pt x="22" y="324"/>
                      </a:cubicBezTo>
                      <a:cubicBezTo>
                        <a:pt x="74" y="321"/>
                        <a:pt x="165" y="255"/>
                        <a:pt x="203" y="218"/>
                      </a:cubicBezTo>
                      <a:cubicBezTo>
                        <a:pt x="237" y="187"/>
                        <a:pt x="239" y="163"/>
                        <a:pt x="241" y="118"/>
                      </a:cubicBezTo>
                      <a:cubicBezTo>
                        <a:pt x="243" y="81"/>
                        <a:pt x="255" y="36"/>
                        <a:pt x="249" y="1"/>
                      </a:cubicBezTo>
                      <a:cubicBezTo>
                        <a:pt x="195" y="0"/>
                        <a:pt x="144" y="111"/>
                        <a:pt x="119" y="151"/>
                      </a:cubicBezTo>
                      <a:cubicBezTo>
                        <a:pt x="83" y="207"/>
                        <a:pt x="30" y="254"/>
                        <a:pt x="0" y="30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1" name="Freeform 110"/>
                <p:cNvSpPr>
                  <a:spLocks/>
                </p:cNvSpPr>
                <p:nvPr/>
              </p:nvSpPr>
              <p:spPr bwMode="gray">
                <a:xfrm>
                  <a:off x="-593725" y="-14671675"/>
                  <a:ext cx="574675" cy="1274763"/>
                </a:xfrm>
                <a:custGeom>
                  <a:avLst/>
                  <a:gdLst/>
                  <a:ahLst/>
                  <a:cxnLst>
                    <a:cxn ang="0">
                      <a:pos x="101" y="300"/>
                    </a:cxn>
                    <a:cxn ang="0">
                      <a:pos x="152" y="103"/>
                    </a:cxn>
                    <a:cxn ang="0">
                      <a:pos x="59" y="250"/>
                    </a:cxn>
                    <a:cxn ang="0">
                      <a:pos x="84" y="0"/>
                    </a:cxn>
                    <a:cxn ang="0">
                      <a:pos x="5" y="332"/>
                    </a:cxn>
                    <a:cxn ang="0">
                      <a:pos x="93" y="334"/>
                    </a:cxn>
                  </a:cxnLst>
                  <a:rect l="0" t="0" r="r" b="b"/>
                  <a:pathLst>
                    <a:path w="153" h="340">
                      <a:moveTo>
                        <a:pt x="101" y="300"/>
                      </a:moveTo>
                      <a:cubicBezTo>
                        <a:pt x="98" y="233"/>
                        <a:pt x="153" y="169"/>
                        <a:pt x="152" y="103"/>
                      </a:cubicBezTo>
                      <a:cubicBezTo>
                        <a:pt x="119" y="151"/>
                        <a:pt x="76" y="194"/>
                        <a:pt x="59" y="250"/>
                      </a:cubicBezTo>
                      <a:cubicBezTo>
                        <a:pt x="59" y="196"/>
                        <a:pt x="68" y="55"/>
                        <a:pt x="84" y="0"/>
                      </a:cubicBezTo>
                      <a:cubicBezTo>
                        <a:pt x="43" y="50"/>
                        <a:pt x="0" y="290"/>
                        <a:pt x="5" y="332"/>
                      </a:cubicBezTo>
                      <a:cubicBezTo>
                        <a:pt x="52" y="340"/>
                        <a:pt x="44" y="336"/>
                        <a:pt x="93" y="334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2" name="Freeform 111"/>
                <p:cNvSpPr>
                  <a:spLocks/>
                </p:cNvSpPr>
                <p:nvPr/>
              </p:nvSpPr>
              <p:spPr bwMode="gray">
                <a:xfrm>
                  <a:off x="-1819275" y="-16100425"/>
                  <a:ext cx="1258888" cy="2697163"/>
                </a:xfrm>
                <a:custGeom>
                  <a:avLst/>
                  <a:gdLst/>
                  <a:ahLst/>
                  <a:cxnLst>
                    <a:cxn ang="0">
                      <a:pos x="173" y="120"/>
                    </a:cxn>
                    <a:cxn ang="0">
                      <a:pos x="146" y="37"/>
                    </a:cxn>
                    <a:cxn ang="0">
                      <a:pos x="287" y="110"/>
                    </a:cxn>
                    <a:cxn ang="0">
                      <a:pos x="246" y="222"/>
                    </a:cxn>
                    <a:cxn ang="0">
                      <a:pos x="263" y="351"/>
                    </a:cxn>
                    <a:cxn ang="0">
                      <a:pos x="269" y="650"/>
                    </a:cxn>
                    <a:cxn ang="0">
                      <a:pos x="207" y="701"/>
                    </a:cxn>
                    <a:cxn ang="0">
                      <a:pos x="89" y="672"/>
                    </a:cxn>
                    <a:cxn ang="0">
                      <a:pos x="5" y="660"/>
                    </a:cxn>
                    <a:cxn ang="0">
                      <a:pos x="44" y="362"/>
                    </a:cxn>
                    <a:cxn ang="0">
                      <a:pos x="173" y="120"/>
                    </a:cxn>
                  </a:cxnLst>
                  <a:rect l="0" t="0" r="r" b="b"/>
                  <a:pathLst>
                    <a:path w="336" h="719">
                      <a:moveTo>
                        <a:pt x="173" y="120"/>
                      </a:moveTo>
                      <a:cubicBezTo>
                        <a:pt x="153" y="99"/>
                        <a:pt x="142" y="70"/>
                        <a:pt x="146" y="37"/>
                      </a:cubicBezTo>
                      <a:cubicBezTo>
                        <a:pt x="218" y="0"/>
                        <a:pt x="336" y="3"/>
                        <a:pt x="287" y="110"/>
                      </a:cubicBezTo>
                      <a:cubicBezTo>
                        <a:pt x="268" y="154"/>
                        <a:pt x="242" y="168"/>
                        <a:pt x="246" y="222"/>
                      </a:cubicBezTo>
                      <a:cubicBezTo>
                        <a:pt x="249" y="265"/>
                        <a:pt x="263" y="304"/>
                        <a:pt x="263" y="351"/>
                      </a:cubicBezTo>
                      <a:cubicBezTo>
                        <a:pt x="263" y="452"/>
                        <a:pt x="269" y="550"/>
                        <a:pt x="269" y="650"/>
                      </a:cubicBezTo>
                      <a:cubicBezTo>
                        <a:pt x="269" y="716"/>
                        <a:pt x="265" y="719"/>
                        <a:pt x="207" y="701"/>
                      </a:cubicBezTo>
                      <a:cubicBezTo>
                        <a:pt x="168" y="688"/>
                        <a:pt x="130" y="681"/>
                        <a:pt x="89" y="672"/>
                      </a:cubicBezTo>
                      <a:cubicBezTo>
                        <a:pt x="61" y="666"/>
                        <a:pt x="34" y="663"/>
                        <a:pt x="5" y="660"/>
                      </a:cubicBezTo>
                      <a:cubicBezTo>
                        <a:pt x="0" y="563"/>
                        <a:pt x="10" y="449"/>
                        <a:pt x="44" y="362"/>
                      </a:cubicBezTo>
                      <a:cubicBezTo>
                        <a:pt x="72" y="289"/>
                        <a:pt x="189" y="204"/>
                        <a:pt x="173" y="12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3" name="Freeform 112"/>
                <p:cNvSpPr>
                  <a:spLocks/>
                </p:cNvSpPr>
                <p:nvPr/>
              </p:nvSpPr>
              <p:spPr bwMode="gray">
                <a:xfrm>
                  <a:off x="-2124075" y="-12166600"/>
                  <a:ext cx="1339850" cy="1365250"/>
                </a:xfrm>
                <a:custGeom>
                  <a:avLst/>
                  <a:gdLst/>
                  <a:ahLst/>
                  <a:cxnLst>
                    <a:cxn ang="0">
                      <a:pos x="66" y="53"/>
                    </a:cxn>
                    <a:cxn ang="0">
                      <a:pos x="28" y="270"/>
                    </a:cxn>
                    <a:cxn ang="0">
                      <a:pos x="121" y="364"/>
                    </a:cxn>
                    <a:cxn ang="0">
                      <a:pos x="323" y="227"/>
                    </a:cxn>
                    <a:cxn ang="0">
                      <a:pos x="343" y="0"/>
                    </a:cxn>
                    <a:cxn ang="0">
                      <a:pos x="66" y="53"/>
                    </a:cxn>
                  </a:cxnLst>
                  <a:rect l="0" t="0" r="r" b="b"/>
                  <a:pathLst>
                    <a:path w="357" h="364">
                      <a:moveTo>
                        <a:pt x="66" y="53"/>
                      </a:moveTo>
                      <a:cubicBezTo>
                        <a:pt x="73" y="113"/>
                        <a:pt x="0" y="234"/>
                        <a:pt x="28" y="270"/>
                      </a:cubicBezTo>
                      <a:cubicBezTo>
                        <a:pt x="56" y="307"/>
                        <a:pt x="103" y="349"/>
                        <a:pt x="121" y="364"/>
                      </a:cubicBezTo>
                      <a:cubicBezTo>
                        <a:pt x="121" y="364"/>
                        <a:pt x="302" y="256"/>
                        <a:pt x="323" y="227"/>
                      </a:cubicBezTo>
                      <a:cubicBezTo>
                        <a:pt x="357" y="182"/>
                        <a:pt x="346" y="58"/>
                        <a:pt x="343" y="0"/>
                      </a:cubicBezTo>
                      <a:cubicBezTo>
                        <a:pt x="241" y="17"/>
                        <a:pt x="183" y="36"/>
                        <a:pt x="66" y="53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4" name="Freeform 113"/>
                <p:cNvSpPr>
                  <a:spLocks/>
                </p:cNvSpPr>
                <p:nvPr/>
              </p:nvSpPr>
              <p:spPr bwMode="gray">
                <a:xfrm>
                  <a:off x="-1755775" y="-16681450"/>
                  <a:ext cx="633413" cy="1219200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95" y="84"/>
                    </a:cxn>
                    <a:cxn ang="0">
                      <a:pos x="167" y="164"/>
                    </a:cxn>
                    <a:cxn ang="0">
                      <a:pos x="42" y="325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69" h="325">
                      <a:moveTo>
                        <a:pt x="62" y="0"/>
                      </a:moveTo>
                      <a:cubicBezTo>
                        <a:pt x="66" y="35"/>
                        <a:pt x="73" y="58"/>
                        <a:pt x="95" y="84"/>
                      </a:cubicBezTo>
                      <a:cubicBezTo>
                        <a:pt x="105" y="97"/>
                        <a:pt x="169" y="155"/>
                        <a:pt x="167" y="164"/>
                      </a:cubicBezTo>
                      <a:cubicBezTo>
                        <a:pt x="161" y="183"/>
                        <a:pt x="63" y="289"/>
                        <a:pt x="42" y="325"/>
                      </a:cubicBezTo>
                      <a:cubicBezTo>
                        <a:pt x="0" y="295"/>
                        <a:pt x="10" y="21"/>
                        <a:pt x="62" y="0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5" name="Freeform 114"/>
                <p:cNvSpPr>
                  <a:spLocks/>
                </p:cNvSpPr>
                <p:nvPr/>
              </p:nvSpPr>
              <p:spPr bwMode="gray">
                <a:xfrm>
                  <a:off x="-1020763" y="-16843375"/>
                  <a:ext cx="1027113" cy="1193800"/>
                </a:xfrm>
                <a:custGeom>
                  <a:avLst/>
                  <a:gdLst/>
                  <a:ahLst/>
                  <a:cxnLst>
                    <a:cxn ang="0">
                      <a:pos x="0" y="206"/>
                    </a:cxn>
                    <a:cxn ang="0">
                      <a:pos x="152" y="318"/>
                    </a:cxn>
                    <a:cxn ang="0">
                      <a:pos x="246" y="132"/>
                    </a:cxn>
                    <a:cxn ang="0">
                      <a:pos x="206" y="0"/>
                    </a:cxn>
                    <a:cxn ang="0">
                      <a:pos x="0" y="206"/>
                    </a:cxn>
                  </a:cxnLst>
                  <a:rect l="0" t="0" r="r" b="b"/>
                  <a:pathLst>
                    <a:path w="274" h="318">
                      <a:moveTo>
                        <a:pt x="0" y="206"/>
                      </a:moveTo>
                      <a:cubicBezTo>
                        <a:pt x="43" y="235"/>
                        <a:pt x="108" y="288"/>
                        <a:pt x="152" y="318"/>
                      </a:cubicBezTo>
                      <a:cubicBezTo>
                        <a:pt x="181" y="255"/>
                        <a:pt x="222" y="196"/>
                        <a:pt x="246" y="132"/>
                      </a:cubicBezTo>
                      <a:cubicBezTo>
                        <a:pt x="273" y="61"/>
                        <a:pt x="274" y="51"/>
                        <a:pt x="206" y="0"/>
                      </a:cubicBezTo>
                      <a:cubicBezTo>
                        <a:pt x="166" y="79"/>
                        <a:pt x="89" y="176"/>
                        <a:pt x="0" y="206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6" name="Freeform 115"/>
                <p:cNvSpPr>
                  <a:spLocks/>
                </p:cNvSpPr>
                <p:nvPr/>
              </p:nvSpPr>
              <p:spPr bwMode="gray">
                <a:xfrm>
                  <a:off x="-2689225" y="-14930437"/>
                  <a:ext cx="322263" cy="1849438"/>
                </a:xfrm>
                <a:custGeom>
                  <a:avLst/>
                  <a:gdLst/>
                  <a:ahLst/>
                  <a:cxnLst>
                    <a:cxn ang="0">
                      <a:pos x="84" y="355"/>
                    </a:cxn>
                    <a:cxn ang="0">
                      <a:pos x="62" y="283"/>
                    </a:cxn>
                    <a:cxn ang="0">
                      <a:pos x="56" y="186"/>
                    </a:cxn>
                    <a:cxn ang="0">
                      <a:pos x="39" y="0"/>
                    </a:cxn>
                    <a:cxn ang="0">
                      <a:pos x="28" y="298"/>
                    </a:cxn>
                    <a:cxn ang="0">
                      <a:pos x="22" y="446"/>
                    </a:cxn>
                    <a:cxn ang="0">
                      <a:pos x="79" y="349"/>
                    </a:cxn>
                  </a:cxnLst>
                  <a:rect l="0" t="0" r="r" b="b"/>
                  <a:pathLst>
                    <a:path w="86" h="493">
                      <a:moveTo>
                        <a:pt x="84" y="355"/>
                      </a:moveTo>
                      <a:cubicBezTo>
                        <a:pt x="86" y="322"/>
                        <a:pt x="68" y="310"/>
                        <a:pt x="62" y="283"/>
                      </a:cubicBezTo>
                      <a:cubicBezTo>
                        <a:pt x="57" y="259"/>
                        <a:pt x="58" y="217"/>
                        <a:pt x="56" y="186"/>
                      </a:cubicBezTo>
                      <a:cubicBezTo>
                        <a:pt x="54" y="132"/>
                        <a:pt x="72" y="37"/>
                        <a:pt x="39" y="0"/>
                      </a:cubicBezTo>
                      <a:cubicBezTo>
                        <a:pt x="6" y="91"/>
                        <a:pt x="23" y="203"/>
                        <a:pt x="28" y="298"/>
                      </a:cubicBezTo>
                      <a:cubicBezTo>
                        <a:pt x="30" y="331"/>
                        <a:pt x="0" y="422"/>
                        <a:pt x="22" y="446"/>
                      </a:cubicBezTo>
                      <a:cubicBezTo>
                        <a:pt x="64" y="493"/>
                        <a:pt x="83" y="381"/>
                        <a:pt x="79" y="34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7" name="Freeform 116"/>
                <p:cNvSpPr>
                  <a:spLocks/>
                </p:cNvSpPr>
                <p:nvPr/>
              </p:nvSpPr>
              <p:spPr bwMode="gray">
                <a:xfrm>
                  <a:off x="55563" y="-15409862"/>
                  <a:ext cx="742950" cy="1765300"/>
                </a:xfrm>
                <a:custGeom>
                  <a:avLst/>
                  <a:gdLst/>
                  <a:ahLst/>
                  <a:cxnLst>
                    <a:cxn ang="0">
                      <a:pos x="51" y="415"/>
                    </a:cxn>
                    <a:cxn ang="0">
                      <a:pos x="101" y="195"/>
                    </a:cxn>
                    <a:cxn ang="0">
                      <a:pos x="198" y="0"/>
                    </a:cxn>
                    <a:cxn ang="0">
                      <a:pos x="84" y="201"/>
                    </a:cxn>
                    <a:cxn ang="0">
                      <a:pos x="12" y="420"/>
                    </a:cxn>
                    <a:cxn ang="0">
                      <a:pos x="73" y="426"/>
                    </a:cxn>
                  </a:cxnLst>
                  <a:rect l="0" t="0" r="r" b="b"/>
                  <a:pathLst>
                    <a:path w="198" h="471">
                      <a:moveTo>
                        <a:pt x="51" y="415"/>
                      </a:moveTo>
                      <a:cubicBezTo>
                        <a:pt x="95" y="346"/>
                        <a:pt x="66" y="265"/>
                        <a:pt x="101" y="195"/>
                      </a:cubicBezTo>
                      <a:cubicBezTo>
                        <a:pt x="135" y="128"/>
                        <a:pt x="176" y="73"/>
                        <a:pt x="198" y="0"/>
                      </a:cubicBezTo>
                      <a:cubicBezTo>
                        <a:pt x="139" y="59"/>
                        <a:pt x="110" y="125"/>
                        <a:pt x="84" y="201"/>
                      </a:cubicBezTo>
                      <a:cubicBezTo>
                        <a:pt x="64" y="262"/>
                        <a:pt x="0" y="357"/>
                        <a:pt x="12" y="420"/>
                      </a:cubicBezTo>
                      <a:cubicBezTo>
                        <a:pt x="34" y="430"/>
                        <a:pt x="65" y="471"/>
                        <a:pt x="73" y="426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8" name="Freeform 117"/>
                <p:cNvSpPr>
                  <a:spLocks/>
                </p:cNvSpPr>
                <p:nvPr/>
              </p:nvSpPr>
              <p:spPr bwMode="gray">
                <a:xfrm>
                  <a:off x="-2835275" y="-13689012"/>
                  <a:ext cx="922338" cy="858838"/>
                </a:xfrm>
                <a:custGeom>
                  <a:avLst/>
                  <a:gdLst/>
                  <a:ahLst/>
                  <a:cxnLst>
                    <a:cxn ang="0">
                      <a:pos x="191" y="226"/>
                    </a:cxn>
                    <a:cxn ang="0">
                      <a:pos x="246" y="45"/>
                    </a:cxn>
                    <a:cxn ang="0">
                      <a:pos x="94" y="51"/>
                    </a:cxn>
                    <a:cxn ang="0">
                      <a:pos x="55" y="135"/>
                    </a:cxn>
                    <a:cxn ang="0">
                      <a:pos x="60" y="211"/>
                    </a:cxn>
                    <a:cxn ang="0">
                      <a:pos x="197" y="221"/>
                    </a:cxn>
                  </a:cxnLst>
                  <a:rect l="0" t="0" r="r" b="b"/>
                  <a:pathLst>
                    <a:path w="246" h="229">
                      <a:moveTo>
                        <a:pt x="191" y="226"/>
                      </a:moveTo>
                      <a:cubicBezTo>
                        <a:pt x="186" y="181"/>
                        <a:pt x="206" y="61"/>
                        <a:pt x="246" y="45"/>
                      </a:cubicBezTo>
                      <a:cubicBezTo>
                        <a:pt x="243" y="3"/>
                        <a:pt x="105" y="0"/>
                        <a:pt x="94" y="51"/>
                      </a:cubicBezTo>
                      <a:cubicBezTo>
                        <a:pt x="29" y="52"/>
                        <a:pt x="54" y="92"/>
                        <a:pt x="55" y="135"/>
                      </a:cubicBezTo>
                      <a:cubicBezTo>
                        <a:pt x="0" y="149"/>
                        <a:pt x="26" y="194"/>
                        <a:pt x="60" y="211"/>
                      </a:cubicBezTo>
                      <a:cubicBezTo>
                        <a:pt x="97" y="229"/>
                        <a:pt x="153" y="221"/>
                        <a:pt x="197" y="22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09" name="Freeform 118"/>
                <p:cNvSpPr>
                  <a:spLocks/>
                </p:cNvSpPr>
                <p:nvPr/>
              </p:nvSpPr>
              <p:spPr bwMode="gray">
                <a:xfrm>
                  <a:off x="-387350" y="-13857287"/>
                  <a:ext cx="649288" cy="449263"/>
                </a:xfrm>
                <a:custGeom>
                  <a:avLst/>
                  <a:gdLst/>
                  <a:ahLst/>
                  <a:cxnLst>
                    <a:cxn ang="0">
                      <a:pos x="17" y="119"/>
                    </a:cxn>
                    <a:cxn ang="0">
                      <a:pos x="173" y="102"/>
                    </a:cxn>
                    <a:cxn ang="0">
                      <a:pos x="162" y="7"/>
                    </a:cxn>
                    <a:cxn ang="0">
                      <a:pos x="74" y="36"/>
                    </a:cxn>
                    <a:cxn ang="0">
                      <a:pos x="0" y="114"/>
                    </a:cxn>
                  </a:cxnLst>
                  <a:rect l="0" t="0" r="r" b="b"/>
                  <a:pathLst>
                    <a:path w="173" h="120">
                      <a:moveTo>
                        <a:pt x="17" y="119"/>
                      </a:moveTo>
                      <a:cubicBezTo>
                        <a:pt x="67" y="120"/>
                        <a:pt x="119" y="104"/>
                        <a:pt x="173" y="102"/>
                      </a:cubicBezTo>
                      <a:cubicBezTo>
                        <a:pt x="170" y="72"/>
                        <a:pt x="171" y="37"/>
                        <a:pt x="162" y="7"/>
                      </a:cubicBezTo>
                      <a:cubicBezTo>
                        <a:pt x="108" y="3"/>
                        <a:pt x="110" y="0"/>
                        <a:pt x="74" y="36"/>
                      </a:cubicBezTo>
                      <a:cubicBezTo>
                        <a:pt x="53" y="57"/>
                        <a:pt x="19" y="88"/>
                        <a:pt x="0" y="11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0" name="Freeform 119"/>
                <p:cNvSpPr>
                  <a:spLocks/>
                </p:cNvSpPr>
                <p:nvPr/>
              </p:nvSpPr>
              <p:spPr bwMode="gray">
                <a:xfrm>
                  <a:off x="-2798763" y="-13155612"/>
                  <a:ext cx="742950" cy="355600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95" y="65"/>
                    </a:cxn>
                    <a:cxn ang="0">
                      <a:pos x="162" y="65"/>
                    </a:cxn>
                    <a:cxn ang="0">
                      <a:pos x="183" y="26"/>
                    </a:cxn>
                    <a:cxn ang="0">
                      <a:pos x="177" y="86"/>
                    </a:cxn>
                    <a:cxn ang="0">
                      <a:pos x="32" y="59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198" h="95">
                      <a:moveTo>
                        <a:pt x="27" y="0"/>
                      </a:moveTo>
                      <a:cubicBezTo>
                        <a:pt x="14" y="38"/>
                        <a:pt x="64" y="59"/>
                        <a:pt x="95" y="65"/>
                      </a:cubicBezTo>
                      <a:cubicBezTo>
                        <a:pt x="111" y="67"/>
                        <a:pt x="147" y="70"/>
                        <a:pt x="162" y="65"/>
                      </a:cubicBezTo>
                      <a:cubicBezTo>
                        <a:pt x="179" y="58"/>
                        <a:pt x="180" y="41"/>
                        <a:pt x="183" y="26"/>
                      </a:cubicBezTo>
                      <a:cubicBezTo>
                        <a:pt x="185" y="52"/>
                        <a:pt x="198" y="77"/>
                        <a:pt x="177" y="86"/>
                      </a:cubicBezTo>
                      <a:cubicBezTo>
                        <a:pt x="157" y="95"/>
                        <a:pt x="55" y="79"/>
                        <a:pt x="32" y="59"/>
                      </a:cubicBezTo>
                      <a:cubicBezTo>
                        <a:pt x="18" y="45"/>
                        <a:pt x="0" y="16"/>
                        <a:pt x="27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1" name="Freeform 120"/>
                <p:cNvSpPr>
                  <a:spLocks/>
                </p:cNvSpPr>
                <p:nvPr/>
              </p:nvSpPr>
              <p:spPr bwMode="gray">
                <a:xfrm>
                  <a:off x="-304800" y="-13796962"/>
                  <a:ext cx="581025" cy="446088"/>
                </a:xfrm>
                <a:custGeom>
                  <a:avLst/>
                  <a:gdLst/>
                  <a:ahLst/>
                  <a:cxnLst>
                    <a:cxn ang="0">
                      <a:pos x="134" y="0"/>
                    </a:cxn>
                    <a:cxn ang="0">
                      <a:pos x="97" y="79"/>
                    </a:cxn>
                    <a:cxn ang="0">
                      <a:pos x="0" y="106"/>
                    </a:cxn>
                    <a:cxn ang="0">
                      <a:pos x="66" y="107"/>
                    </a:cxn>
                    <a:cxn ang="0">
                      <a:pos x="125" y="95"/>
                    </a:cxn>
                    <a:cxn ang="0">
                      <a:pos x="151" y="56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155" h="119">
                      <a:moveTo>
                        <a:pt x="134" y="0"/>
                      </a:moveTo>
                      <a:cubicBezTo>
                        <a:pt x="134" y="41"/>
                        <a:pt x="139" y="64"/>
                        <a:pt x="97" y="79"/>
                      </a:cubicBezTo>
                      <a:cubicBezTo>
                        <a:pt x="68" y="88"/>
                        <a:pt x="23" y="82"/>
                        <a:pt x="0" y="106"/>
                      </a:cubicBezTo>
                      <a:cubicBezTo>
                        <a:pt x="16" y="119"/>
                        <a:pt x="48" y="113"/>
                        <a:pt x="66" y="107"/>
                      </a:cubicBezTo>
                      <a:cubicBezTo>
                        <a:pt x="88" y="101"/>
                        <a:pt x="102" y="99"/>
                        <a:pt x="125" y="95"/>
                      </a:cubicBezTo>
                      <a:cubicBezTo>
                        <a:pt x="155" y="91"/>
                        <a:pt x="154" y="85"/>
                        <a:pt x="151" y="56"/>
                      </a:cubicBezTo>
                      <a:cubicBezTo>
                        <a:pt x="149" y="37"/>
                        <a:pt x="149" y="13"/>
                        <a:pt x="139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2" name="Freeform 121"/>
                <p:cNvSpPr>
                  <a:spLocks/>
                </p:cNvSpPr>
                <p:nvPr/>
              </p:nvSpPr>
              <p:spPr bwMode="gray">
                <a:xfrm>
                  <a:off x="-1882775" y="-12166600"/>
                  <a:ext cx="1046163" cy="322263"/>
                </a:xfrm>
                <a:custGeom>
                  <a:avLst/>
                  <a:gdLst/>
                  <a:ahLst/>
                  <a:cxnLst>
                    <a:cxn ang="0">
                      <a:pos x="3" y="53"/>
                    </a:cxn>
                    <a:cxn ang="0">
                      <a:pos x="0" y="84"/>
                    </a:cxn>
                    <a:cxn ang="0">
                      <a:pos x="160" y="64"/>
                    </a:cxn>
                    <a:cxn ang="0">
                      <a:pos x="239" y="50"/>
                    </a:cxn>
                    <a:cxn ang="0">
                      <a:pos x="278" y="3"/>
                    </a:cxn>
                    <a:cxn ang="0">
                      <a:pos x="141" y="22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279" h="86">
                      <a:moveTo>
                        <a:pt x="3" y="53"/>
                      </a:moveTo>
                      <a:cubicBezTo>
                        <a:pt x="4" y="64"/>
                        <a:pt x="2" y="75"/>
                        <a:pt x="0" y="84"/>
                      </a:cubicBezTo>
                      <a:cubicBezTo>
                        <a:pt x="53" y="86"/>
                        <a:pt x="113" y="82"/>
                        <a:pt x="160" y="64"/>
                      </a:cubicBezTo>
                      <a:cubicBezTo>
                        <a:pt x="187" y="53"/>
                        <a:pt x="208" y="55"/>
                        <a:pt x="239" y="50"/>
                      </a:cubicBezTo>
                      <a:cubicBezTo>
                        <a:pt x="274" y="45"/>
                        <a:pt x="279" y="39"/>
                        <a:pt x="278" y="3"/>
                      </a:cubicBezTo>
                      <a:cubicBezTo>
                        <a:pt x="229" y="0"/>
                        <a:pt x="186" y="13"/>
                        <a:pt x="141" y="22"/>
                      </a:cubicBezTo>
                      <a:cubicBezTo>
                        <a:pt x="95" y="32"/>
                        <a:pt x="46" y="37"/>
                        <a:pt x="0" y="4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3" name="Freeform 122"/>
                <p:cNvSpPr>
                  <a:spLocks/>
                </p:cNvSpPr>
                <p:nvPr/>
              </p:nvSpPr>
              <p:spPr bwMode="gray">
                <a:xfrm>
                  <a:off x="-1695450" y="-7954962"/>
                  <a:ext cx="2128838" cy="3386138"/>
                </a:xfrm>
                <a:custGeom>
                  <a:avLst/>
                  <a:gdLst/>
                  <a:ahLst/>
                  <a:cxnLst>
                    <a:cxn ang="0">
                      <a:pos x="133" y="38"/>
                    </a:cxn>
                    <a:cxn ang="0">
                      <a:pos x="301" y="292"/>
                    </a:cxn>
                    <a:cxn ang="0">
                      <a:pos x="568" y="540"/>
                    </a:cxn>
                    <a:cxn ang="0">
                      <a:pos x="508" y="490"/>
                    </a:cxn>
                    <a:cxn ang="0">
                      <a:pos x="430" y="429"/>
                    </a:cxn>
                    <a:cxn ang="0">
                      <a:pos x="319" y="372"/>
                    </a:cxn>
                    <a:cxn ang="0">
                      <a:pos x="373" y="448"/>
                    </a:cxn>
                    <a:cxn ang="0">
                      <a:pos x="415" y="515"/>
                    </a:cxn>
                    <a:cxn ang="0">
                      <a:pos x="513" y="648"/>
                    </a:cxn>
                    <a:cxn ang="0">
                      <a:pos x="375" y="524"/>
                    </a:cxn>
                    <a:cxn ang="0">
                      <a:pos x="430" y="653"/>
                    </a:cxn>
                    <a:cxn ang="0">
                      <a:pos x="478" y="768"/>
                    </a:cxn>
                    <a:cxn ang="0">
                      <a:pos x="388" y="646"/>
                    </a:cxn>
                    <a:cxn ang="0">
                      <a:pos x="332" y="541"/>
                    </a:cxn>
                    <a:cxn ang="0">
                      <a:pos x="252" y="296"/>
                    </a:cxn>
                    <a:cxn ang="0">
                      <a:pos x="257" y="642"/>
                    </a:cxn>
                    <a:cxn ang="0">
                      <a:pos x="208" y="718"/>
                    </a:cxn>
                    <a:cxn ang="0">
                      <a:pos x="175" y="781"/>
                    </a:cxn>
                    <a:cxn ang="0">
                      <a:pos x="41" y="903"/>
                    </a:cxn>
                    <a:cxn ang="0">
                      <a:pos x="99" y="803"/>
                    </a:cxn>
                    <a:cxn ang="0">
                      <a:pos x="10" y="736"/>
                    </a:cxn>
                    <a:cxn ang="0">
                      <a:pos x="87" y="642"/>
                    </a:cxn>
                    <a:cxn ang="0">
                      <a:pos x="71" y="498"/>
                    </a:cxn>
                    <a:cxn ang="0">
                      <a:pos x="54" y="334"/>
                    </a:cxn>
                    <a:cxn ang="0">
                      <a:pos x="112" y="489"/>
                    </a:cxn>
                    <a:cxn ang="0">
                      <a:pos x="167" y="363"/>
                    </a:cxn>
                    <a:cxn ang="0">
                      <a:pos x="151" y="172"/>
                    </a:cxn>
                    <a:cxn ang="0">
                      <a:pos x="117" y="0"/>
                    </a:cxn>
                    <a:cxn ang="0">
                      <a:pos x="129" y="42"/>
                    </a:cxn>
                  </a:cxnLst>
                  <a:rect l="0" t="0" r="r" b="b"/>
                  <a:pathLst>
                    <a:path w="568" h="903">
                      <a:moveTo>
                        <a:pt x="133" y="38"/>
                      </a:moveTo>
                      <a:cubicBezTo>
                        <a:pt x="146" y="122"/>
                        <a:pt x="232" y="241"/>
                        <a:pt x="301" y="292"/>
                      </a:cubicBezTo>
                      <a:cubicBezTo>
                        <a:pt x="401" y="367"/>
                        <a:pt x="496" y="440"/>
                        <a:pt x="568" y="540"/>
                      </a:cubicBezTo>
                      <a:cubicBezTo>
                        <a:pt x="537" y="529"/>
                        <a:pt x="530" y="512"/>
                        <a:pt x="508" y="490"/>
                      </a:cubicBezTo>
                      <a:cubicBezTo>
                        <a:pt x="486" y="467"/>
                        <a:pt x="454" y="454"/>
                        <a:pt x="430" y="429"/>
                      </a:cubicBezTo>
                      <a:cubicBezTo>
                        <a:pt x="415" y="414"/>
                        <a:pt x="325" y="293"/>
                        <a:pt x="319" y="372"/>
                      </a:cubicBezTo>
                      <a:cubicBezTo>
                        <a:pt x="316" y="408"/>
                        <a:pt x="352" y="428"/>
                        <a:pt x="373" y="448"/>
                      </a:cubicBezTo>
                      <a:cubicBezTo>
                        <a:pt x="394" y="468"/>
                        <a:pt x="400" y="487"/>
                        <a:pt x="415" y="515"/>
                      </a:cubicBezTo>
                      <a:cubicBezTo>
                        <a:pt x="439" y="560"/>
                        <a:pt x="478" y="604"/>
                        <a:pt x="513" y="648"/>
                      </a:cubicBezTo>
                      <a:cubicBezTo>
                        <a:pt x="464" y="628"/>
                        <a:pt x="411" y="567"/>
                        <a:pt x="375" y="524"/>
                      </a:cubicBezTo>
                      <a:cubicBezTo>
                        <a:pt x="370" y="573"/>
                        <a:pt x="407" y="615"/>
                        <a:pt x="430" y="653"/>
                      </a:cubicBezTo>
                      <a:cubicBezTo>
                        <a:pt x="452" y="690"/>
                        <a:pt x="456" y="733"/>
                        <a:pt x="478" y="768"/>
                      </a:cubicBezTo>
                      <a:cubicBezTo>
                        <a:pt x="430" y="762"/>
                        <a:pt x="407" y="682"/>
                        <a:pt x="388" y="646"/>
                      </a:cubicBezTo>
                      <a:cubicBezTo>
                        <a:pt x="365" y="606"/>
                        <a:pt x="341" y="586"/>
                        <a:pt x="332" y="541"/>
                      </a:cubicBezTo>
                      <a:cubicBezTo>
                        <a:pt x="313" y="451"/>
                        <a:pt x="310" y="365"/>
                        <a:pt x="252" y="296"/>
                      </a:cubicBezTo>
                      <a:cubicBezTo>
                        <a:pt x="268" y="402"/>
                        <a:pt x="308" y="535"/>
                        <a:pt x="257" y="642"/>
                      </a:cubicBezTo>
                      <a:cubicBezTo>
                        <a:pt x="242" y="672"/>
                        <a:pt x="229" y="692"/>
                        <a:pt x="208" y="718"/>
                      </a:cubicBezTo>
                      <a:cubicBezTo>
                        <a:pt x="189" y="742"/>
                        <a:pt x="189" y="756"/>
                        <a:pt x="175" y="781"/>
                      </a:cubicBezTo>
                      <a:cubicBezTo>
                        <a:pt x="156" y="818"/>
                        <a:pt x="83" y="902"/>
                        <a:pt x="41" y="903"/>
                      </a:cubicBezTo>
                      <a:cubicBezTo>
                        <a:pt x="55" y="863"/>
                        <a:pt x="107" y="862"/>
                        <a:pt x="99" y="803"/>
                      </a:cubicBezTo>
                      <a:cubicBezTo>
                        <a:pt x="61" y="803"/>
                        <a:pt x="17" y="776"/>
                        <a:pt x="10" y="736"/>
                      </a:cubicBezTo>
                      <a:cubicBezTo>
                        <a:pt x="0" y="684"/>
                        <a:pt x="63" y="680"/>
                        <a:pt x="87" y="642"/>
                      </a:cubicBezTo>
                      <a:cubicBezTo>
                        <a:pt x="115" y="596"/>
                        <a:pt x="88" y="545"/>
                        <a:pt x="71" y="498"/>
                      </a:cubicBezTo>
                      <a:cubicBezTo>
                        <a:pt x="51" y="445"/>
                        <a:pt x="50" y="392"/>
                        <a:pt x="54" y="334"/>
                      </a:cubicBezTo>
                      <a:cubicBezTo>
                        <a:pt x="95" y="325"/>
                        <a:pt x="87" y="460"/>
                        <a:pt x="112" y="489"/>
                      </a:cubicBezTo>
                      <a:cubicBezTo>
                        <a:pt x="166" y="551"/>
                        <a:pt x="167" y="403"/>
                        <a:pt x="167" y="363"/>
                      </a:cubicBezTo>
                      <a:cubicBezTo>
                        <a:pt x="168" y="296"/>
                        <a:pt x="170" y="232"/>
                        <a:pt x="151" y="172"/>
                      </a:cubicBezTo>
                      <a:cubicBezTo>
                        <a:pt x="134" y="120"/>
                        <a:pt x="115" y="56"/>
                        <a:pt x="117" y="0"/>
                      </a:cubicBezTo>
                      <a:cubicBezTo>
                        <a:pt x="121" y="11"/>
                        <a:pt x="126" y="29"/>
                        <a:pt x="129" y="4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4" name="Freeform 123"/>
                <p:cNvSpPr>
                  <a:spLocks/>
                </p:cNvSpPr>
                <p:nvPr/>
              </p:nvSpPr>
              <p:spPr bwMode="gray">
                <a:xfrm>
                  <a:off x="-1717675" y="-1122362"/>
                  <a:ext cx="854075" cy="655638"/>
                </a:xfrm>
                <a:custGeom>
                  <a:avLst/>
                  <a:gdLst/>
                  <a:ahLst/>
                  <a:cxnLst>
                    <a:cxn ang="0">
                      <a:pos x="228" y="175"/>
                    </a:cxn>
                    <a:cxn ang="0">
                      <a:pos x="130" y="75"/>
                    </a:cxn>
                    <a:cxn ang="0">
                      <a:pos x="0" y="0"/>
                    </a:cxn>
                    <a:cxn ang="0">
                      <a:pos x="54" y="54"/>
                    </a:cxn>
                    <a:cxn ang="0">
                      <a:pos x="60" y="137"/>
                    </a:cxn>
                    <a:cxn ang="0">
                      <a:pos x="152" y="137"/>
                    </a:cxn>
                    <a:cxn ang="0">
                      <a:pos x="228" y="167"/>
                    </a:cxn>
                  </a:cxnLst>
                  <a:rect l="0" t="0" r="r" b="b"/>
                  <a:pathLst>
                    <a:path w="228" h="175">
                      <a:moveTo>
                        <a:pt x="228" y="175"/>
                      </a:moveTo>
                      <a:cubicBezTo>
                        <a:pt x="209" y="136"/>
                        <a:pt x="165" y="105"/>
                        <a:pt x="130" y="75"/>
                      </a:cubicBezTo>
                      <a:cubicBezTo>
                        <a:pt x="90" y="42"/>
                        <a:pt x="34" y="30"/>
                        <a:pt x="0" y="0"/>
                      </a:cubicBezTo>
                      <a:cubicBezTo>
                        <a:pt x="4" y="32"/>
                        <a:pt x="37" y="32"/>
                        <a:pt x="54" y="54"/>
                      </a:cubicBezTo>
                      <a:cubicBezTo>
                        <a:pt x="72" y="77"/>
                        <a:pt x="70" y="113"/>
                        <a:pt x="60" y="137"/>
                      </a:cubicBezTo>
                      <a:cubicBezTo>
                        <a:pt x="90" y="149"/>
                        <a:pt x="120" y="134"/>
                        <a:pt x="152" y="137"/>
                      </a:cubicBezTo>
                      <a:cubicBezTo>
                        <a:pt x="180" y="141"/>
                        <a:pt x="203" y="157"/>
                        <a:pt x="228" y="167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5" name="Freeform 124"/>
                <p:cNvSpPr>
                  <a:spLocks/>
                </p:cNvSpPr>
                <p:nvPr/>
              </p:nvSpPr>
              <p:spPr bwMode="gray">
                <a:xfrm>
                  <a:off x="-87313" y="-639762"/>
                  <a:ext cx="1308100" cy="571500"/>
                </a:xfrm>
                <a:custGeom>
                  <a:avLst/>
                  <a:gdLst/>
                  <a:ahLst/>
                  <a:cxnLst>
                    <a:cxn ang="0">
                      <a:pos x="42" y="122"/>
                    </a:cxn>
                    <a:cxn ang="0">
                      <a:pos x="232" y="0"/>
                    </a:cxn>
                    <a:cxn ang="0">
                      <a:pos x="324" y="43"/>
                    </a:cxn>
                    <a:cxn ang="0">
                      <a:pos x="309" y="147"/>
                    </a:cxn>
                    <a:cxn ang="0">
                      <a:pos x="271" y="66"/>
                    </a:cxn>
                    <a:cxn ang="0">
                      <a:pos x="186" y="56"/>
                    </a:cxn>
                    <a:cxn ang="0">
                      <a:pos x="93" y="89"/>
                    </a:cxn>
                    <a:cxn ang="0">
                      <a:pos x="0" y="152"/>
                    </a:cxn>
                  </a:cxnLst>
                  <a:rect l="0" t="0" r="r" b="b"/>
                  <a:pathLst>
                    <a:path w="349" h="152">
                      <a:moveTo>
                        <a:pt x="42" y="122"/>
                      </a:moveTo>
                      <a:cubicBezTo>
                        <a:pt x="99" y="79"/>
                        <a:pt x="159" y="0"/>
                        <a:pt x="232" y="0"/>
                      </a:cubicBezTo>
                      <a:cubicBezTo>
                        <a:pt x="263" y="0"/>
                        <a:pt x="304" y="17"/>
                        <a:pt x="324" y="43"/>
                      </a:cubicBezTo>
                      <a:cubicBezTo>
                        <a:pt x="344" y="70"/>
                        <a:pt x="349" y="138"/>
                        <a:pt x="309" y="147"/>
                      </a:cubicBezTo>
                      <a:cubicBezTo>
                        <a:pt x="303" y="117"/>
                        <a:pt x="295" y="86"/>
                        <a:pt x="271" y="66"/>
                      </a:cubicBezTo>
                      <a:cubicBezTo>
                        <a:pt x="239" y="41"/>
                        <a:pt x="220" y="47"/>
                        <a:pt x="186" y="56"/>
                      </a:cubicBezTo>
                      <a:cubicBezTo>
                        <a:pt x="152" y="65"/>
                        <a:pt x="122" y="71"/>
                        <a:pt x="93" y="89"/>
                      </a:cubicBezTo>
                      <a:cubicBezTo>
                        <a:pt x="62" y="107"/>
                        <a:pt x="34" y="141"/>
                        <a:pt x="0" y="15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6" name="Freeform 125"/>
                <p:cNvSpPr>
                  <a:spLocks/>
                </p:cNvSpPr>
                <p:nvPr/>
              </p:nvSpPr>
              <p:spPr bwMode="gray">
                <a:xfrm>
                  <a:off x="-2501900" y="-6432550"/>
                  <a:ext cx="2092325" cy="4953000"/>
                </a:xfrm>
                <a:custGeom>
                  <a:avLst/>
                  <a:gdLst/>
                  <a:ahLst/>
                  <a:cxnLst>
                    <a:cxn ang="0">
                      <a:pos x="542" y="1169"/>
                    </a:cxn>
                    <a:cxn ang="0">
                      <a:pos x="541" y="1266"/>
                    </a:cxn>
                    <a:cxn ang="0">
                      <a:pos x="455" y="1312"/>
                    </a:cxn>
                    <a:cxn ang="0">
                      <a:pos x="398" y="1245"/>
                    </a:cxn>
                    <a:cxn ang="0">
                      <a:pos x="336" y="1160"/>
                    </a:cxn>
                    <a:cxn ang="0">
                      <a:pos x="233" y="990"/>
                    </a:cxn>
                    <a:cxn ang="0">
                      <a:pos x="155" y="793"/>
                    </a:cxn>
                    <a:cxn ang="0">
                      <a:pos x="27" y="404"/>
                    </a:cxn>
                    <a:cxn ang="0">
                      <a:pos x="23" y="185"/>
                    </a:cxn>
                    <a:cxn ang="0">
                      <a:pos x="6" y="0"/>
                    </a:cxn>
                    <a:cxn ang="0">
                      <a:pos x="10" y="170"/>
                    </a:cxn>
                    <a:cxn ang="0">
                      <a:pos x="44" y="346"/>
                    </a:cxn>
                    <a:cxn ang="0">
                      <a:pos x="106" y="591"/>
                    </a:cxn>
                    <a:cxn ang="0">
                      <a:pos x="276" y="1025"/>
                    </a:cxn>
                    <a:cxn ang="0">
                      <a:pos x="386" y="1213"/>
                    </a:cxn>
                    <a:cxn ang="0">
                      <a:pos x="482" y="1240"/>
                    </a:cxn>
                    <a:cxn ang="0">
                      <a:pos x="530" y="1148"/>
                    </a:cxn>
                  </a:cxnLst>
                  <a:rect l="0" t="0" r="r" b="b"/>
                  <a:pathLst>
                    <a:path w="558" h="1321">
                      <a:moveTo>
                        <a:pt x="542" y="1169"/>
                      </a:moveTo>
                      <a:cubicBezTo>
                        <a:pt x="558" y="1191"/>
                        <a:pt x="555" y="1242"/>
                        <a:pt x="541" y="1266"/>
                      </a:cubicBezTo>
                      <a:cubicBezTo>
                        <a:pt x="530" y="1287"/>
                        <a:pt x="479" y="1321"/>
                        <a:pt x="455" y="1312"/>
                      </a:cubicBezTo>
                      <a:cubicBezTo>
                        <a:pt x="444" y="1308"/>
                        <a:pt x="405" y="1254"/>
                        <a:pt x="398" y="1245"/>
                      </a:cubicBezTo>
                      <a:cubicBezTo>
                        <a:pt x="377" y="1220"/>
                        <a:pt x="353" y="1189"/>
                        <a:pt x="336" y="1160"/>
                      </a:cubicBezTo>
                      <a:cubicBezTo>
                        <a:pt x="303" y="1104"/>
                        <a:pt x="260" y="1050"/>
                        <a:pt x="233" y="990"/>
                      </a:cubicBezTo>
                      <a:cubicBezTo>
                        <a:pt x="205" y="927"/>
                        <a:pt x="177" y="855"/>
                        <a:pt x="155" y="793"/>
                      </a:cubicBezTo>
                      <a:cubicBezTo>
                        <a:pt x="111" y="667"/>
                        <a:pt x="41" y="541"/>
                        <a:pt x="27" y="404"/>
                      </a:cubicBezTo>
                      <a:cubicBezTo>
                        <a:pt x="20" y="326"/>
                        <a:pt x="43" y="261"/>
                        <a:pt x="23" y="185"/>
                      </a:cubicBezTo>
                      <a:cubicBezTo>
                        <a:pt x="6" y="123"/>
                        <a:pt x="0" y="66"/>
                        <a:pt x="6" y="0"/>
                      </a:cubicBezTo>
                      <a:cubicBezTo>
                        <a:pt x="6" y="58"/>
                        <a:pt x="11" y="114"/>
                        <a:pt x="10" y="170"/>
                      </a:cubicBezTo>
                      <a:cubicBezTo>
                        <a:pt x="10" y="236"/>
                        <a:pt x="29" y="286"/>
                        <a:pt x="44" y="346"/>
                      </a:cubicBezTo>
                      <a:cubicBezTo>
                        <a:pt x="65" y="427"/>
                        <a:pt x="79" y="511"/>
                        <a:pt x="106" y="591"/>
                      </a:cubicBezTo>
                      <a:cubicBezTo>
                        <a:pt x="157" y="739"/>
                        <a:pt x="225" y="885"/>
                        <a:pt x="276" y="1025"/>
                      </a:cubicBezTo>
                      <a:cubicBezTo>
                        <a:pt x="306" y="1106"/>
                        <a:pt x="317" y="1165"/>
                        <a:pt x="386" y="1213"/>
                      </a:cubicBezTo>
                      <a:cubicBezTo>
                        <a:pt x="412" y="1230"/>
                        <a:pt x="449" y="1254"/>
                        <a:pt x="482" y="1240"/>
                      </a:cubicBezTo>
                      <a:cubicBezTo>
                        <a:pt x="523" y="1224"/>
                        <a:pt x="518" y="1182"/>
                        <a:pt x="530" y="1148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7" name="Freeform 126"/>
                <p:cNvSpPr>
                  <a:spLocks/>
                </p:cNvSpPr>
                <p:nvPr/>
              </p:nvSpPr>
              <p:spPr bwMode="gray">
                <a:xfrm>
                  <a:off x="-1466850" y="-1479550"/>
                  <a:ext cx="854075" cy="693738"/>
                </a:xfrm>
                <a:custGeom>
                  <a:avLst/>
                  <a:gdLst/>
                  <a:ahLst/>
                  <a:cxnLst>
                    <a:cxn ang="0">
                      <a:pos x="13" y="30"/>
                    </a:cxn>
                    <a:cxn ang="0">
                      <a:pos x="228" y="18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8" h="185">
                      <a:moveTo>
                        <a:pt x="13" y="30"/>
                      </a:moveTo>
                      <a:cubicBezTo>
                        <a:pt x="80" y="65"/>
                        <a:pt x="145" y="185"/>
                        <a:pt x="228" y="181"/>
                      </a:cubicBezTo>
                      <a:cubicBezTo>
                        <a:pt x="216" y="68"/>
                        <a:pt x="79" y="39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8" name="Freeform 127"/>
                <p:cNvSpPr>
                  <a:spLocks/>
                </p:cNvSpPr>
                <p:nvPr/>
              </p:nvSpPr>
              <p:spPr bwMode="gray">
                <a:xfrm>
                  <a:off x="-1069975" y="-7924800"/>
                  <a:ext cx="1316038" cy="647700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156" y="77"/>
                    </a:cxn>
                    <a:cxn ang="0">
                      <a:pos x="351" y="12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51" h="173">
                      <a:moveTo>
                        <a:pt x="4" y="0"/>
                      </a:moveTo>
                      <a:cubicBezTo>
                        <a:pt x="61" y="17"/>
                        <a:pt x="98" y="62"/>
                        <a:pt x="156" y="77"/>
                      </a:cubicBezTo>
                      <a:cubicBezTo>
                        <a:pt x="212" y="92"/>
                        <a:pt x="304" y="90"/>
                        <a:pt x="351" y="123"/>
                      </a:cubicBezTo>
                      <a:cubicBezTo>
                        <a:pt x="231" y="173"/>
                        <a:pt x="90" y="60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19" name="Freeform 128"/>
                <p:cNvSpPr>
                  <a:spLocks/>
                </p:cNvSpPr>
                <p:nvPr/>
              </p:nvSpPr>
              <p:spPr bwMode="gray">
                <a:xfrm>
                  <a:off x="22225" y="-1809750"/>
                  <a:ext cx="441325" cy="627063"/>
                </a:xfrm>
                <a:custGeom>
                  <a:avLst/>
                  <a:gdLst/>
                  <a:ahLst/>
                  <a:cxnLst>
                    <a:cxn ang="0">
                      <a:pos x="5" y="71"/>
                    </a:cxn>
                    <a:cxn ang="0">
                      <a:pos x="97" y="4"/>
                    </a:cxn>
                    <a:cxn ang="0">
                      <a:pos x="25" y="167"/>
                    </a:cxn>
                    <a:cxn ang="0">
                      <a:pos x="46" y="64"/>
                    </a:cxn>
                    <a:cxn ang="0">
                      <a:pos x="0" y="80"/>
                    </a:cxn>
                  </a:cxnLst>
                  <a:rect l="0" t="0" r="r" b="b"/>
                  <a:pathLst>
                    <a:path w="118" h="167">
                      <a:moveTo>
                        <a:pt x="5" y="71"/>
                      </a:moveTo>
                      <a:cubicBezTo>
                        <a:pt x="22" y="46"/>
                        <a:pt x="63" y="0"/>
                        <a:pt x="97" y="4"/>
                      </a:cubicBezTo>
                      <a:cubicBezTo>
                        <a:pt x="118" y="70"/>
                        <a:pt x="64" y="119"/>
                        <a:pt x="25" y="167"/>
                      </a:cubicBezTo>
                      <a:cubicBezTo>
                        <a:pt x="38" y="136"/>
                        <a:pt x="85" y="96"/>
                        <a:pt x="46" y="64"/>
                      </a:cubicBezTo>
                      <a:cubicBezTo>
                        <a:pt x="27" y="58"/>
                        <a:pt x="9" y="63"/>
                        <a:pt x="0" y="8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0" name="Freeform 129"/>
                <p:cNvSpPr>
                  <a:spLocks/>
                </p:cNvSpPr>
                <p:nvPr/>
              </p:nvSpPr>
              <p:spPr bwMode="gray">
                <a:xfrm>
                  <a:off x="969963" y="-4073525"/>
                  <a:ext cx="304800" cy="2241550"/>
                </a:xfrm>
                <a:custGeom>
                  <a:avLst/>
                  <a:gdLst/>
                  <a:ahLst/>
                  <a:cxnLst>
                    <a:cxn ang="0">
                      <a:pos x="26" y="17"/>
                    </a:cxn>
                    <a:cxn ang="0">
                      <a:pos x="5" y="295"/>
                    </a:cxn>
                    <a:cxn ang="0">
                      <a:pos x="9" y="460"/>
                    </a:cxn>
                    <a:cxn ang="0">
                      <a:pos x="18" y="598"/>
                    </a:cxn>
                    <a:cxn ang="0">
                      <a:pos x="64" y="309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81" h="598">
                      <a:moveTo>
                        <a:pt x="26" y="17"/>
                      </a:moveTo>
                      <a:cubicBezTo>
                        <a:pt x="26" y="112"/>
                        <a:pt x="0" y="198"/>
                        <a:pt x="5" y="295"/>
                      </a:cubicBezTo>
                      <a:cubicBezTo>
                        <a:pt x="8" y="348"/>
                        <a:pt x="4" y="406"/>
                        <a:pt x="9" y="460"/>
                      </a:cubicBezTo>
                      <a:cubicBezTo>
                        <a:pt x="13" y="505"/>
                        <a:pt x="31" y="551"/>
                        <a:pt x="18" y="598"/>
                      </a:cubicBezTo>
                      <a:cubicBezTo>
                        <a:pt x="81" y="529"/>
                        <a:pt x="65" y="399"/>
                        <a:pt x="64" y="309"/>
                      </a:cubicBezTo>
                      <a:cubicBezTo>
                        <a:pt x="63" y="204"/>
                        <a:pt x="15" y="103"/>
                        <a:pt x="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1" name="Freeform 130"/>
                <p:cNvSpPr>
                  <a:spLocks/>
                </p:cNvSpPr>
                <p:nvPr/>
              </p:nvSpPr>
              <p:spPr bwMode="gray">
                <a:xfrm>
                  <a:off x="708025" y="-8191500"/>
                  <a:ext cx="501650" cy="3529013"/>
                </a:xfrm>
                <a:custGeom>
                  <a:avLst/>
                  <a:gdLst/>
                  <a:ahLst/>
                  <a:cxnLst>
                    <a:cxn ang="0">
                      <a:pos x="134" y="67"/>
                    </a:cxn>
                    <a:cxn ang="0">
                      <a:pos x="0" y="182"/>
                    </a:cxn>
                    <a:cxn ang="0">
                      <a:pos x="104" y="333"/>
                    </a:cxn>
                    <a:cxn ang="0">
                      <a:pos x="66" y="544"/>
                    </a:cxn>
                    <a:cxn ang="0">
                      <a:pos x="92" y="760"/>
                    </a:cxn>
                    <a:cxn ang="0">
                      <a:pos x="100" y="857"/>
                    </a:cxn>
                    <a:cxn ang="0">
                      <a:pos x="46" y="941"/>
                    </a:cxn>
                    <a:cxn ang="0">
                      <a:pos x="130" y="751"/>
                    </a:cxn>
                    <a:cxn ang="0">
                      <a:pos x="126" y="498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134" h="941">
                      <a:moveTo>
                        <a:pt x="134" y="67"/>
                      </a:moveTo>
                      <a:cubicBezTo>
                        <a:pt x="99" y="118"/>
                        <a:pt x="41" y="139"/>
                        <a:pt x="0" y="182"/>
                      </a:cubicBezTo>
                      <a:cubicBezTo>
                        <a:pt x="74" y="171"/>
                        <a:pt x="105" y="277"/>
                        <a:pt x="104" y="333"/>
                      </a:cubicBezTo>
                      <a:cubicBezTo>
                        <a:pt x="104" y="412"/>
                        <a:pt x="83" y="473"/>
                        <a:pt x="66" y="544"/>
                      </a:cubicBezTo>
                      <a:cubicBezTo>
                        <a:pt x="49" y="619"/>
                        <a:pt x="82" y="689"/>
                        <a:pt x="92" y="760"/>
                      </a:cubicBezTo>
                      <a:cubicBezTo>
                        <a:pt x="96" y="789"/>
                        <a:pt x="103" y="828"/>
                        <a:pt x="100" y="857"/>
                      </a:cubicBezTo>
                      <a:cubicBezTo>
                        <a:pt x="96" y="902"/>
                        <a:pt x="66" y="902"/>
                        <a:pt x="46" y="941"/>
                      </a:cubicBezTo>
                      <a:cubicBezTo>
                        <a:pt x="123" y="926"/>
                        <a:pt x="133" y="817"/>
                        <a:pt x="130" y="751"/>
                      </a:cubicBezTo>
                      <a:cubicBezTo>
                        <a:pt x="126" y="669"/>
                        <a:pt x="126" y="582"/>
                        <a:pt x="126" y="498"/>
                      </a:cubicBezTo>
                      <a:cubicBezTo>
                        <a:pt x="126" y="332"/>
                        <a:pt x="126" y="166"/>
                        <a:pt x="1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2" name="Freeform 131"/>
                <p:cNvSpPr>
                  <a:spLocks/>
                </p:cNvSpPr>
                <p:nvPr/>
              </p:nvSpPr>
              <p:spPr bwMode="gray">
                <a:xfrm>
                  <a:off x="198438" y="-10363200"/>
                  <a:ext cx="1046163" cy="1816100"/>
                </a:xfrm>
                <a:custGeom>
                  <a:avLst/>
                  <a:gdLst/>
                  <a:ahLst/>
                  <a:cxnLst>
                    <a:cxn ang="0">
                      <a:pos x="160" y="42"/>
                    </a:cxn>
                    <a:cxn ang="0">
                      <a:pos x="98" y="97"/>
                    </a:cxn>
                    <a:cxn ang="0">
                      <a:pos x="0" y="135"/>
                    </a:cxn>
                    <a:cxn ang="0">
                      <a:pos x="113" y="136"/>
                    </a:cxn>
                    <a:cxn ang="0">
                      <a:pos x="38" y="244"/>
                    </a:cxn>
                    <a:cxn ang="0">
                      <a:pos x="152" y="244"/>
                    </a:cxn>
                    <a:cxn ang="0">
                      <a:pos x="173" y="358"/>
                    </a:cxn>
                    <a:cxn ang="0">
                      <a:pos x="106" y="430"/>
                    </a:cxn>
                    <a:cxn ang="0">
                      <a:pos x="186" y="448"/>
                    </a:cxn>
                    <a:cxn ang="0">
                      <a:pos x="207" y="477"/>
                    </a:cxn>
                    <a:cxn ang="0">
                      <a:pos x="257" y="481"/>
                    </a:cxn>
                    <a:cxn ang="0">
                      <a:pos x="236" y="233"/>
                    </a:cxn>
                    <a:cxn ang="0">
                      <a:pos x="194" y="131"/>
                    </a:cxn>
                    <a:cxn ang="0">
                      <a:pos x="173" y="0"/>
                    </a:cxn>
                  </a:cxnLst>
                  <a:rect l="0" t="0" r="r" b="b"/>
                  <a:pathLst>
                    <a:path w="279" h="484">
                      <a:moveTo>
                        <a:pt x="160" y="42"/>
                      </a:moveTo>
                      <a:cubicBezTo>
                        <a:pt x="137" y="59"/>
                        <a:pt x="123" y="82"/>
                        <a:pt x="98" y="97"/>
                      </a:cubicBezTo>
                      <a:cubicBezTo>
                        <a:pt x="67" y="115"/>
                        <a:pt x="23" y="110"/>
                        <a:pt x="0" y="135"/>
                      </a:cubicBezTo>
                      <a:cubicBezTo>
                        <a:pt x="27" y="146"/>
                        <a:pt x="84" y="151"/>
                        <a:pt x="113" y="136"/>
                      </a:cubicBezTo>
                      <a:cubicBezTo>
                        <a:pt x="109" y="175"/>
                        <a:pt x="67" y="217"/>
                        <a:pt x="38" y="244"/>
                      </a:cubicBezTo>
                      <a:cubicBezTo>
                        <a:pt x="71" y="268"/>
                        <a:pt x="117" y="259"/>
                        <a:pt x="152" y="244"/>
                      </a:cubicBezTo>
                      <a:cubicBezTo>
                        <a:pt x="168" y="277"/>
                        <a:pt x="184" y="320"/>
                        <a:pt x="173" y="358"/>
                      </a:cubicBezTo>
                      <a:cubicBezTo>
                        <a:pt x="163" y="391"/>
                        <a:pt x="129" y="404"/>
                        <a:pt x="106" y="430"/>
                      </a:cubicBezTo>
                      <a:cubicBezTo>
                        <a:pt x="142" y="433"/>
                        <a:pt x="162" y="428"/>
                        <a:pt x="186" y="448"/>
                      </a:cubicBezTo>
                      <a:cubicBezTo>
                        <a:pt x="197" y="457"/>
                        <a:pt x="188" y="467"/>
                        <a:pt x="207" y="477"/>
                      </a:cubicBezTo>
                      <a:cubicBezTo>
                        <a:pt x="220" y="484"/>
                        <a:pt x="242" y="483"/>
                        <a:pt x="257" y="481"/>
                      </a:cubicBezTo>
                      <a:cubicBezTo>
                        <a:pt x="279" y="401"/>
                        <a:pt x="265" y="309"/>
                        <a:pt x="236" y="233"/>
                      </a:cubicBezTo>
                      <a:cubicBezTo>
                        <a:pt x="223" y="198"/>
                        <a:pt x="203" y="165"/>
                        <a:pt x="194" y="131"/>
                      </a:cubicBezTo>
                      <a:cubicBezTo>
                        <a:pt x="183" y="88"/>
                        <a:pt x="190" y="41"/>
                        <a:pt x="173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3" name="Freeform 132"/>
                <p:cNvSpPr>
                  <a:spLocks/>
                </p:cNvSpPr>
                <p:nvPr/>
              </p:nvSpPr>
              <p:spPr bwMode="gray">
                <a:xfrm>
                  <a:off x="-1928813" y="-10028237"/>
                  <a:ext cx="690563" cy="1974850"/>
                </a:xfrm>
                <a:custGeom>
                  <a:avLst/>
                  <a:gdLst/>
                  <a:ahLst/>
                  <a:cxnLst>
                    <a:cxn ang="0">
                      <a:pos x="153" y="21"/>
                    </a:cxn>
                    <a:cxn ang="0">
                      <a:pos x="149" y="307"/>
                    </a:cxn>
                    <a:cxn ang="0">
                      <a:pos x="148" y="423"/>
                    </a:cxn>
                    <a:cxn ang="0">
                      <a:pos x="173" y="527"/>
                    </a:cxn>
                    <a:cxn ang="0">
                      <a:pos x="127" y="334"/>
                    </a:cxn>
                    <a:cxn ang="0">
                      <a:pos x="0" y="219"/>
                    </a:cxn>
                    <a:cxn ang="0">
                      <a:pos x="111" y="219"/>
                    </a:cxn>
                    <a:cxn ang="0">
                      <a:pos x="128" y="159"/>
                    </a:cxn>
                    <a:cxn ang="0">
                      <a:pos x="76" y="118"/>
                    </a:cxn>
                    <a:cxn ang="0">
                      <a:pos x="146" y="89"/>
                    </a:cxn>
                    <a:cxn ang="0">
                      <a:pos x="166" y="0"/>
                    </a:cxn>
                  </a:cxnLst>
                  <a:rect l="0" t="0" r="r" b="b"/>
                  <a:pathLst>
                    <a:path w="184" h="527">
                      <a:moveTo>
                        <a:pt x="153" y="21"/>
                      </a:moveTo>
                      <a:cubicBezTo>
                        <a:pt x="184" y="90"/>
                        <a:pt x="153" y="230"/>
                        <a:pt x="149" y="307"/>
                      </a:cubicBezTo>
                      <a:cubicBezTo>
                        <a:pt x="147" y="346"/>
                        <a:pt x="141" y="385"/>
                        <a:pt x="148" y="423"/>
                      </a:cubicBezTo>
                      <a:cubicBezTo>
                        <a:pt x="156" y="460"/>
                        <a:pt x="180" y="487"/>
                        <a:pt x="173" y="527"/>
                      </a:cubicBezTo>
                      <a:cubicBezTo>
                        <a:pt x="136" y="491"/>
                        <a:pt x="143" y="384"/>
                        <a:pt x="127" y="334"/>
                      </a:cubicBezTo>
                      <a:cubicBezTo>
                        <a:pt x="112" y="284"/>
                        <a:pt x="51" y="241"/>
                        <a:pt x="0" y="219"/>
                      </a:cubicBezTo>
                      <a:cubicBezTo>
                        <a:pt x="34" y="218"/>
                        <a:pt x="84" y="248"/>
                        <a:pt x="111" y="219"/>
                      </a:cubicBezTo>
                      <a:cubicBezTo>
                        <a:pt x="121" y="208"/>
                        <a:pt x="131" y="174"/>
                        <a:pt x="128" y="159"/>
                      </a:cubicBezTo>
                      <a:cubicBezTo>
                        <a:pt x="120" y="128"/>
                        <a:pt x="97" y="140"/>
                        <a:pt x="76" y="118"/>
                      </a:cubicBezTo>
                      <a:cubicBezTo>
                        <a:pt x="93" y="93"/>
                        <a:pt x="125" y="108"/>
                        <a:pt x="146" y="89"/>
                      </a:cubicBezTo>
                      <a:cubicBezTo>
                        <a:pt x="165" y="70"/>
                        <a:pt x="168" y="25"/>
                        <a:pt x="16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4" name="Freeform 133"/>
                <p:cNvSpPr>
                  <a:spLocks/>
                </p:cNvSpPr>
                <p:nvPr/>
              </p:nvSpPr>
              <p:spPr bwMode="gray">
                <a:xfrm>
                  <a:off x="-3011488" y="-10186987"/>
                  <a:ext cx="482600" cy="506413"/>
                </a:xfrm>
                <a:custGeom>
                  <a:avLst/>
                  <a:gdLst/>
                  <a:ahLst/>
                  <a:cxnLst>
                    <a:cxn ang="0">
                      <a:pos x="53" y="0"/>
                    </a:cxn>
                    <a:cxn ang="0">
                      <a:pos x="129" y="34"/>
                    </a:cxn>
                    <a:cxn ang="0">
                      <a:pos x="67" y="59"/>
                    </a:cxn>
                    <a:cxn ang="0">
                      <a:pos x="101" y="105"/>
                    </a:cxn>
                    <a:cxn ang="0">
                      <a:pos x="8" y="130"/>
                    </a:cxn>
                    <a:cxn ang="0">
                      <a:pos x="49" y="4"/>
                    </a:cxn>
                  </a:cxnLst>
                  <a:rect l="0" t="0" r="r" b="b"/>
                  <a:pathLst>
                    <a:path w="129" h="135">
                      <a:moveTo>
                        <a:pt x="53" y="0"/>
                      </a:moveTo>
                      <a:cubicBezTo>
                        <a:pt x="72" y="15"/>
                        <a:pt x="106" y="33"/>
                        <a:pt x="129" y="34"/>
                      </a:cubicBezTo>
                      <a:cubicBezTo>
                        <a:pt x="125" y="56"/>
                        <a:pt x="88" y="55"/>
                        <a:pt x="67" y="59"/>
                      </a:cubicBezTo>
                      <a:cubicBezTo>
                        <a:pt x="59" y="85"/>
                        <a:pt x="72" y="107"/>
                        <a:pt x="101" y="105"/>
                      </a:cubicBezTo>
                      <a:cubicBezTo>
                        <a:pt x="76" y="109"/>
                        <a:pt x="36" y="135"/>
                        <a:pt x="8" y="130"/>
                      </a:cubicBezTo>
                      <a:cubicBezTo>
                        <a:pt x="0" y="92"/>
                        <a:pt x="19" y="27"/>
                        <a:pt x="49" y="4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5" name="Freeform 134"/>
                <p:cNvSpPr>
                  <a:spLocks/>
                </p:cNvSpPr>
                <p:nvPr/>
              </p:nvSpPr>
              <p:spPr bwMode="gray">
                <a:xfrm>
                  <a:off x="-668338" y="-1020762"/>
                  <a:ext cx="517525" cy="1327150"/>
                </a:xfrm>
                <a:custGeom>
                  <a:avLst/>
                  <a:gdLst/>
                  <a:ahLst/>
                  <a:cxnLst>
                    <a:cxn ang="0">
                      <a:pos x="113" y="220"/>
                    </a:cxn>
                    <a:cxn ang="0">
                      <a:pos x="83" y="0"/>
                    </a:cxn>
                    <a:cxn ang="0">
                      <a:pos x="29" y="190"/>
                    </a:cxn>
                    <a:cxn ang="0">
                      <a:pos x="20" y="250"/>
                    </a:cxn>
                    <a:cxn ang="0">
                      <a:pos x="27" y="300"/>
                    </a:cxn>
                    <a:cxn ang="0">
                      <a:pos x="8" y="305"/>
                    </a:cxn>
                    <a:cxn ang="0">
                      <a:pos x="112" y="351"/>
                    </a:cxn>
                    <a:cxn ang="0">
                      <a:pos x="121" y="203"/>
                    </a:cxn>
                  </a:cxnLst>
                  <a:rect l="0" t="0" r="r" b="b"/>
                  <a:pathLst>
                    <a:path w="138" h="354">
                      <a:moveTo>
                        <a:pt x="113" y="220"/>
                      </a:moveTo>
                      <a:cubicBezTo>
                        <a:pt x="84" y="153"/>
                        <a:pt x="83" y="76"/>
                        <a:pt x="83" y="0"/>
                      </a:cubicBezTo>
                      <a:cubicBezTo>
                        <a:pt x="71" y="48"/>
                        <a:pt x="22" y="132"/>
                        <a:pt x="29" y="190"/>
                      </a:cubicBezTo>
                      <a:cubicBezTo>
                        <a:pt x="67" y="202"/>
                        <a:pt x="68" y="259"/>
                        <a:pt x="20" y="250"/>
                      </a:cubicBezTo>
                      <a:cubicBezTo>
                        <a:pt x="18" y="269"/>
                        <a:pt x="25" y="283"/>
                        <a:pt x="27" y="300"/>
                      </a:cubicBezTo>
                      <a:cubicBezTo>
                        <a:pt x="20" y="301"/>
                        <a:pt x="16" y="305"/>
                        <a:pt x="8" y="305"/>
                      </a:cubicBezTo>
                      <a:cubicBezTo>
                        <a:pt x="0" y="345"/>
                        <a:pt x="83" y="354"/>
                        <a:pt x="112" y="351"/>
                      </a:cubicBezTo>
                      <a:cubicBezTo>
                        <a:pt x="114" y="306"/>
                        <a:pt x="138" y="244"/>
                        <a:pt x="121" y="203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6" name="Freeform 135"/>
                <p:cNvSpPr>
                  <a:spLocks/>
                </p:cNvSpPr>
                <p:nvPr/>
              </p:nvSpPr>
              <p:spPr bwMode="gray">
                <a:xfrm>
                  <a:off x="-604838" y="-2014537"/>
                  <a:ext cx="479425" cy="1439863"/>
                </a:xfrm>
                <a:custGeom>
                  <a:avLst/>
                  <a:gdLst/>
                  <a:ahLst/>
                  <a:cxnLst>
                    <a:cxn ang="0">
                      <a:pos x="24" y="4"/>
                    </a:cxn>
                    <a:cxn ang="0">
                      <a:pos x="44" y="237"/>
                    </a:cxn>
                    <a:cxn ang="0">
                      <a:pos x="104" y="313"/>
                    </a:cxn>
                    <a:cxn ang="0">
                      <a:pos x="87" y="122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128" h="384">
                      <a:moveTo>
                        <a:pt x="24" y="4"/>
                      </a:moveTo>
                      <a:cubicBezTo>
                        <a:pt x="0" y="68"/>
                        <a:pt x="31" y="173"/>
                        <a:pt x="44" y="237"/>
                      </a:cubicBezTo>
                      <a:cubicBezTo>
                        <a:pt x="49" y="263"/>
                        <a:pt x="60" y="384"/>
                        <a:pt x="104" y="313"/>
                      </a:cubicBezTo>
                      <a:cubicBezTo>
                        <a:pt x="128" y="274"/>
                        <a:pt x="104" y="160"/>
                        <a:pt x="87" y="122"/>
                      </a:cubicBezTo>
                      <a:cubicBezTo>
                        <a:pt x="67" y="76"/>
                        <a:pt x="36" y="50"/>
                        <a:pt x="28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7" name="Freeform 136"/>
                <p:cNvSpPr>
                  <a:spLocks/>
                </p:cNvSpPr>
                <p:nvPr/>
              </p:nvSpPr>
              <p:spPr bwMode="gray">
                <a:xfrm>
                  <a:off x="-2559050" y="-12211050"/>
                  <a:ext cx="1046163" cy="311150"/>
                </a:xfrm>
                <a:custGeom>
                  <a:avLst/>
                  <a:gdLst/>
                  <a:ahLst/>
                  <a:cxnLst>
                    <a:cxn ang="0">
                      <a:pos x="258" y="20"/>
                    </a:cxn>
                    <a:cxn ang="0">
                      <a:pos x="110" y="7"/>
                    </a:cxn>
                    <a:cxn ang="0">
                      <a:pos x="0" y="83"/>
                    </a:cxn>
                    <a:cxn ang="0">
                      <a:pos x="122" y="41"/>
                    </a:cxn>
                    <a:cxn ang="0">
                      <a:pos x="279" y="20"/>
                    </a:cxn>
                  </a:cxnLst>
                  <a:rect l="0" t="0" r="r" b="b"/>
                  <a:pathLst>
                    <a:path w="279" h="83">
                      <a:moveTo>
                        <a:pt x="258" y="20"/>
                      </a:moveTo>
                      <a:cubicBezTo>
                        <a:pt x="206" y="20"/>
                        <a:pt x="162" y="0"/>
                        <a:pt x="110" y="7"/>
                      </a:cubicBezTo>
                      <a:cubicBezTo>
                        <a:pt x="77" y="12"/>
                        <a:pt x="7" y="47"/>
                        <a:pt x="0" y="83"/>
                      </a:cubicBezTo>
                      <a:cubicBezTo>
                        <a:pt x="44" y="75"/>
                        <a:pt x="78" y="45"/>
                        <a:pt x="122" y="41"/>
                      </a:cubicBezTo>
                      <a:cubicBezTo>
                        <a:pt x="168" y="37"/>
                        <a:pt x="243" y="51"/>
                        <a:pt x="279" y="2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8" name="Freeform 137"/>
                <p:cNvSpPr>
                  <a:spLocks/>
                </p:cNvSpPr>
                <p:nvPr/>
              </p:nvSpPr>
              <p:spPr bwMode="gray">
                <a:xfrm>
                  <a:off x="-3270250" y="-12414250"/>
                  <a:ext cx="600075" cy="454025"/>
                </a:xfrm>
                <a:custGeom>
                  <a:avLst/>
                  <a:gdLst/>
                  <a:ahLst/>
                  <a:cxnLst>
                    <a:cxn ang="0">
                      <a:pos x="4" y="116"/>
                    </a:cxn>
                    <a:cxn ang="0">
                      <a:pos x="160" y="0"/>
                    </a:cxn>
                    <a:cxn ang="0">
                      <a:pos x="0" y="121"/>
                    </a:cxn>
                  </a:cxnLst>
                  <a:rect l="0" t="0" r="r" b="b"/>
                  <a:pathLst>
                    <a:path w="160" h="121">
                      <a:moveTo>
                        <a:pt x="4" y="116"/>
                      </a:moveTo>
                      <a:cubicBezTo>
                        <a:pt x="36" y="75"/>
                        <a:pt x="109" y="19"/>
                        <a:pt x="160" y="0"/>
                      </a:cubicBezTo>
                      <a:cubicBezTo>
                        <a:pt x="136" y="36"/>
                        <a:pt x="44" y="115"/>
                        <a:pt x="0" y="121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29" name="Freeform 138"/>
                <p:cNvSpPr>
                  <a:spLocks/>
                </p:cNvSpPr>
                <p:nvPr/>
              </p:nvSpPr>
              <p:spPr bwMode="gray">
                <a:xfrm>
                  <a:off x="-3713163" y="-13385800"/>
                  <a:ext cx="944563" cy="746125"/>
                </a:xfrm>
                <a:custGeom>
                  <a:avLst/>
                  <a:gdLst/>
                  <a:ahLst/>
                  <a:cxnLst>
                    <a:cxn ang="0">
                      <a:pos x="207" y="101"/>
                    </a:cxn>
                    <a:cxn ang="0">
                      <a:pos x="30" y="0"/>
                    </a:cxn>
                    <a:cxn ang="0">
                      <a:pos x="101" y="114"/>
                    </a:cxn>
                    <a:cxn ang="0">
                      <a:pos x="0" y="152"/>
                    </a:cxn>
                    <a:cxn ang="0">
                      <a:pos x="126" y="138"/>
                    </a:cxn>
                    <a:cxn ang="0">
                      <a:pos x="252" y="126"/>
                    </a:cxn>
                    <a:cxn ang="0">
                      <a:pos x="223" y="92"/>
                    </a:cxn>
                  </a:cxnLst>
                  <a:rect l="0" t="0" r="r" b="b"/>
                  <a:pathLst>
                    <a:path w="252" h="199">
                      <a:moveTo>
                        <a:pt x="207" y="101"/>
                      </a:moveTo>
                      <a:cubicBezTo>
                        <a:pt x="131" y="101"/>
                        <a:pt x="92" y="34"/>
                        <a:pt x="30" y="0"/>
                      </a:cubicBezTo>
                      <a:cubicBezTo>
                        <a:pt x="40" y="43"/>
                        <a:pt x="84" y="73"/>
                        <a:pt x="101" y="114"/>
                      </a:cubicBezTo>
                      <a:cubicBezTo>
                        <a:pt x="70" y="130"/>
                        <a:pt x="38" y="157"/>
                        <a:pt x="0" y="152"/>
                      </a:cubicBezTo>
                      <a:cubicBezTo>
                        <a:pt x="11" y="199"/>
                        <a:pt x="102" y="157"/>
                        <a:pt x="126" y="138"/>
                      </a:cubicBezTo>
                      <a:cubicBezTo>
                        <a:pt x="175" y="100"/>
                        <a:pt x="199" y="115"/>
                        <a:pt x="252" y="126"/>
                      </a:cubicBezTo>
                      <a:cubicBezTo>
                        <a:pt x="250" y="111"/>
                        <a:pt x="236" y="100"/>
                        <a:pt x="223" y="9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0" name="Freeform 139"/>
                <p:cNvSpPr>
                  <a:spLocks/>
                </p:cNvSpPr>
                <p:nvPr/>
              </p:nvSpPr>
              <p:spPr bwMode="gray">
                <a:xfrm>
                  <a:off x="-3349625" y="-15114587"/>
                  <a:ext cx="498475" cy="495300"/>
                </a:xfrm>
                <a:custGeom>
                  <a:avLst/>
                  <a:gdLst/>
                  <a:ahLst/>
                  <a:cxnLst>
                    <a:cxn ang="0">
                      <a:pos x="0" y="13"/>
                    </a:cxn>
                    <a:cxn ang="0">
                      <a:pos x="126" y="126"/>
                    </a:cxn>
                    <a:cxn ang="0">
                      <a:pos x="66" y="77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133" h="132">
                      <a:moveTo>
                        <a:pt x="0" y="13"/>
                      </a:moveTo>
                      <a:cubicBezTo>
                        <a:pt x="26" y="71"/>
                        <a:pt x="52" y="132"/>
                        <a:pt x="126" y="126"/>
                      </a:cubicBezTo>
                      <a:cubicBezTo>
                        <a:pt x="133" y="95"/>
                        <a:pt x="87" y="89"/>
                        <a:pt x="66" y="77"/>
                      </a:cubicBezTo>
                      <a:cubicBezTo>
                        <a:pt x="34" y="59"/>
                        <a:pt x="12" y="43"/>
                        <a:pt x="12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1" name="Freeform 140"/>
                <p:cNvSpPr>
                  <a:spLocks/>
                </p:cNvSpPr>
                <p:nvPr/>
              </p:nvSpPr>
              <p:spPr bwMode="gray">
                <a:xfrm>
                  <a:off x="-3035300" y="-11566525"/>
                  <a:ext cx="304800" cy="600075"/>
                </a:xfrm>
                <a:custGeom>
                  <a:avLst/>
                  <a:gdLst/>
                  <a:ahLst/>
                  <a:cxnLst>
                    <a:cxn ang="0">
                      <a:pos x="72" y="55"/>
                    </a:cxn>
                    <a:cxn ang="0">
                      <a:pos x="76" y="151"/>
                    </a:cxn>
                    <a:cxn ang="0">
                      <a:pos x="4" y="80"/>
                    </a:cxn>
                    <a:cxn ang="0">
                      <a:pos x="68" y="68"/>
                    </a:cxn>
                  </a:cxnLst>
                  <a:rect l="0" t="0" r="r" b="b"/>
                  <a:pathLst>
                    <a:path w="81" h="160">
                      <a:moveTo>
                        <a:pt x="72" y="55"/>
                      </a:moveTo>
                      <a:cubicBezTo>
                        <a:pt x="61" y="108"/>
                        <a:pt x="27" y="104"/>
                        <a:pt x="76" y="151"/>
                      </a:cubicBezTo>
                      <a:cubicBezTo>
                        <a:pt x="37" y="160"/>
                        <a:pt x="0" y="117"/>
                        <a:pt x="4" y="80"/>
                      </a:cubicBezTo>
                      <a:cubicBezTo>
                        <a:pt x="10" y="31"/>
                        <a:pt x="81" y="0"/>
                        <a:pt x="68" y="6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2" name="Freeform 141"/>
                <p:cNvSpPr>
                  <a:spLocks/>
                </p:cNvSpPr>
                <p:nvPr/>
              </p:nvSpPr>
              <p:spPr bwMode="gray">
                <a:xfrm>
                  <a:off x="-1174750" y="-15687675"/>
                  <a:ext cx="423863" cy="173038"/>
                </a:xfrm>
                <a:custGeom>
                  <a:avLst/>
                  <a:gdLst/>
                  <a:ahLst/>
                  <a:cxnLst>
                    <a:cxn ang="0">
                      <a:pos x="5" y="13"/>
                    </a:cxn>
                    <a:cxn ang="0">
                      <a:pos x="113" y="0"/>
                    </a:cxn>
                    <a:cxn ang="0">
                      <a:pos x="92" y="32"/>
                    </a:cxn>
                    <a:cxn ang="0">
                      <a:pos x="56" y="45"/>
                    </a:cxn>
                    <a:cxn ang="0">
                      <a:pos x="42" y="40"/>
                    </a:cxn>
                    <a:cxn ang="0">
                      <a:pos x="20" y="37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113" h="46">
                      <a:moveTo>
                        <a:pt x="5" y="13"/>
                      </a:moveTo>
                      <a:cubicBezTo>
                        <a:pt x="41" y="29"/>
                        <a:pt x="80" y="18"/>
                        <a:pt x="113" y="0"/>
                      </a:cubicBezTo>
                      <a:cubicBezTo>
                        <a:pt x="107" y="10"/>
                        <a:pt x="102" y="26"/>
                        <a:pt x="92" y="32"/>
                      </a:cubicBezTo>
                      <a:cubicBezTo>
                        <a:pt x="84" y="37"/>
                        <a:pt x="66" y="46"/>
                        <a:pt x="56" y="45"/>
                      </a:cubicBezTo>
                      <a:cubicBezTo>
                        <a:pt x="50" y="45"/>
                        <a:pt x="47" y="42"/>
                        <a:pt x="42" y="40"/>
                      </a:cubicBezTo>
                      <a:cubicBezTo>
                        <a:pt x="35" y="38"/>
                        <a:pt x="27" y="39"/>
                        <a:pt x="20" y="37"/>
                      </a:cubicBezTo>
                      <a:cubicBezTo>
                        <a:pt x="11" y="34"/>
                        <a:pt x="3" y="21"/>
                        <a:pt x="0" y="12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3" name="Freeform 142"/>
                <p:cNvSpPr>
                  <a:spLocks/>
                </p:cNvSpPr>
                <p:nvPr/>
              </p:nvSpPr>
              <p:spPr bwMode="gray">
                <a:xfrm>
                  <a:off x="-1246188" y="-11239500"/>
                  <a:ext cx="1897063" cy="614363"/>
                </a:xfrm>
                <a:custGeom>
                  <a:avLst/>
                  <a:gdLst/>
                  <a:ahLst/>
                  <a:cxnLst>
                    <a:cxn ang="0">
                      <a:pos x="433" y="0"/>
                    </a:cxn>
                    <a:cxn ang="0">
                      <a:pos x="331" y="121"/>
                    </a:cxn>
                    <a:cxn ang="0">
                      <a:pos x="135" y="122"/>
                    </a:cxn>
                    <a:cxn ang="0">
                      <a:pos x="17" y="73"/>
                    </a:cxn>
                    <a:cxn ang="0">
                      <a:pos x="95" y="95"/>
                    </a:cxn>
                  </a:cxnLst>
                  <a:rect l="0" t="0" r="r" b="b"/>
                  <a:pathLst>
                    <a:path w="506" h="164">
                      <a:moveTo>
                        <a:pt x="433" y="0"/>
                      </a:moveTo>
                      <a:cubicBezTo>
                        <a:pt x="506" y="50"/>
                        <a:pt x="358" y="108"/>
                        <a:pt x="331" y="121"/>
                      </a:cubicBezTo>
                      <a:cubicBezTo>
                        <a:pt x="253" y="160"/>
                        <a:pt x="212" y="126"/>
                        <a:pt x="135" y="122"/>
                      </a:cubicBezTo>
                      <a:cubicBezTo>
                        <a:pt x="91" y="119"/>
                        <a:pt x="0" y="164"/>
                        <a:pt x="17" y="73"/>
                      </a:cubicBezTo>
                      <a:cubicBezTo>
                        <a:pt x="48" y="50"/>
                        <a:pt x="76" y="69"/>
                        <a:pt x="95" y="9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4" name="Freeform 143"/>
                <p:cNvSpPr>
                  <a:spLocks/>
                </p:cNvSpPr>
                <p:nvPr/>
              </p:nvSpPr>
              <p:spPr bwMode="gray">
                <a:xfrm>
                  <a:off x="-825500" y="-11150600"/>
                  <a:ext cx="592138" cy="203200"/>
                </a:xfrm>
                <a:custGeom>
                  <a:avLst/>
                  <a:gdLst/>
                  <a:ahLst/>
                  <a:cxnLst>
                    <a:cxn ang="0">
                      <a:pos x="0" y="54"/>
                    </a:cxn>
                    <a:cxn ang="0">
                      <a:pos x="106" y="0"/>
                    </a:cxn>
                    <a:cxn ang="0">
                      <a:pos x="90" y="42"/>
                    </a:cxn>
                    <a:cxn ang="0">
                      <a:pos x="156" y="5"/>
                    </a:cxn>
                    <a:cxn ang="0">
                      <a:pos x="158" y="25"/>
                    </a:cxn>
                  </a:cxnLst>
                  <a:rect l="0" t="0" r="r" b="b"/>
                  <a:pathLst>
                    <a:path w="158" h="54">
                      <a:moveTo>
                        <a:pt x="0" y="54"/>
                      </a:moveTo>
                      <a:cubicBezTo>
                        <a:pt x="44" y="50"/>
                        <a:pt x="68" y="17"/>
                        <a:pt x="106" y="0"/>
                      </a:cubicBezTo>
                      <a:cubicBezTo>
                        <a:pt x="100" y="16"/>
                        <a:pt x="103" y="28"/>
                        <a:pt x="90" y="42"/>
                      </a:cubicBezTo>
                      <a:cubicBezTo>
                        <a:pt x="115" y="37"/>
                        <a:pt x="136" y="19"/>
                        <a:pt x="156" y="5"/>
                      </a:cubicBezTo>
                      <a:cubicBezTo>
                        <a:pt x="157" y="11"/>
                        <a:pt x="158" y="18"/>
                        <a:pt x="158" y="2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5" name="Freeform 144"/>
                <p:cNvSpPr>
                  <a:spLocks/>
                </p:cNvSpPr>
                <p:nvPr/>
              </p:nvSpPr>
              <p:spPr bwMode="gray">
                <a:xfrm>
                  <a:off x="-417513" y="-19359562"/>
                  <a:ext cx="180975" cy="488950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1" y="30"/>
                    </a:cxn>
                    <a:cxn ang="0">
                      <a:pos x="15" y="26"/>
                    </a:cxn>
                    <a:cxn ang="0">
                      <a:pos x="6" y="53"/>
                    </a:cxn>
                    <a:cxn ang="0">
                      <a:pos x="12" y="75"/>
                    </a:cxn>
                    <a:cxn ang="0">
                      <a:pos x="4" y="72"/>
                    </a:cxn>
                    <a:cxn ang="0">
                      <a:pos x="7" y="108"/>
                    </a:cxn>
                    <a:cxn ang="0">
                      <a:pos x="3" y="105"/>
                    </a:cxn>
                    <a:cxn ang="0">
                      <a:pos x="1" y="122"/>
                    </a:cxn>
                    <a:cxn ang="0">
                      <a:pos x="16" y="130"/>
                    </a:cxn>
                    <a:cxn ang="0">
                      <a:pos x="16" y="114"/>
                    </a:cxn>
                    <a:cxn ang="0">
                      <a:pos x="26" y="121"/>
                    </a:cxn>
                    <a:cxn ang="0">
                      <a:pos x="27" y="100"/>
                    </a:cxn>
                    <a:cxn ang="0">
                      <a:pos x="34" y="105"/>
                    </a:cxn>
                    <a:cxn ang="0">
                      <a:pos x="34" y="69"/>
                    </a:cxn>
                    <a:cxn ang="0">
                      <a:pos x="48" y="78"/>
                    </a:cxn>
                    <a:cxn ang="0">
                      <a:pos x="39" y="48"/>
                    </a:cxn>
                    <a:cxn ang="0">
                      <a:pos x="37" y="23"/>
                    </a:cxn>
                    <a:cxn ang="0">
                      <a:pos x="42" y="23"/>
                    </a:cxn>
                    <a:cxn ang="0">
                      <a:pos x="40" y="13"/>
                    </a:cxn>
                    <a:cxn ang="0">
                      <a:pos x="33" y="8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48" h="130">
                      <a:moveTo>
                        <a:pt x="12" y="0"/>
                      </a:moveTo>
                      <a:cubicBezTo>
                        <a:pt x="22" y="7"/>
                        <a:pt x="21" y="18"/>
                        <a:pt x="21" y="30"/>
                      </a:cubicBezTo>
                      <a:cubicBezTo>
                        <a:pt x="19" y="29"/>
                        <a:pt x="17" y="28"/>
                        <a:pt x="15" y="26"/>
                      </a:cubicBezTo>
                      <a:cubicBezTo>
                        <a:pt x="14" y="30"/>
                        <a:pt x="20" y="66"/>
                        <a:pt x="6" y="53"/>
                      </a:cubicBezTo>
                      <a:cubicBezTo>
                        <a:pt x="6" y="61"/>
                        <a:pt x="8" y="68"/>
                        <a:pt x="12" y="75"/>
                      </a:cubicBezTo>
                      <a:cubicBezTo>
                        <a:pt x="9" y="76"/>
                        <a:pt x="7" y="74"/>
                        <a:pt x="4" y="72"/>
                      </a:cubicBezTo>
                      <a:cubicBezTo>
                        <a:pt x="3" y="84"/>
                        <a:pt x="5" y="97"/>
                        <a:pt x="7" y="108"/>
                      </a:cubicBezTo>
                      <a:cubicBezTo>
                        <a:pt x="6" y="107"/>
                        <a:pt x="5" y="107"/>
                        <a:pt x="3" y="105"/>
                      </a:cubicBezTo>
                      <a:cubicBezTo>
                        <a:pt x="3" y="113"/>
                        <a:pt x="0" y="115"/>
                        <a:pt x="1" y="122"/>
                      </a:cubicBezTo>
                      <a:cubicBezTo>
                        <a:pt x="5" y="124"/>
                        <a:pt x="11" y="127"/>
                        <a:pt x="16" y="130"/>
                      </a:cubicBezTo>
                      <a:cubicBezTo>
                        <a:pt x="16" y="125"/>
                        <a:pt x="16" y="120"/>
                        <a:pt x="16" y="114"/>
                      </a:cubicBezTo>
                      <a:cubicBezTo>
                        <a:pt x="19" y="116"/>
                        <a:pt x="22" y="119"/>
                        <a:pt x="26" y="121"/>
                      </a:cubicBezTo>
                      <a:cubicBezTo>
                        <a:pt x="26" y="114"/>
                        <a:pt x="27" y="107"/>
                        <a:pt x="27" y="100"/>
                      </a:cubicBezTo>
                      <a:cubicBezTo>
                        <a:pt x="30" y="101"/>
                        <a:pt x="32" y="103"/>
                        <a:pt x="34" y="105"/>
                      </a:cubicBezTo>
                      <a:cubicBezTo>
                        <a:pt x="39" y="97"/>
                        <a:pt x="35" y="78"/>
                        <a:pt x="34" y="69"/>
                      </a:cubicBezTo>
                      <a:cubicBezTo>
                        <a:pt x="35" y="73"/>
                        <a:pt x="44" y="76"/>
                        <a:pt x="48" y="78"/>
                      </a:cubicBezTo>
                      <a:cubicBezTo>
                        <a:pt x="48" y="68"/>
                        <a:pt x="40" y="59"/>
                        <a:pt x="39" y="48"/>
                      </a:cubicBezTo>
                      <a:cubicBezTo>
                        <a:pt x="46" y="47"/>
                        <a:pt x="38" y="28"/>
                        <a:pt x="37" y="23"/>
                      </a:cubicBezTo>
                      <a:cubicBezTo>
                        <a:pt x="38" y="23"/>
                        <a:pt x="40" y="23"/>
                        <a:pt x="42" y="23"/>
                      </a:cubicBezTo>
                      <a:cubicBezTo>
                        <a:pt x="42" y="23"/>
                        <a:pt x="40" y="14"/>
                        <a:pt x="40" y="13"/>
                      </a:cubicBezTo>
                      <a:cubicBezTo>
                        <a:pt x="38" y="11"/>
                        <a:pt x="36" y="9"/>
                        <a:pt x="33" y="8"/>
                      </a:cubicBezTo>
                      <a:cubicBezTo>
                        <a:pt x="28" y="5"/>
                        <a:pt x="17" y="1"/>
                        <a:pt x="12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6" name="Freeform 145"/>
                <p:cNvSpPr>
                  <a:spLocks/>
                </p:cNvSpPr>
                <p:nvPr/>
              </p:nvSpPr>
              <p:spPr bwMode="gray">
                <a:xfrm>
                  <a:off x="-95250" y="-19073812"/>
                  <a:ext cx="184150" cy="14509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9" y="38"/>
                    </a:cxn>
                    <a:cxn ang="0">
                      <a:pos x="22" y="74"/>
                    </a:cxn>
                    <a:cxn ang="0">
                      <a:pos x="32" y="176"/>
                    </a:cxn>
                    <a:cxn ang="0">
                      <a:pos x="26" y="162"/>
                    </a:cxn>
                    <a:cxn ang="0">
                      <a:pos x="25" y="188"/>
                    </a:cxn>
                    <a:cxn ang="0">
                      <a:pos x="25" y="222"/>
                    </a:cxn>
                    <a:cxn ang="0">
                      <a:pos x="15" y="250"/>
                    </a:cxn>
                    <a:cxn ang="0">
                      <a:pos x="19" y="273"/>
                    </a:cxn>
                    <a:cxn ang="0">
                      <a:pos x="14" y="252"/>
                    </a:cxn>
                    <a:cxn ang="0">
                      <a:pos x="11" y="328"/>
                    </a:cxn>
                    <a:cxn ang="0">
                      <a:pos x="8" y="362"/>
                    </a:cxn>
                    <a:cxn ang="0">
                      <a:pos x="2" y="387"/>
                    </a:cxn>
                    <a:cxn ang="0">
                      <a:pos x="21" y="363"/>
                    </a:cxn>
                    <a:cxn ang="0">
                      <a:pos x="31" y="328"/>
                    </a:cxn>
                    <a:cxn ang="0">
                      <a:pos x="34" y="285"/>
                    </a:cxn>
                    <a:cxn ang="0">
                      <a:pos x="38" y="241"/>
                    </a:cxn>
                    <a:cxn ang="0">
                      <a:pos x="45" y="196"/>
                    </a:cxn>
                    <a:cxn ang="0">
                      <a:pos x="46" y="157"/>
                    </a:cxn>
                    <a:cxn ang="0">
                      <a:pos x="43" y="117"/>
                    </a:cxn>
                    <a:cxn ang="0">
                      <a:pos x="36" y="8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9" h="387">
                      <a:moveTo>
                        <a:pt x="1" y="0"/>
                      </a:moveTo>
                      <a:cubicBezTo>
                        <a:pt x="0" y="12"/>
                        <a:pt x="8" y="27"/>
                        <a:pt x="9" y="38"/>
                      </a:cubicBezTo>
                      <a:cubicBezTo>
                        <a:pt x="11" y="50"/>
                        <a:pt x="18" y="62"/>
                        <a:pt x="22" y="74"/>
                      </a:cubicBezTo>
                      <a:cubicBezTo>
                        <a:pt x="33" y="104"/>
                        <a:pt x="38" y="143"/>
                        <a:pt x="32" y="176"/>
                      </a:cubicBezTo>
                      <a:cubicBezTo>
                        <a:pt x="31" y="171"/>
                        <a:pt x="26" y="168"/>
                        <a:pt x="26" y="162"/>
                      </a:cubicBezTo>
                      <a:cubicBezTo>
                        <a:pt x="27" y="171"/>
                        <a:pt x="25" y="180"/>
                        <a:pt x="25" y="188"/>
                      </a:cubicBezTo>
                      <a:cubicBezTo>
                        <a:pt x="25" y="199"/>
                        <a:pt x="27" y="212"/>
                        <a:pt x="25" y="222"/>
                      </a:cubicBezTo>
                      <a:cubicBezTo>
                        <a:pt x="23" y="231"/>
                        <a:pt x="16" y="241"/>
                        <a:pt x="15" y="250"/>
                      </a:cubicBezTo>
                      <a:cubicBezTo>
                        <a:pt x="14" y="258"/>
                        <a:pt x="17" y="266"/>
                        <a:pt x="19" y="273"/>
                      </a:cubicBezTo>
                      <a:cubicBezTo>
                        <a:pt x="19" y="267"/>
                        <a:pt x="16" y="258"/>
                        <a:pt x="14" y="252"/>
                      </a:cubicBezTo>
                      <a:cubicBezTo>
                        <a:pt x="2" y="276"/>
                        <a:pt x="11" y="303"/>
                        <a:pt x="11" y="328"/>
                      </a:cubicBezTo>
                      <a:cubicBezTo>
                        <a:pt x="11" y="340"/>
                        <a:pt x="10" y="351"/>
                        <a:pt x="8" y="362"/>
                      </a:cubicBezTo>
                      <a:cubicBezTo>
                        <a:pt x="7" y="370"/>
                        <a:pt x="6" y="380"/>
                        <a:pt x="2" y="387"/>
                      </a:cubicBezTo>
                      <a:cubicBezTo>
                        <a:pt x="7" y="378"/>
                        <a:pt x="17" y="373"/>
                        <a:pt x="21" y="363"/>
                      </a:cubicBezTo>
                      <a:cubicBezTo>
                        <a:pt x="26" y="351"/>
                        <a:pt x="29" y="340"/>
                        <a:pt x="31" y="328"/>
                      </a:cubicBezTo>
                      <a:cubicBezTo>
                        <a:pt x="33" y="314"/>
                        <a:pt x="32" y="299"/>
                        <a:pt x="34" y="285"/>
                      </a:cubicBezTo>
                      <a:cubicBezTo>
                        <a:pt x="35" y="270"/>
                        <a:pt x="38" y="256"/>
                        <a:pt x="38" y="241"/>
                      </a:cubicBezTo>
                      <a:cubicBezTo>
                        <a:pt x="39" y="226"/>
                        <a:pt x="41" y="210"/>
                        <a:pt x="45" y="196"/>
                      </a:cubicBezTo>
                      <a:cubicBezTo>
                        <a:pt x="49" y="182"/>
                        <a:pt x="46" y="172"/>
                        <a:pt x="46" y="157"/>
                      </a:cubicBezTo>
                      <a:cubicBezTo>
                        <a:pt x="46" y="143"/>
                        <a:pt x="46" y="131"/>
                        <a:pt x="43" y="117"/>
                      </a:cubicBezTo>
                      <a:cubicBezTo>
                        <a:pt x="42" y="106"/>
                        <a:pt x="40" y="92"/>
                        <a:pt x="36" y="81"/>
                      </a:cubicBezTo>
                      <a:cubicBezTo>
                        <a:pt x="30" y="67"/>
                        <a:pt x="9" y="10"/>
                        <a:pt x="1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7" name="Freeform 146"/>
                <p:cNvSpPr>
                  <a:spLocks/>
                </p:cNvSpPr>
                <p:nvPr/>
              </p:nvSpPr>
              <p:spPr bwMode="gray">
                <a:xfrm>
                  <a:off x="-2160588" y="-18788062"/>
                  <a:ext cx="220663" cy="557213"/>
                </a:xfrm>
                <a:custGeom>
                  <a:avLst/>
                  <a:gdLst/>
                  <a:ahLst/>
                  <a:cxnLst>
                    <a:cxn ang="0">
                      <a:pos x="59" y="142"/>
                    </a:cxn>
                    <a:cxn ang="0">
                      <a:pos x="50" y="113"/>
                    </a:cxn>
                    <a:cxn ang="0">
                      <a:pos x="54" y="79"/>
                    </a:cxn>
                    <a:cxn ang="0">
                      <a:pos x="39" y="97"/>
                    </a:cxn>
                    <a:cxn ang="0">
                      <a:pos x="38" y="63"/>
                    </a:cxn>
                    <a:cxn ang="0">
                      <a:pos x="18" y="73"/>
                    </a:cxn>
                    <a:cxn ang="0">
                      <a:pos x="21" y="0"/>
                    </a:cxn>
                    <a:cxn ang="0">
                      <a:pos x="2" y="34"/>
                    </a:cxn>
                    <a:cxn ang="0">
                      <a:pos x="1" y="72"/>
                    </a:cxn>
                    <a:cxn ang="0">
                      <a:pos x="14" y="106"/>
                    </a:cxn>
                    <a:cxn ang="0">
                      <a:pos x="22" y="122"/>
                    </a:cxn>
                    <a:cxn ang="0">
                      <a:pos x="29" y="140"/>
                    </a:cxn>
                    <a:cxn ang="0">
                      <a:pos x="38" y="147"/>
                    </a:cxn>
                    <a:cxn ang="0">
                      <a:pos x="38" y="149"/>
                    </a:cxn>
                    <a:cxn ang="0">
                      <a:pos x="49" y="144"/>
                    </a:cxn>
                    <a:cxn ang="0">
                      <a:pos x="59" y="142"/>
                    </a:cxn>
                  </a:cxnLst>
                  <a:rect l="0" t="0" r="r" b="b"/>
                  <a:pathLst>
                    <a:path w="59" h="149">
                      <a:moveTo>
                        <a:pt x="59" y="142"/>
                      </a:moveTo>
                      <a:cubicBezTo>
                        <a:pt x="57" y="132"/>
                        <a:pt x="50" y="124"/>
                        <a:pt x="50" y="113"/>
                      </a:cubicBezTo>
                      <a:cubicBezTo>
                        <a:pt x="49" y="101"/>
                        <a:pt x="52" y="90"/>
                        <a:pt x="54" y="79"/>
                      </a:cubicBezTo>
                      <a:cubicBezTo>
                        <a:pt x="46" y="78"/>
                        <a:pt x="38" y="90"/>
                        <a:pt x="39" y="97"/>
                      </a:cubicBezTo>
                      <a:cubicBezTo>
                        <a:pt x="34" y="86"/>
                        <a:pt x="31" y="73"/>
                        <a:pt x="38" y="63"/>
                      </a:cubicBezTo>
                      <a:cubicBezTo>
                        <a:pt x="29" y="59"/>
                        <a:pt x="23" y="68"/>
                        <a:pt x="18" y="73"/>
                      </a:cubicBezTo>
                      <a:cubicBezTo>
                        <a:pt x="11" y="49"/>
                        <a:pt x="16" y="24"/>
                        <a:pt x="21" y="0"/>
                      </a:cubicBezTo>
                      <a:cubicBezTo>
                        <a:pt x="9" y="4"/>
                        <a:pt x="3" y="23"/>
                        <a:pt x="2" y="34"/>
                      </a:cubicBezTo>
                      <a:cubicBezTo>
                        <a:pt x="1" y="46"/>
                        <a:pt x="0" y="61"/>
                        <a:pt x="1" y="72"/>
                      </a:cubicBezTo>
                      <a:cubicBezTo>
                        <a:pt x="3" y="85"/>
                        <a:pt x="7" y="95"/>
                        <a:pt x="14" y="106"/>
                      </a:cubicBezTo>
                      <a:cubicBezTo>
                        <a:pt x="17" y="111"/>
                        <a:pt x="20" y="117"/>
                        <a:pt x="22" y="122"/>
                      </a:cubicBezTo>
                      <a:cubicBezTo>
                        <a:pt x="25" y="127"/>
                        <a:pt x="26" y="135"/>
                        <a:pt x="29" y="140"/>
                      </a:cubicBezTo>
                      <a:cubicBezTo>
                        <a:pt x="31" y="144"/>
                        <a:pt x="34" y="146"/>
                        <a:pt x="38" y="147"/>
                      </a:cubicBezTo>
                      <a:cubicBezTo>
                        <a:pt x="38" y="148"/>
                        <a:pt x="38" y="148"/>
                        <a:pt x="38" y="149"/>
                      </a:cubicBezTo>
                      <a:cubicBezTo>
                        <a:pt x="43" y="149"/>
                        <a:pt x="45" y="146"/>
                        <a:pt x="49" y="144"/>
                      </a:cubicBezTo>
                      <a:cubicBezTo>
                        <a:pt x="52" y="143"/>
                        <a:pt x="57" y="142"/>
                        <a:pt x="59" y="142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8" name="Freeform 147"/>
                <p:cNvSpPr>
                  <a:spLocks/>
                </p:cNvSpPr>
                <p:nvPr/>
              </p:nvSpPr>
              <p:spPr bwMode="gray">
                <a:xfrm>
                  <a:off x="-2044700" y="-19318287"/>
                  <a:ext cx="280988" cy="176213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75" y="1"/>
                    </a:cxn>
                    <a:cxn ang="0">
                      <a:pos x="58" y="18"/>
                    </a:cxn>
                    <a:cxn ang="0">
                      <a:pos x="40" y="34"/>
                    </a:cxn>
                    <a:cxn ang="0">
                      <a:pos x="0" y="38"/>
                    </a:cxn>
                  </a:cxnLst>
                  <a:rect l="0" t="0" r="r" b="b"/>
                  <a:pathLst>
                    <a:path w="75" h="47">
                      <a:moveTo>
                        <a:pt x="0" y="38"/>
                      </a:moveTo>
                      <a:cubicBezTo>
                        <a:pt x="20" y="17"/>
                        <a:pt x="45" y="0"/>
                        <a:pt x="75" y="1"/>
                      </a:cubicBezTo>
                      <a:cubicBezTo>
                        <a:pt x="75" y="7"/>
                        <a:pt x="62" y="15"/>
                        <a:pt x="58" y="18"/>
                      </a:cubicBezTo>
                      <a:cubicBezTo>
                        <a:pt x="52" y="23"/>
                        <a:pt x="46" y="28"/>
                        <a:pt x="40" y="34"/>
                      </a:cubicBezTo>
                      <a:cubicBezTo>
                        <a:pt x="27" y="47"/>
                        <a:pt x="16" y="38"/>
                        <a:pt x="0" y="3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39" name="Freeform 148"/>
                <p:cNvSpPr>
                  <a:spLocks/>
                </p:cNvSpPr>
                <p:nvPr/>
              </p:nvSpPr>
              <p:spPr bwMode="gray">
                <a:xfrm>
                  <a:off x="-1789113" y="-19535775"/>
                  <a:ext cx="295275" cy="117475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39" y="16"/>
                    </a:cxn>
                    <a:cxn ang="0">
                      <a:pos x="79" y="0"/>
                    </a:cxn>
                    <a:cxn ang="0">
                      <a:pos x="55" y="14"/>
                    </a:cxn>
                    <a:cxn ang="0">
                      <a:pos x="41" y="20"/>
                    </a:cxn>
                    <a:cxn ang="0">
                      <a:pos x="13" y="2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79" h="31">
                      <a:moveTo>
                        <a:pt x="0" y="10"/>
                      </a:moveTo>
                      <a:cubicBezTo>
                        <a:pt x="5" y="19"/>
                        <a:pt x="31" y="17"/>
                        <a:pt x="39" y="16"/>
                      </a:cubicBezTo>
                      <a:cubicBezTo>
                        <a:pt x="53" y="13"/>
                        <a:pt x="66" y="4"/>
                        <a:pt x="79" y="0"/>
                      </a:cubicBezTo>
                      <a:cubicBezTo>
                        <a:pt x="77" y="5"/>
                        <a:pt x="61" y="11"/>
                        <a:pt x="55" y="14"/>
                      </a:cubicBezTo>
                      <a:cubicBezTo>
                        <a:pt x="51" y="17"/>
                        <a:pt x="46" y="18"/>
                        <a:pt x="41" y="20"/>
                      </a:cubicBezTo>
                      <a:cubicBezTo>
                        <a:pt x="33" y="24"/>
                        <a:pt x="23" y="31"/>
                        <a:pt x="13" y="29"/>
                      </a:cubicBezTo>
                      <a:cubicBezTo>
                        <a:pt x="10" y="22"/>
                        <a:pt x="7" y="14"/>
                        <a:pt x="0" y="11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340" name="Freeform 149"/>
                <p:cNvSpPr>
                  <a:spLocks/>
                </p:cNvSpPr>
                <p:nvPr/>
              </p:nvSpPr>
              <p:spPr bwMode="gray">
                <a:xfrm>
                  <a:off x="-2052638" y="-19335750"/>
                  <a:ext cx="652463" cy="704850"/>
                </a:xfrm>
                <a:custGeom>
                  <a:avLst/>
                  <a:gdLst/>
                  <a:ahLst/>
                  <a:cxnLst>
                    <a:cxn ang="0">
                      <a:pos x="42" y="93"/>
                    </a:cxn>
                    <a:cxn ang="0">
                      <a:pos x="94" y="38"/>
                    </a:cxn>
                    <a:cxn ang="0">
                      <a:pos x="174" y="20"/>
                    </a:cxn>
                    <a:cxn ang="0">
                      <a:pos x="117" y="11"/>
                    </a:cxn>
                    <a:cxn ang="0">
                      <a:pos x="152" y="7"/>
                    </a:cxn>
                    <a:cxn ang="0">
                      <a:pos x="0" y="160"/>
                    </a:cxn>
                    <a:cxn ang="0">
                      <a:pos x="11" y="142"/>
                    </a:cxn>
                    <a:cxn ang="0">
                      <a:pos x="14" y="188"/>
                    </a:cxn>
                    <a:cxn ang="0">
                      <a:pos x="76" y="74"/>
                    </a:cxn>
                  </a:cxnLst>
                  <a:rect l="0" t="0" r="r" b="b"/>
                  <a:pathLst>
                    <a:path w="174" h="188">
                      <a:moveTo>
                        <a:pt x="42" y="93"/>
                      </a:moveTo>
                      <a:cubicBezTo>
                        <a:pt x="64" y="80"/>
                        <a:pt x="71" y="52"/>
                        <a:pt x="94" y="38"/>
                      </a:cubicBezTo>
                      <a:cubicBezTo>
                        <a:pt x="120" y="21"/>
                        <a:pt x="148" y="30"/>
                        <a:pt x="174" y="20"/>
                      </a:cubicBezTo>
                      <a:cubicBezTo>
                        <a:pt x="164" y="5"/>
                        <a:pt x="134" y="6"/>
                        <a:pt x="117" y="11"/>
                      </a:cubicBezTo>
                      <a:cubicBezTo>
                        <a:pt x="128" y="11"/>
                        <a:pt x="140" y="9"/>
                        <a:pt x="152" y="7"/>
                      </a:cubicBezTo>
                      <a:cubicBezTo>
                        <a:pt x="65" y="0"/>
                        <a:pt x="0" y="79"/>
                        <a:pt x="0" y="160"/>
                      </a:cubicBezTo>
                      <a:cubicBezTo>
                        <a:pt x="2" y="148"/>
                        <a:pt x="3" y="151"/>
                        <a:pt x="11" y="142"/>
                      </a:cubicBezTo>
                      <a:cubicBezTo>
                        <a:pt x="12" y="158"/>
                        <a:pt x="4" y="174"/>
                        <a:pt x="14" y="188"/>
                      </a:cubicBezTo>
                      <a:cubicBezTo>
                        <a:pt x="24" y="154"/>
                        <a:pt x="39" y="86"/>
                        <a:pt x="76" y="74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255872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odel of a two-step Communication / Information transmission by mass media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Communication </a:t>
            </a:r>
            <a:r>
              <a:rPr lang="en-US" b="0" noProof="1" smtClean="0"/>
              <a:t>- Two Step Model</a:t>
            </a:r>
          </a:p>
        </p:txBody>
      </p:sp>
      <p:grpSp>
        <p:nvGrpSpPr>
          <p:cNvPr id="2" name="Gruppieren 338"/>
          <p:cNvGrpSpPr/>
          <p:nvPr/>
        </p:nvGrpSpPr>
        <p:grpSpPr>
          <a:xfrm>
            <a:off x="306757" y="1570473"/>
            <a:ext cx="8709164" cy="4397596"/>
            <a:chOff x="306757" y="1570473"/>
            <a:chExt cx="8709164" cy="4397596"/>
          </a:xfrm>
        </p:grpSpPr>
        <p:grpSp>
          <p:nvGrpSpPr>
            <p:cNvPr id="3" name="Gruppieren 994"/>
            <p:cNvGrpSpPr/>
            <p:nvPr/>
          </p:nvGrpSpPr>
          <p:grpSpPr bwMode="gray">
            <a:xfrm>
              <a:off x="7177541" y="1675217"/>
              <a:ext cx="963221" cy="1777354"/>
              <a:chOff x="7044191" y="1675217"/>
              <a:chExt cx="963221" cy="1777354"/>
            </a:xfrm>
          </p:grpSpPr>
          <p:pic>
            <p:nvPicPr>
              <p:cNvPr id="99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7044191" y="3057822"/>
                <a:ext cx="963221" cy="394749"/>
              </a:xfrm>
              <a:prstGeom prst="rect">
                <a:avLst/>
              </a:prstGeom>
              <a:noFill/>
            </p:spPr>
          </p:pic>
          <p:grpSp>
            <p:nvGrpSpPr>
              <p:cNvPr id="4" name="Gruppieren 947"/>
              <p:cNvGrpSpPr/>
              <p:nvPr/>
            </p:nvGrpSpPr>
            <p:grpSpPr bwMode="gray">
              <a:xfrm>
                <a:off x="7321285" y="1675217"/>
                <a:ext cx="422675" cy="1632401"/>
                <a:chOff x="15849600" y="5499101"/>
                <a:chExt cx="5478462" cy="21158200"/>
              </a:xfrm>
            </p:grpSpPr>
            <p:sp>
              <p:nvSpPr>
                <p:cNvPr id="949" name="Freeform 346"/>
                <p:cNvSpPr>
                  <a:spLocks/>
                </p:cNvSpPr>
                <p:nvPr/>
              </p:nvSpPr>
              <p:spPr bwMode="gray">
                <a:xfrm>
                  <a:off x="17341850" y="15898813"/>
                  <a:ext cx="3443288" cy="4878388"/>
                </a:xfrm>
                <a:custGeom>
                  <a:avLst/>
                  <a:gdLst/>
                  <a:ahLst/>
                  <a:cxnLst>
                    <a:cxn ang="0">
                      <a:pos x="0" y="1226"/>
                    </a:cxn>
                    <a:cxn ang="0">
                      <a:pos x="513" y="1294"/>
                    </a:cxn>
                    <a:cxn ang="0">
                      <a:pos x="762" y="1286"/>
                    </a:cxn>
                    <a:cxn ang="0">
                      <a:pos x="871" y="1202"/>
                    </a:cxn>
                    <a:cxn ang="0">
                      <a:pos x="904" y="1174"/>
                    </a:cxn>
                    <a:cxn ang="0">
                      <a:pos x="904" y="1004"/>
                    </a:cxn>
                    <a:cxn ang="0">
                      <a:pos x="866" y="652"/>
                    </a:cxn>
                    <a:cxn ang="0">
                      <a:pos x="795" y="271"/>
                    </a:cxn>
                    <a:cxn ang="0">
                      <a:pos x="755" y="131"/>
                    </a:cxn>
                    <a:cxn ang="0">
                      <a:pos x="690" y="19"/>
                    </a:cxn>
                    <a:cxn ang="0">
                      <a:pos x="295" y="0"/>
                    </a:cxn>
                    <a:cxn ang="0">
                      <a:pos x="193" y="49"/>
                    </a:cxn>
                    <a:cxn ang="0">
                      <a:pos x="89" y="484"/>
                    </a:cxn>
                    <a:cxn ang="0">
                      <a:pos x="85" y="693"/>
                    </a:cxn>
                    <a:cxn ang="0">
                      <a:pos x="60" y="887"/>
                    </a:cxn>
                    <a:cxn ang="0">
                      <a:pos x="57" y="1065"/>
                    </a:cxn>
                    <a:cxn ang="0">
                      <a:pos x="69" y="1210"/>
                    </a:cxn>
                  </a:cxnLst>
                  <a:rect l="0" t="0" r="r" b="b"/>
                  <a:pathLst>
                    <a:path w="918" h="1301">
                      <a:moveTo>
                        <a:pt x="0" y="1226"/>
                      </a:moveTo>
                      <a:cubicBezTo>
                        <a:pt x="131" y="1266"/>
                        <a:pt x="372" y="1301"/>
                        <a:pt x="513" y="1294"/>
                      </a:cubicBezTo>
                      <a:cubicBezTo>
                        <a:pt x="592" y="1290"/>
                        <a:pt x="685" y="1301"/>
                        <a:pt x="762" y="1286"/>
                      </a:cubicBezTo>
                      <a:cubicBezTo>
                        <a:pt x="795" y="1280"/>
                        <a:pt x="838" y="1212"/>
                        <a:pt x="871" y="1202"/>
                      </a:cubicBezTo>
                      <a:cubicBezTo>
                        <a:pt x="898" y="1193"/>
                        <a:pt x="894" y="1200"/>
                        <a:pt x="904" y="1174"/>
                      </a:cubicBezTo>
                      <a:cubicBezTo>
                        <a:pt x="918" y="1133"/>
                        <a:pt x="905" y="1047"/>
                        <a:pt x="904" y="1004"/>
                      </a:cubicBezTo>
                      <a:cubicBezTo>
                        <a:pt x="900" y="887"/>
                        <a:pt x="880" y="767"/>
                        <a:pt x="866" y="652"/>
                      </a:cubicBezTo>
                      <a:cubicBezTo>
                        <a:pt x="852" y="530"/>
                        <a:pt x="842" y="383"/>
                        <a:pt x="795" y="271"/>
                      </a:cubicBezTo>
                      <a:cubicBezTo>
                        <a:pt x="777" y="228"/>
                        <a:pt x="766" y="178"/>
                        <a:pt x="755" y="131"/>
                      </a:cubicBezTo>
                      <a:cubicBezTo>
                        <a:pt x="742" y="75"/>
                        <a:pt x="756" y="26"/>
                        <a:pt x="690" y="19"/>
                      </a:cubicBezTo>
                      <a:cubicBezTo>
                        <a:pt x="558" y="6"/>
                        <a:pt x="427" y="1"/>
                        <a:pt x="295" y="0"/>
                      </a:cubicBezTo>
                      <a:cubicBezTo>
                        <a:pt x="246" y="0"/>
                        <a:pt x="214" y="3"/>
                        <a:pt x="193" y="49"/>
                      </a:cubicBezTo>
                      <a:cubicBezTo>
                        <a:pt x="134" y="185"/>
                        <a:pt x="107" y="336"/>
                        <a:pt x="89" y="484"/>
                      </a:cubicBezTo>
                      <a:cubicBezTo>
                        <a:pt x="81" y="552"/>
                        <a:pt x="86" y="623"/>
                        <a:pt x="85" y="693"/>
                      </a:cubicBezTo>
                      <a:cubicBezTo>
                        <a:pt x="85" y="760"/>
                        <a:pt x="67" y="821"/>
                        <a:pt x="60" y="887"/>
                      </a:cubicBezTo>
                      <a:cubicBezTo>
                        <a:pt x="54" y="947"/>
                        <a:pt x="51" y="1005"/>
                        <a:pt x="57" y="1065"/>
                      </a:cubicBezTo>
                      <a:cubicBezTo>
                        <a:pt x="61" y="1111"/>
                        <a:pt x="72" y="1165"/>
                        <a:pt x="69" y="1210"/>
                      </a:cubicBezTo>
                    </a:path>
                  </a:pathLst>
                </a:custGeom>
                <a:solidFill>
                  <a:srgbClr val="00000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0" name="Freeform 347"/>
                <p:cNvSpPr>
                  <a:spLocks/>
                </p:cNvSpPr>
                <p:nvPr/>
              </p:nvSpPr>
              <p:spPr bwMode="gray">
                <a:xfrm>
                  <a:off x="16719550" y="15301913"/>
                  <a:ext cx="2633663" cy="10912475"/>
                </a:xfrm>
                <a:custGeom>
                  <a:avLst/>
                  <a:gdLst/>
                  <a:ahLst/>
                  <a:cxnLst>
                    <a:cxn ang="0">
                      <a:pos x="691" y="256"/>
                    </a:cxn>
                    <a:cxn ang="0">
                      <a:pos x="658" y="957"/>
                    </a:cxn>
                    <a:cxn ang="0">
                      <a:pos x="634" y="1207"/>
                    </a:cxn>
                    <a:cxn ang="0">
                      <a:pos x="610" y="1401"/>
                    </a:cxn>
                    <a:cxn ang="0">
                      <a:pos x="578" y="1816"/>
                    </a:cxn>
                    <a:cxn ang="0">
                      <a:pos x="521" y="1990"/>
                    </a:cxn>
                    <a:cxn ang="0">
                      <a:pos x="481" y="2171"/>
                    </a:cxn>
                    <a:cxn ang="0">
                      <a:pos x="444" y="2344"/>
                    </a:cxn>
                    <a:cxn ang="0">
                      <a:pos x="488" y="2510"/>
                    </a:cxn>
                    <a:cxn ang="0">
                      <a:pos x="411" y="2646"/>
                    </a:cxn>
                    <a:cxn ang="0">
                      <a:pos x="279" y="2781"/>
                    </a:cxn>
                    <a:cxn ang="0">
                      <a:pos x="187" y="2842"/>
                    </a:cxn>
                    <a:cxn ang="0">
                      <a:pos x="87" y="2904"/>
                    </a:cxn>
                    <a:cxn ang="0">
                      <a:pos x="63" y="2892"/>
                    </a:cxn>
                    <a:cxn ang="0">
                      <a:pos x="18" y="2860"/>
                    </a:cxn>
                    <a:cxn ang="0">
                      <a:pos x="93" y="2722"/>
                    </a:cxn>
                    <a:cxn ang="0">
                      <a:pos x="166" y="2578"/>
                    </a:cxn>
                    <a:cxn ang="0">
                      <a:pos x="251" y="2227"/>
                    </a:cxn>
                    <a:cxn ang="0">
                      <a:pos x="276" y="1797"/>
                    </a:cxn>
                    <a:cxn ang="0">
                      <a:pos x="304" y="1392"/>
                    </a:cxn>
                    <a:cxn ang="0">
                      <a:pos x="276" y="1134"/>
                    </a:cxn>
                    <a:cxn ang="0">
                      <a:pos x="280" y="781"/>
                    </a:cxn>
                    <a:cxn ang="0">
                      <a:pos x="303" y="476"/>
                    </a:cxn>
                    <a:cxn ang="0">
                      <a:pos x="340" y="227"/>
                    </a:cxn>
                    <a:cxn ang="0">
                      <a:pos x="401" y="43"/>
                    </a:cxn>
                    <a:cxn ang="0">
                      <a:pos x="578" y="6"/>
                    </a:cxn>
                    <a:cxn ang="0">
                      <a:pos x="667" y="70"/>
                    </a:cxn>
                    <a:cxn ang="0">
                      <a:pos x="691" y="264"/>
                    </a:cxn>
                  </a:cxnLst>
                  <a:rect l="0" t="0" r="r" b="b"/>
                  <a:pathLst>
                    <a:path w="702" h="2910">
                      <a:moveTo>
                        <a:pt x="691" y="256"/>
                      </a:moveTo>
                      <a:cubicBezTo>
                        <a:pt x="691" y="491"/>
                        <a:pt x="670" y="724"/>
                        <a:pt x="658" y="957"/>
                      </a:cubicBezTo>
                      <a:cubicBezTo>
                        <a:pt x="654" y="1045"/>
                        <a:pt x="650" y="1125"/>
                        <a:pt x="634" y="1207"/>
                      </a:cubicBezTo>
                      <a:cubicBezTo>
                        <a:pt x="622" y="1271"/>
                        <a:pt x="610" y="1331"/>
                        <a:pt x="610" y="1401"/>
                      </a:cubicBezTo>
                      <a:cubicBezTo>
                        <a:pt x="610" y="1544"/>
                        <a:pt x="617" y="1684"/>
                        <a:pt x="578" y="1816"/>
                      </a:cubicBezTo>
                      <a:cubicBezTo>
                        <a:pt x="560" y="1877"/>
                        <a:pt x="533" y="1928"/>
                        <a:pt x="521" y="1990"/>
                      </a:cubicBezTo>
                      <a:cubicBezTo>
                        <a:pt x="509" y="2049"/>
                        <a:pt x="496" y="2113"/>
                        <a:pt x="481" y="2171"/>
                      </a:cubicBezTo>
                      <a:cubicBezTo>
                        <a:pt x="467" y="2226"/>
                        <a:pt x="452" y="2288"/>
                        <a:pt x="444" y="2344"/>
                      </a:cubicBezTo>
                      <a:cubicBezTo>
                        <a:pt x="434" y="2410"/>
                        <a:pt x="479" y="2447"/>
                        <a:pt x="488" y="2510"/>
                      </a:cubicBezTo>
                      <a:cubicBezTo>
                        <a:pt x="500" y="2590"/>
                        <a:pt x="475" y="2613"/>
                        <a:pt x="411" y="2646"/>
                      </a:cubicBezTo>
                      <a:cubicBezTo>
                        <a:pt x="345" y="2679"/>
                        <a:pt x="339" y="2742"/>
                        <a:pt x="279" y="2781"/>
                      </a:cubicBezTo>
                      <a:cubicBezTo>
                        <a:pt x="248" y="2801"/>
                        <a:pt x="215" y="2818"/>
                        <a:pt x="187" y="2842"/>
                      </a:cubicBezTo>
                      <a:cubicBezTo>
                        <a:pt x="163" y="2861"/>
                        <a:pt x="118" y="2910"/>
                        <a:pt x="87" y="2904"/>
                      </a:cubicBezTo>
                      <a:cubicBezTo>
                        <a:pt x="81" y="2902"/>
                        <a:pt x="73" y="2895"/>
                        <a:pt x="63" y="2892"/>
                      </a:cubicBezTo>
                      <a:cubicBezTo>
                        <a:pt x="68" y="2865"/>
                        <a:pt x="38" y="2862"/>
                        <a:pt x="18" y="2860"/>
                      </a:cubicBezTo>
                      <a:cubicBezTo>
                        <a:pt x="0" y="2821"/>
                        <a:pt x="71" y="2754"/>
                        <a:pt x="93" y="2722"/>
                      </a:cubicBezTo>
                      <a:cubicBezTo>
                        <a:pt x="123" y="2677"/>
                        <a:pt x="137" y="2625"/>
                        <a:pt x="166" y="2578"/>
                      </a:cubicBezTo>
                      <a:cubicBezTo>
                        <a:pt x="233" y="2468"/>
                        <a:pt x="251" y="2360"/>
                        <a:pt x="251" y="2227"/>
                      </a:cubicBezTo>
                      <a:cubicBezTo>
                        <a:pt x="251" y="2082"/>
                        <a:pt x="255" y="1938"/>
                        <a:pt x="276" y="1797"/>
                      </a:cubicBezTo>
                      <a:cubicBezTo>
                        <a:pt x="296" y="1665"/>
                        <a:pt x="297" y="1528"/>
                        <a:pt x="304" y="1392"/>
                      </a:cubicBezTo>
                      <a:cubicBezTo>
                        <a:pt x="308" y="1301"/>
                        <a:pt x="285" y="1222"/>
                        <a:pt x="276" y="1134"/>
                      </a:cubicBezTo>
                      <a:cubicBezTo>
                        <a:pt x="263" y="1018"/>
                        <a:pt x="269" y="896"/>
                        <a:pt x="280" y="781"/>
                      </a:cubicBezTo>
                      <a:cubicBezTo>
                        <a:pt x="289" y="679"/>
                        <a:pt x="289" y="577"/>
                        <a:pt x="303" y="476"/>
                      </a:cubicBezTo>
                      <a:cubicBezTo>
                        <a:pt x="315" y="393"/>
                        <a:pt x="326" y="307"/>
                        <a:pt x="340" y="227"/>
                      </a:cubicBezTo>
                      <a:cubicBezTo>
                        <a:pt x="350" y="167"/>
                        <a:pt x="355" y="88"/>
                        <a:pt x="401" y="43"/>
                      </a:cubicBezTo>
                      <a:cubicBezTo>
                        <a:pt x="441" y="4"/>
                        <a:pt x="525" y="0"/>
                        <a:pt x="578" y="6"/>
                      </a:cubicBezTo>
                      <a:cubicBezTo>
                        <a:pt x="618" y="10"/>
                        <a:pt x="648" y="35"/>
                        <a:pt x="667" y="70"/>
                      </a:cubicBezTo>
                      <a:cubicBezTo>
                        <a:pt x="690" y="112"/>
                        <a:pt x="702" y="224"/>
                        <a:pt x="691" y="26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1" name="Freeform 348"/>
                <p:cNvSpPr>
                  <a:spLocks/>
                </p:cNvSpPr>
                <p:nvPr/>
              </p:nvSpPr>
              <p:spPr bwMode="gray">
                <a:xfrm>
                  <a:off x="19705637" y="17146588"/>
                  <a:ext cx="1473200" cy="9048750"/>
                </a:xfrm>
                <a:custGeom>
                  <a:avLst/>
                  <a:gdLst/>
                  <a:ahLst/>
                  <a:cxnLst>
                    <a:cxn ang="0">
                      <a:pos x="346" y="812"/>
                    </a:cxn>
                    <a:cxn ang="0">
                      <a:pos x="362" y="1014"/>
                    </a:cxn>
                    <a:cxn ang="0">
                      <a:pos x="378" y="1380"/>
                    </a:cxn>
                    <a:cxn ang="0">
                      <a:pos x="334" y="1586"/>
                    </a:cxn>
                    <a:cxn ang="0">
                      <a:pos x="310" y="1828"/>
                    </a:cxn>
                    <a:cxn ang="0">
                      <a:pos x="314" y="2042"/>
                    </a:cxn>
                    <a:cxn ang="0">
                      <a:pos x="276" y="2234"/>
                    </a:cxn>
                    <a:cxn ang="0">
                      <a:pos x="161" y="2386"/>
                    </a:cxn>
                    <a:cxn ang="0">
                      <a:pos x="16" y="2316"/>
                    </a:cxn>
                    <a:cxn ang="0">
                      <a:pos x="72" y="2143"/>
                    </a:cxn>
                    <a:cxn ang="0">
                      <a:pos x="120" y="1731"/>
                    </a:cxn>
                    <a:cxn ang="0">
                      <a:pos x="92" y="1522"/>
                    </a:cxn>
                    <a:cxn ang="0">
                      <a:pos x="67" y="1324"/>
                    </a:cxn>
                    <a:cxn ang="0">
                      <a:pos x="56" y="1106"/>
                    </a:cxn>
                    <a:cxn ang="0">
                      <a:pos x="14" y="330"/>
                    </a:cxn>
                    <a:cxn ang="0">
                      <a:pos x="7" y="90"/>
                    </a:cxn>
                    <a:cxn ang="0">
                      <a:pos x="12" y="19"/>
                    </a:cxn>
                    <a:cxn ang="0">
                      <a:pos x="132" y="15"/>
                    </a:cxn>
                    <a:cxn ang="0">
                      <a:pos x="270" y="168"/>
                    </a:cxn>
                    <a:cxn ang="0">
                      <a:pos x="278" y="513"/>
                    </a:cxn>
                    <a:cxn ang="0">
                      <a:pos x="298" y="727"/>
                    </a:cxn>
                    <a:cxn ang="0">
                      <a:pos x="346" y="808"/>
                    </a:cxn>
                  </a:cxnLst>
                  <a:rect l="0" t="0" r="r" b="b"/>
                  <a:pathLst>
                    <a:path w="393" h="2413">
                      <a:moveTo>
                        <a:pt x="346" y="812"/>
                      </a:moveTo>
                      <a:cubicBezTo>
                        <a:pt x="341" y="877"/>
                        <a:pt x="357" y="948"/>
                        <a:pt x="362" y="1014"/>
                      </a:cubicBezTo>
                      <a:cubicBezTo>
                        <a:pt x="372" y="1138"/>
                        <a:pt x="393" y="1259"/>
                        <a:pt x="378" y="1380"/>
                      </a:cubicBezTo>
                      <a:cubicBezTo>
                        <a:pt x="370" y="1450"/>
                        <a:pt x="348" y="1520"/>
                        <a:pt x="334" y="1586"/>
                      </a:cubicBezTo>
                      <a:cubicBezTo>
                        <a:pt x="318" y="1663"/>
                        <a:pt x="317" y="1750"/>
                        <a:pt x="310" y="1828"/>
                      </a:cubicBezTo>
                      <a:cubicBezTo>
                        <a:pt x="303" y="1896"/>
                        <a:pt x="298" y="1977"/>
                        <a:pt x="314" y="2042"/>
                      </a:cubicBezTo>
                      <a:cubicBezTo>
                        <a:pt x="333" y="2124"/>
                        <a:pt x="320" y="2165"/>
                        <a:pt x="276" y="2234"/>
                      </a:cubicBezTo>
                      <a:cubicBezTo>
                        <a:pt x="245" y="2283"/>
                        <a:pt x="220" y="2356"/>
                        <a:pt x="161" y="2386"/>
                      </a:cubicBezTo>
                      <a:cubicBezTo>
                        <a:pt x="105" y="2413"/>
                        <a:pt x="21" y="2378"/>
                        <a:pt x="16" y="2316"/>
                      </a:cubicBezTo>
                      <a:cubicBezTo>
                        <a:pt x="10" y="2256"/>
                        <a:pt x="58" y="2197"/>
                        <a:pt x="72" y="2143"/>
                      </a:cubicBezTo>
                      <a:cubicBezTo>
                        <a:pt x="89" y="2078"/>
                        <a:pt x="120" y="1809"/>
                        <a:pt x="120" y="1731"/>
                      </a:cubicBezTo>
                      <a:cubicBezTo>
                        <a:pt x="120" y="1659"/>
                        <a:pt x="103" y="1590"/>
                        <a:pt x="92" y="1522"/>
                      </a:cubicBezTo>
                      <a:cubicBezTo>
                        <a:pt x="81" y="1457"/>
                        <a:pt x="70" y="1392"/>
                        <a:pt x="67" y="1324"/>
                      </a:cubicBezTo>
                      <a:cubicBezTo>
                        <a:pt x="64" y="1252"/>
                        <a:pt x="66" y="1174"/>
                        <a:pt x="56" y="1106"/>
                      </a:cubicBezTo>
                      <a:cubicBezTo>
                        <a:pt x="19" y="855"/>
                        <a:pt x="38" y="589"/>
                        <a:pt x="14" y="330"/>
                      </a:cubicBezTo>
                      <a:cubicBezTo>
                        <a:pt x="7" y="250"/>
                        <a:pt x="7" y="170"/>
                        <a:pt x="7" y="90"/>
                      </a:cubicBezTo>
                      <a:cubicBezTo>
                        <a:pt x="7" y="74"/>
                        <a:pt x="0" y="32"/>
                        <a:pt x="12" y="19"/>
                      </a:cubicBezTo>
                      <a:cubicBezTo>
                        <a:pt x="31" y="0"/>
                        <a:pt x="109" y="9"/>
                        <a:pt x="132" y="15"/>
                      </a:cubicBezTo>
                      <a:cubicBezTo>
                        <a:pt x="206" y="33"/>
                        <a:pt x="260" y="96"/>
                        <a:pt x="270" y="168"/>
                      </a:cubicBezTo>
                      <a:cubicBezTo>
                        <a:pt x="287" y="279"/>
                        <a:pt x="278" y="399"/>
                        <a:pt x="278" y="513"/>
                      </a:cubicBezTo>
                      <a:cubicBezTo>
                        <a:pt x="278" y="584"/>
                        <a:pt x="270" y="661"/>
                        <a:pt x="298" y="727"/>
                      </a:cubicBezTo>
                      <a:cubicBezTo>
                        <a:pt x="310" y="757"/>
                        <a:pt x="334" y="782"/>
                        <a:pt x="346" y="808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2" name="Freeform 349"/>
                <p:cNvSpPr>
                  <a:spLocks/>
                </p:cNvSpPr>
                <p:nvPr/>
              </p:nvSpPr>
              <p:spPr bwMode="gray">
                <a:xfrm>
                  <a:off x="17795875" y="20162838"/>
                  <a:ext cx="1320800" cy="1423988"/>
                </a:xfrm>
                <a:custGeom>
                  <a:avLst/>
                  <a:gdLst/>
                  <a:ahLst/>
                  <a:cxnLst>
                    <a:cxn ang="0">
                      <a:pos x="15" y="63"/>
                    </a:cxn>
                    <a:cxn ang="0">
                      <a:pos x="204" y="186"/>
                    </a:cxn>
                    <a:cxn ang="0">
                      <a:pos x="315" y="380"/>
                    </a:cxn>
                    <a:cxn ang="0">
                      <a:pos x="296" y="78"/>
                    </a:cxn>
                    <a:cxn ang="0">
                      <a:pos x="15" y="69"/>
                    </a:cxn>
                  </a:cxnLst>
                  <a:rect l="0" t="0" r="r" b="b"/>
                  <a:pathLst>
                    <a:path w="352" h="380">
                      <a:moveTo>
                        <a:pt x="15" y="63"/>
                      </a:moveTo>
                      <a:cubicBezTo>
                        <a:pt x="0" y="154"/>
                        <a:pt x="148" y="159"/>
                        <a:pt x="204" y="186"/>
                      </a:cubicBezTo>
                      <a:cubicBezTo>
                        <a:pt x="282" y="225"/>
                        <a:pt x="298" y="310"/>
                        <a:pt x="315" y="380"/>
                      </a:cubicBezTo>
                      <a:cubicBezTo>
                        <a:pt x="336" y="298"/>
                        <a:pt x="352" y="147"/>
                        <a:pt x="296" y="78"/>
                      </a:cubicBezTo>
                      <a:cubicBezTo>
                        <a:pt x="244" y="14"/>
                        <a:pt x="61" y="0"/>
                        <a:pt x="15" y="69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3" name="Freeform 350"/>
                <p:cNvSpPr>
                  <a:spLocks/>
                </p:cNvSpPr>
                <p:nvPr/>
              </p:nvSpPr>
              <p:spPr bwMode="gray">
                <a:xfrm>
                  <a:off x="19705637" y="20245388"/>
                  <a:ext cx="1387475" cy="595313"/>
                </a:xfrm>
                <a:custGeom>
                  <a:avLst/>
                  <a:gdLst/>
                  <a:ahLst/>
                  <a:cxnLst>
                    <a:cxn ang="0">
                      <a:pos x="44" y="159"/>
                    </a:cxn>
                    <a:cxn ang="0">
                      <a:pos x="194" y="95"/>
                    </a:cxn>
                    <a:cxn ang="0">
                      <a:pos x="329" y="32"/>
                    </a:cxn>
                    <a:cxn ang="0">
                      <a:pos x="108" y="14"/>
                    </a:cxn>
                    <a:cxn ang="0">
                      <a:pos x="44" y="154"/>
                    </a:cxn>
                  </a:cxnLst>
                  <a:rect l="0" t="0" r="r" b="b"/>
                  <a:pathLst>
                    <a:path w="370" h="159">
                      <a:moveTo>
                        <a:pt x="44" y="159"/>
                      </a:moveTo>
                      <a:cubicBezTo>
                        <a:pt x="72" y="95"/>
                        <a:pt x="127" y="101"/>
                        <a:pt x="194" y="95"/>
                      </a:cubicBezTo>
                      <a:cubicBezTo>
                        <a:pt x="224" y="92"/>
                        <a:pt x="370" y="74"/>
                        <a:pt x="329" y="32"/>
                      </a:cubicBezTo>
                      <a:cubicBezTo>
                        <a:pt x="298" y="0"/>
                        <a:pt x="152" y="9"/>
                        <a:pt x="108" y="14"/>
                      </a:cubicBezTo>
                      <a:cubicBezTo>
                        <a:pt x="0" y="27"/>
                        <a:pt x="48" y="76"/>
                        <a:pt x="44" y="15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4" name="Freeform 351"/>
                <p:cNvSpPr>
                  <a:spLocks/>
                </p:cNvSpPr>
                <p:nvPr/>
              </p:nvSpPr>
              <p:spPr bwMode="gray">
                <a:xfrm>
                  <a:off x="17289462" y="13547726"/>
                  <a:ext cx="3724275" cy="7132638"/>
                </a:xfrm>
                <a:custGeom>
                  <a:avLst/>
                  <a:gdLst/>
                  <a:ahLst/>
                  <a:cxnLst>
                    <a:cxn ang="0">
                      <a:pos x="99" y="228"/>
                    </a:cxn>
                    <a:cxn ang="0">
                      <a:pos x="81" y="631"/>
                    </a:cxn>
                    <a:cxn ang="0">
                      <a:pos x="35" y="1041"/>
                    </a:cxn>
                    <a:cxn ang="0">
                      <a:pos x="27" y="1438"/>
                    </a:cxn>
                    <a:cxn ang="0">
                      <a:pos x="27" y="1647"/>
                    </a:cxn>
                    <a:cxn ang="0">
                      <a:pos x="12" y="1856"/>
                    </a:cxn>
                    <a:cxn ang="0">
                      <a:pos x="464" y="1902"/>
                    </a:cxn>
                    <a:cxn ang="0">
                      <a:pos x="762" y="1851"/>
                    </a:cxn>
                    <a:cxn ang="0">
                      <a:pos x="993" y="1823"/>
                    </a:cxn>
                    <a:cxn ang="0">
                      <a:pos x="962" y="1413"/>
                    </a:cxn>
                    <a:cxn ang="0">
                      <a:pos x="954" y="970"/>
                    </a:cxn>
                    <a:cxn ang="0">
                      <a:pos x="978" y="543"/>
                    </a:cxn>
                    <a:cxn ang="0">
                      <a:pos x="857" y="214"/>
                    </a:cxn>
                    <a:cxn ang="0">
                      <a:pos x="99" y="228"/>
                    </a:cxn>
                  </a:cxnLst>
                  <a:rect l="0" t="0" r="r" b="b"/>
                  <a:pathLst>
                    <a:path w="993" h="1902">
                      <a:moveTo>
                        <a:pt x="99" y="228"/>
                      </a:moveTo>
                      <a:cubicBezTo>
                        <a:pt x="164" y="335"/>
                        <a:pt x="100" y="516"/>
                        <a:pt x="81" y="631"/>
                      </a:cubicBezTo>
                      <a:cubicBezTo>
                        <a:pt x="59" y="768"/>
                        <a:pt x="35" y="896"/>
                        <a:pt x="35" y="1041"/>
                      </a:cubicBezTo>
                      <a:cubicBezTo>
                        <a:pt x="35" y="1172"/>
                        <a:pt x="27" y="1303"/>
                        <a:pt x="27" y="1438"/>
                      </a:cubicBezTo>
                      <a:cubicBezTo>
                        <a:pt x="27" y="1507"/>
                        <a:pt x="27" y="1577"/>
                        <a:pt x="27" y="1647"/>
                      </a:cubicBezTo>
                      <a:cubicBezTo>
                        <a:pt x="27" y="1715"/>
                        <a:pt x="0" y="1796"/>
                        <a:pt x="12" y="1856"/>
                      </a:cubicBezTo>
                      <a:cubicBezTo>
                        <a:pt x="135" y="1862"/>
                        <a:pt x="360" y="1846"/>
                        <a:pt x="464" y="1902"/>
                      </a:cubicBezTo>
                      <a:cubicBezTo>
                        <a:pt x="518" y="1868"/>
                        <a:pt x="698" y="1856"/>
                        <a:pt x="762" y="1851"/>
                      </a:cubicBezTo>
                      <a:cubicBezTo>
                        <a:pt x="835" y="1844"/>
                        <a:pt x="926" y="1850"/>
                        <a:pt x="993" y="1823"/>
                      </a:cubicBezTo>
                      <a:cubicBezTo>
                        <a:pt x="982" y="1688"/>
                        <a:pt x="962" y="1558"/>
                        <a:pt x="962" y="1413"/>
                      </a:cubicBezTo>
                      <a:cubicBezTo>
                        <a:pt x="962" y="1266"/>
                        <a:pt x="954" y="1119"/>
                        <a:pt x="954" y="970"/>
                      </a:cubicBezTo>
                      <a:cubicBezTo>
                        <a:pt x="954" y="823"/>
                        <a:pt x="974" y="686"/>
                        <a:pt x="978" y="543"/>
                      </a:cubicBezTo>
                      <a:cubicBezTo>
                        <a:pt x="982" y="401"/>
                        <a:pt x="951" y="315"/>
                        <a:pt x="857" y="214"/>
                      </a:cubicBezTo>
                      <a:cubicBezTo>
                        <a:pt x="657" y="0"/>
                        <a:pt x="281" y="14"/>
                        <a:pt x="99" y="228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5" name="Freeform 352"/>
                <p:cNvSpPr>
                  <a:spLocks/>
                </p:cNvSpPr>
                <p:nvPr/>
              </p:nvSpPr>
              <p:spPr bwMode="gray">
                <a:xfrm>
                  <a:off x="17822862" y="14387513"/>
                  <a:ext cx="2879725" cy="5778500"/>
                </a:xfrm>
                <a:custGeom>
                  <a:avLst/>
                  <a:gdLst/>
                  <a:ahLst/>
                  <a:cxnLst>
                    <a:cxn ang="0">
                      <a:pos x="3" y="58"/>
                    </a:cxn>
                    <a:cxn ang="0">
                      <a:pos x="95" y="111"/>
                    </a:cxn>
                    <a:cxn ang="0">
                      <a:pos x="242" y="146"/>
                    </a:cxn>
                    <a:cxn ang="0">
                      <a:pos x="462" y="163"/>
                    </a:cxn>
                    <a:cxn ang="0">
                      <a:pos x="604" y="147"/>
                    </a:cxn>
                    <a:cxn ang="0">
                      <a:pos x="642" y="286"/>
                    </a:cxn>
                    <a:cxn ang="0">
                      <a:pos x="645" y="457"/>
                    </a:cxn>
                    <a:cxn ang="0">
                      <a:pos x="656" y="558"/>
                    </a:cxn>
                    <a:cxn ang="0">
                      <a:pos x="677" y="670"/>
                    </a:cxn>
                    <a:cxn ang="0">
                      <a:pos x="691" y="870"/>
                    </a:cxn>
                    <a:cxn ang="0">
                      <a:pos x="726" y="1233"/>
                    </a:cxn>
                    <a:cxn ang="0">
                      <a:pos x="712" y="1423"/>
                    </a:cxn>
                    <a:cxn ang="0">
                      <a:pos x="715" y="1541"/>
                    </a:cxn>
                    <a:cxn ang="0">
                      <a:pos x="722" y="1417"/>
                    </a:cxn>
                    <a:cxn ang="0">
                      <a:pos x="734" y="1281"/>
                    </a:cxn>
                    <a:cxn ang="0">
                      <a:pos x="699" y="991"/>
                    </a:cxn>
                    <a:cxn ang="0">
                      <a:pos x="696" y="689"/>
                    </a:cxn>
                    <a:cxn ang="0">
                      <a:pos x="664" y="574"/>
                    </a:cxn>
                    <a:cxn ang="0">
                      <a:pos x="659" y="510"/>
                    </a:cxn>
                    <a:cxn ang="0">
                      <a:pos x="648" y="439"/>
                    </a:cxn>
                    <a:cxn ang="0">
                      <a:pos x="648" y="281"/>
                    </a:cxn>
                    <a:cxn ang="0">
                      <a:pos x="619" y="139"/>
                    </a:cxn>
                    <a:cxn ang="0">
                      <a:pos x="669" y="117"/>
                    </a:cxn>
                    <a:cxn ang="0">
                      <a:pos x="726" y="98"/>
                    </a:cxn>
                    <a:cxn ang="0">
                      <a:pos x="763" y="66"/>
                    </a:cxn>
                    <a:cxn ang="0">
                      <a:pos x="674" y="47"/>
                    </a:cxn>
                    <a:cxn ang="0">
                      <a:pos x="441" y="25"/>
                    </a:cxn>
                    <a:cxn ang="0">
                      <a:pos x="158" y="4"/>
                    </a:cxn>
                    <a:cxn ang="0">
                      <a:pos x="27" y="34"/>
                    </a:cxn>
                    <a:cxn ang="0">
                      <a:pos x="22" y="34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768" h="1541">
                      <a:moveTo>
                        <a:pt x="3" y="58"/>
                      </a:moveTo>
                      <a:cubicBezTo>
                        <a:pt x="23" y="92"/>
                        <a:pt x="59" y="99"/>
                        <a:pt x="95" y="111"/>
                      </a:cubicBezTo>
                      <a:cubicBezTo>
                        <a:pt x="141" y="128"/>
                        <a:pt x="195" y="139"/>
                        <a:pt x="242" y="146"/>
                      </a:cubicBezTo>
                      <a:cubicBezTo>
                        <a:pt x="315" y="158"/>
                        <a:pt x="387" y="163"/>
                        <a:pt x="462" y="163"/>
                      </a:cubicBezTo>
                      <a:cubicBezTo>
                        <a:pt x="511" y="162"/>
                        <a:pt x="556" y="144"/>
                        <a:pt x="604" y="147"/>
                      </a:cubicBezTo>
                      <a:cubicBezTo>
                        <a:pt x="611" y="195"/>
                        <a:pt x="636" y="238"/>
                        <a:pt x="642" y="286"/>
                      </a:cubicBezTo>
                      <a:cubicBezTo>
                        <a:pt x="649" y="342"/>
                        <a:pt x="641" y="400"/>
                        <a:pt x="645" y="457"/>
                      </a:cubicBezTo>
                      <a:cubicBezTo>
                        <a:pt x="648" y="491"/>
                        <a:pt x="656" y="523"/>
                        <a:pt x="656" y="558"/>
                      </a:cubicBezTo>
                      <a:cubicBezTo>
                        <a:pt x="656" y="598"/>
                        <a:pt x="670" y="631"/>
                        <a:pt x="677" y="670"/>
                      </a:cubicBezTo>
                      <a:cubicBezTo>
                        <a:pt x="690" y="735"/>
                        <a:pt x="691" y="802"/>
                        <a:pt x="691" y="870"/>
                      </a:cubicBezTo>
                      <a:cubicBezTo>
                        <a:pt x="691" y="994"/>
                        <a:pt x="721" y="1111"/>
                        <a:pt x="726" y="1233"/>
                      </a:cubicBezTo>
                      <a:cubicBezTo>
                        <a:pt x="728" y="1297"/>
                        <a:pt x="721" y="1361"/>
                        <a:pt x="712" y="1423"/>
                      </a:cubicBezTo>
                      <a:cubicBezTo>
                        <a:pt x="709" y="1450"/>
                        <a:pt x="688" y="1521"/>
                        <a:pt x="715" y="1541"/>
                      </a:cubicBezTo>
                      <a:cubicBezTo>
                        <a:pt x="717" y="1497"/>
                        <a:pt x="709" y="1458"/>
                        <a:pt x="722" y="1417"/>
                      </a:cubicBezTo>
                      <a:cubicBezTo>
                        <a:pt x="735" y="1378"/>
                        <a:pt x="734" y="1323"/>
                        <a:pt x="734" y="1281"/>
                      </a:cubicBezTo>
                      <a:cubicBezTo>
                        <a:pt x="734" y="1180"/>
                        <a:pt x="710" y="1088"/>
                        <a:pt x="699" y="991"/>
                      </a:cubicBezTo>
                      <a:cubicBezTo>
                        <a:pt x="688" y="894"/>
                        <a:pt x="710" y="789"/>
                        <a:pt x="696" y="689"/>
                      </a:cubicBezTo>
                      <a:cubicBezTo>
                        <a:pt x="690" y="646"/>
                        <a:pt x="677" y="614"/>
                        <a:pt x="664" y="574"/>
                      </a:cubicBezTo>
                      <a:cubicBezTo>
                        <a:pt x="657" y="554"/>
                        <a:pt x="660" y="532"/>
                        <a:pt x="659" y="510"/>
                      </a:cubicBezTo>
                      <a:cubicBezTo>
                        <a:pt x="657" y="485"/>
                        <a:pt x="650" y="464"/>
                        <a:pt x="648" y="439"/>
                      </a:cubicBezTo>
                      <a:cubicBezTo>
                        <a:pt x="643" y="387"/>
                        <a:pt x="648" y="333"/>
                        <a:pt x="648" y="281"/>
                      </a:cubicBezTo>
                      <a:cubicBezTo>
                        <a:pt x="647" y="231"/>
                        <a:pt x="620" y="186"/>
                        <a:pt x="619" y="139"/>
                      </a:cubicBezTo>
                      <a:cubicBezTo>
                        <a:pt x="636" y="135"/>
                        <a:pt x="653" y="122"/>
                        <a:pt x="669" y="117"/>
                      </a:cubicBezTo>
                      <a:cubicBezTo>
                        <a:pt x="688" y="111"/>
                        <a:pt x="709" y="106"/>
                        <a:pt x="726" y="98"/>
                      </a:cubicBezTo>
                      <a:cubicBezTo>
                        <a:pt x="739" y="93"/>
                        <a:pt x="768" y="86"/>
                        <a:pt x="763" y="66"/>
                      </a:cubicBezTo>
                      <a:cubicBezTo>
                        <a:pt x="756" y="42"/>
                        <a:pt x="692" y="49"/>
                        <a:pt x="674" y="47"/>
                      </a:cubicBezTo>
                      <a:cubicBezTo>
                        <a:pt x="597" y="41"/>
                        <a:pt x="519" y="29"/>
                        <a:pt x="441" y="25"/>
                      </a:cubicBezTo>
                      <a:cubicBezTo>
                        <a:pt x="347" y="20"/>
                        <a:pt x="252" y="0"/>
                        <a:pt x="158" y="4"/>
                      </a:cubicBezTo>
                      <a:cubicBezTo>
                        <a:pt x="117" y="6"/>
                        <a:pt x="62" y="15"/>
                        <a:pt x="27" y="34"/>
                      </a:cubicBezTo>
                      <a:cubicBezTo>
                        <a:pt x="25" y="33"/>
                        <a:pt x="24" y="33"/>
                        <a:pt x="22" y="34"/>
                      </a:cubicBezTo>
                      <a:cubicBezTo>
                        <a:pt x="16" y="42"/>
                        <a:pt x="8" y="48"/>
                        <a:pt x="0" y="55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6" name="Freeform 353"/>
                <p:cNvSpPr>
                  <a:spLocks/>
                </p:cNvSpPr>
                <p:nvPr/>
              </p:nvSpPr>
              <p:spPr bwMode="gray">
                <a:xfrm>
                  <a:off x="15849600" y="24485601"/>
                  <a:ext cx="3049588" cy="1905000"/>
                </a:xfrm>
                <a:custGeom>
                  <a:avLst/>
                  <a:gdLst/>
                  <a:ahLst/>
                  <a:cxnLst>
                    <a:cxn ang="0">
                      <a:pos x="709" y="0"/>
                    </a:cxn>
                    <a:cxn ang="0">
                      <a:pos x="617" y="122"/>
                    </a:cxn>
                    <a:cxn ang="0">
                      <a:pos x="500" y="227"/>
                    </a:cxn>
                    <a:cxn ang="0">
                      <a:pos x="385" y="334"/>
                    </a:cxn>
                    <a:cxn ang="0">
                      <a:pos x="291" y="342"/>
                    </a:cxn>
                    <a:cxn ang="0">
                      <a:pos x="209" y="355"/>
                    </a:cxn>
                    <a:cxn ang="0">
                      <a:pos x="20" y="404"/>
                    </a:cxn>
                    <a:cxn ang="0">
                      <a:pos x="378" y="468"/>
                    </a:cxn>
                    <a:cxn ang="0">
                      <a:pos x="637" y="255"/>
                    </a:cxn>
                    <a:cxn ang="0">
                      <a:pos x="688" y="251"/>
                    </a:cxn>
                    <a:cxn ang="0">
                      <a:pos x="681" y="447"/>
                    </a:cxn>
                    <a:cxn ang="0">
                      <a:pos x="724" y="447"/>
                    </a:cxn>
                    <a:cxn ang="0">
                      <a:pos x="725" y="306"/>
                    </a:cxn>
                    <a:cxn ang="0">
                      <a:pos x="769" y="202"/>
                    </a:cxn>
                    <a:cxn ang="0">
                      <a:pos x="713" y="0"/>
                    </a:cxn>
                  </a:cxnLst>
                  <a:rect l="0" t="0" r="r" b="b"/>
                  <a:pathLst>
                    <a:path w="813" h="508">
                      <a:moveTo>
                        <a:pt x="709" y="0"/>
                      </a:moveTo>
                      <a:cubicBezTo>
                        <a:pt x="668" y="32"/>
                        <a:pt x="651" y="82"/>
                        <a:pt x="617" y="122"/>
                      </a:cubicBezTo>
                      <a:cubicBezTo>
                        <a:pt x="584" y="162"/>
                        <a:pt x="543" y="196"/>
                        <a:pt x="500" y="227"/>
                      </a:cubicBezTo>
                      <a:cubicBezTo>
                        <a:pt x="459" y="258"/>
                        <a:pt x="435" y="311"/>
                        <a:pt x="385" y="334"/>
                      </a:cubicBezTo>
                      <a:cubicBezTo>
                        <a:pt x="359" y="346"/>
                        <a:pt x="320" y="345"/>
                        <a:pt x="291" y="342"/>
                      </a:cubicBezTo>
                      <a:cubicBezTo>
                        <a:pt x="254" y="338"/>
                        <a:pt x="244" y="339"/>
                        <a:pt x="209" y="355"/>
                      </a:cubicBezTo>
                      <a:cubicBezTo>
                        <a:pt x="150" y="381"/>
                        <a:pt x="75" y="374"/>
                        <a:pt x="20" y="404"/>
                      </a:cubicBezTo>
                      <a:cubicBezTo>
                        <a:pt x="0" y="508"/>
                        <a:pt x="327" y="481"/>
                        <a:pt x="378" y="468"/>
                      </a:cubicBezTo>
                      <a:cubicBezTo>
                        <a:pt x="492" y="437"/>
                        <a:pt x="525" y="301"/>
                        <a:pt x="637" y="255"/>
                      </a:cubicBezTo>
                      <a:cubicBezTo>
                        <a:pt x="651" y="249"/>
                        <a:pt x="673" y="248"/>
                        <a:pt x="688" y="251"/>
                      </a:cubicBezTo>
                      <a:cubicBezTo>
                        <a:pt x="708" y="319"/>
                        <a:pt x="673" y="380"/>
                        <a:pt x="681" y="447"/>
                      </a:cubicBezTo>
                      <a:cubicBezTo>
                        <a:pt x="695" y="448"/>
                        <a:pt x="710" y="448"/>
                        <a:pt x="724" y="447"/>
                      </a:cubicBezTo>
                      <a:cubicBezTo>
                        <a:pt x="727" y="400"/>
                        <a:pt x="723" y="353"/>
                        <a:pt x="725" y="306"/>
                      </a:cubicBezTo>
                      <a:cubicBezTo>
                        <a:pt x="727" y="256"/>
                        <a:pt x="745" y="240"/>
                        <a:pt x="769" y="202"/>
                      </a:cubicBezTo>
                      <a:cubicBezTo>
                        <a:pt x="813" y="134"/>
                        <a:pt x="780" y="45"/>
                        <a:pt x="713" y="0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7" name="Freeform 354"/>
                <p:cNvSpPr>
                  <a:spLocks/>
                </p:cNvSpPr>
                <p:nvPr/>
              </p:nvSpPr>
              <p:spPr bwMode="gray">
                <a:xfrm>
                  <a:off x="19262725" y="24395113"/>
                  <a:ext cx="1874838" cy="2262188"/>
                </a:xfrm>
                <a:custGeom>
                  <a:avLst/>
                  <a:gdLst/>
                  <a:ahLst/>
                  <a:cxnLst>
                    <a:cxn ang="0">
                      <a:pos x="138" y="363"/>
                    </a:cxn>
                    <a:cxn ang="0">
                      <a:pos x="279" y="407"/>
                    </a:cxn>
                    <a:cxn ang="0">
                      <a:pos x="378" y="330"/>
                    </a:cxn>
                    <a:cxn ang="0">
                      <a:pos x="412" y="13"/>
                    </a:cxn>
                    <a:cxn ang="0">
                      <a:pos x="484" y="230"/>
                    </a:cxn>
                    <a:cxn ang="0">
                      <a:pos x="448" y="326"/>
                    </a:cxn>
                    <a:cxn ang="0">
                      <a:pos x="443" y="459"/>
                    </a:cxn>
                    <a:cxn ang="0">
                      <a:pos x="412" y="459"/>
                    </a:cxn>
                    <a:cxn ang="0">
                      <a:pos x="391" y="362"/>
                    </a:cxn>
                    <a:cxn ang="0">
                      <a:pos x="368" y="500"/>
                    </a:cxn>
                    <a:cxn ang="0">
                      <a:pos x="271" y="569"/>
                    </a:cxn>
                    <a:cxn ang="0">
                      <a:pos x="0" y="528"/>
                    </a:cxn>
                    <a:cxn ang="0">
                      <a:pos x="137" y="355"/>
                    </a:cxn>
                    <a:cxn ang="0">
                      <a:pos x="138" y="367"/>
                    </a:cxn>
                  </a:cxnLst>
                  <a:rect l="0" t="0" r="r" b="b"/>
                  <a:pathLst>
                    <a:path w="500" h="603">
                      <a:moveTo>
                        <a:pt x="138" y="363"/>
                      </a:moveTo>
                      <a:cubicBezTo>
                        <a:pt x="149" y="408"/>
                        <a:pt x="238" y="416"/>
                        <a:pt x="279" y="407"/>
                      </a:cubicBezTo>
                      <a:cubicBezTo>
                        <a:pt x="318" y="399"/>
                        <a:pt x="359" y="361"/>
                        <a:pt x="378" y="330"/>
                      </a:cubicBezTo>
                      <a:cubicBezTo>
                        <a:pt x="434" y="240"/>
                        <a:pt x="404" y="115"/>
                        <a:pt x="412" y="13"/>
                      </a:cubicBezTo>
                      <a:cubicBezTo>
                        <a:pt x="469" y="0"/>
                        <a:pt x="500" y="193"/>
                        <a:pt x="484" y="230"/>
                      </a:cubicBezTo>
                      <a:cubicBezTo>
                        <a:pt x="468" y="267"/>
                        <a:pt x="448" y="276"/>
                        <a:pt x="448" y="326"/>
                      </a:cubicBezTo>
                      <a:cubicBezTo>
                        <a:pt x="448" y="372"/>
                        <a:pt x="446" y="414"/>
                        <a:pt x="443" y="459"/>
                      </a:cubicBezTo>
                      <a:cubicBezTo>
                        <a:pt x="436" y="461"/>
                        <a:pt x="420" y="461"/>
                        <a:pt x="412" y="459"/>
                      </a:cubicBezTo>
                      <a:cubicBezTo>
                        <a:pt x="411" y="429"/>
                        <a:pt x="414" y="381"/>
                        <a:pt x="391" y="362"/>
                      </a:cubicBezTo>
                      <a:cubicBezTo>
                        <a:pt x="364" y="398"/>
                        <a:pt x="397" y="460"/>
                        <a:pt x="368" y="500"/>
                      </a:cubicBezTo>
                      <a:cubicBezTo>
                        <a:pt x="345" y="532"/>
                        <a:pt x="310" y="557"/>
                        <a:pt x="271" y="569"/>
                      </a:cubicBezTo>
                      <a:cubicBezTo>
                        <a:pt x="209" y="589"/>
                        <a:pt x="32" y="603"/>
                        <a:pt x="0" y="528"/>
                      </a:cubicBezTo>
                      <a:cubicBezTo>
                        <a:pt x="58" y="489"/>
                        <a:pt x="78" y="400"/>
                        <a:pt x="137" y="355"/>
                      </a:cubicBezTo>
                      <a:cubicBezTo>
                        <a:pt x="138" y="359"/>
                        <a:pt x="137" y="363"/>
                        <a:pt x="138" y="367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8" name="Freeform 355"/>
                <p:cNvSpPr>
                  <a:spLocks/>
                </p:cNvSpPr>
                <p:nvPr/>
              </p:nvSpPr>
              <p:spPr bwMode="gray">
                <a:xfrm>
                  <a:off x="16603662" y="25977851"/>
                  <a:ext cx="415925" cy="128588"/>
                </a:xfrm>
                <a:custGeom>
                  <a:avLst/>
                  <a:gdLst/>
                  <a:ahLst/>
                  <a:cxnLst>
                    <a:cxn ang="0">
                      <a:pos x="6" y="27"/>
                    </a:cxn>
                    <a:cxn ang="0">
                      <a:pos x="104" y="4"/>
                    </a:cxn>
                    <a:cxn ang="0">
                      <a:pos x="52" y="17"/>
                    </a:cxn>
                    <a:cxn ang="0">
                      <a:pos x="0" y="29"/>
                    </a:cxn>
                    <a:cxn ang="0">
                      <a:pos x="12" y="27"/>
                    </a:cxn>
                  </a:cxnLst>
                  <a:rect l="0" t="0" r="r" b="b"/>
                  <a:pathLst>
                    <a:path w="111" h="34">
                      <a:moveTo>
                        <a:pt x="6" y="27"/>
                      </a:moveTo>
                      <a:cubicBezTo>
                        <a:pt x="23" y="30"/>
                        <a:pt x="111" y="34"/>
                        <a:pt x="104" y="4"/>
                      </a:cubicBezTo>
                      <a:cubicBezTo>
                        <a:pt x="86" y="0"/>
                        <a:pt x="70" y="15"/>
                        <a:pt x="52" y="17"/>
                      </a:cubicBezTo>
                      <a:cubicBezTo>
                        <a:pt x="38" y="19"/>
                        <a:pt x="1" y="8"/>
                        <a:pt x="0" y="29"/>
                      </a:cubicBezTo>
                      <a:cubicBezTo>
                        <a:pt x="4" y="29"/>
                        <a:pt x="8" y="29"/>
                        <a:pt x="12" y="27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59" name="Freeform 356"/>
                <p:cNvSpPr>
                  <a:spLocks/>
                </p:cNvSpPr>
                <p:nvPr/>
              </p:nvSpPr>
              <p:spPr bwMode="gray">
                <a:xfrm>
                  <a:off x="19529425" y="26000076"/>
                  <a:ext cx="696913" cy="277813"/>
                </a:xfrm>
                <a:custGeom>
                  <a:avLst/>
                  <a:gdLst/>
                  <a:ahLst/>
                  <a:cxnLst>
                    <a:cxn ang="0">
                      <a:pos x="65" y="3"/>
                    </a:cxn>
                    <a:cxn ang="0">
                      <a:pos x="175" y="18"/>
                    </a:cxn>
                    <a:cxn ang="0">
                      <a:pos x="109" y="29"/>
                    </a:cxn>
                    <a:cxn ang="0">
                      <a:pos x="66" y="27"/>
                    </a:cxn>
                    <a:cxn ang="0">
                      <a:pos x="56" y="40"/>
                    </a:cxn>
                    <a:cxn ang="0">
                      <a:pos x="71" y="51"/>
                    </a:cxn>
                    <a:cxn ang="0">
                      <a:pos x="13" y="45"/>
                    </a:cxn>
                    <a:cxn ang="0">
                      <a:pos x="48" y="33"/>
                    </a:cxn>
                    <a:cxn ang="0">
                      <a:pos x="63" y="5"/>
                    </a:cxn>
                  </a:cxnLst>
                  <a:rect l="0" t="0" r="r" b="b"/>
                  <a:pathLst>
                    <a:path w="186" h="74">
                      <a:moveTo>
                        <a:pt x="65" y="3"/>
                      </a:moveTo>
                      <a:cubicBezTo>
                        <a:pt x="100" y="17"/>
                        <a:pt x="139" y="6"/>
                        <a:pt x="175" y="18"/>
                      </a:cubicBezTo>
                      <a:cubicBezTo>
                        <a:pt x="186" y="54"/>
                        <a:pt x="122" y="32"/>
                        <a:pt x="109" y="29"/>
                      </a:cubicBezTo>
                      <a:cubicBezTo>
                        <a:pt x="100" y="28"/>
                        <a:pt x="74" y="24"/>
                        <a:pt x="66" y="27"/>
                      </a:cubicBezTo>
                      <a:cubicBezTo>
                        <a:pt x="61" y="30"/>
                        <a:pt x="57" y="33"/>
                        <a:pt x="56" y="40"/>
                      </a:cubicBezTo>
                      <a:cubicBezTo>
                        <a:pt x="56" y="55"/>
                        <a:pt x="68" y="43"/>
                        <a:pt x="71" y="51"/>
                      </a:cubicBezTo>
                      <a:cubicBezTo>
                        <a:pt x="79" y="74"/>
                        <a:pt x="0" y="67"/>
                        <a:pt x="13" y="45"/>
                      </a:cubicBezTo>
                      <a:cubicBezTo>
                        <a:pt x="20" y="34"/>
                        <a:pt x="42" y="42"/>
                        <a:pt x="48" y="33"/>
                      </a:cubicBezTo>
                      <a:cubicBezTo>
                        <a:pt x="54" y="24"/>
                        <a:pt x="36" y="0"/>
                        <a:pt x="63" y="5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0" name="Freeform 357"/>
                <p:cNvSpPr>
                  <a:spLocks/>
                </p:cNvSpPr>
                <p:nvPr/>
              </p:nvSpPr>
              <p:spPr bwMode="gray">
                <a:xfrm>
                  <a:off x="18418175" y="5886451"/>
                  <a:ext cx="2433638" cy="2871788"/>
                </a:xfrm>
                <a:custGeom>
                  <a:avLst/>
                  <a:gdLst/>
                  <a:ahLst/>
                  <a:cxnLst>
                    <a:cxn ang="0">
                      <a:pos x="268" y="11"/>
                    </a:cxn>
                    <a:cxn ang="0">
                      <a:pos x="21" y="226"/>
                    </a:cxn>
                    <a:cxn ang="0">
                      <a:pos x="109" y="600"/>
                    </a:cxn>
                    <a:cxn ang="0">
                      <a:pos x="453" y="496"/>
                    </a:cxn>
                    <a:cxn ang="0">
                      <a:pos x="450" y="328"/>
                    </a:cxn>
                    <a:cxn ang="0">
                      <a:pos x="258" y="0"/>
                    </a:cxn>
                  </a:cxnLst>
                  <a:rect l="0" t="0" r="r" b="b"/>
                  <a:pathLst>
                    <a:path w="649" h="766">
                      <a:moveTo>
                        <a:pt x="268" y="11"/>
                      </a:moveTo>
                      <a:cubicBezTo>
                        <a:pt x="149" y="3"/>
                        <a:pt x="36" y="118"/>
                        <a:pt x="21" y="226"/>
                      </a:cubicBezTo>
                      <a:cubicBezTo>
                        <a:pt x="0" y="370"/>
                        <a:pt x="106" y="473"/>
                        <a:pt x="109" y="600"/>
                      </a:cubicBezTo>
                      <a:cubicBezTo>
                        <a:pt x="189" y="766"/>
                        <a:pt x="395" y="606"/>
                        <a:pt x="453" y="496"/>
                      </a:cubicBezTo>
                      <a:cubicBezTo>
                        <a:pt x="556" y="490"/>
                        <a:pt x="562" y="282"/>
                        <a:pt x="450" y="328"/>
                      </a:cubicBezTo>
                      <a:cubicBezTo>
                        <a:pt x="649" y="193"/>
                        <a:pt x="404" y="8"/>
                        <a:pt x="258" y="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1" name="Freeform 358"/>
                <p:cNvSpPr>
                  <a:spLocks/>
                </p:cNvSpPr>
                <p:nvPr/>
              </p:nvSpPr>
              <p:spPr bwMode="gray">
                <a:xfrm>
                  <a:off x="18246725" y="5499101"/>
                  <a:ext cx="2940050" cy="4291013"/>
                </a:xfrm>
                <a:custGeom>
                  <a:avLst/>
                  <a:gdLst/>
                  <a:ahLst/>
                  <a:cxnLst>
                    <a:cxn ang="0">
                      <a:pos x="348" y="108"/>
                    </a:cxn>
                    <a:cxn ang="0">
                      <a:pos x="222" y="204"/>
                    </a:cxn>
                    <a:cxn ang="0">
                      <a:pos x="123" y="354"/>
                    </a:cxn>
                    <a:cxn ang="0">
                      <a:pos x="227" y="721"/>
                    </a:cxn>
                    <a:cxn ang="0">
                      <a:pos x="292" y="859"/>
                    </a:cxn>
                    <a:cxn ang="0">
                      <a:pos x="280" y="1008"/>
                    </a:cxn>
                    <a:cxn ang="0">
                      <a:pos x="191" y="867"/>
                    </a:cxn>
                    <a:cxn ang="0">
                      <a:pos x="175" y="1083"/>
                    </a:cxn>
                    <a:cxn ang="0">
                      <a:pos x="171" y="1021"/>
                    </a:cxn>
                    <a:cxn ang="0">
                      <a:pos x="112" y="1080"/>
                    </a:cxn>
                    <a:cxn ang="0">
                      <a:pos x="126" y="987"/>
                    </a:cxn>
                    <a:cxn ang="0">
                      <a:pos x="87" y="899"/>
                    </a:cxn>
                    <a:cxn ang="0">
                      <a:pos x="78" y="798"/>
                    </a:cxn>
                    <a:cxn ang="0">
                      <a:pos x="57" y="706"/>
                    </a:cxn>
                    <a:cxn ang="0">
                      <a:pos x="9" y="524"/>
                    </a:cxn>
                    <a:cxn ang="0">
                      <a:pos x="30" y="431"/>
                    </a:cxn>
                    <a:cxn ang="0">
                      <a:pos x="5" y="330"/>
                    </a:cxn>
                    <a:cxn ang="0">
                      <a:pos x="146" y="96"/>
                    </a:cxn>
                    <a:cxn ang="0">
                      <a:pos x="384" y="83"/>
                    </a:cxn>
                    <a:cxn ang="0">
                      <a:pos x="408" y="57"/>
                    </a:cxn>
                    <a:cxn ang="0">
                      <a:pos x="401" y="88"/>
                    </a:cxn>
                    <a:cxn ang="0">
                      <a:pos x="439" y="76"/>
                    </a:cxn>
                    <a:cxn ang="0">
                      <a:pos x="433" y="96"/>
                    </a:cxn>
                    <a:cxn ang="0">
                      <a:pos x="573" y="201"/>
                    </a:cxn>
                    <a:cxn ang="0">
                      <a:pos x="690" y="358"/>
                    </a:cxn>
                    <a:cxn ang="0">
                      <a:pos x="754" y="556"/>
                    </a:cxn>
                    <a:cxn ang="0">
                      <a:pos x="762" y="781"/>
                    </a:cxn>
                    <a:cxn ang="0">
                      <a:pos x="682" y="990"/>
                    </a:cxn>
                    <a:cxn ang="0">
                      <a:pos x="602" y="1065"/>
                    </a:cxn>
                    <a:cxn ang="0">
                      <a:pos x="518" y="1144"/>
                    </a:cxn>
                    <a:cxn ang="0">
                      <a:pos x="517" y="1101"/>
                    </a:cxn>
                    <a:cxn ang="0">
                      <a:pos x="498" y="1108"/>
                    </a:cxn>
                    <a:cxn ang="0">
                      <a:pos x="505" y="1044"/>
                    </a:cxn>
                    <a:cxn ang="0">
                      <a:pos x="481" y="1058"/>
                    </a:cxn>
                    <a:cxn ang="0">
                      <a:pos x="489" y="956"/>
                    </a:cxn>
                    <a:cxn ang="0">
                      <a:pos x="462" y="967"/>
                    </a:cxn>
                    <a:cxn ang="0">
                      <a:pos x="470" y="863"/>
                    </a:cxn>
                    <a:cxn ang="0">
                      <a:pos x="509" y="794"/>
                    </a:cxn>
                    <a:cxn ang="0">
                      <a:pos x="510" y="601"/>
                    </a:cxn>
                    <a:cxn ang="0">
                      <a:pos x="563" y="444"/>
                    </a:cxn>
                    <a:cxn ang="0">
                      <a:pos x="466" y="439"/>
                    </a:cxn>
                    <a:cxn ang="0">
                      <a:pos x="409" y="253"/>
                    </a:cxn>
                    <a:cxn ang="0">
                      <a:pos x="351" y="113"/>
                    </a:cxn>
                    <a:cxn ang="0">
                      <a:pos x="340" y="112"/>
                    </a:cxn>
                  </a:cxnLst>
                  <a:rect l="0" t="0" r="r" b="b"/>
                  <a:pathLst>
                    <a:path w="784" h="1144">
                      <a:moveTo>
                        <a:pt x="348" y="108"/>
                      </a:moveTo>
                      <a:cubicBezTo>
                        <a:pt x="281" y="115"/>
                        <a:pt x="264" y="161"/>
                        <a:pt x="222" y="204"/>
                      </a:cubicBezTo>
                      <a:cubicBezTo>
                        <a:pt x="175" y="253"/>
                        <a:pt x="144" y="293"/>
                        <a:pt x="123" y="354"/>
                      </a:cubicBezTo>
                      <a:cubicBezTo>
                        <a:pt x="77" y="485"/>
                        <a:pt x="125" y="621"/>
                        <a:pt x="227" y="721"/>
                      </a:cubicBezTo>
                      <a:cubicBezTo>
                        <a:pt x="268" y="761"/>
                        <a:pt x="272" y="802"/>
                        <a:pt x="292" y="859"/>
                      </a:cubicBezTo>
                      <a:cubicBezTo>
                        <a:pt x="308" y="906"/>
                        <a:pt x="317" y="974"/>
                        <a:pt x="280" y="1008"/>
                      </a:cubicBezTo>
                      <a:cubicBezTo>
                        <a:pt x="240" y="985"/>
                        <a:pt x="257" y="868"/>
                        <a:pt x="191" y="867"/>
                      </a:cubicBezTo>
                      <a:cubicBezTo>
                        <a:pt x="187" y="952"/>
                        <a:pt x="256" y="1012"/>
                        <a:pt x="175" y="1083"/>
                      </a:cubicBezTo>
                      <a:cubicBezTo>
                        <a:pt x="175" y="1060"/>
                        <a:pt x="194" y="1029"/>
                        <a:pt x="171" y="1021"/>
                      </a:cubicBezTo>
                      <a:cubicBezTo>
                        <a:pt x="174" y="1056"/>
                        <a:pt x="143" y="1072"/>
                        <a:pt x="112" y="1080"/>
                      </a:cubicBezTo>
                      <a:cubicBezTo>
                        <a:pt x="126" y="1053"/>
                        <a:pt x="131" y="1019"/>
                        <a:pt x="126" y="987"/>
                      </a:cubicBezTo>
                      <a:cubicBezTo>
                        <a:pt x="121" y="952"/>
                        <a:pt x="99" y="932"/>
                        <a:pt x="87" y="899"/>
                      </a:cubicBezTo>
                      <a:cubicBezTo>
                        <a:pt x="75" y="866"/>
                        <a:pt x="78" y="833"/>
                        <a:pt x="78" y="798"/>
                      </a:cubicBezTo>
                      <a:cubicBezTo>
                        <a:pt x="78" y="758"/>
                        <a:pt x="69" y="741"/>
                        <a:pt x="57" y="706"/>
                      </a:cubicBezTo>
                      <a:cubicBezTo>
                        <a:pt x="37" y="653"/>
                        <a:pt x="0" y="584"/>
                        <a:pt x="9" y="524"/>
                      </a:cubicBezTo>
                      <a:cubicBezTo>
                        <a:pt x="14" y="492"/>
                        <a:pt x="32" y="465"/>
                        <a:pt x="30" y="431"/>
                      </a:cubicBezTo>
                      <a:cubicBezTo>
                        <a:pt x="27" y="395"/>
                        <a:pt x="7" y="367"/>
                        <a:pt x="5" y="330"/>
                      </a:cubicBezTo>
                      <a:cubicBezTo>
                        <a:pt x="1" y="237"/>
                        <a:pt x="76" y="148"/>
                        <a:pt x="146" y="96"/>
                      </a:cubicBezTo>
                      <a:cubicBezTo>
                        <a:pt x="208" y="50"/>
                        <a:pt x="334" y="0"/>
                        <a:pt x="384" y="83"/>
                      </a:cubicBezTo>
                      <a:cubicBezTo>
                        <a:pt x="392" y="73"/>
                        <a:pt x="399" y="65"/>
                        <a:pt x="408" y="57"/>
                      </a:cubicBezTo>
                      <a:cubicBezTo>
                        <a:pt x="399" y="66"/>
                        <a:pt x="401" y="73"/>
                        <a:pt x="401" y="88"/>
                      </a:cubicBezTo>
                      <a:cubicBezTo>
                        <a:pt x="412" y="82"/>
                        <a:pt x="425" y="78"/>
                        <a:pt x="439" y="76"/>
                      </a:cubicBezTo>
                      <a:cubicBezTo>
                        <a:pt x="434" y="83"/>
                        <a:pt x="436" y="89"/>
                        <a:pt x="433" y="96"/>
                      </a:cubicBezTo>
                      <a:cubicBezTo>
                        <a:pt x="520" y="100"/>
                        <a:pt x="526" y="133"/>
                        <a:pt x="573" y="201"/>
                      </a:cubicBezTo>
                      <a:cubicBezTo>
                        <a:pt x="609" y="254"/>
                        <a:pt x="656" y="303"/>
                        <a:pt x="690" y="358"/>
                      </a:cubicBezTo>
                      <a:cubicBezTo>
                        <a:pt x="725" y="417"/>
                        <a:pt x="739" y="491"/>
                        <a:pt x="754" y="556"/>
                      </a:cubicBezTo>
                      <a:cubicBezTo>
                        <a:pt x="773" y="632"/>
                        <a:pt x="784" y="705"/>
                        <a:pt x="762" y="781"/>
                      </a:cubicBezTo>
                      <a:cubicBezTo>
                        <a:pt x="744" y="845"/>
                        <a:pt x="722" y="934"/>
                        <a:pt x="682" y="990"/>
                      </a:cubicBezTo>
                      <a:cubicBezTo>
                        <a:pt x="659" y="1022"/>
                        <a:pt x="634" y="1045"/>
                        <a:pt x="602" y="1065"/>
                      </a:cubicBezTo>
                      <a:cubicBezTo>
                        <a:pt x="564" y="1089"/>
                        <a:pt x="546" y="1116"/>
                        <a:pt x="518" y="1144"/>
                      </a:cubicBezTo>
                      <a:cubicBezTo>
                        <a:pt x="517" y="1130"/>
                        <a:pt x="518" y="1115"/>
                        <a:pt x="517" y="1101"/>
                      </a:cubicBezTo>
                      <a:cubicBezTo>
                        <a:pt x="513" y="1103"/>
                        <a:pt x="503" y="1104"/>
                        <a:pt x="498" y="1108"/>
                      </a:cubicBezTo>
                      <a:cubicBezTo>
                        <a:pt x="494" y="1086"/>
                        <a:pt x="501" y="1064"/>
                        <a:pt x="505" y="1044"/>
                      </a:cubicBezTo>
                      <a:cubicBezTo>
                        <a:pt x="499" y="1049"/>
                        <a:pt x="487" y="1053"/>
                        <a:pt x="481" y="1058"/>
                      </a:cubicBezTo>
                      <a:cubicBezTo>
                        <a:pt x="482" y="1024"/>
                        <a:pt x="477" y="987"/>
                        <a:pt x="489" y="956"/>
                      </a:cubicBezTo>
                      <a:cubicBezTo>
                        <a:pt x="481" y="963"/>
                        <a:pt x="470" y="963"/>
                        <a:pt x="462" y="967"/>
                      </a:cubicBezTo>
                      <a:cubicBezTo>
                        <a:pt x="460" y="931"/>
                        <a:pt x="458" y="895"/>
                        <a:pt x="470" y="863"/>
                      </a:cubicBezTo>
                      <a:cubicBezTo>
                        <a:pt x="479" y="839"/>
                        <a:pt x="502" y="819"/>
                        <a:pt x="509" y="794"/>
                      </a:cubicBezTo>
                      <a:cubicBezTo>
                        <a:pt x="525" y="740"/>
                        <a:pt x="504" y="660"/>
                        <a:pt x="510" y="601"/>
                      </a:cubicBezTo>
                      <a:cubicBezTo>
                        <a:pt x="551" y="591"/>
                        <a:pt x="603" y="512"/>
                        <a:pt x="563" y="444"/>
                      </a:cubicBezTo>
                      <a:cubicBezTo>
                        <a:pt x="536" y="397"/>
                        <a:pt x="501" y="484"/>
                        <a:pt x="466" y="439"/>
                      </a:cubicBezTo>
                      <a:cubicBezTo>
                        <a:pt x="432" y="394"/>
                        <a:pt x="408" y="309"/>
                        <a:pt x="409" y="253"/>
                      </a:cubicBezTo>
                      <a:cubicBezTo>
                        <a:pt x="409" y="185"/>
                        <a:pt x="382" y="167"/>
                        <a:pt x="351" y="113"/>
                      </a:cubicBezTo>
                      <a:cubicBezTo>
                        <a:pt x="347" y="112"/>
                        <a:pt x="344" y="113"/>
                        <a:pt x="340" y="112"/>
                      </a:cubicBezTo>
                    </a:path>
                  </a:pathLst>
                </a:custGeom>
                <a:solidFill>
                  <a:srgbClr val="C69C6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2" name="Freeform 359"/>
                <p:cNvSpPr>
                  <a:spLocks/>
                </p:cNvSpPr>
                <p:nvPr/>
              </p:nvSpPr>
              <p:spPr bwMode="gray">
                <a:xfrm>
                  <a:off x="20223162" y="6965951"/>
                  <a:ext cx="393700" cy="1162050"/>
                </a:xfrm>
                <a:custGeom>
                  <a:avLst/>
                  <a:gdLst/>
                  <a:ahLst/>
                  <a:cxnLst>
                    <a:cxn ang="0">
                      <a:pos x="41" y="53"/>
                    </a:cxn>
                    <a:cxn ang="0">
                      <a:pos x="58" y="182"/>
                    </a:cxn>
                    <a:cxn ang="0">
                      <a:pos x="16" y="233"/>
                    </a:cxn>
                    <a:cxn ang="0">
                      <a:pos x="21" y="310"/>
                    </a:cxn>
                    <a:cxn ang="0">
                      <a:pos x="105" y="14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5" h="310">
                      <a:moveTo>
                        <a:pt x="41" y="53"/>
                      </a:moveTo>
                      <a:cubicBezTo>
                        <a:pt x="58" y="67"/>
                        <a:pt x="88" y="145"/>
                        <a:pt x="58" y="182"/>
                      </a:cubicBezTo>
                      <a:cubicBezTo>
                        <a:pt x="44" y="199"/>
                        <a:pt x="24" y="208"/>
                        <a:pt x="16" y="233"/>
                      </a:cubicBezTo>
                      <a:cubicBezTo>
                        <a:pt x="8" y="257"/>
                        <a:pt x="12" y="289"/>
                        <a:pt x="21" y="310"/>
                      </a:cubicBezTo>
                      <a:cubicBezTo>
                        <a:pt x="22" y="237"/>
                        <a:pt x="105" y="226"/>
                        <a:pt x="105" y="147"/>
                      </a:cubicBezTo>
                      <a:cubicBezTo>
                        <a:pt x="104" y="66"/>
                        <a:pt x="39" y="58"/>
                        <a:pt x="0" y="0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3" name="Freeform 360"/>
                <p:cNvSpPr>
                  <a:spLocks/>
                </p:cNvSpPr>
                <p:nvPr/>
              </p:nvSpPr>
              <p:spPr bwMode="gray">
                <a:xfrm>
                  <a:off x="18265775" y="7123113"/>
                  <a:ext cx="2208213" cy="4467225"/>
                </a:xfrm>
                <a:custGeom>
                  <a:avLst/>
                  <a:gdLst/>
                  <a:ahLst/>
                  <a:cxnLst>
                    <a:cxn ang="0">
                      <a:pos x="213" y="229"/>
                    </a:cxn>
                    <a:cxn ang="0">
                      <a:pos x="206" y="543"/>
                    </a:cxn>
                    <a:cxn ang="0">
                      <a:pos x="0" y="863"/>
                    </a:cxn>
                    <a:cxn ang="0">
                      <a:pos x="546" y="431"/>
                    </a:cxn>
                    <a:cxn ang="0">
                      <a:pos x="556" y="356"/>
                    </a:cxn>
                    <a:cxn ang="0">
                      <a:pos x="543" y="225"/>
                    </a:cxn>
                    <a:cxn ang="0">
                      <a:pos x="461" y="99"/>
                    </a:cxn>
                    <a:cxn ang="0">
                      <a:pos x="213" y="229"/>
                    </a:cxn>
                  </a:cxnLst>
                  <a:rect l="0" t="0" r="r" b="b"/>
                  <a:pathLst>
                    <a:path w="589" h="1191">
                      <a:moveTo>
                        <a:pt x="213" y="229"/>
                      </a:moveTo>
                      <a:cubicBezTo>
                        <a:pt x="231" y="335"/>
                        <a:pt x="269" y="460"/>
                        <a:pt x="206" y="543"/>
                      </a:cubicBezTo>
                      <a:cubicBezTo>
                        <a:pt x="127" y="579"/>
                        <a:pt x="203" y="616"/>
                        <a:pt x="0" y="863"/>
                      </a:cubicBezTo>
                      <a:cubicBezTo>
                        <a:pt x="316" y="1191"/>
                        <a:pt x="589" y="580"/>
                        <a:pt x="546" y="431"/>
                      </a:cubicBezTo>
                      <a:cubicBezTo>
                        <a:pt x="541" y="410"/>
                        <a:pt x="566" y="382"/>
                        <a:pt x="556" y="356"/>
                      </a:cubicBezTo>
                      <a:cubicBezTo>
                        <a:pt x="546" y="329"/>
                        <a:pt x="546" y="253"/>
                        <a:pt x="543" y="225"/>
                      </a:cubicBezTo>
                      <a:cubicBezTo>
                        <a:pt x="540" y="190"/>
                        <a:pt x="483" y="124"/>
                        <a:pt x="461" y="99"/>
                      </a:cubicBezTo>
                      <a:cubicBezTo>
                        <a:pt x="369" y="0"/>
                        <a:pt x="255" y="157"/>
                        <a:pt x="213" y="229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4" name="Freeform 361"/>
                <p:cNvSpPr>
                  <a:spLocks/>
                </p:cNvSpPr>
                <p:nvPr/>
              </p:nvSpPr>
              <p:spPr bwMode="gray">
                <a:xfrm>
                  <a:off x="19056350" y="7715251"/>
                  <a:ext cx="1222375" cy="855663"/>
                </a:xfrm>
                <a:custGeom>
                  <a:avLst/>
                  <a:gdLst/>
                  <a:ahLst/>
                  <a:cxnLst>
                    <a:cxn ang="0">
                      <a:pos x="66" y="203"/>
                    </a:cxn>
                    <a:cxn ang="0">
                      <a:pos x="186" y="196"/>
                    </a:cxn>
                    <a:cxn ang="0">
                      <a:pos x="323" y="39"/>
                    </a:cxn>
                    <a:cxn ang="0">
                      <a:pos x="303" y="0"/>
                    </a:cxn>
                    <a:cxn ang="0">
                      <a:pos x="177" y="74"/>
                    </a:cxn>
                    <a:cxn ang="0">
                      <a:pos x="64" y="90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326" h="228">
                      <a:moveTo>
                        <a:pt x="66" y="203"/>
                      </a:moveTo>
                      <a:cubicBezTo>
                        <a:pt x="107" y="228"/>
                        <a:pt x="148" y="208"/>
                        <a:pt x="186" y="196"/>
                      </a:cubicBezTo>
                      <a:cubicBezTo>
                        <a:pt x="272" y="167"/>
                        <a:pt x="295" y="119"/>
                        <a:pt x="323" y="39"/>
                      </a:cubicBezTo>
                      <a:cubicBezTo>
                        <a:pt x="314" y="26"/>
                        <a:pt x="326" y="5"/>
                        <a:pt x="303" y="0"/>
                      </a:cubicBezTo>
                      <a:cubicBezTo>
                        <a:pt x="298" y="45"/>
                        <a:pt x="215" y="68"/>
                        <a:pt x="177" y="74"/>
                      </a:cubicBezTo>
                      <a:cubicBezTo>
                        <a:pt x="140" y="79"/>
                        <a:pt x="100" y="78"/>
                        <a:pt x="64" y="90"/>
                      </a:cubicBezTo>
                      <a:cubicBezTo>
                        <a:pt x="40" y="98"/>
                        <a:pt x="28" y="114"/>
                        <a:pt x="0" y="116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5" name="Freeform 362"/>
                <p:cNvSpPr>
                  <a:spLocks/>
                </p:cNvSpPr>
                <p:nvPr/>
              </p:nvSpPr>
              <p:spPr bwMode="gray">
                <a:xfrm>
                  <a:off x="19045237" y="7697788"/>
                  <a:ext cx="1214438" cy="1057275"/>
                </a:xfrm>
                <a:custGeom>
                  <a:avLst/>
                  <a:gdLst/>
                  <a:ahLst/>
                  <a:cxnLst>
                    <a:cxn ang="0">
                      <a:pos x="0" y="119"/>
                    </a:cxn>
                    <a:cxn ang="0">
                      <a:pos x="324" y="0"/>
                    </a:cxn>
                  </a:cxnLst>
                  <a:rect l="0" t="0" r="r" b="b"/>
                  <a:pathLst>
                    <a:path w="324" h="282">
                      <a:moveTo>
                        <a:pt x="0" y="119"/>
                      </a:moveTo>
                      <a:cubicBezTo>
                        <a:pt x="104" y="282"/>
                        <a:pt x="266" y="109"/>
                        <a:pt x="324" y="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6" name="Freeform 363"/>
                <p:cNvSpPr>
                  <a:spLocks/>
                </p:cNvSpPr>
                <p:nvPr/>
              </p:nvSpPr>
              <p:spPr bwMode="gray">
                <a:xfrm>
                  <a:off x="17811750" y="15444788"/>
                  <a:ext cx="295275" cy="600075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37" y="146"/>
                    </a:cxn>
                    <a:cxn ang="0">
                      <a:pos x="0" y="8"/>
                    </a:cxn>
                  </a:cxnLst>
                  <a:rect l="0" t="0" r="r" b="b"/>
                  <a:pathLst>
                    <a:path w="79" h="160">
                      <a:moveTo>
                        <a:pt x="13" y="0"/>
                      </a:moveTo>
                      <a:cubicBezTo>
                        <a:pt x="29" y="19"/>
                        <a:pt x="79" y="123"/>
                        <a:pt x="37" y="146"/>
                      </a:cubicBezTo>
                      <a:cubicBezTo>
                        <a:pt x="12" y="160"/>
                        <a:pt x="28" y="25"/>
                        <a:pt x="0" y="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7" name="Freeform 364"/>
                <p:cNvSpPr>
                  <a:spLocks/>
                </p:cNvSpPr>
                <p:nvPr/>
              </p:nvSpPr>
              <p:spPr bwMode="gray">
                <a:xfrm>
                  <a:off x="17811750" y="14492288"/>
                  <a:ext cx="528638" cy="996950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58" y="266"/>
                    </a:cxn>
                    <a:cxn ang="0">
                      <a:pos x="33" y="12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1" h="266">
                      <a:moveTo>
                        <a:pt x="0" y="4"/>
                      </a:moveTo>
                      <a:cubicBezTo>
                        <a:pt x="37" y="34"/>
                        <a:pt x="141" y="257"/>
                        <a:pt x="58" y="266"/>
                      </a:cubicBezTo>
                      <a:cubicBezTo>
                        <a:pt x="30" y="226"/>
                        <a:pt x="46" y="172"/>
                        <a:pt x="33" y="129"/>
                      </a:cubicBezTo>
                      <a:cubicBezTo>
                        <a:pt x="18" y="81"/>
                        <a:pt x="0" y="53"/>
                        <a:pt x="0" y="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8" name="Freeform 365"/>
                <p:cNvSpPr>
                  <a:spLocks/>
                </p:cNvSpPr>
                <p:nvPr/>
              </p:nvSpPr>
              <p:spPr bwMode="gray">
                <a:xfrm>
                  <a:off x="16495712" y="8416926"/>
                  <a:ext cx="4832350" cy="6521450"/>
                </a:xfrm>
                <a:custGeom>
                  <a:avLst/>
                  <a:gdLst/>
                  <a:ahLst/>
                  <a:cxnLst>
                    <a:cxn ang="0">
                      <a:pos x="530" y="466"/>
                    </a:cxn>
                    <a:cxn ang="0">
                      <a:pos x="636" y="308"/>
                    </a:cxn>
                    <a:cxn ang="0">
                      <a:pos x="710" y="120"/>
                    </a:cxn>
                    <a:cxn ang="0">
                      <a:pos x="583" y="280"/>
                    </a:cxn>
                    <a:cxn ang="0">
                      <a:pos x="401" y="380"/>
                    </a:cxn>
                    <a:cxn ang="0">
                      <a:pos x="386" y="477"/>
                    </a:cxn>
                    <a:cxn ang="0">
                      <a:pos x="342" y="555"/>
                    </a:cxn>
                    <a:cxn ang="0">
                      <a:pos x="302" y="660"/>
                    </a:cxn>
                    <a:cxn ang="0">
                      <a:pos x="264" y="662"/>
                    </a:cxn>
                    <a:cxn ang="0">
                      <a:pos x="197" y="820"/>
                    </a:cxn>
                    <a:cxn ang="0">
                      <a:pos x="108" y="958"/>
                    </a:cxn>
                    <a:cxn ang="0">
                      <a:pos x="6" y="1009"/>
                    </a:cxn>
                    <a:cxn ang="0">
                      <a:pos x="125" y="1314"/>
                    </a:cxn>
                    <a:cxn ang="0">
                      <a:pos x="311" y="1107"/>
                    </a:cxn>
                    <a:cxn ang="0">
                      <a:pos x="423" y="1224"/>
                    </a:cxn>
                    <a:cxn ang="0">
                      <a:pos x="337" y="1234"/>
                    </a:cxn>
                    <a:cxn ang="0">
                      <a:pos x="183" y="1566"/>
                    </a:cxn>
                    <a:cxn ang="0">
                      <a:pos x="634" y="1691"/>
                    </a:cxn>
                    <a:cxn ang="0">
                      <a:pos x="1134" y="1644"/>
                    </a:cxn>
                    <a:cxn ang="0">
                      <a:pos x="1076" y="1517"/>
                    </a:cxn>
                    <a:cxn ang="0">
                      <a:pos x="988" y="1169"/>
                    </a:cxn>
                    <a:cxn ang="0">
                      <a:pos x="1111" y="872"/>
                    </a:cxn>
                    <a:cxn ang="0">
                      <a:pos x="1158" y="185"/>
                    </a:cxn>
                    <a:cxn ang="0">
                      <a:pos x="1077" y="94"/>
                    </a:cxn>
                    <a:cxn ang="0">
                      <a:pos x="1029" y="0"/>
                    </a:cxn>
                  </a:cxnLst>
                  <a:rect l="0" t="0" r="r" b="b"/>
                  <a:pathLst>
                    <a:path w="1289" h="1739">
                      <a:moveTo>
                        <a:pt x="530" y="466"/>
                      </a:moveTo>
                      <a:cubicBezTo>
                        <a:pt x="550" y="401"/>
                        <a:pt x="583" y="351"/>
                        <a:pt x="636" y="308"/>
                      </a:cubicBezTo>
                      <a:cubicBezTo>
                        <a:pt x="701" y="255"/>
                        <a:pt x="687" y="195"/>
                        <a:pt x="710" y="120"/>
                      </a:cubicBezTo>
                      <a:cubicBezTo>
                        <a:pt x="677" y="180"/>
                        <a:pt x="635" y="245"/>
                        <a:pt x="583" y="280"/>
                      </a:cubicBezTo>
                      <a:cubicBezTo>
                        <a:pt x="539" y="309"/>
                        <a:pt x="454" y="365"/>
                        <a:pt x="401" y="380"/>
                      </a:cubicBezTo>
                      <a:cubicBezTo>
                        <a:pt x="391" y="411"/>
                        <a:pt x="397" y="448"/>
                        <a:pt x="386" y="477"/>
                      </a:cubicBezTo>
                      <a:cubicBezTo>
                        <a:pt x="372" y="514"/>
                        <a:pt x="332" y="500"/>
                        <a:pt x="342" y="555"/>
                      </a:cubicBezTo>
                      <a:cubicBezTo>
                        <a:pt x="289" y="563"/>
                        <a:pt x="280" y="620"/>
                        <a:pt x="302" y="660"/>
                      </a:cubicBezTo>
                      <a:cubicBezTo>
                        <a:pt x="290" y="659"/>
                        <a:pt x="276" y="663"/>
                        <a:pt x="264" y="662"/>
                      </a:cubicBezTo>
                      <a:cubicBezTo>
                        <a:pt x="227" y="692"/>
                        <a:pt x="224" y="776"/>
                        <a:pt x="197" y="820"/>
                      </a:cubicBezTo>
                      <a:cubicBezTo>
                        <a:pt x="170" y="862"/>
                        <a:pt x="99" y="907"/>
                        <a:pt x="108" y="958"/>
                      </a:cubicBezTo>
                      <a:cubicBezTo>
                        <a:pt x="71" y="972"/>
                        <a:pt x="42" y="997"/>
                        <a:pt x="6" y="1009"/>
                      </a:cubicBezTo>
                      <a:cubicBezTo>
                        <a:pt x="0" y="1119"/>
                        <a:pt x="1" y="1277"/>
                        <a:pt x="125" y="1314"/>
                      </a:cubicBezTo>
                      <a:cubicBezTo>
                        <a:pt x="246" y="1350"/>
                        <a:pt x="402" y="1227"/>
                        <a:pt x="311" y="1107"/>
                      </a:cubicBezTo>
                      <a:cubicBezTo>
                        <a:pt x="336" y="1151"/>
                        <a:pt x="421" y="1171"/>
                        <a:pt x="423" y="1224"/>
                      </a:cubicBezTo>
                      <a:cubicBezTo>
                        <a:pt x="396" y="1233"/>
                        <a:pt x="366" y="1235"/>
                        <a:pt x="337" y="1234"/>
                      </a:cubicBezTo>
                      <a:cubicBezTo>
                        <a:pt x="329" y="1389"/>
                        <a:pt x="276" y="1449"/>
                        <a:pt x="183" y="1566"/>
                      </a:cubicBezTo>
                      <a:cubicBezTo>
                        <a:pt x="274" y="1673"/>
                        <a:pt x="496" y="1683"/>
                        <a:pt x="634" y="1691"/>
                      </a:cubicBezTo>
                      <a:cubicBezTo>
                        <a:pt x="758" y="1699"/>
                        <a:pt x="1048" y="1739"/>
                        <a:pt x="1134" y="1644"/>
                      </a:cubicBezTo>
                      <a:cubicBezTo>
                        <a:pt x="1109" y="1609"/>
                        <a:pt x="1087" y="1557"/>
                        <a:pt x="1076" y="1517"/>
                      </a:cubicBezTo>
                      <a:cubicBezTo>
                        <a:pt x="973" y="1421"/>
                        <a:pt x="989" y="1307"/>
                        <a:pt x="988" y="1169"/>
                      </a:cubicBezTo>
                      <a:cubicBezTo>
                        <a:pt x="988" y="1052"/>
                        <a:pt x="1066" y="973"/>
                        <a:pt x="1111" y="872"/>
                      </a:cubicBezTo>
                      <a:cubicBezTo>
                        <a:pt x="1203" y="669"/>
                        <a:pt x="1289" y="402"/>
                        <a:pt x="1158" y="185"/>
                      </a:cubicBezTo>
                      <a:cubicBezTo>
                        <a:pt x="1138" y="152"/>
                        <a:pt x="1098" y="127"/>
                        <a:pt x="1077" y="94"/>
                      </a:cubicBezTo>
                      <a:cubicBezTo>
                        <a:pt x="1060" y="66"/>
                        <a:pt x="1063" y="15"/>
                        <a:pt x="1029" y="0"/>
                      </a:cubicBezTo>
                    </a:path>
                  </a:pathLst>
                </a:custGeom>
                <a:solidFill>
                  <a:srgbClr val="29294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69" name="Freeform 366"/>
                <p:cNvSpPr>
                  <a:spLocks/>
                </p:cNvSpPr>
                <p:nvPr/>
              </p:nvSpPr>
              <p:spPr bwMode="gray">
                <a:xfrm>
                  <a:off x="19877087" y="11296651"/>
                  <a:ext cx="525463" cy="635000"/>
                </a:xfrm>
                <a:custGeom>
                  <a:avLst/>
                  <a:gdLst/>
                  <a:ahLst/>
                  <a:cxnLst>
                    <a:cxn ang="0">
                      <a:pos x="140" y="167"/>
                    </a:cxn>
                    <a:cxn ang="0">
                      <a:pos x="35" y="53"/>
                    </a:cxn>
                    <a:cxn ang="0">
                      <a:pos x="65" y="116"/>
                    </a:cxn>
                    <a:cxn ang="0">
                      <a:pos x="140" y="167"/>
                    </a:cxn>
                  </a:cxnLst>
                  <a:rect l="0" t="0" r="r" b="b"/>
                  <a:pathLst>
                    <a:path w="140" h="169">
                      <a:moveTo>
                        <a:pt x="140" y="167"/>
                      </a:moveTo>
                      <a:cubicBezTo>
                        <a:pt x="130" y="133"/>
                        <a:pt x="89" y="0"/>
                        <a:pt x="35" y="53"/>
                      </a:cubicBezTo>
                      <a:cubicBezTo>
                        <a:pt x="0" y="87"/>
                        <a:pt x="36" y="103"/>
                        <a:pt x="65" y="116"/>
                      </a:cubicBezTo>
                      <a:cubicBezTo>
                        <a:pt x="88" y="126"/>
                        <a:pt x="115" y="169"/>
                        <a:pt x="140" y="167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0" name="Freeform 367"/>
                <p:cNvSpPr>
                  <a:spLocks/>
                </p:cNvSpPr>
                <p:nvPr/>
              </p:nvSpPr>
              <p:spPr bwMode="gray">
                <a:xfrm>
                  <a:off x="20207287" y="11207751"/>
                  <a:ext cx="371475" cy="465138"/>
                </a:xfrm>
                <a:custGeom>
                  <a:avLst/>
                  <a:gdLst/>
                  <a:ahLst/>
                  <a:cxnLst>
                    <a:cxn ang="0">
                      <a:pos x="44" y="8"/>
                    </a:cxn>
                    <a:cxn ang="0">
                      <a:pos x="53" y="18"/>
                    </a:cxn>
                    <a:cxn ang="0">
                      <a:pos x="95" y="118"/>
                    </a:cxn>
                    <a:cxn ang="0">
                      <a:pos x="47" y="65"/>
                    </a:cxn>
                    <a:cxn ang="0">
                      <a:pos x="41" y="11"/>
                    </a:cxn>
                  </a:cxnLst>
                  <a:rect l="0" t="0" r="r" b="b"/>
                  <a:pathLst>
                    <a:path w="99" h="124">
                      <a:moveTo>
                        <a:pt x="44" y="8"/>
                      </a:moveTo>
                      <a:cubicBezTo>
                        <a:pt x="48" y="12"/>
                        <a:pt x="50" y="13"/>
                        <a:pt x="53" y="18"/>
                      </a:cubicBezTo>
                      <a:cubicBezTo>
                        <a:pt x="87" y="24"/>
                        <a:pt x="99" y="86"/>
                        <a:pt x="95" y="118"/>
                      </a:cubicBezTo>
                      <a:cubicBezTo>
                        <a:pt x="75" y="124"/>
                        <a:pt x="62" y="81"/>
                        <a:pt x="47" y="65"/>
                      </a:cubicBezTo>
                      <a:cubicBezTo>
                        <a:pt x="38" y="55"/>
                        <a:pt x="0" y="0"/>
                        <a:pt x="41" y="1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1" name="Freeform 368"/>
                <p:cNvSpPr>
                  <a:spLocks/>
                </p:cNvSpPr>
                <p:nvPr/>
              </p:nvSpPr>
              <p:spPr bwMode="gray">
                <a:xfrm>
                  <a:off x="19623087" y="13242926"/>
                  <a:ext cx="760413" cy="693738"/>
                </a:xfrm>
                <a:custGeom>
                  <a:avLst/>
                  <a:gdLst/>
                  <a:ahLst/>
                  <a:cxnLst>
                    <a:cxn ang="0">
                      <a:pos x="203" y="185"/>
                    </a:cxn>
                    <a:cxn ang="0">
                      <a:pos x="128" y="85"/>
                    </a:cxn>
                    <a:cxn ang="0">
                      <a:pos x="7" y="6"/>
                    </a:cxn>
                    <a:cxn ang="0">
                      <a:pos x="46" y="46"/>
                    </a:cxn>
                    <a:cxn ang="0">
                      <a:pos x="106" y="84"/>
                    </a:cxn>
                    <a:cxn ang="0">
                      <a:pos x="197" y="180"/>
                    </a:cxn>
                  </a:cxnLst>
                  <a:rect l="0" t="0" r="r" b="b"/>
                  <a:pathLst>
                    <a:path w="203" h="185">
                      <a:moveTo>
                        <a:pt x="203" y="185"/>
                      </a:moveTo>
                      <a:cubicBezTo>
                        <a:pt x="179" y="150"/>
                        <a:pt x="154" y="116"/>
                        <a:pt x="128" y="85"/>
                      </a:cubicBezTo>
                      <a:cubicBezTo>
                        <a:pt x="103" y="56"/>
                        <a:pt x="52" y="0"/>
                        <a:pt x="7" y="6"/>
                      </a:cubicBezTo>
                      <a:cubicBezTo>
                        <a:pt x="0" y="35"/>
                        <a:pt x="28" y="37"/>
                        <a:pt x="46" y="46"/>
                      </a:cubicBezTo>
                      <a:cubicBezTo>
                        <a:pt x="67" y="57"/>
                        <a:pt x="86" y="69"/>
                        <a:pt x="106" y="84"/>
                      </a:cubicBezTo>
                      <a:cubicBezTo>
                        <a:pt x="144" y="113"/>
                        <a:pt x="168" y="147"/>
                        <a:pt x="197" y="18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2" name="Freeform 369"/>
                <p:cNvSpPr>
                  <a:spLocks/>
                </p:cNvSpPr>
                <p:nvPr/>
              </p:nvSpPr>
              <p:spPr bwMode="gray">
                <a:xfrm>
                  <a:off x="19738975" y="9891713"/>
                  <a:ext cx="674688" cy="517525"/>
                </a:xfrm>
                <a:custGeom>
                  <a:avLst/>
                  <a:gdLst/>
                  <a:ahLst/>
                  <a:cxnLst>
                    <a:cxn ang="0">
                      <a:pos x="0" y="90"/>
                    </a:cxn>
                    <a:cxn ang="0">
                      <a:pos x="155" y="29"/>
                    </a:cxn>
                    <a:cxn ang="0">
                      <a:pos x="155" y="39"/>
                    </a:cxn>
                    <a:cxn ang="0">
                      <a:pos x="19" y="82"/>
                    </a:cxn>
                    <a:cxn ang="0">
                      <a:pos x="180" y="130"/>
                    </a:cxn>
                    <a:cxn ang="0">
                      <a:pos x="5" y="93"/>
                    </a:cxn>
                  </a:cxnLst>
                  <a:rect l="0" t="0" r="r" b="b"/>
                  <a:pathLst>
                    <a:path w="180" h="138">
                      <a:moveTo>
                        <a:pt x="0" y="90"/>
                      </a:moveTo>
                      <a:cubicBezTo>
                        <a:pt x="20" y="52"/>
                        <a:pt x="116" y="0"/>
                        <a:pt x="155" y="29"/>
                      </a:cubicBezTo>
                      <a:cubicBezTo>
                        <a:pt x="156" y="32"/>
                        <a:pt x="156" y="35"/>
                        <a:pt x="155" y="39"/>
                      </a:cubicBezTo>
                      <a:cubicBezTo>
                        <a:pt x="105" y="47"/>
                        <a:pt x="47" y="28"/>
                        <a:pt x="19" y="82"/>
                      </a:cubicBezTo>
                      <a:cubicBezTo>
                        <a:pt x="66" y="85"/>
                        <a:pt x="174" y="65"/>
                        <a:pt x="180" y="130"/>
                      </a:cubicBezTo>
                      <a:cubicBezTo>
                        <a:pt x="129" y="138"/>
                        <a:pt x="55" y="44"/>
                        <a:pt x="5" y="9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3" name="Freeform 370"/>
                <p:cNvSpPr>
                  <a:spLocks/>
                </p:cNvSpPr>
                <p:nvPr/>
              </p:nvSpPr>
              <p:spPr bwMode="gray">
                <a:xfrm>
                  <a:off x="20380325" y="9644063"/>
                  <a:ext cx="446088" cy="160338"/>
                </a:xfrm>
                <a:custGeom>
                  <a:avLst/>
                  <a:gdLst/>
                  <a:ahLst/>
                  <a:cxnLst>
                    <a:cxn ang="0">
                      <a:pos x="119" y="38"/>
                    </a:cxn>
                    <a:cxn ang="0">
                      <a:pos x="15" y="14"/>
                    </a:cxn>
                    <a:cxn ang="0">
                      <a:pos x="57" y="29"/>
                    </a:cxn>
                    <a:cxn ang="0">
                      <a:pos x="116" y="43"/>
                    </a:cxn>
                  </a:cxnLst>
                  <a:rect l="0" t="0" r="r" b="b"/>
                  <a:pathLst>
                    <a:path w="119" h="43">
                      <a:moveTo>
                        <a:pt x="119" y="38"/>
                      </a:moveTo>
                      <a:cubicBezTo>
                        <a:pt x="116" y="7"/>
                        <a:pt x="35" y="0"/>
                        <a:pt x="15" y="14"/>
                      </a:cubicBezTo>
                      <a:cubicBezTo>
                        <a:pt x="0" y="42"/>
                        <a:pt x="43" y="32"/>
                        <a:pt x="57" y="29"/>
                      </a:cubicBezTo>
                      <a:cubicBezTo>
                        <a:pt x="84" y="25"/>
                        <a:pt x="95" y="25"/>
                        <a:pt x="116" y="4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4" name="Freeform 371"/>
                <p:cNvSpPr>
                  <a:spLocks/>
                </p:cNvSpPr>
                <p:nvPr/>
              </p:nvSpPr>
              <p:spPr bwMode="gray">
                <a:xfrm>
                  <a:off x="20504150" y="10974388"/>
                  <a:ext cx="382588" cy="277813"/>
                </a:xfrm>
                <a:custGeom>
                  <a:avLst/>
                  <a:gdLst/>
                  <a:ahLst/>
                  <a:cxnLst>
                    <a:cxn ang="0">
                      <a:pos x="3" y="67"/>
                    </a:cxn>
                    <a:cxn ang="0">
                      <a:pos x="70" y="56"/>
                    </a:cxn>
                    <a:cxn ang="0">
                      <a:pos x="97" y="0"/>
                    </a:cxn>
                    <a:cxn ang="0">
                      <a:pos x="80" y="29"/>
                    </a:cxn>
                    <a:cxn ang="0">
                      <a:pos x="0" y="65"/>
                    </a:cxn>
                  </a:cxnLst>
                  <a:rect l="0" t="0" r="r" b="b"/>
                  <a:pathLst>
                    <a:path w="102" h="74">
                      <a:moveTo>
                        <a:pt x="3" y="67"/>
                      </a:moveTo>
                      <a:cubicBezTo>
                        <a:pt x="32" y="69"/>
                        <a:pt x="47" y="74"/>
                        <a:pt x="70" y="56"/>
                      </a:cubicBezTo>
                      <a:cubicBezTo>
                        <a:pt x="87" y="43"/>
                        <a:pt x="102" y="24"/>
                        <a:pt x="97" y="0"/>
                      </a:cubicBezTo>
                      <a:cubicBezTo>
                        <a:pt x="95" y="6"/>
                        <a:pt x="86" y="20"/>
                        <a:pt x="80" y="29"/>
                      </a:cubicBezTo>
                      <a:cubicBezTo>
                        <a:pt x="54" y="38"/>
                        <a:pt x="33" y="64"/>
                        <a:pt x="0" y="65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5" name="Freeform 372"/>
                <p:cNvSpPr>
                  <a:spLocks/>
                </p:cNvSpPr>
                <p:nvPr/>
              </p:nvSpPr>
              <p:spPr bwMode="gray">
                <a:xfrm>
                  <a:off x="19929475" y="9167813"/>
                  <a:ext cx="682625" cy="347663"/>
                </a:xfrm>
                <a:custGeom>
                  <a:avLst/>
                  <a:gdLst/>
                  <a:ahLst/>
                  <a:cxnLst>
                    <a:cxn ang="0">
                      <a:pos x="11" y="82"/>
                    </a:cxn>
                    <a:cxn ang="0">
                      <a:pos x="11" y="74"/>
                    </a:cxn>
                    <a:cxn ang="0">
                      <a:pos x="182" y="49"/>
                    </a:cxn>
                    <a:cxn ang="0">
                      <a:pos x="132" y="39"/>
                    </a:cxn>
                    <a:cxn ang="0">
                      <a:pos x="83" y="52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182" h="93">
                      <a:moveTo>
                        <a:pt x="11" y="82"/>
                      </a:moveTo>
                      <a:cubicBezTo>
                        <a:pt x="11" y="79"/>
                        <a:pt x="10" y="77"/>
                        <a:pt x="11" y="74"/>
                      </a:cubicBezTo>
                      <a:cubicBezTo>
                        <a:pt x="52" y="49"/>
                        <a:pt x="144" y="0"/>
                        <a:pt x="182" y="49"/>
                      </a:cubicBezTo>
                      <a:cubicBezTo>
                        <a:pt x="163" y="51"/>
                        <a:pt x="150" y="40"/>
                        <a:pt x="132" y="39"/>
                      </a:cubicBezTo>
                      <a:cubicBezTo>
                        <a:pt x="114" y="37"/>
                        <a:pt x="98" y="46"/>
                        <a:pt x="83" y="52"/>
                      </a:cubicBezTo>
                      <a:cubicBezTo>
                        <a:pt x="52" y="63"/>
                        <a:pt x="25" y="72"/>
                        <a:pt x="0" y="9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6" name="Freeform 373"/>
                <p:cNvSpPr>
                  <a:spLocks/>
                </p:cNvSpPr>
                <p:nvPr/>
              </p:nvSpPr>
              <p:spPr bwMode="gray">
                <a:xfrm>
                  <a:off x="18441987" y="9666288"/>
                  <a:ext cx="1198563" cy="1720850"/>
                </a:xfrm>
                <a:custGeom>
                  <a:avLst/>
                  <a:gdLst/>
                  <a:ahLst/>
                  <a:cxnLst>
                    <a:cxn ang="0">
                      <a:pos x="314" y="0"/>
                    </a:cxn>
                    <a:cxn ang="0">
                      <a:pos x="257" y="126"/>
                    </a:cxn>
                    <a:cxn ang="0">
                      <a:pos x="197" y="239"/>
                    </a:cxn>
                    <a:cxn ang="0">
                      <a:pos x="135" y="344"/>
                    </a:cxn>
                    <a:cxn ang="0">
                      <a:pos x="86" y="385"/>
                    </a:cxn>
                    <a:cxn ang="0">
                      <a:pos x="47" y="432"/>
                    </a:cxn>
                    <a:cxn ang="0">
                      <a:pos x="0" y="459"/>
                    </a:cxn>
                    <a:cxn ang="0">
                      <a:pos x="49" y="422"/>
                    </a:cxn>
                    <a:cxn ang="0">
                      <a:pos x="88" y="368"/>
                    </a:cxn>
                    <a:cxn ang="0">
                      <a:pos x="155" y="277"/>
                    </a:cxn>
                    <a:cxn ang="0">
                      <a:pos x="212" y="181"/>
                    </a:cxn>
                    <a:cxn ang="0">
                      <a:pos x="243" y="137"/>
                    </a:cxn>
                    <a:cxn ang="0">
                      <a:pos x="262" y="89"/>
                    </a:cxn>
                    <a:cxn ang="0">
                      <a:pos x="314" y="3"/>
                    </a:cxn>
                  </a:cxnLst>
                  <a:rect l="0" t="0" r="r" b="b"/>
                  <a:pathLst>
                    <a:path w="320" h="459">
                      <a:moveTo>
                        <a:pt x="314" y="0"/>
                      </a:moveTo>
                      <a:cubicBezTo>
                        <a:pt x="320" y="39"/>
                        <a:pt x="272" y="92"/>
                        <a:pt x="257" y="126"/>
                      </a:cubicBezTo>
                      <a:cubicBezTo>
                        <a:pt x="241" y="162"/>
                        <a:pt x="220" y="206"/>
                        <a:pt x="197" y="239"/>
                      </a:cubicBezTo>
                      <a:cubicBezTo>
                        <a:pt x="174" y="275"/>
                        <a:pt x="164" y="312"/>
                        <a:pt x="135" y="344"/>
                      </a:cubicBezTo>
                      <a:cubicBezTo>
                        <a:pt x="121" y="361"/>
                        <a:pt x="102" y="369"/>
                        <a:pt x="86" y="385"/>
                      </a:cubicBezTo>
                      <a:cubicBezTo>
                        <a:pt x="71" y="399"/>
                        <a:pt x="64" y="419"/>
                        <a:pt x="47" y="432"/>
                      </a:cubicBezTo>
                      <a:cubicBezTo>
                        <a:pt x="32" y="442"/>
                        <a:pt x="14" y="448"/>
                        <a:pt x="0" y="459"/>
                      </a:cubicBezTo>
                      <a:cubicBezTo>
                        <a:pt x="17" y="444"/>
                        <a:pt x="34" y="439"/>
                        <a:pt x="49" y="422"/>
                      </a:cubicBezTo>
                      <a:cubicBezTo>
                        <a:pt x="64" y="406"/>
                        <a:pt x="76" y="386"/>
                        <a:pt x="88" y="368"/>
                      </a:cubicBezTo>
                      <a:cubicBezTo>
                        <a:pt x="111" y="337"/>
                        <a:pt x="135" y="308"/>
                        <a:pt x="155" y="277"/>
                      </a:cubicBezTo>
                      <a:cubicBezTo>
                        <a:pt x="178" y="245"/>
                        <a:pt x="192" y="214"/>
                        <a:pt x="212" y="181"/>
                      </a:cubicBezTo>
                      <a:cubicBezTo>
                        <a:pt x="221" y="166"/>
                        <a:pt x="235" y="153"/>
                        <a:pt x="243" y="137"/>
                      </a:cubicBezTo>
                      <a:cubicBezTo>
                        <a:pt x="251" y="121"/>
                        <a:pt x="254" y="104"/>
                        <a:pt x="262" y="89"/>
                      </a:cubicBezTo>
                      <a:cubicBezTo>
                        <a:pt x="278" y="63"/>
                        <a:pt x="314" y="37"/>
                        <a:pt x="314" y="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7" name="Freeform 374"/>
                <p:cNvSpPr>
                  <a:spLocks/>
                </p:cNvSpPr>
                <p:nvPr/>
              </p:nvSpPr>
              <p:spPr bwMode="gray">
                <a:xfrm>
                  <a:off x="18348325" y="8818563"/>
                  <a:ext cx="2203450" cy="1736725"/>
                </a:xfrm>
                <a:custGeom>
                  <a:avLst/>
                  <a:gdLst/>
                  <a:ahLst/>
                  <a:cxnLst>
                    <a:cxn ang="0">
                      <a:pos x="588" y="8"/>
                    </a:cxn>
                    <a:cxn ang="0">
                      <a:pos x="460" y="28"/>
                    </a:cxn>
                    <a:cxn ang="0">
                      <a:pos x="352" y="80"/>
                    </a:cxn>
                    <a:cxn ang="0">
                      <a:pos x="272" y="178"/>
                    </a:cxn>
                    <a:cxn ang="0">
                      <a:pos x="242" y="220"/>
                    </a:cxn>
                    <a:cxn ang="0">
                      <a:pos x="199" y="263"/>
                    </a:cxn>
                    <a:cxn ang="0">
                      <a:pos x="83" y="370"/>
                    </a:cxn>
                    <a:cxn ang="0">
                      <a:pos x="43" y="427"/>
                    </a:cxn>
                    <a:cxn ang="0">
                      <a:pos x="0" y="463"/>
                    </a:cxn>
                    <a:cxn ang="0">
                      <a:pos x="97" y="385"/>
                    </a:cxn>
                    <a:cxn ang="0">
                      <a:pos x="188" y="296"/>
                    </a:cxn>
                    <a:cxn ang="0">
                      <a:pos x="230" y="250"/>
                    </a:cxn>
                    <a:cxn ang="0">
                      <a:pos x="277" y="215"/>
                    </a:cxn>
                    <a:cxn ang="0">
                      <a:pos x="302" y="162"/>
                    </a:cxn>
                    <a:cxn ang="0">
                      <a:pos x="349" y="116"/>
                    </a:cxn>
                    <a:cxn ang="0">
                      <a:pos x="452" y="49"/>
                    </a:cxn>
                    <a:cxn ang="0">
                      <a:pos x="521" y="21"/>
                    </a:cxn>
                    <a:cxn ang="0">
                      <a:pos x="583" y="3"/>
                    </a:cxn>
                  </a:cxnLst>
                  <a:rect l="0" t="0" r="r" b="b"/>
                  <a:pathLst>
                    <a:path w="588" h="463">
                      <a:moveTo>
                        <a:pt x="588" y="8"/>
                      </a:moveTo>
                      <a:cubicBezTo>
                        <a:pt x="539" y="8"/>
                        <a:pt x="503" y="11"/>
                        <a:pt x="460" y="28"/>
                      </a:cubicBezTo>
                      <a:cubicBezTo>
                        <a:pt x="422" y="42"/>
                        <a:pt x="386" y="54"/>
                        <a:pt x="352" y="80"/>
                      </a:cubicBezTo>
                      <a:cubicBezTo>
                        <a:pt x="319" y="105"/>
                        <a:pt x="286" y="138"/>
                        <a:pt x="272" y="178"/>
                      </a:cubicBezTo>
                      <a:cubicBezTo>
                        <a:pt x="263" y="204"/>
                        <a:pt x="265" y="205"/>
                        <a:pt x="242" y="220"/>
                      </a:cubicBezTo>
                      <a:cubicBezTo>
                        <a:pt x="225" y="231"/>
                        <a:pt x="212" y="247"/>
                        <a:pt x="199" y="263"/>
                      </a:cubicBezTo>
                      <a:cubicBezTo>
                        <a:pt x="168" y="305"/>
                        <a:pt x="118" y="330"/>
                        <a:pt x="83" y="370"/>
                      </a:cubicBezTo>
                      <a:cubicBezTo>
                        <a:pt x="68" y="387"/>
                        <a:pt x="59" y="409"/>
                        <a:pt x="43" y="427"/>
                      </a:cubicBezTo>
                      <a:cubicBezTo>
                        <a:pt x="30" y="442"/>
                        <a:pt x="12" y="453"/>
                        <a:pt x="0" y="463"/>
                      </a:cubicBezTo>
                      <a:cubicBezTo>
                        <a:pt x="36" y="445"/>
                        <a:pt x="72" y="419"/>
                        <a:pt x="97" y="385"/>
                      </a:cubicBezTo>
                      <a:cubicBezTo>
                        <a:pt x="125" y="348"/>
                        <a:pt x="152" y="324"/>
                        <a:pt x="188" y="296"/>
                      </a:cubicBezTo>
                      <a:cubicBezTo>
                        <a:pt x="205" y="282"/>
                        <a:pt x="217" y="268"/>
                        <a:pt x="230" y="250"/>
                      </a:cubicBezTo>
                      <a:cubicBezTo>
                        <a:pt x="245" y="231"/>
                        <a:pt x="262" y="229"/>
                        <a:pt x="277" y="215"/>
                      </a:cubicBezTo>
                      <a:cubicBezTo>
                        <a:pt x="291" y="201"/>
                        <a:pt x="291" y="178"/>
                        <a:pt x="302" y="162"/>
                      </a:cubicBezTo>
                      <a:cubicBezTo>
                        <a:pt x="314" y="142"/>
                        <a:pt x="331" y="129"/>
                        <a:pt x="349" y="116"/>
                      </a:cubicBezTo>
                      <a:cubicBezTo>
                        <a:pt x="382" y="93"/>
                        <a:pt x="416" y="64"/>
                        <a:pt x="452" y="49"/>
                      </a:cubicBezTo>
                      <a:cubicBezTo>
                        <a:pt x="475" y="39"/>
                        <a:pt x="498" y="29"/>
                        <a:pt x="521" y="21"/>
                      </a:cubicBezTo>
                      <a:cubicBezTo>
                        <a:pt x="539" y="16"/>
                        <a:pt x="564" y="0"/>
                        <a:pt x="583" y="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8" name="Freeform 375"/>
                <p:cNvSpPr>
                  <a:spLocks/>
                </p:cNvSpPr>
                <p:nvPr/>
              </p:nvSpPr>
              <p:spPr bwMode="gray">
                <a:xfrm>
                  <a:off x="18100675" y="10723563"/>
                  <a:ext cx="220663" cy="925513"/>
                </a:xfrm>
                <a:custGeom>
                  <a:avLst/>
                  <a:gdLst/>
                  <a:ahLst/>
                  <a:cxnLst>
                    <a:cxn ang="0">
                      <a:pos x="58" y="0"/>
                    </a:cxn>
                    <a:cxn ang="0">
                      <a:pos x="28" y="148"/>
                    </a:cxn>
                    <a:cxn ang="0">
                      <a:pos x="51" y="216"/>
                    </a:cxn>
                    <a:cxn ang="0">
                      <a:pos x="2" y="247"/>
                    </a:cxn>
                    <a:cxn ang="0">
                      <a:pos x="7" y="113"/>
                    </a:cxn>
                    <a:cxn ang="0">
                      <a:pos x="52" y="3"/>
                    </a:cxn>
                  </a:cxnLst>
                  <a:rect l="0" t="0" r="r" b="b"/>
                  <a:pathLst>
                    <a:path w="59" h="247">
                      <a:moveTo>
                        <a:pt x="58" y="0"/>
                      </a:moveTo>
                      <a:cubicBezTo>
                        <a:pt x="42" y="52"/>
                        <a:pt x="20" y="88"/>
                        <a:pt x="28" y="148"/>
                      </a:cubicBezTo>
                      <a:cubicBezTo>
                        <a:pt x="31" y="167"/>
                        <a:pt x="59" y="198"/>
                        <a:pt x="51" y="216"/>
                      </a:cubicBezTo>
                      <a:cubicBezTo>
                        <a:pt x="47" y="224"/>
                        <a:pt x="9" y="246"/>
                        <a:pt x="2" y="247"/>
                      </a:cubicBezTo>
                      <a:cubicBezTo>
                        <a:pt x="0" y="203"/>
                        <a:pt x="4" y="158"/>
                        <a:pt x="7" y="113"/>
                      </a:cubicBezTo>
                      <a:cubicBezTo>
                        <a:pt x="8" y="90"/>
                        <a:pt x="30" y="8"/>
                        <a:pt x="52" y="3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9" name="Freeform 376"/>
                <p:cNvSpPr>
                  <a:spLocks/>
                </p:cNvSpPr>
                <p:nvPr/>
              </p:nvSpPr>
              <p:spPr bwMode="gray">
                <a:xfrm>
                  <a:off x="17289462" y="11106151"/>
                  <a:ext cx="588963" cy="1236663"/>
                </a:xfrm>
                <a:custGeom>
                  <a:avLst/>
                  <a:gdLst/>
                  <a:ahLst/>
                  <a:cxnLst>
                    <a:cxn ang="0">
                      <a:pos x="96" y="0"/>
                    </a:cxn>
                    <a:cxn ang="0">
                      <a:pos x="157" y="194"/>
                    </a:cxn>
                    <a:cxn ang="0">
                      <a:pos x="73" y="259"/>
                    </a:cxn>
                    <a:cxn ang="0">
                      <a:pos x="0" y="330"/>
                    </a:cxn>
                    <a:cxn ang="0">
                      <a:pos x="82" y="191"/>
                    </a:cxn>
                    <a:cxn ang="0">
                      <a:pos x="96" y="0"/>
                    </a:cxn>
                  </a:cxnLst>
                  <a:rect l="0" t="0" r="r" b="b"/>
                  <a:pathLst>
                    <a:path w="157" h="330">
                      <a:moveTo>
                        <a:pt x="96" y="0"/>
                      </a:moveTo>
                      <a:cubicBezTo>
                        <a:pt x="96" y="69"/>
                        <a:pt x="125" y="137"/>
                        <a:pt x="157" y="194"/>
                      </a:cubicBezTo>
                      <a:cubicBezTo>
                        <a:pt x="132" y="219"/>
                        <a:pt x="101" y="236"/>
                        <a:pt x="73" y="259"/>
                      </a:cubicBezTo>
                      <a:cubicBezTo>
                        <a:pt x="47" y="281"/>
                        <a:pt x="24" y="308"/>
                        <a:pt x="0" y="330"/>
                      </a:cubicBezTo>
                      <a:cubicBezTo>
                        <a:pt x="1" y="258"/>
                        <a:pt x="51" y="247"/>
                        <a:pt x="82" y="191"/>
                      </a:cubicBezTo>
                      <a:cubicBezTo>
                        <a:pt x="116" y="131"/>
                        <a:pt x="74" y="60"/>
                        <a:pt x="96" y="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0" name="Freeform 377"/>
                <p:cNvSpPr>
                  <a:spLocks/>
                </p:cNvSpPr>
                <p:nvPr/>
              </p:nvSpPr>
              <p:spPr bwMode="gray">
                <a:xfrm>
                  <a:off x="17803812" y="9534526"/>
                  <a:ext cx="877888" cy="1316038"/>
                </a:xfrm>
                <a:custGeom>
                  <a:avLst/>
                  <a:gdLst/>
                  <a:ahLst/>
                  <a:cxnLst>
                    <a:cxn ang="0">
                      <a:pos x="231" y="0"/>
                    </a:cxn>
                    <a:cxn ang="0">
                      <a:pos x="172" y="86"/>
                    </a:cxn>
                    <a:cxn ang="0">
                      <a:pos x="118" y="169"/>
                    </a:cxn>
                    <a:cxn ang="0">
                      <a:pos x="0" y="351"/>
                    </a:cxn>
                    <a:cxn ang="0">
                      <a:pos x="48" y="269"/>
                    </a:cxn>
                    <a:cxn ang="0">
                      <a:pos x="94" y="173"/>
                    </a:cxn>
                    <a:cxn ang="0">
                      <a:pos x="162" y="81"/>
                    </a:cxn>
                    <a:cxn ang="0">
                      <a:pos x="195" y="40"/>
                    </a:cxn>
                    <a:cxn ang="0">
                      <a:pos x="234" y="5"/>
                    </a:cxn>
                  </a:cxnLst>
                  <a:rect l="0" t="0" r="r" b="b"/>
                  <a:pathLst>
                    <a:path w="234" h="351">
                      <a:moveTo>
                        <a:pt x="231" y="0"/>
                      </a:moveTo>
                      <a:cubicBezTo>
                        <a:pt x="227" y="29"/>
                        <a:pt x="190" y="63"/>
                        <a:pt x="172" y="86"/>
                      </a:cubicBezTo>
                      <a:cubicBezTo>
                        <a:pt x="153" y="112"/>
                        <a:pt x="137" y="141"/>
                        <a:pt x="118" y="169"/>
                      </a:cubicBezTo>
                      <a:cubicBezTo>
                        <a:pt x="77" y="228"/>
                        <a:pt x="50" y="294"/>
                        <a:pt x="0" y="351"/>
                      </a:cubicBezTo>
                      <a:cubicBezTo>
                        <a:pt x="5" y="323"/>
                        <a:pt x="36" y="296"/>
                        <a:pt x="48" y="269"/>
                      </a:cubicBezTo>
                      <a:cubicBezTo>
                        <a:pt x="63" y="236"/>
                        <a:pt x="72" y="201"/>
                        <a:pt x="94" y="173"/>
                      </a:cubicBezTo>
                      <a:cubicBezTo>
                        <a:pt x="118" y="142"/>
                        <a:pt x="139" y="111"/>
                        <a:pt x="162" y="81"/>
                      </a:cubicBezTo>
                      <a:cubicBezTo>
                        <a:pt x="172" y="67"/>
                        <a:pt x="183" y="52"/>
                        <a:pt x="195" y="40"/>
                      </a:cubicBezTo>
                      <a:cubicBezTo>
                        <a:pt x="207" y="28"/>
                        <a:pt x="224" y="19"/>
                        <a:pt x="234" y="5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1" name="Freeform 378"/>
                <p:cNvSpPr>
                  <a:spLocks/>
                </p:cNvSpPr>
                <p:nvPr/>
              </p:nvSpPr>
              <p:spPr bwMode="gray">
                <a:xfrm>
                  <a:off x="17638712" y="12309476"/>
                  <a:ext cx="1725613" cy="1654175"/>
                </a:xfrm>
                <a:custGeom>
                  <a:avLst/>
                  <a:gdLst/>
                  <a:ahLst/>
                  <a:cxnLst>
                    <a:cxn ang="0">
                      <a:pos x="41" y="249"/>
                    </a:cxn>
                    <a:cxn ang="0">
                      <a:pos x="98" y="255"/>
                    </a:cxn>
                    <a:cxn ang="0">
                      <a:pos x="83" y="364"/>
                    </a:cxn>
                    <a:cxn ang="0">
                      <a:pos x="51" y="441"/>
                    </a:cxn>
                    <a:cxn ang="0">
                      <a:pos x="124" y="318"/>
                    </a:cxn>
                    <a:cxn ang="0">
                      <a:pos x="202" y="219"/>
                    </a:cxn>
                    <a:cxn ang="0">
                      <a:pos x="452" y="93"/>
                    </a:cxn>
                    <a:cxn ang="0">
                      <a:pos x="434" y="29"/>
                    </a:cxn>
                    <a:cxn ang="0">
                      <a:pos x="27" y="178"/>
                    </a:cxn>
                    <a:cxn ang="0">
                      <a:pos x="14" y="219"/>
                    </a:cxn>
                    <a:cxn ang="0">
                      <a:pos x="44" y="254"/>
                    </a:cxn>
                  </a:cxnLst>
                  <a:rect l="0" t="0" r="r" b="b"/>
                  <a:pathLst>
                    <a:path w="460" h="441">
                      <a:moveTo>
                        <a:pt x="41" y="249"/>
                      </a:moveTo>
                      <a:cubicBezTo>
                        <a:pt x="59" y="260"/>
                        <a:pt x="79" y="270"/>
                        <a:pt x="98" y="255"/>
                      </a:cubicBezTo>
                      <a:cubicBezTo>
                        <a:pt x="97" y="296"/>
                        <a:pt x="97" y="327"/>
                        <a:pt x="83" y="364"/>
                      </a:cubicBezTo>
                      <a:cubicBezTo>
                        <a:pt x="74" y="390"/>
                        <a:pt x="62" y="416"/>
                        <a:pt x="51" y="441"/>
                      </a:cubicBezTo>
                      <a:cubicBezTo>
                        <a:pt x="87" y="402"/>
                        <a:pt x="107" y="367"/>
                        <a:pt x="124" y="318"/>
                      </a:cubicBezTo>
                      <a:cubicBezTo>
                        <a:pt x="142" y="267"/>
                        <a:pt x="147" y="237"/>
                        <a:pt x="202" y="219"/>
                      </a:cubicBezTo>
                      <a:cubicBezTo>
                        <a:pt x="284" y="193"/>
                        <a:pt x="395" y="164"/>
                        <a:pt x="452" y="93"/>
                      </a:cubicBezTo>
                      <a:cubicBezTo>
                        <a:pt x="460" y="83"/>
                        <a:pt x="441" y="45"/>
                        <a:pt x="434" y="29"/>
                      </a:cubicBezTo>
                      <a:cubicBezTo>
                        <a:pt x="422" y="0"/>
                        <a:pt x="173" y="268"/>
                        <a:pt x="27" y="178"/>
                      </a:cubicBezTo>
                      <a:cubicBezTo>
                        <a:pt x="0" y="162"/>
                        <a:pt x="1" y="196"/>
                        <a:pt x="14" y="219"/>
                      </a:cubicBezTo>
                      <a:cubicBezTo>
                        <a:pt x="22" y="232"/>
                        <a:pt x="28" y="251"/>
                        <a:pt x="44" y="254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2" name="Freeform 379"/>
                <p:cNvSpPr>
                  <a:spLocks/>
                </p:cNvSpPr>
                <p:nvPr/>
              </p:nvSpPr>
              <p:spPr bwMode="gray">
                <a:xfrm>
                  <a:off x="16930687" y="11915776"/>
                  <a:ext cx="517525" cy="401638"/>
                </a:xfrm>
                <a:custGeom>
                  <a:avLst/>
                  <a:gdLst/>
                  <a:ahLst/>
                  <a:cxnLst>
                    <a:cxn ang="0">
                      <a:pos x="101" y="107"/>
                    </a:cxn>
                    <a:cxn ang="0">
                      <a:pos x="0" y="56"/>
                    </a:cxn>
                    <a:cxn ang="0">
                      <a:pos x="79" y="58"/>
                    </a:cxn>
                    <a:cxn ang="0">
                      <a:pos x="58" y="0"/>
                    </a:cxn>
                    <a:cxn ang="0">
                      <a:pos x="98" y="58"/>
                    </a:cxn>
                    <a:cxn ang="0">
                      <a:pos x="98" y="107"/>
                    </a:cxn>
                  </a:cxnLst>
                  <a:rect l="0" t="0" r="r" b="b"/>
                  <a:pathLst>
                    <a:path w="138" h="107">
                      <a:moveTo>
                        <a:pt x="101" y="107"/>
                      </a:moveTo>
                      <a:cubicBezTo>
                        <a:pt x="76" y="75"/>
                        <a:pt x="46" y="40"/>
                        <a:pt x="0" y="56"/>
                      </a:cubicBezTo>
                      <a:cubicBezTo>
                        <a:pt x="22" y="43"/>
                        <a:pt x="57" y="50"/>
                        <a:pt x="79" y="58"/>
                      </a:cubicBezTo>
                      <a:cubicBezTo>
                        <a:pt x="71" y="38"/>
                        <a:pt x="56" y="25"/>
                        <a:pt x="58" y="0"/>
                      </a:cubicBezTo>
                      <a:cubicBezTo>
                        <a:pt x="68" y="20"/>
                        <a:pt x="85" y="40"/>
                        <a:pt x="98" y="58"/>
                      </a:cubicBezTo>
                      <a:cubicBezTo>
                        <a:pt x="112" y="77"/>
                        <a:pt x="138" y="98"/>
                        <a:pt x="98" y="107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3" name="Freeform 380"/>
                <p:cNvSpPr>
                  <a:spLocks/>
                </p:cNvSpPr>
                <p:nvPr/>
              </p:nvSpPr>
              <p:spPr bwMode="gray">
                <a:xfrm>
                  <a:off x="16694150" y="11784013"/>
                  <a:ext cx="2913063" cy="1527175"/>
                </a:xfrm>
                <a:custGeom>
                  <a:avLst/>
                  <a:gdLst/>
                  <a:ahLst/>
                  <a:cxnLst>
                    <a:cxn ang="0">
                      <a:pos x="145" y="131"/>
                    </a:cxn>
                    <a:cxn ang="0">
                      <a:pos x="79" y="326"/>
                    </a:cxn>
                    <a:cxn ang="0">
                      <a:pos x="353" y="360"/>
                    </a:cxn>
                    <a:cxn ang="0">
                      <a:pos x="756" y="89"/>
                    </a:cxn>
                    <a:cxn ang="0">
                      <a:pos x="728" y="109"/>
                    </a:cxn>
                    <a:cxn ang="0">
                      <a:pos x="692" y="4"/>
                    </a:cxn>
                    <a:cxn ang="0">
                      <a:pos x="642" y="4"/>
                    </a:cxn>
                    <a:cxn ang="0">
                      <a:pos x="447" y="196"/>
                    </a:cxn>
                    <a:cxn ang="0">
                      <a:pos x="145" y="131"/>
                    </a:cxn>
                  </a:cxnLst>
                  <a:rect l="0" t="0" r="r" b="b"/>
                  <a:pathLst>
                    <a:path w="777" h="407">
                      <a:moveTo>
                        <a:pt x="145" y="131"/>
                      </a:moveTo>
                      <a:cubicBezTo>
                        <a:pt x="30" y="173"/>
                        <a:pt x="0" y="243"/>
                        <a:pt x="79" y="326"/>
                      </a:cubicBezTo>
                      <a:cubicBezTo>
                        <a:pt x="154" y="407"/>
                        <a:pt x="254" y="400"/>
                        <a:pt x="353" y="360"/>
                      </a:cubicBezTo>
                      <a:cubicBezTo>
                        <a:pt x="496" y="302"/>
                        <a:pt x="777" y="297"/>
                        <a:pt x="756" y="89"/>
                      </a:cubicBezTo>
                      <a:cubicBezTo>
                        <a:pt x="748" y="95"/>
                        <a:pt x="737" y="104"/>
                        <a:pt x="728" y="109"/>
                      </a:cubicBezTo>
                      <a:cubicBezTo>
                        <a:pt x="717" y="73"/>
                        <a:pt x="705" y="38"/>
                        <a:pt x="692" y="4"/>
                      </a:cubicBezTo>
                      <a:cubicBezTo>
                        <a:pt x="676" y="0"/>
                        <a:pt x="658" y="0"/>
                        <a:pt x="642" y="4"/>
                      </a:cubicBezTo>
                      <a:cubicBezTo>
                        <a:pt x="593" y="86"/>
                        <a:pt x="551" y="172"/>
                        <a:pt x="447" y="196"/>
                      </a:cubicBezTo>
                      <a:cubicBezTo>
                        <a:pt x="329" y="222"/>
                        <a:pt x="254" y="134"/>
                        <a:pt x="145" y="13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4" name="Freeform 381"/>
                <p:cNvSpPr>
                  <a:spLocks/>
                </p:cNvSpPr>
                <p:nvPr/>
              </p:nvSpPr>
              <p:spPr bwMode="gray">
                <a:xfrm>
                  <a:off x="19296062" y="12133263"/>
                  <a:ext cx="255588" cy="544513"/>
                </a:xfrm>
                <a:custGeom>
                  <a:avLst/>
                  <a:gdLst/>
                  <a:ahLst/>
                  <a:cxnLst>
                    <a:cxn ang="0">
                      <a:pos x="40" y="9"/>
                    </a:cxn>
                    <a:cxn ang="0">
                      <a:pos x="40" y="44"/>
                    </a:cxn>
                    <a:cxn ang="0">
                      <a:pos x="29" y="84"/>
                    </a:cxn>
                    <a:cxn ang="0">
                      <a:pos x="16" y="119"/>
                    </a:cxn>
                    <a:cxn ang="0">
                      <a:pos x="0" y="145"/>
                    </a:cxn>
                    <a:cxn ang="0">
                      <a:pos x="50" y="87"/>
                    </a:cxn>
                    <a:cxn ang="0">
                      <a:pos x="61" y="47"/>
                    </a:cxn>
                    <a:cxn ang="0">
                      <a:pos x="57" y="0"/>
                    </a:cxn>
                    <a:cxn ang="0">
                      <a:pos x="41" y="9"/>
                    </a:cxn>
                  </a:cxnLst>
                  <a:rect l="0" t="0" r="r" b="b"/>
                  <a:pathLst>
                    <a:path w="68" h="145">
                      <a:moveTo>
                        <a:pt x="40" y="9"/>
                      </a:moveTo>
                      <a:cubicBezTo>
                        <a:pt x="42" y="22"/>
                        <a:pt x="44" y="32"/>
                        <a:pt x="40" y="44"/>
                      </a:cubicBezTo>
                      <a:cubicBezTo>
                        <a:pt x="36" y="57"/>
                        <a:pt x="32" y="70"/>
                        <a:pt x="29" y="84"/>
                      </a:cubicBezTo>
                      <a:cubicBezTo>
                        <a:pt x="26" y="96"/>
                        <a:pt x="22" y="109"/>
                        <a:pt x="16" y="119"/>
                      </a:cubicBezTo>
                      <a:cubicBezTo>
                        <a:pt x="12" y="126"/>
                        <a:pt x="0" y="137"/>
                        <a:pt x="0" y="145"/>
                      </a:cubicBezTo>
                      <a:cubicBezTo>
                        <a:pt x="22" y="128"/>
                        <a:pt x="41" y="114"/>
                        <a:pt x="50" y="87"/>
                      </a:cubicBezTo>
                      <a:cubicBezTo>
                        <a:pt x="55" y="73"/>
                        <a:pt x="59" y="62"/>
                        <a:pt x="61" y="47"/>
                      </a:cubicBezTo>
                      <a:cubicBezTo>
                        <a:pt x="63" y="35"/>
                        <a:pt x="68" y="9"/>
                        <a:pt x="57" y="0"/>
                      </a:cubicBezTo>
                      <a:cubicBezTo>
                        <a:pt x="52" y="3"/>
                        <a:pt x="47" y="7"/>
                        <a:pt x="41" y="9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5" name="Freeform 382"/>
                <p:cNvSpPr>
                  <a:spLocks/>
                </p:cNvSpPr>
                <p:nvPr/>
              </p:nvSpPr>
              <p:spPr bwMode="gray">
                <a:xfrm>
                  <a:off x="17252950" y="11772901"/>
                  <a:ext cx="884238" cy="900113"/>
                </a:xfrm>
                <a:custGeom>
                  <a:avLst/>
                  <a:gdLst/>
                  <a:ahLst/>
                  <a:cxnLst>
                    <a:cxn ang="0">
                      <a:pos x="235" y="0"/>
                    </a:cxn>
                    <a:cxn ang="0">
                      <a:pos x="65" y="44"/>
                    </a:cxn>
                    <a:cxn ang="0">
                      <a:pos x="0" y="148"/>
                    </a:cxn>
                    <a:cxn ang="0">
                      <a:pos x="83" y="152"/>
                    </a:cxn>
                    <a:cxn ang="0">
                      <a:pos x="130" y="224"/>
                    </a:cxn>
                    <a:cxn ang="0">
                      <a:pos x="223" y="234"/>
                    </a:cxn>
                    <a:cxn ang="0">
                      <a:pos x="214" y="21"/>
                    </a:cxn>
                  </a:cxnLst>
                  <a:rect l="0" t="0" r="r" b="b"/>
                  <a:pathLst>
                    <a:path w="236" h="240">
                      <a:moveTo>
                        <a:pt x="235" y="0"/>
                      </a:moveTo>
                      <a:cubicBezTo>
                        <a:pt x="194" y="28"/>
                        <a:pt x="121" y="36"/>
                        <a:pt x="65" y="44"/>
                      </a:cubicBezTo>
                      <a:cubicBezTo>
                        <a:pt x="41" y="73"/>
                        <a:pt x="13" y="108"/>
                        <a:pt x="0" y="148"/>
                      </a:cubicBezTo>
                      <a:cubicBezTo>
                        <a:pt x="25" y="143"/>
                        <a:pt x="58" y="156"/>
                        <a:pt x="83" y="152"/>
                      </a:cubicBezTo>
                      <a:cubicBezTo>
                        <a:pt x="96" y="179"/>
                        <a:pt x="118" y="195"/>
                        <a:pt x="130" y="224"/>
                      </a:cubicBezTo>
                      <a:cubicBezTo>
                        <a:pt x="155" y="236"/>
                        <a:pt x="194" y="240"/>
                        <a:pt x="223" y="234"/>
                      </a:cubicBezTo>
                      <a:cubicBezTo>
                        <a:pt x="226" y="168"/>
                        <a:pt x="236" y="82"/>
                        <a:pt x="214" y="2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6" name="Freeform 383"/>
                <p:cNvSpPr>
                  <a:spLocks/>
                </p:cNvSpPr>
                <p:nvPr/>
              </p:nvSpPr>
              <p:spPr bwMode="gray">
                <a:xfrm>
                  <a:off x="16821150" y="12711113"/>
                  <a:ext cx="1579563" cy="5540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136" y="118"/>
                    </a:cxn>
                    <a:cxn ang="0">
                      <a:pos x="307" y="110"/>
                    </a:cxn>
                    <a:cxn ang="0">
                      <a:pos x="421" y="81"/>
                    </a:cxn>
                    <a:cxn ang="0">
                      <a:pos x="249" y="135"/>
                    </a:cxn>
                    <a:cxn ang="0">
                      <a:pos x="73" y="105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421" h="148">
                      <a:moveTo>
                        <a:pt x="5" y="0"/>
                      </a:moveTo>
                      <a:cubicBezTo>
                        <a:pt x="9" y="48"/>
                        <a:pt x="93" y="101"/>
                        <a:pt x="136" y="118"/>
                      </a:cubicBezTo>
                      <a:cubicBezTo>
                        <a:pt x="194" y="140"/>
                        <a:pt x="250" y="131"/>
                        <a:pt x="307" y="110"/>
                      </a:cubicBezTo>
                      <a:cubicBezTo>
                        <a:pt x="323" y="104"/>
                        <a:pt x="399" y="75"/>
                        <a:pt x="421" y="81"/>
                      </a:cubicBezTo>
                      <a:cubicBezTo>
                        <a:pt x="371" y="91"/>
                        <a:pt x="305" y="123"/>
                        <a:pt x="249" y="135"/>
                      </a:cubicBezTo>
                      <a:cubicBezTo>
                        <a:pt x="188" y="148"/>
                        <a:pt x="129" y="147"/>
                        <a:pt x="73" y="105"/>
                      </a:cubicBezTo>
                      <a:cubicBezTo>
                        <a:pt x="46" y="87"/>
                        <a:pt x="0" y="37"/>
                        <a:pt x="5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7" name="Freeform 384"/>
                <p:cNvSpPr>
                  <a:spLocks/>
                </p:cNvSpPr>
                <p:nvPr/>
              </p:nvSpPr>
              <p:spPr bwMode="gray">
                <a:xfrm>
                  <a:off x="17330737" y="11926888"/>
                  <a:ext cx="858838" cy="615950"/>
                </a:xfrm>
                <a:custGeom>
                  <a:avLst/>
                  <a:gdLst/>
                  <a:ahLst/>
                  <a:cxnLst>
                    <a:cxn ang="0">
                      <a:pos x="0" y="89"/>
                    </a:cxn>
                    <a:cxn ang="0">
                      <a:pos x="226" y="163"/>
                    </a:cxn>
                    <a:cxn ang="0">
                      <a:pos x="200" y="0"/>
                    </a:cxn>
                    <a:cxn ang="0">
                      <a:pos x="134" y="122"/>
                    </a:cxn>
                    <a:cxn ang="0">
                      <a:pos x="0" y="89"/>
                    </a:cxn>
                  </a:cxnLst>
                  <a:rect l="0" t="0" r="r" b="b"/>
                  <a:pathLst>
                    <a:path w="229" h="164">
                      <a:moveTo>
                        <a:pt x="0" y="89"/>
                      </a:moveTo>
                      <a:cubicBezTo>
                        <a:pt x="74" y="77"/>
                        <a:pt x="140" y="164"/>
                        <a:pt x="226" y="163"/>
                      </a:cubicBezTo>
                      <a:cubicBezTo>
                        <a:pt x="229" y="109"/>
                        <a:pt x="214" y="47"/>
                        <a:pt x="200" y="0"/>
                      </a:cubicBezTo>
                      <a:cubicBezTo>
                        <a:pt x="196" y="46"/>
                        <a:pt x="190" y="122"/>
                        <a:pt x="134" y="122"/>
                      </a:cubicBezTo>
                      <a:cubicBezTo>
                        <a:pt x="89" y="121"/>
                        <a:pt x="46" y="34"/>
                        <a:pt x="0" y="89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8" name="Freeform 385"/>
                <p:cNvSpPr>
                  <a:spLocks/>
                </p:cNvSpPr>
                <p:nvPr/>
              </p:nvSpPr>
              <p:spPr bwMode="gray">
                <a:xfrm>
                  <a:off x="19416712" y="11772901"/>
                  <a:ext cx="914400" cy="1508125"/>
                </a:xfrm>
                <a:custGeom>
                  <a:avLst/>
                  <a:gdLst/>
                  <a:ahLst/>
                  <a:cxnLst>
                    <a:cxn ang="0">
                      <a:pos x="86" y="24"/>
                    </a:cxn>
                    <a:cxn ang="0">
                      <a:pos x="115" y="123"/>
                    </a:cxn>
                    <a:cxn ang="0">
                      <a:pos x="152" y="215"/>
                    </a:cxn>
                    <a:cxn ang="0">
                      <a:pos x="183" y="402"/>
                    </a:cxn>
                    <a:cxn ang="0">
                      <a:pos x="84" y="174"/>
                    </a:cxn>
                    <a:cxn ang="0">
                      <a:pos x="21" y="86"/>
                    </a:cxn>
                    <a:cxn ang="0">
                      <a:pos x="77" y="3"/>
                    </a:cxn>
                    <a:cxn ang="0">
                      <a:pos x="86" y="26"/>
                    </a:cxn>
                  </a:cxnLst>
                  <a:rect l="0" t="0" r="r" b="b"/>
                  <a:pathLst>
                    <a:path w="244" h="402">
                      <a:moveTo>
                        <a:pt x="86" y="24"/>
                      </a:moveTo>
                      <a:cubicBezTo>
                        <a:pt x="84" y="57"/>
                        <a:pt x="103" y="93"/>
                        <a:pt x="115" y="123"/>
                      </a:cubicBezTo>
                      <a:cubicBezTo>
                        <a:pt x="128" y="154"/>
                        <a:pt x="140" y="184"/>
                        <a:pt x="152" y="215"/>
                      </a:cubicBezTo>
                      <a:cubicBezTo>
                        <a:pt x="162" y="238"/>
                        <a:pt x="244" y="397"/>
                        <a:pt x="183" y="402"/>
                      </a:cubicBezTo>
                      <a:cubicBezTo>
                        <a:pt x="147" y="329"/>
                        <a:pt x="124" y="248"/>
                        <a:pt x="84" y="174"/>
                      </a:cubicBezTo>
                      <a:cubicBezTo>
                        <a:pt x="67" y="143"/>
                        <a:pt x="36" y="117"/>
                        <a:pt x="21" y="86"/>
                      </a:cubicBezTo>
                      <a:cubicBezTo>
                        <a:pt x="0" y="43"/>
                        <a:pt x="29" y="0"/>
                        <a:pt x="77" y="3"/>
                      </a:cubicBezTo>
                      <a:cubicBezTo>
                        <a:pt x="80" y="11"/>
                        <a:pt x="83" y="17"/>
                        <a:pt x="86" y="26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9" name="Freeform 386"/>
                <p:cNvSpPr>
                  <a:spLocks/>
                </p:cNvSpPr>
                <p:nvPr/>
              </p:nvSpPr>
              <p:spPr bwMode="gray">
                <a:xfrm>
                  <a:off x="19562762" y="5732463"/>
                  <a:ext cx="828675" cy="768350"/>
                </a:xfrm>
                <a:custGeom>
                  <a:avLst/>
                  <a:gdLst/>
                  <a:ahLst/>
                  <a:cxnLst>
                    <a:cxn ang="0">
                      <a:pos x="1" y="49"/>
                    </a:cxn>
                    <a:cxn ang="0">
                      <a:pos x="64" y="106"/>
                    </a:cxn>
                    <a:cxn ang="0">
                      <a:pos x="42" y="56"/>
                    </a:cxn>
                    <a:cxn ang="0">
                      <a:pos x="88" y="92"/>
                    </a:cxn>
                    <a:cxn ang="0">
                      <a:pos x="67" y="53"/>
                    </a:cxn>
                    <a:cxn ang="0">
                      <a:pos x="145" y="115"/>
                    </a:cxn>
                    <a:cxn ang="0">
                      <a:pos x="187" y="173"/>
                    </a:cxn>
                    <a:cxn ang="0">
                      <a:pos x="221" y="205"/>
                    </a:cxn>
                    <a:cxn ang="0">
                      <a:pos x="192" y="164"/>
                    </a:cxn>
                    <a:cxn ang="0">
                      <a:pos x="168" y="119"/>
                    </a:cxn>
                    <a:cxn ang="0">
                      <a:pos x="100" y="52"/>
                    </a:cxn>
                    <a:cxn ang="0">
                      <a:pos x="159" y="97"/>
                    </a:cxn>
                    <a:cxn ang="0">
                      <a:pos x="212" y="150"/>
                    </a:cxn>
                    <a:cxn ang="0">
                      <a:pos x="153" y="70"/>
                    </a:cxn>
                    <a:cxn ang="0">
                      <a:pos x="119" y="43"/>
                    </a:cxn>
                    <a:cxn ang="0">
                      <a:pos x="73" y="45"/>
                    </a:cxn>
                    <a:cxn ang="0">
                      <a:pos x="84" y="17"/>
                    </a:cxn>
                    <a:cxn ang="0">
                      <a:pos x="34" y="45"/>
                    </a:cxn>
                    <a:cxn ang="0">
                      <a:pos x="51" y="28"/>
                    </a:cxn>
                    <a:cxn ang="0">
                      <a:pos x="56" y="0"/>
                    </a:cxn>
                    <a:cxn ang="0">
                      <a:pos x="0" y="52"/>
                    </a:cxn>
                  </a:cxnLst>
                  <a:rect l="0" t="0" r="r" b="b"/>
                  <a:pathLst>
                    <a:path w="221" h="205">
                      <a:moveTo>
                        <a:pt x="1" y="49"/>
                      </a:moveTo>
                      <a:cubicBezTo>
                        <a:pt x="36" y="45"/>
                        <a:pt x="54" y="79"/>
                        <a:pt x="64" y="106"/>
                      </a:cubicBezTo>
                      <a:cubicBezTo>
                        <a:pt x="64" y="85"/>
                        <a:pt x="53" y="73"/>
                        <a:pt x="42" y="56"/>
                      </a:cubicBezTo>
                      <a:cubicBezTo>
                        <a:pt x="63" y="56"/>
                        <a:pt x="84" y="71"/>
                        <a:pt x="88" y="92"/>
                      </a:cubicBezTo>
                      <a:cubicBezTo>
                        <a:pt x="90" y="74"/>
                        <a:pt x="79" y="63"/>
                        <a:pt x="67" y="53"/>
                      </a:cubicBezTo>
                      <a:cubicBezTo>
                        <a:pt x="103" y="46"/>
                        <a:pt x="129" y="90"/>
                        <a:pt x="145" y="115"/>
                      </a:cubicBezTo>
                      <a:cubicBezTo>
                        <a:pt x="158" y="134"/>
                        <a:pt x="171" y="157"/>
                        <a:pt x="187" y="173"/>
                      </a:cubicBezTo>
                      <a:cubicBezTo>
                        <a:pt x="196" y="183"/>
                        <a:pt x="208" y="201"/>
                        <a:pt x="221" y="205"/>
                      </a:cubicBezTo>
                      <a:cubicBezTo>
                        <a:pt x="217" y="188"/>
                        <a:pt x="201" y="176"/>
                        <a:pt x="192" y="164"/>
                      </a:cubicBezTo>
                      <a:cubicBezTo>
                        <a:pt x="181" y="149"/>
                        <a:pt x="175" y="135"/>
                        <a:pt x="168" y="119"/>
                      </a:cubicBezTo>
                      <a:cubicBezTo>
                        <a:pt x="157" y="95"/>
                        <a:pt x="129" y="49"/>
                        <a:pt x="100" y="52"/>
                      </a:cubicBezTo>
                      <a:cubicBezTo>
                        <a:pt x="134" y="52"/>
                        <a:pt x="141" y="73"/>
                        <a:pt x="159" y="97"/>
                      </a:cubicBezTo>
                      <a:cubicBezTo>
                        <a:pt x="173" y="118"/>
                        <a:pt x="189" y="137"/>
                        <a:pt x="212" y="150"/>
                      </a:cubicBezTo>
                      <a:cubicBezTo>
                        <a:pt x="204" y="122"/>
                        <a:pt x="172" y="90"/>
                        <a:pt x="153" y="70"/>
                      </a:cubicBezTo>
                      <a:cubicBezTo>
                        <a:pt x="142" y="58"/>
                        <a:pt x="134" y="46"/>
                        <a:pt x="119" y="43"/>
                      </a:cubicBezTo>
                      <a:cubicBezTo>
                        <a:pt x="109" y="40"/>
                        <a:pt x="80" y="37"/>
                        <a:pt x="73" y="45"/>
                      </a:cubicBezTo>
                      <a:cubicBezTo>
                        <a:pt x="75" y="36"/>
                        <a:pt x="79" y="25"/>
                        <a:pt x="84" y="17"/>
                      </a:cubicBezTo>
                      <a:cubicBezTo>
                        <a:pt x="68" y="25"/>
                        <a:pt x="53" y="43"/>
                        <a:pt x="34" y="45"/>
                      </a:cubicBezTo>
                      <a:cubicBezTo>
                        <a:pt x="38" y="40"/>
                        <a:pt x="48" y="33"/>
                        <a:pt x="51" y="28"/>
                      </a:cubicBezTo>
                      <a:cubicBezTo>
                        <a:pt x="55" y="21"/>
                        <a:pt x="54" y="7"/>
                        <a:pt x="56" y="0"/>
                      </a:cubicBezTo>
                      <a:cubicBezTo>
                        <a:pt x="37" y="17"/>
                        <a:pt x="28" y="50"/>
                        <a:pt x="0" y="52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90" name="Freeform 387"/>
                <p:cNvSpPr>
                  <a:spLocks/>
                </p:cNvSpPr>
                <p:nvPr/>
              </p:nvSpPr>
              <p:spPr bwMode="gray">
                <a:xfrm>
                  <a:off x="19464337" y="14600238"/>
                  <a:ext cx="1189038" cy="503238"/>
                </a:xfrm>
                <a:custGeom>
                  <a:avLst/>
                  <a:gdLst/>
                  <a:ahLst/>
                  <a:cxnLst>
                    <a:cxn ang="0">
                      <a:pos x="301" y="40"/>
                    </a:cxn>
                    <a:cxn ang="0">
                      <a:pos x="0" y="48"/>
                    </a:cxn>
                    <a:cxn ang="0">
                      <a:pos x="184" y="67"/>
                    </a:cxn>
                    <a:cxn ang="0">
                      <a:pos x="308" y="0"/>
                    </a:cxn>
                    <a:cxn ang="0">
                      <a:pos x="301" y="48"/>
                    </a:cxn>
                  </a:cxnLst>
                  <a:rect l="0" t="0" r="r" b="b"/>
                  <a:pathLst>
                    <a:path w="317" h="134">
                      <a:moveTo>
                        <a:pt x="301" y="40"/>
                      </a:moveTo>
                      <a:cubicBezTo>
                        <a:pt x="252" y="134"/>
                        <a:pt x="71" y="84"/>
                        <a:pt x="0" y="48"/>
                      </a:cubicBezTo>
                      <a:cubicBezTo>
                        <a:pt x="62" y="49"/>
                        <a:pt x="123" y="61"/>
                        <a:pt x="184" y="67"/>
                      </a:cubicBezTo>
                      <a:cubicBezTo>
                        <a:pt x="260" y="75"/>
                        <a:pt x="262" y="39"/>
                        <a:pt x="308" y="0"/>
                      </a:cubicBezTo>
                      <a:cubicBezTo>
                        <a:pt x="317" y="16"/>
                        <a:pt x="315" y="37"/>
                        <a:pt x="301" y="4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91" name="Freeform 388"/>
                <p:cNvSpPr>
                  <a:spLocks/>
                </p:cNvSpPr>
                <p:nvPr/>
              </p:nvSpPr>
              <p:spPr bwMode="gray">
                <a:xfrm>
                  <a:off x="18519775" y="6126163"/>
                  <a:ext cx="685800" cy="2943225"/>
                </a:xfrm>
                <a:custGeom>
                  <a:avLst/>
                  <a:gdLst/>
                  <a:ahLst/>
                  <a:cxnLst>
                    <a:cxn ang="0">
                      <a:pos x="174" y="0"/>
                    </a:cxn>
                    <a:cxn ang="0">
                      <a:pos x="32" y="212"/>
                    </a:cxn>
                    <a:cxn ang="0">
                      <a:pos x="69" y="509"/>
                    </a:cxn>
                    <a:cxn ang="0">
                      <a:pos x="105" y="565"/>
                    </a:cxn>
                    <a:cxn ang="0">
                      <a:pos x="155" y="616"/>
                    </a:cxn>
                    <a:cxn ang="0">
                      <a:pos x="156" y="753"/>
                    </a:cxn>
                    <a:cxn ang="0">
                      <a:pos x="110" y="678"/>
                    </a:cxn>
                    <a:cxn ang="0">
                      <a:pos x="123" y="785"/>
                    </a:cxn>
                    <a:cxn ang="0">
                      <a:pos x="75" y="670"/>
                    </a:cxn>
                    <a:cxn ang="0">
                      <a:pos x="37" y="543"/>
                    </a:cxn>
                    <a:cxn ang="0">
                      <a:pos x="37" y="476"/>
                    </a:cxn>
                    <a:cxn ang="0">
                      <a:pos x="20" y="420"/>
                    </a:cxn>
                    <a:cxn ang="0">
                      <a:pos x="2" y="291"/>
                    </a:cxn>
                    <a:cxn ang="0">
                      <a:pos x="49" y="109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83" h="785">
                      <a:moveTo>
                        <a:pt x="174" y="0"/>
                      </a:moveTo>
                      <a:cubicBezTo>
                        <a:pt x="120" y="52"/>
                        <a:pt x="39" y="134"/>
                        <a:pt x="32" y="212"/>
                      </a:cubicBezTo>
                      <a:cubicBezTo>
                        <a:pt x="23" y="310"/>
                        <a:pt x="26" y="424"/>
                        <a:pt x="69" y="509"/>
                      </a:cubicBezTo>
                      <a:cubicBezTo>
                        <a:pt x="79" y="529"/>
                        <a:pt x="92" y="545"/>
                        <a:pt x="105" y="565"/>
                      </a:cubicBezTo>
                      <a:cubicBezTo>
                        <a:pt x="120" y="587"/>
                        <a:pt x="140" y="598"/>
                        <a:pt x="155" y="616"/>
                      </a:cubicBezTo>
                      <a:cubicBezTo>
                        <a:pt x="183" y="651"/>
                        <a:pt x="170" y="719"/>
                        <a:pt x="156" y="753"/>
                      </a:cubicBezTo>
                      <a:cubicBezTo>
                        <a:pt x="157" y="720"/>
                        <a:pt x="132" y="698"/>
                        <a:pt x="110" y="678"/>
                      </a:cubicBezTo>
                      <a:cubicBezTo>
                        <a:pt x="100" y="714"/>
                        <a:pt x="113" y="752"/>
                        <a:pt x="123" y="785"/>
                      </a:cubicBezTo>
                      <a:cubicBezTo>
                        <a:pt x="80" y="765"/>
                        <a:pt x="81" y="710"/>
                        <a:pt x="75" y="670"/>
                      </a:cubicBezTo>
                      <a:cubicBezTo>
                        <a:pt x="68" y="625"/>
                        <a:pt x="39" y="589"/>
                        <a:pt x="37" y="543"/>
                      </a:cubicBezTo>
                      <a:cubicBezTo>
                        <a:pt x="36" y="521"/>
                        <a:pt x="37" y="498"/>
                        <a:pt x="37" y="476"/>
                      </a:cubicBezTo>
                      <a:cubicBezTo>
                        <a:pt x="37" y="447"/>
                        <a:pt x="34" y="443"/>
                        <a:pt x="20" y="420"/>
                      </a:cubicBezTo>
                      <a:cubicBezTo>
                        <a:pt x="0" y="386"/>
                        <a:pt x="2" y="332"/>
                        <a:pt x="2" y="291"/>
                      </a:cubicBezTo>
                      <a:cubicBezTo>
                        <a:pt x="2" y="225"/>
                        <a:pt x="19" y="166"/>
                        <a:pt x="49" y="109"/>
                      </a:cubicBezTo>
                      <a:cubicBezTo>
                        <a:pt x="70" y="67"/>
                        <a:pt x="133" y="24"/>
                        <a:pt x="172" y="0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92" name="Freeform 389"/>
                <p:cNvSpPr>
                  <a:spLocks/>
                </p:cNvSpPr>
                <p:nvPr/>
              </p:nvSpPr>
              <p:spPr bwMode="gray">
                <a:xfrm>
                  <a:off x="20121562" y="6272213"/>
                  <a:ext cx="947738" cy="2343150"/>
                </a:xfrm>
                <a:custGeom>
                  <a:avLst/>
                  <a:gdLst/>
                  <a:ahLst/>
                  <a:cxnLst>
                    <a:cxn ang="0">
                      <a:pos x="13" y="26"/>
                    </a:cxn>
                    <a:cxn ang="0">
                      <a:pos x="150" y="220"/>
                    </a:cxn>
                    <a:cxn ang="0">
                      <a:pos x="253" y="450"/>
                    </a:cxn>
                    <a:cxn ang="0">
                      <a:pos x="208" y="572"/>
                    </a:cxn>
                    <a:cxn ang="0">
                      <a:pos x="97" y="625"/>
                    </a:cxn>
                    <a:cxn ang="0">
                      <a:pos x="63" y="566"/>
                    </a:cxn>
                    <a:cxn ang="0">
                      <a:pos x="194" y="391"/>
                    </a:cxn>
                    <a:cxn ang="0">
                      <a:pos x="85" y="177"/>
                    </a:cxn>
                    <a:cxn ang="0">
                      <a:pos x="0" y="0"/>
                    </a:cxn>
                    <a:cxn ang="0">
                      <a:pos x="16" y="26"/>
                    </a:cxn>
                  </a:cxnLst>
                  <a:rect l="0" t="0" r="r" b="b"/>
                  <a:pathLst>
                    <a:path w="253" h="625">
                      <a:moveTo>
                        <a:pt x="13" y="26"/>
                      </a:moveTo>
                      <a:cubicBezTo>
                        <a:pt x="43" y="104"/>
                        <a:pt x="86" y="166"/>
                        <a:pt x="150" y="220"/>
                      </a:cubicBezTo>
                      <a:cubicBezTo>
                        <a:pt x="217" y="278"/>
                        <a:pt x="253" y="360"/>
                        <a:pt x="253" y="450"/>
                      </a:cubicBezTo>
                      <a:cubicBezTo>
                        <a:pt x="252" y="504"/>
                        <a:pt x="249" y="541"/>
                        <a:pt x="208" y="572"/>
                      </a:cubicBezTo>
                      <a:cubicBezTo>
                        <a:pt x="173" y="598"/>
                        <a:pt x="138" y="610"/>
                        <a:pt x="97" y="625"/>
                      </a:cubicBezTo>
                      <a:cubicBezTo>
                        <a:pt x="90" y="601"/>
                        <a:pt x="76" y="583"/>
                        <a:pt x="63" y="566"/>
                      </a:cubicBezTo>
                      <a:cubicBezTo>
                        <a:pt x="129" y="543"/>
                        <a:pt x="185" y="456"/>
                        <a:pt x="194" y="391"/>
                      </a:cubicBezTo>
                      <a:cubicBezTo>
                        <a:pt x="205" y="302"/>
                        <a:pt x="132" y="238"/>
                        <a:pt x="85" y="177"/>
                      </a:cubicBezTo>
                      <a:cubicBezTo>
                        <a:pt x="43" y="122"/>
                        <a:pt x="8" y="68"/>
                        <a:pt x="0" y="0"/>
                      </a:cubicBezTo>
                      <a:cubicBezTo>
                        <a:pt x="1" y="11"/>
                        <a:pt x="8" y="20"/>
                        <a:pt x="16" y="26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93" name="Freeform 390"/>
                <p:cNvSpPr>
                  <a:spLocks/>
                </p:cNvSpPr>
                <p:nvPr/>
              </p:nvSpPr>
              <p:spPr bwMode="gray">
                <a:xfrm>
                  <a:off x="18175287" y="24730076"/>
                  <a:ext cx="419100" cy="336550"/>
                </a:xfrm>
                <a:custGeom>
                  <a:avLst/>
                  <a:gdLst/>
                  <a:ahLst/>
                  <a:cxnLst>
                    <a:cxn ang="0">
                      <a:pos x="16" y="60"/>
                    </a:cxn>
                    <a:cxn ang="0">
                      <a:pos x="86" y="0"/>
                    </a:cxn>
                    <a:cxn ang="0">
                      <a:pos x="107" y="59"/>
                    </a:cxn>
                    <a:cxn ang="0">
                      <a:pos x="49" y="61"/>
                    </a:cxn>
                    <a:cxn ang="0">
                      <a:pos x="2" y="87"/>
                    </a:cxn>
                    <a:cxn ang="0">
                      <a:pos x="27" y="60"/>
                    </a:cxn>
                  </a:cxnLst>
                  <a:rect l="0" t="0" r="r" b="b"/>
                  <a:pathLst>
                    <a:path w="112" h="90">
                      <a:moveTo>
                        <a:pt x="16" y="60"/>
                      </a:moveTo>
                      <a:cubicBezTo>
                        <a:pt x="42" y="45"/>
                        <a:pt x="68" y="23"/>
                        <a:pt x="86" y="0"/>
                      </a:cubicBezTo>
                      <a:cubicBezTo>
                        <a:pt x="104" y="14"/>
                        <a:pt x="112" y="37"/>
                        <a:pt x="107" y="59"/>
                      </a:cubicBezTo>
                      <a:cubicBezTo>
                        <a:pt x="91" y="78"/>
                        <a:pt x="68" y="60"/>
                        <a:pt x="49" y="61"/>
                      </a:cubicBezTo>
                      <a:cubicBezTo>
                        <a:pt x="47" y="81"/>
                        <a:pt x="23" y="90"/>
                        <a:pt x="2" y="87"/>
                      </a:cubicBezTo>
                      <a:cubicBezTo>
                        <a:pt x="0" y="79"/>
                        <a:pt x="23" y="62"/>
                        <a:pt x="27" y="60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405" name="Rechteck 404"/>
            <p:cNvSpPr/>
            <p:nvPr/>
          </p:nvSpPr>
          <p:spPr bwMode="gray">
            <a:xfrm>
              <a:off x="1951406" y="2813725"/>
              <a:ext cx="1846643" cy="43088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100" noProof="1"/>
                <a:t>Opinion leaders are</a:t>
              </a:r>
            </a:p>
            <a:p>
              <a:pPr algn="ctr"/>
              <a:r>
                <a:rPr lang="en-US" sz="1100" noProof="1"/>
                <a:t>influenced by experts</a:t>
              </a:r>
            </a:p>
          </p:txBody>
        </p:sp>
        <p:sp>
          <p:nvSpPr>
            <p:cNvPr id="406" name="Rechteck 405"/>
            <p:cNvSpPr/>
            <p:nvPr/>
          </p:nvSpPr>
          <p:spPr bwMode="gray">
            <a:xfrm>
              <a:off x="323852" y="5068806"/>
              <a:ext cx="8494710" cy="7462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noProof="1" smtClean="0">
                  <a:solidFill>
                    <a:srgbClr val="000000"/>
                  </a:solidFill>
                </a:rPr>
                <a:t>Opinion leader is the central element. He obtains a mediating role where</a:t>
              </a:r>
              <a:br>
                <a:rPr lang="en-US" sz="1600" noProof="1" smtClean="0">
                  <a:solidFill>
                    <a:srgbClr val="000000"/>
                  </a:solidFill>
                </a:rPr>
              </a:br>
              <a:r>
                <a:rPr lang="en-US" sz="1600" noProof="1" smtClean="0">
                  <a:solidFill>
                    <a:srgbClr val="000000"/>
                  </a:solidFill>
                </a:rPr>
                <a:t>he passes on information to advertising subjects in his social environment.</a:t>
              </a:r>
              <a:endParaRPr lang="en-US" sz="1600" noProof="1">
                <a:solidFill>
                  <a:srgbClr val="000000"/>
                </a:solidFill>
              </a:endParaRPr>
            </a:p>
          </p:txBody>
        </p:sp>
        <p:sp>
          <p:nvSpPr>
            <p:cNvPr id="407" name="Textfeld 406"/>
            <p:cNvSpPr txBox="1"/>
            <p:nvPr/>
          </p:nvSpPr>
          <p:spPr bwMode="gray">
            <a:xfrm>
              <a:off x="379745" y="4952406"/>
              <a:ext cx="441146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 Black" pitchFamily="34" charset="0"/>
                </a:rPr>
                <a:t>!</a:t>
              </a:r>
              <a:endParaRPr lang="en-US" sz="6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itchFamily="34" charset="0"/>
              </a:endParaRPr>
            </a:p>
          </p:txBody>
        </p:sp>
        <p:sp>
          <p:nvSpPr>
            <p:cNvPr id="408" name="Rechteck 407"/>
            <p:cNvSpPr/>
            <p:nvPr/>
          </p:nvSpPr>
          <p:spPr bwMode="gray">
            <a:xfrm>
              <a:off x="5425607" y="2644448"/>
              <a:ext cx="1751933" cy="769441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>
              <a:spAutoFit/>
            </a:bodyPr>
            <a:lstStyle/>
            <a:p>
              <a:pPr algn="ctr"/>
              <a:r>
                <a:rPr lang="en-US" sz="1100" noProof="1"/>
                <a:t>Members of the "</a:t>
              </a:r>
              <a:r>
                <a:rPr lang="en-US" sz="1100" noProof="1" smtClean="0"/>
                <a:t>followers“-group</a:t>
              </a:r>
              <a:endParaRPr lang="en-US" sz="1100" noProof="1"/>
            </a:p>
            <a:p>
              <a:pPr algn="ctr"/>
              <a:r>
                <a:rPr lang="en-US" sz="1100" noProof="1"/>
                <a:t>are influenced by the</a:t>
              </a:r>
            </a:p>
            <a:p>
              <a:pPr algn="ctr"/>
              <a:r>
                <a:rPr lang="en-US" sz="1100" noProof="1" smtClean="0"/>
                <a:t>opinion </a:t>
              </a:r>
              <a:r>
                <a:rPr lang="en-US" sz="1100" noProof="1"/>
                <a:t>leader</a:t>
              </a:r>
            </a:p>
          </p:txBody>
        </p:sp>
        <p:grpSp>
          <p:nvGrpSpPr>
            <p:cNvPr id="5" name="Gruppieren 403"/>
            <p:cNvGrpSpPr/>
            <p:nvPr/>
          </p:nvGrpSpPr>
          <p:grpSpPr bwMode="gray">
            <a:xfrm>
              <a:off x="306757" y="1570473"/>
              <a:ext cx="1644650" cy="1874558"/>
              <a:chOff x="3270154" y="2111377"/>
              <a:chExt cx="1644650" cy="1874558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  <a:reflection blurRad="6350" stA="52000" endA="300" endPos="35000" dir="5400000" sy="-100000" algn="bl" rotWithShape="0"/>
            </a:effectLst>
          </p:grpSpPr>
          <p:sp>
            <p:nvSpPr>
              <p:cNvPr id="409" name="Freeform 6"/>
              <p:cNvSpPr>
                <a:spLocks/>
              </p:cNvSpPr>
              <p:nvPr/>
            </p:nvSpPr>
            <p:spPr bwMode="gray">
              <a:xfrm>
                <a:off x="3885467" y="3363944"/>
                <a:ext cx="486526" cy="552350"/>
              </a:xfrm>
              <a:custGeom>
                <a:avLst/>
                <a:gdLst/>
                <a:ahLst/>
                <a:cxnLst>
                  <a:cxn ang="0">
                    <a:pos x="510" y="579"/>
                  </a:cxn>
                  <a:cxn ang="0">
                    <a:pos x="0" y="518"/>
                  </a:cxn>
                  <a:cxn ang="0">
                    <a:pos x="437" y="338"/>
                  </a:cxn>
                  <a:cxn ang="0">
                    <a:pos x="87" y="229"/>
                  </a:cxn>
                  <a:cxn ang="0">
                    <a:pos x="354" y="71"/>
                  </a:cxn>
                  <a:cxn ang="0">
                    <a:pos x="156" y="0"/>
                  </a:cxn>
                </a:cxnLst>
                <a:rect l="0" t="0" r="r" b="b"/>
                <a:pathLst>
                  <a:path w="510" h="579">
                    <a:moveTo>
                      <a:pt x="510" y="579"/>
                    </a:moveTo>
                    <a:lnTo>
                      <a:pt x="0" y="518"/>
                    </a:lnTo>
                    <a:lnTo>
                      <a:pt x="437" y="338"/>
                    </a:lnTo>
                    <a:lnTo>
                      <a:pt x="87" y="229"/>
                    </a:lnTo>
                    <a:lnTo>
                      <a:pt x="354" y="71"/>
                    </a:lnTo>
                    <a:lnTo>
                      <a:pt x="156" y="0"/>
                    </a:lnTo>
                  </a:path>
                </a:pathLst>
              </a:custGeom>
              <a:noFill/>
              <a:ln w="4445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0" name="Freeform 7"/>
              <p:cNvSpPr>
                <a:spLocks/>
              </p:cNvSpPr>
              <p:nvPr/>
            </p:nvSpPr>
            <p:spPr bwMode="gray">
              <a:xfrm>
                <a:off x="3845400" y="3087292"/>
                <a:ext cx="546627" cy="898643"/>
              </a:xfrm>
              <a:custGeom>
                <a:avLst/>
                <a:gdLst/>
                <a:ahLst/>
                <a:cxnLst>
                  <a:cxn ang="0">
                    <a:pos x="0" y="942"/>
                  </a:cxn>
                  <a:cxn ang="0">
                    <a:pos x="288" y="0"/>
                  </a:cxn>
                  <a:cxn ang="0">
                    <a:pos x="573" y="942"/>
                  </a:cxn>
                </a:cxnLst>
                <a:rect l="0" t="0" r="r" b="b"/>
                <a:pathLst>
                  <a:path w="573" h="942">
                    <a:moveTo>
                      <a:pt x="0" y="942"/>
                    </a:moveTo>
                    <a:lnTo>
                      <a:pt x="288" y="0"/>
                    </a:lnTo>
                    <a:lnTo>
                      <a:pt x="573" y="942"/>
                    </a:lnTo>
                  </a:path>
                </a:pathLst>
              </a:custGeom>
              <a:noFill/>
              <a:ln w="444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1" name="Oval 8"/>
              <p:cNvSpPr>
                <a:spLocks noChangeArrowheads="1"/>
              </p:cNvSpPr>
              <p:nvPr/>
            </p:nvSpPr>
            <p:spPr bwMode="gray">
              <a:xfrm>
                <a:off x="3984680" y="2951828"/>
                <a:ext cx="269975" cy="270928"/>
              </a:xfrm>
              <a:prstGeom prst="ellipse">
                <a:avLst/>
              </a:prstGeom>
              <a:solidFill>
                <a:schemeClr val="accent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2" name="Freeform 9"/>
              <p:cNvSpPr>
                <a:spLocks/>
              </p:cNvSpPr>
              <p:nvPr/>
            </p:nvSpPr>
            <p:spPr bwMode="gray">
              <a:xfrm>
                <a:off x="3619308" y="2569284"/>
                <a:ext cx="967329" cy="574292"/>
              </a:xfrm>
              <a:custGeom>
                <a:avLst/>
                <a:gdLst/>
                <a:ahLst/>
                <a:cxnLst>
                  <a:cxn ang="0">
                    <a:pos x="66" y="255"/>
                  </a:cxn>
                  <a:cxn ang="0">
                    <a:pos x="64" y="230"/>
                  </a:cxn>
                  <a:cxn ang="0">
                    <a:pos x="222" y="72"/>
                  </a:cxn>
                  <a:cxn ang="0">
                    <a:pos x="380" y="227"/>
                  </a:cxn>
                  <a:cxn ang="0">
                    <a:pos x="429" y="130"/>
                  </a:cxn>
                  <a:cxn ang="0">
                    <a:pos x="222" y="0"/>
                  </a:cxn>
                  <a:cxn ang="0">
                    <a:pos x="0" y="168"/>
                  </a:cxn>
                  <a:cxn ang="0">
                    <a:pos x="66" y="255"/>
                  </a:cxn>
                </a:cxnLst>
                <a:rect l="0" t="0" r="r" b="b"/>
                <a:pathLst>
                  <a:path w="429" h="255">
                    <a:moveTo>
                      <a:pt x="66" y="255"/>
                    </a:moveTo>
                    <a:cubicBezTo>
                      <a:pt x="64" y="247"/>
                      <a:pt x="64" y="238"/>
                      <a:pt x="64" y="230"/>
                    </a:cubicBezTo>
                    <a:cubicBezTo>
                      <a:pt x="64" y="142"/>
                      <a:pt x="134" y="72"/>
                      <a:pt x="222" y="72"/>
                    </a:cubicBezTo>
                    <a:cubicBezTo>
                      <a:pt x="308" y="72"/>
                      <a:pt x="378" y="141"/>
                      <a:pt x="380" y="227"/>
                    </a:cubicBezTo>
                    <a:cubicBezTo>
                      <a:pt x="403" y="200"/>
                      <a:pt x="421" y="166"/>
                      <a:pt x="429" y="130"/>
                    </a:cubicBezTo>
                    <a:cubicBezTo>
                      <a:pt x="392" y="53"/>
                      <a:pt x="313" y="0"/>
                      <a:pt x="222" y="0"/>
                    </a:cubicBezTo>
                    <a:cubicBezTo>
                      <a:pt x="116" y="0"/>
                      <a:pt x="27" y="71"/>
                      <a:pt x="0" y="168"/>
                    </a:cubicBezTo>
                    <a:cubicBezTo>
                      <a:pt x="15" y="202"/>
                      <a:pt x="37" y="232"/>
                      <a:pt x="66" y="2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10000"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413" name="Freeform 10"/>
              <p:cNvSpPr>
                <a:spLocks/>
              </p:cNvSpPr>
              <p:nvPr/>
            </p:nvSpPr>
            <p:spPr bwMode="gray">
              <a:xfrm>
                <a:off x="3270154" y="2111377"/>
                <a:ext cx="1644650" cy="719296"/>
              </a:xfrm>
              <a:custGeom>
                <a:avLst/>
                <a:gdLst/>
                <a:ahLst/>
                <a:cxnLst>
                  <a:cxn ang="0">
                    <a:pos x="377" y="76"/>
                  </a:cxn>
                  <a:cxn ang="0">
                    <a:pos x="702" y="286"/>
                  </a:cxn>
                  <a:cxn ang="0">
                    <a:pos x="730" y="183"/>
                  </a:cxn>
                  <a:cxn ang="0">
                    <a:pos x="377" y="0"/>
                  </a:cxn>
                  <a:cxn ang="0">
                    <a:pos x="0" y="220"/>
                  </a:cxn>
                  <a:cxn ang="0">
                    <a:pos x="38" y="319"/>
                  </a:cxn>
                  <a:cxn ang="0">
                    <a:pos x="377" y="76"/>
                  </a:cxn>
                </a:cxnLst>
                <a:rect l="0" t="0" r="r" b="b"/>
                <a:pathLst>
                  <a:path w="730" h="319">
                    <a:moveTo>
                      <a:pt x="377" y="76"/>
                    </a:moveTo>
                    <a:cubicBezTo>
                      <a:pt x="522" y="76"/>
                      <a:pt x="646" y="162"/>
                      <a:pt x="702" y="286"/>
                    </a:cubicBezTo>
                    <a:cubicBezTo>
                      <a:pt x="716" y="254"/>
                      <a:pt x="726" y="219"/>
                      <a:pt x="730" y="183"/>
                    </a:cubicBezTo>
                    <a:cubicBezTo>
                      <a:pt x="652" y="72"/>
                      <a:pt x="523" y="0"/>
                      <a:pt x="377" y="0"/>
                    </a:cubicBezTo>
                    <a:cubicBezTo>
                      <a:pt x="215" y="0"/>
                      <a:pt x="74" y="88"/>
                      <a:pt x="0" y="220"/>
                    </a:cubicBezTo>
                    <a:cubicBezTo>
                      <a:pt x="8" y="255"/>
                      <a:pt x="21" y="288"/>
                      <a:pt x="38" y="319"/>
                    </a:cubicBezTo>
                    <a:cubicBezTo>
                      <a:pt x="86" y="177"/>
                      <a:pt x="219" y="76"/>
                      <a:pt x="377" y="7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alpha val="10000"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alpha val="10000"/>
                    </a:schemeClr>
                  </a:gs>
                </a:gsLst>
                <a:lin ang="0" scaled="1"/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grpSp>
          <p:nvGrpSpPr>
            <p:cNvPr id="6" name="Gruppieren 680"/>
            <p:cNvGrpSpPr/>
            <p:nvPr/>
          </p:nvGrpSpPr>
          <p:grpSpPr bwMode="gray">
            <a:xfrm>
              <a:off x="4173773" y="1725025"/>
              <a:ext cx="961832" cy="1753093"/>
              <a:chOff x="4173773" y="2809769"/>
              <a:chExt cx="1318032" cy="2402324"/>
            </a:xfrm>
          </p:grpSpPr>
          <p:pic>
            <p:nvPicPr>
              <p:cNvPr id="682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4173773" y="4845781"/>
                <a:ext cx="1318032" cy="366312"/>
              </a:xfrm>
              <a:prstGeom prst="rect">
                <a:avLst/>
              </a:prstGeom>
              <a:noFill/>
            </p:spPr>
          </p:pic>
          <p:grpSp>
            <p:nvGrpSpPr>
              <p:cNvPr id="7" name="Gruppieren 270"/>
              <p:cNvGrpSpPr/>
              <p:nvPr/>
            </p:nvGrpSpPr>
            <p:grpSpPr bwMode="gray">
              <a:xfrm>
                <a:off x="4444342" y="2809769"/>
                <a:ext cx="626525" cy="2292056"/>
                <a:chOff x="-3870325" y="-19711987"/>
                <a:chExt cx="5864225" cy="21453475"/>
              </a:xfrm>
            </p:grpSpPr>
            <p:sp>
              <p:nvSpPr>
                <p:cNvPr id="684" name="Freeform 81"/>
                <p:cNvSpPr>
                  <a:spLocks/>
                </p:cNvSpPr>
                <p:nvPr/>
              </p:nvSpPr>
              <p:spPr bwMode="gray">
                <a:xfrm>
                  <a:off x="-3076575" y="-676275"/>
                  <a:ext cx="3457575" cy="1844675"/>
                </a:xfrm>
                <a:custGeom>
                  <a:avLst/>
                  <a:gdLst/>
                  <a:ahLst/>
                  <a:cxnLst>
                    <a:cxn ang="0">
                      <a:pos x="429" y="101"/>
                    </a:cxn>
                    <a:cxn ang="0">
                      <a:pos x="355" y="179"/>
                    </a:cxn>
                    <a:cxn ang="0">
                      <a:pos x="276" y="240"/>
                    </a:cxn>
                    <a:cxn ang="0">
                      <a:pos x="188" y="309"/>
                    </a:cxn>
                    <a:cxn ang="0">
                      <a:pos x="14" y="421"/>
                    </a:cxn>
                    <a:cxn ang="0">
                      <a:pos x="76" y="477"/>
                    </a:cxn>
                    <a:cxn ang="0">
                      <a:pos x="159" y="490"/>
                    </a:cxn>
                    <a:cxn ang="0">
                      <a:pos x="323" y="467"/>
                    </a:cxn>
                    <a:cxn ang="0">
                      <a:pos x="470" y="412"/>
                    </a:cxn>
                    <a:cxn ang="0">
                      <a:pos x="699" y="376"/>
                    </a:cxn>
                    <a:cxn ang="0">
                      <a:pos x="452" y="112"/>
                    </a:cxn>
                  </a:cxnLst>
                  <a:rect l="0" t="0" r="r" b="b"/>
                  <a:pathLst>
                    <a:path w="922" h="492">
                      <a:moveTo>
                        <a:pt x="429" y="101"/>
                      </a:moveTo>
                      <a:cubicBezTo>
                        <a:pt x="402" y="122"/>
                        <a:pt x="363" y="146"/>
                        <a:pt x="355" y="179"/>
                      </a:cubicBezTo>
                      <a:cubicBezTo>
                        <a:pt x="335" y="183"/>
                        <a:pt x="296" y="222"/>
                        <a:pt x="276" y="240"/>
                      </a:cubicBezTo>
                      <a:cubicBezTo>
                        <a:pt x="247" y="266"/>
                        <a:pt x="226" y="294"/>
                        <a:pt x="188" y="309"/>
                      </a:cubicBezTo>
                      <a:cubicBezTo>
                        <a:pt x="149" y="324"/>
                        <a:pt x="0" y="364"/>
                        <a:pt x="14" y="421"/>
                      </a:cubicBezTo>
                      <a:cubicBezTo>
                        <a:pt x="42" y="435"/>
                        <a:pt x="50" y="466"/>
                        <a:pt x="76" y="477"/>
                      </a:cubicBezTo>
                      <a:cubicBezTo>
                        <a:pt x="92" y="484"/>
                        <a:pt x="143" y="489"/>
                        <a:pt x="159" y="490"/>
                      </a:cubicBezTo>
                      <a:cubicBezTo>
                        <a:pt x="216" y="492"/>
                        <a:pt x="263" y="467"/>
                        <a:pt x="323" y="467"/>
                      </a:cubicBezTo>
                      <a:cubicBezTo>
                        <a:pt x="396" y="467"/>
                        <a:pt x="411" y="447"/>
                        <a:pt x="470" y="412"/>
                      </a:cubicBezTo>
                      <a:cubicBezTo>
                        <a:pt x="539" y="371"/>
                        <a:pt x="622" y="392"/>
                        <a:pt x="699" y="376"/>
                      </a:cubicBezTo>
                      <a:cubicBezTo>
                        <a:pt x="922" y="224"/>
                        <a:pt x="494" y="0"/>
                        <a:pt x="452" y="112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85" name="Freeform 82"/>
                <p:cNvSpPr>
                  <a:spLocks/>
                </p:cNvSpPr>
                <p:nvPr/>
              </p:nvSpPr>
              <p:spPr bwMode="gray">
                <a:xfrm>
                  <a:off x="-101600" y="-522287"/>
                  <a:ext cx="2095500" cy="2263775"/>
                </a:xfrm>
                <a:custGeom>
                  <a:avLst/>
                  <a:gdLst/>
                  <a:ahLst/>
                  <a:cxnLst>
                    <a:cxn ang="0">
                      <a:pos x="36" y="184"/>
                    </a:cxn>
                    <a:cxn ang="0">
                      <a:pos x="99" y="402"/>
                    </a:cxn>
                    <a:cxn ang="0">
                      <a:pos x="156" y="413"/>
                    </a:cxn>
                    <a:cxn ang="0">
                      <a:pos x="183" y="465"/>
                    </a:cxn>
                    <a:cxn ang="0">
                      <a:pos x="261" y="538"/>
                    </a:cxn>
                    <a:cxn ang="0">
                      <a:pos x="532" y="527"/>
                    </a:cxn>
                    <a:cxn ang="0">
                      <a:pos x="409" y="317"/>
                    </a:cxn>
                    <a:cxn ang="0">
                      <a:pos x="341" y="212"/>
                    </a:cxn>
                    <a:cxn ang="0">
                      <a:pos x="257" y="77"/>
                    </a:cxn>
                    <a:cxn ang="0">
                      <a:pos x="48" y="184"/>
                    </a:cxn>
                  </a:cxnLst>
                  <a:rect l="0" t="0" r="r" b="b"/>
                  <a:pathLst>
                    <a:path w="559" h="604">
                      <a:moveTo>
                        <a:pt x="36" y="184"/>
                      </a:moveTo>
                      <a:cubicBezTo>
                        <a:pt x="36" y="271"/>
                        <a:pt x="0" y="373"/>
                        <a:pt x="99" y="402"/>
                      </a:cubicBezTo>
                      <a:cubicBezTo>
                        <a:pt x="122" y="409"/>
                        <a:pt x="136" y="401"/>
                        <a:pt x="156" y="413"/>
                      </a:cubicBezTo>
                      <a:cubicBezTo>
                        <a:pt x="190" y="435"/>
                        <a:pt x="167" y="433"/>
                        <a:pt x="183" y="465"/>
                      </a:cubicBezTo>
                      <a:cubicBezTo>
                        <a:pt x="202" y="505"/>
                        <a:pt x="221" y="523"/>
                        <a:pt x="261" y="538"/>
                      </a:cubicBezTo>
                      <a:cubicBezTo>
                        <a:pt x="323" y="562"/>
                        <a:pt x="501" y="604"/>
                        <a:pt x="532" y="527"/>
                      </a:cubicBezTo>
                      <a:cubicBezTo>
                        <a:pt x="559" y="459"/>
                        <a:pt x="449" y="364"/>
                        <a:pt x="409" y="317"/>
                      </a:cubicBezTo>
                      <a:cubicBezTo>
                        <a:pt x="375" y="277"/>
                        <a:pt x="361" y="259"/>
                        <a:pt x="341" y="212"/>
                      </a:cubicBezTo>
                      <a:cubicBezTo>
                        <a:pt x="323" y="171"/>
                        <a:pt x="292" y="106"/>
                        <a:pt x="257" y="77"/>
                      </a:cubicBezTo>
                      <a:cubicBezTo>
                        <a:pt x="168" y="0"/>
                        <a:pt x="73" y="105"/>
                        <a:pt x="48" y="184"/>
                      </a:cubicBezTo>
                    </a:path>
                  </a:pathLst>
                </a:custGeom>
                <a:solidFill>
                  <a:srgbClr val="00040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86" name="Freeform 83"/>
                <p:cNvSpPr>
                  <a:spLocks/>
                </p:cNvSpPr>
                <p:nvPr/>
              </p:nvSpPr>
              <p:spPr bwMode="gray">
                <a:xfrm>
                  <a:off x="-1706563" y="61913"/>
                  <a:ext cx="382588" cy="393700"/>
                </a:xfrm>
                <a:custGeom>
                  <a:avLst/>
                  <a:gdLst/>
                  <a:ahLst/>
                  <a:cxnLst>
                    <a:cxn ang="0">
                      <a:pos x="31" y="41"/>
                    </a:cxn>
                    <a:cxn ang="0">
                      <a:pos x="2" y="74"/>
                    </a:cxn>
                    <a:cxn ang="0">
                      <a:pos x="30" y="76"/>
                    </a:cxn>
                    <a:cxn ang="0">
                      <a:pos x="31" y="91"/>
                    </a:cxn>
                    <a:cxn ang="0">
                      <a:pos x="31" y="45"/>
                    </a:cxn>
                  </a:cxnLst>
                  <a:rect l="0" t="0" r="r" b="b"/>
                  <a:pathLst>
                    <a:path w="102" h="105">
                      <a:moveTo>
                        <a:pt x="31" y="41"/>
                      </a:moveTo>
                      <a:cubicBezTo>
                        <a:pt x="12" y="42"/>
                        <a:pt x="0" y="55"/>
                        <a:pt x="2" y="74"/>
                      </a:cubicBezTo>
                      <a:cubicBezTo>
                        <a:pt x="10" y="72"/>
                        <a:pt x="22" y="77"/>
                        <a:pt x="30" y="76"/>
                      </a:cubicBezTo>
                      <a:cubicBezTo>
                        <a:pt x="30" y="80"/>
                        <a:pt x="31" y="86"/>
                        <a:pt x="31" y="91"/>
                      </a:cubicBezTo>
                      <a:cubicBezTo>
                        <a:pt x="102" y="105"/>
                        <a:pt x="90" y="0"/>
                        <a:pt x="31" y="45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87" name="Freeform 84"/>
                <p:cNvSpPr>
                  <a:spLocks/>
                </p:cNvSpPr>
                <p:nvPr/>
              </p:nvSpPr>
              <p:spPr bwMode="gray">
                <a:xfrm>
                  <a:off x="-1651000" y="249238"/>
                  <a:ext cx="1304925" cy="495300"/>
                </a:xfrm>
                <a:custGeom>
                  <a:avLst/>
                  <a:gdLst/>
                  <a:ahLst/>
                  <a:cxnLst>
                    <a:cxn ang="0">
                      <a:pos x="315" y="16"/>
                    </a:cxn>
                    <a:cxn ang="0">
                      <a:pos x="146" y="79"/>
                    </a:cxn>
                    <a:cxn ang="0">
                      <a:pos x="0" y="131"/>
                    </a:cxn>
                    <a:cxn ang="0">
                      <a:pos x="167" y="32"/>
                    </a:cxn>
                    <a:cxn ang="0">
                      <a:pos x="252" y="4"/>
                    </a:cxn>
                    <a:cxn ang="0">
                      <a:pos x="299" y="26"/>
                    </a:cxn>
                    <a:cxn ang="0">
                      <a:pos x="307" y="38"/>
                    </a:cxn>
                  </a:cxnLst>
                  <a:rect l="0" t="0" r="r" b="b"/>
                  <a:pathLst>
                    <a:path w="348" h="132">
                      <a:moveTo>
                        <a:pt x="315" y="16"/>
                      </a:moveTo>
                      <a:cubicBezTo>
                        <a:pt x="238" y="16"/>
                        <a:pt x="205" y="34"/>
                        <a:pt x="146" y="79"/>
                      </a:cubicBezTo>
                      <a:cubicBezTo>
                        <a:pt x="99" y="115"/>
                        <a:pt x="61" y="132"/>
                        <a:pt x="0" y="131"/>
                      </a:cubicBezTo>
                      <a:cubicBezTo>
                        <a:pt x="58" y="101"/>
                        <a:pt x="117" y="75"/>
                        <a:pt x="167" y="32"/>
                      </a:cubicBezTo>
                      <a:cubicBezTo>
                        <a:pt x="196" y="8"/>
                        <a:pt x="212" y="9"/>
                        <a:pt x="252" y="4"/>
                      </a:cubicBezTo>
                      <a:cubicBezTo>
                        <a:pt x="264" y="2"/>
                        <a:pt x="348" y="0"/>
                        <a:pt x="299" y="26"/>
                      </a:cubicBezTo>
                      <a:cubicBezTo>
                        <a:pt x="301" y="29"/>
                        <a:pt x="305" y="33"/>
                        <a:pt x="307" y="38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88" name="Freeform 85"/>
                <p:cNvSpPr>
                  <a:spLocks/>
                </p:cNvSpPr>
                <p:nvPr/>
              </p:nvSpPr>
              <p:spPr bwMode="gray">
                <a:xfrm>
                  <a:off x="1000125" y="419100"/>
                  <a:ext cx="949325" cy="911225"/>
                </a:xfrm>
                <a:custGeom>
                  <a:avLst/>
                  <a:gdLst/>
                  <a:ahLst/>
                  <a:cxnLst>
                    <a:cxn ang="0">
                      <a:pos x="35" y="35"/>
                    </a:cxn>
                    <a:cxn ang="0">
                      <a:pos x="68" y="106"/>
                    </a:cxn>
                    <a:cxn ang="0">
                      <a:pos x="10" y="135"/>
                    </a:cxn>
                    <a:cxn ang="0">
                      <a:pos x="72" y="162"/>
                    </a:cxn>
                    <a:cxn ang="0">
                      <a:pos x="187" y="220"/>
                    </a:cxn>
                    <a:cxn ang="0">
                      <a:pos x="135" y="124"/>
                    </a:cxn>
                    <a:cxn ang="0">
                      <a:pos x="55" y="10"/>
                    </a:cxn>
                    <a:cxn ang="0">
                      <a:pos x="14" y="14"/>
                    </a:cxn>
                  </a:cxnLst>
                  <a:rect l="0" t="0" r="r" b="b"/>
                  <a:pathLst>
                    <a:path w="253" h="243">
                      <a:moveTo>
                        <a:pt x="35" y="35"/>
                      </a:moveTo>
                      <a:cubicBezTo>
                        <a:pt x="52" y="54"/>
                        <a:pt x="67" y="81"/>
                        <a:pt x="68" y="106"/>
                      </a:cubicBezTo>
                      <a:cubicBezTo>
                        <a:pt x="50" y="105"/>
                        <a:pt x="0" y="104"/>
                        <a:pt x="10" y="135"/>
                      </a:cubicBezTo>
                      <a:cubicBezTo>
                        <a:pt x="15" y="150"/>
                        <a:pt x="61" y="156"/>
                        <a:pt x="72" y="162"/>
                      </a:cubicBezTo>
                      <a:cubicBezTo>
                        <a:pt x="102" y="180"/>
                        <a:pt x="143" y="243"/>
                        <a:pt x="187" y="220"/>
                      </a:cubicBezTo>
                      <a:cubicBezTo>
                        <a:pt x="253" y="185"/>
                        <a:pt x="156" y="138"/>
                        <a:pt x="135" y="124"/>
                      </a:cubicBezTo>
                      <a:cubicBezTo>
                        <a:pt x="96" y="98"/>
                        <a:pt x="79" y="53"/>
                        <a:pt x="55" y="10"/>
                      </a:cubicBezTo>
                      <a:cubicBezTo>
                        <a:pt x="40" y="5"/>
                        <a:pt x="21" y="0"/>
                        <a:pt x="14" y="14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89" name="Freeform 86"/>
                <p:cNvSpPr>
                  <a:spLocks/>
                </p:cNvSpPr>
                <p:nvPr/>
              </p:nvSpPr>
              <p:spPr bwMode="gray">
                <a:xfrm>
                  <a:off x="47625" y="452438"/>
                  <a:ext cx="809625" cy="919163"/>
                </a:xfrm>
                <a:custGeom>
                  <a:avLst/>
                  <a:gdLst/>
                  <a:ahLst/>
                  <a:cxnLst>
                    <a:cxn ang="0">
                      <a:pos x="36" y="13"/>
                    </a:cxn>
                    <a:cxn ang="0">
                      <a:pos x="216" y="237"/>
                    </a:cxn>
                    <a:cxn ang="0">
                      <a:pos x="108" y="130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216" h="245">
                      <a:moveTo>
                        <a:pt x="36" y="13"/>
                      </a:moveTo>
                      <a:cubicBezTo>
                        <a:pt x="156" y="33"/>
                        <a:pt x="104" y="200"/>
                        <a:pt x="216" y="237"/>
                      </a:cubicBezTo>
                      <a:cubicBezTo>
                        <a:pt x="163" y="245"/>
                        <a:pt x="127" y="165"/>
                        <a:pt x="108" y="130"/>
                      </a:cubicBezTo>
                      <a:cubicBezTo>
                        <a:pt x="94" y="104"/>
                        <a:pt x="0" y="23"/>
                        <a:pt x="27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0" name="Freeform 87"/>
                <p:cNvSpPr>
                  <a:spLocks/>
                </p:cNvSpPr>
                <p:nvPr/>
              </p:nvSpPr>
              <p:spPr bwMode="gray">
                <a:xfrm>
                  <a:off x="1427163" y="1300163"/>
                  <a:ext cx="180975" cy="130175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" y="3"/>
                    </a:cxn>
                    <a:cxn ang="0">
                      <a:pos x="43" y="31"/>
                    </a:cxn>
                    <a:cxn ang="0">
                      <a:pos x="47" y="7"/>
                    </a:cxn>
                    <a:cxn ang="0">
                      <a:pos x="35" y="2"/>
                    </a:cxn>
                  </a:cxnLst>
                  <a:rect l="0" t="0" r="r" b="b"/>
                  <a:pathLst>
                    <a:path w="48" h="35">
                      <a:moveTo>
                        <a:pt x="31" y="2"/>
                      </a:moveTo>
                      <a:cubicBezTo>
                        <a:pt x="22" y="0"/>
                        <a:pt x="10" y="2"/>
                        <a:pt x="2" y="3"/>
                      </a:cubicBezTo>
                      <a:cubicBezTo>
                        <a:pt x="0" y="27"/>
                        <a:pt x="21" y="35"/>
                        <a:pt x="43" y="31"/>
                      </a:cubicBezTo>
                      <a:cubicBezTo>
                        <a:pt x="47" y="24"/>
                        <a:pt x="48" y="16"/>
                        <a:pt x="47" y="7"/>
                      </a:cubicBezTo>
                      <a:cubicBezTo>
                        <a:pt x="40" y="9"/>
                        <a:pt x="38" y="4"/>
                        <a:pt x="35" y="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1" name="Freeform 88"/>
                <p:cNvSpPr>
                  <a:spLocks/>
                </p:cNvSpPr>
                <p:nvPr/>
              </p:nvSpPr>
              <p:spPr bwMode="gray">
                <a:xfrm>
                  <a:off x="614363" y="265113"/>
                  <a:ext cx="280988" cy="330200"/>
                </a:xfrm>
                <a:custGeom>
                  <a:avLst/>
                  <a:gdLst/>
                  <a:ahLst/>
                  <a:cxnLst>
                    <a:cxn ang="0">
                      <a:pos x="62" y="4"/>
                    </a:cxn>
                    <a:cxn ang="0">
                      <a:pos x="41" y="5"/>
                    </a:cxn>
                    <a:cxn ang="0">
                      <a:pos x="53" y="88"/>
                    </a:cxn>
                    <a:cxn ang="0">
                      <a:pos x="50" y="38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75" h="88">
                      <a:moveTo>
                        <a:pt x="62" y="4"/>
                      </a:moveTo>
                      <a:cubicBezTo>
                        <a:pt x="56" y="3"/>
                        <a:pt x="48" y="4"/>
                        <a:pt x="41" y="5"/>
                      </a:cubicBezTo>
                      <a:cubicBezTo>
                        <a:pt x="46" y="28"/>
                        <a:pt x="0" y="86"/>
                        <a:pt x="53" y="88"/>
                      </a:cubicBezTo>
                      <a:cubicBezTo>
                        <a:pt x="56" y="71"/>
                        <a:pt x="53" y="53"/>
                        <a:pt x="50" y="38"/>
                      </a:cubicBezTo>
                      <a:cubicBezTo>
                        <a:pt x="72" y="33"/>
                        <a:pt x="75" y="13"/>
                        <a:pt x="58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2" name="Freeform 89"/>
                <p:cNvSpPr>
                  <a:spLocks/>
                </p:cNvSpPr>
                <p:nvPr/>
              </p:nvSpPr>
              <p:spPr bwMode="gray">
                <a:xfrm>
                  <a:off x="-2847975" y="-150812"/>
                  <a:ext cx="1328738" cy="963613"/>
                </a:xfrm>
                <a:custGeom>
                  <a:avLst/>
                  <a:gdLst/>
                  <a:ahLst/>
                  <a:cxnLst>
                    <a:cxn ang="0">
                      <a:pos x="39" y="233"/>
                    </a:cxn>
                    <a:cxn ang="0">
                      <a:pos x="179" y="201"/>
                    </a:cxn>
                    <a:cxn ang="0">
                      <a:pos x="271" y="132"/>
                    </a:cxn>
                    <a:cxn ang="0">
                      <a:pos x="259" y="131"/>
                    </a:cxn>
                    <a:cxn ang="0">
                      <a:pos x="329" y="23"/>
                    </a:cxn>
                    <a:cxn ang="0">
                      <a:pos x="230" y="112"/>
                    </a:cxn>
                    <a:cxn ang="0">
                      <a:pos x="98" y="195"/>
                    </a:cxn>
                    <a:cxn ang="0">
                      <a:pos x="27" y="217"/>
                    </a:cxn>
                    <a:cxn ang="0">
                      <a:pos x="52" y="242"/>
                    </a:cxn>
                  </a:cxnLst>
                  <a:rect l="0" t="0" r="r" b="b"/>
                  <a:pathLst>
                    <a:path w="354" h="257">
                      <a:moveTo>
                        <a:pt x="39" y="233"/>
                      </a:moveTo>
                      <a:cubicBezTo>
                        <a:pt x="93" y="233"/>
                        <a:pt x="133" y="229"/>
                        <a:pt x="179" y="201"/>
                      </a:cubicBezTo>
                      <a:cubicBezTo>
                        <a:pt x="210" y="182"/>
                        <a:pt x="274" y="175"/>
                        <a:pt x="271" y="132"/>
                      </a:cubicBezTo>
                      <a:cubicBezTo>
                        <a:pt x="267" y="131"/>
                        <a:pt x="263" y="132"/>
                        <a:pt x="259" y="131"/>
                      </a:cubicBezTo>
                      <a:cubicBezTo>
                        <a:pt x="257" y="108"/>
                        <a:pt x="354" y="52"/>
                        <a:pt x="329" y="23"/>
                      </a:cubicBezTo>
                      <a:cubicBezTo>
                        <a:pt x="310" y="0"/>
                        <a:pt x="240" y="96"/>
                        <a:pt x="230" y="112"/>
                      </a:cubicBezTo>
                      <a:cubicBezTo>
                        <a:pt x="199" y="158"/>
                        <a:pt x="149" y="179"/>
                        <a:pt x="98" y="195"/>
                      </a:cubicBezTo>
                      <a:cubicBezTo>
                        <a:pt x="80" y="201"/>
                        <a:pt x="40" y="205"/>
                        <a:pt x="27" y="217"/>
                      </a:cubicBezTo>
                      <a:cubicBezTo>
                        <a:pt x="0" y="241"/>
                        <a:pt x="21" y="257"/>
                        <a:pt x="52" y="24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3" name="Freeform 90"/>
                <p:cNvSpPr>
                  <a:spLocks/>
                </p:cNvSpPr>
                <p:nvPr/>
              </p:nvSpPr>
              <p:spPr bwMode="gray">
                <a:xfrm>
                  <a:off x="-3046413" y="-11569700"/>
                  <a:ext cx="4418013" cy="12044363"/>
                </a:xfrm>
                <a:custGeom>
                  <a:avLst/>
                  <a:gdLst/>
                  <a:ahLst/>
                  <a:cxnLst>
                    <a:cxn ang="0">
                      <a:pos x="55" y="151"/>
                    </a:cxn>
                    <a:cxn ang="0">
                      <a:pos x="78" y="281"/>
                    </a:cxn>
                    <a:cxn ang="0">
                      <a:pos x="37" y="382"/>
                    </a:cxn>
                    <a:cxn ang="0">
                      <a:pos x="33" y="686"/>
                    </a:cxn>
                    <a:cxn ang="0">
                      <a:pos x="72" y="1082"/>
                    </a:cxn>
                    <a:cxn ang="0">
                      <a:pos x="100" y="1473"/>
                    </a:cxn>
                    <a:cxn ang="0">
                      <a:pos x="203" y="2087"/>
                    </a:cxn>
                    <a:cxn ang="0">
                      <a:pos x="268" y="2377"/>
                    </a:cxn>
                    <a:cxn ang="0">
                      <a:pos x="331" y="2676"/>
                    </a:cxn>
                    <a:cxn ang="0">
                      <a:pos x="331" y="2712"/>
                    </a:cxn>
                    <a:cxn ang="0">
                      <a:pos x="360" y="2865"/>
                    </a:cxn>
                    <a:cxn ang="0">
                      <a:pos x="398" y="3028"/>
                    </a:cxn>
                    <a:cxn ang="0">
                      <a:pos x="465" y="3046"/>
                    </a:cxn>
                    <a:cxn ang="0">
                      <a:pos x="551" y="3097"/>
                    </a:cxn>
                    <a:cxn ang="0">
                      <a:pos x="746" y="3164"/>
                    </a:cxn>
                    <a:cxn ang="0">
                      <a:pos x="765" y="2895"/>
                    </a:cxn>
                    <a:cxn ang="0">
                      <a:pos x="699" y="2595"/>
                    </a:cxn>
                    <a:cxn ang="0">
                      <a:pos x="664" y="2318"/>
                    </a:cxn>
                    <a:cxn ang="0">
                      <a:pos x="668" y="2009"/>
                    </a:cxn>
                    <a:cxn ang="0">
                      <a:pos x="635" y="1824"/>
                    </a:cxn>
                    <a:cxn ang="0">
                      <a:pos x="658" y="1638"/>
                    </a:cxn>
                    <a:cxn ang="0">
                      <a:pos x="613" y="1458"/>
                    </a:cxn>
                    <a:cxn ang="0">
                      <a:pos x="614" y="1261"/>
                    </a:cxn>
                    <a:cxn ang="0">
                      <a:pos x="681" y="1356"/>
                    </a:cxn>
                    <a:cxn ang="0">
                      <a:pos x="699" y="1501"/>
                    </a:cxn>
                    <a:cxn ang="0">
                      <a:pos x="742" y="1767"/>
                    </a:cxn>
                    <a:cxn ang="0">
                      <a:pos x="709" y="2110"/>
                    </a:cxn>
                    <a:cxn ang="0">
                      <a:pos x="720" y="2437"/>
                    </a:cxn>
                    <a:cxn ang="0">
                      <a:pos x="708" y="2657"/>
                    </a:cxn>
                    <a:cxn ang="0">
                      <a:pos x="681" y="2858"/>
                    </a:cxn>
                    <a:cxn ang="0">
                      <a:pos x="761" y="3062"/>
                    </a:cxn>
                    <a:cxn ang="0">
                      <a:pos x="888" y="3206"/>
                    </a:cxn>
                    <a:cxn ang="0">
                      <a:pos x="1108" y="3109"/>
                    </a:cxn>
                    <a:cxn ang="0">
                      <a:pos x="1125" y="2843"/>
                    </a:cxn>
                    <a:cxn ang="0">
                      <a:pos x="1125" y="2765"/>
                    </a:cxn>
                    <a:cxn ang="0">
                      <a:pos x="1108" y="2702"/>
                    </a:cxn>
                    <a:cxn ang="0">
                      <a:pos x="1148" y="2578"/>
                    </a:cxn>
                    <a:cxn ang="0">
                      <a:pos x="1148" y="2229"/>
                    </a:cxn>
                    <a:cxn ang="0">
                      <a:pos x="1153" y="2071"/>
                    </a:cxn>
                    <a:cxn ang="0">
                      <a:pos x="1125" y="1914"/>
                    </a:cxn>
                    <a:cxn ang="0">
                      <a:pos x="1148" y="1587"/>
                    </a:cxn>
                    <a:cxn ang="0">
                      <a:pos x="1142" y="1282"/>
                    </a:cxn>
                    <a:cxn ang="0">
                      <a:pos x="1153" y="1092"/>
                    </a:cxn>
                    <a:cxn ang="0">
                      <a:pos x="1125" y="911"/>
                    </a:cxn>
                    <a:cxn ang="0">
                      <a:pos x="1107" y="541"/>
                    </a:cxn>
                    <a:cxn ang="0">
                      <a:pos x="1024" y="168"/>
                    </a:cxn>
                    <a:cxn ang="0">
                      <a:pos x="731" y="17"/>
                    </a:cxn>
                    <a:cxn ang="0">
                      <a:pos x="152" y="79"/>
                    </a:cxn>
                    <a:cxn ang="0">
                      <a:pos x="72" y="151"/>
                    </a:cxn>
                  </a:cxnLst>
                  <a:rect l="0" t="0" r="r" b="b"/>
                  <a:pathLst>
                    <a:path w="1178" h="3212">
                      <a:moveTo>
                        <a:pt x="55" y="151"/>
                      </a:moveTo>
                      <a:cubicBezTo>
                        <a:pt x="49" y="196"/>
                        <a:pt x="81" y="231"/>
                        <a:pt x="78" y="281"/>
                      </a:cubicBezTo>
                      <a:cubicBezTo>
                        <a:pt x="75" y="326"/>
                        <a:pt x="52" y="346"/>
                        <a:pt x="37" y="382"/>
                      </a:cubicBezTo>
                      <a:cubicBezTo>
                        <a:pt x="0" y="468"/>
                        <a:pt x="24" y="594"/>
                        <a:pt x="33" y="686"/>
                      </a:cubicBezTo>
                      <a:cubicBezTo>
                        <a:pt x="45" y="819"/>
                        <a:pt x="58" y="950"/>
                        <a:pt x="72" y="1082"/>
                      </a:cubicBezTo>
                      <a:cubicBezTo>
                        <a:pt x="86" y="1213"/>
                        <a:pt x="107" y="1338"/>
                        <a:pt x="100" y="1473"/>
                      </a:cubicBezTo>
                      <a:cubicBezTo>
                        <a:pt x="90" y="1687"/>
                        <a:pt x="167" y="1885"/>
                        <a:pt x="203" y="2087"/>
                      </a:cubicBezTo>
                      <a:cubicBezTo>
                        <a:pt x="221" y="2184"/>
                        <a:pt x="253" y="2275"/>
                        <a:pt x="268" y="2377"/>
                      </a:cubicBezTo>
                      <a:cubicBezTo>
                        <a:pt x="282" y="2471"/>
                        <a:pt x="342" y="2574"/>
                        <a:pt x="331" y="2676"/>
                      </a:cubicBezTo>
                      <a:cubicBezTo>
                        <a:pt x="330" y="2688"/>
                        <a:pt x="331" y="2700"/>
                        <a:pt x="331" y="2712"/>
                      </a:cubicBezTo>
                      <a:cubicBezTo>
                        <a:pt x="268" y="2741"/>
                        <a:pt x="351" y="2832"/>
                        <a:pt x="360" y="2865"/>
                      </a:cubicBezTo>
                      <a:cubicBezTo>
                        <a:pt x="375" y="2925"/>
                        <a:pt x="339" y="2982"/>
                        <a:pt x="398" y="3028"/>
                      </a:cubicBezTo>
                      <a:cubicBezTo>
                        <a:pt x="420" y="3045"/>
                        <a:pt x="440" y="3037"/>
                        <a:pt x="465" y="3046"/>
                      </a:cubicBezTo>
                      <a:cubicBezTo>
                        <a:pt x="487" y="3054"/>
                        <a:pt x="527" y="3085"/>
                        <a:pt x="551" y="3097"/>
                      </a:cubicBezTo>
                      <a:cubicBezTo>
                        <a:pt x="609" y="3126"/>
                        <a:pt x="681" y="3156"/>
                        <a:pt x="746" y="3164"/>
                      </a:cubicBezTo>
                      <a:cubicBezTo>
                        <a:pt x="725" y="3072"/>
                        <a:pt x="773" y="2987"/>
                        <a:pt x="765" y="2895"/>
                      </a:cubicBezTo>
                      <a:cubicBezTo>
                        <a:pt x="757" y="2795"/>
                        <a:pt x="726" y="2690"/>
                        <a:pt x="699" y="2595"/>
                      </a:cubicBezTo>
                      <a:cubicBezTo>
                        <a:pt x="673" y="2503"/>
                        <a:pt x="654" y="2417"/>
                        <a:pt x="664" y="2318"/>
                      </a:cubicBezTo>
                      <a:cubicBezTo>
                        <a:pt x="673" y="2225"/>
                        <a:pt x="695" y="2102"/>
                        <a:pt x="668" y="2009"/>
                      </a:cubicBezTo>
                      <a:cubicBezTo>
                        <a:pt x="650" y="1949"/>
                        <a:pt x="625" y="1893"/>
                        <a:pt x="635" y="1824"/>
                      </a:cubicBezTo>
                      <a:cubicBezTo>
                        <a:pt x="646" y="1757"/>
                        <a:pt x="672" y="1710"/>
                        <a:pt x="658" y="1638"/>
                      </a:cubicBezTo>
                      <a:cubicBezTo>
                        <a:pt x="645" y="1572"/>
                        <a:pt x="613" y="1532"/>
                        <a:pt x="613" y="1458"/>
                      </a:cubicBezTo>
                      <a:cubicBezTo>
                        <a:pt x="613" y="1392"/>
                        <a:pt x="610" y="1326"/>
                        <a:pt x="614" y="1261"/>
                      </a:cubicBezTo>
                      <a:cubicBezTo>
                        <a:pt x="645" y="1296"/>
                        <a:pt x="669" y="1309"/>
                        <a:pt x="681" y="1356"/>
                      </a:cubicBezTo>
                      <a:cubicBezTo>
                        <a:pt x="693" y="1402"/>
                        <a:pt x="692" y="1455"/>
                        <a:pt x="699" y="1501"/>
                      </a:cubicBezTo>
                      <a:cubicBezTo>
                        <a:pt x="712" y="1593"/>
                        <a:pt x="742" y="1668"/>
                        <a:pt x="742" y="1767"/>
                      </a:cubicBezTo>
                      <a:cubicBezTo>
                        <a:pt x="742" y="1887"/>
                        <a:pt x="727" y="1996"/>
                        <a:pt x="709" y="2110"/>
                      </a:cubicBezTo>
                      <a:cubicBezTo>
                        <a:pt x="692" y="2218"/>
                        <a:pt x="720" y="2327"/>
                        <a:pt x="720" y="2437"/>
                      </a:cubicBezTo>
                      <a:cubicBezTo>
                        <a:pt x="720" y="2509"/>
                        <a:pt x="719" y="2585"/>
                        <a:pt x="708" y="2657"/>
                      </a:cubicBezTo>
                      <a:cubicBezTo>
                        <a:pt x="698" y="2726"/>
                        <a:pt x="676" y="2784"/>
                        <a:pt x="681" y="2858"/>
                      </a:cubicBezTo>
                      <a:cubicBezTo>
                        <a:pt x="685" y="2936"/>
                        <a:pt x="733" y="2993"/>
                        <a:pt x="761" y="3062"/>
                      </a:cubicBezTo>
                      <a:cubicBezTo>
                        <a:pt x="779" y="3106"/>
                        <a:pt x="832" y="3212"/>
                        <a:pt x="888" y="3206"/>
                      </a:cubicBezTo>
                      <a:cubicBezTo>
                        <a:pt x="920" y="3108"/>
                        <a:pt x="1051" y="3169"/>
                        <a:pt x="1108" y="3109"/>
                      </a:cubicBezTo>
                      <a:cubicBezTo>
                        <a:pt x="1178" y="3035"/>
                        <a:pt x="1133" y="2934"/>
                        <a:pt x="1125" y="2843"/>
                      </a:cubicBezTo>
                      <a:cubicBezTo>
                        <a:pt x="1123" y="2817"/>
                        <a:pt x="1129" y="2790"/>
                        <a:pt x="1125" y="2765"/>
                      </a:cubicBezTo>
                      <a:cubicBezTo>
                        <a:pt x="1122" y="2744"/>
                        <a:pt x="1107" y="2723"/>
                        <a:pt x="1108" y="2702"/>
                      </a:cubicBezTo>
                      <a:cubicBezTo>
                        <a:pt x="1111" y="2665"/>
                        <a:pt x="1139" y="2616"/>
                        <a:pt x="1148" y="2578"/>
                      </a:cubicBezTo>
                      <a:cubicBezTo>
                        <a:pt x="1175" y="2463"/>
                        <a:pt x="1153" y="2350"/>
                        <a:pt x="1148" y="2229"/>
                      </a:cubicBezTo>
                      <a:cubicBezTo>
                        <a:pt x="1145" y="2175"/>
                        <a:pt x="1151" y="2124"/>
                        <a:pt x="1153" y="2071"/>
                      </a:cubicBezTo>
                      <a:cubicBezTo>
                        <a:pt x="1156" y="2014"/>
                        <a:pt x="1131" y="1968"/>
                        <a:pt x="1125" y="1914"/>
                      </a:cubicBezTo>
                      <a:cubicBezTo>
                        <a:pt x="1112" y="1802"/>
                        <a:pt x="1143" y="1694"/>
                        <a:pt x="1148" y="1587"/>
                      </a:cubicBezTo>
                      <a:cubicBezTo>
                        <a:pt x="1153" y="1484"/>
                        <a:pt x="1137" y="1386"/>
                        <a:pt x="1142" y="1282"/>
                      </a:cubicBezTo>
                      <a:cubicBezTo>
                        <a:pt x="1145" y="1218"/>
                        <a:pt x="1154" y="1157"/>
                        <a:pt x="1153" y="1092"/>
                      </a:cubicBezTo>
                      <a:cubicBezTo>
                        <a:pt x="1153" y="1028"/>
                        <a:pt x="1131" y="969"/>
                        <a:pt x="1125" y="911"/>
                      </a:cubicBezTo>
                      <a:cubicBezTo>
                        <a:pt x="1114" y="786"/>
                        <a:pt x="1151" y="664"/>
                        <a:pt x="1107" y="541"/>
                      </a:cubicBezTo>
                      <a:cubicBezTo>
                        <a:pt x="1063" y="418"/>
                        <a:pt x="1051" y="297"/>
                        <a:pt x="1024" y="168"/>
                      </a:cubicBezTo>
                      <a:cubicBezTo>
                        <a:pt x="1000" y="52"/>
                        <a:pt x="839" y="26"/>
                        <a:pt x="731" y="17"/>
                      </a:cubicBezTo>
                      <a:cubicBezTo>
                        <a:pt x="534" y="0"/>
                        <a:pt x="335" y="29"/>
                        <a:pt x="152" y="79"/>
                      </a:cubicBezTo>
                      <a:cubicBezTo>
                        <a:pt x="146" y="114"/>
                        <a:pt x="107" y="143"/>
                        <a:pt x="72" y="151"/>
                      </a:cubicBezTo>
                    </a:path>
                  </a:pathLst>
                </a:custGeom>
                <a:solidFill>
                  <a:srgbClr val="585C5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4" name="Freeform 91"/>
                <p:cNvSpPr>
                  <a:spLocks/>
                </p:cNvSpPr>
                <p:nvPr/>
              </p:nvSpPr>
              <p:spPr bwMode="gray">
                <a:xfrm>
                  <a:off x="-2055813" y="-18129250"/>
                  <a:ext cx="1924050" cy="2647950"/>
                </a:xfrm>
                <a:custGeom>
                  <a:avLst/>
                  <a:gdLst/>
                  <a:ahLst/>
                  <a:cxnLst>
                    <a:cxn ang="0">
                      <a:pos x="122" y="205"/>
                    </a:cxn>
                    <a:cxn ang="0">
                      <a:pos x="141" y="437"/>
                    </a:cxn>
                    <a:cxn ang="0">
                      <a:pos x="214" y="683"/>
                    </a:cxn>
                    <a:cxn ang="0">
                      <a:pos x="488" y="510"/>
                    </a:cxn>
                    <a:cxn ang="0">
                      <a:pos x="407" y="124"/>
                    </a:cxn>
                    <a:cxn ang="0">
                      <a:pos x="143" y="184"/>
                    </a:cxn>
                  </a:cxnLst>
                  <a:rect l="0" t="0" r="r" b="b"/>
                  <a:pathLst>
                    <a:path w="513" h="706">
                      <a:moveTo>
                        <a:pt x="122" y="205"/>
                      </a:moveTo>
                      <a:cubicBezTo>
                        <a:pt x="137" y="280"/>
                        <a:pt x="146" y="354"/>
                        <a:pt x="141" y="437"/>
                      </a:cubicBezTo>
                      <a:cubicBezTo>
                        <a:pt x="0" y="522"/>
                        <a:pt x="74" y="660"/>
                        <a:pt x="214" y="683"/>
                      </a:cubicBezTo>
                      <a:cubicBezTo>
                        <a:pt x="351" y="706"/>
                        <a:pt x="455" y="646"/>
                        <a:pt x="488" y="510"/>
                      </a:cubicBezTo>
                      <a:cubicBezTo>
                        <a:pt x="513" y="407"/>
                        <a:pt x="455" y="214"/>
                        <a:pt x="407" y="124"/>
                      </a:cubicBezTo>
                      <a:cubicBezTo>
                        <a:pt x="342" y="0"/>
                        <a:pt x="146" y="43"/>
                        <a:pt x="143" y="18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5" name="Freeform 92"/>
                <p:cNvSpPr>
                  <a:spLocks/>
                </p:cNvSpPr>
                <p:nvPr/>
              </p:nvSpPr>
              <p:spPr bwMode="gray">
                <a:xfrm>
                  <a:off x="-409575" y="-17097375"/>
                  <a:ext cx="157163" cy="258763"/>
                </a:xfrm>
                <a:custGeom>
                  <a:avLst/>
                  <a:gdLst/>
                  <a:ahLst/>
                  <a:cxnLst>
                    <a:cxn ang="0">
                      <a:pos x="20" y="45"/>
                    </a:cxn>
                    <a:cxn ang="0">
                      <a:pos x="42" y="69"/>
                    </a:cxn>
                    <a:cxn ang="0">
                      <a:pos x="37" y="42"/>
                    </a:cxn>
                    <a:cxn ang="0">
                      <a:pos x="26" y="12"/>
                    </a:cxn>
                    <a:cxn ang="0">
                      <a:pos x="14" y="4"/>
                    </a:cxn>
                    <a:cxn ang="0">
                      <a:pos x="5" y="17"/>
                    </a:cxn>
                    <a:cxn ang="0">
                      <a:pos x="18" y="45"/>
                    </a:cxn>
                  </a:cxnLst>
                  <a:rect l="0" t="0" r="r" b="b"/>
                  <a:pathLst>
                    <a:path w="42" h="69">
                      <a:moveTo>
                        <a:pt x="20" y="45"/>
                      </a:moveTo>
                      <a:cubicBezTo>
                        <a:pt x="26" y="51"/>
                        <a:pt x="34" y="66"/>
                        <a:pt x="42" y="69"/>
                      </a:cubicBezTo>
                      <a:cubicBezTo>
                        <a:pt x="42" y="59"/>
                        <a:pt x="39" y="51"/>
                        <a:pt x="37" y="42"/>
                      </a:cubicBezTo>
                      <a:cubicBezTo>
                        <a:pt x="34" y="29"/>
                        <a:pt x="30" y="22"/>
                        <a:pt x="26" y="12"/>
                      </a:cubicBezTo>
                      <a:cubicBezTo>
                        <a:pt x="22" y="5"/>
                        <a:pt x="22" y="0"/>
                        <a:pt x="14" y="4"/>
                      </a:cubicBezTo>
                      <a:cubicBezTo>
                        <a:pt x="11" y="5"/>
                        <a:pt x="6" y="14"/>
                        <a:pt x="5" y="17"/>
                      </a:cubicBezTo>
                      <a:cubicBezTo>
                        <a:pt x="0" y="32"/>
                        <a:pt x="16" y="37"/>
                        <a:pt x="18" y="4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6" name="Freeform 93"/>
                <p:cNvSpPr>
                  <a:spLocks/>
                </p:cNvSpPr>
                <p:nvPr/>
              </p:nvSpPr>
              <p:spPr bwMode="gray">
                <a:xfrm>
                  <a:off x="-1587500" y="-17067212"/>
                  <a:ext cx="1296988" cy="7683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" y="45"/>
                    </a:cxn>
                    <a:cxn ang="0">
                      <a:pos x="45" y="97"/>
                    </a:cxn>
                    <a:cxn ang="0">
                      <a:pos x="125" y="177"/>
                    </a:cxn>
                    <a:cxn ang="0">
                      <a:pos x="246" y="190"/>
                    </a:cxn>
                    <a:cxn ang="0">
                      <a:pos x="346" y="14"/>
                    </a:cxn>
                  </a:cxnLst>
                  <a:rect l="0" t="0" r="r" b="b"/>
                  <a:pathLst>
                    <a:path w="346" h="205">
                      <a:moveTo>
                        <a:pt x="0" y="0"/>
                      </a:moveTo>
                      <a:cubicBezTo>
                        <a:pt x="7" y="19"/>
                        <a:pt x="13" y="29"/>
                        <a:pt x="23" y="45"/>
                      </a:cubicBezTo>
                      <a:cubicBezTo>
                        <a:pt x="33" y="62"/>
                        <a:pt x="33" y="82"/>
                        <a:pt x="45" y="97"/>
                      </a:cubicBezTo>
                      <a:cubicBezTo>
                        <a:pt x="70" y="127"/>
                        <a:pt x="87" y="157"/>
                        <a:pt x="125" y="177"/>
                      </a:cubicBezTo>
                      <a:cubicBezTo>
                        <a:pt x="150" y="191"/>
                        <a:pt x="216" y="205"/>
                        <a:pt x="246" y="190"/>
                      </a:cubicBezTo>
                      <a:cubicBezTo>
                        <a:pt x="303" y="163"/>
                        <a:pt x="346" y="38"/>
                        <a:pt x="346" y="1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7" name="Freeform 94"/>
                <p:cNvSpPr>
                  <a:spLocks/>
                </p:cNvSpPr>
                <p:nvPr/>
              </p:nvSpPr>
              <p:spPr bwMode="gray">
                <a:xfrm>
                  <a:off x="-2055813" y="-19629437"/>
                  <a:ext cx="2047875" cy="3203575"/>
                </a:xfrm>
                <a:custGeom>
                  <a:avLst/>
                  <a:gdLst/>
                  <a:ahLst/>
                  <a:cxnLst>
                    <a:cxn ang="0">
                      <a:pos x="48" y="367"/>
                    </a:cxn>
                    <a:cxn ang="0">
                      <a:pos x="1" y="422"/>
                    </a:cxn>
                    <a:cxn ang="0">
                      <a:pos x="43" y="495"/>
                    </a:cxn>
                    <a:cxn ang="0">
                      <a:pos x="63" y="525"/>
                    </a:cxn>
                    <a:cxn ang="0">
                      <a:pos x="76" y="578"/>
                    </a:cxn>
                    <a:cxn ang="0">
                      <a:pos x="132" y="702"/>
                    </a:cxn>
                    <a:cxn ang="0">
                      <a:pos x="171" y="746"/>
                    </a:cxn>
                    <a:cxn ang="0">
                      <a:pos x="251" y="827"/>
                    </a:cxn>
                    <a:cxn ang="0">
                      <a:pos x="372" y="840"/>
                    </a:cxn>
                    <a:cxn ang="0">
                      <a:pos x="473" y="692"/>
                    </a:cxn>
                    <a:cxn ang="0">
                      <a:pos x="511" y="599"/>
                    </a:cxn>
                    <a:cxn ang="0">
                      <a:pos x="529" y="410"/>
                    </a:cxn>
                    <a:cxn ang="0">
                      <a:pos x="372" y="60"/>
                    </a:cxn>
                    <a:cxn ang="0">
                      <a:pos x="112" y="89"/>
                    </a:cxn>
                    <a:cxn ang="0">
                      <a:pos x="40" y="216"/>
                    </a:cxn>
                    <a:cxn ang="0">
                      <a:pos x="48" y="367"/>
                    </a:cxn>
                  </a:cxnLst>
                  <a:rect l="0" t="0" r="r" b="b"/>
                  <a:pathLst>
                    <a:path w="546" h="854">
                      <a:moveTo>
                        <a:pt x="48" y="367"/>
                      </a:moveTo>
                      <a:cubicBezTo>
                        <a:pt x="6" y="358"/>
                        <a:pt x="2" y="391"/>
                        <a:pt x="1" y="422"/>
                      </a:cubicBezTo>
                      <a:cubicBezTo>
                        <a:pt x="0" y="467"/>
                        <a:pt x="17" y="469"/>
                        <a:pt x="43" y="495"/>
                      </a:cubicBezTo>
                      <a:cubicBezTo>
                        <a:pt x="51" y="503"/>
                        <a:pt x="54" y="517"/>
                        <a:pt x="63" y="525"/>
                      </a:cubicBezTo>
                      <a:cubicBezTo>
                        <a:pt x="75" y="534"/>
                        <a:pt x="67" y="564"/>
                        <a:pt x="76" y="578"/>
                      </a:cubicBezTo>
                      <a:cubicBezTo>
                        <a:pt x="92" y="600"/>
                        <a:pt x="122" y="686"/>
                        <a:pt x="132" y="702"/>
                      </a:cubicBezTo>
                      <a:cubicBezTo>
                        <a:pt x="142" y="719"/>
                        <a:pt x="159" y="731"/>
                        <a:pt x="171" y="746"/>
                      </a:cubicBezTo>
                      <a:cubicBezTo>
                        <a:pt x="196" y="777"/>
                        <a:pt x="213" y="806"/>
                        <a:pt x="251" y="827"/>
                      </a:cubicBezTo>
                      <a:cubicBezTo>
                        <a:pt x="277" y="840"/>
                        <a:pt x="342" y="854"/>
                        <a:pt x="372" y="840"/>
                      </a:cubicBezTo>
                      <a:cubicBezTo>
                        <a:pt x="400" y="826"/>
                        <a:pt x="464" y="716"/>
                        <a:pt x="473" y="692"/>
                      </a:cubicBezTo>
                      <a:cubicBezTo>
                        <a:pt x="485" y="660"/>
                        <a:pt x="498" y="628"/>
                        <a:pt x="511" y="599"/>
                      </a:cubicBezTo>
                      <a:cubicBezTo>
                        <a:pt x="537" y="542"/>
                        <a:pt x="521" y="470"/>
                        <a:pt x="529" y="410"/>
                      </a:cubicBezTo>
                      <a:cubicBezTo>
                        <a:pt x="546" y="285"/>
                        <a:pt x="466" y="132"/>
                        <a:pt x="372" y="60"/>
                      </a:cubicBezTo>
                      <a:cubicBezTo>
                        <a:pt x="294" y="0"/>
                        <a:pt x="170" y="12"/>
                        <a:pt x="112" y="89"/>
                      </a:cubicBezTo>
                      <a:cubicBezTo>
                        <a:pt x="88" y="120"/>
                        <a:pt x="55" y="179"/>
                        <a:pt x="40" y="216"/>
                      </a:cubicBezTo>
                      <a:cubicBezTo>
                        <a:pt x="28" y="248"/>
                        <a:pt x="1" y="298"/>
                        <a:pt x="48" y="36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8" name="Freeform 95"/>
                <p:cNvSpPr>
                  <a:spLocks/>
                </p:cNvSpPr>
                <p:nvPr/>
              </p:nvSpPr>
              <p:spPr bwMode="gray">
                <a:xfrm>
                  <a:off x="-3870325" y="-16865596"/>
                  <a:ext cx="5691179" cy="6361109"/>
                </a:xfrm>
                <a:custGeom>
                  <a:avLst/>
                  <a:gdLst/>
                  <a:ahLst/>
                  <a:cxnLst>
                    <a:cxn ang="0">
                      <a:pos x="568" y="110"/>
                    </a:cxn>
                    <a:cxn ang="0">
                      <a:pos x="365" y="239"/>
                    </a:cxn>
                    <a:cxn ang="0">
                      <a:pos x="185" y="357"/>
                    </a:cxn>
                    <a:cxn ang="0">
                      <a:pos x="67" y="567"/>
                    </a:cxn>
                    <a:cxn ang="0">
                      <a:pos x="74" y="680"/>
                    </a:cxn>
                    <a:cxn ang="0">
                      <a:pos x="62" y="820"/>
                    </a:cxn>
                    <a:cxn ang="0">
                      <a:pos x="5" y="1011"/>
                    </a:cxn>
                    <a:cxn ang="0">
                      <a:pos x="16" y="1237"/>
                    </a:cxn>
                    <a:cxn ang="0">
                      <a:pos x="101" y="1406"/>
                    </a:cxn>
                    <a:cxn ang="0">
                      <a:pos x="264" y="1417"/>
                    </a:cxn>
                    <a:cxn ang="0">
                      <a:pos x="276" y="1591"/>
                    </a:cxn>
                    <a:cxn ang="0">
                      <a:pos x="731" y="1681"/>
                    </a:cxn>
                    <a:cxn ang="0">
                      <a:pos x="968" y="1655"/>
                    </a:cxn>
                    <a:cxn ang="0">
                      <a:pos x="1154" y="1631"/>
                    </a:cxn>
                    <a:cxn ang="0">
                      <a:pos x="1283" y="1569"/>
                    </a:cxn>
                    <a:cxn ang="0">
                      <a:pos x="1447" y="1147"/>
                    </a:cxn>
                    <a:cxn ang="0">
                      <a:pos x="1509" y="617"/>
                    </a:cxn>
                    <a:cxn ang="0">
                      <a:pos x="1492" y="398"/>
                    </a:cxn>
                    <a:cxn ang="0">
                      <a:pos x="1417" y="202"/>
                    </a:cxn>
                    <a:cxn ang="0">
                      <a:pos x="1014" y="53"/>
                    </a:cxn>
                    <a:cxn ang="0">
                      <a:pos x="745" y="222"/>
                    </a:cxn>
                    <a:cxn ang="0">
                      <a:pos x="608" y="70"/>
                    </a:cxn>
                    <a:cxn ang="0">
                      <a:pos x="535" y="133"/>
                    </a:cxn>
                  </a:cxnLst>
                  <a:rect l="0" t="0" r="r" b="b"/>
                  <a:pathLst>
                    <a:path w="1518" h="1696">
                      <a:moveTo>
                        <a:pt x="568" y="110"/>
                      </a:moveTo>
                      <a:cubicBezTo>
                        <a:pt x="491" y="130"/>
                        <a:pt x="436" y="199"/>
                        <a:pt x="365" y="239"/>
                      </a:cubicBezTo>
                      <a:cubicBezTo>
                        <a:pt x="303" y="273"/>
                        <a:pt x="246" y="311"/>
                        <a:pt x="185" y="357"/>
                      </a:cubicBezTo>
                      <a:cubicBezTo>
                        <a:pt x="127" y="401"/>
                        <a:pt x="49" y="492"/>
                        <a:pt x="67" y="567"/>
                      </a:cubicBezTo>
                      <a:cubicBezTo>
                        <a:pt x="79" y="619"/>
                        <a:pt x="85" y="626"/>
                        <a:pt x="74" y="680"/>
                      </a:cubicBezTo>
                      <a:cubicBezTo>
                        <a:pt x="65" y="726"/>
                        <a:pt x="69" y="773"/>
                        <a:pt x="62" y="820"/>
                      </a:cubicBezTo>
                      <a:cubicBezTo>
                        <a:pt x="52" y="884"/>
                        <a:pt x="11" y="945"/>
                        <a:pt x="5" y="1011"/>
                      </a:cubicBezTo>
                      <a:cubicBezTo>
                        <a:pt x="0" y="1079"/>
                        <a:pt x="9" y="1168"/>
                        <a:pt x="16" y="1237"/>
                      </a:cubicBezTo>
                      <a:cubicBezTo>
                        <a:pt x="22" y="1288"/>
                        <a:pt x="46" y="1388"/>
                        <a:pt x="101" y="1406"/>
                      </a:cubicBezTo>
                      <a:cubicBezTo>
                        <a:pt x="173" y="1429"/>
                        <a:pt x="202" y="1362"/>
                        <a:pt x="264" y="1417"/>
                      </a:cubicBezTo>
                      <a:cubicBezTo>
                        <a:pt x="255" y="1448"/>
                        <a:pt x="169" y="1479"/>
                        <a:pt x="276" y="1591"/>
                      </a:cubicBezTo>
                      <a:cubicBezTo>
                        <a:pt x="319" y="1637"/>
                        <a:pt x="670" y="1696"/>
                        <a:pt x="731" y="1681"/>
                      </a:cubicBezTo>
                      <a:cubicBezTo>
                        <a:pt x="804" y="1663"/>
                        <a:pt x="915" y="1665"/>
                        <a:pt x="968" y="1655"/>
                      </a:cubicBezTo>
                      <a:cubicBezTo>
                        <a:pt x="1014" y="1646"/>
                        <a:pt x="1154" y="1630"/>
                        <a:pt x="1154" y="1631"/>
                      </a:cubicBezTo>
                      <a:cubicBezTo>
                        <a:pt x="1151" y="1611"/>
                        <a:pt x="1278" y="1590"/>
                        <a:pt x="1283" y="1569"/>
                      </a:cubicBezTo>
                      <a:cubicBezTo>
                        <a:pt x="1362" y="1451"/>
                        <a:pt x="1355" y="1386"/>
                        <a:pt x="1447" y="1147"/>
                      </a:cubicBezTo>
                      <a:cubicBezTo>
                        <a:pt x="1509" y="985"/>
                        <a:pt x="1518" y="806"/>
                        <a:pt x="1509" y="617"/>
                      </a:cubicBezTo>
                      <a:cubicBezTo>
                        <a:pt x="1505" y="543"/>
                        <a:pt x="1492" y="476"/>
                        <a:pt x="1492" y="398"/>
                      </a:cubicBezTo>
                      <a:cubicBezTo>
                        <a:pt x="1492" y="311"/>
                        <a:pt x="1485" y="256"/>
                        <a:pt x="1417" y="202"/>
                      </a:cubicBezTo>
                      <a:cubicBezTo>
                        <a:pt x="1308" y="115"/>
                        <a:pt x="1156" y="67"/>
                        <a:pt x="1014" y="53"/>
                      </a:cubicBezTo>
                      <a:cubicBezTo>
                        <a:pt x="988" y="0"/>
                        <a:pt x="813" y="250"/>
                        <a:pt x="745" y="222"/>
                      </a:cubicBezTo>
                      <a:cubicBezTo>
                        <a:pt x="667" y="189"/>
                        <a:pt x="574" y="100"/>
                        <a:pt x="608" y="70"/>
                      </a:cubicBezTo>
                      <a:cubicBezTo>
                        <a:pt x="588" y="98"/>
                        <a:pt x="551" y="100"/>
                        <a:pt x="535" y="133"/>
                      </a:cubicBezTo>
                    </a:path>
                  </a:pathLst>
                </a:custGeom>
                <a:solidFill>
                  <a:srgbClr val="DAE3E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699" name="Freeform 96"/>
                <p:cNvSpPr>
                  <a:spLocks/>
                </p:cNvSpPr>
                <p:nvPr/>
              </p:nvSpPr>
              <p:spPr bwMode="gray">
                <a:xfrm>
                  <a:off x="-577850" y="-16665575"/>
                  <a:ext cx="1341438" cy="857250"/>
                </a:xfrm>
                <a:custGeom>
                  <a:avLst/>
                  <a:gdLst/>
                  <a:ahLst/>
                  <a:cxnLst>
                    <a:cxn ang="0">
                      <a:pos x="97" y="0"/>
                    </a:cxn>
                    <a:cxn ang="0">
                      <a:pos x="303" y="60"/>
                    </a:cxn>
                    <a:cxn ang="0">
                      <a:pos x="358" y="106"/>
                    </a:cxn>
                    <a:cxn ang="0">
                      <a:pos x="203" y="76"/>
                    </a:cxn>
                    <a:cxn ang="0">
                      <a:pos x="136" y="173"/>
                    </a:cxn>
                    <a:cxn ang="0">
                      <a:pos x="21" y="223"/>
                    </a:cxn>
                    <a:cxn ang="0">
                      <a:pos x="58" y="105"/>
                    </a:cxn>
                    <a:cxn ang="0">
                      <a:pos x="131" y="13"/>
                    </a:cxn>
                  </a:cxnLst>
                  <a:rect l="0" t="0" r="r" b="b"/>
                  <a:pathLst>
                    <a:path w="358" h="229">
                      <a:moveTo>
                        <a:pt x="97" y="0"/>
                      </a:moveTo>
                      <a:cubicBezTo>
                        <a:pt x="155" y="28"/>
                        <a:pt x="241" y="50"/>
                        <a:pt x="303" y="60"/>
                      </a:cubicBezTo>
                      <a:cubicBezTo>
                        <a:pt x="315" y="77"/>
                        <a:pt x="339" y="97"/>
                        <a:pt x="358" y="106"/>
                      </a:cubicBezTo>
                      <a:cubicBezTo>
                        <a:pt x="309" y="97"/>
                        <a:pt x="254" y="70"/>
                        <a:pt x="203" y="76"/>
                      </a:cubicBezTo>
                      <a:cubicBezTo>
                        <a:pt x="136" y="84"/>
                        <a:pt x="190" y="147"/>
                        <a:pt x="136" y="173"/>
                      </a:cubicBezTo>
                      <a:cubicBezTo>
                        <a:pt x="106" y="119"/>
                        <a:pt x="62" y="229"/>
                        <a:pt x="21" y="223"/>
                      </a:cubicBezTo>
                      <a:cubicBezTo>
                        <a:pt x="0" y="173"/>
                        <a:pt x="31" y="144"/>
                        <a:pt x="58" y="105"/>
                      </a:cubicBezTo>
                      <a:cubicBezTo>
                        <a:pt x="76" y="79"/>
                        <a:pt x="92" y="8"/>
                        <a:pt x="131" y="1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0" name="Freeform 97"/>
                <p:cNvSpPr>
                  <a:spLocks/>
                </p:cNvSpPr>
                <p:nvPr/>
              </p:nvSpPr>
              <p:spPr bwMode="gray">
                <a:xfrm>
                  <a:off x="-1238250" y="-13482637"/>
                  <a:ext cx="390525" cy="850900"/>
                </a:xfrm>
                <a:custGeom>
                  <a:avLst/>
                  <a:gdLst/>
                  <a:ahLst/>
                  <a:cxnLst>
                    <a:cxn ang="0">
                      <a:pos x="79" y="17"/>
                    </a:cxn>
                    <a:cxn ang="0">
                      <a:pos x="3" y="131"/>
                    </a:cxn>
                    <a:cxn ang="0">
                      <a:pos x="45" y="227"/>
                    </a:cxn>
                    <a:cxn ang="0">
                      <a:pos x="99" y="21"/>
                    </a:cxn>
                    <a:cxn ang="0">
                      <a:pos x="87" y="0"/>
                    </a:cxn>
                  </a:cxnLst>
                  <a:rect l="0" t="0" r="r" b="b"/>
                  <a:pathLst>
                    <a:path w="104" h="227">
                      <a:moveTo>
                        <a:pt x="79" y="17"/>
                      </a:moveTo>
                      <a:cubicBezTo>
                        <a:pt x="44" y="66"/>
                        <a:pt x="6" y="63"/>
                        <a:pt x="3" y="131"/>
                      </a:cubicBezTo>
                      <a:cubicBezTo>
                        <a:pt x="0" y="185"/>
                        <a:pt x="11" y="194"/>
                        <a:pt x="45" y="227"/>
                      </a:cubicBezTo>
                      <a:cubicBezTo>
                        <a:pt x="42" y="170"/>
                        <a:pt x="3" y="39"/>
                        <a:pt x="99" y="21"/>
                      </a:cubicBezTo>
                      <a:cubicBezTo>
                        <a:pt x="104" y="6"/>
                        <a:pt x="97" y="5"/>
                        <a:pt x="87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1" name="Freeform 98"/>
                <p:cNvSpPr>
                  <a:spLocks/>
                </p:cNvSpPr>
                <p:nvPr/>
              </p:nvSpPr>
              <p:spPr bwMode="gray">
                <a:xfrm>
                  <a:off x="-3536950" y="-14465300"/>
                  <a:ext cx="738188" cy="492125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97" y="131"/>
                    </a:cxn>
                    <a:cxn ang="0">
                      <a:pos x="84" y="73"/>
                    </a:cxn>
                    <a:cxn ang="0">
                      <a:pos x="12" y="5"/>
                    </a:cxn>
                    <a:cxn ang="0">
                      <a:pos x="41" y="5"/>
                    </a:cxn>
                  </a:cxnLst>
                  <a:rect l="0" t="0" r="r" b="b"/>
                  <a:pathLst>
                    <a:path w="197" h="131">
                      <a:moveTo>
                        <a:pt x="12" y="0"/>
                      </a:moveTo>
                      <a:cubicBezTo>
                        <a:pt x="72" y="19"/>
                        <a:pt x="176" y="59"/>
                        <a:pt x="197" y="131"/>
                      </a:cubicBezTo>
                      <a:cubicBezTo>
                        <a:pt x="156" y="116"/>
                        <a:pt x="123" y="90"/>
                        <a:pt x="84" y="73"/>
                      </a:cubicBezTo>
                      <a:cubicBezTo>
                        <a:pt x="54" y="61"/>
                        <a:pt x="0" y="51"/>
                        <a:pt x="12" y="5"/>
                      </a:cubicBezTo>
                      <a:cubicBezTo>
                        <a:pt x="21" y="4"/>
                        <a:pt x="33" y="2"/>
                        <a:pt x="41" y="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2" name="Freeform 99"/>
                <p:cNvSpPr>
                  <a:spLocks/>
                </p:cNvSpPr>
                <p:nvPr/>
              </p:nvSpPr>
              <p:spPr bwMode="gray">
                <a:xfrm>
                  <a:off x="-2806700" y="-10966450"/>
                  <a:ext cx="3787775" cy="825500"/>
                </a:xfrm>
                <a:custGeom>
                  <a:avLst/>
                  <a:gdLst/>
                  <a:ahLst/>
                  <a:cxnLst>
                    <a:cxn ang="0">
                      <a:pos x="37" y="13"/>
                    </a:cxn>
                    <a:cxn ang="0">
                      <a:pos x="132" y="45"/>
                    </a:cxn>
                    <a:cxn ang="0">
                      <a:pos x="245" y="69"/>
                    </a:cxn>
                    <a:cxn ang="0">
                      <a:pos x="470" y="86"/>
                    </a:cxn>
                    <a:cxn ang="0">
                      <a:pos x="735" y="69"/>
                    </a:cxn>
                    <a:cxn ang="0">
                      <a:pos x="976" y="37"/>
                    </a:cxn>
                    <a:cxn ang="0">
                      <a:pos x="986" y="148"/>
                    </a:cxn>
                    <a:cxn ang="0">
                      <a:pos x="842" y="187"/>
                    </a:cxn>
                    <a:cxn ang="0">
                      <a:pos x="577" y="215"/>
                    </a:cxn>
                    <a:cxn ang="0">
                      <a:pos x="311" y="194"/>
                    </a:cxn>
                    <a:cxn ang="0">
                      <a:pos x="183" y="159"/>
                    </a:cxn>
                    <a:cxn ang="0">
                      <a:pos x="29" y="121"/>
                    </a:cxn>
                    <a:cxn ang="0">
                      <a:pos x="14" y="120"/>
                    </a:cxn>
                    <a:cxn ang="0">
                      <a:pos x="3" y="24"/>
                    </a:cxn>
                  </a:cxnLst>
                  <a:rect l="0" t="0" r="r" b="b"/>
                  <a:pathLst>
                    <a:path w="1010" h="220">
                      <a:moveTo>
                        <a:pt x="37" y="13"/>
                      </a:moveTo>
                      <a:cubicBezTo>
                        <a:pt x="73" y="16"/>
                        <a:pt x="98" y="32"/>
                        <a:pt x="132" y="45"/>
                      </a:cubicBezTo>
                      <a:cubicBezTo>
                        <a:pt x="171" y="59"/>
                        <a:pt x="206" y="60"/>
                        <a:pt x="245" y="69"/>
                      </a:cubicBezTo>
                      <a:cubicBezTo>
                        <a:pt x="317" y="84"/>
                        <a:pt x="391" y="82"/>
                        <a:pt x="470" y="86"/>
                      </a:cubicBezTo>
                      <a:cubicBezTo>
                        <a:pt x="563" y="90"/>
                        <a:pt x="652" y="100"/>
                        <a:pt x="735" y="69"/>
                      </a:cubicBezTo>
                      <a:cubicBezTo>
                        <a:pt x="797" y="46"/>
                        <a:pt x="909" y="0"/>
                        <a:pt x="976" y="37"/>
                      </a:cubicBezTo>
                      <a:cubicBezTo>
                        <a:pt x="975" y="87"/>
                        <a:pt x="1010" y="114"/>
                        <a:pt x="986" y="148"/>
                      </a:cubicBezTo>
                      <a:cubicBezTo>
                        <a:pt x="970" y="172"/>
                        <a:pt x="869" y="180"/>
                        <a:pt x="842" y="187"/>
                      </a:cubicBezTo>
                      <a:cubicBezTo>
                        <a:pt x="756" y="211"/>
                        <a:pt x="672" y="215"/>
                        <a:pt x="577" y="215"/>
                      </a:cubicBezTo>
                      <a:cubicBezTo>
                        <a:pt x="485" y="215"/>
                        <a:pt x="395" y="220"/>
                        <a:pt x="311" y="194"/>
                      </a:cubicBezTo>
                      <a:cubicBezTo>
                        <a:pt x="267" y="180"/>
                        <a:pt x="226" y="169"/>
                        <a:pt x="183" y="159"/>
                      </a:cubicBezTo>
                      <a:cubicBezTo>
                        <a:pt x="140" y="150"/>
                        <a:pt x="67" y="141"/>
                        <a:pt x="29" y="121"/>
                      </a:cubicBezTo>
                      <a:cubicBezTo>
                        <a:pt x="18" y="115"/>
                        <a:pt x="26" y="124"/>
                        <a:pt x="14" y="120"/>
                      </a:cubicBezTo>
                      <a:cubicBezTo>
                        <a:pt x="9" y="91"/>
                        <a:pt x="0" y="52"/>
                        <a:pt x="3" y="24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3" name="Freeform 100"/>
                <p:cNvSpPr>
                  <a:spLocks/>
                </p:cNvSpPr>
                <p:nvPr/>
              </p:nvSpPr>
              <p:spPr bwMode="gray">
                <a:xfrm>
                  <a:off x="-1778000" y="-10768012"/>
                  <a:ext cx="884238" cy="638175"/>
                </a:xfrm>
                <a:custGeom>
                  <a:avLst/>
                  <a:gdLst/>
                  <a:ahLst/>
                  <a:cxnLst>
                    <a:cxn ang="0">
                      <a:pos x="32" y="131"/>
                    </a:cxn>
                    <a:cxn ang="0">
                      <a:pos x="170" y="141"/>
                    </a:cxn>
                    <a:cxn ang="0">
                      <a:pos x="184" y="39"/>
                    </a:cxn>
                    <a:cxn ang="0">
                      <a:pos x="137" y="26"/>
                    </a:cxn>
                    <a:cxn ang="0">
                      <a:pos x="206" y="20"/>
                    </a:cxn>
                    <a:cxn ang="0">
                      <a:pos x="198" y="152"/>
                    </a:cxn>
                    <a:cxn ang="0">
                      <a:pos x="156" y="168"/>
                    </a:cxn>
                    <a:cxn ang="0">
                      <a:pos x="13" y="151"/>
                    </a:cxn>
                    <a:cxn ang="0">
                      <a:pos x="12" y="40"/>
                    </a:cxn>
                    <a:cxn ang="0">
                      <a:pos x="156" y="13"/>
                    </a:cxn>
                    <a:cxn ang="0">
                      <a:pos x="141" y="37"/>
                    </a:cxn>
                    <a:cxn ang="0">
                      <a:pos x="37" y="61"/>
                    </a:cxn>
                  </a:cxnLst>
                  <a:rect l="0" t="0" r="r" b="b"/>
                  <a:pathLst>
                    <a:path w="236" h="170">
                      <a:moveTo>
                        <a:pt x="32" y="131"/>
                      </a:moveTo>
                      <a:cubicBezTo>
                        <a:pt x="61" y="144"/>
                        <a:pt x="154" y="156"/>
                        <a:pt x="170" y="141"/>
                      </a:cubicBezTo>
                      <a:cubicBezTo>
                        <a:pt x="171" y="124"/>
                        <a:pt x="186" y="58"/>
                        <a:pt x="184" y="39"/>
                      </a:cubicBezTo>
                      <a:cubicBezTo>
                        <a:pt x="164" y="29"/>
                        <a:pt x="137" y="52"/>
                        <a:pt x="137" y="26"/>
                      </a:cubicBezTo>
                      <a:cubicBezTo>
                        <a:pt x="137" y="2"/>
                        <a:pt x="198" y="20"/>
                        <a:pt x="206" y="20"/>
                      </a:cubicBezTo>
                      <a:cubicBezTo>
                        <a:pt x="236" y="20"/>
                        <a:pt x="202" y="124"/>
                        <a:pt x="198" y="152"/>
                      </a:cubicBezTo>
                      <a:cubicBezTo>
                        <a:pt x="195" y="170"/>
                        <a:pt x="180" y="166"/>
                        <a:pt x="156" y="168"/>
                      </a:cubicBezTo>
                      <a:cubicBezTo>
                        <a:pt x="123" y="169"/>
                        <a:pt x="46" y="162"/>
                        <a:pt x="13" y="151"/>
                      </a:cubicBezTo>
                      <a:cubicBezTo>
                        <a:pt x="0" y="147"/>
                        <a:pt x="2" y="88"/>
                        <a:pt x="12" y="40"/>
                      </a:cubicBezTo>
                      <a:cubicBezTo>
                        <a:pt x="20" y="0"/>
                        <a:pt x="123" y="20"/>
                        <a:pt x="156" y="13"/>
                      </a:cubicBezTo>
                      <a:cubicBezTo>
                        <a:pt x="172" y="10"/>
                        <a:pt x="143" y="23"/>
                        <a:pt x="141" y="37"/>
                      </a:cubicBezTo>
                      <a:cubicBezTo>
                        <a:pt x="124" y="38"/>
                        <a:pt x="30" y="30"/>
                        <a:pt x="37" y="61"/>
                      </a:cubicBezTo>
                    </a:path>
                  </a:pathLst>
                </a:custGeom>
                <a:solidFill>
                  <a:srgbClr val="DBDCD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4" name="Freeform 101"/>
                <p:cNvSpPr>
                  <a:spLocks/>
                </p:cNvSpPr>
                <p:nvPr/>
              </p:nvSpPr>
              <p:spPr bwMode="gray">
                <a:xfrm>
                  <a:off x="-2228850" y="-19711987"/>
                  <a:ext cx="2320925" cy="2089150"/>
                </a:xfrm>
                <a:custGeom>
                  <a:avLst/>
                  <a:gdLst/>
                  <a:ahLst/>
                  <a:cxnLst>
                    <a:cxn ang="0">
                      <a:pos x="111" y="540"/>
                    </a:cxn>
                    <a:cxn ang="0">
                      <a:pos x="94" y="541"/>
                    </a:cxn>
                    <a:cxn ang="0">
                      <a:pos x="81" y="432"/>
                    </a:cxn>
                    <a:cxn ang="0">
                      <a:pos x="67" y="390"/>
                    </a:cxn>
                    <a:cxn ang="0">
                      <a:pos x="33" y="348"/>
                    </a:cxn>
                    <a:cxn ang="0">
                      <a:pos x="81" y="145"/>
                    </a:cxn>
                    <a:cxn ang="0">
                      <a:pos x="48" y="144"/>
                    </a:cxn>
                    <a:cxn ang="0">
                      <a:pos x="131" y="76"/>
                    </a:cxn>
                    <a:cxn ang="0">
                      <a:pos x="115" y="57"/>
                    </a:cxn>
                    <a:cxn ang="0">
                      <a:pos x="190" y="34"/>
                    </a:cxn>
                    <a:cxn ang="0">
                      <a:pos x="263" y="1"/>
                    </a:cxn>
                    <a:cxn ang="0">
                      <a:pos x="426" y="51"/>
                    </a:cxn>
                    <a:cxn ang="0">
                      <a:pos x="428" y="27"/>
                    </a:cxn>
                    <a:cxn ang="0">
                      <a:pos x="469" y="77"/>
                    </a:cxn>
                    <a:cxn ang="0">
                      <a:pos x="530" y="110"/>
                    </a:cxn>
                    <a:cxn ang="0">
                      <a:pos x="596" y="229"/>
                    </a:cxn>
                    <a:cxn ang="0">
                      <a:pos x="608" y="388"/>
                    </a:cxn>
                    <a:cxn ang="0">
                      <a:pos x="572" y="557"/>
                    </a:cxn>
                    <a:cxn ang="0">
                      <a:pos x="546" y="457"/>
                    </a:cxn>
                    <a:cxn ang="0">
                      <a:pos x="550" y="313"/>
                    </a:cxn>
                    <a:cxn ang="0">
                      <a:pos x="482" y="216"/>
                    </a:cxn>
                    <a:cxn ang="0">
                      <a:pos x="348" y="216"/>
                    </a:cxn>
                    <a:cxn ang="0">
                      <a:pos x="327" y="191"/>
                    </a:cxn>
                    <a:cxn ang="0">
                      <a:pos x="334" y="228"/>
                    </a:cxn>
                    <a:cxn ang="0">
                      <a:pos x="250" y="188"/>
                    </a:cxn>
                    <a:cxn ang="0">
                      <a:pos x="179" y="230"/>
                    </a:cxn>
                    <a:cxn ang="0">
                      <a:pos x="127" y="322"/>
                    </a:cxn>
                    <a:cxn ang="0">
                      <a:pos x="123" y="377"/>
                    </a:cxn>
                    <a:cxn ang="0">
                      <a:pos x="111" y="426"/>
                    </a:cxn>
                    <a:cxn ang="0">
                      <a:pos x="111" y="540"/>
                    </a:cxn>
                  </a:cxnLst>
                  <a:rect l="0" t="0" r="r" b="b"/>
                  <a:pathLst>
                    <a:path w="619" h="557">
                      <a:moveTo>
                        <a:pt x="111" y="540"/>
                      </a:moveTo>
                      <a:cubicBezTo>
                        <a:pt x="85" y="549"/>
                        <a:pt x="102" y="543"/>
                        <a:pt x="94" y="541"/>
                      </a:cubicBezTo>
                      <a:cubicBezTo>
                        <a:pt x="82" y="499"/>
                        <a:pt x="79" y="474"/>
                        <a:pt x="81" y="432"/>
                      </a:cubicBezTo>
                      <a:cubicBezTo>
                        <a:pt x="82" y="415"/>
                        <a:pt x="95" y="378"/>
                        <a:pt x="67" y="390"/>
                      </a:cubicBezTo>
                      <a:cubicBezTo>
                        <a:pt x="56" y="395"/>
                        <a:pt x="44" y="366"/>
                        <a:pt x="33" y="348"/>
                      </a:cubicBezTo>
                      <a:cubicBezTo>
                        <a:pt x="0" y="293"/>
                        <a:pt x="48" y="189"/>
                        <a:pt x="81" y="145"/>
                      </a:cubicBezTo>
                      <a:cubicBezTo>
                        <a:pt x="71" y="147"/>
                        <a:pt x="58" y="142"/>
                        <a:pt x="48" y="144"/>
                      </a:cubicBezTo>
                      <a:cubicBezTo>
                        <a:pt x="52" y="107"/>
                        <a:pt x="97" y="82"/>
                        <a:pt x="131" y="76"/>
                      </a:cubicBezTo>
                      <a:cubicBezTo>
                        <a:pt x="125" y="71"/>
                        <a:pt x="121" y="61"/>
                        <a:pt x="115" y="57"/>
                      </a:cubicBezTo>
                      <a:cubicBezTo>
                        <a:pt x="142" y="51"/>
                        <a:pt x="168" y="47"/>
                        <a:pt x="190" y="34"/>
                      </a:cubicBezTo>
                      <a:cubicBezTo>
                        <a:pt x="220" y="15"/>
                        <a:pt x="222" y="1"/>
                        <a:pt x="263" y="1"/>
                      </a:cubicBezTo>
                      <a:cubicBezTo>
                        <a:pt x="327" y="0"/>
                        <a:pt x="377" y="13"/>
                        <a:pt x="426" y="51"/>
                      </a:cubicBezTo>
                      <a:cubicBezTo>
                        <a:pt x="426" y="44"/>
                        <a:pt x="429" y="34"/>
                        <a:pt x="428" y="27"/>
                      </a:cubicBezTo>
                      <a:cubicBezTo>
                        <a:pt x="443" y="40"/>
                        <a:pt x="453" y="63"/>
                        <a:pt x="469" y="77"/>
                      </a:cubicBezTo>
                      <a:cubicBezTo>
                        <a:pt x="489" y="96"/>
                        <a:pt x="509" y="94"/>
                        <a:pt x="530" y="110"/>
                      </a:cubicBezTo>
                      <a:cubicBezTo>
                        <a:pt x="558" y="130"/>
                        <a:pt x="581" y="197"/>
                        <a:pt x="596" y="229"/>
                      </a:cubicBezTo>
                      <a:cubicBezTo>
                        <a:pt x="617" y="274"/>
                        <a:pt x="619" y="337"/>
                        <a:pt x="608" y="388"/>
                      </a:cubicBezTo>
                      <a:cubicBezTo>
                        <a:pt x="599" y="429"/>
                        <a:pt x="611" y="534"/>
                        <a:pt x="572" y="557"/>
                      </a:cubicBezTo>
                      <a:cubicBezTo>
                        <a:pt x="575" y="530"/>
                        <a:pt x="547" y="490"/>
                        <a:pt x="546" y="457"/>
                      </a:cubicBezTo>
                      <a:cubicBezTo>
                        <a:pt x="544" y="409"/>
                        <a:pt x="556" y="362"/>
                        <a:pt x="550" y="313"/>
                      </a:cubicBezTo>
                      <a:cubicBezTo>
                        <a:pt x="545" y="273"/>
                        <a:pt x="525" y="227"/>
                        <a:pt x="482" y="216"/>
                      </a:cubicBezTo>
                      <a:cubicBezTo>
                        <a:pt x="438" y="205"/>
                        <a:pt x="391" y="230"/>
                        <a:pt x="348" y="216"/>
                      </a:cubicBezTo>
                      <a:cubicBezTo>
                        <a:pt x="343" y="205"/>
                        <a:pt x="333" y="200"/>
                        <a:pt x="327" y="191"/>
                      </a:cubicBezTo>
                      <a:cubicBezTo>
                        <a:pt x="328" y="206"/>
                        <a:pt x="326" y="217"/>
                        <a:pt x="334" y="228"/>
                      </a:cubicBezTo>
                      <a:cubicBezTo>
                        <a:pt x="306" y="232"/>
                        <a:pt x="273" y="204"/>
                        <a:pt x="250" y="188"/>
                      </a:cubicBezTo>
                      <a:cubicBezTo>
                        <a:pt x="267" y="225"/>
                        <a:pt x="201" y="212"/>
                        <a:pt x="179" y="230"/>
                      </a:cubicBezTo>
                      <a:cubicBezTo>
                        <a:pt x="152" y="252"/>
                        <a:pt x="134" y="290"/>
                        <a:pt x="127" y="322"/>
                      </a:cubicBezTo>
                      <a:cubicBezTo>
                        <a:pt x="124" y="339"/>
                        <a:pt x="130" y="360"/>
                        <a:pt x="123" y="377"/>
                      </a:cubicBezTo>
                      <a:cubicBezTo>
                        <a:pt x="116" y="396"/>
                        <a:pt x="116" y="408"/>
                        <a:pt x="111" y="426"/>
                      </a:cubicBezTo>
                      <a:cubicBezTo>
                        <a:pt x="102" y="466"/>
                        <a:pt x="123" y="521"/>
                        <a:pt x="111" y="54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5" name="Freeform 102"/>
                <p:cNvSpPr>
                  <a:spLocks/>
                </p:cNvSpPr>
                <p:nvPr/>
              </p:nvSpPr>
              <p:spPr bwMode="gray">
                <a:xfrm>
                  <a:off x="-2928938" y="-12233275"/>
                  <a:ext cx="4244975" cy="1217613"/>
                </a:xfrm>
                <a:custGeom>
                  <a:avLst/>
                  <a:gdLst/>
                  <a:ahLst/>
                  <a:cxnLst>
                    <a:cxn ang="0">
                      <a:pos x="638" y="9"/>
                    </a:cxn>
                    <a:cxn ang="0">
                      <a:pos x="47" y="123"/>
                    </a:cxn>
                    <a:cxn ang="0">
                      <a:pos x="2" y="190"/>
                    </a:cxn>
                    <a:cxn ang="0">
                      <a:pos x="70" y="218"/>
                    </a:cxn>
                    <a:cxn ang="0">
                      <a:pos x="146" y="221"/>
                    </a:cxn>
                    <a:cxn ang="0">
                      <a:pos x="208" y="208"/>
                    </a:cxn>
                    <a:cxn ang="0">
                      <a:pos x="275" y="196"/>
                    </a:cxn>
                    <a:cxn ang="0">
                      <a:pos x="319" y="164"/>
                    </a:cxn>
                    <a:cxn ang="0">
                      <a:pos x="408" y="142"/>
                    </a:cxn>
                    <a:cxn ang="0">
                      <a:pos x="552" y="92"/>
                    </a:cxn>
                    <a:cxn ang="0">
                      <a:pos x="630" y="77"/>
                    </a:cxn>
                    <a:cxn ang="0">
                      <a:pos x="645" y="122"/>
                    </a:cxn>
                    <a:cxn ang="0">
                      <a:pos x="794" y="120"/>
                    </a:cxn>
                    <a:cxn ang="0">
                      <a:pos x="785" y="229"/>
                    </a:cxn>
                    <a:cxn ang="0">
                      <a:pos x="869" y="199"/>
                    </a:cxn>
                    <a:cxn ang="0">
                      <a:pos x="943" y="241"/>
                    </a:cxn>
                    <a:cxn ang="0">
                      <a:pos x="1008" y="325"/>
                    </a:cxn>
                    <a:cxn ang="0">
                      <a:pos x="1077" y="230"/>
                    </a:cxn>
                    <a:cxn ang="0">
                      <a:pos x="1107" y="121"/>
                    </a:cxn>
                    <a:cxn ang="0">
                      <a:pos x="661" y="15"/>
                    </a:cxn>
                  </a:cxnLst>
                  <a:rect l="0" t="0" r="r" b="b"/>
                  <a:pathLst>
                    <a:path w="1132" h="325">
                      <a:moveTo>
                        <a:pt x="638" y="9"/>
                      </a:moveTo>
                      <a:cubicBezTo>
                        <a:pt x="608" y="0"/>
                        <a:pt x="87" y="112"/>
                        <a:pt x="47" y="123"/>
                      </a:cubicBezTo>
                      <a:cubicBezTo>
                        <a:pt x="1" y="135"/>
                        <a:pt x="0" y="143"/>
                        <a:pt x="2" y="190"/>
                      </a:cubicBezTo>
                      <a:cubicBezTo>
                        <a:pt x="27" y="195"/>
                        <a:pt x="45" y="213"/>
                        <a:pt x="70" y="218"/>
                      </a:cubicBezTo>
                      <a:cubicBezTo>
                        <a:pt x="93" y="222"/>
                        <a:pt x="120" y="221"/>
                        <a:pt x="146" y="221"/>
                      </a:cubicBezTo>
                      <a:cubicBezTo>
                        <a:pt x="172" y="221"/>
                        <a:pt x="185" y="215"/>
                        <a:pt x="208" y="208"/>
                      </a:cubicBezTo>
                      <a:cubicBezTo>
                        <a:pt x="230" y="201"/>
                        <a:pt x="254" y="205"/>
                        <a:pt x="275" y="196"/>
                      </a:cubicBezTo>
                      <a:cubicBezTo>
                        <a:pt x="291" y="189"/>
                        <a:pt x="304" y="174"/>
                        <a:pt x="319" y="164"/>
                      </a:cubicBezTo>
                      <a:cubicBezTo>
                        <a:pt x="348" y="144"/>
                        <a:pt x="372" y="145"/>
                        <a:pt x="408" y="142"/>
                      </a:cubicBezTo>
                      <a:cubicBezTo>
                        <a:pt x="462" y="139"/>
                        <a:pt x="503" y="113"/>
                        <a:pt x="552" y="92"/>
                      </a:cubicBezTo>
                      <a:cubicBezTo>
                        <a:pt x="576" y="82"/>
                        <a:pt x="598" y="73"/>
                        <a:pt x="630" y="77"/>
                      </a:cubicBezTo>
                      <a:cubicBezTo>
                        <a:pt x="667" y="83"/>
                        <a:pt x="672" y="100"/>
                        <a:pt x="645" y="122"/>
                      </a:cubicBezTo>
                      <a:cubicBezTo>
                        <a:pt x="695" y="127"/>
                        <a:pt x="744" y="83"/>
                        <a:pt x="794" y="120"/>
                      </a:cubicBezTo>
                      <a:cubicBezTo>
                        <a:pt x="850" y="162"/>
                        <a:pt x="786" y="184"/>
                        <a:pt x="785" y="229"/>
                      </a:cubicBezTo>
                      <a:cubicBezTo>
                        <a:pt x="815" y="220"/>
                        <a:pt x="835" y="204"/>
                        <a:pt x="869" y="199"/>
                      </a:cubicBezTo>
                      <a:cubicBezTo>
                        <a:pt x="898" y="195"/>
                        <a:pt x="958" y="201"/>
                        <a:pt x="943" y="241"/>
                      </a:cubicBezTo>
                      <a:cubicBezTo>
                        <a:pt x="987" y="214"/>
                        <a:pt x="1045" y="292"/>
                        <a:pt x="1008" y="325"/>
                      </a:cubicBezTo>
                      <a:cubicBezTo>
                        <a:pt x="1040" y="304"/>
                        <a:pt x="1072" y="267"/>
                        <a:pt x="1077" y="230"/>
                      </a:cubicBezTo>
                      <a:cubicBezTo>
                        <a:pt x="1080" y="207"/>
                        <a:pt x="1132" y="121"/>
                        <a:pt x="1107" y="121"/>
                      </a:cubicBezTo>
                      <a:cubicBezTo>
                        <a:pt x="931" y="121"/>
                        <a:pt x="680" y="24"/>
                        <a:pt x="661" y="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6" name="Freeform 103"/>
                <p:cNvSpPr>
                  <a:spLocks/>
                </p:cNvSpPr>
                <p:nvPr/>
              </p:nvSpPr>
              <p:spPr bwMode="gray">
                <a:xfrm>
                  <a:off x="985838" y="-13890625"/>
                  <a:ext cx="704850" cy="1952625"/>
                </a:xfrm>
                <a:custGeom>
                  <a:avLst/>
                  <a:gdLst/>
                  <a:ahLst/>
                  <a:cxnLst>
                    <a:cxn ang="0">
                      <a:pos x="0" y="387"/>
                    </a:cxn>
                    <a:cxn ang="0">
                      <a:pos x="27" y="416"/>
                    </a:cxn>
                    <a:cxn ang="0">
                      <a:pos x="159" y="275"/>
                    </a:cxn>
                    <a:cxn ang="0">
                      <a:pos x="185" y="0"/>
                    </a:cxn>
                    <a:cxn ang="0">
                      <a:pos x="184" y="32"/>
                    </a:cxn>
                    <a:cxn ang="0">
                      <a:pos x="79" y="45"/>
                    </a:cxn>
                    <a:cxn ang="0">
                      <a:pos x="145" y="101"/>
                    </a:cxn>
                    <a:cxn ang="0">
                      <a:pos x="79" y="167"/>
                    </a:cxn>
                    <a:cxn ang="0">
                      <a:pos x="78" y="147"/>
                    </a:cxn>
                    <a:cxn ang="0">
                      <a:pos x="123" y="229"/>
                    </a:cxn>
                    <a:cxn ang="0">
                      <a:pos x="45" y="208"/>
                    </a:cxn>
                    <a:cxn ang="0">
                      <a:pos x="57" y="310"/>
                    </a:cxn>
                    <a:cxn ang="0">
                      <a:pos x="39" y="415"/>
                    </a:cxn>
                  </a:cxnLst>
                  <a:rect l="0" t="0" r="r" b="b"/>
                  <a:pathLst>
                    <a:path w="188" h="521">
                      <a:moveTo>
                        <a:pt x="0" y="387"/>
                      </a:moveTo>
                      <a:cubicBezTo>
                        <a:pt x="3" y="405"/>
                        <a:pt x="5" y="416"/>
                        <a:pt x="27" y="416"/>
                      </a:cubicBezTo>
                      <a:cubicBezTo>
                        <a:pt x="65" y="521"/>
                        <a:pt x="154" y="307"/>
                        <a:pt x="159" y="275"/>
                      </a:cubicBezTo>
                      <a:cubicBezTo>
                        <a:pt x="172" y="182"/>
                        <a:pt x="185" y="98"/>
                        <a:pt x="185" y="0"/>
                      </a:cubicBezTo>
                      <a:cubicBezTo>
                        <a:pt x="188" y="10"/>
                        <a:pt x="185" y="22"/>
                        <a:pt x="184" y="32"/>
                      </a:cubicBezTo>
                      <a:cubicBezTo>
                        <a:pt x="152" y="49"/>
                        <a:pt x="115" y="43"/>
                        <a:pt x="79" y="45"/>
                      </a:cubicBezTo>
                      <a:cubicBezTo>
                        <a:pt x="72" y="81"/>
                        <a:pt x="114" y="101"/>
                        <a:pt x="145" y="101"/>
                      </a:cubicBezTo>
                      <a:cubicBezTo>
                        <a:pt x="156" y="149"/>
                        <a:pt x="126" y="176"/>
                        <a:pt x="79" y="167"/>
                      </a:cubicBezTo>
                      <a:cubicBezTo>
                        <a:pt x="78" y="160"/>
                        <a:pt x="78" y="154"/>
                        <a:pt x="78" y="147"/>
                      </a:cubicBezTo>
                      <a:cubicBezTo>
                        <a:pt x="84" y="180"/>
                        <a:pt x="120" y="198"/>
                        <a:pt x="123" y="229"/>
                      </a:cubicBezTo>
                      <a:cubicBezTo>
                        <a:pt x="86" y="236"/>
                        <a:pt x="82" y="201"/>
                        <a:pt x="45" y="208"/>
                      </a:cubicBezTo>
                      <a:cubicBezTo>
                        <a:pt x="72" y="270"/>
                        <a:pt x="99" y="239"/>
                        <a:pt x="57" y="310"/>
                      </a:cubicBezTo>
                      <a:cubicBezTo>
                        <a:pt x="37" y="345"/>
                        <a:pt x="24" y="373"/>
                        <a:pt x="39" y="4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7" name="Freeform 104"/>
                <p:cNvSpPr>
                  <a:spLocks/>
                </p:cNvSpPr>
                <p:nvPr/>
              </p:nvSpPr>
              <p:spPr bwMode="gray">
                <a:xfrm>
                  <a:off x="-3746500" y="-11974512"/>
                  <a:ext cx="715963" cy="457200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91" y="8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1" h="122">
                      <a:moveTo>
                        <a:pt x="0" y="6"/>
                      </a:moveTo>
                      <a:cubicBezTo>
                        <a:pt x="46" y="112"/>
                        <a:pt x="71" y="122"/>
                        <a:pt x="191" y="83"/>
                      </a:cubicBezTo>
                      <a:cubicBezTo>
                        <a:pt x="131" y="41"/>
                        <a:pt x="34" y="99"/>
                        <a:pt x="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8" name="Freeform 105"/>
                <p:cNvSpPr>
                  <a:spLocks/>
                </p:cNvSpPr>
                <p:nvPr/>
              </p:nvSpPr>
              <p:spPr bwMode="gray">
                <a:xfrm>
                  <a:off x="798513" y="-15954375"/>
                  <a:ext cx="1109663" cy="1612900"/>
                </a:xfrm>
                <a:custGeom>
                  <a:avLst/>
                  <a:gdLst/>
                  <a:ahLst/>
                  <a:cxnLst>
                    <a:cxn ang="0">
                      <a:pos x="241" y="346"/>
                    </a:cxn>
                    <a:cxn ang="0">
                      <a:pos x="101" y="430"/>
                    </a:cxn>
                    <a:cxn ang="0">
                      <a:pos x="180" y="359"/>
                    </a:cxn>
                    <a:cxn ang="0">
                      <a:pos x="223" y="257"/>
                    </a:cxn>
                    <a:cxn ang="0">
                      <a:pos x="140" y="316"/>
                    </a:cxn>
                    <a:cxn ang="0">
                      <a:pos x="39" y="356"/>
                    </a:cxn>
                    <a:cxn ang="0">
                      <a:pos x="207" y="194"/>
                    </a:cxn>
                    <a:cxn ang="0">
                      <a:pos x="0" y="272"/>
                    </a:cxn>
                    <a:cxn ang="0">
                      <a:pos x="151" y="156"/>
                    </a:cxn>
                    <a:cxn ang="0">
                      <a:pos x="169" y="20"/>
                    </a:cxn>
                    <a:cxn ang="0">
                      <a:pos x="235" y="352"/>
                    </a:cxn>
                  </a:cxnLst>
                  <a:rect l="0" t="0" r="r" b="b"/>
                  <a:pathLst>
                    <a:path w="296" h="430">
                      <a:moveTo>
                        <a:pt x="241" y="346"/>
                      </a:moveTo>
                      <a:cubicBezTo>
                        <a:pt x="189" y="354"/>
                        <a:pt x="151" y="409"/>
                        <a:pt x="101" y="430"/>
                      </a:cubicBezTo>
                      <a:cubicBezTo>
                        <a:pt x="111" y="403"/>
                        <a:pt x="157" y="381"/>
                        <a:pt x="180" y="359"/>
                      </a:cubicBezTo>
                      <a:cubicBezTo>
                        <a:pt x="218" y="323"/>
                        <a:pt x="217" y="308"/>
                        <a:pt x="223" y="257"/>
                      </a:cubicBezTo>
                      <a:cubicBezTo>
                        <a:pt x="184" y="250"/>
                        <a:pt x="168" y="297"/>
                        <a:pt x="140" y="316"/>
                      </a:cubicBezTo>
                      <a:cubicBezTo>
                        <a:pt x="111" y="337"/>
                        <a:pt x="72" y="351"/>
                        <a:pt x="39" y="356"/>
                      </a:cubicBezTo>
                      <a:cubicBezTo>
                        <a:pt x="74" y="291"/>
                        <a:pt x="247" y="304"/>
                        <a:pt x="207" y="194"/>
                      </a:cubicBezTo>
                      <a:cubicBezTo>
                        <a:pt x="179" y="117"/>
                        <a:pt x="51" y="243"/>
                        <a:pt x="0" y="272"/>
                      </a:cubicBezTo>
                      <a:cubicBezTo>
                        <a:pt x="44" y="228"/>
                        <a:pt x="97" y="189"/>
                        <a:pt x="151" y="156"/>
                      </a:cubicBezTo>
                      <a:cubicBezTo>
                        <a:pt x="234" y="106"/>
                        <a:pt x="185" y="93"/>
                        <a:pt x="169" y="20"/>
                      </a:cubicBezTo>
                      <a:cubicBezTo>
                        <a:pt x="266" y="0"/>
                        <a:pt x="296" y="307"/>
                        <a:pt x="235" y="35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09" name="Freeform 106"/>
                <p:cNvSpPr>
                  <a:spLocks/>
                </p:cNvSpPr>
                <p:nvPr/>
              </p:nvSpPr>
              <p:spPr bwMode="gray">
                <a:xfrm>
                  <a:off x="-2224088" y="-12871450"/>
                  <a:ext cx="1916113" cy="985838"/>
                </a:xfrm>
                <a:custGeom>
                  <a:avLst/>
                  <a:gdLst/>
                  <a:ahLst/>
                  <a:cxnLst>
                    <a:cxn ang="0">
                      <a:pos x="45" y="8"/>
                    </a:cxn>
                    <a:cxn ang="0">
                      <a:pos x="249" y="97"/>
                    </a:cxn>
                    <a:cxn ang="0">
                      <a:pos x="511" y="195"/>
                    </a:cxn>
                    <a:cxn ang="0">
                      <a:pos x="394" y="176"/>
                    </a:cxn>
                    <a:cxn ang="0">
                      <a:pos x="252" y="117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511" h="263">
                      <a:moveTo>
                        <a:pt x="45" y="8"/>
                      </a:moveTo>
                      <a:cubicBezTo>
                        <a:pt x="120" y="0"/>
                        <a:pt x="186" y="70"/>
                        <a:pt x="249" y="97"/>
                      </a:cubicBezTo>
                      <a:cubicBezTo>
                        <a:pt x="327" y="130"/>
                        <a:pt x="427" y="177"/>
                        <a:pt x="511" y="195"/>
                      </a:cubicBezTo>
                      <a:cubicBezTo>
                        <a:pt x="494" y="263"/>
                        <a:pt x="420" y="190"/>
                        <a:pt x="394" y="176"/>
                      </a:cubicBezTo>
                      <a:cubicBezTo>
                        <a:pt x="349" y="152"/>
                        <a:pt x="299" y="136"/>
                        <a:pt x="252" y="117"/>
                      </a:cubicBezTo>
                      <a:cubicBezTo>
                        <a:pt x="166" y="82"/>
                        <a:pt x="61" y="69"/>
                        <a:pt x="0" y="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0" name="Freeform 107"/>
                <p:cNvSpPr>
                  <a:spLocks/>
                </p:cNvSpPr>
                <p:nvPr/>
              </p:nvSpPr>
              <p:spPr bwMode="gray">
                <a:xfrm>
                  <a:off x="-1689100" y="-16235362"/>
                  <a:ext cx="1609725" cy="784225"/>
                </a:xfrm>
                <a:custGeom>
                  <a:avLst/>
                  <a:gdLst/>
                  <a:ahLst/>
                  <a:cxnLst>
                    <a:cxn ang="0">
                      <a:pos x="51" y="147"/>
                    </a:cxn>
                    <a:cxn ang="0">
                      <a:pos x="46" y="209"/>
                    </a:cxn>
                    <a:cxn ang="0">
                      <a:pos x="103" y="160"/>
                    </a:cxn>
                    <a:cxn ang="0">
                      <a:pos x="178" y="177"/>
                    </a:cxn>
                    <a:cxn ang="0">
                      <a:pos x="220" y="172"/>
                    </a:cxn>
                    <a:cxn ang="0">
                      <a:pos x="254" y="161"/>
                    </a:cxn>
                    <a:cxn ang="0">
                      <a:pos x="309" y="192"/>
                    </a:cxn>
                    <a:cxn ang="0">
                      <a:pos x="309" y="122"/>
                    </a:cxn>
                    <a:cxn ang="0">
                      <a:pos x="394" y="23"/>
                    </a:cxn>
                    <a:cxn ang="0">
                      <a:pos x="262" y="71"/>
                    </a:cxn>
                    <a:cxn ang="0">
                      <a:pos x="106" y="63"/>
                    </a:cxn>
                    <a:cxn ang="0">
                      <a:pos x="14" y="54"/>
                    </a:cxn>
                    <a:cxn ang="0">
                      <a:pos x="47" y="109"/>
                    </a:cxn>
                  </a:cxnLst>
                  <a:rect l="0" t="0" r="r" b="b"/>
                  <a:pathLst>
                    <a:path w="429" h="209">
                      <a:moveTo>
                        <a:pt x="51" y="147"/>
                      </a:moveTo>
                      <a:cubicBezTo>
                        <a:pt x="51" y="168"/>
                        <a:pt x="52" y="189"/>
                        <a:pt x="46" y="209"/>
                      </a:cubicBezTo>
                      <a:cubicBezTo>
                        <a:pt x="56" y="199"/>
                        <a:pt x="91" y="163"/>
                        <a:pt x="103" y="160"/>
                      </a:cubicBezTo>
                      <a:cubicBezTo>
                        <a:pt x="123" y="156"/>
                        <a:pt x="152" y="177"/>
                        <a:pt x="178" y="177"/>
                      </a:cubicBezTo>
                      <a:cubicBezTo>
                        <a:pt x="193" y="177"/>
                        <a:pt x="206" y="175"/>
                        <a:pt x="220" y="172"/>
                      </a:cubicBezTo>
                      <a:cubicBezTo>
                        <a:pt x="224" y="172"/>
                        <a:pt x="260" y="161"/>
                        <a:pt x="254" y="161"/>
                      </a:cubicBezTo>
                      <a:cubicBezTo>
                        <a:pt x="281" y="162"/>
                        <a:pt x="280" y="184"/>
                        <a:pt x="309" y="192"/>
                      </a:cubicBezTo>
                      <a:cubicBezTo>
                        <a:pt x="308" y="169"/>
                        <a:pt x="308" y="145"/>
                        <a:pt x="309" y="122"/>
                      </a:cubicBezTo>
                      <a:cubicBezTo>
                        <a:pt x="341" y="127"/>
                        <a:pt x="429" y="56"/>
                        <a:pt x="394" y="23"/>
                      </a:cubicBezTo>
                      <a:cubicBezTo>
                        <a:pt x="369" y="0"/>
                        <a:pt x="289" y="64"/>
                        <a:pt x="262" y="71"/>
                      </a:cubicBezTo>
                      <a:cubicBezTo>
                        <a:pt x="212" y="84"/>
                        <a:pt x="153" y="86"/>
                        <a:pt x="106" y="63"/>
                      </a:cubicBezTo>
                      <a:cubicBezTo>
                        <a:pt x="86" y="53"/>
                        <a:pt x="32" y="18"/>
                        <a:pt x="14" y="54"/>
                      </a:cubicBezTo>
                      <a:cubicBezTo>
                        <a:pt x="0" y="81"/>
                        <a:pt x="33" y="99"/>
                        <a:pt x="47" y="10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1" name="Freeform 108"/>
                <p:cNvSpPr>
                  <a:spLocks/>
                </p:cNvSpPr>
                <p:nvPr/>
              </p:nvSpPr>
              <p:spPr bwMode="gray">
                <a:xfrm>
                  <a:off x="-1463675" y="-15713075"/>
                  <a:ext cx="768350" cy="2320925"/>
                </a:xfrm>
                <a:custGeom>
                  <a:avLst/>
                  <a:gdLst/>
                  <a:ahLst/>
                  <a:cxnLst>
                    <a:cxn ang="0">
                      <a:pos x="181" y="8"/>
                    </a:cxn>
                    <a:cxn ang="0">
                      <a:pos x="160" y="135"/>
                    </a:cxn>
                    <a:cxn ang="0">
                      <a:pos x="184" y="283"/>
                    </a:cxn>
                    <a:cxn ang="0">
                      <a:pos x="177" y="607"/>
                    </a:cxn>
                    <a:cxn ang="0">
                      <a:pos x="89" y="578"/>
                    </a:cxn>
                    <a:cxn ang="0">
                      <a:pos x="80" y="359"/>
                    </a:cxn>
                    <a:cxn ang="0">
                      <a:pos x="89" y="142"/>
                    </a:cxn>
                    <a:cxn ang="0">
                      <a:pos x="160" y="0"/>
                    </a:cxn>
                  </a:cxnLst>
                  <a:rect l="0" t="0" r="r" b="b"/>
                  <a:pathLst>
                    <a:path w="205" h="619">
                      <a:moveTo>
                        <a:pt x="181" y="8"/>
                      </a:moveTo>
                      <a:cubicBezTo>
                        <a:pt x="205" y="54"/>
                        <a:pt x="155" y="85"/>
                        <a:pt x="160" y="135"/>
                      </a:cubicBezTo>
                      <a:cubicBezTo>
                        <a:pt x="164" y="182"/>
                        <a:pt x="179" y="232"/>
                        <a:pt x="184" y="283"/>
                      </a:cubicBezTo>
                      <a:cubicBezTo>
                        <a:pt x="194" y="382"/>
                        <a:pt x="205" y="514"/>
                        <a:pt x="177" y="607"/>
                      </a:cubicBezTo>
                      <a:cubicBezTo>
                        <a:pt x="200" y="619"/>
                        <a:pt x="122" y="584"/>
                        <a:pt x="89" y="578"/>
                      </a:cubicBezTo>
                      <a:cubicBezTo>
                        <a:pt x="0" y="563"/>
                        <a:pt x="72" y="442"/>
                        <a:pt x="80" y="359"/>
                      </a:cubicBezTo>
                      <a:cubicBezTo>
                        <a:pt x="86" y="286"/>
                        <a:pt x="78" y="214"/>
                        <a:pt x="89" y="142"/>
                      </a:cubicBezTo>
                      <a:cubicBezTo>
                        <a:pt x="96" y="92"/>
                        <a:pt x="103" y="15"/>
                        <a:pt x="16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2" name="Freeform 109"/>
                <p:cNvSpPr>
                  <a:spLocks/>
                </p:cNvSpPr>
                <p:nvPr/>
              </p:nvSpPr>
              <p:spPr bwMode="gray">
                <a:xfrm>
                  <a:off x="-1673225" y="-12009437"/>
                  <a:ext cx="955675" cy="1216025"/>
                </a:xfrm>
                <a:custGeom>
                  <a:avLst/>
                  <a:gdLst/>
                  <a:ahLst/>
                  <a:cxnLst>
                    <a:cxn ang="0">
                      <a:pos x="26" y="291"/>
                    </a:cxn>
                    <a:cxn ang="0">
                      <a:pos x="22" y="324"/>
                    </a:cxn>
                    <a:cxn ang="0">
                      <a:pos x="203" y="218"/>
                    </a:cxn>
                    <a:cxn ang="0">
                      <a:pos x="241" y="118"/>
                    </a:cxn>
                    <a:cxn ang="0">
                      <a:pos x="249" y="1"/>
                    </a:cxn>
                    <a:cxn ang="0">
                      <a:pos x="119" y="151"/>
                    </a:cxn>
                    <a:cxn ang="0">
                      <a:pos x="0" y="308"/>
                    </a:cxn>
                  </a:cxnLst>
                  <a:rect l="0" t="0" r="r" b="b"/>
                  <a:pathLst>
                    <a:path w="255" h="324">
                      <a:moveTo>
                        <a:pt x="26" y="291"/>
                      </a:moveTo>
                      <a:cubicBezTo>
                        <a:pt x="22" y="301"/>
                        <a:pt x="23" y="314"/>
                        <a:pt x="22" y="324"/>
                      </a:cubicBezTo>
                      <a:cubicBezTo>
                        <a:pt x="74" y="321"/>
                        <a:pt x="165" y="255"/>
                        <a:pt x="203" y="218"/>
                      </a:cubicBezTo>
                      <a:cubicBezTo>
                        <a:pt x="237" y="187"/>
                        <a:pt x="239" y="163"/>
                        <a:pt x="241" y="118"/>
                      </a:cubicBezTo>
                      <a:cubicBezTo>
                        <a:pt x="243" y="81"/>
                        <a:pt x="255" y="36"/>
                        <a:pt x="249" y="1"/>
                      </a:cubicBezTo>
                      <a:cubicBezTo>
                        <a:pt x="195" y="0"/>
                        <a:pt x="144" y="111"/>
                        <a:pt x="119" y="151"/>
                      </a:cubicBezTo>
                      <a:cubicBezTo>
                        <a:pt x="83" y="207"/>
                        <a:pt x="30" y="254"/>
                        <a:pt x="0" y="30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3" name="Freeform 110"/>
                <p:cNvSpPr>
                  <a:spLocks/>
                </p:cNvSpPr>
                <p:nvPr/>
              </p:nvSpPr>
              <p:spPr bwMode="gray">
                <a:xfrm>
                  <a:off x="-593725" y="-14671675"/>
                  <a:ext cx="574675" cy="1274763"/>
                </a:xfrm>
                <a:custGeom>
                  <a:avLst/>
                  <a:gdLst/>
                  <a:ahLst/>
                  <a:cxnLst>
                    <a:cxn ang="0">
                      <a:pos x="101" y="300"/>
                    </a:cxn>
                    <a:cxn ang="0">
                      <a:pos x="152" y="103"/>
                    </a:cxn>
                    <a:cxn ang="0">
                      <a:pos x="59" y="250"/>
                    </a:cxn>
                    <a:cxn ang="0">
                      <a:pos x="84" y="0"/>
                    </a:cxn>
                    <a:cxn ang="0">
                      <a:pos x="5" y="332"/>
                    </a:cxn>
                    <a:cxn ang="0">
                      <a:pos x="93" y="334"/>
                    </a:cxn>
                  </a:cxnLst>
                  <a:rect l="0" t="0" r="r" b="b"/>
                  <a:pathLst>
                    <a:path w="153" h="340">
                      <a:moveTo>
                        <a:pt x="101" y="300"/>
                      </a:moveTo>
                      <a:cubicBezTo>
                        <a:pt x="98" y="233"/>
                        <a:pt x="153" y="169"/>
                        <a:pt x="152" y="103"/>
                      </a:cubicBezTo>
                      <a:cubicBezTo>
                        <a:pt x="119" y="151"/>
                        <a:pt x="76" y="194"/>
                        <a:pt x="59" y="250"/>
                      </a:cubicBezTo>
                      <a:cubicBezTo>
                        <a:pt x="59" y="196"/>
                        <a:pt x="68" y="55"/>
                        <a:pt x="84" y="0"/>
                      </a:cubicBezTo>
                      <a:cubicBezTo>
                        <a:pt x="43" y="50"/>
                        <a:pt x="0" y="290"/>
                        <a:pt x="5" y="332"/>
                      </a:cubicBezTo>
                      <a:cubicBezTo>
                        <a:pt x="52" y="340"/>
                        <a:pt x="44" y="336"/>
                        <a:pt x="93" y="334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4" name="Freeform 111"/>
                <p:cNvSpPr>
                  <a:spLocks/>
                </p:cNvSpPr>
                <p:nvPr/>
              </p:nvSpPr>
              <p:spPr bwMode="gray">
                <a:xfrm>
                  <a:off x="-1819275" y="-16100425"/>
                  <a:ext cx="1258888" cy="2697163"/>
                </a:xfrm>
                <a:custGeom>
                  <a:avLst/>
                  <a:gdLst/>
                  <a:ahLst/>
                  <a:cxnLst>
                    <a:cxn ang="0">
                      <a:pos x="173" y="120"/>
                    </a:cxn>
                    <a:cxn ang="0">
                      <a:pos x="146" y="37"/>
                    </a:cxn>
                    <a:cxn ang="0">
                      <a:pos x="287" y="110"/>
                    </a:cxn>
                    <a:cxn ang="0">
                      <a:pos x="246" y="222"/>
                    </a:cxn>
                    <a:cxn ang="0">
                      <a:pos x="263" y="351"/>
                    </a:cxn>
                    <a:cxn ang="0">
                      <a:pos x="269" y="650"/>
                    </a:cxn>
                    <a:cxn ang="0">
                      <a:pos x="207" y="701"/>
                    </a:cxn>
                    <a:cxn ang="0">
                      <a:pos x="89" y="672"/>
                    </a:cxn>
                    <a:cxn ang="0">
                      <a:pos x="5" y="660"/>
                    </a:cxn>
                    <a:cxn ang="0">
                      <a:pos x="44" y="362"/>
                    </a:cxn>
                    <a:cxn ang="0">
                      <a:pos x="173" y="120"/>
                    </a:cxn>
                  </a:cxnLst>
                  <a:rect l="0" t="0" r="r" b="b"/>
                  <a:pathLst>
                    <a:path w="336" h="719">
                      <a:moveTo>
                        <a:pt x="173" y="120"/>
                      </a:moveTo>
                      <a:cubicBezTo>
                        <a:pt x="153" y="99"/>
                        <a:pt x="142" y="70"/>
                        <a:pt x="146" y="37"/>
                      </a:cubicBezTo>
                      <a:cubicBezTo>
                        <a:pt x="218" y="0"/>
                        <a:pt x="336" y="3"/>
                        <a:pt x="287" y="110"/>
                      </a:cubicBezTo>
                      <a:cubicBezTo>
                        <a:pt x="268" y="154"/>
                        <a:pt x="242" y="168"/>
                        <a:pt x="246" y="222"/>
                      </a:cubicBezTo>
                      <a:cubicBezTo>
                        <a:pt x="249" y="265"/>
                        <a:pt x="263" y="304"/>
                        <a:pt x="263" y="351"/>
                      </a:cubicBezTo>
                      <a:cubicBezTo>
                        <a:pt x="263" y="452"/>
                        <a:pt x="269" y="550"/>
                        <a:pt x="269" y="650"/>
                      </a:cubicBezTo>
                      <a:cubicBezTo>
                        <a:pt x="269" y="716"/>
                        <a:pt x="265" y="719"/>
                        <a:pt x="207" y="701"/>
                      </a:cubicBezTo>
                      <a:cubicBezTo>
                        <a:pt x="168" y="688"/>
                        <a:pt x="130" y="681"/>
                        <a:pt x="89" y="672"/>
                      </a:cubicBezTo>
                      <a:cubicBezTo>
                        <a:pt x="61" y="666"/>
                        <a:pt x="34" y="663"/>
                        <a:pt x="5" y="660"/>
                      </a:cubicBezTo>
                      <a:cubicBezTo>
                        <a:pt x="0" y="563"/>
                        <a:pt x="10" y="449"/>
                        <a:pt x="44" y="362"/>
                      </a:cubicBezTo>
                      <a:cubicBezTo>
                        <a:pt x="72" y="289"/>
                        <a:pt x="189" y="204"/>
                        <a:pt x="173" y="12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5" name="Freeform 112"/>
                <p:cNvSpPr>
                  <a:spLocks/>
                </p:cNvSpPr>
                <p:nvPr/>
              </p:nvSpPr>
              <p:spPr bwMode="gray">
                <a:xfrm>
                  <a:off x="-2124075" y="-12166600"/>
                  <a:ext cx="1339850" cy="1365250"/>
                </a:xfrm>
                <a:custGeom>
                  <a:avLst/>
                  <a:gdLst/>
                  <a:ahLst/>
                  <a:cxnLst>
                    <a:cxn ang="0">
                      <a:pos x="66" y="53"/>
                    </a:cxn>
                    <a:cxn ang="0">
                      <a:pos x="28" y="270"/>
                    </a:cxn>
                    <a:cxn ang="0">
                      <a:pos x="121" y="364"/>
                    </a:cxn>
                    <a:cxn ang="0">
                      <a:pos x="323" y="227"/>
                    </a:cxn>
                    <a:cxn ang="0">
                      <a:pos x="343" y="0"/>
                    </a:cxn>
                    <a:cxn ang="0">
                      <a:pos x="66" y="53"/>
                    </a:cxn>
                  </a:cxnLst>
                  <a:rect l="0" t="0" r="r" b="b"/>
                  <a:pathLst>
                    <a:path w="357" h="364">
                      <a:moveTo>
                        <a:pt x="66" y="53"/>
                      </a:moveTo>
                      <a:cubicBezTo>
                        <a:pt x="73" y="113"/>
                        <a:pt x="0" y="234"/>
                        <a:pt x="28" y="270"/>
                      </a:cubicBezTo>
                      <a:cubicBezTo>
                        <a:pt x="56" y="307"/>
                        <a:pt x="103" y="349"/>
                        <a:pt x="121" y="364"/>
                      </a:cubicBezTo>
                      <a:cubicBezTo>
                        <a:pt x="121" y="364"/>
                        <a:pt x="302" y="256"/>
                        <a:pt x="323" y="227"/>
                      </a:cubicBezTo>
                      <a:cubicBezTo>
                        <a:pt x="357" y="182"/>
                        <a:pt x="346" y="58"/>
                        <a:pt x="343" y="0"/>
                      </a:cubicBezTo>
                      <a:cubicBezTo>
                        <a:pt x="241" y="17"/>
                        <a:pt x="183" y="36"/>
                        <a:pt x="66" y="53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6" name="Freeform 113"/>
                <p:cNvSpPr>
                  <a:spLocks/>
                </p:cNvSpPr>
                <p:nvPr/>
              </p:nvSpPr>
              <p:spPr bwMode="gray">
                <a:xfrm>
                  <a:off x="-1755775" y="-16681450"/>
                  <a:ext cx="633413" cy="1219200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95" y="84"/>
                    </a:cxn>
                    <a:cxn ang="0">
                      <a:pos x="167" y="164"/>
                    </a:cxn>
                    <a:cxn ang="0">
                      <a:pos x="42" y="325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69" h="325">
                      <a:moveTo>
                        <a:pt x="62" y="0"/>
                      </a:moveTo>
                      <a:cubicBezTo>
                        <a:pt x="66" y="35"/>
                        <a:pt x="73" y="58"/>
                        <a:pt x="95" y="84"/>
                      </a:cubicBezTo>
                      <a:cubicBezTo>
                        <a:pt x="105" y="97"/>
                        <a:pt x="169" y="155"/>
                        <a:pt x="167" y="164"/>
                      </a:cubicBezTo>
                      <a:cubicBezTo>
                        <a:pt x="161" y="183"/>
                        <a:pt x="63" y="289"/>
                        <a:pt x="42" y="325"/>
                      </a:cubicBezTo>
                      <a:cubicBezTo>
                        <a:pt x="0" y="295"/>
                        <a:pt x="10" y="21"/>
                        <a:pt x="62" y="0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7" name="Freeform 114"/>
                <p:cNvSpPr>
                  <a:spLocks/>
                </p:cNvSpPr>
                <p:nvPr/>
              </p:nvSpPr>
              <p:spPr bwMode="gray">
                <a:xfrm>
                  <a:off x="-1020763" y="-16843375"/>
                  <a:ext cx="1027113" cy="1193800"/>
                </a:xfrm>
                <a:custGeom>
                  <a:avLst/>
                  <a:gdLst/>
                  <a:ahLst/>
                  <a:cxnLst>
                    <a:cxn ang="0">
                      <a:pos x="0" y="206"/>
                    </a:cxn>
                    <a:cxn ang="0">
                      <a:pos x="152" y="318"/>
                    </a:cxn>
                    <a:cxn ang="0">
                      <a:pos x="246" y="132"/>
                    </a:cxn>
                    <a:cxn ang="0">
                      <a:pos x="206" y="0"/>
                    </a:cxn>
                    <a:cxn ang="0">
                      <a:pos x="0" y="206"/>
                    </a:cxn>
                  </a:cxnLst>
                  <a:rect l="0" t="0" r="r" b="b"/>
                  <a:pathLst>
                    <a:path w="274" h="318">
                      <a:moveTo>
                        <a:pt x="0" y="206"/>
                      </a:moveTo>
                      <a:cubicBezTo>
                        <a:pt x="43" y="235"/>
                        <a:pt x="108" y="288"/>
                        <a:pt x="152" y="318"/>
                      </a:cubicBezTo>
                      <a:cubicBezTo>
                        <a:pt x="181" y="255"/>
                        <a:pt x="222" y="196"/>
                        <a:pt x="246" y="132"/>
                      </a:cubicBezTo>
                      <a:cubicBezTo>
                        <a:pt x="273" y="61"/>
                        <a:pt x="274" y="51"/>
                        <a:pt x="206" y="0"/>
                      </a:cubicBezTo>
                      <a:cubicBezTo>
                        <a:pt x="166" y="79"/>
                        <a:pt x="89" y="176"/>
                        <a:pt x="0" y="206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8" name="Freeform 115"/>
                <p:cNvSpPr>
                  <a:spLocks/>
                </p:cNvSpPr>
                <p:nvPr/>
              </p:nvSpPr>
              <p:spPr bwMode="gray">
                <a:xfrm>
                  <a:off x="-2689225" y="-14930437"/>
                  <a:ext cx="322263" cy="1849438"/>
                </a:xfrm>
                <a:custGeom>
                  <a:avLst/>
                  <a:gdLst/>
                  <a:ahLst/>
                  <a:cxnLst>
                    <a:cxn ang="0">
                      <a:pos x="84" y="355"/>
                    </a:cxn>
                    <a:cxn ang="0">
                      <a:pos x="62" y="283"/>
                    </a:cxn>
                    <a:cxn ang="0">
                      <a:pos x="56" y="186"/>
                    </a:cxn>
                    <a:cxn ang="0">
                      <a:pos x="39" y="0"/>
                    </a:cxn>
                    <a:cxn ang="0">
                      <a:pos x="28" y="298"/>
                    </a:cxn>
                    <a:cxn ang="0">
                      <a:pos x="22" y="446"/>
                    </a:cxn>
                    <a:cxn ang="0">
                      <a:pos x="79" y="349"/>
                    </a:cxn>
                  </a:cxnLst>
                  <a:rect l="0" t="0" r="r" b="b"/>
                  <a:pathLst>
                    <a:path w="86" h="493">
                      <a:moveTo>
                        <a:pt x="84" y="355"/>
                      </a:moveTo>
                      <a:cubicBezTo>
                        <a:pt x="86" y="322"/>
                        <a:pt x="68" y="310"/>
                        <a:pt x="62" y="283"/>
                      </a:cubicBezTo>
                      <a:cubicBezTo>
                        <a:pt x="57" y="259"/>
                        <a:pt x="58" y="217"/>
                        <a:pt x="56" y="186"/>
                      </a:cubicBezTo>
                      <a:cubicBezTo>
                        <a:pt x="54" y="132"/>
                        <a:pt x="72" y="37"/>
                        <a:pt x="39" y="0"/>
                      </a:cubicBezTo>
                      <a:cubicBezTo>
                        <a:pt x="6" y="91"/>
                        <a:pt x="23" y="203"/>
                        <a:pt x="28" y="298"/>
                      </a:cubicBezTo>
                      <a:cubicBezTo>
                        <a:pt x="30" y="331"/>
                        <a:pt x="0" y="422"/>
                        <a:pt x="22" y="446"/>
                      </a:cubicBezTo>
                      <a:cubicBezTo>
                        <a:pt x="64" y="493"/>
                        <a:pt x="83" y="381"/>
                        <a:pt x="79" y="34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19" name="Freeform 116"/>
                <p:cNvSpPr>
                  <a:spLocks/>
                </p:cNvSpPr>
                <p:nvPr/>
              </p:nvSpPr>
              <p:spPr bwMode="gray">
                <a:xfrm>
                  <a:off x="55563" y="-15409862"/>
                  <a:ext cx="742950" cy="1765300"/>
                </a:xfrm>
                <a:custGeom>
                  <a:avLst/>
                  <a:gdLst/>
                  <a:ahLst/>
                  <a:cxnLst>
                    <a:cxn ang="0">
                      <a:pos x="51" y="415"/>
                    </a:cxn>
                    <a:cxn ang="0">
                      <a:pos x="101" y="195"/>
                    </a:cxn>
                    <a:cxn ang="0">
                      <a:pos x="198" y="0"/>
                    </a:cxn>
                    <a:cxn ang="0">
                      <a:pos x="84" y="201"/>
                    </a:cxn>
                    <a:cxn ang="0">
                      <a:pos x="12" y="420"/>
                    </a:cxn>
                    <a:cxn ang="0">
                      <a:pos x="73" y="426"/>
                    </a:cxn>
                  </a:cxnLst>
                  <a:rect l="0" t="0" r="r" b="b"/>
                  <a:pathLst>
                    <a:path w="198" h="471">
                      <a:moveTo>
                        <a:pt x="51" y="415"/>
                      </a:moveTo>
                      <a:cubicBezTo>
                        <a:pt x="95" y="346"/>
                        <a:pt x="66" y="265"/>
                        <a:pt x="101" y="195"/>
                      </a:cubicBezTo>
                      <a:cubicBezTo>
                        <a:pt x="135" y="128"/>
                        <a:pt x="176" y="73"/>
                        <a:pt x="198" y="0"/>
                      </a:cubicBezTo>
                      <a:cubicBezTo>
                        <a:pt x="139" y="59"/>
                        <a:pt x="110" y="125"/>
                        <a:pt x="84" y="201"/>
                      </a:cubicBezTo>
                      <a:cubicBezTo>
                        <a:pt x="64" y="262"/>
                        <a:pt x="0" y="357"/>
                        <a:pt x="12" y="420"/>
                      </a:cubicBezTo>
                      <a:cubicBezTo>
                        <a:pt x="34" y="430"/>
                        <a:pt x="65" y="471"/>
                        <a:pt x="73" y="426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0" name="Freeform 117"/>
                <p:cNvSpPr>
                  <a:spLocks/>
                </p:cNvSpPr>
                <p:nvPr/>
              </p:nvSpPr>
              <p:spPr bwMode="gray">
                <a:xfrm>
                  <a:off x="-2835275" y="-13689012"/>
                  <a:ext cx="922338" cy="858838"/>
                </a:xfrm>
                <a:custGeom>
                  <a:avLst/>
                  <a:gdLst/>
                  <a:ahLst/>
                  <a:cxnLst>
                    <a:cxn ang="0">
                      <a:pos x="191" y="226"/>
                    </a:cxn>
                    <a:cxn ang="0">
                      <a:pos x="246" y="45"/>
                    </a:cxn>
                    <a:cxn ang="0">
                      <a:pos x="94" y="51"/>
                    </a:cxn>
                    <a:cxn ang="0">
                      <a:pos x="55" y="135"/>
                    </a:cxn>
                    <a:cxn ang="0">
                      <a:pos x="60" y="211"/>
                    </a:cxn>
                    <a:cxn ang="0">
                      <a:pos x="197" y="221"/>
                    </a:cxn>
                  </a:cxnLst>
                  <a:rect l="0" t="0" r="r" b="b"/>
                  <a:pathLst>
                    <a:path w="246" h="229">
                      <a:moveTo>
                        <a:pt x="191" y="226"/>
                      </a:moveTo>
                      <a:cubicBezTo>
                        <a:pt x="186" y="181"/>
                        <a:pt x="206" y="61"/>
                        <a:pt x="246" y="45"/>
                      </a:cubicBezTo>
                      <a:cubicBezTo>
                        <a:pt x="243" y="3"/>
                        <a:pt x="105" y="0"/>
                        <a:pt x="94" y="51"/>
                      </a:cubicBezTo>
                      <a:cubicBezTo>
                        <a:pt x="29" y="52"/>
                        <a:pt x="54" y="92"/>
                        <a:pt x="55" y="135"/>
                      </a:cubicBezTo>
                      <a:cubicBezTo>
                        <a:pt x="0" y="149"/>
                        <a:pt x="26" y="194"/>
                        <a:pt x="60" y="211"/>
                      </a:cubicBezTo>
                      <a:cubicBezTo>
                        <a:pt x="97" y="229"/>
                        <a:pt x="153" y="221"/>
                        <a:pt x="197" y="22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1" name="Freeform 118"/>
                <p:cNvSpPr>
                  <a:spLocks/>
                </p:cNvSpPr>
                <p:nvPr/>
              </p:nvSpPr>
              <p:spPr bwMode="gray">
                <a:xfrm>
                  <a:off x="-387350" y="-13857287"/>
                  <a:ext cx="649288" cy="449263"/>
                </a:xfrm>
                <a:custGeom>
                  <a:avLst/>
                  <a:gdLst/>
                  <a:ahLst/>
                  <a:cxnLst>
                    <a:cxn ang="0">
                      <a:pos x="17" y="119"/>
                    </a:cxn>
                    <a:cxn ang="0">
                      <a:pos x="173" y="102"/>
                    </a:cxn>
                    <a:cxn ang="0">
                      <a:pos x="162" y="7"/>
                    </a:cxn>
                    <a:cxn ang="0">
                      <a:pos x="74" y="36"/>
                    </a:cxn>
                    <a:cxn ang="0">
                      <a:pos x="0" y="114"/>
                    </a:cxn>
                  </a:cxnLst>
                  <a:rect l="0" t="0" r="r" b="b"/>
                  <a:pathLst>
                    <a:path w="173" h="120">
                      <a:moveTo>
                        <a:pt x="17" y="119"/>
                      </a:moveTo>
                      <a:cubicBezTo>
                        <a:pt x="67" y="120"/>
                        <a:pt x="119" y="104"/>
                        <a:pt x="173" y="102"/>
                      </a:cubicBezTo>
                      <a:cubicBezTo>
                        <a:pt x="170" y="72"/>
                        <a:pt x="171" y="37"/>
                        <a:pt x="162" y="7"/>
                      </a:cubicBezTo>
                      <a:cubicBezTo>
                        <a:pt x="108" y="3"/>
                        <a:pt x="110" y="0"/>
                        <a:pt x="74" y="36"/>
                      </a:cubicBezTo>
                      <a:cubicBezTo>
                        <a:pt x="53" y="57"/>
                        <a:pt x="19" y="88"/>
                        <a:pt x="0" y="11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2" name="Freeform 119"/>
                <p:cNvSpPr>
                  <a:spLocks/>
                </p:cNvSpPr>
                <p:nvPr/>
              </p:nvSpPr>
              <p:spPr bwMode="gray">
                <a:xfrm>
                  <a:off x="-2798763" y="-13155612"/>
                  <a:ext cx="742950" cy="355600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95" y="65"/>
                    </a:cxn>
                    <a:cxn ang="0">
                      <a:pos x="162" y="65"/>
                    </a:cxn>
                    <a:cxn ang="0">
                      <a:pos x="183" y="26"/>
                    </a:cxn>
                    <a:cxn ang="0">
                      <a:pos x="177" y="86"/>
                    </a:cxn>
                    <a:cxn ang="0">
                      <a:pos x="32" y="59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198" h="95">
                      <a:moveTo>
                        <a:pt x="27" y="0"/>
                      </a:moveTo>
                      <a:cubicBezTo>
                        <a:pt x="14" y="38"/>
                        <a:pt x="64" y="59"/>
                        <a:pt x="95" y="65"/>
                      </a:cubicBezTo>
                      <a:cubicBezTo>
                        <a:pt x="111" y="67"/>
                        <a:pt x="147" y="70"/>
                        <a:pt x="162" y="65"/>
                      </a:cubicBezTo>
                      <a:cubicBezTo>
                        <a:pt x="179" y="58"/>
                        <a:pt x="180" y="41"/>
                        <a:pt x="183" y="26"/>
                      </a:cubicBezTo>
                      <a:cubicBezTo>
                        <a:pt x="185" y="52"/>
                        <a:pt x="198" y="77"/>
                        <a:pt x="177" y="86"/>
                      </a:cubicBezTo>
                      <a:cubicBezTo>
                        <a:pt x="157" y="95"/>
                        <a:pt x="55" y="79"/>
                        <a:pt x="32" y="59"/>
                      </a:cubicBezTo>
                      <a:cubicBezTo>
                        <a:pt x="18" y="45"/>
                        <a:pt x="0" y="16"/>
                        <a:pt x="27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3" name="Freeform 120"/>
                <p:cNvSpPr>
                  <a:spLocks/>
                </p:cNvSpPr>
                <p:nvPr/>
              </p:nvSpPr>
              <p:spPr bwMode="gray">
                <a:xfrm>
                  <a:off x="-304800" y="-13796962"/>
                  <a:ext cx="581025" cy="446088"/>
                </a:xfrm>
                <a:custGeom>
                  <a:avLst/>
                  <a:gdLst/>
                  <a:ahLst/>
                  <a:cxnLst>
                    <a:cxn ang="0">
                      <a:pos x="134" y="0"/>
                    </a:cxn>
                    <a:cxn ang="0">
                      <a:pos x="97" y="79"/>
                    </a:cxn>
                    <a:cxn ang="0">
                      <a:pos x="0" y="106"/>
                    </a:cxn>
                    <a:cxn ang="0">
                      <a:pos x="66" y="107"/>
                    </a:cxn>
                    <a:cxn ang="0">
                      <a:pos x="125" y="95"/>
                    </a:cxn>
                    <a:cxn ang="0">
                      <a:pos x="151" y="56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155" h="119">
                      <a:moveTo>
                        <a:pt x="134" y="0"/>
                      </a:moveTo>
                      <a:cubicBezTo>
                        <a:pt x="134" y="41"/>
                        <a:pt x="139" y="64"/>
                        <a:pt x="97" y="79"/>
                      </a:cubicBezTo>
                      <a:cubicBezTo>
                        <a:pt x="68" y="88"/>
                        <a:pt x="23" y="82"/>
                        <a:pt x="0" y="106"/>
                      </a:cubicBezTo>
                      <a:cubicBezTo>
                        <a:pt x="16" y="119"/>
                        <a:pt x="48" y="113"/>
                        <a:pt x="66" y="107"/>
                      </a:cubicBezTo>
                      <a:cubicBezTo>
                        <a:pt x="88" y="101"/>
                        <a:pt x="102" y="99"/>
                        <a:pt x="125" y="95"/>
                      </a:cubicBezTo>
                      <a:cubicBezTo>
                        <a:pt x="155" y="91"/>
                        <a:pt x="154" y="85"/>
                        <a:pt x="151" y="56"/>
                      </a:cubicBezTo>
                      <a:cubicBezTo>
                        <a:pt x="149" y="37"/>
                        <a:pt x="149" y="13"/>
                        <a:pt x="139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4" name="Freeform 121"/>
                <p:cNvSpPr>
                  <a:spLocks/>
                </p:cNvSpPr>
                <p:nvPr/>
              </p:nvSpPr>
              <p:spPr bwMode="gray">
                <a:xfrm>
                  <a:off x="-1882775" y="-12166600"/>
                  <a:ext cx="1046163" cy="322263"/>
                </a:xfrm>
                <a:custGeom>
                  <a:avLst/>
                  <a:gdLst/>
                  <a:ahLst/>
                  <a:cxnLst>
                    <a:cxn ang="0">
                      <a:pos x="3" y="53"/>
                    </a:cxn>
                    <a:cxn ang="0">
                      <a:pos x="0" y="84"/>
                    </a:cxn>
                    <a:cxn ang="0">
                      <a:pos x="160" y="64"/>
                    </a:cxn>
                    <a:cxn ang="0">
                      <a:pos x="239" y="50"/>
                    </a:cxn>
                    <a:cxn ang="0">
                      <a:pos x="278" y="3"/>
                    </a:cxn>
                    <a:cxn ang="0">
                      <a:pos x="141" y="22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279" h="86">
                      <a:moveTo>
                        <a:pt x="3" y="53"/>
                      </a:moveTo>
                      <a:cubicBezTo>
                        <a:pt x="4" y="64"/>
                        <a:pt x="2" y="75"/>
                        <a:pt x="0" y="84"/>
                      </a:cubicBezTo>
                      <a:cubicBezTo>
                        <a:pt x="53" y="86"/>
                        <a:pt x="113" y="82"/>
                        <a:pt x="160" y="64"/>
                      </a:cubicBezTo>
                      <a:cubicBezTo>
                        <a:pt x="187" y="53"/>
                        <a:pt x="208" y="55"/>
                        <a:pt x="239" y="50"/>
                      </a:cubicBezTo>
                      <a:cubicBezTo>
                        <a:pt x="274" y="45"/>
                        <a:pt x="279" y="39"/>
                        <a:pt x="278" y="3"/>
                      </a:cubicBezTo>
                      <a:cubicBezTo>
                        <a:pt x="229" y="0"/>
                        <a:pt x="186" y="13"/>
                        <a:pt x="141" y="22"/>
                      </a:cubicBezTo>
                      <a:cubicBezTo>
                        <a:pt x="95" y="32"/>
                        <a:pt x="46" y="37"/>
                        <a:pt x="0" y="4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5" name="Freeform 122"/>
                <p:cNvSpPr>
                  <a:spLocks/>
                </p:cNvSpPr>
                <p:nvPr/>
              </p:nvSpPr>
              <p:spPr bwMode="gray">
                <a:xfrm>
                  <a:off x="-1695450" y="-7954962"/>
                  <a:ext cx="2128838" cy="3386138"/>
                </a:xfrm>
                <a:custGeom>
                  <a:avLst/>
                  <a:gdLst/>
                  <a:ahLst/>
                  <a:cxnLst>
                    <a:cxn ang="0">
                      <a:pos x="133" y="38"/>
                    </a:cxn>
                    <a:cxn ang="0">
                      <a:pos x="301" y="292"/>
                    </a:cxn>
                    <a:cxn ang="0">
                      <a:pos x="568" y="540"/>
                    </a:cxn>
                    <a:cxn ang="0">
                      <a:pos x="508" y="490"/>
                    </a:cxn>
                    <a:cxn ang="0">
                      <a:pos x="430" y="429"/>
                    </a:cxn>
                    <a:cxn ang="0">
                      <a:pos x="319" y="372"/>
                    </a:cxn>
                    <a:cxn ang="0">
                      <a:pos x="373" y="448"/>
                    </a:cxn>
                    <a:cxn ang="0">
                      <a:pos x="415" y="515"/>
                    </a:cxn>
                    <a:cxn ang="0">
                      <a:pos x="513" y="648"/>
                    </a:cxn>
                    <a:cxn ang="0">
                      <a:pos x="375" y="524"/>
                    </a:cxn>
                    <a:cxn ang="0">
                      <a:pos x="430" y="653"/>
                    </a:cxn>
                    <a:cxn ang="0">
                      <a:pos x="478" y="768"/>
                    </a:cxn>
                    <a:cxn ang="0">
                      <a:pos x="388" y="646"/>
                    </a:cxn>
                    <a:cxn ang="0">
                      <a:pos x="332" y="541"/>
                    </a:cxn>
                    <a:cxn ang="0">
                      <a:pos x="252" y="296"/>
                    </a:cxn>
                    <a:cxn ang="0">
                      <a:pos x="257" y="642"/>
                    </a:cxn>
                    <a:cxn ang="0">
                      <a:pos x="208" y="718"/>
                    </a:cxn>
                    <a:cxn ang="0">
                      <a:pos x="175" y="781"/>
                    </a:cxn>
                    <a:cxn ang="0">
                      <a:pos x="41" y="903"/>
                    </a:cxn>
                    <a:cxn ang="0">
                      <a:pos x="99" y="803"/>
                    </a:cxn>
                    <a:cxn ang="0">
                      <a:pos x="10" y="736"/>
                    </a:cxn>
                    <a:cxn ang="0">
                      <a:pos x="87" y="642"/>
                    </a:cxn>
                    <a:cxn ang="0">
                      <a:pos x="71" y="498"/>
                    </a:cxn>
                    <a:cxn ang="0">
                      <a:pos x="54" y="334"/>
                    </a:cxn>
                    <a:cxn ang="0">
                      <a:pos x="112" y="489"/>
                    </a:cxn>
                    <a:cxn ang="0">
                      <a:pos x="167" y="363"/>
                    </a:cxn>
                    <a:cxn ang="0">
                      <a:pos x="151" y="172"/>
                    </a:cxn>
                    <a:cxn ang="0">
                      <a:pos x="117" y="0"/>
                    </a:cxn>
                    <a:cxn ang="0">
                      <a:pos x="129" y="42"/>
                    </a:cxn>
                  </a:cxnLst>
                  <a:rect l="0" t="0" r="r" b="b"/>
                  <a:pathLst>
                    <a:path w="568" h="903">
                      <a:moveTo>
                        <a:pt x="133" y="38"/>
                      </a:moveTo>
                      <a:cubicBezTo>
                        <a:pt x="146" y="122"/>
                        <a:pt x="232" y="241"/>
                        <a:pt x="301" y="292"/>
                      </a:cubicBezTo>
                      <a:cubicBezTo>
                        <a:pt x="401" y="367"/>
                        <a:pt x="496" y="440"/>
                        <a:pt x="568" y="540"/>
                      </a:cubicBezTo>
                      <a:cubicBezTo>
                        <a:pt x="537" y="529"/>
                        <a:pt x="530" y="512"/>
                        <a:pt x="508" y="490"/>
                      </a:cubicBezTo>
                      <a:cubicBezTo>
                        <a:pt x="486" y="467"/>
                        <a:pt x="454" y="454"/>
                        <a:pt x="430" y="429"/>
                      </a:cubicBezTo>
                      <a:cubicBezTo>
                        <a:pt x="415" y="414"/>
                        <a:pt x="325" y="293"/>
                        <a:pt x="319" y="372"/>
                      </a:cubicBezTo>
                      <a:cubicBezTo>
                        <a:pt x="316" y="408"/>
                        <a:pt x="352" y="428"/>
                        <a:pt x="373" y="448"/>
                      </a:cubicBezTo>
                      <a:cubicBezTo>
                        <a:pt x="394" y="468"/>
                        <a:pt x="400" y="487"/>
                        <a:pt x="415" y="515"/>
                      </a:cubicBezTo>
                      <a:cubicBezTo>
                        <a:pt x="439" y="560"/>
                        <a:pt x="478" y="604"/>
                        <a:pt x="513" y="648"/>
                      </a:cubicBezTo>
                      <a:cubicBezTo>
                        <a:pt x="464" y="628"/>
                        <a:pt x="411" y="567"/>
                        <a:pt x="375" y="524"/>
                      </a:cubicBezTo>
                      <a:cubicBezTo>
                        <a:pt x="370" y="573"/>
                        <a:pt x="407" y="615"/>
                        <a:pt x="430" y="653"/>
                      </a:cubicBezTo>
                      <a:cubicBezTo>
                        <a:pt x="452" y="690"/>
                        <a:pt x="456" y="733"/>
                        <a:pt x="478" y="768"/>
                      </a:cubicBezTo>
                      <a:cubicBezTo>
                        <a:pt x="430" y="762"/>
                        <a:pt x="407" y="682"/>
                        <a:pt x="388" y="646"/>
                      </a:cubicBezTo>
                      <a:cubicBezTo>
                        <a:pt x="365" y="606"/>
                        <a:pt x="341" y="586"/>
                        <a:pt x="332" y="541"/>
                      </a:cubicBezTo>
                      <a:cubicBezTo>
                        <a:pt x="313" y="451"/>
                        <a:pt x="310" y="365"/>
                        <a:pt x="252" y="296"/>
                      </a:cubicBezTo>
                      <a:cubicBezTo>
                        <a:pt x="268" y="402"/>
                        <a:pt x="308" y="535"/>
                        <a:pt x="257" y="642"/>
                      </a:cubicBezTo>
                      <a:cubicBezTo>
                        <a:pt x="242" y="672"/>
                        <a:pt x="229" y="692"/>
                        <a:pt x="208" y="718"/>
                      </a:cubicBezTo>
                      <a:cubicBezTo>
                        <a:pt x="189" y="742"/>
                        <a:pt x="189" y="756"/>
                        <a:pt x="175" y="781"/>
                      </a:cubicBezTo>
                      <a:cubicBezTo>
                        <a:pt x="156" y="818"/>
                        <a:pt x="83" y="902"/>
                        <a:pt x="41" y="903"/>
                      </a:cubicBezTo>
                      <a:cubicBezTo>
                        <a:pt x="55" y="863"/>
                        <a:pt x="107" y="862"/>
                        <a:pt x="99" y="803"/>
                      </a:cubicBezTo>
                      <a:cubicBezTo>
                        <a:pt x="61" y="803"/>
                        <a:pt x="17" y="776"/>
                        <a:pt x="10" y="736"/>
                      </a:cubicBezTo>
                      <a:cubicBezTo>
                        <a:pt x="0" y="684"/>
                        <a:pt x="63" y="680"/>
                        <a:pt x="87" y="642"/>
                      </a:cubicBezTo>
                      <a:cubicBezTo>
                        <a:pt x="115" y="596"/>
                        <a:pt x="88" y="545"/>
                        <a:pt x="71" y="498"/>
                      </a:cubicBezTo>
                      <a:cubicBezTo>
                        <a:pt x="51" y="445"/>
                        <a:pt x="50" y="392"/>
                        <a:pt x="54" y="334"/>
                      </a:cubicBezTo>
                      <a:cubicBezTo>
                        <a:pt x="95" y="325"/>
                        <a:pt x="87" y="460"/>
                        <a:pt x="112" y="489"/>
                      </a:cubicBezTo>
                      <a:cubicBezTo>
                        <a:pt x="166" y="551"/>
                        <a:pt x="167" y="403"/>
                        <a:pt x="167" y="363"/>
                      </a:cubicBezTo>
                      <a:cubicBezTo>
                        <a:pt x="168" y="296"/>
                        <a:pt x="170" y="232"/>
                        <a:pt x="151" y="172"/>
                      </a:cubicBezTo>
                      <a:cubicBezTo>
                        <a:pt x="134" y="120"/>
                        <a:pt x="115" y="56"/>
                        <a:pt x="117" y="0"/>
                      </a:cubicBezTo>
                      <a:cubicBezTo>
                        <a:pt x="121" y="11"/>
                        <a:pt x="126" y="29"/>
                        <a:pt x="129" y="4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6" name="Freeform 123"/>
                <p:cNvSpPr>
                  <a:spLocks/>
                </p:cNvSpPr>
                <p:nvPr/>
              </p:nvSpPr>
              <p:spPr bwMode="gray">
                <a:xfrm>
                  <a:off x="-1717675" y="-1122362"/>
                  <a:ext cx="854075" cy="655638"/>
                </a:xfrm>
                <a:custGeom>
                  <a:avLst/>
                  <a:gdLst/>
                  <a:ahLst/>
                  <a:cxnLst>
                    <a:cxn ang="0">
                      <a:pos x="228" y="175"/>
                    </a:cxn>
                    <a:cxn ang="0">
                      <a:pos x="130" y="75"/>
                    </a:cxn>
                    <a:cxn ang="0">
                      <a:pos x="0" y="0"/>
                    </a:cxn>
                    <a:cxn ang="0">
                      <a:pos x="54" y="54"/>
                    </a:cxn>
                    <a:cxn ang="0">
                      <a:pos x="60" y="137"/>
                    </a:cxn>
                    <a:cxn ang="0">
                      <a:pos x="152" y="137"/>
                    </a:cxn>
                    <a:cxn ang="0">
                      <a:pos x="228" y="167"/>
                    </a:cxn>
                  </a:cxnLst>
                  <a:rect l="0" t="0" r="r" b="b"/>
                  <a:pathLst>
                    <a:path w="228" h="175">
                      <a:moveTo>
                        <a:pt x="228" y="175"/>
                      </a:moveTo>
                      <a:cubicBezTo>
                        <a:pt x="209" y="136"/>
                        <a:pt x="165" y="105"/>
                        <a:pt x="130" y="75"/>
                      </a:cubicBezTo>
                      <a:cubicBezTo>
                        <a:pt x="90" y="42"/>
                        <a:pt x="34" y="30"/>
                        <a:pt x="0" y="0"/>
                      </a:cubicBezTo>
                      <a:cubicBezTo>
                        <a:pt x="4" y="32"/>
                        <a:pt x="37" y="32"/>
                        <a:pt x="54" y="54"/>
                      </a:cubicBezTo>
                      <a:cubicBezTo>
                        <a:pt x="72" y="77"/>
                        <a:pt x="70" y="113"/>
                        <a:pt x="60" y="137"/>
                      </a:cubicBezTo>
                      <a:cubicBezTo>
                        <a:pt x="90" y="149"/>
                        <a:pt x="120" y="134"/>
                        <a:pt x="152" y="137"/>
                      </a:cubicBezTo>
                      <a:cubicBezTo>
                        <a:pt x="180" y="141"/>
                        <a:pt x="203" y="157"/>
                        <a:pt x="228" y="167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7" name="Freeform 124"/>
                <p:cNvSpPr>
                  <a:spLocks/>
                </p:cNvSpPr>
                <p:nvPr/>
              </p:nvSpPr>
              <p:spPr bwMode="gray">
                <a:xfrm>
                  <a:off x="-87313" y="-639762"/>
                  <a:ext cx="1308100" cy="571500"/>
                </a:xfrm>
                <a:custGeom>
                  <a:avLst/>
                  <a:gdLst/>
                  <a:ahLst/>
                  <a:cxnLst>
                    <a:cxn ang="0">
                      <a:pos x="42" y="122"/>
                    </a:cxn>
                    <a:cxn ang="0">
                      <a:pos x="232" y="0"/>
                    </a:cxn>
                    <a:cxn ang="0">
                      <a:pos x="324" y="43"/>
                    </a:cxn>
                    <a:cxn ang="0">
                      <a:pos x="309" y="147"/>
                    </a:cxn>
                    <a:cxn ang="0">
                      <a:pos x="271" y="66"/>
                    </a:cxn>
                    <a:cxn ang="0">
                      <a:pos x="186" y="56"/>
                    </a:cxn>
                    <a:cxn ang="0">
                      <a:pos x="93" y="89"/>
                    </a:cxn>
                    <a:cxn ang="0">
                      <a:pos x="0" y="152"/>
                    </a:cxn>
                  </a:cxnLst>
                  <a:rect l="0" t="0" r="r" b="b"/>
                  <a:pathLst>
                    <a:path w="349" h="152">
                      <a:moveTo>
                        <a:pt x="42" y="122"/>
                      </a:moveTo>
                      <a:cubicBezTo>
                        <a:pt x="99" y="79"/>
                        <a:pt x="159" y="0"/>
                        <a:pt x="232" y="0"/>
                      </a:cubicBezTo>
                      <a:cubicBezTo>
                        <a:pt x="263" y="0"/>
                        <a:pt x="304" y="17"/>
                        <a:pt x="324" y="43"/>
                      </a:cubicBezTo>
                      <a:cubicBezTo>
                        <a:pt x="344" y="70"/>
                        <a:pt x="349" y="138"/>
                        <a:pt x="309" y="147"/>
                      </a:cubicBezTo>
                      <a:cubicBezTo>
                        <a:pt x="303" y="117"/>
                        <a:pt x="295" y="86"/>
                        <a:pt x="271" y="66"/>
                      </a:cubicBezTo>
                      <a:cubicBezTo>
                        <a:pt x="239" y="41"/>
                        <a:pt x="220" y="47"/>
                        <a:pt x="186" y="56"/>
                      </a:cubicBezTo>
                      <a:cubicBezTo>
                        <a:pt x="152" y="65"/>
                        <a:pt x="122" y="71"/>
                        <a:pt x="93" y="89"/>
                      </a:cubicBezTo>
                      <a:cubicBezTo>
                        <a:pt x="62" y="107"/>
                        <a:pt x="34" y="141"/>
                        <a:pt x="0" y="15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8" name="Freeform 125"/>
                <p:cNvSpPr>
                  <a:spLocks/>
                </p:cNvSpPr>
                <p:nvPr/>
              </p:nvSpPr>
              <p:spPr bwMode="gray">
                <a:xfrm>
                  <a:off x="-2501900" y="-6432550"/>
                  <a:ext cx="2092325" cy="4953000"/>
                </a:xfrm>
                <a:custGeom>
                  <a:avLst/>
                  <a:gdLst/>
                  <a:ahLst/>
                  <a:cxnLst>
                    <a:cxn ang="0">
                      <a:pos x="542" y="1169"/>
                    </a:cxn>
                    <a:cxn ang="0">
                      <a:pos x="541" y="1266"/>
                    </a:cxn>
                    <a:cxn ang="0">
                      <a:pos x="455" y="1312"/>
                    </a:cxn>
                    <a:cxn ang="0">
                      <a:pos x="398" y="1245"/>
                    </a:cxn>
                    <a:cxn ang="0">
                      <a:pos x="336" y="1160"/>
                    </a:cxn>
                    <a:cxn ang="0">
                      <a:pos x="233" y="990"/>
                    </a:cxn>
                    <a:cxn ang="0">
                      <a:pos x="155" y="793"/>
                    </a:cxn>
                    <a:cxn ang="0">
                      <a:pos x="27" y="404"/>
                    </a:cxn>
                    <a:cxn ang="0">
                      <a:pos x="23" y="185"/>
                    </a:cxn>
                    <a:cxn ang="0">
                      <a:pos x="6" y="0"/>
                    </a:cxn>
                    <a:cxn ang="0">
                      <a:pos x="10" y="170"/>
                    </a:cxn>
                    <a:cxn ang="0">
                      <a:pos x="44" y="346"/>
                    </a:cxn>
                    <a:cxn ang="0">
                      <a:pos x="106" y="591"/>
                    </a:cxn>
                    <a:cxn ang="0">
                      <a:pos x="276" y="1025"/>
                    </a:cxn>
                    <a:cxn ang="0">
                      <a:pos x="386" y="1213"/>
                    </a:cxn>
                    <a:cxn ang="0">
                      <a:pos x="482" y="1240"/>
                    </a:cxn>
                    <a:cxn ang="0">
                      <a:pos x="530" y="1148"/>
                    </a:cxn>
                  </a:cxnLst>
                  <a:rect l="0" t="0" r="r" b="b"/>
                  <a:pathLst>
                    <a:path w="558" h="1321">
                      <a:moveTo>
                        <a:pt x="542" y="1169"/>
                      </a:moveTo>
                      <a:cubicBezTo>
                        <a:pt x="558" y="1191"/>
                        <a:pt x="555" y="1242"/>
                        <a:pt x="541" y="1266"/>
                      </a:cubicBezTo>
                      <a:cubicBezTo>
                        <a:pt x="530" y="1287"/>
                        <a:pt x="479" y="1321"/>
                        <a:pt x="455" y="1312"/>
                      </a:cubicBezTo>
                      <a:cubicBezTo>
                        <a:pt x="444" y="1308"/>
                        <a:pt x="405" y="1254"/>
                        <a:pt x="398" y="1245"/>
                      </a:cubicBezTo>
                      <a:cubicBezTo>
                        <a:pt x="377" y="1220"/>
                        <a:pt x="353" y="1189"/>
                        <a:pt x="336" y="1160"/>
                      </a:cubicBezTo>
                      <a:cubicBezTo>
                        <a:pt x="303" y="1104"/>
                        <a:pt x="260" y="1050"/>
                        <a:pt x="233" y="990"/>
                      </a:cubicBezTo>
                      <a:cubicBezTo>
                        <a:pt x="205" y="927"/>
                        <a:pt x="177" y="855"/>
                        <a:pt x="155" y="793"/>
                      </a:cubicBezTo>
                      <a:cubicBezTo>
                        <a:pt x="111" y="667"/>
                        <a:pt x="41" y="541"/>
                        <a:pt x="27" y="404"/>
                      </a:cubicBezTo>
                      <a:cubicBezTo>
                        <a:pt x="20" y="326"/>
                        <a:pt x="43" y="261"/>
                        <a:pt x="23" y="185"/>
                      </a:cubicBezTo>
                      <a:cubicBezTo>
                        <a:pt x="6" y="123"/>
                        <a:pt x="0" y="66"/>
                        <a:pt x="6" y="0"/>
                      </a:cubicBezTo>
                      <a:cubicBezTo>
                        <a:pt x="6" y="58"/>
                        <a:pt x="11" y="114"/>
                        <a:pt x="10" y="170"/>
                      </a:cubicBezTo>
                      <a:cubicBezTo>
                        <a:pt x="10" y="236"/>
                        <a:pt x="29" y="286"/>
                        <a:pt x="44" y="346"/>
                      </a:cubicBezTo>
                      <a:cubicBezTo>
                        <a:pt x="65" y="427"/>
                        <a:pt x="79" y="511"/>
                        <a:pt x="106" y="591"/>
                      </a:cubicBezTo>
                      <a:cubicBezTo>
                        <a:pt x="157" y="739"/>
                        <a:pt x="225" y="885"/>
                        <a:pt x="276" y="1025"/>
                      </a:cubicBezTo>
                      <a:cubicBezTo>
                        <a:pt x="306" y="1106"/>
                        <a:pt x="317" y="1165"/>
                        <a:pt x="386" y="1213"/>
                      </a:cubicBezTo>
                      <a:cubicBezTo>
                        <a:pt x="412" y="1230"/>
                        <a:pt x="449" y="1254"/>
                        <a:pt x="482" y="1240"/>
                      </a:cubicBezTo>
                      <a:cubicBezTo>
                        <a:pt x="523" y="1224"/>
                        <a:pt x="518" y="1182"/>
                        <a:pt x="530" y="1148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29" name="Freeform 126"/>
                <p:cNvSpPr>
                  <a:spLocks/>
                </p:cNvSpPr>
                <p:nvPr/>
              </p:nvSpPr>
              <p:spPr bwMode="gray">
                <a:xfrm>
                  <a:off x="-1466850" y="-1479550"/>
                  <a:ext cx="854075" cy="693738"/>
                </a:xfrm>
                <a:custGeom>
                  <a:avLst/>
                  <a:gdLst/>
                  <a:ahLst/>
                  <a:cxnLst>
                    <a:cxn ang="0">
                      <a:pos x="13" y="30"/>
                    </a:cxn>
                    <a:cxn ang="0">
                      <a:pos x="228" y="18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8" h="185">
                      <a:moveTo>
                        <a:pt x="13" y="30"/>
                      </a:moveTo>
                      <a:cubicBezTo>
                        <a:pt x="80" y="65"/>
                        <a:pt x="145" y="185"/>
                        <a:pt x="228" y="181"/>
                      </a:cubicBezTo>
                      <a:cubicBezTo>
                        <a:pt x="216" y="68"/>
                        <a:pt x="79" y="39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0" name="Freeform 127"/>
                <p:cNvSpPr>
                  <a:spLocks/>
                </p:cNvSpPr>
                <p:nvPr/>
              </p:nvSpPr>
              <p:spPr bwMode="gray">
                <a:xfrm>
                  <a:off x="-1069975" y="-7924800"/>
                  <a:ext cx="1316038" cy="647700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156" y="77"/>
                    </a:cxn>
                    <a:cxn ang="0">
                      <a:pos x="351" y="12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51" h="173">
                      <a:moveTo>
                        <a:pt x="4" y="0"/>
                      </a:moveTo>
                      <a:cubicBezTo>
                        <a:pt x="61" y="17"/>
                        <a:pt x="98" y="62"/>
                        <a:pt x="156" y="77"/>
                      </a:cubicBezTo>
                      <a:cubicBezTo>
                        <a:pt x="212" y="92"/>
                        <a:pt x="304" y="90"/>
                        <a:pt x="351" y="123"/>
                      </a:cubicBezTo>
                      <a:cubicBezTo>
                        <a:pt x="231" y="173"/>
                        <a:pt x="90" y="60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1" name="Freeform 128"/>
                <p:cNvSpPr>
                  <a:spLocks/>
                </p:cNvSpPr>
                <p:nvPr/>
              </p:nvSpPr>
              <p:spPr bwMode="gray">
                <a:xfrm>
                  <a:off x="22225" y="-1809750"/>
                  <a:ext cx="441325" cy="627063"/>
                </a:xfrm>
                <a:custGeom>
                  <a:avLst/>
                  <a:gdLst/>
                  <a:ahLst/>
                  <a:cxnLst>
                    <a:cxn ang="0">
                      <a:pos x="5" y="71"/>
                    </a:cxn>
                    <a:cxn ang="0">
                      <a:pos x="97" y="4"/>
                    </a:cxn>
                    <a:cxn ang="0">
                      <a:pos x="25" y="167"/>
                    </a:cxn>
                    <a:cxn ang="0">
                      <a:pos x="46" y="64"/>
                    </a:cxn>
                    <a:cxn ang="0">
                      <a:pos x="0" y="80"/>
                    </a:cxn>
                  </a:cxnLst>
                  <a:rect l="0" t="0" r="r" b="b"/>
                  <a:pathLst>
                    <a:path w="118" h="167">
                      <a:moveTo>
                        <a:pt x="5" y="71"/>
                      </a:moveTo>
                      <a:cubicBezTo>
                        <a:pt x="22" y="46"/>
                        <a:pt x="63" y="0"/>
                        <a:pt x="97" y="4"/>
                      </a:cubicBezTo>
                      <a:cubicBezTo>
                        <a:pt x="118" y="70"/>
                        <a:pt x="64" y="119"/>
                        <a:pt x="25" y="167"/>
                      </a:cubicBezTo>
                      <a:cubicBezTo>
                        <a:pt x="38" y="136"/>
                        <a:pt x="85" y="96"/>
                        <a:pt x="46" y="64"/>
                      </a:cubicBezTo>
                      <a:cubicBezTo>
                        <a:pt x="27" y="58"/>
                        <a:pt x="9" y="63"/>
                        <a:pt x="0" y="8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2" name="Freeform 129"/>
                <p:cNvSpPr>
                  <a:spLocks/>
                </p:cNvSpPr>
                <p:nvPr/>
              </p:nvSpPr>
              <p:spPr bwMode="gray">
                <a:xfrm>
                  <a:off x="969963" y="-4073525"/>
                  <a:ext cx="304800" cy="2241550"/>
                </a:xfrm>
                <a:custGeom>
                  <a:avLst/>
                  <a:gdLst/>
                  <a:ahLst/>
                  <a:cxnLst>
                    <a:cxn ang="0">
                      <a:pos x="26" y="17"/>
                    </a:cxn>
                    <a:cxn ang="0">
                      <a:pos x="5" y="295"/>
                    </a:cxn>
                    <a:cxn ang="0">
                      <a:pos x="9" y="460"/>
                    </a:cxn>
                    <a:cxn ang="0">
                      <a:pos x="18" y="598"/>
                    </a:cxn>
                    <a:cxn ang="0">
                      <a:pos x="64" y="309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81" h="598">
                      <a:moveTo>
                        <a:pt x="26" y="17"/>
                      </a:moveTo>
                      <a:cubicBezTo>
                        <a:pt x="26" y="112"/>
                        <a:pt x="0" y="198"/>
                        <a:pt x="5" y="295"/>
                      </a:cubicBezTo>
                      <a:cubicBezTo>
                        <a:pt x="8" y="348"/>
                        <a:pt x="4" y="406"/>
                        <a:pt x="9" y="460"/>
                      </a:cubicBezTo>
                      <a:cubicBezTo>
                        <a:pt x="13" y="505"/>
                        <a:pt x="31" y="551"/>
                        <a:pt x="18" y="598"/>
                      </a:cubicBezTo>
                      <a:cubicBezTo>
                        <a:pt x="81" y="529"/>
                        <a:pt x="65" y="399"/>
                        <a:pt x="64" y="309"/>
                      </a:cubicBezTo>
                      <a:cubicBezTo>
                        <a:pt x="63" y="204"/>
                        <a:pt x="15" y="103"/>
                        <a:pt x="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3" name="Freeform 130"/>
                <p:cNvSpPr>
                  <a:spLocks/>
                </p:cNvSpPr>
                <p:nvPr/>
              </p:nvSpPr>
              <p:spPr bwMode="gray">
                <a:xfrm>
                  <a:off x="708025" y="-8191500"/>
                  <a:ext cx="501650" cy="3529013"/>
                </a:xfrm>
                <a:custGeom>
                  <a:avLst/>
                  <a:gdLst/>
                  <a:ahLst/>
                  <a:cxnLst>
                    <a:cxn ang="0">
                      <a:pos x="134" y="67"/>
                    </a:cxn>
                    <a:cxn ang="0">
                      <a:pos x="0" y="182"/>
                    </a:cxn>
                    <a:cxn ang="0">
                      <a:pos x="104" y="333"/>
                    </a:cxn>
                    <a:cxn ang="0">
                      <a:pos x="66" y="544"/>
                    </a:cxn>
                    <a:cxn ang="0">
                      <a:pos x="92" y="760"/>
                    </a:cxn>
                    <a:cxn ang="0">
                      <a:pos x="100" y="857"/>
                    </a:cxn>
                    <a:cxn ang="0">
                      <a:pos x="46" y="941"/>
                    </a:cxn>
                    <a:cxn ang="0">
                      <a:pos x="130" y="751"/>
                    </a:cxn>
                    <a:cxn ang="0">
                      <a:pos x="126" y="498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134" h="941">
                      <a:moveTo>
                        <a:pt x="134" y="67"/>
                      </a:moveTo>
                      <a:cubicBezTo>
                        <a:pt x="99" y="118"/>
                        <a:pt x="41" y="139"/>
                        <a:pt x="0" y="182"/>
                      </a:cubicBezTo>
                      <a:cubicBezTo>
                        <a:pt x="74" y="171"/>
                        <a:pt x="105" y="277"/>
                        <a:pt x="104" y="333"/>
                      </a:cubicBezTo>
                      <a:cubicBezTo>
                        <a:pt x="104" y="412"/>
                        <a:pt x="83" y="473"/>
                        <a:pt x="66" y="544"/>
                      </a:cubicBezTo>
                      <a:cubicBezTo>
                        <a:pt x="49" y="619"/>
                        <a:pt x="82" y="689"/>
                        <a:pt x="92" y="760"/>
                      </a:cubicBezTo>
                      <a:cubicBezTo>
                        <a:pt x="96" y="789"/>
                        <a:pt x="103" y="828"/>
                        <a:pt x="100" y="857"/>
                      </a:cubicBezTo>
                      <a:cubicBezTo>
                        <a:pt x="96" y="902"/>
                        <a:pt x="66" y="902"/>
                        <a:pt x="46" y="941"/>
                      </a:cubicBezTo>
                      <a:cubicBezTo>
                        <a:pt x="123" y="926"/>
                        <a:pt x="133" y="817"/>
                        <a:pt x="130" y="751"/>
                      </a:cubicBezTo>
                      <a:cubicBezTo>
                        <a:pt x="126" y="669"/>
                        <a:pt x="126" y="582"/>
                        <a:pt x="126" y="498"/>
                      </a:cubicBezTo>
                      <a:cubicBezTo>
                        <a:pt x="126" y="332"/>
                        <a:pt x="126" y="166"/>
                        <a:pt x="1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4" name="Freeform 131"/>
                <p:cNvSpPr>
                  <a:spLocks/>
                </p:cNvSpPr>
                <p:nvPr/>
              </p:nvSpPr>
              <p:spPr bwMode="gray">
                <a:xfrm>
                  <a:off x="198438" y="-10363200"/>
                  <a:ext cx="1046163" cy="1816100"/>
                </a:xfrm>
                <a:custGeom>
                  <a:avLst/>
                  <a:gdLst/>
                  <a:ahLst/>
                  <a:cxnLst>
                    <a:cxn ang="0">
                      <a:pos x="160" y="42"/>
                    </a:cxn>
                    <a:cxn ang="0">
                      <a:pos x="98" y="97"/>
                    </a:cxn>
                    <a:cxn ang="0">
                      <a:pos x="0" y="135"/>
                    </a:cxn>
                    <a:cxn ang="0">
                      <a:pos x="113" y="136"/>
                    </a:cxn>
                    <a:cxn ang="0">
                      <a:pos x="38" y="244"/>
                    </a:cxn>
                    <a:cxn ang="0">
                      <a:pos x="152" y="244"/>
                    </a:cxn>
                    <a:cxn ang="0">
                      <a:pos x="173" y="358"/>
                    </a:cxn>
                    <a:cxn ang="0">
                      <a:pos x="106" y="430"/>
                    </a:cxn>
                    <a:cxn ang="0">
                      <a:pos x="186" y="448"/>
                    </a:cxn>
                    <a:cxn ang="0">
                      <a:pos x="207" y="477"/>
                    </a:cxn>
                    <a:cxn ang="0">
                      <a:pos x="257" y="481"/>
                    </a:cxn>
                    <a:cxn ang="0">
                      <a:pos x="236" y="233"/>
                    </a:cxn>
                    <a:cxn ang="0">
                      <a:pos x="194" y="131"/>
                    </a:cxn>
                    <a:cxn ang="0">
                      <a:pos x="173" y="0"/>
                    </a:cxn>
                  </a:cxnLst>
                  <a:rect l="0" t="0" r="r" b="b"/>
                  <a:pathLst>
                    <a:path w="279" h="484">
                      <a:moveTo>
                        <a:pt x="160" y="42"/>
                      </a:moveTo>
                      <a:cubicBezTo>
                        <a:pt x="137" y="59"/>
                        <a:pt x="123" y="82"/>
                        <a:pt x="98" y="97"/>
                      </a:cubicBezTo>
                      <a:cubicBezTo>
                        <a:pt x="67" y="115"/>
                        <a:pt x="23" y="110"/>
                        <a:pt x="0" y="135"/>
                      </a:cubicBezTo>
                      <a:cubicBezTo>
                        <a:pt x="27" y="146"/>
                        <a:pt x="84" y="151"/>
                        <a:pt x="113" y="136"/>
                      </a:cubicBezTo>
                      <a:cubicBezTo>
                        <a:pt x="109" y="175"/>
                        <a:pt x="67" y="217"/>
                        <a:pt x="38" y="244"/>
                      </a:cubicBezTo>
                      <a:cubicBezTo>
                        <a:pt x="71" y="268"/>
                        <a:pt x="117" y="259"/>
                        <a:pt x="152" y="244"/>
                      </a:cubicBezTo>
                      <a:cubicBezTo>
                        <a:pt x="168" y="277"/>
                        <a:pt x="184" y="320"/>
                        <a:pt x="173" y="358"/>
                      </a:cubicBezTo>
                      <a:cubicBezTo>
                        <a:pt x="163" y="391"/>
                        <a:pt x="129" y="404"/>
                        <a:pt x="106" y="430"/>
                      </a:cubicBezTo>
                      <a:cubicBezTo>
                        <a:pt x="142" y="433"/>
                        <a:pt x="162" y="428"/>
                        <a:pt x="186" y="448"/>
                      </a:cubicBezTo>
                      <a:cubicBezTo>
                        <a:pt x="197" y="457"/>
                        <a:pt x="188" y="467"/>
                        <a:pt x="207" y="477"/>
                      </a:cubicBezTo>
                      <a:cubicBezTo>
                        <a:pt x="220" y="484"/>
                        <a:pt x="242" y="483"/>
                        <a:pt x="257" y="481"/>
                      </a:cubicBezTo>
                      <a:cubicBezTo>
                        <a:pt x="279" y="401"/>
                        <a:pt x="265" y="309"/>
                        <a:pt x="236" y="233"/>
                      </a:cubicBezTo>
                      <a:cubicBezTo>
                        <a:pt x="223" y="198"/>
                        <a:pt x="203" y="165"/>
                        <a:pt x="194" y="131"/>
                      </a:cubicBezTo>
                      <a:cubicBezTo>
                        <a:pt x="183" y="88"/>
                        <a:pt x="190" y="41"/>
                        <a:pt x="173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5" name="Freeform 132"/>
                <p:cNvSpPr>
                  <a:spLocks/>
                </p:cNvSpPr>
                <p:nvPr/>
              </p:nvSpPr>
              <p:spPr bwMode="gray">
                <a:xfrm>
                  <a:off x="-1928813" y="-10028237"/>
                  <a:ext cx="690563" cy="1974850"/>
                </a:xfrm>
                <a:custGeom>
                  <a:avLst/>
                  <a:gdLst/>
                  <a:ahLst/>
                  <a:cxnLst>
                    <a:cxn ang="0">
                      <a:pos x="153" y="21"/>
                    </a:cxn>
                    <a:cxn ang="0">
                      <a:pos x="149" y="307"/>
                    </a:cxn>
                    <a:cxn ang="0">
                      <a:pos x="148" y="423"/>
                    </a:cxn>
                    <a:cxn ang="0">
                      <a:pos x="173" y="527"/>
                    </a:cxn>
                    <a:cxn ang="0">
                      <a:pos x="127" y="334"/>
                    </a:cxn>
                    <a:cxn ang="0">
                      <a:pos x="0" y="219"/>
                    </a:cxn>
                    <a:cxn ang="0">
                      <a:pos x="111" y="219"/>
                    </a:cxn>
                    <a:cxn ang="0">
                      <a:pos x="128" y="159"/>
                    </a:cxn>
                    <a:cxn ang="0">
                      <a:pos x="76" y="118"/>
                    </a:cxn>
                    <a:cxn ang="0">
                      <a:pos x="146" y="89"/>
                    </a:cxn>
                    <a:cxn ang="0">
                      <a:pos x="166" y="0"/>
                    </a:cxn>
                  </a:cxnLst>
                  <a:rect l="0" t="0" r="r" b="b"/>
                  <a:pathLst>
                    <a:path w="184" h="527">
                      <a:moveTo>
                        <a:pt x="153" y="21"/>
                      </a:moveTo>
                      <a:cubicBezTo>
                        <a:pt x="184" y="90"/>
                        <a:pt x="153" y="230"/>
                        <a:pt x="149" y="307"/>
                      </a:cubicBezTo>
                      <a:cubicBezTo>
                        <a:pt x="147" y="346"/>
                        <a:pt x="141" y="385"/>
                        <a:pt x="148" y="423"/>
                      </a:cubicBezTo>
                      <a:cubicBezTo>
                        <a:pt x="156" y="460"/>
                        <a:pt x="180" y="487"/>
                        <a:pt x="173" y="527"/>
                      </a:cubicBezTo>
                      <a:cubicBezTo>
                        <a:pt x="136" y="491"/>
                        <a:pt x="143" y="384"/>
                        <a:pt x="127" y="334"/>
                      </a:cubicBezTo>
                      <a:cubicBezTo>
                        <a:pt x="112" y="284"/>
                        <a:pt x="51" y="241"/>
                        <a:pt x="0" y="219"/>
                      </a:cubicBezTo>
                      <a:cubicBezTo>
                        <a:pt x="34" y="218"/>
                        <a:pt x="84" y="248"/>
                        <a:pt x="111" y="219"/>
                      </a:cubicBezTo>
                      <a:cubicBezTo>
                        <a:pt x="121" y="208"/>
                        <a:pt x="131" y="174"/>
                        <a:pt x="128" y="159"/>
                      </a:cubicBezTo>
                      <a:cubicBezTo>
                        <a:pt x="120" y="128"/>
                        <a:pt x="97" y="140"/>
                        <a:pt x="76" y="118"/>
                      </a:cubicBezTo>
                      <a:cubicBezTo>
                        <a:pt x="93" y="93"/>
                        <a:pt x="125" y="108"/>
                        <a:pt x="146" y="89"/>
                      </a:cubicBezTo>
                      <a:cubicBezTo>
                        <a:pt x="165" y="70"/>
                        <a:pt x="168" y="25"/>
                        <a:pt x="16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6" name="Freeform 133"/>
                <p:cNvSpPr>
                  <a:spLocks/>
                </p:cNvSpPr>
                <p:nvPr/>
              </p:nvSpPr>
              <p:spPr bwMode="gray">
                <a:xfrm>
                  <a:off x="-3011488" y="-10186987"/>
                  <a:ext cx="482600" cy="506413"/>
                </a:xfrm>
                <a:custGeom>
                  <a:avLst/>
                  <a:gdLst/>
                  <a:ahLst/>
                  <a:cxnLst>
                    <a:cxn ang="0">
                      <a:pos x="53" y="0"/>
                    </a:cxn>
                    <a:cxn ang="0">
                      <a:pos x="129" y="34"/>
                    </a:cxn>
                    <a:cxn ang="0">
                      <a:pos x="67" y="59"/>
                    </a:cxn>
                    <a:cxn ang="0">
                      <a:pos x="101" y="105"/>
                    </a:cxn>
                    <a:cxn ang="0">
                      <a:pos x="8" y="130"/>
                    </a:cxn>
                    <a:cxn ang="0">
                      <a:pos x="49" y="4"/>
                    </a:cxn>
                  </a:cxnLst>
                  <a:rect l="0" t="0" r="r" b="b"/>
                  <a:pathLst>
                    <a:path w="129" h="135">
                      <a:moveTo>
                        <a:pt x="53" y="0"/>
                      </a:moveTo>
                      <a:cubicBezTo>
                        <a:pt x="72" y="15"/>
                        <a:pt x="106" y="33"/>
                        <a:pt x="129" y="34"/>
                      </a:cubicBezTo>
                      <a:cubicBezTo>
                        <a:pt x="125" y="56"/>
                        <a:pt x="88" y="55"/>
                        <a:pt x="67" y="59"/>
                      </a:cubicBezTo>
                      <a:cubicBezTo>
                        <a:pt x="59" y="85"/>
                        <a:pt x="72" y="107"/>
                        <a:pt x="101" y="105"/>
                      </a:cubicBezTo>
                      <a:cubicBezTo>
                        <a:pt x="76" y="109"/>
                        <a:pt x="36" y="135"/>
                        <a:pt x="8" y="130"/>
                      </a:cubicBezTo>
                      <a:cubicBezTo>
                        <a:pt x="0" y="92"/>
                        <a:pt x="19" y="27"/>
                        <a:pt x="49" y="4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7" name="Freeform 134"/>
                <p:cNvSpPr>
                  <a:spLocks/>
                </p:cNvSpPr>
                <p:nvPr/>
              </p:nvSpPr>
              <p:spPr bwMode="gray">
                <a:xfrm>
                  <a:off x="-668338" y="-1020762"/>
                  <a:ext cx="517525" cy="1327150"/>
                </a:xfrm>
                <a:custGeom>
                  <a:avLst/>
                  <a:gdLst/>
                  <a:ahLst/>
                  <a:cxnLst>
                    <a:cxn ang="0">
                      <a:pos x="113" y="220"/>
                    </a:cxn>
                    <a:cxn ang="0">
                      <a:pos x="83" y="0"/>
                    </a:cxn>
                    <a:cxn ang="0">
                      <a:pos x="29" y="190"/>
                    </a:cxn>
                    <a:cxn ang="0">
                      <a:pos x="20" y="250"/>
                    </a:cxn>
                    <a:cxn ang="0">
                      <a:pos x="27" y="300"/>
                    </a:cxn>
                    <a:cxn ang="0">
                      <a:pos x="8" y="305"/>
                    </a:cxn>
                    <a:cxn ang="0">
                      <a:pos x="112" y="351"/>
                    </a:cxn>
                    <a:cxn ang="0">
                      <a:pos x="121" y="203"/>
                    </a:cxn>
                  </a:cxnLst>
                  <a:rect l="0" t="0" r="r" b="b"/>
                  <a:pathLst>
                    <a:path w="138" h="354">
                      <a:moveTo>
                        <a:pt x="113" y="220"/>
                      </a:moveTo>
                      <a:cubicBezTo>
                        <a:pt x="84" y="153"/>
                        <a:pt x="83" y="76"/>
                        <a:pt x="83" y="0"/>
                      </a:cubicBezTo>
                      <a:cubicBezTo>
                        <a:pt x="71" y="48"/>
                        <a:pt x="22" y="132"/>
                        <a:pt x="29" y="190"/>
                      </a:cubicBezTo>
                      <a:cubicBezTo>
                        <a:pt x="67" y="202"/>
                        <a:pt x="68" y="259"/>
                        <a:pt x="20" y="250"/>
                      </a:cubicBezTo>
                      <a:cubicBezTo>
                        <a:pt x="18" y="269"/>
                        <a:pt x="25" y="283"/>
                        <a:pt x="27" y="300"/>
                      </a:cubicBezTo>
                      <a:cubicBezTo>
                        <a:pt x="20" y="301"/>
                        <a:pt x="16" y="305"/>
                        <a:pt x="8" y="305"/>
                      </a:cubicBezTo>
                      <a:cubicBezTo>
                        <a:pt x="0" y="345"/>
                        <a:pt x="83" y="354"/>
                        <a:pt x="112" y="351"/>
                      </a:cubicBezTo>
                      <a:cubicBezTo>
                        <a:pt x="114" y="306"/>
                        <a:pt x="138" y="244"/>
                        <a:pt x="121" y="203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8" name="Freeform 135"/>
                <p:cNvSpPr>
                  <a:spLocks/>
                </p:cNvSpPr>
                <p:nvPr/>
              </p:nvSpPr>
              <p:spPr bwMode="gray">
                <a:xfrm>
                  <a:off x="-604838" y="-2014537"/>
                  <a:ext cx="479425" cy="1439863"/>
                </a:xfrm>
                <a:custGeom>
                  <a:avLst/>
                  <a:gdLst/>
                  <a:ahLst/>
                  <a:cxnLst>
                    <a:cxn ang="0">
                      <a:pos x="24" y="4"/>
                    </a:cxn>
                    <a:cxn ang="0">
                      <a:pos x="44" y="237"/>
                    </a:cxn>
                    <a:cxn ang="0">
                      <a:pos x="104" y="313"/>
                    </a:cxn>
                    <a:cxn ang="0">
                      <a:pos x="87" y="122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128" h="384">
                      <a:moveTo>
                        <a:pt x="24" y="4"/>
                      </a:moveTo>
                      <a:cubicBezTo>
                        <a:pt x="0" y="68"/>
                        <a:pt x="31" y="173"/>
                        <a:pt x="44" y="237"/>
                      </a:cubicBezTo>
                      <a:cubicBezTo>
                        <a:pt x="49" y="263"/>
                        <a:pt x="60" y="384"/>
                        <a:pt x="104" y="313"/>
                      </a:cubicBezTo>
                      <a:cubicBezTo>
                        <a:pt x="128" y="274"/>
                        <a:pt x="104" y="160"/>
                        <a:pt x="87" y="122"/>
                      </a:cubicBezTo>
                      <a:cubicBezTo>
                        <a:pt x="67" y="76"/>
                        <a:pt x="36" y="50"/>
                        <a:pt x="28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39" name="Freeform 136"/>
                <p:cNvSpPr>
                  <a:spLocks/>
                </p:cNvSpPr>
                <p:nvPr/>
              </p:nvSpPr>
              <p:spPr bwMode="gray">
                <a:xfrm>
                  <a:off x="-2559050" y="-12211050"/>
                  <a:ext cx="1046163" cy="311150"/>
                </a:xfrm>
                <a:custGeom>
                  <a:avLst/>
                  <a:gdLst/>
                  <a:ahLst/>
                  <a:cxnLst>
                    <a:cxn ang="0">
                      <a:pos x="258" y="20"/>
                    </a:cxn>
                    <a:cxn ang="0">
                      <a:pos x="110" y="7"/>
                    </a:cxn>
                    <a:cxn ang="0">
                      <a:pos x="0" y="83"/>
                    </a:cxn>
                    <a:cxn ang="0">
                      <a:pos x="122" y="41"/>
                    </a:cxn>
                    <a:cxn ang="0">
                      <a:pos x="279" y="20"/>
                    </a:cxn>
                  </a:cxnLst>
                  <a:rect l="0" t="0" r="r" b="b"/>
                  <a:pathLst>
                    <a:path w="279" h="83">
                      <a:moveTo>
                        <a:pt x="258" y="20"/>
                      </a:moveTo>
                      <a:cubicBezTo>
                        <a:pt x="206" y="20"/>
                        <a:pt x="162" y="0"/>
                        <a:pt x="110" y="7"/>
                      </a:cubicBezTo>
                      <a:cubicBezTo>
                        <a:pt x="77" y="12"/>
                        <a:pt x="7" y="47"/>
                        <a:pt x="0" y="83"/>
                      </a:cubicBezTo>
                      <a:cubicBezTo>
                        <a:pt x="44" y="75"/>
                        <a:pt x="78" y="45"/>
                        <a:pt x="122" y="41"/>
                      </a:cubicBezTo>
                      <a:cubicBezTo>
                        <a:pt x="168" y="37"/>
                        <a:pt x="243" y="51"/>
                        <a:pt x="279" y="2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0" name="Freeform 137"/>
                <p:cNvSpPr>
                  <a:spLocks/>
                </p:cNvSpPr>
                <p:nvPr/>
              </p:nvSpPr>
              <p:spPr bwMode="gray">
                <a:xfrm>
                  <a:off x="-3270250" y="-12414250"/>
                  <a:ext cx="600075" cy="454025"/>
                </a:xfrm>
                <a:custGeom>
                  <a:avLst/>
                  <a:gdLst/>
                  <a:ahLst/>
                  <a:cxnLst>
                    <a:cxn ang="0">
                      <a:pos x="4" y="116"/>
                    </a:cxn>
                    <a:cxn ang="0">
                      <a:pos x="160" y="0"/>
                    </a:cxn>
                    <a:cxn ang="0">
                      <a:pos x="0" y="121"/>
                    </a:cxn>
                  </a:cxnLst>
                  <a:rect l="0" t="0" r="r" b="b"/>
                  <a:pathLst>
                    <a:path w="160" h="121">
                      <a:moveTo>
                        <a:pt x="4" y="116"/>
                      </a:moveTo>
                      <a:cubicBezTo>
                        <a:pt x="36" y="75"/>
                        <a:pt x="109" y="19"/>
                        <a:pt x="160" y="0"/>
                      </a:cubicBezTo>
                      <a:cubicBezTo>
                        <a:pt x="136" y="36"/>
                        <a:pt x="44" y="115"/>
                        <a:pt x="0" y="121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1" name="Freeform 138"/>
                <p:cNvSpPr>
                  <a:spLocks/>
                </p:cNvSpPr>
                <p:nvPr/>
              </p:nvSpPr>
              <p:spPr bwMode="gray">
                <a:xfrm>
                  <a:off x="-3713163" y="-13385800"/>
                  <a:ext cx="944563" cy="746125"/>
                </a:xfrm>
                <a:custGeom>
                  <a:avLst/>
                  <a:gdLst/>
                  <a:ahLst/>
                  <a:cxnLst>
                    <a:cxn ang="0">
                      <a:pos x="207" y="101"/>
                    </a:cxn>
                    <a:cxn ang="0">
                      <a:pos x="30" y="0"/>
                    </a:cxn>
                    <a:cxn ang="0">
                      <a:pos x="101" y="114"/>
                    </a:cxn>
                    <a:cxn ang="0">
                      <a:pos x="0" y="152"/>
                    </a:cxn>
                    <a:cxn ang="0">
                      <a:pos x="126" y="138"/>
                    </a:cxn>
                    <a:cxn ang="0">
                      <a:pos x="252" y="126"/>
                    </a:cxn>
                    <a:cxn ang="0">
                      <a:pos x="223" y="92"/>
                    </a:cxn>
                  </a:cxnLst>
                  <a:rect l="0" t="0" r="r" b="b"/>
                  <a:pathLst>
                    <a:path w="252" h="199">
                      <a:moveTo>
                        <a:pt x="207" y="101"/>
                      </a:moveTo>
                      <a:cubicBezTo>
                        <a:pt x="131" y="101"/>
                        <a:pt x="92" y="34"/>
                        <a:pt x="30" y="0"/>
                      </a:cubicBezTo>
                      <a:cubicBezTo>
                        <a:pt x="40" y="43"/>
                        <a:pt x="84" y="73"/>
                        <a:pt x="101" y="114"/>
                      </a:cubicBezTo>
                      <a:cubicBezTo>
                        <a:pt x="70" y="130"/>
                        <a:pt x="38" y="157"/>
                        <a:pt x="0" y="152"/>
                      </a:cubicBezTo>
                      <a:cubicBezTo>
                        <a:pt x="11" y="199"/>
                        <a:pt x="102" y="157"/>
                        <a:pt x="126" y="138"/>
                      </a:cubicBezTo>
                      <a:cubicBezTo>
                        <a:pt x="175" y="100"/>
                        <a:pt x="199" y="115"/>
                        <a:pt x="252" y="126"/>
                      </a:cubicBezTo>
                      <a:cubicBezTo>
                        <a:pt x="250" y="111"/>
                        <a:pt x="236" y="100"/>
                        <a:pt x="223" y="9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2" name="Freeform 139"/>
                <p:cNvSpPr>
                  <a:spLocks/>
                </p:cNvSpPr>
                <p:nvPr/>
              </p:nvSpPr>
              <p:spPr bwMode="gray">
                <a:xfrm>
                  <a:off x="-3349625" y="-15114587"/>
                  <a:ext cx="498475" cy="495300"/>
                </a:xfrm>
                <a:custGeom>
                  <a:avLst/>
                  <a:gdLst/>
                  <a:ahLst/>
                  <a:cxnLst>
                    <a:cxn ang="0">
                      <a:pos x="0" y="13"/>
                    </a:cxn>
                    <a:cxn ang="0">
                      <a:pos x="126" y="126"/>
                    </a:cxn>
                    <a:cxn ang="0">
                      <a:pos x="66" y="77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133" h="132">
                      <a:moveTo>
                        <a:pt x="0" y="13"/>
                      </a:moveTo>
                      <a:cubicBezTo>
                        <a:pt x="26" y="71"/>
                        <a:pt x="52" y="132"/>
                        <a:pt x="126" y="126"/>
                      </a:cubicBezTo>
                      <a:cubicBezTo>
                        <a:pt x="133" y="95"/>
                        <a:pt x="87" y="89"/>
                        <a:pt x="66" y="77"/>
                      </a:cubicBezTo>
                      <a:cubicBezTo>
                        <a:pt x="34" y="59"/>
                        <a:pt x="12" y="43"/>
                        <a:pt x="12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3" name="Freeform 140"/>
                <p:cNvSpPr>
                  <a:spLocks/>
                </p:cNvSpPr>
                <p:nvPr/>
              </p:nvSpPr>
              <p:spPr bwMode="gray">
                <a:xfrm>
                  <a:off x="-3035300" y="-11566525"/>
                  <a:ext cx="304800" cy="600075"/>
                </a:xfrm>
                <a:custGeom>
                  <a:avLst/>
                  <a:gdLst/>
                  <a:ahLst/>
                  <a:cxnLst>
                    <a:cxn ang="0">
                      <a:pos x="72" y="55"/>
                    </a:cxn>
                    <a:cxn ang="0">
                      <a:pos x="76" y="151"/>
                    </a:cxn>
                    <a:cxn ang="0">
                      <a:pos x="4" y="80"/>
                    </a:cxn>
                    <a:cxn ang="0">
                      <a:pos x="68" y="68"/>
                    </a:cxn>
                  </a:cxnLst>
                  <a:rect l="0" t="0" r="r" b="b"/>
                  <a:pathLst>
                    <a:path w="81" h="160">
                      <a:moveTo>
                        <a:pt x="72" y="55"/>
                      </a:moveTo>
                      <a:cubicBezTo>
                        <a:pt x="61" y="108"/>
                        <a:pt x="27" y="104"/>
                        <a:pt x="76" y="151"/>
                      </a:cubicBezTo>
                      <a:cubicBezTo>
                        <a:pt x="37" y="160"/>
                        <a:pt x="0" y="117"/>
                        <a:pt x="4" y="80"/>
                      </a:cubicBezTo>
                      <a:cubicBezTo>
                        <a:pt x="10" y="31"/>
                        <a:pt x="81" y="0"/>
                        <a:pt x="68" y="6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4" name="Freeform 141"/>
                <p:cNvSpPr>
                  <a:spLocks/>
                </p:cNvSpPr>
                <p:nvPr/>
              </p:nvSpPr>
              <p:spPr bwMode="gray">
                <a:xfrm>
                  <a:off x="-1174750" y="-15687675"/>
                  <a:ext cx="423863" cy="173038"/>
                </a:xfrm>
                <a:custGeom>
                  <a:avLst/>
                  <a:gdLst/>
                  <a:ahLst/>
                  <a:cxnLst>
                    <a:cxn ang="0">
                      <a:pos x="5" y="13"/>
                    </a:cxn>
                    <a:cxn ang="0">
                      <a:pos x="113" y="0"/>
                    </a:cxn>
                    <a:cxn ang="0">
                      <a:pos x="92" y="32"/>
                    </a:cxn>
                    <a:cxn ang="0">
                      <a:pos x="56" y="45"/>
                    </a:cxn>
                    <a:cxn ang="0">
                      <a:pos x="42" y="40"/>
                    </a:cxn>
                    <a:cxn ang="0">
                      <a:pos x="20" y="37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113" h="46">
                      <a:moveTo>
                        <a:pt x="5" y="13"/>
                      </a:moveTo>
                      <a:cubicBezTo>
                        <a:pt x="41" y="29"/>
                        <a:pt x="80" y="18"/>
                        <a:pt x="113" y="0"/>
                      </a:cubicBezTo>
                      <a:cubicBezTo>
                        <a:pt x="107" y="10"/>
                        <a:pt x="102" y="26"/>
                        <a:pt x="92" y="32"/>
                      </a:cubicBezTo>
                      <a:cubicBezTo>
                        <a:pt x="84" y="37"/>
                        <a:pt x="66" y="46"/>
                        <a:pt x="56" y="45"/>
                      </a:cubicBezTo>
                      <a:cubicBezTo>
                        <a:pt x="50" y="45"/>
                        <a:pt x="47" y="42"/>
                        <a:pt x="42" y="40"/>
                      </a:cubicBezTo>
                      <a:cubicBezTo>
                        <a:pt x="35" y="38"/>
                        <a:pt x="27" y="39"/>
                        <a:pt x="20" y="37"/>
                      </a:cubicBezTo>
                      <a:cubicBezTo>
                        <a:pt x="11" y="34"/>
                        <a:pt x="3" y="21"/>
                        <a:pt x="0" y="12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5" name="Freeform 142"/>
                <p:cNvSpPr>
                  <a:spLocks/>
                </p:cNvSpPr>
                <p:nvPr/>
              </p:nvSpPr>
              <p:spPr bwMode="gray">
                <a:xfrm>
                  <a:off x="-1246188" y="-11239500"/>
                  <a:ext cx="1897063" cy="614363"/>
                </a:xfrm>
                <a:custGeom>
                  <a:avLst/>
                  <a:gdLst/>
                  <a:ahLst/>
                  <a:cxnLst>
                    <a:cxn ang="0">
                      <a:pos x="433" y="0"/>
                    </a:cxn>
                    <a:cxn ang="0">
                      <a:pos x="331" y="121"/>
                    </a:cxn>
                    <a:cxn ang="0">
                      <a:pos x="135" y="122"/>
                    </a:cxn>
                    <a:cxn ang="0">
                      <a:pos x="17" y="73"/>
                    </a:cxn>
                    <a:cxn ang="0">
                      <a:pos x="95" y="95"/>
                    </a:cxn>
                  </a:cxnLst>
                  <a:rect l="0" t="0" r="r" b="b"/>
                  <a:pathLst>
                    <a:path w="506" h="164">
                      <a:moveTo>
                        <a:pt x="433" y="0"/>
                      </a:moveTo>
                      <a:cubicBezTo>
                        <a:pt x="506" y="50"/>
                        <a:pt x="358" y="108"/>
                        <a:pt x="331" y="121"/>
                      </a:cubicBezTo>
                      <a:cubicBezTo>
                        <a:pt x="253" y="160"/>
                        <a:pt x="212" y="126"/>
                        <a:pt x="135" y="122"/>
                      </a:cubicBezTo>
                      <a:cubicBezTo>
                        <a:pt x="91" y="119"/>
                        <a:pt x="0" y="164"/>
                        <a:pt x="17" y="73"/>
                      </a:cubicBezTo>
                      <a:cubicBezTo>
                        <a:pt x="48" y="50"/>
                        <a:pt x="76" y="69"/>
                        <a:pt x="95" y="9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6" name="Freeform 143"/>
                <p:cNvSpPr>
                  <a:spLocks/>
                </p:cNvSpPr>
                <p:nvPr/>
              </p:nvSpPr>
              <p:spPr bwMode="gray">
                <a:xfrm>
                  <a:off x="-825500" y="-11150600"/>
                  <a:ext cx="592138" cy="203200"/>
                </a:xfrm>
                <a:custGeom>
                  <a:avLst/>
                  <a:gdLst/>
                  <a:ahLst/>
                  <a:cxnLst>
                    <a:cxn ang="0">
                      <a:pos x="0" y="54"/>
                    </a:cxn>
                    <a:cxn ang="0">
                      <a:pos x="106" y="0"/>
                    </a:cxn>
                    <a:cxn ang="0">
                      <a:pos x="90" y="42"/>
                    </a:cxn>
                    <a:cxn ang="0">
                      <a:pos x="156" y="5"/>
                    </a:cxn>
                    <a:cxn ang="0">
                      <a:pos x="158" y="25"/>
                    </a:cxn>
                  </a:cxnLst>
                  <a:rect l="0" t="0" r="r" b="b"/>
                  <a:pathLst>
                    <a:path w="158" h="54">
                      <a:moveTo>
                        <a:pt x="0" y="54"/>
                      </a:moveTo>
                      <a:cubicBezTo>
                        <a:pt x="44" y="50"/>
                        <a:pt x="68" y="17"/>
                        <a:pt x="106" y="0"/>
                      </a:cubicBezTo>
                      <a:cubicBezTo>
                        <a:pt x="100" y="16"/>
                        <a:pt x="103" y="28"/>
                        <a:pt x="90" y="42"/>
                      </a:cubicBezTo>
                      <a:cubicBezTo>
                        <a:pt x="115" y="37"/>
                        <a:pt x="136" y="19"/>
                        <a:pt x="156" y="5"/>
                      </a:cubicBezTo>
                      <a:cubicBezTo>
                        <a:pt x="157" y="11"/>
                        <a:pt x="158" y="18"/>
                        <a:pt x="158" y="2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7" name="Freeform 144"/>
                <p:cNvSpPr>
                  <a:spLocks/>
                </p:cNvSpPr>
                <p:nvPr/>
              </p:nvSpPr>
              <p:spPr bwMode="gray">
                <a:xfrm>
                  <a:off x="-417513" y="-19359562"/>
                  <a:ext cx="180975" cy="488950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1" y="30"/>
                    </a:cxn>
                    <a:cxn ang="0">
                      <a:pos x="15" y="26"/>
                    </a:cxn>
                    <a:cxn ang="0">
                      <a:pos x="6" y="53"/>
                    </a:cxn>
                    <a:cxn ang="0">
                      <a:pos x="12" y="75"/>
                    </a:cxn>
                    <a:cxn ang="0">
                      <a:pos x="4" y="72"/>
                    </a:cxn>
                    <a:cxn ang="0">
                      <a:pos x="7" y="108"/>
                    </a:cxn>
                    <a:cxn ang="0">
                      <a:pos x="3" y="105"/>
                    </a:cxn>
                    <a:cxn ang="0">
                      <a:pos x="1" y="122"/>
                    </a:cxn>
                    <a:cxn ang="0">
                      <a:pos x="16" y="130"/>
                    </a:cxn>
                    <a:cxn ang="0">
                      <a:pos x="16" y="114"/>
                    </a:cxn>
                    <a:cxn ang="0">
                      <a:pos x="26" y="121"/>
                    </a:cxn>
                    <a:cxn ang="0">
                      <a:pos x="27" y="100"/>
                    </a:cxn>
                    <a:cxn ang="0">
                      <a:pos x="34" y="105"/>
                    </a:cxn>
                    <a:cxn ang="0">
                      <a:pos x="34" y="69"/>
                    </a:cxn>
                    <a:cxn ang="0">
                      <a:pos x="48" y="78"/>
                    </a:cxn>
                    <a:cxn ang="0">
                      <a:pos x="39" y="48"/>
                    </a:cxn>
                    <a:cxn ang="0">
                      <a:pos x="37" y="23"/>
                    </a:cxn>
                    <a:cxn ang="0">
                      <a:pos x="42" y="23"/>
                    </a:cxn>
                    <a:cxn ang="0">
                      <a:pos x="40" y="13"/>
                    </a:cxn>
                    <a:cxn ang="0">
                      <a:pos x="33" y="8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48" h="130">
                      <a:moveTo>
                        <a:pt x="12" y="0"/>
                      </a:moveTo>
                      <a:cubicBezTo>
                        <a:pt x="22" y="7"/>
                        <a:pt x="21" y="18"/>
                        <a:pt x="21" y="30"/>
                      </a:cubicBezTo>
                      <a:cubicBezTo>
                        <a:pt x="19" y="29"/>
                        <a:pt x="17" y="28"/>
                        <a:pt x="15" y="26"/>
                      </a:cubicBezTo>
                      <a:cubicBezTo>
                        <a:pt x="14" y="30"/>
                        <a:pt x="20" y="66"/>
                        <a:pt x="6" y="53"/>
                      </a:cubicBezTo>
                      <a:cubicBezTo>
                        <a:pt x="6" y="61"/>
                        <a:pt x="8" y="68"/>
                        <a:pt x="12" y="75"/>
                      </a:cubicBezTo>
                      <a:cubicBezTo>
                        <a:pt x="9" y="76"/>
                        <a:pt x="7" y="74"/>
                        <a:pt x="4" y="72"/>
                      </a:cubicBezTo>
                      <a:cubicBezTo>
                        <a:pt x="3" y="84"/>
                        <a:pt x="5" y="97"/>
                        <a:pt x="7" y="108"/>
                      </a:cubicBezTo>
                      <a:cubicBezTo>
                        <a:pt x="6" y="107"/>
                        <a:pt x="5" y="107"/>
                        <a:pt x="3" y="105"/>
                      </a:cubicBezTo>
                      <a:cubicBezTo>
                        <a:pt x="3" y="113"/>
                        <a:pt x="0" y="115"/>
                        <a:pt x="1" y="122"/>
                      </a:cubicBezTo>
                      <a:cubicBezTo>
                        <a:pt x="5" y="124"/>
                        <a:pt x="11" y="127"/>
                        <a:pt x="16" y="130"/>
                      </a:cubicBezTo>
                      <a:cubicBezTo>
                        <a:pt x="16" y="125"/>
                        <a:pt x="16" y="120"/>
                        <a:pt x="16" y="114"/>
                      </a:cubicBezTo>
                      <a:cubicBezTo>
                        <a:pt x="19" y="116"/>
                        <a:pt x="22" y="119"/>
                        <a:pt x="26" y="121"/>
                      </a:cubicBezTo>
                      <a:cubicBezTo>
                        <a:pt x="26" y="114"/>
                        <a:pt x="27" y="107"/>
                        <a:pt x="27" y="100"/>
                      </a:cubicBezTo>
                      <a:cubicBezTo>
                        <a:pt x="30" y="101"/>
                        <a:pt x="32" y="103"/>
                        <a:pt x="34" y="105"/>
                      </a:cubicBezTo>
                      <a:cubicBezTo>
                        <a:pt x="39" y="97"/>
                        <a:pt x="35" y="78"/>
                        <a:pt x="34" y="69"/>
                      </a:cubicBezTo>
                      <a:cubicBezTo>
                        <a:pt x="35" y="73"/>
                        <a:pt x="44" y="76"/>
                        <a:pt x="48" y="78"/>
                      </a:cubicBezTo>
                      <a:cubicBezTo>
                        <a:pt x="48" y="68"/>
                        <a:pt x="40" y="59"/>
                        <a:pt x="39" y="48"/>
                      </a:cubicBezTo>
                      <a:cubicBezTo>
                        <a:pt x="46" y="47"/>
                        <a:pt x="38" y="28"/>
                        <a:pt x="37" y="23"/>
                      </a:cubicBezTo>
                      <a:cubicBezTo>
                        <a:pt x="38" y="23"/>
                        <a:pt x="40" y="23"/>
                        <a:pt x="42" y="23"/>
                      </a:cubicBezTo>
                      <a:cubicBezTo>
                        <a:pt x="42" y="23"/>
                        <a:pt x="40" y="14"/>
                        <a:pt x="40" y="13"/>
                      </a:cubicBezTo>
                      <a:cubicBezTo>
                        <a:pt x="38" y="11"/>
                        <a:pt x="36" y="9"/>
                        <a:pt x="33" y="8"/>
                      </a:cubicBezTo>
                      <a:cubicBezTo>
                        <a:pt x="28" y="5"/>
                        <a:pt x="17" y="1"/>
                        <a:pt x="12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8" name="Freeform 145"/>
                <p:cNvSpPr>
                  <a:spLocks/>
                </p:cNvSpPr>
                <p:nvPr/>
              </p:nvSpPr>
              <p:spPr bwMode="gray">
                <a:xfrm>
                  <a:off x="-95250" y="-19073812"/>
                  <a:ext cx="184150" cy="14509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9" y="38"/>
                    </a:cxn>
                    <a:cxn ang="0">
                      <a:pos x="22" y="74"/>
                    </a:cxn>
                    <a:cxn ang="0">
                      <a:pos x="32" y="176"/>
                    </a:cxn>
                    <a:cxn ang="0">
                      <a:pos x="26" y="162"/>
                    </a:cxn>
                    <a:cxn ang="0">
                      <a:pos x="25" y="188"/>
                    </a:cxn>
                    <a:cxn ang="0">
                      <a:pos x="25" y="222"/>
                    </a:cxn>
                    <a:cxn ang="0">
                      <a:pos x="15" y="250"/>
                    </a:cxn>
                    <a:cxn ang="0">
                      <a:pos x="19" y="273"/>
                    </a:cxn>
                    <a:cxn ang="0">
                      <a:pos x="14" y="252"/>
                    </a:cxn>
                    <a:cxn ang="0">
                      <a:pos x="11" y="328"/>
                    </a:cxn>
                    <a:cxn ang="0">
                      <a:pos x="8" y="362"/>
                    </a:cxn>
                    <a:cxn ang="0">
                      <a:pos x="2" y="387"/>
                    </a:cxn>
                    <a:cxn ang="0">
                      <a:pos x="21" y="363"/>
                    </a:cxn>
                    <a:cxn ang="0">
                      <a:pos x="31" y="328"/>
                    </a:cxn>
                    <a:cxn ang="0">
                      <a:pos x="34" y="285"/>
                    </a:cxn>
                    <a:cxn ang="0">
                      <a:pos x="38" y="241"/>
                    </a:cxn>
                    <a:cxn ang="0">
                      <a:pos x="45" y="196"/>
                    </a:cxn>
                    <a:cxn ang="0">
                      <a:pos x="46" y="157"/>
                    </a:cxn>
                    <a:cxn ang="0">
                      <a:pos x="43" y="117"/>
                    </a:cxn>
                    <a:cxn ang="0">
                      <a:pos x="36" y="8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9" h="387">
                      <a:moveTo>
                        <a:pt x="1" y="0"/>
                      </a:moveTo>
                      <a:cubicBezTo>
                        <a:pt x="0" y="12"/>
                        <a:pt x="8" y="27"/>
                        <a:pt x="9" y="38"/>
                      </a:cubicBezTo>
                      <a:cubicBezTo>
                        <a:pt x="11" y="50"/>
                        <a:pt x="18" y="62"/>
                        <a:pt x="22" y="74"/>
                      </a:cubicBezTo>
                      <a:cubicBezTo>
                        <a:pt x="33" y="104"/>
                        <a:pt x="38" y="143"/>
                        <a:pt x="32" y="176"/>
                      </a:cubicBezTo>
                      <a:cubicBezTo>
                        <a:pt x="31" y="171"/>
                        <a:pt x="26" y="168"/>
                        <a:pt x="26" y="162"/>
                      </a:cubicBezTo>
                      <a:cubicBezTo>
                        <a:pt x="27" y="171"/>
                        <a:pt x="25" y="180"/>
                        <a:pt x="25" y="188"/>
                      </a:cubicBezTo>
                      <a:cubicBezTo>
                        <a:pt x="25" y="199"/>
                        <a:pt x="27" y="212"/>
                        <a:pt x="25" y="222"/>
                      </a:cubicBezTo>
                      <a:cubicBezTo>
                        <a:pt x="23" y="231"/>
                        <a:pt x="16" y="241"/>
                        <a:pt x="15" y="250"/>
                      </a:cubicBezTo>
                      <a:cubicBezTo>
                        <a:pt x="14" y="258"/>
                        <a:pt x="17" y="266"/>
                        <a:pt x="19" y="273"/>
                      </a:cubicBezTo>
                      <a:cubicBezTo>
                        <a:pt x="19" y="267"/>
                        <a:pt x="16" y="258"/>
                        <a:pt x="14" y="252"/>
                      </a:cubicBezTo>
                      <a:cubicBezTo>
                        <a:pt x="2" y="276"/>
                        <a:pt x="11" y="303"/>
                        <a:pt x="11" y="328"/>
                      </a:cubicBezTo>
                      <a:cubicBezTo>
                        <a:pt x="11" y="340"/>
                        <a:pt x="10" y="351"/>
                        <a:pt x="8" y="362"/>
                      </a:cubicBezTo>
                      <a:cubicBezTo>
                        <a:pt x="7" y="370"/>
                        <a:pt x="6" y="380"/>
                        <a:pt x="2" y="387"/>
                      </a:cubicBezTo>
                      <a:cubicBezTo>
                        <a:pt x="7" y="378"/>
                        <a:pt x="17" y="373"/>
                        <a:pt x="21" y="363"/>
                      </a:cubicBezTo>
                      <a:cubicBezTo>
                        <a:pt x="26" y="351"/>
                        <a:pt x="29" y="340"/>
                        <a:pt x="31" y="328"/>
                      </a:cubicBezTo>
                      <a:cubicBezTo>
                        <a:pt x="33" y="314"/>
                        <a:pt x="32" y="299"/>
                        <a:pt x="34" y="285"/>
                      </a:cubicBezTo>
                      <a:cubicBezTo>
                        <a:pt x="35" y="270"/>
                        <a:pt x="38" y="256"/>
                        <a:pt x="38" y="241"/>
                      </a:cubicBezTo>
                      <a:cubicBezTo>
                        <a:pt x="39" y="226"/>
                        <a:pt x="41" y="210"/>
                        <a:pt x="45" y="196"/>
                      </a:cubicBezTo>
                      <a:cubicBezTo>
                        <a:pt x="49" y="182"/>
                        <a:pt x="46" y="172"/>
                        <a:pt x="46" y="157"/>
                      </a:cubicBezTo>
                      <a:cubicBezTo>
                        <a:pt x="46" y="143"/>
                        <a:pt x="46" y="131"/>
                        <a:pt x="43" y="117"/>
                      </a:cubicBezTo>
                      <a:cubicBezTo>
                        <a:pt x="42" y="106"/>
                        <a:pt x="40" y="92"/>
                        <a:pt x="36" y="81"/>
                      </a:cubicBezTo>
                      <a:cubicBezTo>
                        <a:pt x="30" y="67"/>
                        <a:pt x="9" y="10"/>
                        <a:pt x="1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49" name="Freeform 146"/>
                <p:cNvSpPr>
                  <a:spLocks/>
                </p:cNvSpPr>
                <p:nvPr/>
              </p:nvSpPr>
              <p:spPr bwMode="gray">
                <a:xfrm>
                  <a:off x="-2160588" y="-18788062"/>
                  <a:ext cx="220663" cy="557213"/>
                </a:xfrm>
                <a:custGeom>
                  <a:avLst/>
                  <a:gdLst/>
                  <a:ahLst/>
                  <a:cxnLst>
                    <a:cxn ang="0">
                      <a:pos x="59" y="142"/>
                    </a:cxn>
                    <a:cxn ang="0">
                      <a:pos x="50" y="113"/>
                    </a:cxn>
                    <a:cxn ang="0">
                      <a:pos x="54" y="79"/>
                    </a:cxn>
                    <a:cxn ang="0">
                      <a:pos x="39" y="97"/>
                    </a:cxn>
                    <a:cxn ang="0">
                      <a:pos x="38" y="63"/>
                    </a:cxn>
                    <a:cxn ang="0">
                      <a:pos x="18" y="73"/>
                    </a:cxn>
                    <a:cxn ang="0">
                      <a:pos x="21" y="0"/>
                    </a:cxn>
                    <a:cxn ang="0">
                      <a:pos x="2" y="34"/>
                    </a:cxn>
                    <a:cxn ang="0">
                      <a:pos x="1" y="72"/>
                    </a:cxn>
                    <a:cxn ang="0">
                      <a:pos x="14" y="106"/>
                    </a:cxn>
                    <a:cxn ang="0">
                      <a:pos x="22" y="122"/>
                    </a:cxn>
                    <a:cxn ang="0">
                      <a:pos x="29" y="140"/>
                    </a:cxn>
                    <a:cxn ang="0">
                      <a:pos x="38" y="147"/>
                    </a:cxn>
                    <a:cxn ang="0">
                      <a:pos x="38" y="149"/>
                    </a:cxn>
                    <a:cxn ang="0">
                      <a:pos x="49" y="144"/>
                    </a:cxn>
                    <a:cxn ang="0">
                      <a:pos x="59" y="142"/>
                    </a:cxn>
                  </a:cxnLst>
                  <a:rect l="0" t="0" r="r" b="b"/>
                  <a:pathLst>
                    <a:path w="59" h="149">
                      <a:moveTo>
                        <a:pt x="59" y="142"/>
                      </a:moveTo>
                      <a:cubicBezTo>
                        <a:pt x="57" y="132"/>
                        <a:pt x="50" y="124"/>
                        <a:pt x="50" y="113"/>
                      </a:cubicBezTo>
                      <a:cubicBezTo>
                        <a:pt x="49" y="101"/>
                        <a:pt x="52" y="90"/>
                        <a:pt x="54" y="79"/>
                      </a:cubicBezTo>
                      <a:cubicBezTo>
                        <a:pt x="46" y="78"/>
                        <a:pt x="38" y="90"/>
                        <a:pt x="39" y="97"/>
                      </a:cubicBezTo>
                      <a:cubicBezTo>
                        <a:pt x="34" y="86"/>
                        <a:pt x="31" y="73"/>
                        <a:pt x="38" y="63"/>
                      </a:cubicBezTo>
                      <a:cubicBezTo>
                        <a:pt x="29" y="59"/>
                        <a:pt x="23" y="68"/>
                        <a:pt x="18" y="73"/>
                      </a:cubicBezTo>
                      <a:cubicBezTo>
                        <a:pt x="11" y="49"/>
                        <a:pt x="16" y="24"/>
                        <a:pt x="21" y="0"/>
                      </a:cubicBezTo>
                      <a:cubicBezTo>
                        <a:pt x="9" y="4"/>
                        <a:pt x="3" y="23"/>
                        <a:pt x="2" y="34"/>
                      </a:cubicBezTo>
                      <a:cubicBezTo>
                        <a:pt x="1" y="46"/>
                        <a:pt x="0" y="61"/>
                        <a:pt x="1" y="72"/>
                      </a:cubicBezTo>
                      <a:cubicBezTo>
                        <a:pt x="3" y="85"/>
                        <a:pt x="7" y="95"/>
                        <a:pt x="14" y="106"/>
                      </a:cubicBezTo>
                      <a:cubicBezTo>
                        <a:pt x="17" y="111"/>
                        <a:pt x="20" y="117"/>
                        <a:pt x="22" y="122"/>
                      </a:cubicBezTo>
                      <a:cubicBezTo>
                        <a:pt x="25" y="127"/>
                        <a:pt x="26" y="135"/>
                        <a:pt x="29" y="140"/>
                      </a:cubicBezTo>
                      <a:cubicBezTo>
                        <a:pt x="31" y="144"/>
                        <a:pt x="34" y="146"/>
                        <a:pt x="38" y="147"/>
                      </a:cubicBezTo>
                      <a:cubicBezTo>
                        <a:pt x="38" y="148"/>
                        <a:pt x="38" y="148"/>
                        <a:pt x="38" y="149"/>
                      </a:cubicBezTo>
                      <a:cubicBezTo>
                        <a:pt x="43" y="149"/>
                        <a:pt x="45" y="146"/>
                        <a:pt x="49" y="144"/>
                      </a:cubicBezTo>
                      <a:cubicBezTo>
                        <a:pt x="52" y="143"/>
                        <a:pt x="57" y="142"/>
                        <a:pt x="59" y="142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50" name="Freeform 147"/>
                <p:cNvSpPr>
                  <a:spLocks/>
                </p:cNvSpPr>
                <p:nvPr/>
              </p:nvSpPr>
              <p:spPr bwMode="gray">
                <a:xfrm>
                  <a:off x="-2044700" y="-19318287"/>
                  <a:ext cx="280988" cy="176213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75" y="1"/>
                    </a:cxn>
                    <a:cxn ang="0">
                      <a:pos x="58" y="18"/>
                    </a:cxn>
                    <a:cxn ang="0">
                      <a:pos x="40" y="34"/>
                    </a:cxn>
                    <a:cxn ang="0">
                      <a:pos x="0" y="38"/>
                    </a:cxn>
                  </a:cxnLst>
                  <a:rect l="0" t="0" r="r" b="b"/>
                  <a:pathLst>
                    <a:path w="75" h="47">
                      <a:moveTo>
                        <a:pt x="0" y="38"/>
                      </a:moveTo>
                      <a:cubicBezTo>
                        <a:pt x="20" y="17"/>
                        <a:pt x="45" y="0"/>
                        <a:pt x="75" y="1"/>
                      </a:cubicBezTo>
                      <a:cubicBezTo>
                        <a:pt x="75" y="7"/>
                        <a:pt x="62" y="15"/>
                        <a:pt x="58" y="18"/>
                      </a:cubicBezTo>
                      <a:cubicBezTo>
                        <a:pt x="52" y="23"/>
                        <a:pt x="46" y="28"/>
                        <a:pt x="40" y="34"/>
                      </a:cubicBezTo>
                      <a:cubicBezTo>
                        <a:pt x="27" y="47"/>
                        <a:pt x="16" y="38"/>
                        <a:pt x="0" y="3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51" name="Freeform 148"/>
                <p:cNvSpPr>
                  <a:spLocks/>
                </p:cNvSpPr>
                <p:nvPr/>
              </p:nvSpPr>
              <p:spPr bwMode="gray">
                <a:xfrm>
                  <a:off x="-1789113" y="-19535775"/>
                  <a:ext cx="295275" cy="117475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39" y="16"/>
                    </a:cxn>
                    <a:cxn ang="0">
                      <a:pos x="79" y="0"/>
                    </a:cxn>
                    <a:cxn ang="0">
                      <a:pos x="55" y="14"/>
                    </a:cxn>
                    <a:cxn ang="0">
                      <a:pos x="41" y="20"/>
                    </a:cxn>
                    <a:cxn ang="0">
                      <a:pos x="13" y="2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79" h="31">
                      <a:moveTo>
                        <a:pt x="0" y="10"/>
                      </a:moveTo>
                      <a:cubicBezTo>
                        <a:pt x="5" y="19"/>
                        <a:pt x="31" y="17"/>
                        <a:pt x="39" y="16"/>
                      </a:cubicBezTo>
                      <a:cubicBezTo>
                        <a:pt x="53" y="13"/>
                        <a:pt x="66" y="4"/>
                        <a:pt x="79" y="0"/>
                      </a:cubicBezTo>
                      <a:cubicBezTo>
                        <a:pt x="77" y="5"/>
                        <a:pt x="61" y="11"/>
                        <a:pt x="55" y="14"/>
                      </a:cubicBezTo>
                      <a:cubicBezTo>
                        <a:pt x="51" y="17"/>
                        <a:pt x="46" y="18"/>
                        <a:pt x="41" y="20"/>
                      </a:cubicBezTo>
                      <a:cubicBezTo>
                        <a:pt x="33" y="24"/>
                        <a:pt x="23" y="31"/>
                        <a:pt x="13" y="29"/>
                      </a:cubicBezTo>
                      <a:cubicBezTo>
                        <a:pt x="10" y="22"/>
                        <a:pt x="7" y="14"/>
                        <a:pt x="0" y="11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  <p:sp>
              <p:nvSpPr>
                <p:cNvPr id="752" name="Freeform 149"/>
                <p:cNvSpPr>
                  <a:spLocks/>
                </p:cNvSpPr>
                <p:nvPr/>
              </p:nvSpPr>
              <p:spPr bwMode="gray">
                <a:xfrm>
                  <a:off x="-2052638" y="-19335750"/>
                  <a:ext cx="652463" cy="704850"/>
                </a:xfrm>
                <a:custGeom>
                  <a:avLst/>
                  <a:gdLst/>
                  <a:ahLst/>
                  <a:cxnLst>
                    <a:cxn ang="0">
                      <a:pos x="42" y="93"/>
                    </a:cxn>
                    <a:cxn ang="0">
                      <a:pos x="94" y="38"/>
                    </a:cxn>
                    <a:cxn ang="0">
                      <a:pos x="174" y="20"/>
                    </a:cxn>
                    <a:cxn ang="0">
                      <a:pos x="117" y="11"/>
                    </a:cxn>
                    <a:cxn ang="0">
                      <a:pos x="152" y="7"/>
                    </a:cxn>
                    <a:cxn ang="0">
                      <a:pos x="0" y="160"/>
                    </a:cxn>
                    <a:cxn ang="0">
                      <a:pos x="11" y="142"/>
                    </a:cxn>
                    <a:cxn ang="0">
                      <a:pos x="14" y="188"/>
                    </a:cxn>
                    <a:cxn ang="0">
                      <a:pos x="76" y="74"/>
                    </a:cxn>
                  </a:cxnLst>
                  <a:rect l="0" t="0" r="r" b="b"/>
                  <a:pathLst>
                    <a:path w="174" h="188">
                      <a:moveTo>
                        <a:pt x="42" y="93"/>
                      </a:moveTo>
                      <a:cubicBezTo>
                        <a:pt x="64" y="80"/>
                        <a:pt x="71" y="52"/>
                        <a:pt x="94" y="38"/>
                      </a:cubicBezTo>
                      <a:cubicBezTo>
                        <a:pt x="120" y="21"/>
                        <a:pt x="148" y="30"/>
                        <a:pt x="174" y="20"/>
                      </a:cubicBezTo>
                      <a:cubicBezTo>
                        <a:pt x="164" y="5"/>
                        <a:pt x="134" y="6"/>
                        <a:pt x="117" y="11"/>
                      </a:cubicBezTo>
                      <a:cubicBezTo>
                        <a:pt x="128" y="11"/>
                        <a:pt x="140" y="9"/>
                        <a:pt x="152" y="7"/>
                      </a:cubicBezTo>
                      <a:cubicBezTo>
                        <a:pt x="65" y="0"/>
                        <a:pt x="0" y="79"/>
                        <a:pt x="0" y="160"/>
                      </a:cubicBezTo>
                      <a:cubicBezTo>
                        <a:pt x="2" y="148"/>
                        <a:pt x="3" y="151"/>
                        <a:pt x="11" y="142"/>
                      </a:cubicBezTo>
                      <a:cubicBezTo>
                        <a:pt x="12" y="158"/>
                        <a:pt x="4" y="174"/>
                        <a:pt x="14" y="188"/>
                      </a:cubicBezTo>
                      <a:cubicBezTo>
                        <a:pt x="24" y="154"/>
                        <a:pt x="39" y="86"/>
                        <a:pt x="76" y="74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noProof="1"/>
                </a:p>
              </p:txBody>
            </p:sp>
          </p:grpSp>
        </p:grpSp>
        <p:grpSp>
          <p:nvGrpSpPr>
            <p:cNvPr id="8" name="Gruppieren 623"/>
            <p:cNvGrpSpPr/>
            <p:nvPr/>
          </p:nvGrpSpPr>
          <p:grpSpPr bwMode="gray">
            <a:xfrm rot="152818">
              <a:off x="7045423" y="1964176"/>
              <a:ext cx="907500" cy="1745699"/>
              <a:chOff x="252676" y="1873271"/>
              <a:chExt cx="1855735" cy="3569758"/>
            </a:xfrm>
          </p:grpSpPr>
          <p:pic>
            <p:nvPicPr>
              <p:cNvPr id="75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gray">
              <a:xfrm>
                <a:off x="252676" y="4738254"/>
                <a:ext cx="1855735" cy="704775"/>
              </a:xfrm>
              <a:prstGeom prst="rect">
                <a:avLst/>
              </a:prstGeom>
              <a:noFill/>
            </p:spPr>
          </p:pic>
          <p:grpSp>
            <p:nvGrpSpPr>
              <p:cNvPr id="9" name="Gruppieren 438"/>
              <p:cNvGrpSpPr/>
              <p:nvPr/>
            </p:nvGrpSpPr>
            <p:grpSpPr bwMode="gray">
              <a:xfrm>
                <a:off x="520930" y="1873270"/>
                <a:ext cx="1217190" cy="3378773"/>
                <a:chOff x="14946313" y="-19594512"/>
                <a:chExt cx="7529512" cy="20901025"/>
              </a:xfrm>
            </p:grpSpPr>
            <p:sp>
              <p:nvSpPr>
                <p:cNvPr id="756" name="Freeform 391"/>
                <p:cNvSpPr>
                  <a:spLocks/>
                </p:cNvSpPr>
                <p:nvPr/>
              </p:nvSpPr>
              <p:spPr bwMode="gray">
                <a:xfrm>
                  <a:off x="15584487" y="-9661524"/>
                  <a:ext cx="1547813" cy="1931988"/>
                </a:xfrm>
                <a:custGeom>
                  <a:avLst/>
                  <a:gdLst/>
                  <a:ahLst/>
                  <a:cxnLst>
                    <a:cxn ang="0">
                      <a:pos x="344" y="369"/>
                    </a:cxn>
                    <a:cxn ang="0">
                      <a:pos x="287" y="396"/>
                    </a:cxn>
                    <a:cxn ang="0">
                      <a:pos x="75" y="488"/>
                    </a:cxn>
                    <a:cxn ang="0">
                      <a:pos x="90" y="245"/>
                    </a:cxn>
                    <a:cxn ang="0">
                      <a:pos x="129" y="103"/>
                    </a:cxn>
                    <a:cxn ang="0">
                      <a:pos x="271" y="4"/>
                    </a:cxn>
                    <a:cxn ang="0">
                      <a:pos x="408" y="290"/>
                    </a:cxn>
                    <a:cxn ang="0">
                      <a:pos x="299" y="382"/>
                    </a:cxn>
                  </a:cxnLst>
                  <a:rect l="0" t="0" r="r" b="b"/>
                  <a:pathLst>
                    <a:path w="413" h="515">
                      <a:moveTo>
                        <a:pt x="344" y="369"/>
                      </a:moveTo>
                      <a:cubicBezTo>
                        <a:pt x="331" y="386"/>
                        <a:pt x="310" y="396"/>
                        <a:pt x="287" y="396"/>
                      </a:cubicBezTo>
                      <a:cubicBezTo>
                        <a:pt x="261" y="441"/>
                        <a:pt x="122" y="515"/>
                        <a:pt x="75" y="488"/>
                      </a:cubicBezTo>
                      <a:cubicBezTo>
                        <a:pt x="0" y="445"/>
                        <a:pt x="79" y="316"/>
                        <a:pt x="90" y="245"/>
                      </a:cubicBezTo>
                      <a:cubicBezTo>
                        <a:pt x="99" y="184"/>
                        <a:pt x="84" y="149"/>
                        <a:pt x="129" y="103"/>
                      </a:cubicBezTo>
                      <a:cubicBezTo>
                        <a:pt x="158" y="73"/>
                        <a:pt x="230" y="5"/>
                        <a:pt x="271" y="4"/>
                      </a:cubicBezTo>
                      <a:cubicBezTo>
                        <a:pt x="377" y="0"/>
                        <a:pt x="413" y="213"/>
                        <a:pt x="408" y="290"/>
                      </a:cubicBezTo>
                      <a:cubicBezTo>
                        <a:pt x="366" y="312"/>
                        <a:pt x="328" y="343"/>
                        <a:pt x="299" y="382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57" name="Freeform 392"/>
                <p:cNvSpPr>
                  <a:spLocks/>
                </p:cNvSpPr>
                <p:nvPr/>
              </p:nvSpPr>
              <p:spPr bwMode="gray">
                <a:xfrm>
                  <a:off x="20308887" y="-9721849"/>
                  <a:ext cx="1131888" cy="1492250"/>
                </a:xfrm>
                <a:custGeom>
                  <a:avLst/>
                  <a:gdLst/>
                  <a:ahLst/>
                  <a:cxnLst>
                    <a:cxn ang="0">
                      <a:pos x="102" y="33"/>
                    </a:cxn>
                    <a:cxn ang="0">
                      <a:pos x="228" y="207"/>
                    </a:cxn>
                    <a:cxn ang="0">
                      <a:pos x="290" y="302"/>
                    </a:cxn>
                    <a:cxn ang="0">
                      <a:pos x="227" y="367"/>
                    </a:cxn>
                    <a:cxn ang="0">
                      <a:pos x="19" y="272"/>
                    </a:cxn>
                    <a:cxn ang="0">
                      <a:pos x="115" y="0"/>
                    </a:cxn>
                  </a:cxnLst>
                  <a:rect l="0" t="0" r="r" b="b"/>
                  <a:pathLst>
                    <a:path w="302" h="398">
                      <a:moveTo>
                        <a:pt x="102" y="33"/>
                      </a:moveTo>
                      <a:cubicBezTo>
                        <a:pt x="180" y="65"/>
                        <a:pt x="180" y="144"/>
                        <a:pt x="228" y="207"/>
                      </a:cubicBezTo>
                      <a:cubicBezTo>
                        <a:pt x="246" y="232"/>
                        <a:pt x="284" y="268"/>
                        <a:pt x="290" y="302"/>
                      </a:cubicBezTo>
                      <a:cubicBezTo>
                        <a:pt x="302" y="363"/>
                        <a:pt x="275" y="349"/>
                        <a:pt x="227" y="367"/>
                      </a:cubicBezTo>
                      <a:cubicBezTo>
                        <a:pt x="140" y="398"/>
                        <a:pt x="43" y="395"/>
                        <a:pt x="19" y="272"/>
                      </a:cubicBezTo>
                      <a:cubicBezTo>
                        <a:pt x="0" y="178"/>
                        <a:pt x="11" y="32"/>
                        <a:pt x="115" y="0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58" name="Freeform 393"/>
                <p:cNvSpPr>
                  <a:spLocks/>
                </p:cNvSpPr>
                <p:nvPr/>
              </p:nvSpPr>
              <p:spPr bwMode="gray">
                <a:xfrm>
                  <a:off x="16900525" y="-455612"/>
                  <a:ext cx="1652588" cy="1762125"/>
                </a:xfrm>
                <a:custGeom>
                  <a:avLst/>
                  <a:gdLst/>
                  <a:ahLst/>
                  <a:cxnLst>
                    <a:cxn ang="0">
                      <a:pos x="437" y="8"/>
                    </a:cxn>
                    <a:cxn ang="0">
                      <a:pos x="424" y="171"/>
                    </a:cxn>
                    <a:cxn ang="0">
                      <a:pos x="346" y="276"/>
                    </a:cxn>
                    <a:cxn ang="0">
                      <a:pos x="112" y="445"/>
                    </a:cxn>
                    <a:cxn ang="0">
                      <a:pos x="78" y="222"/>
                    </a:cxn>
                    <a:cxn ang="0">
                      <a:pos x="293" y="2"/>
                    </a:cxn>
                    <a:cxn ang="0">
                      <a:pos x="424" y="41"/>
                    </a:cxn>
                  </a:cxnLst>
                  <a:rect l="0" t="0" r="r" b="b"/>
                  <a:pathLst>
                    <a:path w="441" h="470">
                      <a:moveTo>
                        <a:pt x="437" y="8"/>
                      </a:moveTo>
                      <a:cubicBezTo>
                        <a:pt x="437" y="56"/>
                        <a:pt x="441" y="128"/>
                        <a:pt x="424" y="171"/>
                      </a:cubicBezTo>
                      <a:cubicBezTo>
                        <a:pt x="408" y="210"/>
                        <a:pt x="368" y="231"/>
                        <a:pt x="346" y="276"/>
                      </a:cubicBezTo>
                      <a:cubicBezTo>
                        <a:pt x="304" y="361"/>
                        <a:pt x="234" y="470"/>
                        <a:pt x="112" y="445"/>
                      </a:cubicBezTo>
                      <a:cubicBezTo>
                        <a:pt x="0" y="422"/>
                        <a:pt x="31" y="294"/>
                        <a:pt x="78" y="222"/>
                      </a:cubicBezTo>
                      <a:cubicBezTo>
                        <a:pt x="145" y="120"/>
                        <a:pt x="155" y="6"/>
                        <a:pt x="293" y="2"/>
                      </a:cubicBezTo>
                      <a:cubicBezTo>
                        <a:pt x="355" y="0"/>
                        <a:pt x="374" y="24"/>
                        <a:pt x="424" y="41"/>
                      </a:cubicBezTo>
                    </a:path>
                  </a:pathLst>
                </a:custGeom>
                <a:solidFill>
                  <a:srgbClr val="0A0A0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59" name="Freeform 394"/>
                <p:cNvSpPr>
                  <a:spLocks/>
                </p:cNvSpPr>
                <p:nvPr/>
              </p:nvSpPr>
              <p:spPr bwMode="gray">
                <a:xfrm>
                  <a:off x="19599275" y="-650874"/>
                  <a:ext cx="2876550" cy="1687513"/>
                </a:xfrm>
                <a:custGeom>
                  <a:avLst/>
                  <a:gdLst/>
                  <a:ahLst/>
                  <a:cxnLst>
                    <a:cxn ang="0">
                      <a:pos x="50" y="60"/>
                    </a:cxn>
                    <a:cxn ang="0">
                      <a:pos x="5" y="229"/>
                    </a:cxn>
                    <a:cxn ang="0">
                      <a:pos x="135" y="283"/>
                    </a:cxn>
                    <a:cxn ang="0">
                      <a:pos x="237" y="271"/>
                    </a:cxn>
                    <a:cxn ang="0">
                      <a:pos x="332" y="345"/>
                    </a:cxn>
                    <a:cxn ang="0">
                      <a:pos x="468" y="386"/>
                    </a:cxn>
                    <a:cxn ang="0">
                      <a:pos x="663" y="321"/>
                    </a:cxn>
                    <a:cxn ang="0">
                      <a:pos x="539" y="238"/>
                    </a:cxn>
                    <a:cxn ang="0">
                      <a:pos x="446" y="140"/>
                    </a:cxn>
                    <a:cxn ang="0">
                      <a:pos x="266" y="13"/>
                    </a:cxn>
                    <a:cxn ang="0">
                      <a:pos x="24" y="60"/>
                    </a:cxn>
                  </a:cxnLst>
                  <a:rect l="0" t="0" r="r" b="b"/>
                  <a:pathLst>
                    <a:path w="767" h="450">
                      <a:moveTo>
                        <a:pt x="50" y="60"/>
                      </a:moveTo>
                      <a:cubicBezTo>
                        <a:pt x="13" y="107"/>
                        <a:pt x="0" y="167"/>
                        <a:pt x="5" y="229"/>
                      </a:cubicBezTo>
                      <a:cubicBezTo>
                        <a:pt x="48" y="241"/>
                        <a:pt x="90" y="278"/>
                        <a:pt x="135" y="283"/>
                      </a:cubicBezTo>
                      <a:cubicBezTo>
                        <a:pt x="189" y="291"/>
                        <a:pt x="182" y="242"/>
                        <a:pt x="237" y="271"/>
                      </a:cubicBezTo>
                      <a:cubicBezTo>
                        <a:pt x="271" y="288"/>
                        <a:pt x="300" y="327"/>
                        <a:pt x="332" y="345"/>
                      </a:cubicBezTo>
                      <a:cubicBezTo>
                        <a:pt x="384" y="375"/>
                        <a:pt x="410" y="375"/>
                        <a:pt x="468" y="386"/>
                      </a:cubicBezTo>
                      <a:cubicBezTo>
                        <a:pt x="528" y="397"/>
                        <a:pt x="767" y="450"/>
                        <a:pt x="663" y="321"/>
                      </a:cubicBezTo>
                      <a:cubicBezTo>
                        <a:pt x="633" y="284"/>
                        <a:pt x="577" y="270"/>
                        <a:pt x="539" y="238"/>
                      </a:cubicBezTo>
                      <a:cubicBezTo>
                        <a:pt x="503" y="208"/>
                        <a:pt x="479" y="171"/>
                        <a:pt x="446" y="140"/>
                      </a:cubicBezTo>
                      <a:cubicBezTo>
                        <a:pt x="395" y="91"/>
                        <a:pt x="336" y="27"/>
                        <a:pt x="266" y="13"/>
                      </a:cubicBezTo>
                      <a:cubicBezTo>
                        <a:pt x="205" y="0"/>
                        <a:pt x="67" y="13"/>
                        <a:pt x="24" y="60"/>
                      </a:cubicBezTo>
                    </a:path>
                  </a:pathLst>
                </a:custGeom>
                <a:solidFill>
                  <a:srgbClr val="0504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0" name="Freeform 395"/>
                <p:cNvSpPr>
                  <a:spLocks/>
                </p:cNvSpPr>
                <p:nvPr/>
              </p:nvSpPr>
              <p:spPr bwMode="gray">
                <a:xfrm>
                  <a:off x="16236950" y="-11128374"/>
                  <a:ext cx="5286375" cy="11190288"/>
                </a:xfrm>
                <a:custGeom>
                  <a:avLst/>
                  <a:gdLst/>
                  <a:ahLst/>
                  <a:cxnLst>
                    <a:cxn ang="0">
                      <a:pos x="196" y="75"/>
                    </a:cxn>
                    <a:cxn ang="0">
                      <a:pos x="73" y="356"/>
                    </a:cxn>
                    <a:cxn ang="0">
                      <a:pos x="32" y="651"/>
                    </a:cxn>
                    <a:cxn ang="0">
                      <a:pos x="79" y="787"/>
                    </a:cxn>
                    <a:cxn ang="0">
                      <a:pos x="86" y="962"/>
                    </a:cxn>
                    <a:cxn ang="0">
                      <a:pos x="87" y="1136"/>
                    </a:cxn>
                    <a:cxn ang="0">
                      <a:pos x="131" y="1295"/>
                    </a:cxn>
                    <a:cxn ang="0">
                      <a:pos x="190" y="1972"/>
                    </a:cxn>
                    <a:cxn ang="0">
                      <a:pos x="223" y="2117"/>
                    </a:cxn>
                    <a:cxn ang="0">
                      <a:pos x="210" y="2319"/>
                    </a:cxn>
                    <a:cxn ang="0">
                      <a:pos x="275" y="2456"/>
                    </a:cxn>
                    <a:cxn ang="0">
                      <a:pos x="307" y="2632"/>
                    </a:cxn>
                    <a:cxn ang="0">
                      <a:pos x="345" y="2921"/>
                    </a:cxn>
                    <a:cxn ang="0">
                      <a:pos x="619" y="2885"/>
                    </a:cxn>
                    <a:cxn ang="0">
                      <a:pos x="629" y="2593"/>
                    </a:cxn>
                    <a:cxn ang="0">
                      <a:pos x="567" y="2451"/>
                    </a:cxn>
                    <a:cxn ang="0">
                      <a:pos x="606" y="2311"/>
                    </a:cxn>
                    <a:cxn ang="0">
                      <a:pos x="594" y="2000"/>
                    </a:cxn>
                    <a:cxn ang="0">
                      <a:pos x="601" y="1654"/>
                    </a:cxn>
                    <a:cxn ang="0">
                      <a:pos x="607" y="1282"/>
                    </a:cxn>
                    <a:cxn ang="0">
                      <a:pos x="607" y="1104"/>
                    </a:cxn>
                    <a:cxn ang="0">
                      <a:pos x="621" y="949"/>
                    </a:cxn>
                    <a:cxn ang="0">
                      <a:pos x="622" y="924"/>
                    </a:cxn>
                    <a:cxn ang="0">
                      <a:pos x="731" y="1106"/>
                    </a:cxn>
                    <a:cxn ang="0">
                      <a:pos x="803" y="1360"/>
                    </a:cxn>
                    <a:cxn ang="0">
                      <a:pos x="909" y="1829"/>
                    </a:cxn>
                    <a:cxn ang="0">
                      <a:pos x="921" y="2047"/>
                    </a:cxn>
                    <a:cxn ang="0">
                      <a:pos x="945" y="2333"/>
                    </a:cxn>
                    <a:cxn ang="0">
                      <a:pos x="909" y="2879"/>
                    </a:cxn>
                    <a:cxn ang="0">
                      <a:pos x="1242" y="2895"/>
                    </a:cxn>
                    <a:cxn ang="0">
                      <a:pos x="1286" y="2771"/>
                    </a:cxn>
                    <a:cxn ang="0">
                      <a:pos x="1307" y="2594"/>
                    </a:cxn>
                    <a:cxn ang="0">
                      <a:pos x="1312" y="2188"/>
                    </a:cxn>
                    <a:cxn ang="0">
                      <a:pos x="1384" y="1791"/>
                    </a:cxn>
                    <a:cxn ang="0">
                      <a:pos x="1346" y="1445"/>
                    </a:cxn>
                    <a:cxn ang="0">
                      <a:pos x="1292" y="1036"/>
                    </a:cxn>
                    <a:cxn ang="0">
                      <a:pos x="1240" y="879"/>
                    </a:cxn>
                    <a:cxn ang="0">
                      <a:pos x="1182" y="736"/>
                    </a:cxn>
                    <a:cxn ang="0">
                      <a:pos x="1182" y="643"/>
                    </a:cxn>
                    <a:cxn ang="0">
                      <a:pos x="1206" y="564"/>
                    </a:cxn>
                    <a:cxn ang="0">
                      <a:pos x="1137" y="447"/>
                    </a:cxn>
                    <a:cxn ang="0">
                      <a:pos x="1053" y="263"/>
                    </a:cxn>
                    <a:cxn ang="0">
                      <a:pos x="959" y="83"/>
                    </a:cxn>
                    <a:cxn ang="0">
                      <a:pos x="492" y="11"/>
                    </a:cxn>
                    <a:cxn ang="0">
                      <a:pos x="190" y="82"/>
                    </a:cxn>
                  </a:cxnLst>
                  <a:rect l="0" t="0" r="r" b="b"/>
                  <a:pathLst>
                    <a:path w="1410" h="2984">
                      <a:moveTo>
                        <a:pt x="196" y="75"/>
                      </a:moveTo>
                      <a:cubicBezTo>
                        <a:pt x="106" y="162"/>
                        <a:pt x="72" y="221"/>
                        <a:pt x="73" y="356"/>
                      </a:cubicBezTo>
                      <a:cubicBezTo>
                        <a:pt x="73" y="455"/>
                        <a:pt x="0" y="550"/>
                        <a:pt x="32" y="651"/>
                      </a:cubicBezTo>
                      <a:cubicBezTo>
                        <a:pt x="47" y="699"/>
                        <a:pt x="72" y="735"/>
                        <a:pt x="79" y="787"/>
                      </a:cubicBezTo>
                      <a:cubicBezTo>
                        <a:pt x="87" y="845"/>
                        <a:pt x="86" y="903"/>
                        <a:pt x="86" y="962"/>
                      </a:cubicBezTo>
                      <a:cubicBezTo>
                        <a:pt x="86" y="1017"/>
                        <a:pt x="76" y="1082"/>
                        <a:pt x="87" y="1136"/>
                      </a:cubicBezTo>
                      <a:cubicBezTo>
                        <a:pt x="99" y="1196"/>
                        <a:pt x="131" y="1230"/>
                        <a:pt x="131" y="1295"/>
                      </a:cubicBezTo>
                      <a:cubicBezTo>
                        <a:pt x="134" y="1518"/>
                        <a:pt x="133" y="1760"/>
                        <a:pt x="190" y="1972"/>
                      </a:cubicBezTo>
                      <a:cubicBezTo>
                        <a:pt x="203" y="2021"/>
                        <a:pt x="226" y="2060"/>
                        <a:pt x="223" y="2117"/>
                      </a:cubicBezTo>
                      <a:cubicBezTo>
                        <a:pt x="219" y="2182"/>
                        <a:pt x="197" y="2251"/>
                        <a:pt x="210" y="2319"/>
                      </a:cubicBezTo>
                      <a:cubicBezTo>
                        <a:pt x="219" y="2371"/>
                        <a:pt x="261" y="2406"/>
                        <a:pt x="275" y="2456"/>
                      </a:cubicBezTo>
                      <a:cubicBezTo>
                        <a:pt x="290" y="2510"/>
                        <a:pt x="302" y="2576"/>
                        <a:pt x="307" y="2632"/>
                      </a:cubicBezTo>
                      <a:cubicBezTo>
                        <a:pt x="317" y="2735"/>
                        <a:pt x="250" y="2849"/>
                        <a:pt x="345" y="2921"/>
                      </a:cubicBezTo>
                      <a:cubicBezTo>
                        <a:pt x="428" y="2984"/>
                        <a:pt x="569" y="2964"/>
                        <a:pt x="619" y="2885"/>
                      </a:cubicBezTo>
                      <a:cubicBezTo>
                        <a:pt x="687" y="2777"/>
                        <a:pt x="670" y="2704"/>
                        <a:pt x="629" y="2593"/>
                      </a:cubicBezTo>
                      <a:cubicBezTo>
                        <a:pt x="611" y="2547"/>
                        <a:pt x="575" y="2500"/>
                        <a:pt x="567" y="2451"/>
                      </a:cubicBezTo>
                      <a:cubicBezTo>
                        <a:pt x="558" y="2394"/>
                        <a:pt x="592" y="2359"/>
                        <a:pt x="606" y="2311"/>
                      </a:cubicBezTo>
                      <a:cubicBezTo>
                        <a:pt x="639" y="2199"/>
                        <a:pt x="604" y="2104"/>
                        <a:pt x="594" y="2000"/>
                      </a:cubicBezTo>
                      <a:cubicBezTo>
                        <a:pt x="584" y="1880"/>
                        <a:pt x="601" y="1772"/>
                        <a:pt x="601" y="1654"/>
                      </a:cubicBezTo>
                      <a:cubicBezTo>
                        <a:pt x="601" y="1528"/>
                        <a:pt x="614" y="1407"/>
                        <a:pt x="607" y="1282"/>
                      </a:cubicBezTo>
                      <a:cubicBezTo>
                        <a:pt x="604" y="1224"/>
                        <a:pt x="605" y="1162"/>
                        <a:pt x="607" y="1104"/>
                      </a:cubicBezTo>
                      <a:cubicBezTo>
                        <a:pt x="609" y="1067"/>
                        <a:pt x="605" y="982"/>
                        <a:pt x="621" y="949"/>
                      </a:cubicBezTo>
                      <a:cubicBezTo>
                        <a:pt x="623" y="944"/>
                        <a:pt x="621" y="930"/>
                        <a:pt x="622" y="924"/>
                      </a:cubicBezTo>
                      <a:cubicBezTo>
                        <a:pt x="684" y="947"/>
                        <a:pt x="714" y="1047"/>
                        <a:pt x="731" y="1106"/>
                      </a:cubicBezTo>
                      <a:cubicBezTo>
                        <a:pt x="756" y="1191"/>
                        <a:pt x="788" y="1274"/>
                        <a:pt x="803" y="1360"/>
                      </a:cubicBezTo>
                      <a:cubicBezTo>
                        <a:pt x="831" y="1521"/>
                        <a:pt x="885" y="1669"/>
                        <a:pt x="909" y="1829"/>
                      </a:cubicBezTo>
                      <a:cubicBezTo>
                        <a:pt x="1006" y="1843"/>
                        <a:pt x="927" y="1994"/>
                        <a:pt x="921" y="2047"/>
                      </a:cubicBezTo>
                      <a:cubicBezTo>
                        <a:pt x="909" y="2146"/>
                        <a:pt x="954" y="2232"/>
                        <a:pt x="945" y="2333"/>
                      </a:cubicBezTo>
                      <a:cubicBezTo>
                        <a:pt x="930" y="2511"/>
                        <a:pt x="901" y="2701"/>
                        <a:pt x="909" y="2879"/>
                      </a:cubicBezTo>
                      <a:cubicBezTo>
                        <a:pt x="1023" y="2891"/>
                        <a:pt x="1133" y="2965"/>
                        <a:pt x="1242" y="2895"/>
                      </a:cubicBezTo>
                      <a:cubicBezTo>
                        <a:pt x="1296" y="2860"/>
                        <a:pt x="1283" y="2844"/>
                        <a:pt x="1286" y="2771"/>
                      </a:cubicBezTo>
                      <a:cubicBezTo>
                        <a:pt x="1288" y="2708"/>
                        <a:pt x="1298" y="2652"/>
                        <a:pt x="1307" y="2594"/>
                      </a:cubicBezTo>
                      <a:cubicBezTo>
                        <a:pt x="1326" y="2462"/>
                        <a:pt x="1305" y="2322"/>
                        <a:pt x="1312" y="2188"/>
                      </a:cubicBezTo>
                      <a:cubicBezTo>
                        <a:pt x="1319" y="2053"/>
                        <a:pt x="1355" y="1920"/>
                        <a:pt x="1384" y="1791"/>
                      </a:cubicBezTo>
                      <a:cubicBezTo>
                        <a:pt x="1410" y="1674"/>
                        <a:pt x="1389" y="1551"/>
                        <a:pt x="1346" y="1445"/>
                      </a:cubicBezTo>
                      <a:cubicBezTo>
                        <a:pt x="1295" y="1315"/>
                        <a:pt x="1311" y="1172"/>
                        <a:pt x="1292" y="1036"/>
                      </a:cubicBezTo>
                      <a:cubicBezTo>
                        <a:pt x="1283" y="969"/>
                        <a:pt x="1278" y="933"/>
                        <a:pt x="1240" y="879"/>
                      </a:cubicBezTo>
                      <a:cubicBezTo>
                        <a:pt x="1207" y="832"/>
                        <a:pt x="1185" y="795"/>
                        <a:pt x="1182" y="736"/>
                      </a:cubicBezTo>
                      <a:cubicBezTo>
                        <a:pt x="1180" y="707"/>
                        <a:pt x="1177" y="671"/>
                        <a:pt x="1182" y="643"/>
                      </a:cubicBezTo>
                      <a:cubicBezTo>
                        <a:pt x="1186" y="615"/>
                        <a:pt x="1205" y="590"/>
                        <a:pt x="1206" y="564"/>
                      </a:cubicBezTo>
                      <a:cubicBezTo>
                        <a:pt x="1208" y="513"/>
                        <a:pt x="1169" y="484"/>
                        <a:pt x="1137" y="447"/>
                      </a:cubicBezTo>
                      <a:cubicBezTo>
                        <a:pt x="1089" y="389"/>
                        <a:pt x="1065" y="337"/>
                        <a:pt x="1053" y="263"/>
                      </a:cubicBezTo>
                      <a:cubicBezTo>
                        <a:pt x="1038" y="178"/>
                        <a:pt x="1003" y="148"/>
                        <a:pt x="959" y="83"/>
                      </a:cubicBezTo>
                      <a:cubicBezTo>
                        <a:pt x="809" y="57"/>
                        <a:pt x="649" y="33"/>
                        <a:pt x="492" y="11"/>
                      </a:cubicBezTo>
                      <a:cubicBezTo>
                        <a:pt x="413" y="0"/>
                        <a:pt x="246" y="15"/>
                        <a:pt x="190" y="82"/>
                      </a:cubicBezTo>
                    </a:path>
                  </a:pathLst>
                </a:custGeom>
                <a:solidFill>
                  <a:srgbClr val="35343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1" name="Freeform 396"/>
                <p:cNvSpPr>
                  <a:spLocks/>
                </p:cNvSpPr>
                <p:nvPr/>
              </p:nvSpPr>
              <p:spPr bwMode="gray">
                <a:xfrm>
                  <a:off x="19731037" y="-4359274"/>
                  <a:ext cx="296863" cy="938213"/>
                </a:xfrm>
                <a:custGeom>
                  <a:avLst/>
                  <a:gdLst/>
                  <a:ahLst/>
                  <a:cxnLst>
                    <a:cxn ang="0">
                      <a:pos x="10" y="23"/>
                    </a:cxn>
                    <a:cxn ang="0">
                      <a:pos x="60" y="54"/>
                    </a:cxn>
                    <a:cxn ang="0">
                      <a:pos x="59" y="111"/>
                    </a:cxn>
                    <a:cxn ang="0">
                      <a:pos x="23" y="250"/>
                    </a:cxn>
                    <a:cxn ang="0">
                      <a:pos x="3" y="182"/>
                    </a:cxn>
                    <a:cxn ang="0">
                      <a:pos x="45" y="11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9" h="250">
                      <a:moveTo>
                        <a:pt x="10" y="23"/>
                      </a:moveTo>
                      <a:cubicBezTo>
                        <a:pt x="19" y="45"/>
                        <a:pt x="46" y="40"/>
                        <a:pt x="60" y="54"/>
                      </a:cubicBezTo>
                      <a:cubicBezTo>
                        <a:pt x="79" y="75"/>
                        <a:pt x="71" y="92"/>
                        <a:pt x="59" y="111"/>
                      </a:cubicBezTo>
                      <a:cubicBezTo>
                        <a:pt x="30" y="154"/>
                        <a:pt x="7" y="193"/>
                        <a:pt x="23" y="250"/>
                      </a:cubicBezTo>
                      <a:cubicBezTo>
                        <a:pt x="19" y="230"/>
                        <a:pt x="1" y="202"/>
                        <a:pt x="3" y="182"/>
                      </a:cubicBezTo>
                      <a:cubicBezTo>
                        <a:pt x="6" y="154"/>
                        <a:pt x="31" y="142"/>
                        <a:pt x="45" y="117"/>
                      </a:cubicBezTo>
                      <a:cubicBezTo>
                        <a:pt x="78" y="57"/>
                        <a:pt x="13" y="50"/>
                        <a:pt x="0" y="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2" name="Freeform 397"/>
                <p:cNvSpPr>
                  <a:spLocks/>
                </p:cNvSpPr>
                <p:nvPr/>
              </p:nvSpPr>
              <p:spPr bwMode="gray">
                <a:xfrm>
                  <a:off x="19989800" y="-1033462"/>
                  <a:ext cx="1136650" cy="341313"/>
                </a:xfrm>
                <a:custGeom>
                  <a:avLst/>
                  <a:gdLst/>
                  <a:ahLst/>
                  <a:cxnLst>
                    <a:cxn ang="0">
                      <a:pos x="32" y="72"/>
                    </a:cxn>
                    <a:cxn ang="0">
                      <a:pos x="84" y="42"/>
                    </a:cxn>
                    <a:cxn ang="0">
                      <a:pos x="156" y="20"/>
                    </a:cxn>
                    <a:cxn ang="0">
                      <a:pos x="278" y="43"/>
                    </a:cxn>
                    <a:cxn ang="0">
                      <a:pos x="130" y="42"/>
                    </a:cxn>
                    <a:cxn ang="0">
                      <a:pos x="0" y="91"/>
                    </a:cxn>
                  </a:cxnLst>
                  <a:rect l="0" t="0" r="r" b="b"/>
                  <a:pathLst>
                    <a:path w="303" h="91">
                      <a:moveTo>
                        <a:pt x="32" y="72"/>
                      </a:moveTo>
                      <a:cubicBezTo>
                        <a:pt x="50" y="66"/>
                        <a:pt x="66" y="50"/>
                        <a:pt x="84" y="42"/>
                      </a:cubicBezTo>
                      <a:cubicBezTo>
                        <a:pt x="108" y="32"/>
                        <a:pt x="132" y="28"/>
                        <a:pt x="156" y="20"/>
                      </a:cubicBezTo>
                      <a:cubicBezTo>
                        <a:pt x="173" y="14"/>
                        <a:pt x="303" y="0"/>
                        <a:pt x="278" y="43"/>
                      </a:cubicBezTo>
                      <a:cubicBezTo>
                        <a:pt x="268" y="60"/>
                        <a:pt x="152" y="42"/>
                        <a:pt x="130" y="42"/>
                      </a:cubicBezTo>
                      <a:cubicBezTo>
                        <a:pt x="95" y="44"/>
                        <a:pt x="25" y="68"/>
                        <a:pt x="0" y="91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3" name="Freeform 398"/>
                <p:cNvSpPr>
                  <a:spLocks/>
                </p:cNvSpPr>
                <p:nvPr/>
              </p:nvSpPr>
              <p:spPr bwMode="gray">
                <a:xfrm>
                  <a:off x="19626262" y="-4733924"/>
                  <a:ext cx="506413" cy="1214438"/>
                </a:xfrm>
                <a:custGeom>
                  <a:avLst/>
                  <a:gdLst/>
                  <a:ahLst/>
                  <a:cxnLst>
                    <a:cxn ang="0">
                      <a:pos x="38" y="116"/>
                    </a:cxn>
                    <a:cxn ang="0">
                      <a:pos x="80" y="207"/>
                    </a:cxn>
                    <a:cxn ang="0">
                      <a:pos x="50" y="324"/>
                    </a:cxn>
                    <a:cxn ang="0">
                      <a:pos x="126" y="155"/>
                    </a:cxn>
                    <a:cxn ang="0">
                      <a:pos x="65" y="76"/>
                    </a:cxn>
                    <a:cxn ang="0">
                      <a:pos x="27" y="0"/>
                    </a:cxn>
                    <a:cxn ang="0">
                      <a:pos x="31" y="110"/>
                    </a:cxn>
                  </a:cxnLst>
                  <a:rect l="0" t="0" r="r" b="b"/>
                  <a:pathLst>
                    <a:path w="135" h="324">
                      <a:moveTo>
                        <a:pt x="38" y="116"/>
                      </a:moveTo>
                      <a:cubicBezTo>
                        <a:pt x="66" y="145"/>
                        <a:pt x="108" y="158"/>
                        <a:pt x="80" y="207"/>
                      </a:cubicBezTo>
                      <a:cubicBezTo>
                        <a:pt x="66" y="231"/>
                        <a:pt x="0" y="299"/>
                        <a:pt x="50" y="324"/>
                      </a:cubicBezTo>
                      <a:cubicBezTo>
                        <a:pt x="52" y="250"/>
                        <a:pt x="135" y="230"/>
                        <a:pt x="126" y="155"/>
                      </a:cubicBezTo>
                      <a:cubicBezTo>
                        <a:pt x="120" y="112"/>
                        <a:pt x="89" y="108"/>
                        <a:pt x="65" y="76"/>
                      </a:cubicBezTo>
                      <a:cubicBezTo>
                        <a:pt x="46" y="51"/>
                        <a:pt x="42" y="24"/>
                        <a:pt x="27" y="0"/>
                      </a:cubicBezTo>
                      <a:cubicBezTo>
                        <a:pt x="4" y="31"/>
                        <a:pt x="10" y="80"/>
                        <a:pt x="31" y="11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4" name="Freeform 399"/>
                <p:cNvSpPr>
                  <a:spLocks/>
                </p:cNvSpPr>
                <p:nvPr/>
              </p:nvSpPr>
              <p:spPr bwMode="gray">
                <a:xfrm>
                  <a:off x="18816637" y="-7970837"/>
                  <a:ext cx="906463" cy="387350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238" y="46"/>
                    </a:cxn>
                    <a:cxn ang="0">
                      <a:pos x="116" y="24"/>
                    </a:cxn>
                    <a:cxn ang="0">
                      <a:pos x="3" y="7"/>
                    </a:cxn>
                  </a:cxnLst>
                  <a:rect l="0" t="0" r="r" b="b"/>
                  <a:pathLst>
                    <a:path w="242" h="103">
                      <a:moveTo>
                        <a:pt x="0" y="4"/>
                      </a:moveTo>
                      <a:cubicBezTo>
                        <a:pt x="21" y="36"/>
                        <a:pt x="242" y="103"/>
                        <a:pt x="238" y="46"/>
                      </a:cubicBezTo>
                      <a:cubicBezTo>
                        <a:pt x="234" y="0"/>
                        <a:pt x="139" y="21"/>
                        <a:pt x="116" y="24"/>
                      </a:cubicBezTo>
                      <a:cubicBezTo>
                        <a:pt x="82" y="27"/>
                        <a:pt x="26" y="19"/>
                        <a:pt x="3" y="7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5" name="Freeform 400"/>
                <p:cNvSpPr>
                  <a:spLocks/>
                </p:cNvSpPr>
                <p:nvPr/>
              </p:nvSpPr>
              <p:spPr bwMode="gray">
                <a:xfrm>
                  <a:off x="16513175" y="-10707687"/>
                  <a:ext cx="3709988" cy="922338"/>
                </a:xfrm>
                <a:custGeom>
                  <a:avLst/>
                  <a:gdLst/>
                  <a:ahLst/>
                  <a:cxnLst>
                    <a:cxn ang="0">
                      <a:pos x="64" y="22"/>
                    </a:cxn>
                    <a:cxn ang="0">
                      <a:pos x="278" y="61"/>
                    </a:cxn>
                    <a:cxn ang="0">
                      <a:pos x="494" y="74"/>
                    </a:cxn>
                    <a:cxn ang="0">
                      <a:pos x="736" y="72"/>
                    </a:cxn>
                    <a:cxn ang="0">
                      <a:pos x="968" y="42"/>
                    </a:cxn>
                    <a:cxn ang="0">
                      <a:pos x="755" y="217"/>
                    </a:cxn>
                    <a:cxn ang="0">
                      <a:pos x="423" y="237"/>
                    </a:cxn>
                    <a:cxn ang="0">
                      <a:pos x="142" y="165"/>
                    </a:cxn>
                    <a:cxn ang="0">
                      <a:pos x="12" y="133"/>
                    </a:cxn>
                    <a:cxn ang="0">
                      <a:pos x="64" y="9"/>
                    </a:cxn>
                  </a:cxnLst>
                  <a:rect l="0" t="0" r="r" b="b"/>
                  <a:pathLst>
                    <a:path w="989" h="246">
                      <a:moveTo>
                        <a:pt x="64" y="22"/>
                      </a:moveTo>
                      <a:cubicBezTo>
                        <a:pt x="117" y="11"/>
                        <a:pt x="219" y="52"/>
                        <a:pt x="278" y="61"/>
                      </a:cubicBezTo>
                      <a:cubicBezTo>
                        <a:pt x="351" y="72"/>
                        <a:pt x="416" y="74"/>
                        <a:pt x="494" y="74"/>
                      </a:cubicBezTo>
                      <a:cubicBezTo>
                        <a:pt x="575" y="74"/>
                        <a:pt x="659" y="84"/>
                        <a:pt x="736" y="72"/>
                      </a:cubicBezTo>
                      <a:cubicBezTo>
                        <a:pt x="817" y="60"/>
                        <a:pt x="883" y="38"/>
                        <a:pt x="968" y="42"/>
                      </a:cubicBezTo>
                      <a:cubicBezTo>
                        <a:pt x="989" y="190"/>
                        <a:pt x="876" y="211"/>
                        <a:pt x="755" y="217"/>
                      </a:cubicBezTo>
                      <a:cubicBezTo>
                        <a:pt x="645" y="223"/>
                        <a:pt x="531" y="246"/>
                        <a:pt x="423" y="237"/>
                      </a:cubicBezTo>
                      <a:cubicBezTo>
                        <a:pt x="328" y="229"/>
                        <a:pt x="238" y="182"/>
                        <a:pt x="142" y="165"/>
                      </a:cubicBezTo>
                      <a:cubicBezTo>
                        <a:pt x="93" y="157"/>
                        <a:pt x="30" y="186"/>
                        <a:pt x="12" y="133"/>
                      </a:cubicBezTo>
                      <a:cubicBezTo>
                        <a:pt x="0" y="99"/>
                        <a:pt x="20" y="0"/>
                        <a:pt x="64" y="9"/>
                      </a:cubicBezTo>
                    </a:path>
                  </a:pathLst>
                </a:custGeom>
                <a:solidFill>
                  <a:srgbClr val="0201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6" name="Freeform 401"/>
                <p:cNvSpPr>
                  <a:spLocks/>
                </p:cNvSpPr>
                <p:nvPr/>
              </p:nvSpPr>
              <p:spPr bwMode="gray">
                <a:xfrm>
                  <a:off x="18095912" y="-10504487"/>
                  <a:ext cx="1039813" cy="842963"/>
                </a:xfrm>
                <a:custGeom>
                  <a:avLst/>
                  <a:gdLst/>
                  <a:ahLst/>
                  <a:cxnLst>
                    <a:cxn ang="0">
                      <a:pos x="14" y="40"/>
                    </a:cxn>
                    <a:cxn ang="0">
                      <a:pos x="110" y="21"/>
                    </a:cxn>
                    <a:cxn ang="0">
                      <a:pos x="204" y="165"/>
                    </a:cxn>
                    <a:cxn ang="0">
                      <a:pos x="2" y="201"/>
                    </a:cxn>
                    <a:cxn ang="0">
                      <a:pos x="2" y="171"/>
                    </a:cxn>
                    <a:cxn ang="0">
                      <a:pos x="184" y="138"/>
                    </a:cxn>
                    <a:cxn ang="0">
                      <a:pos x="14" y="53"/>
                    </a:cxn>
                  </a:cxnLst>
                  <a:rect l="0" t="0" r="r" b="b"/>
                  <a:pathLst>
                    <a:path w="277" h="225">
                      <a:moveTo>
                        <a:pt x="14" y="40"/>
                      </a:moveTo>
                      <a:cubicBezTo>
                        <a:pt x="25" y="0"/>
                        <a:pt x="77" y="13"/>
                        <a:pt x="110" y="21"/>
                      </a:cubicBezTo>
                      <a:cubicBezTo>
                        <a:pt x="146" y="65"/>
                        <a:pt x="277" y="65"/>
                        <a:pt x="204" y="165"/>
                      </a:cubicBezTo>
                      <a:cubicBezTo>
                        <a:pt x="165" y="220"/>
                        <a:pt x="59" y="225"/>
                        <a:pt x="2" y="201"/>
                      </a:cubicBezTo>
                      <a:cubicBezTo>
                        <a:pt x="0" y="192"/>
                        <a:pt x="0" y="181"/>
                        <a:pt x="2" y="171"/>
                      </a:cubicBezTo>
                      <a:cubicBezTo>
                        <a:pt x="46" y="169"/>
                        <a:pt x="173" y="202"/>
                        <a:pt x="184" y="138"/>
                      </a:cubicBezTo>
                      <a:cubicBezTo>
                        <a:pt x="196" y="62"/>
                        <a:pt x="58" y="65"/>
                        <a:pt x="14" y="53"/>
                      </a:cubicBezTo>
                    </a:path>
                  </a:pathLst>
                </a:custGeom>
                <a:solidFill>
                  <a:srgbClr val="C1C0B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7" name="Freeform 402"/>
                <p:cNvSpPr>
                  <a:spLocks/>
                </p:cNvSpPr>
                <p:nvPr/>
              </p:nvSpPr>
              <p:spPr bwMode="gray">
                <a:xfrm>
                  <a:off x="16386175" y="-16695737"/>
                  <a:ext cx="4079875" cy="6299200"/>
                </a:xfrm>
                <a:custGeom>
                  <a:avLst/>
                  <a:gdLst/>
                  <a:ahLst/>
                  <a:cxnLst>
                    <a:cxn ang="0">
                      <a:pos x="326" y="79"/>
                    </a:cxn>
                    <a:cxn ang="0">
                      <a:pos x="223" y="165"/>
                    </a:cxn>
                    <a:cxn ang="0">
                      <a:pos x="176" y="376"/>
                    </a:cxn>
                    <a:cxn ang="0">
                      <a:pos x="125" y="636"/>
                    </a:cxn>
                    <a:cxn ang="0">
                      <a:pos x="85" y="954"/>
                    </a:cxn>
                    <a:cxn ang="0">
                      <a:pos x="32" y="1171"/>
                    </a:cxn>
                    <a:cxn ang="0">
                      <a:pos x="21" y="1390"/>
                    </a:cxn>
                    <a:cxn ang="0">
                      <a:pos x="67" y="1561"/>
                    </a:cxn>
                    <a:cxn ang="0">
                      <a:pos x="209" y="1652"/>
                    </a:cxn>
                    <a:cxn ang="0">
                      <a:pos x="392" y="1658"/>
                    </a:cxn>
                    <a:cxn ang="0">
                      <a:pos x="561" y="1671"/>
                    </a:cxn>
                    <a:cxn ang="0">
                      <a:pos x="900" y="1658"/>
                    </a:cxn>
                    <a:cxn ang="0">
                      <a:pos x="1045" y="1612"/>
                    </a:cxn>
                    <a:cxn ang="0">
                      <a:pos x="1070" y="1374"/>
                    </a:cxn>
                    <a:cxn ang="0">
                      <a:pos x="1076" y="805"/>
                    </a:cxn>
                    <a:cxn ang="0">
                      <a:pos x="835" y="125"/>
                    </a:cxn>
                    <a:cxn ang="0">
                      <a:pos x="723" y="47"/>
                    </a:cxn>
                    <a:cxn ang="0">
                      <a:pos x="599" y="52"/>
                    </a:cxn>
                    <a:cxn ang="0">
                      <a:pos x="300" y="79"/>
                    </a:cxn>
                  </a:cxnLst>
                  <a:rect l="0" t="0" r="r" b="b"/>
                  <a:pathLst>
                    <a:path w="1088" h="1680">
                      <a:moveTo>
                        <a:pt x="326" y="79"/>
                      </a:moveTo>
                      <a:cubicBezTo>
                        <a:pt x="297" y="119"/>
                        <a:pt x="251" y="133"/>
                        <a:pt x="223" y="165"/>
                      </a:cubicBezTo>
                      <a:cubicBezTo>
                        <a:pt x="172" y="225"/>
                        <a:pt x="180" y="301"/>
                        <a:pt x="176" y="376"/>
                      </a:cubicBezTo>
                      <a:cubicBezTo>
                        <a:pt x="172" y="466"/>
                        <a:pt x="137" y="547"/>
                        <a:pt x="125" y="636"/>
                      </a:cubicBezTo>
                      <a:cubicBezTo>
                        <a:pt x="111" y="743"/>
                        <a:pt x="107" y="850"/>
                        <a:pt x="85" y="954"/>
                      </a:cubicBezTo>
                      <a:cubicBezTo>
                        <a:pt x="69" y="1026"/>
                        <a:pt x="40" y="1095"/>
                        <a:pt x="32" y="1171"/>
                      </a:cubicBezTo>
                      <a:cubicBezTo>
                        <a:pt x="25" y="1244"/>
                        <a:pt x="31" y="1322"/>
                        <a:pt x="21" y="1390"/>
                      </a:cubicBezTo>
                      <a:cubicBezTo>
                        <a:pt x="9" y="1472"/>
                        <a:pt x="0" y="1515"/>
                        <a:pt x="67" y="1561"/>
                      </a:cubicBezTo>
                      <a:cubicBezTo>
                        <a:pt x="111" y="1592"/>
                        <a:pt x="154" y="1641"/>
                        <a:pt x="209" y="1652"/>
                      </a:cubicBezTo>
                      <a:cubicBezTo>
                        <a:pt x="266" y="1663"/>
                        <a:pt x="334" y="1652"/>
                        <a:pt x="392" y="1658"/>
                      </a:cubicBezTo>
                      <a:cubicBezTo>
                        <a:pt x="446" y="1663"/>
                        <a:pt x="503" y="1671"/>
                        <a:pt x="561" y="1671"/>
                      </a:cubicBezTo>
                      <a:cubicBezTo>
                        <a:pt x="674" y="1671"/>
                        <a:pt x="793" y="1680"/>
                        <a:pt x="900" y="1658"/>
                      </a:cubicBezTo>
                      <a:cubicBezTo>
                        <a:pt x="942" y="1650"/>
                        <a:pt x="1014" y="1649"/>
                        <a:pt x="1045" y="1612"/>
                      </a:cubicBezTo>
                      <a:cubicBezTo>
                        <a:pt x="1088" y="1561"/>
                        <a:pt x="1070" y="1445"/>
                        <a:pt x="1070" y="1374"/>
                      </a:cubicBezTo>
                      <a:cubicBezTo>
                        <a:pt x="1070" y="1184"/>
                        <a:pt x="1077" y="994"/>
                        <a:pt x="1076" y="805"/>
                      </a:cubicBezTo>
                      <a:cubicBezTo>
                        <a:pt x="1076" y="561"/>
                        <a:pt x="1059" y="262"/>
                        <a:pt x="835" y="125"/>
                      </a:cubicBezTo>
                      <a:cubicBezTo>
                        <a:pt x="796" y="101"/>
                        <a:pt x="760" y="73"/>
                        <a:pt x="723" y="47"/>
                      </a:cubicBezTo>
                      <a:cubicBezTo>
                        <a:pt x="656" y="0"/>
                        <a:pt x="653" y="1"/>
                        <a:pt x="599" y="52"/>
                      </a:cubicBezTo>
                      <a:cubicBezTo>
                        <a:pt x="500" y="143"/>
                        <a:pt x="422" y="79"/>
                        <a:pt x="300" y="79"/>
                      </a:cubicBezTo>
                    </a:path>
                  </a:pathLst>
                </a:custGeom>
                <a:solidFill>
                  <a:srgbClr val="BDD5E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8" name="Freeform 403"/>
                <p:cNvSpPr>
                  <a:spLocks/>
                </p:cNvSpPr>
                <p:nvPr/>
              </p:nvSpPr>
              <p:spPr bwMode="gray">
                <a:xfrm>
                  <a:off x="16525875" y="-11393487"/>
                  <a:ext cx="487363" cy="839788"/>
                </a:xfrm>
                <a:custGeom>
                  <a:avLst/>
                  <a:gdLst/>
                  <a:ahLst/>
                  <a:cxnLst>
                    <a:cxn ang="0">
                      <a:pos x="130" y="224"/>
                    </a:cxn>
                    <a:cxn ang="0">
                      <a:pos x="61" y="117"/>
                    </a:cxn>
                    <a:cxn ang="0">
                      <a:pos x="16" y="0"/>
                    </a:cxn>
                    <a:cxn ang="0">
                      <a:pos x="45" y="130"/>
                    </a:cxn>
                    <a:cxn ang="0">
                      <a:pos x="70" y="197"/>
                    </a:cxn>
                  </a:cxnLst>
                  <a:rect l="0" t="0" r="r" b="b"/>
                  <a:pathLst>
                    <a:path w="130" h="224">
                      <a:moveTo>
                        <a:pt x="130" y="224"/>
                      </a:moveTo>
                      <a:cubicBezTo>
                        <a:pt x="113" y="187"/>
                        <a:pt x="85" y="149"/>
                        <a:pt x="61" y="117"/>
                      </a:cubicBezTo>
                      <a:cubicBezTo>
                        <a:pt x="32" y="79"/>
                        <a:pt x="24" y="47"/>
                        <a:pt x="16" y="0"/>
                      </a:cubicBezTo>
                      <a:cubicBezTo>
                        <a:pt x="0" y="52"/>
                        <a:pt x="26" y="88"/>
                        <a:pt x="45" y="130"/>
                      </a:cubicBezTo>
                      <a:cubicBezTo>
                        <a:pt x="58" y="158"/>
                        <a:pt x="39" y="186"/>
                        <a:pt x="70" y="197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69" name="Freeform 404"/>
                <p:cNvSpPr>
                  <a:spLocks/>
                </p:cNvSpPr>
                <p:nvPr/>
              </p:nvSpPr>
              <p:spPr bwMode="gray">
                <a:xfrm>
                  <a:off x="17429162" y="-10955337"/>
                  <a:ext cx="1660525" cy="539750"/>
                </a:xfrm>
                <a:custGeom>
                  <a:avLst/>
                  <a:gdLst/>
                  <a:ahLst/>
                  <a:cxnLst>
                    <a:cxn ang="0">
                      <a:pos x="0" y="126"/>
                    </a:cxn>
                    <a:cxn ang="0">
                      <a:pos x="27" y="83"/>
                    </a:cxn>
                    <a:cxn ang="0">
                      <a:pos x="36" y="83"/>
                    </a:cxn>
                    <a:cxn ang="0">
                      <a:pos x="34" y="127"/>
                    </a:cxn>
                    <a:cxn ang="0">
                      <a:pos x="91" y="77"/>
                    </a:cxn>
                    <a:cxn ang="0">
                      <a:pos x="154" y="118"/>
                    </a:cxn>
                    <a:cxn ang="0">
                      <a:pos x="154" y="41"/>
                    </a:cxn>
                    <a:cxn ang="0">
                      <a:pos x="276" y="1"/>
                    </a:cxn>
                    <a:cxn ang="0">
                      <a:pos x="365" y="46"/>
                    </a:cxn>
                    <a:cxn ang="0">
                      <a:pos x="366" y="28"/>
                    </a:cxn>
                    <a:cxn ang="0">
                      <a:pos x="408" y="83"/>
                    </a:cxn>
                    <a:cxn ang="0">
                      <a:pos x="343" y="116"/>
                    </a:cxn>
                    <a:cxn ang="0">
                      <a:pos x="341" y="121"/>
                    </a:cxn>
                    <a:cxn ang="0">
                      <a:pos x="434" y="144"/>
                    </a:cxn>
                  </a:cxnLst>
                  <a:rect l="0" t="0" r="r" b="b"/>
                  <a:pathLst>
                    <a:path w="443" h="144">
                      <a:moveTo>
                        <a:pt x="0" y="126"/>
                      </a:moveTo>
                      <a:cubicBezTo>
                        <a:pt x="0" y="85"/>
                        <a:pt x="1" y="110"/>
                        <a:pt x="27" y="83"/>
                      </a:cubicBezTo>
                      <a:cubicBezTo>
                        <a:pt x="28" y="83"/>
                        <a:pt x="35" y="83"/>
                        <a:pt x="36" y="83"/>
                      </a:cubicBezTo>
                      <a:cubicBezTo>
                        <a:pt x="29" y="100"/>
                        <a:pt x="14" y="109"/>
                        <a:pt x="34" y="127"/>
                      </a:cubicBezTo>
                      <a:cubicBezTo>
                        <a:pt x="56" y="105"/>
                        <a:pt x="54" y="74"/>
                        <a:pt x="91" y="77"/>
                      </a:cubicBezTo>
                      <a:cubicBezTo>
                        <a:pt x="81" y="106"/>
                        <a:pt x="147" y="137"/>
                        <a:pt x="154" y="118"/>
                      </a:cubicBezTo>
                      <a:cubicBezTo>
                        <a:pt x="166" y="89"/>
                        <a:pt x="153" y="74"/>
                        <a:pt x="154" y="41"/>
                      </a:cubicBezTo>
                      <a:cubicBezTo>
                        <a:pt x="205" y="39"/>
                        <a:pt x="229" y="2"/>
                        <a:pt x="276" y="1"/>
                      </a:cubicBezTo>
                      <a:cubicBezTo>
                        <a:pt x="327" y="0"/>
                        <a:pt x="319" y="50"/>
                        <a:pt x="365" y="46"/>
                      </a:cubicBezTo>
                      <a:cubicBezTo>
                        <a:pt x="364" y="41"/>
                        <a:pt x="367" y="33"/>
                        <a:pt x="366" y="28"/>
                      </a:cubicBezTo>
                      <a:cubicBezTo>
                        <a:pt x="390" y="29"/>
                        <a:pt x="422" y="56"/>
                        <a:pt x="408" y="83"/>
                      </a:cubicBezTo>
                      <a:cubicBezTo>
                        <a:pt x="401" y="96"/>
                        <a:pt x="358" y="112"/>
                        <a:pt x="343" y="116"/>
                      </a:cubicBezTo>
                      <a:cubicBezTo>
                        <a:pt x="342" y="117"/>
                        <a:pt x="341" y="119"/>
                        <a:pt x="341" y="121"/>
                      </a:cubicBezTo>
                      <a:cubicBezTo>
                        <a:pt x="383" y="126"/>
                        <a:pt x="443" y="87"/>
                        <a:pt x="434" y="144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0" name="Freeform 405"/>
                <p:cNvSpPr>
                  <a:spLocks/>
                </p:cNvSpPr>
                <p:nvPr/>
              </p:nvSpPr>
              <p:spPr bwMode="gray">
                <a:xfrm>
                  <a:off x="19177000" y="-11074399"/>
                  <a:ext cx="573088" cy="655638"/>
                </a:xfrm>
                <a:custGeom>
                  <a:avLst/>
                  <a:gdLst/>
                  <a:ahLst/>
                  <a:cxnLst>
                    <a:cxn ang="0">
                      <a:pos x="36" y="147"/>
                    </a:cxn>
                    <a:cxn ang="0">
                      <a:pos x="0" y="63"/>
                    </a:cxn>
                    <a:cxn ang="0">
                      <a:pos x="65" y="147"/>
                    </a:cxn>
                    <a:cxn ang="0">
                      <a:pos x="110" y="48"/>
                    </a:cxn>
                    <a:cxn ang="0">
                      <a:pos x="124" y="127"/>
                    </a:cxn>
                    <a:cxn ang="0">
                      <a:pos x="66" y="173"/>
                    </a:cxn>
                    <a:cxn ang="0">
                      <a:pos x="23" y="131"/>
                    </a:cxn>
                  </a:cxnLst>
                  <a:rect l="0" t="0" r="r" b="b"/>
                  <a:pathLst>
                    <a:path w="153" h="175">
                      <a:moveTo>
                        <a:pt x="36" y="147"/>
                      </a:moveTo>
                      <a:cubicBezTo>
                        <a:pt x="40" y="110"/>
                        <a:pt x="16" y="92"/>
                        <a:pt x="0" y="63"/>
                      </a:cubicBezTo>
                      <a:cubicBezTo>
                        <a:pt x="42" y="64"/>
                        <a:pt x="32" y="137"/>
                        <a:pt x="65" y="147"/>
                      </a:cubicBezTo>
                      <a:cubicBezTo>
                        <a:pt x="125" y="166"/>
                        <a:pt x="90" y="71"/>
                        <a:pt x="110" y="48"/>
                      </a:cubicBezTo>
                      <a:cubicBezTo>
                        <a:pt x="153" y="0"/>
                        <a:pt x="129" y="108"/>
                        <a:pt x="124" y="127"/>
                      </a:cubicBezTo>
                      <a:cubicBezTo>
                        <a:pt x="116" y="153"/>
                        <a:pt x="96" y="175"/>
                        <a:pt x="66" y="173"/>
                      </a:cubicBezTo>
                      <a:cubicBezTo>
                        <a:pt x="35" y="171"/>
                        <a:pt x="29" y="136"/>
                        <a:pt x="23" y="131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1" name="Freeform 406"/>
                <p:cNvSpPr>
                  <a:spLocks/>
                </p:cNvSpPr>
                <p:nvPr/>
              </p:nvSpPr>
              <p:spPr bwMode="gray">
                <a:xfrm>
                  <a:off x="16278225" y="-10126662"/>
                  <a:ext cx="1822450" cy="2455863"/>
                </a:xfrm>
                <a:custGeom>
                  <a:avLst/>
                  <a:gdLst/>
                  <a:ahLst/>
                  <a:cxnLst>
                    <a:cxn ang="0">
                      <a:pos x="486" y="82"/>
                    </a:cxn>
                    <a:cxn ang="0">
                      <a:pos x="182" y="156"/>
                    </a:cxn>
                    <a:cxn ang="0">
                      <a:pos x="104" y="327"/>
                    </a:cxn>
                    <a:cxn ang="0">
                      <a:pos x="112" y="471"/>
                    </a:cxn>
                    <a:cxn ang="0">
                      <a:pos x="53" y="655"/>
                    </a:cxn>
                    <a:cxn ang="0">
                      <a:pos x="40" y="523"/>
                    </a:cxn>
                    <a:cxn ang="0">
                      <a:pos x="14" y="391"/>
                    </a:cxn>
                    <a:cxn ang="0">
                      <a:pos x="98" y="0"/>
                    </a:cxn>
                  </a:cxnLst>
                  <a:rect l="0" t="0" r="r" b="b"/>
                  <a:pathLst>
                    <a:path w="486" h="655">
                      <a:moveTo>
                        <a:pt x="486" y="82"/>
                      </a:moveTo>
                      <a:cubicBezTo>
                        <a:pt x="413" y="138"/>
                        <a:pt x="251" y="162"/>
                        <a:pt x="182" y="156"/>
                      </a:cubicBezTo>
                      <a:cubicBezTo>
                        <a:pt x="168" y="254"/>
                        <a:pt x="93" y="214"/>
                        <a:pt x="104" y="327"/>
                      </a:cubicBezTo>
                      <a:cubicBezTo>
                        <a:pt x="126" y="348"/>
                        <a:pt x="113" y="432"/>
                        <a:pt x="112" y="471"/>
                      </a:cubicBezTo>
                      <a:cubicBezTo>
                        <a:pt x="110" y="530"/>
                        <a:pt x="67" y="601"/>
                        <a:pt x="53" y="655"/>
                      </a:cubicBezTo>
                      <a:cubicBezTo>
                        <a:pt x="30" y="621"/>
                        <a:pt x="45" y="567"/>
                        <a:pt x="40" y="523"/>
                      </a:cubicBezTo>
                      <a:cubicBezTo>
                        <a:pt x="36" y="481"/>
                        <a:pt x="21" y="436"/>
                        <a:pt x="14" y="391"/>
                      </a:cubicBezTo>
                      <a:cubicBezTo>
                        <a:pt x="0" y="298"/>
                        <a:pt x="64" y="30"/>
                        <a:pt x="98" y="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2" name="Freeform 407"/>
                <p:cNvSpPr>
                  <a:spLocks/>
                </p:cNvSpPr>
                <p:nvPr/>
              </p:nvSpPr>
              <p:spPr bwMode="gray">
                <a:xfrm>
                  <a:off x="19570700" y="-10167937"/>
                  <a:ext cx="1338263" cy="1739900"/>
                </a:xfrm>
                <a:custGeom>
                  <a:avLst/>
                  <a:gdLst/>
                  <a:ahLst/>
                  <a:cxnLst>
                    <a:cxn ang="0">
                      <a:pos x="84" y="38"/>
                    </a:cxn>
                    <a:cxn ang="0">
                      <a:pos x="131" y="1"/>
                    </a:cxn>
                    <a:cxn ang="0">
                      <a:pos x="157" y="38"/>
                    </a:cxn>
                    <a:cxn ang="0">
                      <a:pos x="213" y="126"/>
                    </a:cxn>
                    <a:cxn ang="0">
                      <a:pos x="267" y="204"/>
                    </a:cxn>
                    <a:cxn ang="0">
                      <a:pos x="318" y="317"/>
                    </a:cxn>
                    <a:cxn ang="0">
                      <a:pos x="346" y="411"/>
                    </a:cxn>
                    <a:cxn ang="0">
                      <a:pos x="303" y="463"/>
                    </a:cxn>
                    <a:cxn ang="0">
                      <a:pos x="256" y="414"/>
                    </a:cxn>
                    <a:cxn ang="0">
                      <a:pos x="200" y="385"/>
                    </a:cxn>
                    <a:cxn ang="0">
                      <a:pos x="167" y="252"/>
                    </a:cxn>
                    <a:cxn ang="0">
                      <a:pos x="157" y="199"/>
                    </a:cxn>
                    <a:cxn ang="0">
                      <a:pos x="126" y="158"/>
                    </a:cxn>
                    <a:cxn ang="0">
                      <a:pos x="46" y="116"/>
                    </a:cxn>
                    <a:cxn ang="0">
                      <a:pos x="27" y="60"/>
                    </a:cxn>
                    <a:cxn ang="0">
                      <a:pos x="84" y="38"/>
                    </a:cxn>
                  </a:cxnLst>
                  <a:rect l="0" t="0" r="r" b="b"/>
                  <a:pathLst>
                    <a:path w="357" h="464">
                      <a:moveTo>
                        <a:pt x="84" y="38"/>
                      </a:moveTo>
                      <a:cubicBezTo>
                        <a:pt x="95" y="32"/>
                        <a:pt x="122" y="2"/>
                        <a:pt x="131" y="1"/>
                      </a:cubicBezTo>
                      <a:cubicBezTo>
                        <a:pt x="146" y="0"/>
                        <a:pt x="152" y="26"/>
                        <a:pt x="157" y="38"/>
                      </a:cubicBezTo>
                      <a:cubicBezTo>
                        <a:pt x="171" y="71"/>
                        <a:pt x="187" y="102"/>
                        <a:pt x="213" y="126"/>
                      </a:cubicBezTo>
                      <a:cubicBezTo>
                        <a:pt x="236" y="148"/>
                        <a:pt x="257" y="175"/>
                        <a:pt x="267" y="204"/>
                      </a:cubicBezTo>
                      <a:cubicBezTo>
                        <a:pt x="282" y="246"/>
                        <a:pt x="291" y="279"/>
                        <a:pt x="318" y="317"/>
                      </a:cubicBezTo>
                      <a:cubicBezTo>
                        <a:pt x="337" y="344"/>
                        <a:pt x="357" y="376"/>
                        <a:pt x="346" y="411"/>
                      </a:cubicBezTo>
                      <a:cubicBezTo>
                        <a:pt x="342" y="423"/>
                        <a:pt x="313" y="463"/>
                        <a:pt x="303" y="463"/>
                      </a:cubicBezTo>
                      <a:cubicBezTo>
                        <a:pt x="285" y="464"/>
                        <a:pt x="266" y="425"/>
                        <a:pt x="256" y="414"/>
                      </a:cubicBezTo>
                      <a:cubicBezTo>
                        <a:pt x="241" y="399"/>
                        <a:pt x="217" y="402"/>
                        <a:pt x="200" y="385"/>
                      </a:cubicBezTo>
                      <a:cubicBezTo>
                        <a:pt x="165" y="351"/>
                        <a:pt x="169" y="299"/>
                        <a:pt x="167" y="252"/>
                      </a:cubicBezTo>
                      <a:cubicBezTo>
                        <a:pt x="166" y="230"/>
                        <a:pt x="168" y="218"/>
                        <a:pt x="157" y="199"/>
                      </a:cubicBezTo>
                      <a:cubicBezTo>
                        <a:pt x="149" y="185"/>
                        <a:pt x="137" y="168"/>
                        <a:pt x="126" y="158"/>
                      </a:cubicBezTo>
                      <a:cubicBezTo>
                        <a:pt x="105" y="138"/>
                        <a:pt x="74" y="124"/>
                        <a:pt x="46" y="116"/>
                      </a:cubicBezTo>
                      <a:cubicBezTo>
                        <a:pt x="18" y="109"/>
                        <a:pt x="0" y="78"/>
                        <a:pt x="27" y="60"/>
                      </a:cubicBezTo>
                      <a:cubicBezTo>
                        <a:pt x="42" y="49"/>
                        <a:pt x="67" y="47"/>
                        <a:pt x="84" y="38"/>
                      </a:cubicBezTo>
                      <a:close/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3" name="Freeform 409"/>
                <p:cNvSpPr>
                  <a:spLocks/>
                </p:cNvSpPr>
                <p:nvPr/>
              </p:nvSpPr>
              <p:spPr bwMode="gray">
                <a:xfrm>
                  <a:off x="17413288" y="-17345025"/>
                  <a:ext cx="1673225" cy="2054225"/>
                </a:xfrm>
                <a:custGeom>
                  <a:avLst/>
                  <a:gdLst/>
                  <a:ahLst/>
                  <a:cxnLst>
                    <a:cxn ang="0">
                      <a:pos x="26" y="83"/>
                    </a:cxn>
                    <a:cxn ang="0">
                      <a:pos x="386" y="365"/>
                    </a:cxn>
                    <a:cxn ang="0">
                      <a:pos x="370" y="110"/>
                    </a:cxn>
                    <a:cxn ang="0">
                      <a:pos x="46" y="102"/>
                    </a:cxn>
                  </a:cxnLst>
                  <a:rect l="0" t="0" r="r" b="b"/>
                  <a:pathLst>
                    <a:path w="446" h="548">
                      <a:moveTo>
                        <a:pt x="26" y="83"/>
                      </a:moveTo>
                      <a:cubicBezTo>
                        <a:pt x="0" y="271"/>
                        <a:pt x="191" y="548"/>
                        <a:pt x="386" y="365"/>
                      </a:cubicBezTo>
                      <a:cubicBezTo>
                        <a:pt x="446" y="309"/>
                        <a:pt x="413" y="170"/>
                        <a:pt x="370" y="110"/>
                      </a:cubicBezTo>
                      <a:cubicBezTo>
                        <a:pt x="290" y="0"/>
                        <a:pt x="139" y="48"/>
                        <a:pt x="46" y="102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4" name="Freeform 410"/>
                <p:cNvSpPr>
                  <a:spLocks/>
                </p:cNvSpPr>
                <p:nvPr/>
              </p:nvSpPr>
              <p:spPr bwMode="gray">
                <a:xfrm>
                  <a:off x="17462500" y="-17146587"/>
                  <a:ext cx="1481138" cy="1001713"/>
                </a:xfrm>
                <a:custGeom>
                  <a:avLst/>
                  <a:gdLst/>
                  <a:ahLst/>
                  <a:cxnLst>
                    <a:cxn ang="0">
                      <a:pos x="0" y="57"/>
                    </a:cxn>
                    <a:cxn ang="0">
                      <a:pos x="114" y="220"/>
                    </a:cxn>
                    <a:cxn ang="0">
                      <a:pos x="327" y="207"/>
                    </a:cxn>
                    <a:cxn ang="0">
                      <a:pos x="390" y="0"/>
                    </a:cxn>
                  </a:cxnLst>
                  <a:rect l="0" t="0" r="r" b="b"/>
                  <a:pathLst>
                    <a:path w="395" h="267">
                      <a:moveTo>
                        <a:pt x="0" y="57"/>
                      </a:moveTo>
                      <a:cubicBezTo>
                        <a:pt x="21" y="138"/>
                        <a:pt x="43" y="178"/>
                        <a:pt x="114" y="220"/>
                      </a:cubicBezTo>
                      <a:cubicBezTo>
                        <a:pt x="179" y="260"/>
                        <a:pt x="261" y="267"/>
                        <a:pt x="327" y="207"/>
                      </a:cubicBezTo>
                      <a:cubicBezTo>
                        <a:pt x="395" y="147"/>
                        <a:pt x="385" y="88"/>
                        <a:pt x="390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5" name="Freeform 411"/>
                <p:cNvSpPr>
                  <a:spLocks/>
                </p:cNvSpPr>
                <p:nvPr/>
              </p:nvSpPr>
              <p:spPr bwMode="gray">
                <a:xfrm>
                  <a:off x="16840200" y="-19448462"/>
                  <a:ext cx="2436813" cy="3025775"/>
                </a:xfrm>
                <a:custGeom>
                  <a:avLst/>
                  <a:gdLst/>
                  <a:ahLst/>
                  <a:cxnLst>
                    <a:cxn ang="0">
                      <a:pos x="120" y="363"/>
                    </a:cxn>
                    <a:cxn ang="0">
                      <a:pos x="140" y="611"/>
                    </a:cxn>
                    <a:cxn ang="0">
                      <a:pos x="284" y="761"/>
                    </a:cxn>
                    <a:cxn ang="0">
                      <a:pos x="497" y="748"/>
                    </a:cxn>
                    <a:cxn ang="0">
                      <a:pos x="578" y="540"/>
                    </a:cxn>
                    <a:cxn ang="0">
                      <a:pos x="608" y="538"/>
                    </a:cxn>
                    <a:cxn ang="0">
                      <a:pos x="642" y="415"/>
                    </a:cxn>
                    <a:cxn ang="0">
                      <a:pos x="597" y="296"/>
                    </a:cxn>
                    <a:cxn ang="0">
                      <a:pos x="476" y="77"/>
                    </a:cxn>
                    <a:cxn ang="0">
                      <a:pos x="87" y="342"/>
                    </a:cxn>
                    <a:cxn ang="0">
                      <a:pos x="82" y="532"/>
                    </a:cxn>
                    <a:cxn ang="0">
                      <a:pos x="127" y="585"/>
                    </a:cxn>
                  </a:cxnLst>
                  <a:rect l="0" t="0" r="r" b="b"/>
                  <a:pathLst>
                    <a:path w="650" h="807">
                      <a:moveTo>
                        <a:pt x="120" y="363"/>
                      </a:moveTo>
                      <a:cubicBezTo>
                        <a:pt x="120" y="450"/>
                        <a:pt x="119" y="530"/>
                        <a:pt x="140" y="611"/>
                      </a:cubicBezTo>
                      <a:cubicBezTo>
                        <a:pt x="161" y="693"/>
                        <a:pt x="213" y="719"/>
                        <a:pt x="284" y="761"/>
                      </a:cubicBezTo>
                      <a:cubicBezTo>
                        <a:pt x="349" y="801"/>
                        <a:pt x="431" y="807"/>
                        <a:pt x="497" y="748"/>
                      </a:cubicBezTo>
                      <a:cubicBezTo>
                        <a:pt x="565" y="687"/>
                        <a:pt x="573" y="628"/>
                        <a:pt x="578" y="540"/>
                      </a:cubicBezTo>
                      <a:cubicBezTo>
                        <a:pt x="587" y="541"/>
                        <a:pt x="600" y="537"/>
                        <a:pt x="608" y="538"/>
                      </a:cubicBezTo>
                      <a:cubicBezTo>
                        <a:pt x="630" y="496"/>
                        <a:pt x="650" y="470"/>
                        <a:pt x="642" y="415"/>
                      </a:cubicBezTo>
                      <a:cubicBezTo>
                        <a:pt x="635" y="362"/>
                        <a:pt x="605" y="352"/>
                        <a:pt x="597" y="296"/>
                      </a:cubicBezTo>
                      <a:cubicBezTo>
                        <a:pt x="583" y="205"/>
                        <a:pt x="567" y="114"/>
                        <a:pt x="476" y="77"/>
                      </a:cubicBezTo>
                      <a:cubicBezTo>
                        <a:pt x="285" y="0"/>
                        <a:pt x="74" y="133"/>
                        <a:pt x="87" y="342"/>
                      </a:cubicBezTo>
                      <a:cubicBezTo>
                        <a:pt x="0" y="360"/>
                        <a:pt x="58" y="488"/>
                        <a:pt x="82" y="532"/>
                      </a:cubicBezTo>
                      <a:cubicBezTo>
                        <a:pt x="111" y="534"/>
                        <a:pt x="124" y="559"/>
                        <a:pt x="127" y="58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6" name="Freeform 412"/>
                <p:cNvSpPr>
                  <a:spLocks/>
                </p:cNvSpPr>
                <p:nvPr/>
              </p:nvSpPr>
              <p:spPr bwMode="gray">
                <a:xfrm>
                  <a:off x="15794038" y="-10055225"/>
                  <a:ext cx="1143000" cy="1477963"/>
                </a:xfrm>
                <a:custGeom>
                  <a:avLst/>
                  <a:gdLst/>
                  <a:ahLst/>
                  <a:cxnLst>
                    <a:cxn ang="0">
                      <a:pos x="54" y="180"/>
                    </a:cxn>
                    <a:cxn ang="0">
                      <a:pos x="124" y="312"/>
                    </a:cxn>
                    <a:cxn ang="0">
                      <a:pos x="248" y="388"/>
                    </a:cxn>
                    <a:cxn ang="0">
                      <a:pos x="295" y="278"/>
                    </a:cxn>
                    <a:cxn ang="0">
                      <a:pos x="225" y="166"/>
                    </a:cxn>
                    <a:cxn ang="0">
                      <a:pos x="27" y="161"/>
                    </a:cxn>
                  </a:cxnLst>
                  <a:rect l="0" t="0" r="r" b="b"/>
                  <a:pathLst>
                    <a:path w="305" h="394">
                      <a:moveTo>
                        <a:pt x="54" y="180"/>
                      </a:moveTo>
                      <a:cubicBezTo>
                        <a:pt x="51" y="221"/>
                        <a:pt x="101" y="280"/>
                        <a:pt x="124" y="312"/>
                      </a:cubicBezTo>
                      <a:cubicBezTo>
                        <a:pt x="155" y="357"/>
                        <a:pt x="188" y="394"/>
                        <a:pt x="248" y="388"/>
                      </a:cubicBezTo>
                      <a:cubicBezTo>
                        <a:pt x="261" y="346"/>
                        <a:pt x="289" y="322"/>
                        <a:pt x="295" y="278"/>
                      </a:cubicBezTo>
                      <a:cubicBezTo>
                        <a:pt x="305" y="206"/>
                        <a:pt x="278" y="202"/>
                        <a:pt x="225" y="166"/>
                      </a:cubicBezTo>
                      <a:cubicBezTo>
                        <a:pt x="188" y="140"/>
                        <a:pt x="0" y="0"/>
                        <a:pt x="27" y="16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7" name="Freeform 413"/>
                <p:cNvSpPr>
                  <a:spLocks/>
                </p:cNvSpPr>
                <p:nvPr/>
              </p:nvSpPr>
              <p:spPr bwMode="gray">
                <a:xfrm>
                  <a:off x="20154900" y="-10129837"/>
                  <a:ext cx="919163" cy="1376363"/>
                </a:xfrm>
                <a:custGeom>
                  <a:avLst/>
                  <a:gdLst/>
                  <a:ahLst/>
                  <a:cxnLst>
                    <a:cxn ang="0">
                      <a:pos x="215" y="161"/>
                    </a:cxn>
                    <a:cxn ang="0">
                      <a:pos x="170" y="247"/>
                    </a:cxn>
                    <a:cxn ang="0">
                      <a:pos x="71" y="357"/>
                    </a:cxn>
                    <a:cxn ang="0">
                      <a:pos x="6" y="227"/>
                    </a:cxn>
                    <a:cxn ang="0">
                      <a:pos x="221" y="148"/>
                    </a:cxn>
                  </a:cxnLst>
                  <a:rect l="0" t="0" r="r" b="b"/>
                  <a:pathLst>
                    <a:path w="245" h="367">
                      <a:moveTo>
                        <a:pt x="215" y="161"/>
                      </a:moveTo>
                      <a:cubicBezTo>
                        <a:pt x="237" y="200"/>
                        <a:pt x="202" y="231"/>
                        <a:pt x="170" y="247"/>
                      </a:cubicBezTo>
                      <a:cubicBezTo>
                        <a:pt x="170" y="302"/>
                        <a:pt x="133" y="367"/>
                        <a:pt x="71" y="357"/>
                      </a:cubicBezTo>
                      <a:cubicBezTo>
                        <a:pt x="22" y="349"/>
                        <a:pt x="0" y="278"/>
                        <a:pt x="6" y="227"/>
                      </a:cubicBezTo>
                      <a:cubicBezTo>
                        <a:pt x="17" y="135"/>
                        <a:pt x="245" y="0"/>
                        <a:pt x="221" y="148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8" name="Freeform 414"/>
                <p:cNvSpPr>
                  <a:spLocks/>
                </p:cNvSpPr>
                <p:nvPr/>
              </p:nvSpPr>
              <p:spPr bwMode="gray">
                <a:xfrm>
                  <a:off x="16052800" y="-9523412"/>
                  <a:ext cx="693738" cy="968375"/>
                </a:xfrm>
                <a:custGeom>
                  <a:avLst/>
                  <a:gdLst/>
                  <a:ahLst/>
                  <a:cxnLst>
                    <a:cxn ang="0">
                      <a:pos x="110" y="4"/>
                    </a:cxn>
                    <a:cxn ang="0">
                      <a:pos x="74" y="71"/>
                    </a:cxn>
                    <a:cxn ang="0">
                      <a:pos x="74" y="134"/>
                    </a:cxn>
                    <a:cxn ang="0">
                      <a:pos x="178" y="229"/>
                    </a:cxn>
                    <a:cxn ang="0">
                      <a:pos x="126" y="249"/>
                    </a:cxn>
                    <a:cxn ang="0">
                      <a:pos x="73" y="210"/>
                    </a:cxn>
                    <a:cxn ang="0">
                      <a:pos x="10" y="90"/>
                    </a:cxn>
                    <a:cxn ang="0">
                      <a:pos x="107" y="0"/>
                    </a:cxn>
                  </a:cxnLst>
                  <a:rect l="0" t="0" r="r" b="b"/>
                  <a:pathLst>
                    <a:path w="185" h="258">
                      <a:moveTo>
                        <a:pt x="110" y="4"/>
                      </a:moveTo>
                      <a:cubicBezTo>
                        <a:pt x="132" y="37"/>
                        <a:pt x="94" y="53"/>
                        <a:pt x="74" y="71"/>
                      </a:cubicBezTo>
                      <a:cubicBezTo>
                        <a:pt x="44" y="99"/>
                        <a:pt x="53" y="104"/>
                        <a:pt x="74" y="134"/>
                      </a:cubicBezTo>
                      <a:cubicBezTo>
                        <a:pt x="106" y="179"/>
                        <a:pt x="109" y="228"/>
                        <a:pt x="178" y="229"/>
                      </a:cubicBezTo>
                      <a:cubicBezTo>
                        <a:pt x="185" y="258"/>
                        <a:pt x="143" y="255"/>
                        <a:pt x="126" y="249"/>
                      </a:cubicBezTo>
                      <a:cubicBezTo>
                        <a:pt x="110" y="244"/>
                        <a:pt x="85" y="223"/>
                        <a:pt x="73" y="210"/>
                      </a:cubicBezTo>
                      <a:cubicBezTo>
                        <a:pt x="46" y="182"/>
                        <a:pt x="0" y="133"/>
                        <a:pt x="10" y="90"/>
                      </a:cubicBezTo>
                      <a:cubicBezTo>
                        <a:pt x="20" y="49"/>
                        <a:pt x="76" y="24"/>
                        <a:pt x="107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79" name="Freeform 415"/>
                <p:cNvSpPr>
                  <a:spLocks/>
                </p:cNvSpPr>
                <p:nvPr/>
              </p:nvSpPr>
              <p:spPr bwMode="gray">
                <a:xfrm>
                  <a:off x="18778538" y="-14390687"/>
                  <a:ext cx="1841500" cy="3438525"/>
                </a:xfrm>
                <a:custGeom>
                  <a:avLst/>
                  <a:gdLst/>
                  <a:ahLst/>
                  <a:cxnLst>
                    <a:cxn ang="0">
                      <a:pos x="127" y="186"/>
                    </a:cxn>
                    <a:cxn ang="0">
                      <a:pos x="7" y="0"/>
                    </a:cxn>
                    <a:cxn ang="0">
                      <a:pos x="133" y="262"/>
                    </a:cxn>
                    <a:cxn ang="0">
                      <a:pos x="125" y="299"/>
                    </a:cxn>
                    <a:cxn ang="0">
                      <a:pos x="79" y="250"/>
                    </a:cxn>
                    <a:cxn ang="0">
                      <a:pos x="26" y="252"/>
                    </a:cxn>
                    <a:cxn ang="0">
                      <a:pos x="49" y="316"/>
                    </a:cxn>
                    <a:cxn ang="0">
                      <a:pos x="107" y="382"/>
                    </a:cxn>
                    <a:cxn ang="0">
                      <a:pos x="143" y="519"/>
                    </a:cxn>
                    <a:cxn ang="0">
                      <a:pos x="111" y="639"/>
                    </a:cxn>
                    <a:cxn ang="0">
                      <a:pos x="179" y="614"/>
                    </a:cxn>
                    <a:cxn ang="0">
                      <a:pos x="111" y="698"/>
                    </a:cxn>
                    <a:cxn ang="0">
                      <a:pos x="72" y="805"/>
                    </a:cxn>
                    <a:cxn ang="0">
                      <a:pos x="166" y="731"/>
                    </a:cxn>
                    <a:cxn ang="0">
                      <a:pos x="234" y="799"/>
                    </a:cxn>
                    <a:cxn ang="0">
                      <a:pos x="286" y="777"/>
                    </a:cxn>
                    <a:cxn ang="0">
                      <a:pos x="266" y="847"/>
                    </a:cxn>
                    <a:cxn ang="0">
                      <a:pos x="244" y="903"/>
                    </a:cxn>
                    <a:cxn ang="0">
                      <a:pos x="310" y="877"/>
                    </a:cxn>
                    <a:cxn ang="0">
                      <a:pos x="385" y="803"/>
                    </a:cxn>
                    <a:cxn ang="0">
                      <a:pos x="431" y="689"/>
                    </a:cxn>
                    <a:cxn ang="0">
                      <a:pos x="466" y="542"/>
                    </a:cxn>
                    <a:cxn ang="0">
                      <a:pos x="402" y="237"/>
                    </a:cxn>
                    <a:cxn ang="0">
                      <a:pos x="323" y="186"/>
                    </a:cxn>
                    <a:cxn ang="0">
                      <a:pos x="248" y="209"/>
                    </a:cxn>
                    <a:cxn ang="0">
                      <a:pos x="112" y="180"/>
                    </a:cxn>
                    <a:cxn ang="0">
                      <a:pos x="124" y="183"/>
                    </a:cxn>
                  </a:cxnLst>
                  <a:rect l="0" t="0" r="r" b="b"/>
                  <a:pathLst>
                    <a:path w="491" h="917">
                      <a:moveTo>
                        <a:pt x="127" y="186"/>
                      </a:moveTo>
                      <a:cubicBezTo>
                        <a:pt x="43" y="152"/>
                        <a:pt x="50" y="58"/>
                        <a:pt x="7" y="0"/>
                      </a:cubicBezTo>
                      <a:cubicBezTo>
                        <a:pt x="0" y="103"/>
                        <a:pt x="76" y="187"/>
                        <a:pt x="133" y="262"/>
                      </a:cubicBezTo>
                      <a:cubicBezTo>
                        <a:pt x="148" y="281"/>
                        <a:pt x="166" y="312"/>
                        <a:pt x="125" y="299"/>
                      </a:cubicBezTo>
                      <a:cubicBezTo>
                        <a:pt x="105" y="294"/>
                        <a:pt x="92" y="263"/>
                        <a:pt x="79" y="250"/>
                      </a:cubicBezTo>
                      <a:cubicBezTo>
                        <a:pt x="61" y="233"/>
                        <a:pt x="38" y="221"/>
                        <a:pt x="26" y="252"/>
                      </a:cubicBezTo>
                      <a:cubicBezTo>
                        <a:pt x="17" y="276"/>
                        <a:pt x="38" y="298"/>
                        <a:pt x="49" y="316"/>
                      </a:cubicBezTo>
                      <a:cubicBezTo>
                        <a:pt x="68" y="344"/>
                        <a:pt x="66" y="399"/>
                        <a:pt x="107" y="382"/>
                      </a:cubicBezTo>
                      <a:cubicBezTo>
                        <a:pt x="109" y="429"/>
                        <a:pt x="122" y="480"/>
                        <a:pt x="143" y="519"/>
                      </a:cubicBezTo>
                      <a:cubicBezTo>
                        <a:pt x="177" y="579"/>
                        <a:pt x="150" y="590"/>
                        <a:pt x="111" y="639"/>
                      </a:cubicBezTo>
                      <a:cubicBezTo>
                        <a:pt x="137" y="643"/>
                        <a:pt x="162" y="633"/>
                        <a:pt x="179" y="614"/>
                      </a:cubicBezTo>
                      <a:cubicBezTo>
                        <a:pt x="170" y="648"/>
                        <a:pt x="134" y="672"/>
                        <a:pt x="111" y="698"/>
                      </a:cubicBezTo>
                      <a:cubicBezTo>
                        <a:pt x="79" y="735"/>
                        <a:pt x="70" y="757"/>
                        <a:pt x="72" y="805"/>
                      </a:cubicBezTo>
                      <a:cubicBezTo>
                        <a:pt x="113" y="798"/>
                        <a:pt x="132" y="736"/>
                        <a:pt x="166" y="731"/>
                      </a:cubicBezTo>
                      <a:cubicBezTo>
                        <a:pt x="223" y="722"/>
                        <a:pt x="192" y="808"/>
                        <a:pt x="234" y="799"/>
                      </a:cubicBezTo>
                      <a:cubicBezTo>
                        <a:pt x="245" y="776"/>
                        <a:pt x="261" y="768"/>
                        <a:pt x="286" y="777"/>
                      </a:cubicBezTo>
                      <a:cubicBezTo>
                        <a:pt x="288" y="806"/>
                        <a:pt x="284" y="827"/>
                        <a:pt x="266" y="847"/>
                      </a:cubicBezTo>
                      <a:cubicBezTo>
                        <a:pt x="256" y="860"/>
                        <a:pt x="218" y="882"/>
                        <a:pt x="244" y="903"/>
                      </a:cubicBezTo>
                      <a:cubicBezTo>
                        <a:pt x="262" y="917"/>
                        <a:pt x="299" y="886"/>
                        <a:pt x="310" y="877"/>
                      </a:cubicBezTo>
                      <a:cubicBezTo>
                        <a:pt x="332" y="857"/>
                        <a:pt x="368" y="827"/>
                        <a:pt x="385" y="803"/>
                      </a:cubicBezTo>
                      <a:cubicBezTo>
                        <a:pt x="407" y="770"/>
                        <a:pt x="416" y="725"/>
                        <a:pt x="431" y="689"/>
                      </a:cubicBezTo>
                      <a:cubicBezTo>
                        <a:pt x="451" y="642"/>
                        <a:pt x="460" y="593"/>
                        <a:pt x="466" y="542"/>
                      </a:cubicBezTo>
                      <a:cubicBezTo>
                        <a:pt x="480" y="434"/>
                        <a:pt x="491" y="313"/>
                        <a:pt x="402" y="237"/>
                      </a:cubicBezTo>
                      <a:cubicBezTo>
                        <a:pt x="384" y="222"/>
                        <a:pt x="347" y="187"/>
                        <a:pt x="323" y="186"/>
                      </a:cubicBezTo>
                      <a:cubicBezTo>
                        <a:pt x="295" y="184"/>
                        <a:pt x="278" y="208"/>
                        <a:pt x="248" y="209"/>
                      </a:cubicBezTo>
                      <a:cubicBezTo>
                        <a:pt x="208" y="210"/>
                        <a:pt x="143" y="202"/>
                        <a:pt x="112" y="180"/>
                      </a:cubicBezTo>
                      <a:cubicBezTo>
                        <a:pt x="117" y="178"/>
                        <a:pt x="118" y="182"/>
                        <a:pt x="124" y="183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0" name="Freeform 416"/>
                <p:cNvSpPr>
                  <a:spLocks/>
                </p:cNvSpPr>
                <p:nvPr/>
              </p:nvSpPr>
              <p:spPr bwMode="gray">
                <a:xfrm>
                  <a:off x="16776700" y="-13141325"/>
                  <a:ext cx="925513" cy="1766888"/>
                </a:xfrm>
                <a:custGeom>
                  <a:avLst/>
                  <a:gdLst/>
                  <a:ahLst/>
                  <a:cxnLst>
                    <a:cxn ang="0">
                      <a:pos x="224" y="68"/>
                    </a:cxn>
                    <a:cxn ang="0">
                      <a:pos x="194" y="287"/>
                    </a:cxn>
                    <a:cxn ang="0">
                      <a:pos x="158" y="325"/>
                    </a:cxn>
                    <a:cxn ang="0">
                      <a:pos x="103" y="346"/>
                    </a:cxn>
                    <a:cxn ang="0">
                      <a:pos x="110" y="466"/>
                    </a:cxn>
                    <a:cxn ang="0">
                      <a:pos x="76" y="454"/>
                    </a:cxn>
                    <a:cxn ang="0">
                      <a:pos x="31" y="450"/>
                    </a:cxn>
                    <a:cxn ang="0">
                      <a:pos x="5" y="385"/>
                    </a:cxn>
                    <a:cxn ang="0">
                      <a:pos x="94" y="277"/>
                    </a:cxn>
                    <a:cxn ang="0">
                      <a:pos x="106" y="198"/>
                    </a:cxn>
                    <a:cxn ang="0">
                      <a:pos x="149" y="144"/>
                    </a:cxn>
                    <a:cxn ang="0">
                      <a:pos x="220" y="17"/>
                    </a:cxn>
                    <a:cxn ang="0">
                      <a:pos x="204" y="104"/>
                    </a:cxn>
                  </a:cxnLst>
                  <a:rect l="0" t="0" r="r" b="b"/>
                  <a:pathLst>
                    <a:path w="247" h="471">
                      <a:moveTo>
                        <a:pt x="224" y="68"/>
                      </a:moveTo>
                      <a:cubicBezTo>
                        <a:pt x="166" y="132"/>
                        <a:pt x="247" y="221"/>
                        <a:pt x="194" y="287"/>
                      </a:cubicBezTo>
                      <a:cubicBezTo>
                        <a:pt x="186" y="297"/>
                        <a:pt x="170" y="319"/>
                        <a:pt x="158" y="325"/>
                      </a:cubicBezTo>
                      <a:cubicBezTo>
                        <a:pt x="135" y="336"/>
                        <a:pt x="121" y="325"/>
                        <a:pt x="103" y="346"/>
                      </a:cubicBezTo>
                      <a:cubicBezTo>
                        <a:pt x="78" y="375"/>
                        <a:pt x="86" y="437"/>
                        <a:pt x="110" y="466"/>
                      </a:cubicBezTo>
                      <a:cubicBezTo>
                        <a:pt x="91" y="471"/>
                        <a:pt x="89" y="458"/>
                        <a:pt x="76" y="454"/>
                      </a:cubicBezTo>
                      <a:cubicBezTo>
                        <a:pt x="62" y="451"/>
                        <a:pt x="44" y="455"/>
                        <a:pt x="31" y="450"/>
                      </a:cubicBezTo>
                      <a:cubicBezTo>
                        <a:pt x="6" y="441"/>
                        <a:pt x="0" y="410"/>
                        <a:pt x="5" y="385"/>
                      </a:cubicBezTo>
                      <a:cubicBezTo>
                        <a:pt x="16" y="333"/>
                        <a:pt x="83" y="332"/>
                        <a:pt x="94" y="277"/>
                      </a:cubicBezTo>
                      <a:cubicBezTo>
                        <a:pt x="99" y="249"/>
                        <a:pt x="91" y="223"/>
                        <a:pt x="106" y="198"/>
                      </a:cubicBezTo>
                      <a:cubicBezTo>
                        <a:pt x="119" y="178"/>
                        <a:pt x="139" y="166"/>
                        <a:pt x="149" y="144"/>
                      </a:cubicBezTo>
                      <a:cubicBezTo>
                        <a:pt x="162" y="115"/>
                        <a:pt x="164" y="0"/>
                        <a:pt x="220" y="17"/>
                      </a:cubicBezTo>
                      <a:cubicBezTo>
                        <a:pt x="227" y="60"/>
                        <a:pt x="224" y="70"/>
                        <a:pt x="204" y="104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1" name="Freeform 417"/>
                <p:cNvSpPr>
                  <a:spLocks/>
                </p:cNvSpPr>
                <p:nvPr/>
              </p:nvSpPr>
              <p:spPr bwMode="gray">
                <a:xfrm>
                  <a:off x="17079913" y="-15038387"/>
                  <a:ext cx="503238" cy="1217613"/>
                </a:xfrm>
                <a:custGeom>
                  <a:avLst/>
                  <a:gdLst/>
                  <a:ahLst/>
                  <a:cxnLst>
                    <a:cxn ang="0">
                      <a:pos x="48" y="4"/>
                    </a:cxn>
                    <a:cxn ang="0">
                      <a:pos x="43" y="294"/>
                    </a:cxn>
                    <a:cxn ang="0">
                      <a:pos x="3" y="266"/>
                    </a:cxn>
                    <a:cxn ang="0">
                      <a:pos x="9" y="134"/>
                    </a:cxn>
                    <a:cxn ang="0">
                      <a:pos x="61" y="0"/>
                    </a:cxn>
                  </a:cxnLst>
                  <a:rect l="0" t="0" r="r" b="b"/>
                  <a:pathLst>
                    <a:path w="134" h="325">
                      <a:moveTo>
                        <a:pt x="48" y="4"/>
                      </a:moveTo>
                      <a:cubicBezTo>
                        <a:pt x="134" y="34"/>
                        <a:pt x="93" y="246"/>
                        <a:pt x="43" y="294"/>
                      </a:cubicBezTo>
                      <a:cubicBezTo>
                        <a:pt x="10" y="325"/>
                        <a:pt x="0" y="313"/>
                        <a:pt x="3" y="266"/>
                      </a:cubicBezTo>
                      <a:cubicBezTo>
                        <a:pt x="5" y="222"/>
                        <a:pt x="11" y="179"/>
                        <a:pt x="9" y="134"/>
                      </a:cubicBezTo>
                      <a:cubicBezTo>
                        <a:pt x="6" y="67"/>
                        <a:pt x="2" y="34"/>
                        <a:pt x="61" y="0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2" name="Freeform 418"/>
                <p:cNvSpPr>
                  <a:spLocks/>
                </p:cNvSpPr>
                <p:nvPr/>
              </p:nvSpPr>
              <p:spPr bwMode="gray">
                <a:xfrm>
                  <a:off x="18954750" y="-15478125"/>
                  <a:ext cx="555625" cy="1500188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64" y="217"/>
                    </a:cxn>
                    <a:cxn ang="0">
                      <a:pos x="97" y="310"/>
                    </a:cxn>
                    <a:cxn ang="0">
                      <a:pos x="148" y="394"/>
                    </a:cxn>
                    <a:cxn ang="0">
                      <a:pos x="54" y="267"/>
                    </a:cxn>
                    <a:cxn ang="0">
                      <a:pos x="20" y="176"/>
                    </a:cxn>
                    <a:cxn ang="0">
                      <a:pos x="2" y="85"/>
                    </a:cxn>
                    <a:cxn ang="0">
                      <a:pos x="28" y="144"/>
                    </a:cxn>
                    <a:cxn ang="0">
                      <a:pos x="38" y="65"/>
                    </a:cxn>
                  </a:cxnLst>
                  <a:rect l="0" t="0" r="r" b="b"/>
                  <a:pathLst>
                    <a:path w="148" h="400">
                      <a:moveTo>
                        <a:pt x="24" y="0"/>
                      </a:moveTo>
                      <a:cubicBezTo>
                        <a:pt x="25" y="76"/>
                        <a:pt x="50" y="144"/>
                        <a:pt x="64" y="217"/>
                      </a:cubicBezTo>
                      <a:cubicBezTo>
                        <a:pt x="70" y="251"/>
                        <a:pt x="77" y="281"/>
                        <a:pt x="97" y="310"/>
                      </a:cubicBezTo>
                      <a:cubicBezTo>
                        <a:pt x="115" y="335"/>
                        <a:pt x="143" y="362"/>
                        <a:pt x="148" y="394"/>
                      </a:cubicBezTo>
                      <a:cubicBezTo>
                        <a:pt x="107" y="400"/>
                        <a:pt x="67" y="296"/>
                        <a:pt x="54" y="267"/>
                      </a:cubicBezTo>
                      <a:cubicBezTo>
                        <a:pt x="42" y="238"/>
                        <a:pt x="29" y="208"/>
                        <a:pt x="20" y="176"/>
                      </a:cubicBezTo>
                      <a:cubicBezTo>
                        <a:pt x="13" y="146"/>
                        <a:pt x="16" y="111"/>
                        <a:pt x="2" y="85"/>
                      </a:cubicBezTo>
                      <a:cubicBezTo>
                        <a:pt x="0" y="102"/>
                        <a:pt x="13" y="134"/>
                        <a:pt x="28" y="144"/>
                      </a:cubicBezTo>
                      <a:cubicBezTo>
                        <a:pt x="41" y="122"/>
                        <a:pt x="38" y="92"/>
                        <a:pt x="38" y="65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3" name="Freeform 419"/>
                <p:cNvSpPr>
                  <a:spLocks/>
                </p:cNvSpPr>
                <p:nvPr/>
              </p:nvSpPr>
              <p:spPr bwMode="gray">
                <a:xfrm>
                  <a:off x="18164175" y="-16414750"/>
                  <a:ext cx="1222375" cy="1258888"/>
                </a:xfrm>
                <a:custGeom>
                  <a:avLst/>
                  <a:gdLst/>
                  <a:ahLst/>
                  <a:cxnLst>
                    <a:cxn ang="0">
                      <a:pos x="177" y="266"/>
                    </a:cxn>
                    <a:cxn ang="0">
                      <a:pos x="267" y="187"/>
                    </a:cxn>
                    <a:cxn ang="0">
                      <a:pos x="282" y="34"/>
                    </a:cxn>
                    <a:cxn ang="0">
                      <a:pos x="180" y="188"/>
                    </a:cxn>
                    <a:cxn ang="0">
                      <a:pos x="170" y="275"/>
                    </a:cxn>
                    <a:cxn ang="0">
                      <a:pos x="134" y="282"/>
                    </a:cxn>
                    <a:cxn ang="0">
                      <a:pos x="115" y="282"/>
                    </a:cxn>
                    <a:cxn ang="0">
                      <a:pos x="104" y="298"/>
                    </a:cxn>
                    <a:cxn ang="0">
                      <a:pos x="24" y="260"/>
                    </a:cxn>
                    <a:cxn ang="0">
                      <a:pos x="144" y="155"/>
                    </a:cxn>
                  </a:cxnLst>
                  <a:rect l="0" t="0" r="r" b="b"/>
                  <a:pathLst>
                    <a:path w="326" h="336">
                      <a:moveTo>
                        <a:pt x="177" y="266"/>
                      </a:moveTo>
                      <a:cubicBezTo>
                        <a:pt x="186" y="318"/>
                        <a:pt x="258" y="202"/>
                        <a:pt x="267" y="187"/>
                      </a:cubicBezTo>
                      <a:cubicBezTo>
                        <a:pt x="287" y="153"/>
                        <a:pt x="326" y="57"/>
                        <a:pt x="282" y="34"/>
                      </a:cubicBezTo>
                      <a:cubicBezTo>
                        <a:pt x="213" y="0"/>
                        <a:pt x="180" y="141"/>
                        <a:pt x="180" y="188"/>
                      </a:cubicBezTo>
                      <a:cubicBezTo>
                        <a:pt x="180" y="212"/>
                        <a:pt x="189" y="258"/>
                        <a:pt x="170" y="275"/>
                      </a:cubicBezTo>
                      <a:cubicBezTo>
                        <a:pt x="163" y="281"/>
                        <a:pt x="143" y="280"/>
                        <a:pt x="134" y="282"/>
                      </a:cubicBezTo>
                      <a:cubicBezTo>
                        <a:pt x="129" y="284"/>
                        <a:pt x="120" y="280"/>
                        <a:pt x="115" y="282"/>
                      </a:cubicBezTo>
                      <a:cubicBezTo>
                        <a:pt x="107" y="286"/>
                        <a:pt x="110" y="295"/>
                        <a:pt x="104" y="298"/>
                      </a:cubicBezTo>
                      <a:cubicBezTo>
                        <a:pt x="60" y="325"/>
                        <a:pt x="0" y="336"/>
                        <a:pt x="24" y="260"/>
                      </a:cubicBezTo>
                      <a:cubicBezTo>
                        <a:pt x="42" y="204"/>
                        <a:pt x="111" y="200"/>
                        <a:pt x="144" y="155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4" name="Freeform 420"/>
                <p:cNvSpPr>
                  <a:spLocks/>
                </p:cNvSpPr>
                <p:nvPr/>
              </p:nvSpPr>
              <p:spPr bwMode="gray">
                <a:xfrm>
                  <a:off x="17275175" y="-16230600"/>
                  <a:ext cx="930275" cy="1079500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23" y="96"/>
                    </a:cxn>
                    <a:cxn ang="0">
                      <a:pos x="54" y="156"/>
                    </a:cxn>
                    <a:cxn ang="0">
                      <a:pos x="91" y="288"/>
                    </a:cxn>
                    <a:cxn ang="0">
                      <a:pos x="107" y="237"/>
                    </a:cxn>
                    <a:cxn ang="0">
                      <a:pos x="157" y="244"/>
                    </a:cxn>
                    <a:cxn ang="0">
                      <a:pos x="189" y="230"/>
                    </a:cxn>
                    <a:cxn ang="0">
                      <a:pos x="212" y="247"/>
                    </a:cxn>
                    <a:cxn ang="0">
                      <a:pos x="232" y="216"/>
                    </a:cxn>
                    <a:cxn ang="0">
                      <a:pos x="173" y="180"/>
                    </a:cxn>
                    <a:cxn ang="0">
                      <a:pos x="114" y="110"/>
                    </a:cxn>
                    <a:cxn ang="0">
                      <a:pos x="75" y="35"/>
                    </a:cxn>
                    <a:cxn ang="0">
                      <a:pos x="0" y="41"/>
                    </a:cxn>
                  </a:cxnLst>
                  <a:rect l="0" t="0" r="r" b="b"/>
                  <a:pathLst>
                    <a:path w="248" h="288">
                      <a:moveTo>
                        <a:pt x="0" y="38"/>
                      </a:moveTo>
                      <a:cubicBezTo>
                        <a:pt x="14" y="53"/>
                        <a:pt x="14" y="78"/>
                        <a:pt x="23" y="96"/>
                      </a:cubicBezTo>
                      <a:cubicBezTo>
                        <a:pt x="34" y="117"/>
                        <a:pt x="46" y="134"/>
                        <a:pt x="54" y="156"/>
                      </a:cubicBezTo>
                      <a:cubicBezTo>
                        <a:pt x="72" y="201"/>
                        <a:pt x="78" y="242"/>
                        <a:pt x="91" y="288"/>
                      </a:cubicBezTo>
                      <a:cubicBezTo>
                        <a:pt x="91" y="266"/>
                        <a:pt x="86" y="247"/>
                        <a:pt x="107" y="237"/>
                      </a:cubicBezTo>
                      <a:cubicBezTo>
                        <a:pt x="127" y="227"/>
                        <a:pt x="141" y="245"/>
                        <a:pt x="157" y="244"/>
                      </a:cubicBezTo>
                      <a:cubicBezTo>
                        <a:pt x="169" y="243"/>
                        <a:pt x="174" y="229"/>
                        <a:pt x="189" y="230"/>
                      </a:cubicBezTo>
                      <a:cubicBezTo>
                        <a:pt x="202" y="231"/>
                        <a:pt x="207" y="245"/>
                        <a:pt x="212" y="247"/>
                      </a:cubicBezTo>
                      <a:cubicBezTo>
                        <a:pt x="235" y="252"/>
                        <a:pt x="248" y="241"/>
                        <a:pt x="232" y="216"/>
                      </a:cubicBezTo>
                      <a:cubicBezTo>
                        <a:pt x="222" y="201"/>
                        <a:pt x="189" y="191"/>
                        <a:pt x="173" y="180"/>
                      </a:cubicBezTo>
                      <a:cubicBezTo>
                        <a:pt x="146" y="162"/>
                        <a:pt x="130" y="138"/>
                        <a:pt x="114" y="110"/>
                      </a:cubicBezTo>
                      <a:cubicBezTo>
                        <a:pt x="101" y="85"/>
                        <a:pt x="93" y="57"/>
                        <a:pt x="75" y="35"/>
                      </a:cubicBezTo>
                      <a:cubicBezTo>
                        <a:pt x="46" y="0"/>
                        <a:pt x="34" y="24"/>
                        <a:pt x="0" y="41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5" name="Freeform 421"/>
                <p:cNvSpPr>
                  <a:spLocks/>
                </p:cNvSpPr>
                <p:nvPr/>
              </p:nvSpPr>
              <p:spPr bwMode="gray">
                <a:xfrm>
                  <a:off x="17822863" y="-2082800"/>
                  <a:ext cx="922338" cy="2032000"/>
                </a:xfrm>
                <a:custGeom>
                  <a:avLst/>
                  <a:gdLst/>
                  <a:ahLst/>
                  <a:cxnLst>
                    <a:cxn ang="0">
                      <a:pos x="141" y="0"/>
                    </a:cxn>
                    <a:cxn ang="0">
                      <a:pos x="114" y="114"/>
                    </a:cxn>
                    <a:cxn ang="0">
                      <a:pos x="155" y="166"/>
                    </a:cxn>
                    <a:cxn ang="0">
                      <a:pos x="167" y="252"/>
                    </a:cxn>
                    <a:cxn ang="0">
                      <a:pos x="163" y="299"/>
                    </a:cxn>
                    <a:cxn ang="0">
                      <a:pos x="180" y="346"/>
                    </a:cxn>
                    <a:cxn ang="0">
                      <a:pos x="138" y="384"/>
                    </a:cxn>
                    <a:cxn ang="0">
                      <a:pos x="128" y="418"/>
                    </a:cxn>
                    <a:cxn ang="0">
                      <a:pos x="92" y="463"/>
                    </a:cxn>
                    <a:cxn ang="0">
                      <a:pos x="27" y="472"/>
                    </a:cxn>
                    <a:cxn ang="0">
                      <a:pos x="30" y="505"/>
                    </a:cxn>
                    <a:cxn ang="0">
                      <a:pos x="7" y="521"/>
                    </a:cxn>
                    <a:cxn ang="0">
                      <a:pos x="43" y="538"/>
                    </a:cxn>
                    <a:cxn ang="0">
                      <a:pos x="203" y="466"/>
                    </a:cxn>
                    <a:cxn ang="0">
                      <a:pos x="219" y="384"/>
                    </a:cxn>
                    <a:cxn ang="0">
                      <a:pos x="238" y="294"/>
                    </a:cxn>
                    <a:cxn ang="0">
                      <a:pos x="161" y="83"/>
                    </a:cxn>
                    <a:cxn ang="0">
                      <a:pos x="141" y="22"/>
                    </a:cxn>
                  </a:cxnLst>
                  <a:rect l="0" t="0" r="r" b="b"/>
                  <a:pathLst>
                    <a:path w="246" h="542">
                      <a:moveTo>
                        <a:pt x="141" y="0"/>
                      </a:moveTo>
                      <a:cubicBezTo>
                        <a:pt x="134" y="39"/>
                        <a:pt x="110" y="70"/>
                        <a:pt x="114" y="114"/>
                      </a:cubicBezTo>
                      <a:cubicBezTo>
                        <a:pt x="117" y="147"/>
                        <a:pt x="134" y="148"/>
                        <a:pt x="155" y="166"/>
                      </a:cubicBezTo>
                      <a:cubicBezTo>
                        <a:pt x="186" y="191"/>
                        <a:pt x="176" y="216"/>
                        <a:pt x="167" y="252"/>
                      </a:cubicBezTo>
                      <a:cubicBezTo>
                        <a:pt x="163" y="268"/>
                        <a:pt x="158" y="281"/>
                        <a:pt x="163" y="299"/>
                      </a:cubicBezTo>
                      <a:cubicBezTo>
                        <a:pt x="168" y="318"/>
                        <a:pt x="184" y="323"/>
                        <a:pt x="180" y="346"/>
                      </a:cubicBezTo>
                      <a:cubicBezTo>
                        <a:pt x="175" y="377"/>
                        <a:pt x="156" y="365"/>
                        <a:pt x="138" y="384"/>
                      </a:cubicBezTo>
                      <a:cubicBezTo>
                        <a:pt x="126" y="395"/>
                        <a:pt x="130" y="401"/>
                        <a:pt x="128" y="418"/>
                      </a:cubicBezTo>
                      <a:cubicBezTo>
                        <a:pt x="123" y="453"/>
                        <a:pt x="124" y="456"/>
                        <a:pt x="92" y="463"/>
                      </a:cubicBezTo>
                      <a:cubicBezTo>
                        <a:pt x="71" y="469"/>
                        <a:pt x="49" y="471"/>
                        <a:pt x="27" y="472"/>
                      </a:cubicBezTo>
                      <a:cubicBezTo>
                        <a:pt x="57" y="483"/>
                        <a:pt x="55" y="489"/>
                        <a:pt x="30" y="505"/>
                      </a:cubicBezTo>
                      <a:cubicBezTo>
                        <a:pt x="17" y="513"/>
                        <a:pt x="0" y="497"/>
                        <a:pt x="7" y="521"/>
                      </a:cubicBezTo>
                      <a:cubicBezTo>
                        <a:pt x="10" y="534"/>
                        <a:pt x="32" y="537"/>
                        <a:pt x="43" y="538"/>
                      </a:cubicBezTo>
                      <a:cubicBezTo>
                        <a:pt x="101" y="542"/>
                        <a:pt x="175" y="515"/>
                        <a:pt x="203" y="466"/>
                      </a:cubicBezTo>
                      <a:cubicBezTo>
                        <a:pt x="218" y="441"/>
                        <a:pt x="215" y="414"/>
                        <a:pt x="219" y="384"/>
                      </a:cubicBezTo>
                      <a:cubicBezTo>
                        <a:pt x="222" y="353"/>
                        <a:pt x="236" y="324"/>
                        <a:pt x="238" y="294"/>
                      </a:cubicBezTo>
                      <a:cubicBezTo>
                        <a:pt x="246" y="216"/>
                        <a:pt x="196" y="142"/>
                        <a:pt x="161" y="83"/>
                      </a:cubicBezTo>
                      <a:cubicBezTo>
                        <a:pt x="151" y="66"/>
                        <a:pt x="141" y="43"/>
                        <a:pt x="141" y="22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6" name="Freeform 422"/>
                <p:cNvSpPr>
                  <a:spLocks/>
                </p:cNvSpPr>
                <p:nvPr/>
              </p:nvSpPr>
              <p:spPr bwMode="gray">
                <a:xfrm>
                  <a:off x="14946313" y="-16430625"/>
                  <a:ext cx="2662238" cy="7631113"/>
                </a:xfrm>
                <a:custGeom>
                  <a:avLst/>
                  <a:gdLst/>
                  <a:ahLst/>
                  <a:cxnLst>
                    <a:cxn ang="0">
                      <a:pos x="710" y="8"/>
                    </a:cxn>
                    <a:cxn ang="0">
                      <a:pos x="461" y="124"/>
                    </a:cxn>
                    <a:cxn ang="0">
                      <a:pos x="220" y="242"/>
                    </a:cxn>
                    <a:cxn ang="0">
                      <a:pos x="97" y="511"/>
                    </a:cxn>
                    <a:cxn ang="0">
                      <a:pos x="45" y="889"/>
                    </a:cxn>
                    <a:cxn ang="0">
                      <a:pos x="19" y="1215"/>
                    </a:cxn>
                    <a:cxn ang="0">
                      <a:pos x="92" y="1547"/>
                    </a:cxn>
                    <a:cxn ang="0">
                      <a:pos x="103" y="1672"/>
                    </a:cxn>
                    <a:cxn ang="0">
                      <a:pos x="161" y="1815"/>
                    </a:cxn>
                    <a:cxn ang="0">
                      <a:pos x="285" y="2035"/>
                    </a:cxn>
                    <a:cxn ang="0">
                      <a:pos x="350" y="1892"/>
                    </a:cxn>
                    <a:cxn ang="0">
                      <a:pos x="424" y="1784"/>
                    </a:cxn>
                    <a:cxn ang="0">
                      <a:pos x="436" y="1691"/>
                    </a:cxn>
                    <a:cxn ang="0">
                      <a:pos x="438" y="1566"/>
                    </a:cxn>
                    <a:cxn ang="0">
                      <a:pos x="346" y="1448"/>
                    </a:cxn>
                    <a:cxn ang="0">
                      <a:pos x="312" y="1328"/>
                    </a:cxn>
                    <a:cxn ang="0">
                      <a:pos x="346" y="1417"/>
                    </a:cxn>
                    <a:cxn ang="0">
                      <a:pos x="351" y="1515"/>
                    </a:cxn>
                    <a:cxn ang="0">
                      <a:pos x="442" y="1684"/>
                    </a:cxn>
                    <a:cxn ang="0">
                      <a:pos x="480" y="1383"/>
                    </a:cxn>
                    <a:cxn ang="0">
                      <a:pos x="645" y="1164"/>
                    </a:cxn>
                    <a:cxn ang="0">
                      <a:pos x="651" y="830"/>
                    </a:cxn>
                    <a:cxn ang="0">
                      <a:pos x="633" y="484"/>
                    </a:cxn>
                    <a:cxn ang="0">
                      <a:pos x="638" y="211"/>
                    </a:cxn>
                    <a:cxn ang="0">
                      <a:pos x="689" y="0"/>
                    </a:cxn>
                  </a:cxnLst>
                  <a:rect l="0" t="0" r="r" b="b"/>
                  <a:pathLst>
                    <a:path w="710" h="2035">
                      <a:moveTo>
                        <a:pt x="710" y="8"/>
                      </a:moveTo>
                      <a:cubicBezTo>
                        <a:pt x="634" y="55"/>
                        <a:pt x="553" y="92"/>
                        <a:pt x="461" y="124"/>
                      </a:cubicBezTo>
                      <a:cubicBezTo>
                        <a:pt x="373" y="155"/>
                        <a:pt x="294" y="189"/>
                        <a:pt x="220" y="242"/>
                      </a:cubicBezTo>
                      <a:cubicBezTo>
                        <a:pt x="122" y="311"/>
                        <a:pt x="102" y="391"/>
                        <a:pt x="97" y="511"/>
                      </a:cubicBezTo>
                      <a:cubicBezTo>
                        <a:pt x="92" y="641"/>
                        <a:pt x="50" y="759"/>
                        <a:pt x="45" y="889"/>
                      </a:cubicBezTo>
                      <a:cubicBezTo>
                        <a:pt x="40" y="1001"/>
                        <a:pt x="36" y="1107"/>
                        <a:pt x="19" y="1215"/>
                      </a:cubicBezTo>
                      <a:cubicBezTo>
                        <a:pt x="0" y="1330"/>
                        <a:pt x="58" y="1440"/>
                        <a:pt x="92" y="1547"/>
                      </a:cubicBezTo>
                      <a:cubicBezTo>
                        <a:pt x="109" y="1602"/>
                        <a:pt x="106" y="1613"/>
                        <a:pt x="103" y="1672"/>
                      </a:cubicBezTo>
                      <a:cubicBezTo>
                        <a:pt x="100" y="1744"/>
                        <a:pt x="128" y="1759"/>
                        <a:pt x="161" y="1815"/>
                      </a:cubicBezTo>
                      <a:cubicBezTo>
                        <a:pt x="199" y="1882"/>
                        <a:pt x="204" y="1990"/>
                        <a:pt x="285" y="2035"/>
                      </a:cubicBezTo>
                      <a:cubicBezTo>
                        <a:pt x="302" y="1952"/>
                        <a:pt x="281" y="1934"/>
                        <a:pt x="350" y="1892"/>
                      </a:cubicBezTo>
                      <a:cubicBezTo>
                        <a:pt x="393" y="1865"/>
                        <a:pt x="418" y="1834"/>
                        <a:pt x="424" y="1784"/>
                      </a:cubicBezTo>
                      <a:cubicBezTo>
                        <a:pt x="484" y="1758"/>
                        <a:pt x="441" y="1724"/>
                        <a:pt x="436" y="1691"/>
                      </a:cubicBezTo>
                      <a:cubicBezTo>
                        <a:pt x="430" y="1650"/>
                        <a:pt x="449" y="1610"/>
                        <a:pt x="438" y="1566"/>
                      </a:cubicBezTo>
                      <a:cubicBezTo>
                        <a:pt x="423" y="1511"/>
                        <a:pt x="375" y="1496"/>
                        <a:pt x="346" y="1448"/>
                      </a:cubicBezTo>
                      <a:cubicBezTo>
                        <a:pt x="323" y="1410"/>
                        <a:pt x="333" y="1365"/>
                        <a:pt x="312" y="1328"/>
                      </a:cubicBezTo>
                      <a:cubicBezTo>
                        <a:pt x="315" y="1365"/>
                        <a:pt x="336" y="1385"/>
                        <a:pt x="346" y="1417"/>
                      </a:cubicBezTo>
                      <a:cubicBezTo>
                        <a:pt x="357" y="1451"/>
                        <a:pt x="344" y="1485"/>
                        <a:pt x="351" y="1515"/>
                      </a:cubicBezTo>
                      <a:cubicBezTo>
                        <a:pt x="364" y="1569"/>
                        <a:pt x="421" y="1628"/>
                        <a:pt x="442" y="1684"/>
                      </a:cubicBezTo>
                      <a:cubicBezTo>
                        <a:pt x="541" y="1665"/>
                        <a:pt x="458" y="1450"/>
                        <a:pt x="480" y="1383"/>
                      </a:cubicBezTo>
                      <a:cubicBezTo>
                        <a:pt x="507" y="1304"/>
                        <a:pt x="600" y="1240"/>
                        <a:pt x="645" y="1164"/>
                      </a:cubicBezTo>
                      <a:cubicBezTo>
                        <a:pt x="695" y="1079"/>
                        <a:pt x="681" y="927"/>
                        <a:pt x="651" y="830"/>
                      </a:cubicBezTo>
                      <a:cubicBezTo>
                        <a:pt x="617" y="717"/>
                        <a:pt x="628" y="605"/>
                        <a:pt x="633" y="484"/>
                      </a:cubicBezTo>
                      <a:cubicBezTo>
                        <a:pt x="637" y="395"/>
                        <a:pt x="637" y="302"/>
                        <a:pt x="638" y="211"/>
                      </a:cubicBezTo>
                      <a:cubicBezTo>
                        <a:pt x="639" y="165"/>
                        <a:pt x="655" y="22"/>
                        <a:pt x="689" y="0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7" name="Freeform 423"/>
                <p:cNvSpPr>
                  <a:spLocks/>
                </p:cNvSpPr>
                <p:nvPr/>
              </p:nvSpPr>
              <p:spPr bwMode="gray">
                <a:xfrm>
                  <a:off x="19003963" y="-16568737"/>
                  <a:ext cx="2673350" cy="7510463"/>
                </a:xfrm>
                <a:custGeom>
                  <a:avLst/>
                  <a:gdLst/>
                  <a:ahLst/>
                  <a:cxnLst>
                    <a:cxn ang="0">
                      <a:pos x="26" y="26"/>
                    </a:cxn>
                    <a:cxn ang="0">
                      <a:pos x="78" y="195"/>
                    </a:cxn>
                    <a:cxn ang="0">
                      <a:pos x="78" y="378"/>
                    </a:cxn>
                    <a:cxn ang="0">
                      <a:pos x="52" y="756"/>
                    </a:cxn>
                    <a:cxn ang="0">
                      <a:pos x="223" y="1375"/>
                    </a:cxn>
                    <a:cxn ang="0">
                      <a:pos x="289" y="1722"/>
                    </a:cxn>
                    <a:cxn ang="0">
                      <a:pos x="365" y="1853"/>
                    </a:cxn>
                    <a:cxn ang="0">
                      <a:pos x="500" y="2003"/>
                    </a:cxn>
                    <a:cxn ang="0">
                      <a:pos x="605" y="1786"/>
                    </a:cxn>
                    <a:cxn ang="0">
                      <a:pos x="660" y="1638"/>
                    </a:cxn>
                    <a:cxn ang="0">
                      <a:pos x="690" y="1636"/>
                    </a:cxn>
                    <a:cxn ang="0">
                      <a:pos x="664" y="1494"/>
                    </a:cxn>
                    <a:cxn ang="0">
                      <a:pos x="685" y="1355"/>
                    </a:cxn>
                    <a:cxn ang="0">
                      <a:pos x="685" y="1173"/>
                    </a:cxn>
                    <a:cxn ang="0">
                      <a:pos x="698" y="996"/>
                    </a:cxn>
                    <a:cxn ang="0">
                      <a:pos x="581" y="306"/>
                    </a:cxn>
                    <a:cxn ang="0">
                      <a:pos x="553" y="209"/>
                    </a:cxn>
                    <a:cxn ang="0">
                      <a:pos x="478" y="156"/>
                    </a:cxn>
                    <a:cxn ang="0">
                      <a:pos x="255" y="58"/>
                    </a:cxn>
                    <a:cxn ang="0">
                      <a:pos x="124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13" h="2003">
                      <a:moveTo>
                        <a:pt x="26" y="26"/>
                      </a:moveTo>
                      <a:cubicBezTo>
                        <a:pt x="41" y="88"/>
                        <a:pt x="75" y="128"/>
                        <a:pt x="78" y="195"/>
                      </a:cubicBezTo>
                      <a:cubicBezTo>
                        <a:pt x="81" y="255"/>
                        <a:pt x="81" y="318"/>
                        <a:pt x="78" y="378"/>
                      </a:cubicBezTo>
                      <a:cubicBezTo>
                        <a:pt x="72" y="504"/>
                        <a:pt x="69" y="632"/>
                        <a:pt x="52" y="756"/>
                      </a:cubicBezTo>
                      <a:cubicBezTo>
                        <a:pt x="21" y="976"/>
                        <a:pt x="157" y="1175"/>
                        <a:pt x="223" y="1375"/>
                      </a:cubicBezTo>
                      <a:cubicBezTo>
                        <a:pt x="259" y="1483"/>
                        <a:pt x="243" y="1613"/>
                        <a:pt x="289" y="1722"/>
                      </a:cubicBezTo>
                      <a:cubicBezTo>
                        <a:pt x="305" y="1763"/>
                        <a:pt x="322" y="1844"/>
                        <a:pt x="365" y="1853"/>
                      </a:cubicBezTo>
                      <a:cubicBezTo>
                        <a:pt x="439" y="1868"/>
                        <a:pt x="480" y="1987"/>
                        <a:pt x="500" y="2003"/>
                      </a:cubicBezTo>
                      <a:cubicBezTo>
                        <a:pt x="528" y="1954"/>
                        <a:pt x="585" y="1837"/>
                        <a:pt x="605" y="1786"/>
                      </a:cubicBezTo>
                      <a:cubicBezTo>
                        <a:pt x="627" y="1729"/>
                        <a:pt x="664" y="1706"/>
                        <a:pt x="660" y="1638"/>
                      </a:cubicBezTo>
                      <a:cubicBezTo>
                        <a:pt x="669" y="1639"/>
                        <a:pt x="681" y="1635"/>
                        <a:pt x="690" y="1636"/>
                      </a:cubicBezTo>
                      <a:cubicBezTo>
                        <a:pt x="713" y="1578"/>
                        <a:pt x="679" y="1543"/>
                        <a:pt x="664" y="1494"/>
                      </a:cubicBezTo>
                      <a:cubicBezTo>
                        <a:pt x="646" y="1434"/>
                        <a:pt x="677" y="1415"/>
                        <a:pt x="685" y="1355"/>
                      </a:cubicBezTo>
                      <a:cubicBezTo>
                        <a:pt x="693" y="1296"/>
                        <a:pt x="680" y="1233"/>
                        <a:pt x="685" y="1173"/>
                      </a:cubicBezTo>
                      <a:cubicBezTo>
                        <a:pt x="690" y="1114"/>
                        <a:pt x="705" y="1058"/>
                        <a:pt x="698" y="996"/>
                      </a:cubicBezTo>
                      <a:cubicBezTo>
                        <a:pt x="673" y="769"/>
                        <a:pt x="636" y="526"/>
                        <a:pt x="581" y="306"/>
                      </a:cubicBezTo>
                      <a:cubicBezTo>
                        <a:pt x="574" y="278"/>
                        <a:pt x="570" y="231"/>
                        <a:pt x="553" y="209"/>
                      </a:cubicBezTo>
                      <a:cubicBezTo>
                        <a:pt x="533" y="182"/>
                        <a:pt x="477" y="162"/>
                        <a:pt x="478" y="156"/>
                      </a:cubicBezTo>
                      <a:cubicBezTo>
                        <a:pt x="389" y="166"/>
                        <a:pt x="332" y="77"/>
                        <a:pt x="255" y="58"/>
                      </a:cubicBezTo>
                      <a:cubicBezTo>
                        <a:pt x="213" y="48"/>
                        <a:pt x="165" y="63"/>
                        <a:pt x="124" y="53"/>
                      </a:cubicBezTo>
                      <a:cubicBezTo>
                        <a:pt x="82" y="43"/>
                        <a:pt x="34" y="21"/>
                        <a:pt x="0" y="0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8" name="Freeform 424"/>
                <p:cNvSpPr>
                  <a:spLocks/>
                </p:cNvSpPr>
                <p:nvPr/>
              </p:nvSpPr>
              <p:spPr bwMode="gray">
                <a:xfrm>
                  <a:off x="17305338" y="-15401925"/>
                  <a:ext cx="1784350" cy="4146550"/>
                </a:xfrm>
                <a:custGeom>
                  <a:avLst/>
                  <a:gdLst/>
                  <a:ahLst/>
                  <a:cxnLst>
                    <a:cxn ang="0">
                      <a:pos x="461" y="890"/>
                    </a:cxn>
                    <a:cxn ang="0">
                      <a:pos x="439" y="769"/>
                    </a:cxn>
                    <a:cxn ang="0">
                      <a:pos x="351" y="706"/>
                    </a:cxn>
                    <a:cxn ang="0">
                      <a:pos x="448" y="681"/>
                    </a:cxn>
                    <a:cxn ang="0">
                      <a:pos x="418" y="613"/>
                    </a:cxn>
                    <a:cxn ang="0">
                      <a:pos x="396" y="541"/>
                    </a:cxn>
                    <a:cxn ang="0">
                      <a:pos x="383" y="380"/>
                    </a:cxn>
                    <a:cxn ang="0">
                      <a:pos x="366" y="299"/>
                    </a:cxn>
                    <a:cxn ang="0">
                      <a:pos x="376" y="211"/>
                    </a:cxn>
                    <a:cxn ang="0">
                      <a:pos x="331" y="74"/>
                    </a:cxn>
                    <a:cxn ang="0">
                      <a:pos x="286" y="85"/>
                    </a:cxn>
                    <a:cxn ang="0">
                      <a:pos x="248" y="69"/>
                    </a:cxn>
                    <a:cxn ang="0">
                      <a:pos x="187" y="0"/>
                    </a:cxn>
                    <a:cxn ang="0">
                      <a:pos x="207" y="83"/>
                    </a:cxn>
                    <a:cxn ang="0">
                      <a:pos x="171" y="155"/>
                    </a:cxn>
                    <a:cxn ang="0">
                      <a:pos x="155" y="78"/>
                    </a:cxn>
                    <a:cxn ang="0">
                      <a:pos x="123" y="241"/>
                    </a:cxn>
                    <a:cxn ang="0">
                      <a:pos x="83" y="407"/>
                    </a:cxn>
                    <a:cxn ang="0">
                      <a:pos x="105" y="407"/>
                    </a:cxn>
                    <a:cxn ang="0">
                      <a:pos x="177" y="316"/>
                    </a:cxn>
                    <a:cxn ang="0">
                      <a:pos x="162" y="483"/>
                    </a:cxn>
                    <a:cxn ang="0">
                      <a:pos x="93" y="609"/>
                    </a:cxn>
                    <a:cxn ang="0">
                      <a:pos x="147" y="564"/>
                    </a:cxn>
                    <a:cxn ang="0">
                      <a:pos x="180" y="622"/>
                    </a:cxn>
                    <a:cxn ang="0">
                      <a:pos x="178" y="700"/>
                    </a:cxn>
                    <a:cxn ang="0">
                      <a:pos x="123" y="749"/>
                    </a:cxn>
                    <a:cxn ang="0">
                      <a:pos x="102" y="883"/>
                    </a:cxn>
                    <a:cxn ang="0">
                      <a:pos x="167" y="987"/>
                    </a:cxn>
                    <a:cxn ang="0">
                      <a:pos x="92" y="998"/>
                    </a:cxn>
                    <a:cxn ang="0">
                      <a:pos x="47" y="942"/>
                    </a:cxn>
                    <a:cxn ang="0">
                      <a:pos x="21" y="984"/>
                    </a:cxn>
                    <a:cxn ang="0">
                      <a:pos x="59" y="1007"/>
                    </a:cxn>
                    <a:cxn ang="0">
                      <a:pos x="94" y="1032"/>
                    </a:cxn>
                    <a:cxn ang="0">
                      <a:pos x="248" y="1099"/>
                    </a:cxn>
                    <a:cxn ang="0">
                      <a:pos x="399" y="1068"/>
                    </a:cxn>
                    <a:cxn ang="0">
                      <a:pos x="328" y="998"/>
                    </a:cxn>
                    <a:cxn ang="0">
                      <a:pos x="381" y="964"/>
                    </a:cxn>
                    <a:cxn ang="0">
                      <a:pos x="461" y="890"/>
                    </a:cxn>
                  </a:cxnLst>
                  <a:rect l="0" t="0" r="r" b="b"/>
                  <a:pathLst>
                    <a:path w="476" h="1106">
                      <a:moveTo>
                        <a:pt x="461" y="890"/>
                      </a:moveTo>
                      <a:cubicBezTo>
                        <a:pt x="476" y="852"/>
                        <a:pt x="461" y="796"/>
                        <a:pt x="439" y="769"/>
                      </a:cubicBezTo>
                      <a:cubicBezTo>
                        <a:pt x="416" y="742"/>
                        <a:pt x="364" y="748"/>
                        <a:pt x="351" y="706"/>
                      </a:cubicBezTo>
                      <a:cubicBezTo>
                        <a:pt x="331" y="643"/>
                        <a:pt x="421" y="682"/>
                        <a:pt x="448" y="681"/>
                      </a:cubicBezTo>
                      <a:cubicBezTo>
                        <a:pt x="452" y="653"/>
                        <a:pt x="430" y="635"/>
                        <a:pt x="418" y="613"/>
                      </a:cubicBezTo>
                      <a:cubicBezTo>
                        <a:pt x="404" y="588"/>
                        <a:pt x="400" y="571"/>
                        <a:pt x="396" y="541"/>
                      </a:cubicBezTo>
                      <a:cubicBezTo>
                        <a:pt x="388" y="489"/>
                        <a:pt x="383" y="437"/>
                        <a:pt x="383" y="380"/>
                      </a:cubicBezTo>
                      <a:cubicBezTo>
                        <a:pt x="383" y="347"/>
                        <a:pt x="372" y="330"/>
                        <a:pt x="366" y="299"/>
                      </a:cubicBezTo>
                      <a:cubicBezTo>
                        <a:pt x="361" y="270"/>
                        <a:pt x="374" y="240"/>
                        <a:pt x="376" y="211"/>
                      </a:cubicBezTo>
                      <a:cubicBezTo>
                        <a:pt x="380" y="175"/>
                        <a:pt x="357" y="97"/>
                        <a:pt x="331" y="74"/>
                      </a:cubicBezTo>
                      <a:cubicBezTo>
                        <a:pt x="302" y="49"/>
                        <a:pt x="310" y="77"/>
                        <a:pt x="286" y="85"/>
                      </a:cubicBezTo>
                      <a:cubicBezTo>
                        <a:pt x="268" y="92"/>
                        <a:pt x="264" y="81"/>
                        <a:pt x="248" y="69"/>
                      </a:cubicBezTo>
                      <a:cubicBezTo>
                        <a:pt x="222" y="48"/>
                        <a:pt x="205" y="28"/>
                        <a:pt x="187" y="0"/>
                      </a:cubicBezTo>
                      <a:cubicBezTo>
                        <a:pt x="139" y="0"/>
                        <a:pt x="201" y="70"/>
                        <a:pt x="207" y="83"/>
                      </a:cubicBezTo>
                      <a:cubicBezTo>
                        <a:pt x="224" y="119"/>
                        <a:pt x="224" y="164"/>
                        <a:pt x="171" y="155"/>
                      </a:cubicBezTo>
                      <a:cubicBezTo>
                        <a:pt x="161" y="130"/>
                        <a:pt x="176" y="98"/>
                        <a:pt x="155" y="78"/>
                      </a:cubicBezTo>
                      <a:cubicBezTo>
                        <a:pt x="136" y="132"/>
                        <a:pt x="149" y="187"/>
                        <a:pt x="123" y="241"/>
                      </a:cubicBezTo>
                      <a:cubicBezTo>
                        <a:pt x="96" y="296"/>
                        <a:pt x="80" y="343"/>
                        <a:pt x="83" y="407"/>
                      </a:cubicBezTo>
                      <a:cubicBezTo>
                        <a:pt x="89" y="408"/>
                        <a:pt x="100" y="408"/>
                        <a:pt x="105" y="407"/>
                      </a:cubicBezTo>
                      <a:cubicBezTo>
                        <a:pt x="116" y="382"/>
                        <a:pt x="147" y="314"/>
                        <a:pt x="177" y="316"/>
                      </a:cubicBezTo>
                      <a:cubicBezTo>
                        <a:pt x="202" y="371"/>
                        <a:pt x="200" y="435"/>
                        <a:pt x="162" y="483"/>
                      </a:cubicBezTo>
                      <a:cubicBezTo>
                        <a:pt x="133" y="519"/>
                        <a:pt x="87" y="558"/>
                        <a:pt x="93" y="609"/>
                      </a:cubicBezTo>
                      <a:cubicBezTo>
                        <a:pt x="112" y="600"/>
                        <a:pt x="120" y="568"/>
                        <a:pt x="147" y="564"/>
                      </a:cubicBezTo>
                      <a:cubicBezTo>
                        <a:pt x="181" y="559"/>
                        <a:pt x="175" y="593"/>
                        <a:pt x="180" y="622"/>
                      </a:cubicBezTo>
                      <a:cubicBezTo>
                        <a:pt x="183" y="641"/>
                        <a:pt x="193" y="686"/>
                        <a:pt x="178" y="700"/>
                      </a:cubicBezTo>
                      <a:cubicBezTo>
                        <a:pt x="157" y="719"/>
                        <a:pt x="112" y="699"/>
                        <a:pt x="123" y="749"/>
                      </a:cubicBezTo>
                      <a:cubicBezTo>
                        <a:pt x="178" y="770"/>
                        <a:pt x="103" y="851"/>
                        <a:pt x="102" y="883"/>
                      </a:cubicBezTo>
                      <a:cubicBezTo>
                        <a:pt x="102" y="933"/>
                        <a:pt x="195" y="954"/>
                        <a:pt x="167" y="987"/>
                      </a:cubicBezTo>
                      <a:cubicBezTo>
                        <a:pt x="153" y="1004"/>
                        <a:pt x="109" y="1010"/>
                        <a:pt x="92" y="998"/>
                      </a:cubicBezTo>
                      <a:cubicBezTo>
                        <a:pt x="73" y="985"/>
                        <a:pt x="72" y="951"/>
                        <a:pt x="47" y="942"/>
                      </a:cubicBezTo>
                      <a:cubicBezTo>
                        <a:pt x="12" y="929"/>
                        <a:pt x="0" y="961"/>
                        <a:pt x="21" y="984"/>
                      </a:cubicBezTo>
                      <a:cubicBezTo>
                        <a:pt x="31" y="994"/>
                        <a:pt x="47" y="999"/>
                        <a:pt x="59" y="1007"/>
                      </a:cubicBezTo>
                      <a:cubicBezTo>
                        <a:pt x="73" y="1015"/>
                        <a:pt x="82" y="1026"/>
                        <a:pt x="94" y="1032"/>
                      </a:cubicBezTo>
                      <a:cubicBezTo>
                        <a:pt x="137" y="1058"/>
                        <a:pt x="198" y="1089"/>
                        <a:pt x="248" y="1099"/>
                      </a:cubicBezTo>
                      <a:cubicBezTo>
                        <a:pt x="284" y="1106"/>
                        <a:pt x="375" y="1099"/>
                        <a:pt x="399" y="1068"/>
                      </a:cubicBezTo>
                      <a:cubicBezTo>
                        <a:pt x="433" y="1027"/>
                        <a:pt x="336" y="1037"/>
                        <a:pt x="328" y="998"/>
                      </a:cubicBezTo>
                      <a:cubicBezTo>
                        <a:pt x="319" y="954"/>
                        <a:pt x="359" y="970"/>
                        <a:pt x="381" y="964"/>
                      </a:cubicBezTo>
                      <a:cubicBezTo>
                        <a:pt x="411" y="956"/>
                        <a:pt x="450" y="918"/>
                        <a:pt x="461" y="890"/>
                      </a:cubicBezTo>
                      <a:close/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89" name="Freeform 425"/>
                <p:cNvSpPr>
                  <a:spLocks/>
                </p:cNvSpPr>
                <p:nvPr/>
              </p:nvSpPr>
              <p:spPr bwMode="gray">
                <a:xfrm>
                  <a:off x="17856200" y="-15555912"/>
                  <a:ext cx="1144588" cy="5051425"/>
                </a:xfrm>
                <a:custGeom>
                  <a:avLst/>
                  <a:gdLst/>
                  <a:ahLst/>
                  <a:cxnLst>
                    <a:cxn ang="0">
                      <a:pos x="65" y="43"/>
                    </a:cxn>
                    <a:cxn ang="0">
                      <a:pos x="51" y="199"/>
                    </a:cxn>
                    <a:cxn ang="0">
                      <a:pos x="12" y="343"/>
                    </a:cxn>
                    <a:cxn ang="0">
                      <a:pos x="25" y="499"/>
                    </a:cxn>
                    <a:cxn ang="0">
                      <a:pos x="6" y="676"/>
                    </a:cxn>
                    <a:cxn ang="0">
                      <a:pos x="19" y="1021"/>
                    </a:cxn>
                    <a:cxn ang="0">
                      <a:pos x="19" y="1222"/>
                    </a:cxn>
                    <a:cxn ang="0">
                      <a:pos x="125" y="1313"/>
                    </a:cxn>
                    <a:cxn ang="0">
                      <a:pos x="215" y="1300"/>
                    </a:cxn>
                    <a:cxn ang="0">
                      <a:pos x="274" y="1238"/>
                    </a:cxn>
                    <a:cxn ang="0">
                      <a:pos x="260" y="923"/>
                    </a:cxn>
                    <a:cxn ang="0">
                      <a:pos x="233" y="599"/>
                    </a:cxn>
                    <a:cxn ang="0">
                      <a:pos x="195" y="271"/>
                    </a:cxn>
                    <a:cxn ang="0">
                      <a:pos x="109" y="5"/>
                    </a:cxn>
                    <a:cxn ang="0">
                      <a:pos x="71" y="10"/>
                    </a:cxn>
                  </a:cxnLst>
                  <a:rect l="0" t="0" r="r" b="b"/>
                  <a:pathLst>
                    <a:path w="305" h="1347">
                      <a:moveTo>
                        <a:pt x="65" y="43"/>
                      </a:moveTo>
                      <a:cubicBezTo>
                        <a:pt x="65" y="98"/>
                        <a:pt x="64" y="149"/>
                        <a:pt x="51" y="199"/>
                      </a:cubicBezTo>
                      <a:cubicBezTo>
                        <a:pt x="38" y="249"/>
                        <a:pt x="15" y="290"/>
                        <a:pt x="12" y="343"/>
                      </a:cubicBezTo>
                      <a:cubicBezTo>
                        <a:pt x="10" y="396"/>
                        <a:pt x="24" y="446"/>
                        <a:pt x="25" y="499"/>
                      </a:cubicBezTo>
                      <a:cubicBezTo>
                        <a:pt x="27" y="562"/>
                        <a:pt x="9" y="614"/>
                        <a:pt x="6" y="676"/>
                      </a:cubicBezTo>
                      <a:cubicBezTo>
                        <a:pt x="1" y="794"/>
                        <a:pt x="13" y="908"/>
                        <a:pt x="19" y="1021"/>
                      </a:cubicBezTo>
                      <a:cubicBezTo>
                        <a:pt x="21" y="1070"/>
                        <a:pt x="0" y="1184"/>
                        <a:pt x="19" y="1222"/>
                      </a:cubicBezTo>
                      <a:cubicBezTo>
                        <a:pt x="28" y="1241"/>
                        <a:pt x="107" y="1301"/>
                        <a:pt x="125" y="1313"/>
                      </a:cubicBezTo>
                      <a:cubicBezTo>
                        <a:pt x="174" y="1347"/>
                        <a:pt x="167" y="1337"/>
                        <a:pt x="215" y="1300"/>
                      </a:cubicBezTo>
                      <a:cubicBezTo>
                        <a:pt x="241" y="1280"/>
                        <a:pt x="266" y="1268"/>
                        <a:pt x="274" y="1238"/>
                      </a:cubicBezTo>
                      <a:cubicBezTo>
                        <a:pt x="305" y="1224"/>
                        <a:pt x="260" y="978"/>
                        <a:pt x="260" y="923"/>
                      </a:cubicBezTo>
                      <a:cubicBezTo>
                        <a:pt x="260" y="807"/>
                        <a:pt x="243" y="709"/>
                        <a:pt x="233" y="599"/>
                      </a:cubicBezTo>
                      <a:cubicBezTo>
                        <a:pt x="223" y="492"/>
                        <a:pt x="225" y="372"/>
                        <a:pt x="195" y="271"/>
                      </a:cubicBezTo>
                      <a:cubicBezTo>
                        <a:pt x="171" y="188"/>
                        <a:pt x="157" y="79"/>
                        <a:pt x="109" y="5"/>
                      </a:cubicBezTo>
                      <a:cubicBezTo>
                        <a:pt x="94" y="0"/>
                        <a:pt x="80" y="4"/>
                        <a:pt x="71" y="1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0" name="Freeform 426"/>
                <p:cNvSpPr>
                  <a:spLocks/>
                </p:cNvSpPr>
                <p:nvPr/>
              </p:nvSpPr>
              <p:spPr bwMode="gray">
                <a:xfrm>
                  <a:off x="17897475" y="-15855950"/>
                  <a:ext cx="581025" cy="765175"/>
                </a:xfrm>
                <a:custGeom>
                  <a:avLst/>
                  <a:gdLst/>
                  <a:ahLst/>
                  <a:cxnLst>
                    <a:cxn ang="0">
                      <a:pos x="27" y="55"/>
                    </a:cxn>
                    <a:cxn ang="0">
                      <a:pos x="144" y="76"/>
                    </a:cxn>
                    <a:cxn ang="0">
                      <a:pos x="27" y="55"/>
                    </a:cxn>
                  </a:cxnLst>
                  <a:rect l="0" t="0" r="r" b="b"/>
                  <a:pathLst>
                    <a:path w="155" h="204">
                      <a:moveTo>
                        <a:pt x="27" y="55"/>
                      </a:moveTo>
                      <a:cubicBezTo>
                        <a:pt x="77" y="0"/>
                        <a:pt x="89" y="9"/>
                        <a:pt x="144" y="76"/>
                      </a:cubicBezTo>
                      <a:cubicBezTo>
                        <a:pt x="155" y="204"/>
                        <a:pt x="0" y="167"/>
                        <a:pt x="27" y="55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1" name="Freeform 427"/>
                <p:cNvSpPr>
                  <a:spLocks/>
                </p:cNvSpPr>
                <p:nvPr/>
              </p:nvSpPr>
              <p:spPr bwMode="gray">
                <a:xfrm>
                  <a:off x="17800638" y="-15984537"/>
                  <a:ext cx="776288" cy="728663"/>
                </a:xfrm>
                <a:custGeom>
                  <a:avLst/>
                  <a:gdLst/>
                  <a:ahLst/>
                  <a:cxnLst>
                    <a:cxn ang="0">
                      <a:pos x="27" y="78"/>
                    </a:cxn>
                    <a:cxn ang="0">
                      <a:pos x="196" y="66"/>
                    </a:cxn>
                    <a:cxn ang="0">
                      <a:pos x="27" y="78"/>
                    </a:cxn>
                  </a:cxnLst>
                  <a:rect l="0" t="0" r="r" b="b"/>
                  <a:pathLst>
                    <a:path w="207" h="194">
                      <a:moveTo>
                        <a:pt x="27" y="78"/>
                      </a:moveTo>
                      <a:cubicBezTo>
                        <a:pt x="77" y="23"/>
                        <a:pt x="142" y="0"/>
                        <a:pt x="196" y="66"/>
                      </a:cubicBezTo>
                      <a:cubicBezTo>
                        <a:pt x="207" y="194"/>
                        <a:pt x="0" y="190"/>
                        <a:pt x="27" y="78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2" name="Freeform 428"/>
                <p:cNvSpPr>
                  <a:spLocks/>
                </p:cNvSpPr>
                <p:nvPr/>
              </p:nvSpPr>
              <p:spPr bwMode="gray">
                <a:xfrm>
                  <a:off x="17297400" y="-16448087"/>
                  <a:ext cx="809625" cy="1203325"/>
                </a:xfrm>
                <a:custGeom>
                  <a:avLst/>
                  <a:gdLst/>
                  <a:ahLst/>
                  <a:cxnLst>
                    <a:cxn ang="0">
                      <a:pos x="64" y="0"/>
                    </a:cxn>
                    <a:cxn ang="0">
                      <a:pos x="44" y="157"/>
                    </a:cxn>
                    <a:cxn ang="0">
                      <a:pos x="116" y="321"/>
                    </a:cxn>
                    <a:cxn ang="0">
                      <a:pos x="199" y="157"/>
                    </a:cxn>
                    <a:cxn ang="0">
                      <a:pos x="64" y="0"/>
                    </a:cxn>
                  </a:cxnLst>
                  <a:rect l="0" t="0" r="r" b="b"/>
                  <a:pathLst>
                    <a:path w="216" h="321">
                      <a:moveTo>
                        <a:pt x="64" y="0"/>
                      </a:moveTo>
                      <a:cubicBezTo>
                        <a:pt x="0" y="59"/>
                        <a:pt x="8" y="82"/>
                        <a:pt x="44" y="157"/>
                      </a:cubicBezTo>
                      <a:cubicBezTo>
                        <a:pt x="69" y="212"/>
                        <a:pt x="82" y="269"/>
                        <a:pt x="116" y="321"/>
                      </a:cubicBezTo>
                      <a:cubicBezTo>
                        <a:pt x="139" y="272"/>
                        <a:pt x="216" y="223"/>
                        <a:pt x="199" y="157"/>
                      </a:cubicBezTo>
                      <a:cubicBezTo>
                        <a:pt x="190" y="118"/>
                        <a:pt x="98" y="14"/>
                        <a:pt x="64" y="0"/>
                      </a:cubicBezTo>
                    </a:path>
                  </a:pathLst>
                </a:custGeom>
                <a:solidFill>
                  <a:srgbClr val="D4E7F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3" name="Freeform 429"/>
                <p:cNvSpPr>
                  <a:spLocks/>
                </p:cNvSpPr>
                <p:nvPr/>
              </p:nvSpPr>
              <p:spPr bwMode="gray">
                <a:xfrm>
                  <a:off x="18403888" y="-16737012"/>
                  <a:ext cx="1068388" cy="1428750"/>
                </a:xfrm>
                <a:custGeom>
                  <a:avLst/>
                  <a:gdLst/>
                  <a:ahLst/>
                  <a:cxnLst>
                    <a:cxn ang="0">
                      <a:pos x="139" y="0"/>
                    </a:cxn>
                    <a:cxn ang="0">
                      <a:pos x="14" y="230"/>
                    </a:cxn>
                    <a:cxn ang="0">
                      <a:pos x="108" y="381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285" h="381">
                      <a:moveTo>
                        <a:pt x="139" y="0"/>
                      </a:moveTo>
                      <a:cubicBezTo>
                        <a:pt x="137" y="100"/>
                        <a:pt x="30" y="143"/>
                        <a:pt x="14" y="230"/>
                      </a:cubicBezTo>
                      <a:cubicBezTo>
                        <a:pt x="0" y="301"/>
                        <a:pt x="66" y="333"/>
                        <a:pt x="108" y="381"/>
                      </a:cubicBezTo>
                      <a:cubicBezTo>
                        <a:pt x="181" y="285"/>
                        <a:pt x="285" y="67"/>
                        <a:pt x="139" y="0"/>
                      </a:cubicBezTo>
                      <a:close/>
                    </a:path>
                  </a:pathLst>
                </a:custGeom>
                <a:solidFill>
                  <a:srgbClr val="D4E7F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4" name="Freeform 430"/>
                <p:cNvSpPr>
                  <a:spLocks/>
                </p:cNvSpPr>
                <p:nvPr/>
              </p:nvSpPr>
              <p:spPr bwMode="gray">
                <a:xfrm>
                  <a:off x="18148300" y="-10182225"/>
                  <a:ext cx="581025" cy="176213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155" y="44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55" h="47">
                      <a:moveTo>
                        <a:pt x="0" y="45"/>
                      </a:moveTo>
                      <a:cubicBezTo>
                        <a:pt x="51" y="45"/>
                        <a:pt x="104" y="47"/>
                        <a:pt x="155" y="44"/>
                      </a:cubicBezTo>
                      <a:cubicBezTo>
                        <a:pt x="142" y="0"/>
                        <a:pt x="41" y="19"/>
                        <a:pt x="0" y="19"/>
                      </a:cubicBezTo>
                    </a:path>
                  </a:pathLst>
                </a:custGeom>
                <a:solidFill>
                  <a:srgbClr val="B7B6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5" name="Freeform 431"/>
                <p:cNvSpPr>
                  <a:spLocks/>
                </p:cNvSpPr>
                <p:nvPr/>
              </p:nvSpPr>
              <p:spPr bwMode="gray">
                <a:xfrm>
                  <a:off x="18272125" y="-19481800"/>
                  <a:ext cx="1046163" cy="1682750"/>
                </a:xfrm>
                <a:custGeom>
                  <a:avLst/>
                  <a:gdLst/>
                  <a:ahLst/>
                  <a:cxnLst>
                    <a:cxn ang="0">
                      <a:pos x="110" y="150"/>
                    </a:cxn>
                    <a:cxn ang="0">
                      <a:pos x="144" y="299"/>
                    </a:cxn>
                    <a:cxn ang="0">
                      <a:pos x="174" y="301"/>
                    </a:cxn>
                    <a:cxn ang="0">
                      <a:pos x="213" y="449"/>
                    </a:cxn>
                    <a:cxn ang="0">
                      <a:pos x="215" y="412"/>
                    </a:cxn>
                    <a:cxn ang="0">
                      <a:pos x="246" y="423"/>
                    </a:cxn>
                    <a:cxn ang="0">
                      <a:pos x="242" y="321"/>
                    </a:cxn>
                    <a:cxn ang="0">
                      <a:pos x="265" y="332"/>
                    </a:cxn>
                    <a:cxn ang="0">
                      <a:pos x="254" y="268"/>
                    </a:cxn>
                    <a:cxn ang="0">
                      <a:pos x="272" y="274"/>
                    </a:cxn>
                    <a:cxn ang="0">
                      <a:pos x="144" y="64"/>
                    </a:cxn>
                    <a:cxn ang="0">
                      <a:pos x="36" y="32"/>
                    </a:cxn>
                    <a:cxn ang="0">
                      <a:pos x="78" y="150"/>
                    </a:cxn>
                  </a:cxnLst>
                  <a:rect l="0" t="0" r="r" b="b"/>
                  <a:pathLst>
                    <a:path w="279" h="449">
                      <a:moveTo>
                        <a:pt x="110" y="150"/>
                      </a:moveTo>
                      <a:cubicBezTo>
                        <a:pt x="154" y="187"/>
                        <a:pt x="141" y="247"/>
                        <a:pt x="144" y="299"/>
                      </a:cubicBezTo>
                      <a:cubicBezTo>
                        <a:pt x="153" y="298"/>
                        <a:pt x="165" y="302"/>
                        <a:pt x="174" y="301"/>
                      </a:cubicBezTo>
                      <a:cubicBezTo>
                        <a:pt x="177" y="347"/>
                        <a:pt x="156" y="440"/>
                        <a:pt x="213" y="449"/>
                      </a:cubicBezTo>
                      <a:cubicBezTo>
                        <a:pt x="212" y="438"/>
                        <a:pt x="217" y="423"/>
                        <a:pt x="215" y="412"/>
                      </a:cubicBezTo>
                      <a:cubicBezTo>
                        <a:pt x="223" y="417"/>
                        <a:pt x="240" y="420"/>
                        <a:pt x="246" y="423"/>
                      </a:cubicBezTo>
                      <a:cubicBezTo>
                        <a:pt x="253" y="387"/>
                        <a:pt x="238" y="357"/>
                        <a:pt x="242" y="321"/>
                      </a:cubicBezTo>
                      <a:cubicBezTo>
                        <a:pt x="248" y="324"/>
                        <a:pt x="258" y="327"/>
                        <a:pt x="265" y="332"/>
                      </a:cubicBezTo>
                      <a:cubicBezTo>
                        <a:pt x="265" y="310"/>
                        <a:pt x="261" y="287"/>
                        <a:pt x="254" y="268"/>
                      </a:cubicBezTo>
                      <a:cubicBezTo>
                        <a:pt x="261" y="269"/>
                        <a:pt x="266" y="272"/>
                        <a:pt x="272" y="274"/>
                      </a:cubicBezTo>
                      <a:cubicBezTo>
                        <a:pt x="279" y="182"/>
                        <a:pt x="203" y="125"/>
                        <a:pt x="144" y="64"/>
                      </a:cubicBezTo>
                      <a:cubicBezTo>
                        <a:pt x="125" y="43"/>
                        <a:pt x="67" y="0"/>
                        <a:pt x="36" y="32"/>
                      </a:cubicBezTo>
                      <a:cubicBezTo>
                        <a:pt x="0" y="71"/>
                        <a:pt x="65" y="124"/>
                        <a:pt x="78" y="150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6" name="Freeform 432"/>
                <p:cNvSpPr>
                  <a:spLocks/>
                </p:cNvSpPr>
                <p:nvPr/>
              </p:nvSpPr>
              <p:spPr bwMode="gray">
                <a:xfrm>
                  <a:off x="18272125" y="-19481800"/>
                  <a:ext cx="1046163" cy="1682750"/>
                </a:xfrm>
                <a:custGeom>
                  <a:avLst/>
                  <a:gdLst/>
                  <a:ahLst/>
                  <a:cxnLst>
                    <a:cxn ang="0">
                      <a:pos x="110" y="150"/>
                    </a:cxn>
                    <a:cxn ang="0">
                      <a:pos x="144" y="299"/>
                    </a:cxn>
                    <a:cxn ang="0">
                      <a:pos x="174" y="301"/>
                    </a:cxn>
                    <a:cxn ang="0">
                      <a:pos x="213" y="449"/>
                    </a:cxn>
                    <a:cxn ang="0">
                      <a:pos x="215" y="412"/>
                    </a:cxn>
                    <a:cxn ang="0">
                      <a:pos x="246" y="423"/>
                    </a:cxn>
                    <a:cxn ang="0">
                      <a:pos x="242" y="321"/>
                    </a:cxn>
                    <a:cxn ang="0">
                      <a:pos x="265" y="332"/>
                    </a:cxn>
                    <a:cxn ang="0">
                      <a:pos x="254" y="268"/>
                    </a:cxn>
                    <a:cxn ang="0">
                      <a:pos x="272" y="274"/>
                    </a:cxn>
                    <a:cxn ang="0">
                      <a:pos x="144" y="64"/>
                    </a:cxn>
                    <a:cxn ang="0">
                      <a:pos x="36" y="32"/>
                    </a:cxn>
                    <a:cxn ang="0">
                      <a:pos x="78" y="150"/>
                    </a:cxn>
                  </a:cxnLst>
                  <a:rect l="0" t="0" r="r" b="b"/>
                  <a:pathLst>
                    <a:path w="279" h="449">
                      <a:moveTo>
                        <a:pt x="110" y="150"/>
                      </a:moveTo>
                      <a:cubicBezTo>
                        <a:pt x="154" y="187"/>
                        <a:pt x="141" y="247"/>
                        <a:pt x="144" y="299"/>
                      </a:cubicBezTo>
                      <a:cubicBezTo>
                        <a:pt x="153" y="298"/>
                        <a:pt x="165" y="302"/>
                        <a:pt x="174" y="301"/>
                      </a:cubicBezTo>
                      <a:cubicBezTo>
                        <a:pt x="177" y="347"/>
                        <a:pt x="156" y="440"/>
                        <a:pt x="213" y="449"/>
                      </a:cubicBezTo>
                      <a:cubicBezTo>
                        <a:pt x="212" y="438"/>
                        <a:pt x="217" y="423"/>
                        <a:pt x="215" y="412"/>
                      </a:cubicBezTo>
                      <a:cubicBezTo>
                        <a:pt x="223" y="417"/>
                        <a:pt x="240" y="420"/>
                        <a:pt x="246" y="423"/>
                      </a:cubicBezTo>
                      <a:cubicBezTo>
                        <a:pt x="253" y="387"/>
                        <a:pt x="238" y="357"/>
                        <a:pt x="242" y="321"/>
                      </a:cubicBezTo>
                      <a:cubicBezTo>
                        <a:pt x="248" y="324"/>
                        <a:pt x="258" y="327"/>
                        <a:pt x="265" y="332"/>
                      </a:cubicBezTo>
                      <a:cubicBezTo>
                        <a:pt x="265" y="310"/>
                        <a:pt x="261" y="287"/>
                        <a:pt x="254" y="268"/>
                      </a:cubicBezTo>
                      <a:cubicBezTo>
                        <a:pt x="261" y="269"/>
                        <a:pt x="266" y="272"/>
                        <a:pt x="272" y="274"/>
                      </a:cubicBezTo>
                      <a:cubicBezTo>
                        <a:pt x="279" y="182"/>
                        <a:pt x="203" y="125"/>
                        <a:pt x="144" y="64"/>
                      </a:cubicBezTo>
                      <a:cubicBezTo>
                        <a:pt x="125" y="43"/>
                        <a:pt x="67" y="0"/>
                        <a:pt x="36" y="32"/>
                      </a:cubicBezTo>
                      <a:cubicBezTo>
                        <a:pt x="0" y="71"/>
                        <a:pt x="65" y="124"/>
                        <a:pt x="78" y="150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7" name="Freeform 433"/>
                <p:cNvSpPr>
                  <a:spLocks/>
                </p:cNvSpPr>
                <p:nvPr/>
              </p:nvSpPr>
              <p:spPr bwMode="gray">
                <a:xfrm>
                  <a:off x="16925925" y="-19594512"/>
                  <a:ext cx="2163763" cy="1968500"/>
                </a:xfrm>
                <a:custGeom>
                  <a:avLst/>
                  <a:gdLst/>
                  <a:ahLst/>
                  <a:cxnLst>
                    <a:cxn ang="0">
                      <a:pos x="19" y="409"/>
                    </a:cxn>
                    <a:cxn ang="0">
                      <a:pos x="45" y="401"/>
                    </a:cxn>
                    <a:cxn ang="0">
                      <a:pos x="96" y="525"/>
                    </a:cxn>
                    <a:cxn ang="0">
                      <a:pos x="97" y="441"/>
                    </a:cxn>
                    <a:cxn ang="0">
                      <a:pos x="116" y="371"/>
                    </a:cxn>
                    <a:cxn ang="0">
                      <a:pos x="92" y="324"/>
                    </a:cxn>
                    <a:cxn ang="0">
                      <a:pos x="129" y="343"/>
                    </a:cxn>
                    <a:cxn ang="0">
                      <a:pos x="131" y="227"/>
                    </a:cxn>
                    <a:cxn ang="0">
                      <a:pos x="200" y="212"/>
                    </a:cxn>
                    <a:cxn ang="0">
                      <a:pos x="216" y="175"/>
                    </a:cxn>
                    <a:cxn ang="0">
                      <a:pos x="264" y="182"/>
                    </a:cxn>
                    <a:cxn ang="0">
                      <a:pos x="443" y="193"/>
                    </a:cxn>
                    <a:cxn ang="0">
                      <a:pos x="353" y="2"/>
                    </a:cxn>
                    <a:cxn ang="0">
                      <a:pos x="353" y="2"/>
                    </a:cxn>
                    <a:cxn ang="0">
                      <a:pos x="375" y="31"/>
                    </a:cxn>
                    <a:cxn ang="0">
                      <a:pos x="196" y="18"/>
                    </a:cxn>
                    <a:cxn ang="0">
                      <a:pos x="226" y="57"/>
                    </a:cxn>
                    <a:cxn ang="0">
                      <a:pos x="93" y="102"/>
                    </a:cxn>
                    <a:cxn ang="0">
                      <a:pos x="124" y="115"/>
                    </a:cxn>
                    <a:cxn ang="0">
                      <a:pos x="27" y="254"/>
                    </a:cxn>
                    <a:cxn ang="0">
                      <a:pos x="27" y="343"/>
                    </a:cxn>
                    <a:cxn ang="0">
                      <a:pos x="0" y="414"/>
                    </a:cxn>
                    <a:cxn ang="0">
                      <a:pos x="50" y="403"/>
                    </a:cxn>
                    <a:cxn ang="0">
                      <a:pos x="65" y="441"/>
                    </a:cxn>
                  </a:cxnLst>
                  <a:rect l="0" t="0" r="r" b="b"/>
                  <a:pathLst>
                    <a:path w="577" h="525">
                      <a:moveTo>
                        <a:pt x="19" y="409"/>
                      </a:moveTo>
                      <a:cubicBezTo>
                        <a:pt x="29" y="405"/>
                        <a:pt x="36" y="410"/>
                        <a:pt x="45" y="401"/>
                      </a:cubicBezTo>
                      <a:cubicBezTo>
                        <a:pt x="87" y="433"/>
                        <a:pt x="29" y="516"/>
                        <a:pt x="96" y="525"/>
                      </a:cubicBezTo>
                      <a:cubicBezTo>
                        <a:pt x="98" y="498"/>
                        <a:pt x="93" y="468"/>
                        <a:pt x="97" y="441"/>
                      </a:cubicBezTo>
                      <a:cubicBezTo>
                        <a:pt x="101" y="415"/>
                        <a:pt x="126" y="405"/>
                        <a:pt x="116" y="371"/>
                      </a:cubicBezTo>
                      <a:cubicBezTo>
                        <a:pt x="96" y="357"/>
                        <a:pt x="93" y="351"/>
                        <a:pt x="92" y="324"/>
                      </a:cubicBezTo>
                      <a:cubicBezTo>
                        <a:pt x="102" y="332"/>
                        <a:pt x="118" y="334"/>
                        <a:pt x="129" y="343"/>
                      </a:cubicBezTo>
                      <a:cubicBezTo>
                        <a:pt x="131" y="305"/>
                        <a:pt x="129" y="265"/>
                        <a:pt x="131" y="227"/>
                      </a:cubicBezTo>
                      <a:cubicBezTo>
                        <a:pt x="157" y="228"/>
                        <a:pt x="178" y="222"/>
                        <a:pt x="200" y="212"/>
                      </a:cubicBezTo>
                      <a:cubicBezTo>
                        <a:pt x="209" y="208"/>
                        <a:pt x="206" y="178"/>
                        <a:pt x="216" y="175"/>
                      </a:cubicBezTo>
                      <a:cubicBezTo>
                        <a:pt x="232" y="170"/>
                        <a:pt x="248" y="182"/>
                        <a:pt x="264" y="182"/>
                      </a:cubicBezTo>
                      <a:cubicBezTo>
                        <a:pt x="318" y="181"/>
                        <a:pt x="384" y="207"/>
                        <a:pt x="443" y="193"/>
                      </a:cubicBezTo>
                      <a:cubicBezTo>
                        <a:pt x="577" y="163"/>
                        <a:pt x="444" y="13"/>
                        <a:pt x="353" y="2"/>
                      </a:cubicBezTo>
                      <a:cubicBezTo>
                        <a:pt x="350" y="0"/>
                        <a:pt x="350" y="0"/>
                        <a:pt x="353" y="2"/>
                      </a:cubicBezTo>
                      <a:cubicBezTo>
                        <a:pt x="362" y="11"/>
                        <a:pt x="367" y="23"/>
                        <a:pt x="375" y="31"/>
                      </a:cubicBezTo>
                      <a:cubicBezTo>
                        <a:pt x="319" y="16"/>
                        <a:pt x="258" y="15"/>
                        <a:pt x="196" y="18"/>
                      </a:cubicBezTo>
                      <a:cubicBezTo>
                        <a:pt x="206" y="28"/>
                        <a:pt x="213" y="46"/>
                        <a:pt x="226" y="57"/>
                      </a:cubicBezTo>
                      <a:cubicBezTo>
                        <a:pt x="184" y="54"/>
                        <a:pt x="128" y="79"/>
                        <a:pt x="93" y="102"/>
                      </a:cubicBezTo>
                      <a:cubicBezTo>
                        <a:pt x="112" y="103"/>
                        <a:pt x="112" y="111"/>
                        <a:pt x="124" y="115"/>
                      </a:cubicBezTo>
                      <a:cubicBezTo>
                        <a:pt x="82" y="146"/>
                        <a:pt x="40" y="207"/>
                        <a:pt x="27" y="254"/>
                      </a:cubicBezTo>
                      <a:cubicBezTo>
                        <a:pt x="19" y="285"/>
                        <a:pt x="30" y="314"/>
                        <a:pt x="27" y="343"/>
                      </a:cubicBezTo>
                      <a:cubicBezTo>
                        <a:pt x="24" y="372"/>
                        <a:pt x="13" y="386"/>
                        <a:pt x="0" y="414"/>
                      </a:cubicBezTo>
                      <a:cubicBezTo>
                        <a:pt x="15" y="407"/>
                        <a:pt x="37" y="408"/>
                        <a:pt x="50" y="403"/>
                      </a:cubicBezTo>
                      <a:cubicBezTo>
                        <a:pt x="46" y="424"/>
                        <a:pt x="61" y="429"/>
                        <a:pt x="65" y="441"/>
                      </a:cubicBezTo>
                    </a:path>
                  </a:pathLst>
                </a:custGeom>
                <a:solidFill>
                  <a:srgbClr val="736357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8" name="Freeform 434"/>
                <p:cNvSpPr>
                  <a:spLocks/>
                </p:cNvSpPr>
                <p:nvPr/>
              </p:nvSpPr>
              <p:spPr bwMode="gray">
                <a:xfrm>
                  <a:off x="16925925" y="-19594512"/>
                  <a:ext cx="2163763" cy="1968500"/>
                </a:xfrm>
                <a:custGeom>
                  <a:avLst/>
                  <a:gdLst/>
                  <a:ahLst/>
                  <a:cxnLst>
                    <a:cxn ang="0">
                      <a:pos x="19" y="409"/>
                    </a:cxn>
                    <a:cxn ang="0">
                      <a:pos x="45" y="401"/>
                    </a:cxn>
                    <a:cxn ang="0">
                      <a:pos x="96" y="525"/>
                    </a:cxn>
                    <a:cxn ang="0">
                      <a:pos x="97" y="441"/>
                    </a:cxn>
                    <a:cxn ang="0">
                      <a:pos x="116" y="371"/>
                    </a:cxn>
                    <a:cxn ang="0">
                      <a:pos x="92" y="324"/>
                    </a:cxn>
                    <a:cxn ang="0">
                      <a:pos x="129" y="343"/>
                    </a:cxn>
                    <a:cxn ang="0">
                      <a:pos x="131" y="227"/>
                    </a:cxn>
                    <a:cxn ang="0">
                      <a:pos x="200" y="212"/>
                    </a:cxn>
                    <a:cxn ang="0">
                      <a:pos x="216" y="175"/>
                    </a:cxn>
                    <a:cxn ang="0">
                      <a:pos x="264" y="182"/>
                    </a:cxn>
                    <a:cxn ang="0">
                      <a:pos x="443" y="193"/>
                    </a:cxn>
                    <a:cxn ang="0">
                      <a:pos x="353" y="2"/>
                    </a:cxn>
                    <a:cxn ang="0">
                      <a:pos x="353" y="2"/>
                    </a:cxn>
                    <a:cxn ang="0">
                      <a:pos x="375" y="31"/>
                    </a:cxn>
                    <a:cxn ang="0">
                      <a:pos x="196" y="18"/>
                    </a:cxn>
                    <a:cxn ang="0">
                      <a:pos x="226" y="57"/>
                    </a:cxn>
                    <a:cxn ang="0">
                      <a:pos x="93" y="102"/>
                    </a:cxn>
                    <a:cxn ang="0">
                      <a:pos x="124" y="115"/>
                    </a:cxn>
                    <a:cxn ang="0">
                      <a:pos x="27" y="254"/>
                    </a:cxn>
                    <a:cxn ang="0">
                      <a:pos x="27" y="343"/>
                    </a:cxn>
                    <a:cxn ang="0">
                      <a:pos x="0" y="414"/>
                    </a:cxn>
                    <a:cxn ang="0">
                      <a:pos x="50" y="403"/>
                    </a:cxn>
                    <a:cxn ang="0">
                      <a:pos x="65" y="441"/>
                    </a:cxn>
                  </a:cxnLst>
                  <a:rect l="0" t="0" r="r" b="b"/>
                  <a:pathLst>
                    <a:path w="577" h="525">
                      <a:moveTo>
                        <a:pt x="19" y="409"/>
                      </a:moveTo>
                      <a:cubicBezTo>
                        <a:pt x="29" y="405"/>
                        <a:pt x="36" y="410"/>
                        <a:pt x="45" y="401"/>
                      </a:cubicBezTo>
                      <a:cubicBezTo>
                        <a:pt x="87" y="433"/>
                        <a:pt x="29" y="516"/>
                        <a:pt x="96" y="525"/>
                      </a:cubicBezTo>
                      <a:cubicBezTo>
                        <a:pt x="98" y="498"/>
                        <a:pt x="93" y="468"/>
                        <a:pt x="97" y="441"/>
                      </a:cubicBezTo>
                      <a:cubicBezTo>
                        <a:pt x="101" y="415"/>
                        <a:pt x="126" y="405"/>
                        <a:pt x="116" y="371"/>
                      </a:cubicBezTo>
                      <a:cubicBezTo>
                        <a:pt x="96" y="357"/>
                        <a:pt x="93" y="351"/>
                        <a:pt x="92" y="324"/>
                      </a:cubicBezTo>
                      <a:cubicBezTo>
                        <a:pt x="102" y="332"/>
                        <a:pt x="118" y="334"/>
                        <a:pt x="129" y="343"/>
                      </a:cubicBezTo>
                      <a:cubicBezTo>
                        <a:pt x="131" y="305"/>
                        <a:pt x="129" y="265"/>
                        <a:pt x="131" y="227"/>
                      </a:cubicBezTo>
                      <a:cubicBezTo>
                        <a:pt x="157" y="228"/>
                        <a:pt x="178" y="222"/>
                        <a:pt x="200" y="212"/>
                      </a:cubicBezTo>
                      <a:cubicBezTo>
                        <a:pt x="209" y="208"/>
                        <a:pt x="206" y="178"/>
                        <a:pt x="216" y="175"/>
                      </a:cubicBezTo>
                      <a:cubicBezTo>
                        <a:pt x="232" y="170"/>
                        <a:pt x="248" y="182"/>
                        <a:pt x="264" y="182"/>
                      </a:cubicBezTo>
                      <a:cubicBezTo>
                        <a:pt x="318" y="181"/>
                        <a:pt x="384" y="207"/>
                        <a:pt x="443" y="193"/>
                      </a:cubicBezTo>
                      <a:cubicBezTo>
                        <a:pt x="577" y="163"/>
                        <a:pt x="444" y="13"/>
                        <a:pt x="353" y="2"/>
                      </a:cubicBezTo>
                      <a:cubicBezTo>
                        <a:pt x="350" y="0"/>
                        <a:pt x="350" y="0"/>
                        <a:pt x="353" y="2"/>
                      </a:cubicBezTo>
                      <a:cubicBezTo>
                        <a:pt x="362" y="11"/>
                        <a:pt x="367" y="23"/>
                        <a:pt x="375" y="31"/>
                      </a:cubicBezTo>
                      <a:cubicBezTo>
                        <a:pt x="319" y="16"/>
                        <a:pt x="258" y="15"/>
                        <a:pt x="196" y="18"/>
                      </a:cubicBezTo>
                      <a:cubicBezTo>
                        <a:pt x="206" y="28"/>
                        <a:pt x="213" y="46"/>
                        <a:pt x="226" y="57"/>
                      </a:cubicBezTo>
                      <a:cubicBezTo>
                        <a:pt x="184" y="54"/>
                        <a:pt x="128" y="79"/>
                        <a:pt x="93" y="102"/>
                      </a:cubicBezTo>
                      <a:cubicBezTo>
                        <a:pt x="112" y="103"/>
                        <a:pt x="112" y="111"/>
                        <a:pt x="124" y="115"/>
                      </a:cubicBezTo>
                      <a:cubicBezTo>
                        <a:pt x="82" y="146"/>
                        <a:pt x="40" y="207"/>
                        <a:pt x="27" y="254"/>
                      </a:cubicBezTo>
                      <a:cubicBezTo>
                        <a:pt x="19" y="285"/>
                        <a:pt x="30" y="314"/>
                        <a:pt x="27" y="343"/>
                      </a:cubicBezTo>
                      <a:cubicBezTo>
                        <a:pt x="24" y="372"/>
                        <a:pt x="13" y="386"/>
                        <a:pt x="0" y="414"/>
                      </a:cubicBezTo>
                      <a:cubicBezTo>
                        <a:pt x="15" y="407"/>
                        <a:pt x="37" y="408"/>
                        <a:pt x="50" y="403"/>
                      </a:cubicBezTo>
                      <a:cubicBezTo>
                        <a:pt x="46" y="424"/>
                        <a:pt x="61" y="429"/>
                        <a:pt x="65" y="441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799" name="Freeform 435"/>
                <p:cNvSpPr>
                  <a:spLocks/>
                </p:cNvSpPr>
                <p:nvPr/>
              </p:nvSpPr>
              <p:spPr bwMode="gray">
                <a:xfrm>
                  <a:off x="17526000" y="-7373937"/>
                  <a:ext cx="1106488" cy="4886325"/>
                </a:xfrm>
                <a:custGeom>
                  <a:avLst/>
                  <a:gdLst/>
                  <a:ahLst/>
                  <a:cxnLst>
                    <a:cxn ang="0">
                      <a:pos x="71" y="9"/>
                    </a:cxn>
                    <a:cxn ang="0">
                      <a:pos x="65" y="96"/>
                    </a:cxn>
                    <a:cxn ang="0">
                      <a:pos x="127" y="204"/>
                    </a:cxn>
                    <a:cxn ang="0">
                      <a:pos x="218" y="376"/>
                    </a:cxn>
                    <a:cxn ang="0">
                      <a:pos x="205" y="426"/>
                    </a:cxn>
                    <a:cxn ang="0">
                      <a:pos x="231" y="479"/>
                    </a:cxn>
                    <a:cxn ang="0">
                      <a:pos x="192" y="512"/>
                    </a:cxn>
                    <a:cxn ang="0">
                      <a:pos x="189" y="579"/>
                    </a:cxn>
                    <a:cxn ang="0">
                      <a:pos x="174" y="739"/>
                    </a:cxn>
                    <a:cxn ang="0">
                      <a:pos x="132" y="787"/>
                    </a:cxn>
                    <a:cxn ang="0">
                      <a:pos x="153" y="779"/>
                    </a:cxn>
                    <a:cxn ang="0">
                      <a:pos x="97" y="873"/>
                    </a:cxn>
                    <a:cxn ang="0">
                      <a:pos x="162" y="914"/>
                    </a:cxn>
                    <a:cxn ang="0">
                      <a:pos x="201" y="875"/>
                    </a:cxn>
                    <a:cxn ang="0">
                      <a:pos x="231" y="956"/>
                    </a:cxn>
                    <a:cxn ang="0">
                      <a:pos x="192" y="1009"/>
                    </a:cxn>
                    <a:cxn ang="0">
                      <a:pos x="184" y="1083"/>
                    </a:cxn>
                    <a:cxn ang="0">
                      <a:pos x="232" y="1192"/>
                    </a:cxn>
                    <a:cxn ang="0">
                      <a:pos x="148" y="1236"/>
                    </a:cxn>
                    <a:cxn ang="0">
                      <a:pos x="26" y="1031"/>
                    </a:cxn>
                    <a:cxn ang="0">
                      <a:pos x="35" y="1184"/>
                    </a:cxn>
                    <a:cxn ang="0">
                      <a:pos x="167" y="1292"/>
                    </a:cxn>
                    <a:cxn ang="0">
                      <a:pos x="284" y="1157"/>
                    </a:cxn>
                    <a:cxn ang="0">
                      <a:pos x="261" y="1072"/>
                    </a:cxn>
                    <a:cxn ang="0">
                      <a:pos x="246" y="965"/>
                    </a:cxn>
                    <a:cxn ang="0">
                      <a:pos x="279" y="741"/>
                    </a:cxn>
                    <a:cxn ang="0">
                      <a:pos x="288" y="578"/>
                    </a:cxn>
                    <a:cxn ang="0">
                      <a:pos x="266" y="453"/>
                    </a:cxn>
                    <a:cxn ang="0">
                      <a:pos x="272" y="288"/>
                    </a:cxn>
                    <a:cxn ang="0">
                      <a:pos x="265" y="94"/>
                    </a:cxn>
                    <a:cxn ang="0">
                      <a:pos x="233" y="101"/>
                    </a:cxn>
                    <a:cxn ang="0">
                      <a:pos x="200" y="76"/>
                    </a:cxn>
                    <a:cxn ang="0">
                      <a:pos x="71" y="9"/>
                    </a:cxn>
                  </a:cxnLst>
                  <a:rect l="0" t="0" r="r" b="b"/>
                  <a:pathLst>
                    <a:path w="295" h="1303">
                      <a:moveTo>
                        <a:pt x="71" y="9"/>
                      </a:moveTo>
                      <a:cubicBezTo>
                        <a:pt x="5" y="20"/>
                        <a:pt x="49" y="69"/>
                        <a:pt x="65" y="96"/>
                      </a:cubicBezTo>
                      <a:cubicBezTo>
                        <a:pt x="86" y="130"/>
                        <a:pt x="101" y="168"/>
                        <a:pt x="127" y="204"/>
                      </a:cubicBezTo>
                      <a:cubicBezTo>
                        <a:pt x="171" y="264"/>
                        <a:pt x="229" y="284"/>
                        <a:pt x="218" y="376"/>
                      </a:cubicBezTo>
                      <a:cubicBezTo>
                        <a:pt x="216" y="392"/>
                        <a:pt x="206" y="411"/>
                        <a:pt x="205" y="426"/>
                      </a:cubicBezTo>
                      <a:cubicBezTo>
                        <a:pt x="205" y="449"/>
                        <a:pt x="231" y="468"/>
                        <a:pt x="231" y="479"/>
                      </a:cubicBezTo>
                      <a:cubicBezTo>
                        <a:pt x="232" y="513"/>
                        <a:pt x="210" y="493"/>
                        <a:pt x="192" y="512"/>
                      </a:cubicBezTo>
                      <a:cubicBezTo>
                        <a:pt x="166" y="540"/>
                        <a:pt x="181" y="545"/>
                        <a:pt x="189" y="579"/>
                      </a:cubicBezTo>
                      <a:cubicBezTo>
                        <a:pt x="203" y="635"/>
                        <a:pt x="186" y="683"/>
                        <a:pt x="174" y="739"/>
                      </a:cubicBezTo>
                      <a:cubicBezTo>
                        <a:pt x="146" y="737"/>
                        <a:pt x="124" y="757"/>
                        <a:pt x="132" y="787"/>
                      </a:cubicBezTo>
                      <a:cubicBezTo>
                        <a:pt x="136" y="785"/>
                        <a:pt x="147" y="783"/>
                        <a:pt x="153" y="779"/>
                      </a:cubicBezTo>
                      <a:cubicBezTo>
                        <a:pt x="162" y="823"/>
                        <a:pt x="89" y="813"/>
                        <a:pt x="97" y="873"/>
                      </a:cubicBezTo>
                      <a:cubicBezTo>
                        <a:pt x="101" y="909"/>
                        <a:pt x="127" y="935"/>
                        <a:pt x="162" y="914"/>
                      </a:cubicBezTo>
                      <a:cubicBezTo>
                        <a:pt x="182" y="902"/>
                        <a:pt x="166" y="875"/>
                        <a:pt x="201" y="875"/>
                      </a:cubicBezTo>
                      <a:cubicBezTo>
                        <a:pt x="240" y="874"/>
                        <a:pt x="242" y="927"/>
                        <a:pt x="231" y="956"/>
                      </a:cubicBezTo>
                      <a:cubicBezTo>
                        <a:pt x="223" y="975"/>
                        <a:pt x="199" y="988"/>
                        <a:pt x="192" y="1009"/>
                      </a:cubicBezTo>
                      <a:cubicBezTo>
                        <a:pt x="185" y="1030"/>
                        <a:pt x="184" y="1061"/>
                        <a:pt x="184" y="1083"/>
                      </a:cubicBezTo>
                      <a:cubicBezTo>
                        <a:pt x="222" y="1077"/>
                        <a:pt x="235" y="1163"/>
                        <a:pt x="232" y="1192"/>
                      </a:cubicBezTo>
                      <a:cubicBezTo>
                        <a:pt x="227" y="1228"/>
                        <a:pt x="190" y="1242"/>
                        <a:pt x="148" y="1236"/>
                      </a:cubicBezTo>
                      <a:cubicBezTo>
                        <a:pt x="68" y="1224"/>
                        <a:pt x="53" y="1090"/>
                        <a:pt x="26" y="1031"/>
                      </a:cubicBezTo>
                      <a:cubicBezTo>
                        <a:pt x="10" y="1067"/>
                        <a:pt x="0" y="1157"/>
                        <a:pt x="35" y="1184"/>
                      </a:cubicBezTo>
                      <a:cubicBezTo>
                        <a:pt x="48" y="1259"/>
                        <a:pt x="79" y="1303"/>
                        <a:pt x="167" y="1292"/>
                      </a:cubicBezTo>
                      <a:cubicBezTo>
                        <a:pt x="243" y="1282"/>
                        <a:pt x="289" y="1240"/>
                        <a:pt x="284" y="1157"/>
                      </a:cubicBezTo>
                      <a:cubicBezTo>
                        <a:pt x="282" y="1121"/>
                        <a:pt x="272" y="1105"/>
                        <a:pt x="261" y="1072"/>
                      </a:cubicBezTo>
                      <a:cubicBezTo>
                        <a:pt x="261" y="1072"/>
                        <a:pt x="245" y="967"/>
                        <a:pt x="246" y="965"/>
                      </a:cubicBezTo>
                      <a:cubicBezTo>
                        <a:pt x="261" y="891"/>
                        <a:pt x="276" y="819"/>
                        <a:pt x="279" y="741"/>
                      </a:cubicBezTo>
                      <a:cubicBezTo>
                        <a:pt x="282" y="685"/>
                        <a:pt x="282" y="633"/>
                        <a:pt x="288" y="578"/>
                      </a:cubicBezTo>
                      <a:cubicBezTo>
                        <a:pt x="293" y="530"/>
                        <a:pt x="276" y="500"/>
                        <a:pt x="266" y="453"/>
                      </a:cubicBezTo>
                      <a:cubicBezTo>
                        <a:pt x="254" y="395"/>
                        <a:pt x="263" y="343"/>
                        <a:pt x="272" y="288"/>
                      </a:cubicBezTo>
                      <a:cubicBezTo>
                        <a:pt x="278" y="247"/>
                        <a:pt x="295" y="130"/>
                        <a:pt x="265" y="94"/>
                      </a:cubicBezTo>
                      <a:cubicBezTo>
                        <a:pt x="256" y="83"/>
                        <a:pt x="242" y="107"/>
                        <a:pt x="233" y="101"/>
                      </a:cubicBezTo>
                      <a:cubicBezTo>
                        <a:pt x="215" y="89"/>
                        <a:pt x="217" y="91"/>
                        <a:pt x="200" y="76"/>
                      </a:cubicBezTo>
                      <a:cubicBezTo>
                        <a:pt x="165" y="47"/>
                        <a:pt x="120" y="0"/>
                        <a:pt x="71" y="9"/>
                      </a:cubicBezTo>
                      <a:close/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0" name="Freeform 436"/>
                <p:cNvSpPr>
                  <a:spLocks/>
                </p:cNvSpPr>
                <p:nvPr/>
              </p:nvSpPr>
              <p:spPr bwMode="gray">
                <a:xfrm>
                  <a:off x="19577050" y="-1670050"/>
                  <a:ext cx="1425575" cy="1541463"/>
                </a:xfrm>
                <a:custGeom>
                  <a:avLst/>
                  <a:gdLst/>
                  <a:ahLst/>
                  <a:cxnLst>
                    <a:cxn ang="0">
                      <a:pos x="38" y="40"/>
                    </a:cxn>
                    <a:cxn ang="0">
                      <a:pos x="93" y="272"/>
                    </a:cxn>
                    <a:cxn ang="0">
                      <a:pos x="139" y="329"/>
                    </a:cxn>
                    <a:cxn ang="0">
                      <a:pos x="215" y="362"/>
                    </a:cxn>
                    <a:cxn ang="0">
                      <a:pos x="324" y="388"/>
                    </a:cxn>
                    <a:cxn ang="0">
                      <a:pos x="380" y="354"/>
                    </a:cxn>
                    <a:cxn ang="0">
                      <a:pos x="207" y="403"/>
                    </a:cxn>
                    <a:cxn ang="0">
                      <a:pos x="75" y="366"/>
                    </a:cxn>
                    <a:cxn ang="0">
                      <a:pos x="18" y="350"/>
                    </a:cxn>
                    <a:cxn ang="0">
                      <a:pos x="12" y="236"/>
                    </a:cxn>
                    <a:cxn ang="0">
                      <a:pos x="18" y="15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380" h="411">
                      <a:moveTo>
                        <a:pt x="38" y="40"/>
                      </a:moveTo>
                      <a:cubicBezTo>
                        <a:pt x="38" y="74"/>
                        <a:pt x="38" y="272"/>
                        <a:pt x="93" y="272"/>
                      </a:cubicBezTo>
                      <a:cubicBezTo>
                        <a:pt x="41" y="287"/>
                        <a:pt x="122" y="320"/>
                        <a:pt x="139" y="329"/>
                      </a:cubicBezTo>
                      <a:cubicBezTo>
                        <a:pt x="163" y="342"/>
                        <a:pt x="189" y="355"/>
                        <a:pt x="215" y="362"/>
                      </a:cubicBezTo>
                      <a:cubicBezTo>
                        <a:pt x="242" y="369"/>
                        <a:pt x="297" y="389"/>
                        <a:pt x="324" y="388"/>
                      </a:cubicBezTo>
                      <a:cubicBezTo>
                        <a:pt x="343" y="387"/>
                        <a:pt x="365" y="367"/>
                        <a:pt x="380" y="354"/>
                      </a:cubicBezTo>
                      <a:cubicBezTo>
                        <a:pt x="340" y="406"/>
                        <a:pt x="263" y="411"/>
                        <a:pt x="207" y="403"/>
                      </a:cubicBezTo>
                      <a:cubicBezTo>
                        <a:pt x="161" y="396"/>
                        <a:pt x="121" y="371"/>
                        <a:pt x="75" y="366"/>
                      </a:cubicBezTo>
                      <a:cubicBezTo>
                        <a:pt x="55" y="363"/>
                        <a:pt x="29" y="366"/>
                        <a:pt x="18" y="350"/>
                      </a:cubicBezTo>
                      <a:cubicBezTo>
                        <a:pt x="0" y="326"/>
                        <a:pt x="12" y="265"/>
                        <a:pt x="12" y="236"/>
                      </a:cubicBezTo>
                      <a:cubicBezTo>
                        <a:pt x="12" y="207"/>
                        <a:pt x="13" y="179"/>
                        <a:pt x="18" y="150"/>
                      </a:cubicBezTo>
                      <a:cubicBezTo>
                        <a:pt x="26" y="104"/>
                        <a:pt x="43" y="48"/>
                        <a:pt x="41" y="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1" name="Freeform 437"/>
                <p:cNvSpPr>
                  <a:spLocks/>
                </p:cNvSpPr>
                <p:nvPr/>
              </p:nvSpPr>
              <p:spPr bwMode="gray">
                <a:xfrm>
                  <a:off x="19599275" y="-3241675"/>
                  <a:ext cx="1103313" cy="1863725"/>
                </a:xfrm>
                <a:custGeom>
                  <a:avLst/>
                  <a:gdLst/>
                  <a:ahLst/>
                  <a:cxnLst>
                    <a:cxn ang="0">
                      <a:pos x="42" y="18"/>
                    </a:cxn>
                    <a:cxn ang="0">
                      <a:pos x="145" y="97"/>
                    </a:cxn>
                    <a:cxn ang="0">
                      <a:pos x="269" y="0"/>
                    </a:cxn>
                    <a:cxn ang="0">
                      <a:pos x="115" y="168"/>
                    </a:cxn>
                    <a:cxn ang="0">
                      <a:pos x="118" y="232"/>
                    </a:cxn>
                    <a:cxn ang="0">
                      <a:pos x="118" y="291"/>
                    </a:cxn>
                    <a:cxn ang="0">
                      <a:pos x="87" y="331"/>
                    </a:cxn>
                    <a:cxn ang="0">
                      <a:pos x="88" y="395"/>
                    </a:cxn>
                    <a:cxn ang="0">
                      <a:pos x="159" y="391"/>
                    </a:cxn>
                    <a:cxn ang="0">
                      <a:pos x="80" y="474"/>
                    </a:cxn>
                    <a:cxn ang="0">
                      <a:pos x="61" y="271"/>
                    </a:cxn>
                    <a:cxn ang="0">
                      <a:pos x="35" y="57"/>
                    </a:cxn>
                  </a:cxnLst>
                  <a:rect l="0" t="0" r="r" b="b"/>
                  <a:pathLst>
                    <a:path w="294" h="497">
                      <a:moveTo>
                        <a:pt x="42" y="18"/>
                      </a:moveTo>
                      <a:cubicBezTo>
                        <a:pt x="37" y="79"/>
                        <a:pt x="77" y="124"/>
                        <a:pt x="145" y="97"/>
                      </a:cubicBezTo>
                      <a:cubicBezTo>
                        <a:pt x="192" y="78"/>
                        <a:pt x="215" y="2"/>
                        <a:pt x="269" y="0"/>
                      </a:cubicBezTo>
                      <a:cubicBezTo>
                        <a:pt x="294" y="86"/>
                        <a:pt x="139" y="93"/>
                        <a:pt x="115" y="168"/>
                      </a:cubicBezTo>
                      <a:cubicBezTo>
                        <a:pt x="105" y="199"/>
                        <a:pt x="115" y="204"/>
                        <a:pt x="118" y="232"/>
                      </a:cubicBezTo>
                      <a:cubicBezTo>
                        <a:pt x="123" y="279"/>
                        <a:pt x="132" y="247"/>
                        <a:pt x="118" y="291"/>
                      </a:cubicBezTo>
                      <a:cubicBezTo>
                        <a:pt x="116" y="299"/>
                        <a:pt x="92" y="316"/>
                        <a:pt x="87" y="331"/>
                      </a:cubicBezTo>
                      <a:cubicBezTo>
                        <a:pt x="82" y="349"/>
                        <a:pt x="88" y="378"/>
                        <a:pt x="88" y="395"/>
                      </a:cubicBezTo>
                      <a:cubicBezTo>
                        <a:pt x="112" y="408"/>
                        <a:pt x="139" y="402"/>
                        <a:pt x="159" y="391"/>
                      </a:cubicBezTo>
                      <a:cubicBezTo>
                        <a:pt x="124" y="412"/>
                        <a:pt x="67" y="415"/>
                        <a:pt x="80" y="474"/>
                      </a:cubicBezTo>
                      <a:cubicBezTo>
                        <a:pt x="0" y="497"/>
                        <a:pt x="64" y="318"/>
                        <a:pt x="61" y="271"/>
                      </a:cubicBezTo>
                      <a:cubicBezTo>
                        <a:pt x="57" y="198"/>
                        <a:pt x="42" y="132"/>
                        <a:pt x="35" y="57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2" name="Freeform 438"/>
                <p:cNvSpPr>
                  <a:spLocks/>
                </p:cNvSpPr>
                <p:nvPr/>
              </p:nvSpPr>
              <p:spPr bwMode="gray">
                <a:xfrm>
                  <a:off x="20859750" y="-5006975"/>
                  <a:ext cx="900113" cy="1398588"/>
                </a:xfrm>
                <a:custGeom>
                  <a:avLst/>
                  <a:gdLst/>
                  <a:ahLst/>
                  <a:cxnLst>
                    <a:cxn ang="0">
                      <a:pos x="149" y="0"/>
                    </a:cxn>
                    <a:cxn ang="0">
                      <a:pos x="0" y="312"/>
                    </a:cxn>
                    <a:cxn ang="0">
                      <a:pos x="52" y="371"/>
                    </a:cxn>
                    <a:cxn ang="0">
                      <a:pos x="83" y="371"/>
                    </a:cxn>
                    <a:cxn ang="0">
                      <a:pos x="123" y="255"/>
                    </a:cxn>
                    <a:cxn ang="0">
                      <a:pos x="143" y="130"/>
                    </a:cxn>
                  </a:cxnLst>
                  <a:rect l="0" t="0" r="r" b="b"/>
                  <a:pathLst>
                    <a:path w="240" h="373">
                      <a:moveTo>
                        <a:pt x="149" y="0"/>
                      </a:moveTo>
                      <a:cubicBezTo>
                        <a:pt x="240" y="68"/>
                        <a:pt x="50" y="263"/>
                        <a:pt x="0" y="312"/>
                      </a:cubicBezTo>
                      <a:cubicBezTo>
                        <a:pt x="35" y="310"/>
                        <a:pt x="55" y="337"/>
                        <a:pt x="52" y="371"/>
                      </a:cubicBezTo>
                      <a:cubicBezTo>
                        <a:pt x="62" y="373"/>
                        <a:pt x="73" y="373"/>
                        <a:pt x="83" y="371"/>
                      </a:cubicBezTo>
                      <a:cubicBezTo>
                        <a:pt x="90" y="332"/>
                        <a:pt x="115" y="294"/>
                        <a:pt x="123" y="255"/>
                      </a:cubicBezTo>
                      <a:cubicBezTo>
                        <a:pt x="132" y="213"/>
                        <a:pt x="137" y="173"/>
                        <a:pt x="143" y="13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3" name="Freeform 439"/>
                <p:cNvSpPr>
                  <a:spLocks/>
                </p:cNvSpPr>
                <p:nvPr/>
              </p:nvSpPr>
              <p:spPr bwMode="gray">
                <a:xfrm>
                  <a:off x="18654713" y="-7624762"/>
                  <a:ext cx="877888" cy="242570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1" y="118"/>
                    </a:cxn>
                    <a:cxn ang="0">
                      <a:pos x="106" y="118"/>
                    </a:cxn>
                    <a:cxn ang="0">
                      <a:pos x="104" y="131"/>
                    </a:cxn>
                    <a:cxn ang="0">
                      <a:pos x="234" y="306"/>
                    </a:cxn>
                    <a:cxn ang="0">
                      <a:pos x="209" y="647"/>
                    </a:cxn>
                    <a:cxn ang="0">
                      <a:pos x="174" y="478"/>
                    </a:cxn>
                    <a:cxn ang="0">
                      <a:pos x="124" y="31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234" h="647">
                      <a:moveTo>
                        <a:pt x="0" y="0"/>
                      </a:moveTo>
                      <a:cubicBezTo>
                        <a:pt x="73" y="29"/>
                        <a:pt x="113" y="54"/>
                        <a:pt x="161" y="118"/>
                      </a:cubicBezTo>
                      <a:cubicBezTo>
                        <a:pt x="143" y="113"/>
                        <a:pt x="123" y="120"/>
                        <a:pt x="106" y="118"/>
                      </a:cubicBezTo>
                      <a:cubicBezTo>
                        <a:pt x="104" y="122"/>
                        <a:pt x="103" y="126"/>
                        <a:pt x="104" y="131"/>
                      </a:cubicBezTo>
                      <a:cubicBezTo>
                        <a:pt x="153" y="147"/>
                        <a:pt x="226" y="258"/>
                        <a:pt x="234" y="306"/>
                      </a:cubicBezTo>
                      <a:cubicBezTo>
                        <a:pt x="111" y="280"/>
                        <a:pt x="215" y="598"/>
                        <a:pt x="209" y="647"/>
                      </a:cubicBezTo>
                      <a:cubicBezTo>
                        <a:pt x="182" y="616"/>
                        <a:pt x="187" y="519"/>
                        <a:pt x="174" y="478"/>
                      </a:cubicBezTo>
                      <a:cubicBezTo>
                        <a:pt x="159" y="426"/>
                        <a:pt x="138" y="368"/>
                        <a:pt x="124" y="313"/>
                      </a:cubicBezTo>
                      <a:cubicBezTo>
                        <a:pt x="97" y="206"/>
                        <a:pt x="123" y="49"/>
                        <a:pt x="0" y="6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4" name="Freeform 440"/>
                <p:cNvSpPr>
                  <a:spLocks/>
                </p:cNvSpPr>
                <p:nvPr/>
              </p:nvSpPr>
              <p:spPr bwMode="gray">
                <a:xfrm>
                  <a:off x="17286288" y="-1951037"/>
                  <a:ext cx="903288" cy="6445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6" y="97"/>
                    </a:cxn>
                    <a:cxn ang="0">
                      <a:pos x="188" y="93"/>
                    </a:cxn>
                    <a:cxn ang="0">
                      <a:pos x="90" y="152"/>
                    </a:cxn>
                    <a:cxn ang="0">
                      <a:pos x="0" y="33"/>
                    </a:cxn>
                  </a:cxnLst>
                  <a:rect l="0" t="0" r="r" b="b"/>
                  <a:pathLst>
                    <a:path w="241" h="172">
                      <a:moveTo>
                        <a:pt x="0" y="0"/>
                      </a:moveTo>
                      <a:cubicBezTo>
                        <a:pt x="19" y="31"/>
                        <a:pt x="42" y="79"/>
                        <a:pt x="66" y="97"/>
                      </a:cubicBezTo>
                      <a:cubicBezTo>
                        <a:pt x="117" y="134"/>
                        <a:pt x="139" y="104"/>
                        <a:pt x="188" y="93"/>
                      </a:cubicBezTo>
                      <a:cubicBezTo>
                        <a:pt x="241" y="167"/>
                        <a:pt x="131" y="172"/>
                        <a:pt x="90" y="152"/>
                      </a:cubicBezTo>
                      <a:cubicBezTo>
                        <a:pt x="54" y="135"/>
                        <a:pt x="0" y="81"/>
                        <a:pt x="0" y="33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5" name="Freeform 441"/>
                <p:cNvSpPr>
                  <a:spLocks/>
                </p:cNvSpPr>
                <p:nvPr/>
              </p:nvSpPr>
              <p:spPr bwMode="gray">
                <a:xfrm>
                  <a:off x="18134013" y="-9507537"/>
                  <a:ext cx="873125" cy="2216150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21" y="235"/>
                    </a:cxn>
                    <a:cxn ang="0">
                      <a:pos x="67" y="437"/>
                    </a:cxn>
                    <a:cxn ang="0">
                      <a:pos x="204" y="126"/>
                    </a:cxn>
                    <a:cxn ang="0">
                      <a:pos x="159" y="502"/>
                    </a:cxn>
                    <a:cxn ang="0">
                      <a:pos x="28" y="91"/>
                    </a:cxn>
                  </a:cxnLst>
                  <a:rect l="0" t="0" r="r" b="b"/>
                  <a:pathLst>
                    <a:path w="233" h="591">
                      <a:moveTo>
                        <a:pt x="9" y="0"/>
                      </a:moveTo>
                      <a:cubicBezTo>
                        <a:pt x="0" y="67"/>
                        <a:pt x="15" y="163"/>
                        <a:pt x="21" y="235"/>
                      </a:cubicBezTo>
                      <a:cubicBezTo>
                        <a:pt x="26" y="284"/>
                        <a:pt x="34" y="399"/>
                        <a:pt x="67" y="437"/>
                      </a:cubicBezTo>
                      <a:cubicBezTo>
                        <a:pt x="200" y="591"/>
                        <a:pt x="191" y="172"/>
                        <a:pt x="204" y="126"/>
                      </a:cubicBezTo>
                      <a:cubicBezTo>
                        <a:pt x="232" y="194"/>
                        <a:pt x="233" y="458"/>
                        <a:pt x="159" y="502"/>
                      </a:cubicBezTo>
                      <a:cubicBezTo>
                        <a:pt x="10" y="590"/>
                        <a:pt x="28" y="149"/>
                        <a:pt x="28" y="91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6" name="Freeform 442"/>
                <p:cNvSpPr>
                  <a:spLocks/>
                </p:cNvSpPr>
                <p:nvPr/>
              </p:nvSpPr>
              <p:spPr bwMode="gray">
                <a:xfrm>
                  <a:off x="16386175" y="-8764587"/>
                  <a:ext cx="896938" cy="2309813"/>
                </a:xfrm>
                <a:custGeom>
                  <a:avLst/>
                  <a:gdLst/>
                  <a:ahLst/>
                  <a:cxnLst>
                    <a:cxn ang="0">
                      <a:pos x="70" y="265"/>
                    </a:cxn>
                    <a:cxn ang="0">
                      <a:pos x="121" y="180"/>
                    </a:cxn>
                    <a:cxn ang="0">
                      <a:pos x="136" y="50"/>
                    </a:cxn>
                    <a:cxn ang="0">
                      <a:pos x="239" y="0"/>
                    </a:cxn>
                    <a:cxn ang="0">
                      <a:pos x="180" y="164"/>
                    </a:cxn>
                    <a:cxn ang="0">
                      <a:pos x="155" y="331"/>
                    </a:cxn>
                    <a:cxn ang="0">
                      <a:pos x="120" y="616"/>
                    </a:cxn>
                    <a:cxn ang="0">
                      <a:pos x="90" y="245"/>
                    </a:cxn>
                  </a:cxnLst>
                  <a:rect l="0" t="0" r="r" b="b"/>
                  <a:pathLst>
                    <a:path w="239" h="616">
                      <a:moveTo>
                        <a:pt x="70" y="265"/>
                      </a:moveTo>
                      <a:cubicBezTo>
                        <a:pt x="74" y="230"/>
                        <a:pt x="107" y="210"/>
                        <a:pt x="121" y="180"/>
                      </a:cubicBezTo>
                      <a:cubicBezTo>
                        <a:pt x="140" y="138"/>
                        <a:pt x="134" y="97"/>
                        <a:pt x="136" y="50"/>
                      </a:cubicBezTo>
                      <a:cubicBezTo>
                        <a:pt x="178" y="49"/>
                        <a:pt x="205" y="15"/>
                        <a:pt x="239" y="0"/>
                      </a:cubicBezTo>
                      <a:cubicBezTo>
                        <a:pt x="216" y="52"/>
                        <a:pt x="192" y="105"/>
                        <a:pt x="180" y="164"/>
                      </a:cubicBezTo>
                      <a:cubicBezTo>
                        <a:pt x="169" y="218"/>
                        <a:pt x="175" y="284"/>
                        <a:pt x="155" y="331"/>
                      </a:cubicBezTo>
                      <a:cubicBezTo>
                        <a:pt x="116" y="424"/>
                        <a:pt x="83" y="511"/>
                        <a:pt x="120" y="616"/>
                      </a:cubicBezTo>
                      <a:cubicBezTo>
                        <a:pt x="53" y="570"/>
                        <a:pt x="0" y="295"/>
                        <a:pt x="90" y="245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7" name="Freeform 443"/>
                <p:cNvSpPr>
                  <a:spLocks/>
                </p:cNvSpPr>
                <p:nvPr/>
              </p:nvSpPr>
              <p:spPr bwMode="gray">
                <a:xfrm>
                  <a:off x="18092738" y="-10047287"/>
                  <a:ext cx="1654175" cy="446088"/>
                </a:xfrm>
                <a:custGeom>
                  <a:avLst/>
                  <a:gdLst/>
                  <a:ahLst/>
                  <a:cxnLst>
                    <a:cxn ang="0">
                      <a:pos x="20" y="85"/>
                    </a:cxn>
                    <a:cxn ang="0">
                      <a:pos x="118" y="118"/>
                    </a:cxn>
                    <a:cxn ang="0">
                      <a:pos x="222" y="73"/>
                    </a:cxn>
                    <a:cxn ang="0">
                      <a:pos x="335" y="80"/>
                    </a:cxn>
                    <a:cxn ang="0">
                      <a:pos x="436" y="51"/>
                    </a:cxn>
                    <a:cxn ang="0">
                      <a:pos x="210" y="40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41" h="119">
                      <a:moveTo>
                        <a:pt x="20" y="85"/>
                      </a:moveTo>
                      <a:cubicBezTo>
                        <a:pt x="47" y="113"/>
                        <a:pt x="74" y="119"/>
                        <a:pt x="118" y="118"/>
                      </a:cubicBezTo>
                      <a:cubicBezTo>
                        <a:pt x="168" y="116"/>
                        <a:pt x="180" y="83"/>
                        <a:pt x="222" y="73"/>
                      </a:cubicBezTo>
                      <a:cubicBezTo>
                        <a:pt x="259" y="64"/>
                        <a:pt x="293" y="90"/>
                        <a:pt x="335" y="80"/>
                      </a:cubicBezTo>
                      <a:cubicBezTo>
                        <a:pt x="373" y="71"/>
                        <a:pt x="393" y="50"/>
                        <a:pt x="436" y="51"/>
                      </a:cubicBezTo>
                      <a:cubicBezTo>
                        <a:pt x="441" y="0"/>
                        <a:pt x="258" y="38"/>
                        <a:pt x="210" y="40"/>
                      </a:cubicBezTo>
                      <a:cubicBezTo>
                        <a:pt x="188" y="91"/>
                        <a:pt x="44" y="104"/>
                        <a:pt x="0" y="85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8" name="Freeform 444"/>
                <p:cNvSpPr>
                  <a:spLocks/>
                </p:cNvSpPr>
                <p:nvPr/>
              </p:nvSpPr>
              <p:spPr bwMode="gray">
                <a:xfrm>
                  <a:off x="20564475" y="-8529637"/>
                  <a:ext cx="587375" cy="1654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130"/>
                    </a:cxn>
                    <a:cxn ang="0">
                      <a:pos x="44" y="243"/>
                    </a:cxn>
                    <a:cxn ang="0">
                      <a:pos x="139" y="441"/>
                    </a:cxn>
                    <a:cxn ang="0">
                      <a:pos x="98" y="202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157" h="441">
                      <a:moveTo>
                        <a:pt x="0" y="0"/>
                      </a:moveTo>
                      <a:cubicBezTo>
                        <a:pt x="25" y="31"/>
                        <a:pt x="10" y="89"/>
                        <a:pt x="8" y="130"/>
                      </a:cubicBezTo>
                      <a:cubicBezTo>
                        <a:pt x="5" y="187"/>
                        <a:pt x="14" y="198"/>
                        <a:pt x="44" y="243"/>
                      </a:cubicBezTo>
                      <a:cubicBezTo>
                        <a:pt x="84" y="302"/>
                        <a:pt x="97" y="379"/>
                        <a:pt x="139" y="441"/>
                      </a:cubicBezTo>
                      <a:cubicBezTo>
                        <a:pt x="157" y="374"/>
                        <a:pt x="122" y="264"/>
                        <a:pt x="98" y="202"/>
                      </a:cubicBezTo>
                      <a:cubicBezTo>
                        <a:pt x="84" y="166"/>
                        <a:pt x="57" y="9"/>
                        <a:pt x="26" y="0"/>
                      </a:cubicBezTo>
                    </a:path>
                  </a:pathLst>
                </a:custGeom>
                <a:solidFill>
                  <a:srgbClr val="28272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09" name="Freeform 445"/>
                <p:cNvSpPr>
                  <a:spLocks/>
                </p:cNvSpPr>
                <p:nvPr/>
              </p:nvSpPr>
              <p:spPr bwMode="gray">
                <a:xfrm>
                  <a:off x="19367500" y="-15536862"/>
                  <a:ext cx="881063" cy="5302250"/>
                </a:xfrm>
                <a:custGeom>
                  <a:avLst/>
                  <a:gdLst/>
                  <a:ahLst/>
                  <a:cxnLst>
                    <a:cxn ang="0">
                      <a:pos x="182" y="6"/>
                    </a:cxn>
                    <a:cxn ang="0">
                      <a:pos x="153" y="153"/>
                    </a:cxn>
                    <a:cxn ang="0">
                      <a:pos x="113" y="319"/>
                    </a:cxn>
                    <a:cxn ang="0">
                      <a:pos x="12" y="625"/>
                    </a:cxn>
                    <a:cxn ang="0">
                      <a:pos x="13" y="772"/>
                    </a:cxn>
                    <a:cxn ang="0">
                      <a:pos x="61" y="907"/>
                    </a:cxn>
                    <a:cxn ang="0">
                      <a:pos x="159" y="1190"/>
                    </a:cxn>
                    <a:cxn ang="0">
                      <a:pos x="172" y="1414"/>
                    </a:cxn>
                    <a:cxn ang="0">
                      <a:pos x="221" y="1268"/>
                    </a:cxn>
                    <a:cxn ang="0">
                      <a:pos x="215" y="1104"/>
                    </a:cxn>
                    <a:cxn ang="0">
                      <a:pos x="186" y="1037"/>
                    </a:cxn>
                    <a:cxn ang="0">
                      <a:pos x="171" y="962"/>
                    </a:cxn>
                    <a:cxn ang="0">
                      <a:pos x="109" y="812"/>
                    </a:cxn>
                    <a:cxn ang="0">
                      <a:pos x="58" y="678"/>
                    </a:cxn>
                    <a:cxn ang="0">
                      <a:pos x="74" y="514"/>
                    </a:cxn>
                    <a:cxn ang="0">
                      <a:pos x="140" y="392"/>
                    </a:cxn>
                    <a:cxn ang="0">
                      <a:pos x="182" y="231"/>
                    </a:cxn>
                    <a:cxn ang="0">
                      <a:pos x="179" y="0"/>
                    </a:cxn>
                  </a:cxnLst>
                  <a:rect l="0" t="0" r="r" b="b"/>
                  <a:pathLst>
                    <a:path w="235" h="1414">
                      <a:moveTo>
                        <a:pt x="182" y="6"/>
                      </a:moveTo>
                      <a:cubicBezTo>
                        <a:pt x="187" y="55"/>
                        <a:pt x="160" y="106"/>
                        <a:pt x="153" y="153"/>
                      </a:cubicBezTo>
                      <a:cubicBezTo>
                        <a:pt x="143" y="209"/>
                        <a:pt x="124" y="263"/>
                        <a:pt x="113" y="319"/>
                      </a:cubicBezTo>
                      <a:cubicBezTo>
                        <a:pt x="94" y="425"/>
                        <a:pt x="35" y="523"/>
                        <a:pt x="12" y="625"/>
                      </a:cubicBezTo>
                      <a:cubicBezTo>
                        <a:pt x="0" y="678"/>
                        <a:pt x="0" y="720"/>
                        <a:pt x="13" y="772"/>
                      </a:cubicBezTo>
                      <a:cubicBezTo>
                        <a:pt x="24" y="821"/>
                        <a:pt x="44" y="860"/>
                        <a:pt x="61" y="907"/>
                      </a:cubicBezTo>
                      <a:cubicBezTo>
                        <a:pt x="92" y="1001"/>
                        <a:pt x="129" y="1095"/>
                        <a:pt x="159" y="1190"/>
                      </a:cubicBezTo>
                      <a:cubicBezTo>
                        <a:pt x="180" y="1256"/>
                        <a:pt x="174" y="1340"/>
                        <a:pt x="172" y="1414"/>
                      </a:cubicBezTo>
                      <a:cubicBezTo>
                        <a:pt x="227" y="1400"/>
                        <a:pt x="221" y="1312"/>
                        <a:pt x="221" y="1268"/>
                      </a:cubicBezTo>
                      <a:cubicBezTo>
                        <a:pt x="221" y="1215"/>
                        <a:pt x="235" y="1154"/>
                        <a:pt x="215" y="1104"/>
                      </a:cubicBezTo>
                      <a:cubicBezTo>
                        <a:pt x="207" y="1083"/>
                        <a:pt x="193" y="1060"/>
                        <a:pt x="186" y="1037"/>
                      </a:cubicBezTo>
                      <a:cubicBezTo>
                        <a:pt x="178" y="1012"/>
                        <a:pt x="179" y="986"/>
                        <a:pt x="171" y="962"/>
                      </a:cubicBezTo>
                      <a:cubicBezTo>
                        <a:pt x="154" y="910"/>
                        <a:pt x="129" y="862"/>
                        <a:pt x="109" y="812"/>
                      </a:cubicBezTo>
                      <a:cubicBezTo>
                        <a:pt x="92" y="767"/>
                        <a:pt x="67" y="724"/>
                        <a:pt x="58" y="678"/>
                      </a:cubicBezTo>
                      <a:cubicBezTo>
                        <a:pt x="47" y="622"/>
                        <a:pt x="65" y="567"/>
                        <a:pt x="74" y="514"/>
                      </a:cubicBezTo>
                      <a:cubicBezTo>
                        <a:pt x="82" y="461"/>
                        <a:pt x="109" y="435"/>
                        <a:pt x="140" y="392"/>
                      </a:cubicBezTo>
                      <a:cubicBezTo>
                        <a:pt x="173" y="346"/>
                        <a:pt x="182" y="291"/>
                        <a:pt x="182" y="231"/>
                      </a:cubicBezTo>
                      <a:cubicBezTo>
                        <a:pt x="182" y="161"/>
                        <a:pt x="203" y="66"/>
                        <a:pt x="179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0" name="Freeform 446"/>
                <p:cNvSpPr>
                  <a:spLocks/>
                </p:cNvSpPr>
                <p:nvPr/>
              </p:nvSpPr>
              <p:spPr bwMode="gray">
                <a:xfrm>
                  <a:off x="19653250" y="-16224250"/>
                  <a:ext cx="446088" cy="604838"/>
                </a:xfrm>
                <a:custGeom>
                  <a:avLst/>
                  <a:gdLst/>
                  <a:ahLst/>
                  <a:cxnLst>
                    <a:cxn ang="0">
                      <a:pos x="2" y="150"/>
                    </a:cxn>
                    <a:cxn ang="0">
                      <a:pos x="74" y="85"/>
                    </a:cxn>
                    <a:cxn ang="0">
                      <a:pos x="0" y="0"/>
                    </a:cxn>
                    <a:cxn ang="0">
                      <a:pos x="58" y="46"/>
                    </a:cxn>
                    <a:cxn ang="0">
                      <a:pos x="119" y="97"/>
                    </a:cxn>
                    <a:cxn ang="0">
                      <a:pos x="5" y="156"/>
                    </a:cxn>
                  </a:cxnLst>
                  <a:rect l="0" t="0" r="r" b="b"/>
                  <a:pathLst>
                    <a:path w="119" h="161">
                      <a:moveTo>
                        <a:pt x="2" y="150"/>
                      </a:moveTo>
                      <a:cubicBezTo>
                        <a:pt x="25" y="129"/>
                        <a:pt x="51" y="107"/>
                        <a:pt x="74" y="85"/>
                      </a:cubicBezTo>
                      <a:cubicBezTo>
                        <a:pt x="44" y="60"/>
                        <a:pt x="26" y="28"/>
                        <a:pt x="0" y="0"/>
                      </a:cubicBezTo>
                      <a:cubicBezTo>
                        <a:pt x="23" y="7"/>
                        <a:pt x="42" y="29"/>
                        <a:pt x="58" y="46"/>
                      </a:cubicBezTo>
                      <a:cubicBezTo>
                        <a:pt x="77" y="65"/>
                        <a:pt x="99" y="78"/>
                        <a:pt x="119" y="97"/>
                      </a:cubicBezTo>
                      <a:cubicBezTo>
                        <a:pt x="84" y="117"/>
                        <a:pt x="50" y="161"/>
                        <a:pt x="5" y="156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1" name="Freeform 447"/>
                <p:cNvSpPr>
                  <a:spLocks/>
                </p:cNvSpPr>
                <p:nvPr/>
              </p:nvSpPr>
              <p:spPr bwMode="gray">
                <a:xfrm>
                  <a:off x="20146963" y="-15406687"/>
                  <a:ext cx="428625" cy="4121150"/>
                </a:xfrm>
                <a:custGeom>
                  <a:avLst/>
                  <a:gdLst/>
                  <a:ahLst/>
                  <a:cxnLst>
                    <a:cxn ang="0">
                      <a:pos x="39" y="26"/>
                    </a:cxn>
                    <a:cxn ang="0">
                      <a:pos x="17" y="517"/>
                    </a:cxn>
                    <a:cxn ang="0">
                      <a:pos x="33" y="640"/>
                    </a:cxn>
                    <a:cxn ang="0">
                      <a:pos x="33" y="750"/>
                    </a:cxn>
                    <a:cxn ang="0">
                      <a:pos x="56" y="956"/>
                    </a:cxn>
                    <a:cxn ang="0">
                      <a:pos x="68" y="1099"/>
                    </a:cxn>
                    <a:cxn ang="0">
                      <a:pos x="62" y="927"/>
                    </a:cxn>
                    <a:cxn ang="0">
                      <a:pos x="72" y="657"/>
                    </a:cxn>
                    <a:cxn ang="0">
                      <a:pos x="104" y="443"/>
                    </a:cxn>
                    <a:cxn ang="0">
                      <a:pos x="111" y="250"/>
                    </a:cxn>
                    <a:cxn ang="0">
                      <a:pos x="104" y="294"/>
                    </a:cxn>
                    <a:cxn ang="0">
                      <a:pos x="36" y="209"/>
                    </a:cxn>
                    <a:cxn ang="0">
                      <a:pos x="33" y="0"/>
                    </a:cxn>
                  </a:cxnLst>
                  <a:rect l="0" t="0" r="r" b="b"/>
                  <a:pathLst>
                    <a:path w="114" h="1099">
                      <a:moveTo>
                        <a:pt x="39" y="26"/>
                      </a:moveTo>
                      <a:cubicBezTo>
                        <a:pt x="39" y="191"/>
                        <a:pt x="0" y="352"/>
                        <a:pt x="17" y="517"/>
                      </a:cubicBezTo>
                      <a:cubicBezTo>
                        <a:pt x="21" y="560"/>
                        <a:pt x="33" y="597"/>
                        <a:pt x="33" y="640"/>
                      </a:cubicBezTo>
                      <a:cubicBezTo>
                        <a:pt x="33" y="677"/>
                        <a:pt x="32" y="713"/>
                        <a:pt x="33" y="750"/>
                      </a:cubicBezTo>
                      <a:cubicBezTo>
                        <a:pt x="33" y="819"/>
                        <a:pt x="52" y="886"/>
                        <a:pt x="56" y="956"/>
                      </a:cubicBezTo>
                      <a:cubicBezTo>
                        <a:pt x="58" y="1003"/>
                        <a:pt x="74" y="1054"/>
                        <a:pt x="68" y="1099"/>
                      </a:cubicBezTo>
                      <a:cubicBezTo>
                        <a:pt x="52" y="1054"/>
                        <a:pt x="61" y="978"/>
                        <a:pt x="62" y="927"/>
                      </a:cubicBezTo>
                      <a:cubicBezTo>
                        <a:pt x="63" y="838"/>
                        <a:pt x="72" y="748"/>
                        <a:pt x="72" y="657"/>
                      </a:cubicBezTo>
                      <a:cubicBezTo>
                        <a:pt x="72" y="584"/>
                        <a:pt x="93" y="515"/>
                        <a:pt x="104" y="443"/>
                      </a:cubicBezTo>
                      <a:cubicBezTo>
                        <a:pt x="113" y="379"/>
                        <a:pt x="111" y="314"/>
                        <a:pt x="111" y="250"/>
                      </a:cubicBezTo>
                      <a:cubicBezTo>
                        <a:pt x="114" y="265"/>
                        <a:pt x="110" y="281"/>
                        <a:pt x="104" y="294"/>
                      </a:cubicBezTo>
                      <a:cubicBezTo>
                        <a:pt x="45" y="295"/>
                        <a:pt x="44" y="260"/>
                        <a:pt x="36" y="209"/>
                      </a:cubicBezTo>
                      <a:cubicBezTo>
                        <a:pt x="26" y="142"/>
                        <a:pt x="33" y="69"/>
                        <a:pt x="33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2" name="Freeform 448"/>
                <p:cNvSpPr>
                  <a:spLocks/>
                </p:cNvSpPr>
                <p:nvPr/>
              </p:nvSpPr>
              <p:spPr bwMode="gray">
                <a:xfrm>
                  <a:off x="20256500" y="-12342812"/>
                  <a:ext cx="1027113" cy="1849438"/>
                </a:xfrm>
                <a:custGeom>
                  <a:avLst/>
                  <a:gdLst/>
                  <a:ahLst/>
                  <a:cxnLst>
                    <a:cxn ang="0">
                      <a:pos x="40" y="410"/>
                    </a:cxn>
                    <a:cxn ang="0">
                      <a:pos x="124" y="472"/>
                    </a:cxn>
                    <a:cxn ang="0">
                      <a:pos x="244" y="449"/>
                    </a:cxn>
                    <a:cxn ang="0">
                      <a:pos x="173" y="459"/>
                    </a:cxn>
                    <a:cxn ang="0">
                      <a:pos x="121" y="433"/>
                    </a:cxn>
                    <a:cxn ang="0">
                      <a:pos x="66" y="351"/>
                    </a:cxn>
                    <a:cxn ang="0">
                      <a:pos x="119" y="276"/>
                    </a:cxn>
                    <a:cxn ang="0">
                      <a:pos x="109" y="176"/>
                    </a:cxn>
                    <a:cxn ang="0">
                      <a:pos x="274" y="225"/>
                    </a:cxn>
                    <a:cxn ang="0">
                      <a:pos x="167" y="178"/>
                    </a:cxn>
                    <a:cxn ang="0">
                      <a:pos x="157" y="116"/>
                    </a:cxn>
                    <a:cxn ang="0">
                      <a:pos x="190" y="93"/>
                    </a:cxn>
                    <a:cxn ang="0">
                      <a:pos x="167" y="27"/>
                    </a:cxn>
                    <a:cxn ang="0">
                      <a:pos x="69" y="3"/>
                    </a:cxn>
                    <a:cxn ang="0">
                      <a:pos x="85" y="93"/>
                    </a:cxn>
                    <a:cxn ang="0">
                      <a:pos x="66" y="240"/>
                    </a:cxn>
                    <a:cxn ang="0">
                      <a:pos x="34" y="345"/>
                    </a:cxn>
                    <a:cxn ang="0">
                      <a:pos x="27" y="397"/>
                    </a:cxn>
                    <a:cxn ang="0">
                      <a:pos x="10" y="432"/>
                    </a:cxn>
                    <a:cxn ang="0">
                      <a:pos x="0" y="433"/>
                    </a:cxn>
                  </a:cxnLst>
                  <a:rect l="0" t="0" r="r" b="b"/>
                  <a:pathLst>
                    <a:path w="274" h="493">
                      <a:moveTo>
                        <a:pt x="40" y="410"/>
                      </a:moveTo>
                      <a:cubicBezTo>
                        <a:pt x="39" y="444"/>
                        <a:pt x="97" y="462"/>
                        <a:pt x="124" y="472"/>
                      </a:cubicBezTo>
                      <a:cubicBezTo>
                        <a:pt x="186" y="493"/>
                        <a:pt x="192" y="469"/>
                        <a:pt x="244" y="449"/>
                      </a:cubicBezTo>
                      <a:cubicBezTo>
                        <a:pt x="221" y="451"/>
                        <a:pt x="197" y="464"/>
                        <a:pt x="173" y="459"/>
                      </a:cubicBezTo>
                      <a:cubicBezTo>
                        <a:pt x="156" y="455"/>
                        <a:pt x="135" y="440"/>
                        <a:pt x="121" y="433"/>
                      </a:cubicBezTo>
                      <a:cubicBezTo>
                        <a:pt x="84" y="416"/>
                        <a:pt x="58" y="397"/>
                        <a:pt x="66" y="351"/>
                      </a:cubicBezTo>
                      <a:cubicBezTo>
                        <a:pt x="72" y="315"/>
                        <a:pt x="108" y="306"/>
                        <a:pt x="119" y="276"/>
                      </a:cubicBezTo>
                      <a:cubicBezTo>
                        <a:pt x="132" y="240"/>
                        <a:pt x="84" y="216"/>
                        <a:pt x="109" y="176"/>
                      </a:cubicBezTo>
                      <a:cubicBezTo>
                        <a:pt x="157" y="166"/>
                        <a:pt x="220" y="287"/>
                        <a:pt x="274" y="225"/>
                      </a:cubicBezTo>
                      <a:cubicBezTo>
                        <a:pt x="218" y="221"/>
                        <a:pt x="209" y="207"/>
                        <a:pt x="167" y="178"/>
                      </a:cubicBezTo>
                      <a:cubicBezTo>
                        <a:pt x="136" y="157"/>
                        <a:pt x="107" y="136"/>
                        <a:pt x="157" y="116"/>
                      </a:cubicBezTo>
                      <a:cubicBezTo>
                        <a:pt x="179" y="108"/>
                        <a:pt x="182" y="119"/>
                        <a:pt x="190" y="93"/>
                      </a:cubicBezTo>
                      <a:cubicBezTo>
                        <a:pt x="196" y="72"/>
                        <a:pt x="181" y="43"/>
                        <a:pt x="167" y="27"/>
                      </a:cubicBezTo>
                      <a:cubicBezTo>
                        <a:pt x="144" y="1"/>
                        <a:pt x="106" y="0"/>
                        <a:pt x="69" y="3"/>
                      </a:cubicBezTo>
                      <a:cubicBezTo>
                        <a:pt x="69" y="30"/>
                        <a:pt x="88" y="59"/>
                        <a:pt x="85" y="93"/>
                      </a:cubicBezTo>
                      <a:cubicBezTo>
                        <a:pt x="81" y="142"/>
                        <a:pt x="69" y="191"/>
                        <a:pt x="66" y="240"/>
                      </a:cubicBezTo>
                      <a:cubicBezTo>
                        <a:pt x="62" y="282"/>
                        <a:pt x="42" y="308"/>
                        <a:pt x="34" y="345"/>
                      </a:cubicBezTo>
                      <a:cubicBezTo>
                        <a:pt x="30" y="362"/>
                        <a:pt x="33" y="380"/>
                        <a:pt x="27" y="397"/>
                      </a:cubicBezTo>
                      <a:cubicBezTo>
                        <a:pt x="21" y="411"/>
                        <a:pt x="10" y="416"/>
                        <a:pt x="10" y="432"/>
                      </a:cubicBezTo>
                      <a:cubicBezTo>
                        <a:pt x="7" y="433"/>
                        <a:pt x="3" y="432"/>
                        <a:pt x="0" y="433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3" name="Freeform 449"/>
                <p:cNvSpPr>
                  <a:spLocks/>
                </p:cNvSpPr>
                <p:nvPr/>
              </p:nvSpPr>
              <p:spPr bwMode="gray">
                <a:xfrm>
                  <a:off x="20564475" y="-14693900"/>
                  <a:ext cx="663575" cy="2089150"/>
                </a:xfrm>
                <a:custGeom>
                  <a:avLst/>
                  <a:gdLst/>
                  <a:ahLst/>
                  <a:cxnLst>
                    <a:cxn ang="0">
                      <a:pos x="10" y="528"/>
                    </a:cxn>
                    <a:cxn ang="0">
                      <a:pos x="68" y="423"/>
                    </a:cxn>
                    <a:cxn ang="0">
                      <a:pos x="103" y="296"/>
                    </a:cxn>
                    <a:cxn ang="0">
                      <a:pos x="172" y="33"/>
                    </a:cxn>
                    <a:cxn ang="0">
                      <a:pos x="99" y="183"/>
                    </a:cxn>
                    <a:cxn ang="0">
                      <a:pos x="56" y="245"/>
                    </a:cxn>
                    <a:cxn ang="0">
                      <a:pos x="39" y="303"/>
                    </a:cxn>
                    <a:cxn ang="0">
                      <a:pos x="13" y="437"/>
                    </a:cxn>
                    <a:cxn ang="0">
                      <a:pos x="0" y="557"/>
                    </a:cxn>
                  </a:cxnLst>
                  <a:rect l="0" t="0" r="r" b="b"/>
                  <a:pathLst>
                    <a:path w="177" h="557">
                      <a:moveTo>
                        <a:pt x="10" y="528"/>
                      </a:moveTo>
                      <a:cubicBezTo>
                        <a:pt x="74" y="523"/>
                        <a:pt x="68" y="471"/>
                        <a:pt x="68" y="423"/>
                      </a:cubicBezTo>
                      <a:cubicBezTo>
                        <a:pt x="68" y="368"/>
                        <a:pt x="76" y="340"/>
                        <a:pt x="103" y="296"/>
                      </a:cubicBezTo>
                      <a:cubicBezTo>
                        <a:pt x="148" y="219"/>
                        <a:pt x="177" y="126"/>
                        <a:pt x="172" y="33"/>
                      </a:cubicBezTo>
                      <a:cubicBezTo>
                        <a:pt x="135" y="0"/>
                        <a:pt x="113" y="155"/>
                        <a:pt x="99" y="183"/>
                      </a:cubicBezTo>
                      <a:cubicBezTo>
                        <a:pt x="88" y="204"/>
                        <a:pt x="68" y="225"/>
                        <a:pt x="56" y="245"/>
                      </a:cubicBezTo>
                      <a:cubicBezTo>
                        <a:pt x="45" y="264"/>
                        <a:pt x="45" y="281"/>
                        <a:pt x="39" y="303"/>
                      </a:cubicBezTo>
                      <a:cubicBezTo>
                        <a:pt x="27" y="349"/>
                        <a:pt x="13" y="388"/>
                        <a:pt x="13" y="437"/>
                      </a:cubicBezTo>
                      <a:cubicBezTo>
                        <a:pt x="13" y="481"/>
                        <a:pt x="8" y="518"/>
                        <a:pt x="0" y="557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4" name="Freeform 450"/>
                <p:cNvSpPr>
                  <a:spLocks/>
                </p:cNvSpPr>
                <p:nvPr/>
              </p:nvSpPr>
              <p:spPr bwMode="gray">
                <a:xfrm>
                  <a:off x="21388388" y="-12158662"/>
                  <a:ext cx="211138" cy="633413"/>
                </a:xfrm>
                <a:custGeom>
                  <a:avLst/>
                  <a:gdLst/>
                  <a:ahLst/>
                  <a:cxnLst>
                    <a:cxn ang="0">
                      <a:pos x="25" y="5"/>
                    </a:cxn>
                    <a:cxn ang="0">
                      <a:pos x="43" y="94"/>
                    </a:cxn>
                    <a:cxn ang="0">
                      <a:pos x="3" y="169"/>
                    </a:cxn>
                    <a:cxn ang="0">
                      <a:pos x="34" y="0"/>
                    </a:cxn>
                    <a:cxn ang="0">
                      <a:pos x="41" y="57"/>
                    </a:cxn>
                  </a:cxnLst>
                  <a:rect l="0" t="0" r="r" b="b"/>
                  <a:pathLst>
                    <a:path w="56" h="169">
                      <a:moveTo>
                        <a:pt x="25" y="5"/>
                      </a:moveTo>
                      <a:cubicBezTo>
                        <a:pt x="23" y="34"/>
                        <a:pt x="37" y="68"/>
                        <a:pt x="43" y="94"/>
                      </a:cubicBezTo>
                      <a:cubicBezTo>
                        <a:pt x="56" y="144"/>
                        <a:pt x="54" y="156"/>
                        <a:pt x="3" y="169"/>
                      </a:cubicBezTo>
                      <a:cubicBezTo>
                        <a:pt x="55" y="116"/>
                        <a:pt x="0" y="62"/>
                        <a:pt x="34" y="0"/>
                      </a:cubicBezTo>
                      <a:cubicBezTo>
                        <a:pt x="35" y="19"/>
                        <a:pt x="31" y="43"/>
                        <a:pt x="41" y="57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5" name="Freeform 451"/>
                <p:cNvSpPr>
                  <a:spLocks/>
                </p:cNvSpPr>
                <p:nvPr/>
              </p:nvSpPr>
              <p:spPr bwMode="gray">
                <a:xfrm>
                  <a:off x="20358100" y="-10598150"/>
                  <a:ext cx="1011238" cy="347663"/>
                </a:xfrm>
                <a:custGeom>
                  <a:avLst/>
                  <a:gdLst/>
                  <a:ahLst/>
                  <a:cxnLst>
                    <a:cxn ang="0">
                      <a:pos x="55" y="36"/>
                    </a:cxn>
                    <a:cxn ang="0">
                      <a:pos x="10" y="32"/>
                    </a:cxn>
                    <a:cxn ang="0">
                      <a:pos x="0" y="4"/>
                    </a:cxn>
                    <a:cxn ang="0">
                      <a:pos x="123" y="30"/>
                    </a:cxn>
                    <a:cxn ang="0">
                      <a:pos x="260" y="33"/>
                    </a:cxn>
                    <a:cxn ang="0">
                      <a:pos x="169" y="62"/>
                    </a:cxn>
                    <a:cxn ang="0">
                      <a:pos x="48" y="36"/>
                    </a:cxn>
                  </a:cxnLst>
                  <a:rect l="0" t="0" r="r" b="b"/>
                  <a:pathLst>
                    <a:path w="270" h="93">
                      <a:moveTo>
                        <a:pt x="55" y="36"/>
                      </a:moveTo>
                      <a:cubicBezTo>
                        <a:pt x="39" y="38"/>
                        <a:pt x="25" y="34"/>
                        <a:pt x="10" y="32"/>
                      </a:cubicBezTo>
                      <a:cubicBezTo>
                        <a:pt x="2" y="23"/>
                        <a:pt x="0" y="16"/>
                        <a:pt x="0" y="4"/>
                      </a:cubicBezTo>
                      <a:cubicBezTo>
                        <a:pt x="42" y="0"/>
                        <a:pt x="82" y="26"/>
                        <a:pt x="123" y="30"/>
                      </a:cubicBezTo>
                      <a:cubicBezTo>
                        <a:pt x="167" y="33"/>
                        <a:pt x="215" y="31"/>
                        <a:pt x="260" y="33"/>
                      </a:cubicBezTo>
                      <a:cubicBezTo>
                        <a:pt x="270" y="93"/>
                        <a:pt x="201" y="75"/>
                        <a:pt x="169" y="62"/>
                      </a:cubicBezTo>
                      <a:cubicBezTo>
                        <a:pt x="128" y="47"/>
                        <a:pt x="89" y="47"/>
                        <a:pt x="48" y="36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6" name="Freeform 452"/>
                <p:cNvSpPr>
                  <a:spLocks/>
                </p:cNvSpPr>
                <p:nvPr/>
              </p:nvSpPr>
              <p:spPr bwMode="gray">
                <a:xfrm>
                  <a:off x="20586700" y="-15563850"/>
                  <a:ext cx="355600" cy="1908175"/>
                </a:xfrm>
                <a:custGeom>
                  <a:avLst/>
                  <a:gdLst/>
                  <a:ahLst/>
                  <a:cxnLst>
                    <a:cxn ang="0">
                      <a:pos x="60" y="135"/>
                    </a:cxn>
                    <a:cxn ang="0">
                      <a:pos x="36" y="251"/>
                    </a:cxn>
                    <a:cxn ang="0">
                      <a:pos x="26" y="385"/>
                    </a:cxn>
                    <a:cxn ang="0">
                      <a:pos x="17" y="509"/>
                    </a:cxn>
                    <a:cxn ang="0">
                      <a:pos x="17" y="411"/>
                    </a:cxn>
                    <a:cxn ang="0">
                      <a:pos x="27" y="301"/>
                    </a:cxn>
                    <a:cxn ang="0">
                      <a:pos x="36" y="183"/>
                    </a:cxn>
                    <a:cxn ang="0">
                      <a:pos x="95" y="0"/>
                    </a:cxn>
                    <a:cxn ang="0">
                      <a:pos x="60" y="135"/>
                    </a:cxn>
                  </a:cxnLst>
                  <a:rect l="0" t="0" r="r" b="b"/>
                  <a:pathLst>
                    <a:path w="95" h="509">
                      <a:moveTo>
                        <a:pt x="60" y="135"/>
                      </a:moveTo>
                      <a:cubicBezTo>
                        <a:pt x="52" y="173"/>
                        <a:pt x="44" y="211"/>
                        <a:pt x="36" y="251"/>
                      </a:cubicBezTo>
                      <a:cubicBezTo>
                        <a:pt x="28" y="296"/>
                        <a:pt x="30" y="339"/>
                        <a:pt x="26" y="385"/>
                      </a:cubicBezTo>
                      <a:cubicBezTo>
                        <a:pt x="22" y="420"/>
                        <a:pt x="29" y="479"/>
                        <a:pt x="17" y="509"/>
                      </a:cubicBezTo>
                      <a:cubicBezTo>
                        <a:pt x="0" y="486"/>
                        <a:pt x="13" y="438"/>
                        <a:pt x="17" y="411"/>
                      </a:cubicBezTo>
                      <a:cubicBezTo>
                        <a:pt x="23" y="375"/>
                        <a:pt x="22" y="337"/>
                        <a:pt x="27" y="301"/>
                      </a:cubicBezTo>
                      <a:cubicBezTo>
                        <a:pt x="33" y="263"/>
                        <a:pt x="36" y="224"/>
                        <a:pt x="36" y="183"/>
                      </a:cubicBezTo>
                      <a:cubicBezTo>
                        <a:pt x="36" y="118"/>
                        <a:pt x="59" y="51"/>
                        <a:pt x="95" y="0"/>
                      </a:cubicBezTo>
                      <a:cubicBezTo>
                        <a:pt x="91" y="46"/>
                        <a:pt x="69" y="89"/>
                        <a:pt x="60" y="135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7" name="Freeform 453"/>
                <p:cNvSpPr>
                  <a:spLocks/>
                </p:cNvSpPr>
                <p:nvPr/>
              </p:nvSpPr>
              <p:spPr bwMode="gray">
                <a:xfrm>
                  <a:off x="20234275" y="-10220325"/>
                  <a:ext cx="858838" cy="5619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5" y="95"/>
                    </a:cxn>
                    <a:cxn ang="0">
                      <a:pos x="151" y="80"/>
                    </a:cxn>
                    <a:cxn ang="0">
                      <a:pos x="167" y="15"/>
                    </a:cxn>
                    <a:cxn ang="0">
                      <a:pos x="170" y="108"/>
                    </a:cxn>
                    <a:cxn ang="0">
                      <a:pos x="30" y="13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9" h="150">
                      <a:moveTo>
                        <a:pt x="0" y="0"/>
                      </a:moveTo>
                      <a:cubicBezTo>
                        <a:pt x="45" y="13"/>
                        <a:pt x="37" y="81"/>
                        <a:pt x="75" y="95"/>
                      </a:cubicBezTo>
                      <a:cubicBezTo>
                        <a:pt x="95" y="103"/>
                        <a:pt x="136" y="91"/>
                        <a:pt x="151" y="80"/>
                      </a:cubicBezTo>
                      <a:cubicBezTo>
                        <a:pt x="172" y="62"/>
                        <a:pt x="165" y="39"/>
                        <a:pt x="167" y="15"/>
                      </a:cubicBezTo>
                      <a:cubicBezTo>
                        <a:pt x="202" y="40"/>
                        <a:pt x="229" y="100"/>
                        <a:pt x="170" y="108"/>
                      </a:cubicBezTo>
                      <a:cubicBezTo>
                        <a:pt x="127" y="114"/>
                        <a:pt x="69" y="150"/>
                        <a:pt x="30" y="137"/>
                      </a:cubicBezTo>
                      <a:cubicBezTo>
                        <a:pt x="12" y="87"/>
                        <a:pt x="0" y="54"/>
                        <a:pt x="0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8" name="Freeform 454"/>
                <p:cNvSpPr>
                  <a:spLocks/>
                </p:cNvSpPr>
                <p:nvPr/>
              </p:nvSpPr>
              <p:spPr bwMode="gray">
                <a:xfrm>
                  <a:off x="19670713" y="-15660687"/>
                  <a:ext cx="390525" cy="152400"/>
                </a:xfrm>
                <a:custGeom>
                  <a:avLst/>
                  <a:gdLst/>
                  <a:ahLst/>
                  <a:cxnLst>
                    <a:cxn ang="0">
                      <a:pos x="6" y="6"/>
                    </a:cxn>
                    <a:cxn ang="0">
                      <a:pos x="104" y="3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4" h="41">
                      <a:moveTo>
                        <a:pt x="6" y="6"/>
                      </a:moveTo>
                      <a:cubicBezTo>
                        <a:pt x="44" y="26"/>
                        <a:pt x="69" y="33"/>
                        <a:pt x="104" y="38"/>
                      </a:cubicBezTo>
                      <a:cubicBezTo>
                        <a:pt x="74" y="41"/>
                        <a:pt x="9" y="19"/>
                        <a:pt x="0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19" name="Freeform 455"/>
                <p:cNvSpPr>
                  <a:spLocks/>
                </p:cNvSpPr>
                <p:nvPr/>
              </p:nvSpPr>
              <p:spPr bwMode="gray">
                <a:xfrm>
                  <a:off x="16484600" y="-16025812"/>
                  <a:ext cx="903288" cy="3446463"/>
                </a:xfrm>
                <a:custGeom>
                  <a:avLst/>
                  <a:gdLst/>
                  <a:ahLst/>
                  <a:cxnLst>
                    <a:cxn ang="0">
                      <a:pos x="113" y="15"/>
                    </a:cxn>
                    <a:cxn ang="0">
                      <a:pos x="54" y="101"/>
                    </a:cxn>
                    <a:cxn ang="0">
                      <a:pos x="94" y="129"/>
                    </a:cxn>
                    <a:cxn ang="0">
                      <a:pos x="129" y="171"/>
                    </a:cxn>
                    <a:cxn ang="0">
                      <a:pos x="22" y="186"/>
                    </a:cxn>
                    <a:cxn ang="0">
                      <a:pos x="54" y="374"/>
                    </a:cxn>
                    <a:cxn ang="0">
                      <a:pos x="106" y="540"/>
                    </a:cxn>
                    <a:cxn ang="0">
                      <a:pos x="187" y="685"/>
                    </a:cxn>
                    <a:cxn ang="0">
                      <a:pos x="236" y="831"/>
                    </a:cxn>
                    <a:cxn ang="0">
                      <a:pos x="211" y="919"/>
                    </a:cxn>
                    <a:cxn ang="0">
                      <a:pos x="193" y="763"/>
                    </a:cxn>
                    <a:cxn ang="0">
                      <a:pos x="136" y="634"/>
                    </a:cxn>
                    <a:cxn ang="0">
                      <a:pos x="41" y="355"/>
                    </a:cxn>
                    <a:cxn ang="0">
                      <a:pos x="9" y="166"/>
                    </a:cxn>
                    <a:cxn ang="0">
                      <a:pos x="106" y="175"/>
                    </a:cxn>
                    <a:cxn ang="0">
                      <a:pos x="24" y="100"/>
                    </a:cxn>
                    <a:cxn ang="0">
                      <a:pos x="112" y="0"/>
                    </a:cxn>
                    <a:cxn ang="0">
                      <a:pos x="54" y="110"/>
                    </a:cxn>
                  </a:cxnLst>
                  <a:rect l="0" t="0" r="r" b="b"/>
                  <a:pathLst>
                    <a:path w="241" h="919">
                      <a:moveTo>
                        <a:pt x="113" y="15"/>
                      </a:moveTo>
                      <a:cubicBezTo>
                        <a:pt x="116" y="41"/>
                        <a:pt x="76" y="89"/>
                        <a:pt x="54" y="101"/>
                      </a:cubicBezTo>
                      <a:cubicBezTo>
                        <a:pt x="60" y="116"/>
                        <a:pt x="81" y="117"/>
                        <a:pt x="94" y="129"/>
                      </a:cubicBezTo>
                      <a:cubicBezTo>
                        <a:pt x="108" y="141"/>
                        <a:pt x="113" y="162"/>
                        <a:pt x="129" y="171"/>
                      </a:cubicBezTo>
                      <a:cubicBezTo>
                        <a:pt x="96" y="186"/>
                        <a:pt x="58" y="182"/>
                        <a:pt x="22" y="186"/>
                      </a:cubicBezTo>
                      <a:cubicBezTo>
                        <a:pt x="18" y="259"/>
                        <a:pt x="37" y="306"/>
                        <a:pt x="54" y="374"/>
                      </a:cubicBezTo>
                      <a:cubicBezTo>
                        <a:pt x="68" y="431"/>
                        <a:pt x="81" y="488"/>
                        <a:pt x="106" y="540"/>
                      </a:cubicBezTo>
                      <a:cubicBezTo>
                        <a:pt x="130" y="590"/>
                        <a:pt x="166" y="632"/>
                        <a:pt x="187" y="685"/>
                      </a:cubicBezTo>
                      <a:cubicBezTo>
                        <a:pt x="205" y="732"/>
                        <a:pt x="228" y="780"/>
                        <a:pt x="236" y="831"/>
                      </a:cubicBezTo>
                      <a:cubicBezTo>
                        <a:pt x="241" y="862"/>
                        <a:pt x="237" y="899"/>
                        <a:pt x="211" y="919"/>
                      </a:cubicBezTo>
                      <a:cubicBezTo>
                        <a:pt x="207" y="860"/>
                        <a:pt x="214" y="817"/>
                        <a:pt x="193" y="763"/>
                      </a:cubicBezTo>
                      <a:cubicBezTo>
                        <a:pt x="177" y="721"/>
                        <a:pt x="155" y="678"/>
                        <a:pt x="136" y="634"/>
                      </a:cubicBezTo>
                      <a:cubicBezTo>
                        <a:pt x="98" y="543"/>
                        <a:pt x="56" y="451"/>
                        <a:pt x="41" y="355"/>
                      </a:cubicBezTo>
                      <a:cubicBezTo>
                        <a:pt x="31" y="297"/>
                        <a:pt x="0" y="226"/>
                        <a:pt x="9" y="166"/>
                      </a:cubicBezTo>
                      <a:cubicBezTo>
                        <a:pt x="42" y="164"/>
                        <a:pt x="75" y="180"/>
                        <a:pt x="106" y="175"/>
                      </a:cubicBezTo>
                      <a:cubicBezTo>
                        <a:pt x="99" y="141"/>
                        <a:pt x="25" y="130"/>
                        <a:pt x="24" y="100"/>
                      </a:cubicBezTo>
                      <a:cubicBezTo>
                        <a:pt x="24" y="77"/>
                        <a:pt x="91" y="6"/>
                        <a:pt x="112" y="0"/>
                      </a:cubicBezTo>
                      <a:cubicBezTo>
                        <a:pt x="98" y="36"/>
                        <a:pt x="69" y="74"/>
                        <a:pt x="54" y="11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0" name="Freeform 456"/>
                <p:cNvSpPr>
                  <a:spLocks/>
                </p:cNvSpPr>
                <p:nvPr/>
              </p:nvSpPr>
              <p:spPr bwMode="gray">
                <a:xfrm>
                  <a:off x="15103475" y="-15428912"/>
                  <a:ext cx="1492250" cy="5500688"/>
                </a:xfrm>
                <a:custGeom>
                  <a:avLst/>
                  <a:gdLst/>
                  <a:ahLst/>
                  <a:cxnLst>
                    <a:cxn ang="0">
                      <a:pos x="246" y="894"/>
                    </a:cxn>
                    <a:cxn ang="0">
                      <a:pos x="78" y="946"/>
                    </a:cxn>
                    <a:cxn ang="0">
                      <a:pos x="44" y="1005"/>
                    </a:cxn>
                    <a:cxn ang="0">
                      <a:pos x="124" y="1031"/>
                    </a:cxn>
                    <a:cxn ang="0">
                      <a:pos x="74" y="973"/>
                    </a:cxn>
                    <a:cxn ang="0">
                      <a:pos x="128" y="983"/>
                    </a:cxn>
                    <a:cxn ang="0">
                      <a:pos x="184" y="965"/>
                    </a:cxn>
                    <a:cxn ang="0">
                      <a:pos x="191" y="998"/>
                    </a:cxn>
                    <a:cxn ang="0">
                      <a:pos x="236" y="992"/>
                    </a:cxn>
                    <a:cxn ang="0">
                      <a:pos x="234" y="1083"/>
                    </a:cxn>
                    <a:cxn ang="0">
                      <a:pos x="262" y="1168"/>
                    </a:cxn>
                    <a:cxn ang="0">
                      <a:pos x="203" y="1242"/>
                    </a:cxn>
                    <a:cxn ang="0">
                      <a:pos x="268" y="1259"/>
                    </a:cxn>
                    <a:cxn ang="0">
                      <a:pos x="295" y="1316"/>
                    </a:cxn>
                    <a:cxn ang="0">
                      <a:pos x="291" y="1359"/>
                    </a:cxn>
                    <a:cxn ang="0">
                      <a:pos x="304" y="1439"/>
                    </a:cxn>
                    <a:cxn ang="0">
                      <a:pos x="386" y="1432"/>
                    </a:cxn>
                    <a:cxn ang="0">
                      <a:pos x="392" y="1361"/>
                    </a:cxn>
                    <a:cxn ang="0">
                      <a:pos x="302" y="1190"/>
                    </a:cxn>
                    <a:cxn ang="0">
                      <a:pos x="262" y="988"/>
                    </a:cxn>
                    <a:cxn ang="0">
                      <a:pos x="259" y="766"/>
                    </a:cxn>
                    <a:cxn ang="0">
                      <a:pos x="239" y="541"/>
                    </a:cxn>
                    <a:cxn ang="0">
                      <a:pos x="239" y="381"/>
                    </a:cxn>
                    <a:cxn ang="0">
                      <a:pos x="204" y="267"/>
                    </a:cxn>
                    <a:cxn ang="0">
                      <a:pos x="161" y="146"/>
                    </a:cxn>
                    <a:cxn ang="0">
                      <a:pos x="145" y="0"/>
                    </a:cxn>
                    <a:cxn ang="0">
                      <a:pos x="170" y="245"/>
                    </a:cxn>
                    <a:cxn ang="0">
                      <a:pos x="193" y="375"/>
                    </a:cxn>
                    <a:cxn ang="0">
                      <a:pos x="209" y="476"/>
                    </a:cxn>
                    <a:cxn ang="0">
                      <a:pos x="184" y="477"/>
                    </a:cxn>
                    <a:cxn ang="0">
                      <a:pos x="217" y="583"/>
                    </a:cxn>
                    <a:cxn ang="0">
                      <a:pos x="226" y="708"/>
                    </a:cxn>
                    <a:cxn ang="0">
                      <a:pos x="249" y="819"/>
                    </a:cxn>
                    <a:cxn ang="0">
                      <a:pos x="252" y="903"/>
                    </a:cxn>
                  </a:cxnLst>
                  <a:rect l="0" t="0" r="r" b="b"/>
                  <a:pathLst>
                    <a:path w="398" h="1467">
                      <a:moveTo>
                        <a:pt x="246" y="894"/>
                      </a:moveTo>
                      <a:cubicBezTo>
                        <a:pt x="249" y="955"/>
                        <a:pt x="115" y="932"/>
                        <a:pt x="78" y="946"/>
                      </a:cubicBezTo>
                      <a:cubicBezTo>
                        <a:pt x="50" y="957"/>
                        <a:pt x="0" y="986"/>
                        <a:pt x="44" y="1005"/>
                      </a:cubicBezTo>
                      <a:cubicBezTo>
                        <a:pt x="71" y="1016"/>
                        <a:pt x="102" y="1008"/>
                        <a:pt x="124" y="1031"/>
                      </a:cubicBezTo>
                      <a:cubicBezTo>
                        <a:pt x="119" y="1009"/>
                        <a:pt x="55" y="994"/>
                        <a:pt x="74" y="973"/>
                      </a:cubicBezTo>
                      <a:cubicBezTo>
                        <a:pt x="89" y="955"/>
                        <a:pt x="115" y="980"/>
                        <a:pt x="128" y="983"/>
                      </a:cubicBezTo>
                      <a:cubicBezTo>
                        <a:pt x="152" y="987"/>
                        <a:pt x="163" y="976"/>
                        <a:pt x="184" y="965"/>
                      </a:cubicBezTo>
                      <a:cubicBezTo>
                        <a:pt x="191" y="973"/>
                        <a:pt x="192" y="986"/>
                        <a:pt x="191" y="998"/>
                      </a:cubicBezTo>
                      <a:cubicBezTo>
                        <a:pt x="205" y="995"/>
                        <a:pt x="219" y="989"/>
                        <a:pt x="236" y="992"/>
                      </a:cubicBezTo>
                      <a:cubicBezTo>
                        <a:pt x="238" y="1036"/>
                        <a:pt x="205" y="1048"/>
                        <a:pt x="234" y="1083"/>
                      </a:cubicBezTo>
                      <a:cubicBezTo>
                        <a:pt x="257" y="1110"/>
                        <a:pt x="271" y="1125"/>
                        <a:pt x="262" y="1168"/>
                      </a:cubicBezTo>
                      <a:cubicBezTo>
                        <a:pt x="254" y="1208"/>
                        <a:pt x="214" y="1200"/>
                        <a:pt x="203" y="1242"/>
                      </a:cubicBezTo>
                      <a:cubicBezTo>
                        <a:pt x="188" y="1298"/>
                        <a:pt x="235" y="1264"/>
                        <a:pt x="268" y="1259"/>
                      </a:cubicBezTo>
                      <a:cubicBezTo>
                        <a:pt x="271" y="1285"/>
                        <a:pt x="284" y="1295"/>
                        <a:pt x="295" y="1316"/>
                      </a:cubicBezTo>
                      <a:cubicBezTo>
                        <a:pt x="309" y="1343"/>
                        <a:pt x="302" y="1341"/>
                        <a:pt x="291" y="1359"/>
                      </a:cubicBezTo>
                      <a:cubicBezTo>
                        <a:pt x="278" y="1381"/>
                        <a:pt x="247" y="1439"/>
                        <a:pt x="304" y="1439"/>
                      </a:cubicBezTo>
                      <a:cubicBezTo>
                        <a:pt x="319" y="1467"/>
                        <a:pt x="369" y="1455"/>
                        <a:pt x="386" y="1432"/>
                      </a:cubicBezTo>
                      <a:cubicBezTo>
                        <a:pt x="398" y="1416"/>
                        <a:pt x="394" y="1386"/>
                        <a:pt x="392" y="1361"/>
                      </a:cubicBezTo>
                      <a:cubicBezTo>
                        <a:pt x="338" y="1323"/>
                        <a:pt x="318" y="1253"/>
                        <a:pt x="302" y="1190"/>
                      </a:cubicBezTo>
                      <a:cubicBezTo>
                        <a:pt x="285" y="1123"/>
                        <a:pt x="264" y="1060"/>
                        <a:pt x="262" y="988"/>
                      </a:cubicBezTo>
                      <a:cubicBezTo>
                        <a:pt x="261" y="914"/>
                        <a:pt x="266" y="842"/>
                        <a:pt x="259" y="766"/>
                      </a:cubicBezTo>
                      <a:cubicBezTo>
                        <a:pt x="252" y="690"/>
                        <a:pt x="239" y="619"/>
                        <a:pt x="239" y="541"/>
                      </a:cubicBezTo>
                      <a:cubicBezTo>
                        <a:pt x="239" y="491"/>
                        <a:pt x="249" y="430"/>
                        <a:pt x="239" y="381"/>
                      </a:cubicBezTo>
                      <a:cubicBezTo>
                        <a:pt x="232" y="345"/>
                        <a:pt x="215" y="303"/>
                        <a:pt x="204" y="267"/>
                      </a:cubicBezTo>
                      <a:cubicBezTo>
                        <a:pt x="191" y="227"/>
                        <a:pt x="171" y="188"/>
                        <a:pt x="161" y="146"/>
                      </a:cubicBezTo>
                      <a:cubicBezTo>
                        <a:pt x="151" y="101"/>
                        <a:pt x="158" y="42"/>
                        <a:pt x="145" y="0"/>
                      </a:cubicBezTo>
                      <a:cubicBezTo>
                        <a:pt x="136" y="85"/>
                        <a:pt x="159" y="162"/>
                        <a:pt x="170" y="245"/>
                      </a:cubicBezTo>
                      <a:cubicBezTo>
                        <a:pt x="176" y="290"/>
                        <a:pt x="181" y="331"/>
                        <a:pt x="193" y="375"/>
                      </a:cubicBezTo>
                      <a:cubicBezTo>
                        <a:pt x="200" y="404"/>
                        <a:pt x="215" y="446"/>
                        <a:pt x="209" y="476"/>
                      </a:cubicBezTo>
                      <a:cubicBezTo>
                        <a:pt x="202" y="474"/>
                        <a:pt x="192" y="478"/>
                        <a:pt x="184" y="477"/>
                      </a:cubicBezTo>
                      <a:cubicBezTo>
                        <a:pt x="178" y="514"/>
                        <a:pt x="208" y="549"/>
                        <a:pt x="217" y="583"/>
                      </a:cubicBezTo>
                      <a:cubicBezTo>
                        <a:pt x="229" y="624"/>
                        <a:pt x="224" y="664"/>
                        <a:pt x="226" y="708"/>
                      </a:cubicBezTo>
                      <a:cubicBezTo>
                        <a:pt x="228" y="743"/>
                        <a:pt x="257" y="784"/>
                        <a:pt x="249" y="819"/>
                      </a:cubicBezTo>
                      <a:cubicBezTo>
                        <a:pt x="241" y="858"/>
                        <a:pt x="217" y="866"/>
                        <a:pt x="252" y="903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1" name="Freeform 457"/>
                <p:cNvSpPr>
                  <a:spLocks/>
                </p:cNvSpPr>
                <p:nvPr/>
              </p:nvSpPr>
              <p:spPr bwMode="gray">
                <a:xfrm>
                  <a:off x="15936913" y="-14644687"/>
                  <a:ext cx="603250" cy="3257550"/>
                </a:xfrm>
                <a:custGeom>
                  <a:avLst/>
                  <a:gdLst/>
                  <a:ahLst/>
                  <a:cxnLst>
                    <a:cxn ang="0">
                      <a:pos x="109" y="97"/>
                    </a:cxn>
                    <a:cxn ang="0">
                      <a:pos x="99" y="300"/>
                    </a:cxn>
                    <a:cxn ang="0">
                      <a:pos x="147" y="502"/>
                    </a:cxn>
                    <a:cxn ang="0">
                      <a:pos x="137" y="717"/>
                    </a:cxn>
                    <a:cxn ang="0">
                      <a:pos x="79" y="869"/>
                    </a:cxn>
                    <a:cxn ang="0">
                      <a:pos x="109" y="635"/>
                    </a:cxn>
                    <a:cxn ang="0">
                      <a:pos x="89" y="394"/>
                    </a:cxn>
                    <a:cxn ang="0">
                      <a:pos x="102" y="20"/>
                    </a:cxn>
                    <a:cxn ang="0">
                      <a:pos x="92" y="176"/>
                    </a:cxn>
                  </a:cxnLst>
                  <a:rect l="0" t="0" r="r" b="b"/>
                  <a:pathLst>
                    <a:path w="161" h="869">
                      <a:moveTo>
                        <a:pt x="109" y="97"/>
                      </a:moveTo>
                      <a:cubicBezTo>
                        <a:pt x="112" y="164"/>
                        <a:pt x="92" y="231"/>
                        <a:pt x="99" y="300"/>
                      </a:cubicBezTo>
                      <a:cubicBezTo>
                        <a:pt x="105" y="367"/>
                        <a:pt x="139" y="433"/>
                        <a:pt x="147" y="502"/>
                      </a:cubicBezTo>
                      <a:cubicBezTo>
                        <a:pt x="155" y="573"/>
                        <a:pt x="161" y="650"/>
                        <a:pt x="137" y="717"/>
                      </a:cubicBezTo>
                      <a:cubicBezTo>
                        <a:pt x="119" y="768"/>
                        <a:pt x="100" y="822"/>
                        <a:pt x="79" y="869"/>
                      </a:cubicBezTo>
                      <a:cubicBezTo>
                        <a:pt x="80" y="790"/>
                        <a:pt x="108" y="715"/>
                        <a:pt x="109" y="635"/>
                      </a:cubicBezTo>
                      <a:cubicBezTo>
                        <a:pt x="109" y="552"/>
                        <a:pt x="108" y="472"/>
                        <a:pt x="89" y="394"/>
                      </a:cubicBezTo>
                      <a:cubicBezTo>
                        <a:pt x="77" y="344"/>
                        <a:pt x="0" y="0"/>
                        <a:pt x="102" y="20"/>
                      </a:cubicBezTo>
                      <a:cubicBezTo>
                        <a:pt x="115" y="68"/>
                        <a:pt x="92" y="125"/>
                        <a:pt x="92" y="176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2" name="Freeform 458"/>
                <p:cNvSpPr>
                  <a:spLocks/>
                </p:cNvSpPr>
                <p:nvPr/>
              </p:nvSpPr>
              <p:spPr bwMode="gray">
                <a:xfrm>
                  <a:off x="15227300" y="-12309475"/>
                  <a:ext cx="701675" cy="217488"/>
                </a:xfrm>
                <a:custGeom>
                  <a:avLst/>
                  <a:gdLst/>
                  <a:ahLst/>
                  <a:cxnLst>
                    <a:cxn ang="0">
                      <a:pos x="174" y="58"/>
                    </a:cxn>
                    <a:cxn ang="0">
                      <a:pos x="105" y="26"/>
                    </a:cxn>
                    <a:cxn ang="0">
                      <a:pos x="8" y="35"/>
                    </a:cxn>
                    <a:cxn ang="0">
                      <a:pos x="108" y="6"/>
                    </a:cxn>
                    <a:cxn ang="0">
                      <a:pos x="187" y="55"/>
                    </a:cxn>
                  </a:cxnLst>
                  <a:rect l="0" t="0" r="r" b="b"/>
                  <a:pathLst>
                    <a:path w="187" h="58">
                      <a:moveTo>
                        <a:pt x="174" y="58"/>
                      </a:moveTo>
                      <a:cubicBezTo>
                        <a:pt x="176" y="32"/>
                        <a:pt x="125" y="23"/>
                        <a:pt x="105" y="26"/>
                      </a:cubicBezTo>
                      <a:cubicBezTo>
                        <a:pt x="70" y="30"/>
                        <a:pt x="46" y="44"/>
                        <a:pt x="8" y="35"/>
                      </a:cubicBezTo>
                      <a:cubicBezTo>
                        <a:pt x="0" y="0"/>
                        <a:pt x="85" y="2"/>
                        <a:pt x="108" y="6"/>
                      </a:cubicBezTo>
                      <a:cubicBezTo>
                        <a:pt x="143" y="13"/>
                        <a:pt x="162" y="33"/>
                        <a:pt x="187" y="55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3" name="Freeform 459"/>
                <p:cNvSpPr>
                  <a:spLocks/>
                </p:cNvSpPr>
                <p:nvPr/>
              </p:nvSpPr>
              <p:spPr bwMode="gray">
                <a:xfrm>
                  <a:off x="15347950" y="-10463212"/>
                  <a:ext cx="600075" cy="528638"/>
                </a:xfrm>
                <a:custGeom>
                  <a:avLst/>
                  <a:gdLst/>
                  <a:ahLst/>
                  <a:cxnLst>
                    <a:cxn ang="0">
                      <a:pos x="80" y="23"/>
                    </a:cxn>
                    <a:cxn ang="0">
                      <a:pos x="33" y="128"/>
                    </a:cxn>
                    <a:cxn ang="0">
                      <a:pos x="160" y="56"/>
                    </a:cxn>
                    <a:cxn ang="0">
                      <a:pos x="90" y="68"/>
                    </a:cxn>
                    <a:cxn ang="0">
                      <a:pos x="109" y="0"/>
                    </a:cxn>
                  </a:cxnLst>
                  <a:rect l="0" t="0" r="r" b="b"/>
                  <a:pathLst>
                    <a:path w="160" h="141">
                      <a:moveTo>
                        <a:pt x="80" y="23"/>
                      </a:moveTo>
                      <a:cubicBezTo>
                        <a:pt x="99" y="58"/>
                        <a:pt x="0" y="109"/>
                        <a:pt x="33" y="128"/>
                      </a:cubicBezTo>
                      <a:cubicBezTo>
                        <a:pt x="56" y="141"/>
                        <a:pt x="134" y="64"/>
                        <a:pt x="160" y="56"/>
                      </a:cubicBezTo>
                      <a:cubicBezTo>
                        <a:pt x="132" y="49"/>
                        <a:pt x="112" y="87"/>
                        <a:pt x="90" y="68"/>
                      </a:cubicBezTo>
                      <a:cubicBezTo>
                        <a:pt x="66" y="46"/>
                        <a:pt x="92" y="13"/>
                        <a:pt x="109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4" name="Freeform 460"/>
                <p:cNvSpPr>
                  <a:spLocks/>
                </p:cNvSpPr>
                <p:nvPr/>
              </p:nvSpPr>
              <p:spPr bwMode="gray">
                <a:xfrm>
                  <a:off x="16821150" y="-13168312"/>
                  <a:ext cx="544513" cy="776288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0" y="199"/>
                    </a:cxn>
                    <a:cxn ang="0">
                      <a:pos x="62" y="7"/>
                    </a:cxn>
                  </a:cxnLst>
                  <a:rect l="0" t="0" r="r" b="b"/>
                  <a:pathLst>
                    <a:path w="145" h="207">
                      <a:moveTo>
                        <a:pt x="62" y="0"/>
                      </a:moveTo>
                      <a:cubicBezTo>
                        <a:pt x="99" y="40"/>
                        <a:pt x="26" y="160"/>
                        <a:pt x="0" y="199"/>
                      </a:cubicBezTo>
                      <a:cubicBezTo>
                        <a:pt x="75" y="207"/>
                        <a:pt x="145" y="29"/>
                        <a:pt x="62" y="7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5" name="Freeform 461"/>
                <p:cNvSpPr>
                  <a:spLocks/>
                </p:cNvSpPr>
                <p:nvPr/>
              </p:nvSpPr>
              <p:spPr bwMode="gray">
                <a:xfrm>
                  <a:off x="17124363" y="-15968662"/>
                  <a:ext cx="222250" cy="892175"/>
                </a:xfrm>
                <a:custGeom>
                  <a:avLst/>
                  <a:gdLst/>
                  <a:ahLst/>
                  <a:cxnLst>
                    <a:cxn ang="0">
                      <a:pos x="59" y="39"/>
                    </a:cxn>
                    <a:cxn ang="0">
                      <a:pos x="45" y="238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59" h="238">
                      <a:moveTo>
                        <a:pt x="59" y="39"/>
                      </a:moveTo>
                      <a:cubicBezTo>
                        <a:pt x="26" y="97"/>
                        <a:pt x="49" y="175"/>
                        <a:pt x="45" y="238"/>
                      </a:cubicBezTo>
                      <a:cubicBezTo>
                        <a:pt x="0" y="222"/>
                        <a:pt x="51" y="36"/>
                        <a:pt x="56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6" name="Freeform 462"/>
                <p:cNvSpPr>
                  <a:spLocks/>
                </p:cNvSpPr>
                <p:nvPr/>
              </p:nvSpPr>
              <p:spPr bwMode="gray">
                <a:xfrm>
                  <a:off x="18032413" y="-11866562"/>
                  <a:ext cx="866775" cy="1373188"/>
                </a:xfrm>
                <a:custGeom>
                  <a:avLst/>
                  <a:gdLst/>
                  <a:ahLst/>
                  <a:cxnLst>
                    <a:cxn ang="0">
                      <a:pos x="39" y="283"/>
                    </a:cxn>
                    <a:cxn ang="0">
                      <a:pos x="84" y="296"/>
                    </a:cxn>
                    <a:cxn ang="0">
                      <a:pos x="208" y="215"/>
                    </a:cxn>
                    <a:cxn ang="0">
                      <a:pos x="212" y="0"/>
                    </a:cxn>
                    <a:cxn ang="0">
                      <a:pos x="228" y="156"/>
                    </a:cxn>
                    <a:cxn ang="0">
                      <a:pos x="228" y="244"/>
                    </a:cxn>
                    <a:cxn ang="0">
                      <a:pos x="186" y="300"/>
                    </a:cxn>
                    <a:cxn ang="0">
                      <a:pos x="74" y="333"/>
                    </a:cxn>
                    <a:cxn ang="0">
                      <a:pos x="0" y="245"/>
                    </a:cxn>
                    <a:cxn ang="0">
                      <a:pos x="42" y="289"/>
                    </a:cxn>
                  </a:cxnLst>
                  <a:rect l="0" t="0" r="r" b="b"/>
                  <a:pathLst>
                    <a:path w="231" h="366">
                      <a:moveTo>
                        <a:pt x="39" y="283"/>
                      </a:moveTo>
                      <a:cubicBezTo>
                        <a:pt x="54" y="286"/>
                        <a:pt x="69" y="293"/>
                        <a:pt x="84" y="296"/>
                      </a:cubicBezTo>
                      <a:cubicBezTo>
                        <a:pt x="128" y="362"/>
                        <a:pt x="201" y="258"/>
                        <a:pt x="208" y="215"/>
                      </a:cubicBezTo>
                      <a:cubicBezTo>
                        <a:pt x="220" y="144"/>
                        <a:pt x="222" y="70"/>
                        <a:pt x="212" y="0"/>
                      </a:cubicBezTo>
                      <a:cubicBezTo>
                        <a:pt x="212" y="56"/>
                        <a:pt x="228" y="99"/>
                        <a:pt x="228" y="156"/>
                      </a:cubicBezTo>
                      <a:cubicBezTo>
                        <a:pt x="228" y="184"/>
                        <a:pt x="231" y="215"/>
                        <a:pt x="228" y="244"/>
                      </a:cubicBezTo>
                      <a:cubicBezTo>
                        <a:pt x="225" y="279"/>
                        <a:pt x="213" y="284"/>
                        <a:pt x="186" y="300"/>
                      </a:cubicBezTo>
                      <a:cubicBezTo>
                        <a:pt x="143" y="326"/>
                        <a:pt x="122" y="366"/>
                        <a:pt x="74" y="333"/>
                      </a:cubicBezTo>
                      <a:cubicBezTo>
                        <a:pt x="52" y="317"/>
                        <a:pt x="1" y="270"/>
                        <a:pt x="0" y="245"/>
                      </a:cubicBezTo>
                      <a:cubicBezTo>
                        <a:pt x="11" y="262"/>
                        <a:pt x="34" y="272"/>
                        <a:pt x="42" y="289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7" name="Freeform 463"/>
                <p:cNvSpPr>
                  <a:spLocks/>
                </p:cNvSpPr>
                <p:nvPr/>
              </p:nvSpPr>
              <p:spPr bwMode="gray">
                <a:xfrm>
                  <a:off x="18021300" y="-15319375"/>
                  <a:ext cx="173038" cy="693738"/>
                </a:xfrm>
                <a:custGeom>
                  <a:avLst/>
                  <a:gdLst/>
                  <a:ahLst/>
                  <a:cxnLst>
                    <a:cxn ang="0">
                      <a:pos x="35" y="10"/>
                    </a:cxn>
                    <a:cxn ang="0">
                      <a:pos x="3" y="185"/>
                    </a:cxn>
                    <a:cxn ang="0">
                      <a:pos x="22" y="95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46" h="185">
                      <a:moveTo>
                        <a:pt x="35" y="10"/>
                      </a:moveTo>
                      <a:cubicBezTo>
                        <a:pt x="46" y="74"/>
                        <a:pt x="39" y="134"/>
                        <a:pt x="3" y="185"/>
                      </a:cubicBezTo>
                      <a:cubicBezTo>
                        <a:pt x="0" y="153"/>
                        <a:pt x="21" y="128"/>
                        <a:pt x="22" y="95"/>
                      </a:cubicBezTo>
                      <a:cubicBezTo>
                        <a:pt x="24" y="72"/>
                        <a:pt x="13" y="7"/>
                        <a:pt x="32" y="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8" name="Freeform 464"/>
                <p:cNvSpPr>
                  <a:spLocks/>
                </p:cNvSpPr>
                <p:nvPr/>
              </p:nvSpPr>
              <p:spPr bwMode="gray">
                <a:xfrm>
                  <a:off x="17916525" y="-15784512"/>
                  <a:ext cx="176213" cy="355600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2" y="50"/>
                    </a:cxn>
                    <a:cxn ang="0">
                      <a:pos x="30" y="95"/>
                    </a:cxn>
                    <a:cxn ang="0">
                      <a:pos x="2" y="85"/>
                    </a:cxn>
                    <a:cxn ang="0">
                      <a:pos x="37" y="0"/>
                    </a:cxn>
                  </a:cxnLst>
                  <a:rect l="0" t="0" r="r" b="b"/>
                  <a:pathLst>
                    <a:path w="47" h="95">
                      <a:moveTo>
                        <a:pt x="41" y="0"/>
                      </a:moveTo>
                      <a:cubicBezTo>
                        <a:pt x="42" y="16"/>
                        <a:pt x="47" y="34"/>
                        <a:pt x="42" y="50"/>
                      </a:cubicBezTo>
                      <a:cubicBezTo>
                        <a:pt x="35" y="67"/>
                        <a:pt x="8" y="78"/>
                        <a:pt x="30" y="95"/>
                      </a:cubicBezTo>
                      <a:cubicBezTo>
                        <a:pt x="20" y="93"/>
                        <a:pt x="11" y="89"/>
                        <a:pt x="2" y="85"/>
                      </a:cubicBezTo>
                      <a:cubicBezTo>
                        <a:pt x="0" y="56"/>
                        <a:pt x="43" y="38"/>
                        <a:pt x="37" y="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29" name="Freeform 465"/>
                <p:cNvSpPr>
                  <a:spLocks/>
                </p:cNvSpPr>
                <p:nvPr/>
              </p:nvSpPr>
              <p:spPr bwMode="gray">
                <a:xfrm>
                  <a:off x="18227675" y="-15784512"/>
                  <a:ext cx="296863" cy="393700"/>
                </a:xfrm>
                <a:custGeom>
                  <a:avLst/>
                  <a:gdLst/>
                  <a:ahLst/>
                  <a:cxnLst>
                    <a:cxn ang="0">
                      <a:pos x="59" y="10"/>
                    </a:cxn>
                    <a:cxn ang="0">
                      <a:pos x="52" y="59"/>
                    </a:cxn>
                    <a:cxn ang="0">
                      <a:pos x="0" y="89"/>
                    </a:cxn>
                    <a:cxn ang="0">
                      <a:pos x="58" y="65"/>
                    </a:cxn>
                    <a:cxn ang="0">
                      <a:pos x="59" y="0"/>
                    </a:cxn>
                  </a:cxnLst>
                  <a:rect l="0" t="0" r="r" b="b"/>
                  <a:pathLst>
                    <a:path w="79" h="105">
                      <a:moveTo>
                        <a:pt x="59" y="10"/>
                      </a:moveTo>
                      <a:cubicBezTo>
                        <a:pt x="35" y="18"/>
                        <a:pt x="58" y="43"/>
                        <a:pt x="52" y="59"/>
                      </a:cubicBezTo>
                      <a:cubicBezTo>
                        <a:pt x="45" y="78"/>
                        <a:pt x="20" y="86"/>
                        <a:pt x="0" y="89"/>
                      </a:cubicBezTo>
                      <a:cubicBezTo>
                        <a:pt x="16" y="105"/>
                        <a:pt x="47" y="79"/>
                        <a:pt x="58" y="65"/>
                      </a:cubicBezTo>
                      <a:cubicBezTo>
                        <a:pt x="79" y="39"/>
                        <a:pt x="66" y="28"/>
                        <a:pt x="59" y="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0" name="Freeform 466"/>
                <p:cNvSpPr>
                  <a:spLocks/>
                </p:cNvSpPr>
                <p:nvPr/>
              </p:nvSpPr>
              <p:spPr bwMode="gray">
                <a:xfrm>
                  <a:off x="17440275" y="-16419512"/>
                  <a:ext cx="255588" cy="904875"/>
                </a:xfrm>
                <a:custGeom>
                  <a:avLst/>
                  <a:gdLst/>
                  <a:ahLst/>
                  <a:cxnLst>
                    <a:cxn ang="0">
                      <a:pos x="33" y="6"/>
                    </a:cxn>
                    <a:cxn ang="0">
                      <a:pos x="25" y="74"/>
                    </a:cxn>
                    <a:cxn ang="0">
                      <a:pos x="27" y="133"/>
                    </a:cxn>
                    <a:cxn ang="0">
                      <a:pos x="50" y="182"/>
                    </a:cxn>
                    <a:cxn ang="0">
                      <a:pos x="68" y="241"/>
                    </a:cxn>
                    <a:cxn ang="0">
                      <a:pos x="14" y="120"/>
                    </a:cxn>
                    <a:cxn ang="0">
                      <a:pos x="11" y="53"/>
                    </a:cxn>
                    <a:cxn ang="0">
                      <a:pos x="42" y="0"/>
                    </a:cxn>
                  </a:cxnLst>
                  <a:rect l="0" t="0" r="r" b="b"/>
                  <a:pathLst>
                    <a:path w="68" h="241">
                      <a:moveTo>
                        <a:pt x="33" y="6"/>
                      </a:moveTo>
                      <a:cubicBezTo>
                        <a:pt x="32" y="36"/>
                        <a:pt x="32" y="50"/>
                        <a:pt x="25" y="74"/>
                      </a:cubicBezTo>
                      <a:cubicBezTo>
                        <a:pt x="20" y="94"/>
                        <a:pt x="17" y="112"/>
                        <a:pt x="27" y="133"/>
                      </a:cubicBezTo>
                      <a:cubicBezTo>
                        <a:pt x="36" y="151"/>
                        <a:pt x="45" y="158"/>
                        <a:pt x="50" y="182"/>
                      </a:cubicBezTo>
                      <a:cubicBezTo>
                        <a:pt x="54" y="201"/>
                        <a:pt x="57" y="226"/>
                        <a:pt x="68" y="241"/>
                      </a:cubicBezTo>
                      <a:cubicBezTo>
                        <a:pt x="43" y="205"/>
                        <a:pt x="33" y="160"/>
                        <a:pt x="14" y="120"/>
                      </a:cubicBezTo>
                      <a:cubicBezTo>
                        <a:pt x="0" y="90"/>
                        <a:pt x="1" y="83"/>
                        <a:pt x="11" y="53"/>
                      </a:cubicBezTo>
                      <a:cubicBezTo>
                        <a:pt x="17" y="35"/>
                        <a:pt x="20" y="2"/>
                        <a:pt x="42" y="0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1" name="Freeform 467"/>
                <p:cNvSpPr>
                  <a:spLocks/>
                </p:cNvSpPr>
                <p:nvPr/>
              </p:nvSpPr>
              <p:spPr bwMode="gray">
                <a:xfrm>
                  <a:off x="18789650" y="-16706850"/>
                  <a:ext cx="390525" cy="509588"/>
                </a:xfrm>
                <a:custGeom>
                  <a:avLst/>
                  <a:gdLst/>
                  <a:ahLst/>
                  <a:cxnLst>
                    <a:cxn ang="0">
                      <a:pos x="7" y="83"/>
                    </a:cxn>
                    <a:cxn ang="0">
                      <a:pos x="56" y="31"/>
                    </a:cxn>
                    <a:cxn ang="0">
                      <a:pos x="98" y="136"/>
                    </a:cxn>
                    <a:cxn ang="0">
                      <a:pos x="42" y="0"/>
                    </a:cxn>
                    <a:cxn ang="0">
                      <a:pos x="0" y="80"/>
                    </a:cxn>
                  </a:cxnLst>
                  <a:rect l="0" t="0" r="r" b="b"/>
                  <a:pathLst>
                    <a:path w="104" h="136">
                      <a:moveTo>
                        <a:pt x="7" y="83"/>
                      </a:moveTo>
                      <a:cubicBezTo>
                        <a:pt x="40" y="86"/>
                        <a:pt x="38" y="46"/>
                        <a:pt x="56" y="31"/>
                      </a:cubicBezTo>
                      <a:cubicBezTo>
                        <a:pt x="77" y="53"/>
                        <a:pt x="104" y="105"/>
                        <a:pt x="98" y="136"/>
                      </a:cubicBezTo>
                      <a:cubicBezTo>
                        <a:pt x="98" y="87"/>
                        <a:pt x="97" y="20"/>
                        <a:pt x="42" y="0"/>
                      </a:cubicBezTo>
                      <a:cubicBezTo>
                        <a:pt x="28" y="23"/>
                        <a:pt x="29" y="70"/>
                        <a:pt x="0" y="80"/>
                      </a:cubicBezTo>
                    </a:path>
                  </a:pathLst>
                </a:custGeom>
                <a:solidFill>
                  <a:srgbClr val="A0C1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2" name="Freeform 468"/>
                <p:cNvSpPr>
                  <a:spLocks/>
                </p:cNvSpPr>
                <p:nvPr/>
              </p:nvSpPr>
              <p:spPr bwMode="gray">
                <a:xfrm>
                  <a:off x="20358100" y="-9664700"/>
                  <a:ext cx="465138" cy="917575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39" y="71"/>
                    </a:cxn>
                    <a:cxn ang="0">
                      <a:pos x="77" y="121"/>
                    </a:cxn>
                    <a:cxn ang="0">
                      <a:pos x="0" y="221"/>
                    </a:cxn>
                    <a:cxn ang="0">
                      <a:pos x="0" y="234"/>
                    </a:cxn>
                    <a:cxn ang="0">
                      <a:pos x="120" y="111"/>
                    </a:cxn>
                    <a:cxn ang="0">
                      <a:pos x="16" y="9"/>
                    </a:cxn>
                  </a:cxnLst>
                  <a:rect l="0" t="0" r="r" b="b"/>
                  <a:pathLst>
                    <a:path w="124" h="245">
                      <a:moveTo>
                        <a:pt x="0" y="19"/>
                      </a:moveTo>
                      <a:cubicBezTo>
                        <a:pt x="19" y="33"/>
                        <a:pt x="28" y="52"/>
                        <a:pt x="39" y="71"/>
                      </a:cubicBezTo>
                      <a:cubicBezTo>
                        <a:pt x="48" y="88"/>
                        <a:pt x="67" y="103"/>
                        <a:pt x="77" y="121"/>
                      </a:cubicBezTo>
                      <a:cubicBezTo>
                        <a:pt x="102" y="165"/>
                        <a:pt x="43" y="222"/>
                        <a:pt x="0" y="221"/>
                      </a:cubicBezTo>
                      <a:cubicBezTo>
                        <a:pt x="0" y="226"/>
                        <a:pt x="0" y="229"/>
                        <a:pt x="0" y="234"/>
                      </a:cubicBezTo>
                      <a:cubicBezTo>
                        <a:pt x="73" y="245"/>
                        <a:pt x="124" y="177"/>
                        <a:pt x="120" y="111"/>
                      </a:cubicBezTo>
                      <a:cubicBezTo>
                        <a:pt x="77" y="83"/>
                        <a:pt x="85" y="0"/>
                        <a:pt x="16" y="9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3" name="Freeform 469"/>
                <p:cNvSpPr>
                  <a:spLocks/>
                </p:cNvSpPr>
                <p:nvPr/>
              </p:nvSpPr>
              <p:spPr bwMode="gray">
                <a:xfrm>
                  <a:off x="17506950" y="-19470687"/>
                  <a:ext cx="608013" cy="358775"/>
                </a:xfrm>
                <a:custGeom>
                  <a:avLst/>
                  <a:gdLst/>
                  <a:ahLst/>
                  <a:cxnLst>
                    <a:cxn ang="0">
                      <a:pos x="97" y="83"/>
                    </a:cxn>
                    <a:cxn ang="0">
                      <a:pos x="13" y="71"/>
                    </a:cxn>
                    <a:cxn ang="0">
                      <a:pos x="162" y="53"/>
                    </a:cxn>
                    <a:cxn ang="0">
                      <a:pos x="0" y="92"/>
                    </a:cxn>
                    <a:cxn ang="0">
                      <a:pos x="81" y="73"/>
                    </a:cxn>
                  </a:cxnLst>
                  <a:rect l="0" t="0" r="r" b="b"/>
                  <a:pathLst>
                    <a:path w="162" h="96">
                      <a:moveTo>
                        <a:pt x="97" y="83"/>
                      </a:moveTo>
                      <a:cubicBezTo>
                        <a:pt x="70" y="78"/>
                        <a:pt x="39" y="75"/>
                        <a:pt x="13" y="71"/>
                      </a:cubicBezTo>
                      <a:cubicBezTo>
                        <a:pt x="62" y="52"/>
                        <a:pt x="108" y="56"/>
                        <a:pt x="162" y="53"/>
                      </a:cubicBezTo>
                      <a:cubicBezTo>
                        <a:pt x="130" y="0"/>
                        <a:pt x="15" y="40"/>
                        <a:pt x="0" y="92"/>
                      </a:cubicBezTo>
                      <a:cubicBezTo>
                        <a:pt x="28" y="96"/>
                        <a:pt x="54" y="66"/>
                        <a:pt x="81" y="73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4" name="Freeform 470"/>
                <p:cNvSpPr>
                  <a:spLocks/>
                </p:cNvSpPr>
                <p:nvPr/>
              </p:nvSpPr>
              <p:spPr bwMode="gray">
                <a:xfrm>
                  <a:off x="17506950" y="-19470687"/>
                  <a:ext cx="608013" cy="358775"/>
                </a:xfrm>
                <a:custGeom>
                  <a:avLst/>
                  <a:gdLst/>
                  <a:ahLst/>
                  <a:cxnLst>
                    <a:cxn ang="0">
                      <a:pos x="97" y="83"/>
                    </a:cxn>
                    <a:cxn ang="0">
                      <a:pos x="13" y="71"/>
                    </a:cxn>
                    <a:cxn ang="0">
                      <a:pos x="162" y="53"/>
                    </a:cxn>
                    <a:cxn ang="0">
                      <a:pos x="0" y="92"/>
                    </a:cxn>
                    <a:cxn ang="0">
                      <a:pos x="81" y="73"/>
                    </a:cxn>
                  </a:cxnLst>
                  <a:rect l="0" t="0" r="r" b="b"/>
                  <a:pathLst>
                    <a:path w="162" h="96">
                      <a:moveTo>
                        <a:pt x="97" y="83"/>
                      </a:moveTo>
                      <a:cubicBezTo>
                        <a:pt x="70" y="78"/>
                        <a:pt x="39" y="75"/>
                        <a:pt x="13" y="71"/>
                      </a:cubicBezTo>
                      <a:cubicBezTo>
                        <a:pt x="62" y="52"/>
                        <a:pt x="108" y="56"/>
                        <a:pt x="162" y="53"/>
                      </a:cubicBezTo>
                      <a:cubicBezTo>
                        <a:pt x="130" y="0"/>
                        <a:pt x="15" y="40"/>
                        <a:pt x="0" y="92"/>
                      </a:cubicBezTo>
                      <a:cubicBezTo>
                        <a:pt x="28" y="96"/>
                        <a:pt x="54" y="66"/>
                        <a:pt x="81" y="73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5" name="Freeform 471"/>
                <p:cNvSpPr>
                  <a:spLocks/>
                </p:cNvSpPr>
                <p:nvPr/>
              </p:nvSpPr>
              <p:spPr bwMode="gray">
                <a:xfrm>
                  <a:off x="16983075" y="-18999200"/>
                  <a:ext cx="471488" cy="874713"/>
                </a:xfrm>
                <a:custGeom>
                  <a:avLst/>
                  <a:gdLst/>
                  <a:ahLst/>
                  <a:cxnLst>
                    <a:cxn ang="0">
                      <a:pos x="32" y="163"/>
                    </a:cxn>
                    <a:cxn ang="0">
                      <a:pos x="77" y="59"/>
                    </a:cxn>
                    <a:cxn ang="0">
                      <a:pos x="68" y="101"/>
                    </a:cxn>
                    <a:cxn ang="0">
                      <a:pos x="126" y="6"/>
                    </a:cxn>
                    <a:cxn ang="0">
                      <a:pos x="28" y="94"/>
                    </a:cxn>
                    <a:cxn ang="0">
                      <a:pos x="22" y="172"/>
                    </a:cxn>
                    <a:cxn ang="0">
                      <a:pos x="0" y="233"/>
                    </a:cxn>
                    <a:cxn ang="0">
                      <a:pos x="32" y="149"/>
                    </a:cxn>
                  </a:cxnLst>
                  <a:rect l="0" t="0" r="r" b="b"/>
                  <a:pathLst>
                    <a:path w="126" h="233">
                      <a:moveTo>
                        <a:pt x="32" y="163"/>
                      </a:moveTo>
                      <a:cubicBezTo>
                        <a:pt x="36" y="122"/>
                        <a:pt x="51" y="88"/>
                        <a:pt x="77" y="59"/>
                      </a:cubicBezTo>
                      <a:cubicBezTo>
                        <a:pt x="72" y="72"/>
                        <a:pt x="61" y="88"/>
                        <a:pt x="68" y="101"/>
                      </a:cubicBezTo>
                      <a:cubicBezTo>
                        <a:pt x="85" y="68"/>
                        <a:pt x="107" y="39"/>
                        <a:pt x="126" y="6"/>
                      </a:cubicBezTo>
                      <a:cubicBezTo>
                        <a:pt x="85" y="0"/>
                        <a:pt x="40" y="59"/>
                        <a:pt x="28" y="94"/>
                      </a:cubicBezTo>
                      <a:cubicBezTo>
                        <a:pt x="21" y="118"/>
                        <a:pt x="28" y="147"/>
                        <a:pt x="22" y="172"/>
                      </a:cubicBezTo>
                      <a:cubicBezTo>
                        <a:pt x="17" y="192"/>
                        <a:pt x="8" y="214"/>
                        <a:pt x="0" y="233"/>
                      </a:cubicBezTo>
                      <a:cubicBezTo>
                        <a:pt x="32" y="213"/>
                        <a:pt x="21" y="179"/>
                        <a:pt x="32" y="149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6" name="Freeform 472"/>
                <p:cNvSpPr>
                  <a:spLocks/>
                </p:cNvSpPr>
                <p:nvPr/>
              </p:nvSpPr>
              <p:spPr bwMode="gray">
                <a:xfrm>
                  <a:off x="16983075" y="-18999200"/>
                  <a:ext cx="471488" cy="874713"/>
                </a:xfrm>
                <a:custGeom>
                  <a:avLst/>
                  <a:gdLst/>
                  <a:ahLst/>
                  <a:cxnLst>
                    <a:cxn ang="0">
                      <a:pos x="32" y="163"/>
                    </a:cxn>
                    <a:cxn ang="0">
                      <a:pos x="77" y="59"/>
                    </a:cxn>
                    <a:cxn ang="0">
                      <a:pos x="68" y="101"/>
                    </a:cxn>
                    <a:cxn ang="0">
                      <a:pos x="126" y="6"/>
                    </a:cxn>
                    <a:cxn ang="0">
                      <a:pos x="28" y="94"/>
                    </a:cxn>
                    <a:cxn ang="0">
                      <a:pos x="22" y="172"/>
                    </a:cxn>
                    <a:cxn ang="0">
                      <a:pos x="0" y="233"/>
                    </a:cxn>
                    <a:cxn ang="0">
                      <a:pos x="32" y="149"/>
                    </a:cxn>
                  </a:cxnLst>
                  <a:rect l="0" t="0" r="r" b="b"/>
                  <a:pathLst>
                    <a:path w="126" h="233">
                      <a:moveTo>
                        <a:pt x="32" y="163"/>
                      </a:moveTo>
                      <a:cubicBezTo>
                        <a:pt x="36" y="122"/>
                        <a:pt x="51" y="88"/>
                        <a:pt x="77" y="59"/>
                      </a:cubicBezTo>
                      <a:cubicBezTo>
                        <a:pt x="72" y="72"/>
                        <a:pt x="61" y="88"/>
                        <a:pt x="68" y="101"/>
                      </a:cubicBezTo>
                      <a:cubicBezTo>
                        <a:pt x="85" y="68"/>
                        <a:pt x="107" y="39"/>
                        <a:pt x="126" y="6"/>
                      </a:cubicBezTo>
                      <a:cubicBezTo>
                        <a:pt x="85" y="0"/>
                        <a:pt x="40" y="59"/>
                        <a:pt x="28" y="94"/>
                      </a:cubicBezTo>
                      <a:cubicBezTo>
                        <a:pt x="21" y="118"/>
                        <a:pt x="28" y="147"/>
                        <a:pt x="22" y="172"/>
                      </a:cubicBezTo>
                      <a:cubicBezTo>
                        <a:pt x="17" y="192"/>
                        <a:pt x="8" y="214"/>
                        <a:pt x="0" y="233"/>
                      </a:cubicBezTo>
                      <a:cubicBezTo>
                        <a:pt x="32" y="213"/>
                        <a:pt x="21" y="179"/>
                        <a:pt x="32" y="149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7" name="Freeform 473"/>
                <p:cNvSpPr>
                  <a:spLocks/>
                </p:cNvSpPr>
                <p:nvPr/>
              </p:nvSpPr>
              <p:spPr bwMode="gray">
                <a:xfrm>
                  <a:off x="18665825" y="-19018250"/>
                  <a:ext cx="368300" cy="649288"/>
                </a:xfrm>
                <a:custGeom>
                  <a:avLst/>
                  <a:gdLst/>
                  <a:ahLst/>
                  <a:cxnLst>
                    <a:cxn ang="0">
                      <a:pos x="10" y="17"/>
                    </a:cxn>
                    <a:cxn ang="0">
                      <a:pos x="56" y="131"/>
                    </a:cxn>
                    <a:cxn ang="0">
                      <a:pos x="63" y="86"/>
                    </a:cxn>
                    <a:cxn ang="0">
                      <a:pos x="88" y="173"/>
                    </a:cxn>
                    <a:cxn ang="0">
                      <a:pos x="75" y="54"/>
                    </a:cxn>
                    <a:cxn ang="0">
                      <a:pos x="17" y="2"/>
                    </a:cxn>
                    <a:cxn ang="0">
                      <a:pos x="0" y="21"/>
                    </a:cxn>
                  </a:cxnLst>
                  <a:rect l="0" t="0" r="r" b="b"/>
                  <a:pathLst>
                    <a:path w="98" h="173">
                      <a:moveTo>
                        <a:pt x="10" y="17"/>
                      </a:moveTo>
                      <a:cubicBezTo>
                        <a:pt x="44" y="36"/>
                        <a:pt x="57" y="90"/>
                        <a:pt x="56" y="131"/>
                      </a:cubicBezTo>
                      <a:cubicBezTo>
                        <a:pt x="58" y="116"/>
                        <a:pt x="66" y="103"/>
                        <a:pt x="63" y="86"/>
                      </a:cubicBezTo>
                      <a:cubicBezTo>
                        <a:pt x="79" y="107"/>
                        <a:pt x="88" y="146"/>
                        <a:pt x="88" y="173"/>
                      </a:cubicBezTo>
                      <a:cubicBezTo>
                        <a:pt x="86" y="129"/>
                        <a:pt x="98" y="93"/>
                        <a:pt x="75" y="54"/>
                      </a:cubicBezTo>
                      <a:cubicBezTo>
                        <a:pt x="63" y="36"/>
                        <a:pt x="40" y="0"/>
                        <a:pt x="17" y="2"/>
                      </a:cubicBezTo>
                      <a:cubicBezTo>
                        <a:pt x="15" y="13"/>
                        <a:pt x="8" y="15"/>
                        <a:pt x="0" y="21"/>
                      </a:cubicBezTo>
                    </a:path>
                  </a:pathLst>
                </a:custGeom>
                <a:solidFill>
                  <a:srgbClr val="736357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8" name="Freeform 474"/>
                <p:cNvSpPr>
                  <a:spLocks/>
                </p:cNvSpPr>
                <p:nvPr/>
              </p:nvSpPr>
              <p:spPr bwMode="gray">
                <a:xfrm>
                  <a:off x="18665825" y="-19018250"/>
                  <a:ext cx="368300" cy="649288"/>
                </a:xfrm>
                <a:custGeom>
                  <a:avLst/>
                  <a:gdLst/>
                  <a:ahLst/>
                  <a:cxnLst>
                    <a:cxn ang="0">
                      <a:pos x="10" y="17"/>
                    </a:cxn>
                    <a:cxn ang="0">
                      <a:pos x="56" y="131"/>
                    </a:cxn>
                    <a:cxn ang="0">
                      <a:pos x="63" y="86"/>
                    </a:cxn>
                    <a:cxn ang="0">
                      <a:pos x="88" y="173"/>
                    </a:cxn>
                    <a:cxn ang="0">
                      <a:pos x="75" y="54"/>
                    </a:cxn>
                    <a:cxn ang="0">
                      <a:pos x="17" y="2"/>
                    </a:cxn>
                    <a:cxn ang="0">
                      <a:pos x="0" y="21"/>
                    </a:cxn>
                  </a:cxnLst>
                  <a:rect l="0" t="0" r="r" b="b"/>
                  <a:pathLst>
                    <a:path w="98" h="173">
                      <a:moveTo>
                        <a:pt x="10" y="17"/>
                      </a:moveTo>
                      <a:cubicBezTo>
                        <a:pt x="44" y="36"/>
                        <a:pt x="57" y="90"/>
                        <a:pt x="56" y="131"/>
                      </a:cubicBezTo>
                      <a:cubicBezTo>
                        <a:pt x="58" y="116"/>
                        <a:pt x="66" y="103"/>
                        <a:pt x="63" y="86"/>
                      </a:cubicBezTo>
                      <a:cubicBezTo>
                        <a:pt x="79" y="107"/>
                        <a:pt x="88" y="146"/>
                        <a:pt x="88" y="173"/>
                      </a:cubicBezTo>
                      <a:cubicBezTo>
                        <a:pt x="86" y="129"/>
                        <a:pt x="98" y="93"/>
                        <a:pt x="75" y="54"/>
                      </a:cubicBezTo>
                      <a:cubicBezTo>
                        <a:pt x="63" y="36"/>
                        <a:pt x="40" y="0"/>
                        <a:pt x="17" y="2"/>
                      </a:cubicBezTo>
                      <a:cubicBezTo>
                        <a:pt x="15" y="13"/>
                        <a:pt x="8" y="15"/>
                        <a:pt x="0" y="21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39" name="Freeform 475"/>
                <p:cNvSpPr>
                  <a:spLocks/>
                </p:cNvSpPr>
                <p:nvPr/>
              </p:nvSpPr>
              <p:spPr bwMode="gray">
                <a:xfrm>
                  <a:off x="18208625" y="-12992100"/>
                  <a:ext cx="585788" cy="1665288"/>
                </a:xfrm>
                <a:custGeom>
                  <a:avLst/>
                  <a:gdLst/>
                  <a:ahLst/>
                  <a:cxnLst>
                    <a:cxn ang="0">
                      <a:pos x="125" y="272"/>
                    </a:cxn>
                    <a:cxn ang="0">
                      <a:pos x="39" y="423"/>
                    </a:cxn>
                    <a:cxn ang="0">
                      <a:pos x="49" y="415"/>
                    </a:cxn>
                    <a:cxn ang="0">
                      <a:pos x="8" y="444"/>
                    </a:cxn>
                    <a:cxn ang="0">
                      <a:pos x="43" y="384"/>
                    </a:cxn>
                    <a:cxn ang="0">
                      <a:pos x="86" y="251"/>
                    </a:cxn>
                    <a:cxn ang="0">
                      <a:pos x="113" y="158"/>
                    </a:cxn>
                    <a:cxn ang="0">
                      <a:pos x="126" y="64"/>
                    </a:cxn>
                    <a:cxn ang="0">
                      <a:pos x="138" y="0"/>
                    </a:cxn>
                    <a:cxn ang="0">
                      <a:pos x="125" y="272"/>
                    </a:cxn>
                  </a:cxnLst>
                  <a:rect l="0" t="0" r="r" b="b"/>
                  <a:pathLst>
                    <a:path w="156" h="444">
                      <a:moveTo>
                        <a:pt x="125" y="272"/>
                      </a:moveTo>
                      <a:cubicBezTo>
                        <a:pt x="108" y="320"/>
                        <a:pt x="77" y="388"/>
                        <a:pt x="39" y="423"/>
                      </a:cubicBezTo>
                      <a:cubicBezTo>
                        <a:pt x="43" y="419"/>
                        <a:pt x="47" y="417"/>
                        <a:pt x="49" y="415"/>
                      </a:cubicBezTo>
                      <a:cubicBezTo>
                        <a:pt x="42" y="431"/>
                        <a:pt x="24" y="442"/>
                        <a:pt x="8" y="444"/>
                      </a:cubicBezTo>
                      <a:cubicBezTo>
                        <a:pt x="0" y="412"/>
                        <a:pt x="25" y="402"/>
                        <a:pt x="43" y="384"/>
                      </a:cubicBezTo>
                      <a:cubicBezTo>
                        <a:pt x="80" y="348"/>
                        <a:pt x="82" y="304"/>
                        <a:pt x="86" y="251"/>
                      </a:cubicBezTo>
                      <a:cubicBezTo>
                        <a:pt x="89" y="213"/>
                        <a:pt x="102" y="192"/>
                        <a:pt x="113" y="158"/>
                      </a:cubicBezTo>
                      <a:cubicBezTo>
                        <a:pt x="124" y="128"/>
                        <a:pt x="119" y="95"/>
                        <a:pt x="126" y="64"/>
                      </a:cubicBezTo>
                      <a:cubicBezTo>
                        <a:pt x="130" y="42"/>
                        <a:pt x="139" y="24"/>
                        <a:pt x="138" y="0"/>
                      </a:cubicBezTo>
                      <a:cubicBezTo>
                        <a:pt x="138" y="88"/>
                        <a:pt x="156" y="187"/>
                        <a:pt x="125" y="272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0" name="Freeform 476"/>
                <p:cNvSpPr>
                  <a:spLocks/>
                </p:cNvSpPr>
                <p:nvPr/>
              </p:nvSpPr>
              <p:spPr bwMode="gray">
                <a:xfrm>
                  <a:off x="17159288" y="215900"/>
                  <a:ext cx="569913" cy="592138"/>
                </a:xfrm>
                <a:custGeom>
                  <a:avLst/>
                  <a:gdLst/>
                  <a:ahLst/>
                  <a:cxnLst>
                    <a:cxn ang="0">
                      <a:pos x="63" y="10"/>
                    </a:cxn>
                    <a:cxn ang="0">
                      <a:pos x="121" y="10"/>
                    </a:cxn>
                    <a:cxn ang="0">
                      <a:pos x="121" y="25"/>
                    </a:cxn>
                    <a:cxn ang="0">
                      <a:pos x="47" y="51"/>
                    </a:cxn>
                    <a:cxn ang="0">
                      <a:pos x="111" y="92"/>
                    </a:cxn>
                    <a:cxn ang="0">
                      <a:pos x="8" y="92"/>
                    </a:cxn>
                    <a:cxn ang="0">
                      <a:pos x="44" y="81"/>
                    </a:cxn>
                    <a:cxn ang="0">
                      <a:pos x="15" y="71"/>
                    </a:cxn>
                    <a:cxn ang="0">
                      <a:pos x="15" y="53"/>
                    </a:cxn>
                    <a:cxn ang="0">
                      <a:pos x="28" y="29"/>
                    </a:cxn>
                    <a:cxn ang="0">
                      <a:pos x="59" y="0"/>
                    </a:cxn>
                    <a:cxn ang="0">
                      <a:pos x="63" y="13"/>
                    </a:cxn>
                  </a:cxnLst>
                  <a:rect l="0" t="0" r="r" b="b"/>
                  <a:pathLst>
                    <a:path w="152" h="158">
                      <a:moveTo>
                        <a:pt x="63" y="10"/>
                      </a:moveTo>
                      <a:cubicBezTo>
                        <a:pt x="83" y="10"/>
                        <a:pt x="102" y="9"/>
                        <a:pt x="121" y="10"/>
                      </a:cubicBezTo>
                      <a:cubicBezTo>
                        <a:pt x="123" y="15"/>
                        <a:pt x="122" y="21"/>
                        <a:pt x="121" y="25"/>
                      </a:cubicBezTo>
                      <a:cubicBezTo>
                        <a:pt x="102" y="35"/>
                        <a:pt x="47" y="22"/>
                        <a:pt x="47" y="51"/>
                      </a:cubicBezTo>
                      <a:cubicBezTo>
                        <a:pt x="78" y="55"/>
                        <a:pt x="83" y="92"/>
                        <a:pt x="111" y="92"/>
                      </a:cubicBezTo>
                      <a:cubicBezTo>
                        <a:pt x="152" y="133"/>
                        <a:pt x="0" y="158"/>
                        <a:pt x="8" y="92"/>
                      </a:cubicBezTo>
                      <a:cubicBezTo>
                        <a:pt x="22" y="88"/>
                        <a:pt x="34" y="89"/>
                        <a:pt x="44" y="81"/>
                      </a:cubicBezTo>
                      <a:cubicBezTo>
                        <a:pt x="36" y="73"/>
                        <a:pt x="26" y="70"/>
                        <a:pt x="15" y="71"/>
                      </a:cubicBezTo>
                      <a:cubicBezTo>
                        <a:pt x="13" y="66"/>
                        <a:pt x="13" y="58"/>
                        <a:pt x="15" y="53"/>
                      </a:cubicBezTo>
                      <a:cubicBezTo>
                        <a:pt x="50" y="53"/>
                        <a:pt x="25" y="34"/>
                        <a:pt x="28" y="29"/>
                      </a:cubicBezTo>
                      <a:cubicBezTo>
                        <a:pt x="35" y="15"/>
                        <a:pt x="43" y="8"/>
                        <a:pt x="59" y="0"/>
                      </a:cubicBezTo>
                      <a:cubicBezTo>
                        <a:pt x="58" y="6"/>
                        <a:pt x="63" y="11"/>
                        <a:pt x="63" y="13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1" name="Freeform 477"/>
                <p:cNvSpPr>
                  <a:spLocks/>
                </p:cNvSpPr>
                <p:nvPr/>
              </p:nvSpPr>
              <p:spPr bwMode="gray">
                <a:xfrm>
                  <a:off x="21058188" y="136525"/>
                  <a:ext cx="881063" cy="454025"/>
                </a:xfrm>
                <a:custGeom>
                  <a:avLst/>
                  <a:gdLst/>
                  <a:ahLst/>
                  <a:cxnLst>
                    <a:cxn ang="0">
                      <a:pos x="116" y="79"/>
                    </a:cxn>
                    <a:cxn ang="0">
                      <a:pos x="80" y="105"/>
                    </a:cxn>
                    <a:cxn ang="0">
                      <a:pos x="229" y="90"/>
                    </a:cxn>
                    <a:cxn ang="0">
                      <a:pos x="139" y="63"/>
                    </a:cxn>
                    <a:cxn ang="0">
                      <a:pos x="96" y="67"/>
                    </a:cxn>
                    <a:cxn ang="0">
                      <a:pos x="86" y="86"/>
                    </a:cxn>
                  </a:cxnLst>
                  <a:rect l="0" t="0" r="r" b="b"/>
                  <a:pathLst>
                    <a:path w="235" h="121">
                      <a:moveTo>
                        <a:pt x="116" y="79"/>
                      </a:moveTo>
                      <a:cubicBezTo>
                        <a:pt x="104" y="90"/>
                        <a:pt x="86" y="93"/>
                        <a:pt x="80" y="105"/>
                      </a:cubicBezTo>
                      <a:cubicBezTo>
                        <a:pt x="108" y="107"/>
                        <a:pt x="235" y="121"/>
                        <a:pt x="229" y="90"/>
                      </a:cubicBezTo>
                      <a:cubicBezTo>
                        <a:pt x="199" y="83"/>
                        <a:pt x="167" y="74"/>
                        <a:pt x="139" y="63"/>
                      </a:cubicBezTo>
                      <a:cubicBezTo>
                        <a:pt x="153" y="0"/>
                        <a:pt x="0" y="62"/>
                        <a:pt x="96" y="67"/>
                      </a:cubicBezTo>
                      <a:cubicBezTo>
                        <a:pt x="85" y="71"/>
                        <a:pt x="91" y="77"/>
                        <a:pt x="86" y="86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2" name="Freeform 478"/>
                <p:cNvSpPr>
                  <a:spLocks/>
                </p:cNvSpPr>
                <p:nvPr/>
              </p:nvSpPr>
              <p:spPr bwMode="gray">
                <a:xfrm>
                  <a:off x="20664488" y="-144462"/>
                  <a:ext cx="458788" cy="528638"/>
                </a:xfrm>
                <a:custGeom>
                  <a:avLst/>
                  <a:gdLst/>
                  <a:ahLst/>
                  <a:cxnLst>
                    <a:cxn ang="0">
                      <a:pos x="35" y="10"/>
                    </a:cxn>
                    <a:cxn ang="0">
                      <a:pos x="3" y="11"/>
                    </a:cxn>
                    <a:cxn ang="0">
                      <a:pos x="31" y="40"/>
                    </a:cxn>
                    <a:cxn ang="0">
                      <a:pos x="51" y="75"/>
                    </a:cxn>
                    <a:cxn ang="0">
                      <a:pos x="122" y="141"/>
                    </a:cxn>
                    <a:cxn ang="0">
                      <a:pos x="78" y="81"/>
                    </a:cxn>
                    <a:cxn ang="0">
                      <a:pos x="41" y="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22" h="141">
                      <a:moveTo>
                        <a:pt x="35" y="10"/>
                      </a:moveTo>
                      <a:cubicBezTo>
                        <a:pt x="25" y="9"/>
                        <a:pt x="13" y="10"/>
                        <a:pt x="3" y="11"/>
                      </a:cubicBezTo>
                      <a:cubicBezTo>
                        <a:pt x="0" y="29"/>
                        <a:pt x="21" y="31"/>
                        <a:pt x="31" y="40"/>
                      </a:cubicBezTo>
                      <a:cubicBezTo>
                        <a:pt x="42" y="52"/>
                        <a:pt x="45" y="62"/>
                        <a:pt x="51" y="75"/>
                      </a:cubicBezTo>
                      <a:cubicBezTo>
                        <a:pt x="67" y="110"/>
                        <a:pt x="82" y="130"/>
                        <a:pt x="122" y="141"/>
                      </a:cubicBezTo>
                      <a:cubicBezTo>
                        <a:pt x="97" y="125"/>
                        <a:pt x="87" y="105"/>
                        <a:pt x="78" y="81"/>
                      </a:cubicBezTo>
                      <a:cubicBezTo>
                        <a:pt x="67" y="54"/>
                        <a:pt x="48" y="34"/>
                        <a:pt x="41" y="7"/>
                      </a:cubicBezTo>
                      <a:cubicBezTo>
                        <a:pt x="33" y="4"/>
                        <a:pt x="24" y="0"/>
                        <a:pt x="15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10" name="Gruppieren 346"/>
            <p:cNvGrpSpPr/>
            <p:nvPr/>
          </p:nvGrpSpPr>
          <p:grpSpPr bwMode="gray">
            <a:xfrm>
              <a:off x="7614188" y="1689806"/>
              <a:ext cx="963221" cy="1692844"/>
              <a:chOff x="1114177" y="2133283"/>
              <a:chExt cx="1338560" cy="2352499"/>
            </a:xfrm>
          </p:grpSpPr>
          <p:pic>
            <p:nvPicPr>
              <p:cNvPr id="84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1114177" y="3937210"/>
                <a:ext cx="1338560" cy="548572"/>
              </a:xfrm>
              <a:prstGeom prst="rect">
                <a:avLst/>
              </a:prstGeom>
              <a:noFill/>
            </p:spPr>
          </p:pic>
          <p:grpSp>
            <p:nvGrpSpPr>
              <p:cNvPr id="11" name="Gruppieren 115"/>
              <p:cNvGrpSpPr/>
              <p:nvPr/>
            </p:nvGrpSpPr>
            <p:grpSpPr bwMode="gray">
              <a:xfrm>
                <a:off x="1525501" y="2133265"/>
                <a:ext cx="573881" cy="2264904"/>
                <a:chOff x="-12514263" y="5757863"/>
                <a:chExt cx="5384800" cy="21251863"/>
              </a:xfrm>
            </p:grpSpPr>
            <p:sp>
              <p:nvSpPr>
                <p:cNvPr id="846" name="Freeform 205"/>
                <p:cNvSpPr>
                  <a:spLocks/>
                </p:cNvSpPr>
                <p:nvPr/>
              </p:nvSpPr>
              <p:spPr bwMode="gray">
                <a:xfrm>
                  <a:off x="-11737975" y="23155276"/>
                  <a:ext cx="2659063" cy="2005013"/>
                </a:xfrm>
                <a:custGeom>
                  <a:avLst/>
                  <a:gdLst/>
                  <a:ahLst/>
                  <a:cxnLst>
                    <a:cxn ang="0">
                      <a:pos x="290" y="257"/>
                    </a:cxn>
                    <a:cxn ang="0">
                      <a:pos x="277" y="298"/>
                    </a:cxn>
                    <a:cxn ang="0">
                      <a:pos x="0" y="426"/>
                    </a:cxn>
                    <a:cxn ang="0">
                      <a:pos x="604" y="217"/>
                    </a:cxn>
                    <a:cxn ang="0">
                      <a:pos x="534" y="72"/>
                    </a:cxn>
                    <a:cxn ang="0">
                      <a:pos x="300" y="267"/>
                    </a:cxn>
                  </a:cxnLst>
                  <a:rect l="0" t="0" r="r" b="b"/>
                  <a:pathLst>
                    <a:path w="709" h="535">
                      <a:moveTo>
                        <a:pt x="290" y="257"/>
                      </a:moveTo>
                      <a:cubicBezTo>
                        <a:pt x="287" y="272"/>
                        <a:pt x="284" y="284"/>
                        <a:pt x="277" y="298"/>
                      </a:cubicBezTo>
                      <a:cubicBezTo>
                        <a:pt x="216" y="301"/>
                        <a:pt x="45" y="386"/>
                        <a:pt x="0" y="426"/>
                      </a:cubicBezTo>
                      <a:cubicBezTo>
                        <a:pt x="256" y="535"/>
                        <a:pt x="433" y="357"/>
                        <a:pt x="604" y="217"/>
                      </a:cubicBezTo>
                      <a:cubicBezTo>
                        <a:pt x="709" y="131"/>
                        <a:pt x="678" y="0"/>
                        <a:pt x="534" y="72"/>
                      </a:cubicBezTo>
                      <a:cubicBezTo>
                        <a:pt x="444" y="117"/>
                        <a:pt x="385" y="213"/>
                        <a:pt x="300" y="267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7" name="Freeform 206"/>
                <p:cNvSpPr>
                  <a:spLocks/>
                </p:cNvSpPr>
                <p:nvPr/>
              </p:nvSpPr>
              <p:spPr bwMode="gray">
                <a:xfrm>
                  <a:off x="-10729913" y="24560213"/>
                  <a:ext cx="1092200" cy="2449513"/>
                </a:xfrm>
                <a:custGeom>
                  <a:avLst/>
                  <a:gdLst/>
                  <a:ahLst/>
                  <a:cxnLst>
                    <a:cxn ang="0">
                      <a:pos x="104" y="43"/>
                    </a:cxn>
                    <a:cxn ang="0">
                      <a:pos x="7" y="355"/>
                    </a:cxn>
                    <a:cxn ang="0">
                      <a:pos x="179" y="559"/>
                    </a:cxn>
                    <a:cxn ang="0">
                      <a:pos x="276" y="226"/>
                    </a:cxn>
                    <a:cxn ang="0">
                      <a:pos x="241" y="45"/>
                    </a:cxn>
                    <a:cxn ang="0">
                      <a:pos x="93" y="64"/>
                    </a:cxn>
                  </a:cxnLst>
                  <a:rect l="0" t="0" r="r" b="b"/>
                  <a:pathLst>
                    <a:path w="291" h="653">
                      <a:moveTo>
                        <a:pt x="104" y="43"/>
                      </a:moveTo>
                      <a:cubicBezTo>
                        <a:pt x="75" y="149"/>
                        <a:pt x="14" y="245"/>
                        <a:pt x="7" y="355"/>
                      </a:cubicBezTo>
                      <a:cubicBezTo>
                        <a:pt x="0" y="471"/>
                        <a:pt x="45" y="653"/>
                        <a:pt x="179" y="559"/>
                      </a:cubicBezTo>
                      <a:cubicBezTo>
                        <a:pt x="291" y="480"/>
                        <a:pt x="276" y="353"/>
                        <a:pt x="276" y="226"/>
                      </a:cubicBezTo>
                      <a:cubicBezTo>
                        <a:pt x="276" y="170"/>
                        <a:pt x="287" y="86"/>
                        <a:pt x="241" y="45"/>
                      </a:cubicBezTo>
                      <a:cubicBezTo>
                        <a:pt x="200" y="7"/>
                        <a:pt x="103" y="0"/>
                        <a:pt x="93" y="64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8" name="Freeform 208"/>
                <p:cNvSpPr>
                  <a:spLocks/>
                </p:cNvSpPr>
                <p:nvPr/>
              </p:nvSpPr>
              <p:spPr bwMode="gray">
                <a:xfrm>
                  <a:off x="-10890250" y="20656551"/>
                  <a:ext cx="1382713" cy="4429125"/>
                </a:xfrm>
                <a:custGeom>
                  <a:avLst/>
                  <a:gdLst/>
                  <a:ahLst/>
                  <a:cxnLst>
                    <a:cxn ang="0">
                      <a:pos x="107" y="95"/>
                    </a:cxn>
                    <a:cxn ang="0">
                      <a:pos x="150" y="600"/>
                    </a:cxn>
                    <a:cxn ang="0">
                      <a:pos x="104" y="834"/>
                    </a:cxn>
                    <a:cxn ang="0">
                      <a:pos x="10" y="1020"/>
                    </a:cxn>
                    <a:cxn ang="0">
                      <a:pos x="303" y="818"/>
                    </a:cxn>
                    <a:cxn ang="0">
                      <a:pos x="311" y="331"/>
                    </a:cxn>
                    <a:cxn ang="0">
                      <a:pos x="128" y="84"/>
                    </a:cxn>
                  </a:cxnLst>
                  <a:rect l="0" t="0" r="r" b="b"/>
                  <a:pathLst>
                    <a:path w="369" h="1181">
                      <a:moveTo>
                        <a:pt x="107" y="95"/>
                      </a:moveTo>
                      <a:cubicBezTo>
                        <a:pt x="88" y="263"/>
                        <a:pt x="141" y="436"/>
                        <a:pt x="150" y="600"/>
                      </a:cubicBezTo>
                      <a:cubicBezTo>
                        <a:pt x="154" y="691"/>
                        <a:pt x="139" y="756"/>
                        <a:pt x="104" y="834"/>
                      </a:cubicBezTo>
                      <a:cubicBezTo>
                        <a:pt x="88" y="868"/>
                        <a:pt x="0" y="986"/>
                        <a:pt x="10" y="1020"/>
                      </a:cubicBezTo>
                      <a:cubicBezTo>
                        <a:pt x="55" y="1181"/>
                        <a:pt x="284" y="864"/>
                        <a:pt x="303" y="818"/>
                      </a:cubicBezTo>
                      <a:cubicBezTo>
                        <a:pt x="369" y="655"/>
                        <a:pt x="311" y="508"/>
                        <a:pt x="311" y="331"/>
                      </a:cubicBezTo>
                      <a:cubicBezTo>
                        <a:pt x="311" y="185"/>
                        <a:pt x="325" y="0"/>
                        <a:pt x="128" y="8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49" name="Freeform 209"/>
                <p:cNvSpPr>
                  <a:spLocks/>
                </p:cNvSpPr>
                <p:nvPr/>
              </p:nvSpPr>
              <p:spPr bwMode="gray">
                <a:xfrm>
                  <a:off x="-10534650" y="19604038"/>
                  <a:ext cx="1924050" cy="6808788"/>
                </a:xfrm>
                <a:custGeom>
                  <a:avLst/>
                  <a:gdLst/>
                  <a:ahLst/>
                  <a:cxnLst>
                    <a:cxn ang="0">
                      <a:pos x="33" y="107"/>
                    </a:cxn>
                    <a:cxn ang="0">
                      <a:pos x="72" y="128"/>
                    </a:cxn>
                    <a:cxn ang="0">
                      <a:pos x="55" y="527"/>
                    </a:cxn>
                    <a:cxn ang="0">
                      <a:pos x="74" y="927"/>
                    </a:cxn>
                    <a:cxn ang="0">
                      <a:pos x="84" y="1333"/>
                    </a:cxn>
                    <a:cxn ang="0">
                      <a:pos x="13" y="1718"/>
                    </a:cxn>
                    <a:cxn ang="0">
                      <a:pos x="227" y="1419"/>
                    </a:cxn>
                    <a:cxn ang="0">
                      <a:pos x="323" y="913"/>
                    </a:cxn>
                    <a:cxn ang="0">
                      <a:pos x="152" y="10"/>
                    </a:cxn>
                    <a:cxn ang="0">
                      <a:pos x="22" y="107"/>
                    </a:cxn>
                  </a:cxnLst>
                  <a:rect l="0" t="0" r="r" b="b"/>
                  <a:pathLst>
                    <a:path w="513" h="1816">
                      <a:moveTo>
                        <a:pt x="33" y="107"/>
                      </a:moveTo>
                      <a:cubicBezTo>
                        <a:pt x="50" y="111"/>
                        <a:pt x="61" y="111"/>
                        <a:pt x="72" y="128"/>
                      </a:cubicBezTo>
                      <a:cubicBezTo>
                        <a:pt x="2" y="236"/>
                        <a:pt x="61" y="405"/>
                        <a:pt x="55" y="527"/>
                      </a:cubicBezTo>
                      <a:cubicBezTo>
                        <a:pt x="48" y="663"/>
                        <a:pt x="39" y="794"/>
                        <a:pt x="74" y="927"/>
                      </a:cubicBezTo>
                      <a:cubicBezTo>
                        <a:pt x="106" y="1049"/>
                        <a:pt x="115" y="1208"/>
                        <a:pt x="84" y="1333"/>
                      </a:cubicBezTo>
                      <a:cubicBezTo>
                        <a:pt x="53" y="1461"/>
                        <a:pt x="0" y="1580"/>
                        <a:pt x="13" y="1718"/>
                      </a:cubicBezTo>
                      <a:cubicBezTo>
                        <a:pt x="257" y="1816"/>
                        <a:pt x="225" y="1584"/>
                        <a:pt x="227" y="1419"/>
                      </a:cubicBezTo>
                      <a:cubicBezTo>
                        <a:pt x="228" y="1237"/>
                        <a:pt x="298" y="1084"/>
                        <a:pt x="323" y="913"/>
                      </a:cubicBezTo>
                      <a:cubicBezTo>
                        <a:pt x="356" y="690"/>
                        <a:pt x="513" y="59"/>
                        <a:pt x="152" y="10"/>
                      </a:cubicBezTo>
                      <a:cubicBezTo>
                        <a:pt x="82" y="0"/>
                        <a:pt x="13" y="27"/>
                        <a:pt x="22" y="10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0" name="Freeform 210"/>
                <p:cNvSpPr>
                  <a:spLocks/>
                </p:cNvSpPr>
                <p:nvPr/>
              </p:nvSpPr>
              <p:spPr bwMode="gray">
                <a:xfrm>
                  <a:off x="-10474325" y="20915313"/>
                  <a:ext cx="1395413" cy="682625"/>
                </a:xfrm>
                <a:custGeom>
                  <a:avLst/>
                  <a:gdLst/>
                  <a:ahLst/>
                  <a:cxnLst>
                    <a:cxn ang="0">
                      <a:pos x="39" y="182"/>
                    </a:cxn>
                    <a:cxn ang="0">
                      <a:pos x="190" y="115"/>
                    </a:cxn>
                    <a:cxn ang="0">
                      <a:pos x="368" y="76"/>
                    </a:cxn>
                    <a:cxn ang="0">
                      <a:pos x="360" y="6"/>
                    </a:cxn>
                    <a:cxn ang="0">
                      <a:pos x="22" y="174"/>
                    </a:cxn>
                  </a:cxnLst>
                  <a:rect l="0" t="0" r="r" b="b"/>
                  <a:pathLst>
                    <a:path w="372" h="182">
                      <a:moveTo>
                        <a:pt x="39" y="182"/>
                      </a:moveTo>
                      <a:cubicBezTo>
                        <a:pt x="68" y="131"/>
                        <a:pt x="139" y="128"/>
                        <a:pt x="190" y="115"/>
                      </a:cubicBezTo>
                      <a:cubicBezTo>
                        <a:pt x="243" y="102"/>
                        <a:pt x="313" y="78"/>
                        <a:pt x="368" y="76"/>
                      </a:cubicBezTo>
                      <a:cubicBezTo>
                        <a:pt x="372" y="55"/>
                        <a:pt x="368" y="24"/>
                        <a:pt x="360" y="6"/>
                      </a:cubicBezTo>
                      <a:cubicBezTo>
                        <a:pt x="289" y="0"/>
                        <a:pt x="0" y="91"/>
                        <a:pt x="22" y="17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1" name="Freeform 211"/>
                <p:cNvSpPr>
                  <a:spLocks/>
                </p:cNvSpPr>
                <p:nvPr/>
              </p:nvSpPr>
              <p:spPr bwMode="gray">
                <a:xfrm>
                  <a:off x="-11891963" y="14690726"/>
                  <a:ext cx="3630613" cy="6772275"/>
                </a:xfrm>
                <a:custGeom>
                  <a:avLst/>
                  <a:gdLst/>
                  <a:ahLst/>
                  <a:cxnLst>
                    <a:cxn ang="0">
                      <a:pos x="42" y="334"/>
                    </a:cxn>
                    <a:cxn ang="0">
                      <a:pos x="13" y="540"/>
                    </a:cxn>
                    <a:cxn ang="0">
                      <a:pos x="24" y="745"/>
                    </a:cxn>
                    <a:cxn ang="0">
                      <a:pos x="67" y="934"/>
                    </a:cxn>
                    <a:cxn ang="0">
                      <a:pos x="107" y="1131"/>
                    </a:cxn>
                    <a:cxn ang="0">
                      <a:pos x="111" y="1148"/>
                    </a:cxn>
                    <a:cxn ang="0">
                      <a:pos x="175" y="1326"/>
                    </a:cxn>
                    <a:cxn ang="0">
                      <a:pos x="187" y="1544"/>
                    </a:cxn>
                    <a:cxn ang="0">
                      <a:pos x="198" y="1649"/>
                    </a:cxn>
                    <a:cxn ang="0">
                      <a:pos x="264" y="1720"/>
                    </a:cxn>
                    <a:cxn ang="0">
                      <a:pos x="438" y="1780"/>
                    </a:cxn>
                    <a:cxn ang="0">
                      <a:pos x="551" y="1757"/>
                    </a:cxn>
                    <a:cxn ang="0">
                      <a:pos x="670" y="1729"/>
                    </a:cxn>
                    <a:cxn ang="0">
                      <a:pos x="812" y="1652"/>
                    </a:cxn>
                    <a:cxn ang="0">
                      <a:pos x="787" y="1427"/>
                    </a:cxn>
                    <a:cxn ang="0">
                      <a:pos x="821" y="1210"/>
                    </a:cxn>
                    <a:cxn ang="0">
                      <a:pos x="901" y="960"/>
                    </a:cxn>
                    <a:cxn ang="0">
                      <a:pos x="908" y="958"/>
                    </a:cxn>
                    <a:cxn ang="0">
                      <a:pos x="946" y="496"/>
                    </a:cxn>
                    <a:cxn ang="0">
                      <a:pos x="887" y="275"/>
                    </a:cxn>
                    <a:cxn ang="0">
                      <a:pos x="792" y="194"/>
                    </a:cxn>
                    <a:cxn ang="0">
                      <a:pos x="615" y="71"/>
                    </a:cxn>
                    <a:cxn ang="0">
                      <a:pos x="221" y="8"/>
                    </a:cxn>
                    <a:cxn ang="0">
                      <a:pos x="73" y="64"/>
                    </a:cxn>
                    <a:cxn ang="0">
                      <a:pos x="50" y="221"/>
                    </a:cxn>
                    <a:cxn ang="0">
                      <a:pos x="46" y="346"/>
                    </a:cxn>
                  </a:cxnLst>
                  <a:rect l="0" t="0" r="r" b="b"/>
                  <a:pathLst>
                    <a:path w="968" h="1806">
                      <a:moveTo>
                        <a:pt x="42" y="334"/>
                      </a:moveTo>
                      <a:cubicBezTo>
                        <a:pt x="0" y="373"/>
                        <a:pt x="13" y="485"/>
                        <a:pt x="13" y="540"/>
                      </a:cubicBezTo>
                      <a:cubicBezTo>
                        <a:pt x="13" y="610"/>
                        <a:pt x="12" y="679"/>
                        <a:pt x="24" y="745"/>
                      </a:cubicBezTo>
                      <a:cubicBezTo>
                        <a:pt x="37" y="811"/>
                        <a:pt x="42" y="875"/>
                        <a:pt x="67" y="934"/>
                      </a:cubicBezTo>
                      <a:cubicBezTo>
                        <a:pt x="94" y="997"/>
                        <a:pt x="83" y="1069"/>
                        <a:pt x="107" y="1131"/>
                      </a:cubicBezTo>
                      <a:cubicBezTo>
                        <a:pt x="109" y="1137"/>
                        <a:pt x="110" y="1141"/>
                        <a:pt x="111" y="1148"/>
                      </a:cubicBezTo>
                      <a:cubicBezTo>
                        <a:pt x="145" y="1153"/>
                        <a:pt x="172" y="1293"/>
                        <a:pt x="175" y="1326"/>
                      </a:cubicBezTo>
                      <a:cubicBezTo>
                        <a:pt x="181" y="1397"/>
                        <a:pt x="190" y="1472"/>
                        <a:pt x="187" y="1544"/>
                      </a:cubicBezTo>
                      <a:cubicBezTo>
                        <a:pt x="185" y="1580"/>
                        <a:pt x="176" y="1620"/>
                        <a:pt x="198" y="1649"/>
                      </a:cubicBezTo>
                      <a:cubicBezTo>
                        <a:pt x="216" y="1673"/>
                        <a:pt x="244" y="1699"/>
                        <a:pt x="264" y="1720"/>
                      </a:cubicBezTo>
                      <a:cubicBezTo>
                        <a:pt x="316" y="1774"/>
                        <a:pt x="365" y="1806"/>
                        <a:pt x="438" y="1780"/>
                      </a:cubicBezTo>
                      <a:cubicBezTo>
                        <a:pt x="475" y="1767"/>
                        <a:pt x="511" y="1762"/>
                        <a:pt x="551" y="1757"/>
                      </a:cubicBezTo>
                      <a:cubicBezTo>
                        <a:pt x="594" y="1753"/>
                        <a:pt x="630" y="1737"/>
                        <a:pt x="670" y="1729"/>
                      </a:cubicBezTo>
                      <a:cubicBezTo>
                        <a:pt x="734" y="1716"/>
                        <a:pt x="793" y="1731"/>
                        <a:pt x="812" y="1652"/>
                      </a:cubicBezTo>
                      <a:cubicBezTo>
                        <a:pt x="829" y="1577"/>
                        <a:pt x="803" y="1495"/>
                        <a:pt x="787" y="1427"/>
                      </a:cubicBezTo>
                      <a:cubicBezTo>
                        <a:pt x="770" y="1350"/>
                        <a:pt x="788" y="1278"/>
                        <a:pt x="821" y="1210"/>
                      </a:cubicBezTo>
                      <a:cubicBezTo>
                        <a:pt x="858" y="1131"/>
                        <a:pt x="876" y="1045"/>
                        <a:pt x="901" y="960"/>
                      </a:cubicBezTo>
                      <a:cubicBezTo>
                        <a:pt x="903" y="959"/>
                        <a:pt x="905" y="959"/>
                        <a:pt x="908" y="958"/>
                      </a:cubicBezTo>
                      <a:cubicBezTo>
                        <a:pt x="953" y="813"/>
                        <a:pt x="968" y="648"/>
                        <a:pt x="946" y="496"/>
                      </a:cubicBezTo>
                      <a:cubicBezTo>
                        <a:pt x="935" y="423"/>
                        <a:pt x="924" y="342"/>
                        <a:pt x="887" y="275"/>
                      </a:cubicBezTo>
                      <a:cubicBezTo>
                        <a:pt x="868" y="241"/>
                        <a:pt x="824" y="214"/>
                        <a:pt x="792" y="194"/>
                      </a:cubicBezTo>
                      <a:cubicBezTo>
                        <a:pt x="733" y="157"/>
                        <a:pt x="680" y="98"/>
                        <a:pt x="615" y="71"/>
                      </a:cubicBezTo>
                      <a:cubicBezTo>
                        <a:pt x="493" y="20"/>
                        <a:pt x="350" y="18"/>
                        <a:pt x="221" y="8"/>
                      </a:cubicBezTo>
                      <a:cubicBezTo>
                        <a:pt x="159" y="3"/>
                        <a:pt x="96" y="0"/>
                        <a:pt x="73" y="64"/>
                      </a:cubicBezTo>
                      <a:cubicBezTo>
                        <a:pt x="57" y="110"/>
                        <a:pt x="54" y="170"/>
                        <a:pt x="50" y="221"/>
                      </a:cubicBezTo>
                      <a:cubicBezTo>
                        <a:pt x="46" y="260"/>
                        <a:pt x="27" y="311"/>
                        <a:pt x="46" y="346"/>
                      </a:cubicBezTo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2" name="Freeform 212"/>
                <p:cNvSpPr>
                  <a:spLocks/>
                </p:cNvSpPr>
                <p:nvPr/>
              </p:nvSpPr>
              <p:spPr bwMode="gray">
                <a:xfrm>
                  <a:off x="-12514263" y="9583738"/>
                  <a:ext cx="4768850" cy="6877050"/>
                </a:xfrm>
                <a:custGeom>
                  <a:avLst/>
                  <a:gdLst/>
                  <a:ahLst/>
                  <a:cxnLst>
                    <a:cxn ang="0">
                      <a:pos x="284" y="116"/>
                    </a:cxn>
                    <a:cxn ang="0">
                      <a:pos x="119" y="164"/>
                    </a:cxn>
                    <a:cxn ang="0">
                      <a:pos x="19" y="304"/>
                    </a:cxn>
                    <a:cxn ang="0">
                      <a:pos x="15" y="605"/>
                    </a:cxn>
                    <a:cxn ang="0">
                      <a:pos x="11" y="836"/>
                    </a:cxn>
                    <a:cxn ang="0">
                      <a:pos x="34" y="954"/>
                    </a:cxn>
                    <a:cxn ang="0">
                      <a:pos x="49" y="1111"/>
                    </a:cxn>
                    <a:cxn ang="0">
                      <a:pos x="102" y="1211"/>
                    </a:cxn>
                    <a:cxn ang="0">
                      <a:pos x="159" y="1322"/>
                    </a:cxn>
                    <a:cxn ang="0">
                      <a:pos x="140" y="1413"/>
                    </a:cxn>
                    <a:cxn ang="0">
                      <a:pos x="172" y="1411"/>
                    </a:cxn>
                    <a:cxn ang="0">
                      <a:pos x="163" y="1623"/>
                    </a:cxn>
                    <a:cxn ang="0">
                      <a:pos x="163" y="1697"/>
                    </a:cxn>
                    <a:cxn ang="0">
                      <a:pos x="259" y="1725"/>
                    </a:cxn>
                    <a:cxn ang="0">
                      <a:pos x="458" y="1520"/>
                    </a:cxn>
                    <a:cxn ang="0">
                      <a:pos x="611" y="1769"/>
                    </a:cxn>
                    <a:cxn ang="0">
                      <a:pos x="958" y="1761"/>
                    </a:cxn>
                    <a:cxn ang="0">
                      <a:pos x="1130" y="1711"/>
                    </a:cxn>
                    <a:cxn ang="0">
                      <a:pos x="1098" y="1515"/>
                    </a:cxn>
                    <a:cxn ang="0">
                      <a:pos x="1075" y="1401"/>
                    </a:cxn>
                    <a:cxn ang="0">
                      <a:pos x="1031" y="1297"/>
                    </a:cxn>
                    <a:cxn ang="0">
                      <a:pos x="1014" y="1091"/>
                    </a:cxn>
                    <a:cxn ang="0">
                      <a:pos x="1019" y="1052"/>
                    </a:cxn>
                    <a:cxn ang="0">
                      <a:pos x="1041" y="1026"/>
                    </a:cxn>
                    <a:cxn ang="0">
                      <a:pos x="1062" y="857"/>
                    </a:cxn>
                    <a:cxn ang="0">
                      <a:pos x="1094" y="840"/>
                    </a:cxn>
                    <a:cxn ang="0">
                      <a:pos x="1114" y="785"/>
                    </a:cxn>
                    <a:cxn ang="0">
                      <a:pos x="1158" y="692"/>
                    </a:cxn>
                    <a:cxn ang="0">
                      <a:pos x="1252" y="249"/>
                    </a:cxn>
                    <a:cxn ang="0">
                      <a:pos x="973" y="56"/>
                    </a:cxn>
                    <a:cxn ang="0">
                      <a:pos x="507" y="45"/>
                    </a:cxn>
                    <a:cxn ang="0">
                      <a:pos x="276" y="124"/>
                    </a:cxn>
                  </a:cxnLst>
                  <a:rect l="0" t="0" r="r" b="b"/>
                  <a:pathLst>
                    <a:path w="1272" h="1834">
                      <a:moveTo>
                        <a:pt x="284" y="116"/>
                      </a:moveTo>
                      <a:cubicBezTo>
                        <a:pt x="230" y="134"/>
                        <a:pt x="174" y="145"/>
                        <a:pt x="119" y="164"/>
                      </a:cubicBezTo>
                      <a:cubicBezTo>
                        <a:pt x="55" y="185"/>
                        <a:pt x="27" y="234"/>
                        <a:pt x="19" y="304"/>
                      </a:cubicBezTo>
                      <a:cubicBezTo>
                        <a:pt x="7" y="403"/>
                        <a:pt x="27" y="506"/>
                        <a:pt x="15" y="605"/>
                      </a:cubicBezTo>
                      <a:cubicBezTo>
                        <a:pt x="6" y="680"/>
                        <a:pt x="0" y="761"/>
                        <a:pt x="11" y="836"/>
                      </a:cubicBezTo>
                      <a:cubicBezTo>
                        <a:pt x="16" y="875"/>
                        <a:pt x="30" y="914"/>
                        <a:pt x="34" y="954"/>
                      </a:cubicBezTo>
                      <a:cubicBezTo>
                        <a:pt x="39" y="1004"/>
                        <a:pt x="25" y="1066"/>
                        <a:pt x="49" y="1111"/>
                      </a:cubicBezTo>
                      <a:cubicBezTo>
                        <a:pt x="68" y="1147"/>
                        <a:pt x="85" y="1170"/>
                        <a:pt x="102" y="1211"/>
                      </a:cubicBezTo>
                      <a:cubicBezTo>
                        <a:pt x="116" y="1246"/>
                        <a:pt x="122" y="1303"/>
                        <a:pt x="159" y="1322"/>
                      </a:cubicBezTo>
                      <a:cubicBezTo>
                        <a:pt x="166" y="1350"/>
                        <a:pt x="134" y="1377"/>
                        <a:pt x="140" y="1413"/>
                      </a:cubicBezTo>
                      <a:cubicBezTo>
                        <a:pt x="150" y="1411"/>
                        <a:pt x="161" y="1416"/>
                        <a:pt x="172" y="1411"/>
                      </a:cubicBezTo>
                      <a:cubicBezTo>
                        <a:pt x="170" y="1482"/>
                        <a:pt x="175" y="1554"/>
                        <a:pt x="163" y="1623"/>
                      </a:cubicBezTo>
                      <a:cubicBezTo>
                        <a:pt x="158" y="1657"/>
                        <a:pt x="142" y="1682"/>
                        <a:pt x="163" y="1697"/>
                      </a:cubicBezTo>
                      <a:cubicBezTo>
                        <a:pt x="184" y="1711"/>
                        <a:pt x="234" y="1719"/>
                        <a:pt x="259" y="1725"/>
                      </a:cubicBezTo>
                      <a:cubicBezTo>
                        <a:pt x="380" y="1756"/>
                        <a:pt x="441" y="1620"/>
                        <a:pt x="458" y="1520"/>
                      </a:cubicBezTo>
                      <a:cubicBezTo>
                        <a:pt x="497" y="1620"/>
                        <a:pt x="504" y="1720"/>
                        <a:pt x="611" y="1769"/>
                      </a:cubicBezTo>
                      <a:cubicBezTo>
                        <a:pt x="683" y="1803"/>
                        <a:pt x="904" y="1834"/>
                        <a:pt x="958" y="1761"/>
                      </a:cubicBezTo>
                      <a:cubicBezTo>
                        <a:pt x="995" y="1754"/>
                        <a:pt x="1116" y="1737"/>
                        <a:pt x="1130" y="1711"/>
                      </a:cubicBezTo>
                      <a:cubicBezTo>
                        <a:pt x="1156" y="1664"/>
                        <a:pt x="1107" y="1562"/>
                        <a:pt x="1098" y="1515"/>
                      </a:cubicBezTo>
                      <a:cubicBezTo>
                        <a:pt x="1090" y="1476"/>
                        <a:pt x="1086" y="1438"/>
                        <a:pt x="1075" y="1401"/>
                      </a:cubicBezTo>
                      <a:cubicBezTo>
                        <a:pt x="1064" y="1365"/>
                        <a:pt x="1045" y="1333"/>
                        <a:pt x="1031" y="1297"/>
                      </a:cubicBezTo>
                      <a:cubicBezTo>
                        <a:pt x="1005" y="1233"/>
                        <a:pt x="1006" y="1160"/>
                        <a:pt x="1014" y="1091"/>
                      </a:cubicBezTo>
                      <a:cubicBezTo>
                        <a:pt x="1016" y="1077"/>
                        <a:pt x="1017" y="1066"/>
                        <a:pt x="1019" y="1052"/>
                      </a:cubicBezTo>
                      <a:cubicBezTo>
                        <a:pt x="1033" y="1046"/>
                        <a:pt x="1034" y="1039"/>
                        <a:pt x="1041" y="1026"/>
                      </a:cubicBezTo>
                      <a:cubicBezTo>
                        <a:pt x="1007" y="987"/>
                        <a:pt x="1028" y="886"/>
                        <a:pt x="1062" y="857"/>
                      </a:cubicBezTo>
                      <a:cubicBezTo>
                        <a:pt x="1071" y="850"/>
                        <a:pt x="1084" y="851"/>
                        <a:pt x="1094" y="840"/>
                      </a:cubicBezTo>
                      <a:cubicBezTo>
                        <a:pt x="1103" y="830"/>
                        <a:pt x="1108" y="798"/>
                        <a:pt x="1114" y="785"/>
                      </a:cubicBezTo>
                      <a:cubicBezTo>
                        <a:pt x="1128" y="751"/>
                        <a:pt x="1144" y="725"/>
                        <a:pt x="1158" y="692"/>
                      </a:cubicBezTo>
                      <a:cubicBezTo>
                        <a:pt x="1218" y="547"/>
                        <a:pt x="1272" y="410"/>
                        <a:pt x="1252" y="249"/>
                      </a:cubicBezTo>
                      <a:cubicBezTo>
                        <a:pt x="1237" y="131"/>
                        <a:pt x="1073" y="71"/>
                        <a:pt x="973" y="56"/>
                      </a:cubicBezTo>
                      <a:cubicBezTo>
                        <a:pt x="820" y="34"/>
                        <a:pt x="664" y="0"/>
                        <a:pt x="507" y="45"/>
                      </a:cubicBezTo>
                      <a:cubicBezTo>
                        <a:pt x="436" y="65"/>
                        <a:pt x="326" y="68"/>
                        <a:pt x="276" y="124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3" name="Freeform 213"/>
                <p:cNvSpPr>
                  <a:spLocks/>
                </p:cNvSpPr>
                <p:nvPr/>
              </p:nvSpPr>
              <p:spPr bwMode="gray">
                <a:xfrm>
                  <a:off x="-8805863" y="10167938"/>
                  <a:ext cx="1676400" cy="5910263"/>
                </a:xfrm>
                <a:custGeom>
                  <a:avLst/>
                  <a:gdLst/>
                  <a:ahLst/>
                  <a:cxnLst>
                    <a:cxn ang="0">
                      <a:pos x="190" y="4"/>
                    </a:cxn>
                    <a:cxn ang="0">
                      <a:pos x="286" y="141"/>
                    </a:cxn>
                    <a:cxn ang="0">
                      <a:pos x="308" y="225"/>
                    </a:cxn>
                    <a:cxn ang="0">
                      <a:pos x="348" y="290"/>
                    </a:cxn>
                    <a:cxn ang="0">
                      <a:pos x="323" y="322"/>
                    </a:cxn>
                    <a:cxn ang="0">
                      <a:pos x="338" y="364"/>
                    </a:cxn>
                    <a:cxn ang="0">
                      <a:pos x="373" y="438"/>
                    </a:cxn>
                    <a:cxn ang="0">
                      <a:pos x="388" y="605"/>
                    </a:cxn>
                    <a:cxn ang="0">
                      <a:pos x="412" y="681"/>
                    </a:cxn>
                    <a:cxn ang="0">
                      <a:pos x="412" y="782"/>
                    </a:cxn>
                    <a:cxn ang="0">
                      <a:pos x="444" y="959"/>
                    </a:cxn>
                    <a:cxn ang="0">
                      <a:pos x="444" y="1012"/>
                    </a:cxn>
                    <a:cxn ang="0">
                      <a:pos x="421" y="1053"/>
                    </a:cxn>
                    <a:cxn ang="0">
                      <a:pos x="396" y="1145"/>
                    </a:cxn>
                    <a:cxn ang="0">
                      <a:pos x="365" y="1230"/>
                    </a:cxn>
                    <a:cxn ang="0">
                      <a:pos x="328" y="1327"/>
                    </a:cxn>
                    <a:cxn ang="0">
                      <a:pos x="238" y="1434"/>
                    </a:cxn>
                    <a:cxn ang="0">
                      <a:pos x="149" y="1555"/>
                    </a:cxn>
                    <a:cxn ang="0">
                      <a:pos x="98" y="1572"/>
                    </a:cxn>
                    <a:cxn ang="0">
                      <a:pos x="53" y="1504"/>
                    </a:cxn>
                    <a:cxn ang="0">
                      <a:pos x="33" y="1399"/>
                    </a:cxn>
                    <a:cxn ang="0">
                      <a:pos x="98" y="1226"/>
                    </a:cxn>
                    <a:cxn ang="0">
                      <a:pos x="150" y="1068"/>
                    </a:cxn>
                    <a:cxn ang="0">
                      <a:pos x="163" y="968"/>
                    </a:cxn>
                    <a:cxn ang="0">
                      <a:pos x="170" y="927"/>
                    </a:cxn>
                    <a:cxn ang="0">
                      <a:pos x="146" y="895"/>
                    </a:cxn>
                    <a:cxn ang="0">
                      <a:pos x="89" y="730"/>
                    </a:cxn>
                    <a:cxn ang="0">
                      <a:pos x="1" y="560"/>
                    </a:cxn>
                    <a:cxn ang="0">
                      <a:pos x="36" y="449"/>
                    </a:cxn>
                    <a:cxn ang="0">
                      <a:pos x="77" y="288"/>
                    </a:cxn>
                    <a:cxn ang="0">
                      <a:pos x="117" y="55"/>
                    </a:cxn>
                    <a:cxn ang="0">
                      <a:pos x="186" y="0"/>
                    </a:cxn>
                  </a:cxnLst>
                  <a:rect l="0" t="0" r="r" b="b"/>
                  <a:pathLst>
                    <a:path w="447" h="1576">
                      <a:moveTo>
                        <a:pt x="190" y="4"/>
                      </a:moveTo>
                      <a:cubicBezTo>
                        <a:pt x="243" y="37"/>
                        <a:pt x="273" y="80"/>
                        <a:pt x="286" y="141"/>
                      </a:cubicBezTo>
                      <a:cubicBezTo>
                        <a:pt x="295" y="183"/>
                        <a:pt x="280" y="198"/>
                        <a:pt x="308" y="225"/>
                      </a:cubicBezTo>
                      <a:cubicBezTo>
                        <a:pt x="325" y="242"/>
                        <a:pt x="356" y="253"/>
                        <a:pt x="348" y="290"/>
                      </a:cubicBezTo>
                      <a:cubicBezTo>
                        <a:pt x="344" y="306"/>
                        <a:pt x="325" y="309"/>
                        <a:pt x="323" y="322"/>
                      </a:cubicBezTo>
                      <a:cubicBezTo>
                        <a:pt x="320" y="342"/>
                        <a:pt x="332" y="347"/>
                        <a:pt x="338" y="364"/>
                      </a:cubicBezTo>
                      <a:cubicBezTo>
                        <a:pt x="349" y="393"/>
                        <a:pt x="356" y="414"/>
                        <a:pt x="373" y="438"/>
                      </a:cubicBezTo>
                      <a:cubicBezTo>
                        <a:pt x="413" y="497"/>
                        <a:pt x="381" y="536"/>
                        <a:pt x="388" y="605"/>
                      </a:cubicBezTo>
                      <a:cubicBezTo>
                        <a:pt x="391" y="638"/>
                        <a:pt x="408" y="653"/>
                        <a:pt x="412" y="681"/>
                      </a:cubicBezTo>
                      <a:cubicBezTo>
                        <a:pt x="417" y="714"/>
                        <a:pt x="403" y="748"/>
                        <a:pt x="412" y="782"/>
                      </a:cubicBezTo>
                      <a:cubicBezTo>
                        <a:pt x="427" y="838"/>
                        <a:pt x="444" y="898"/>
                        <a:pt x="444" y="959"/>
                      </a:cubicBezTo>
                      <a:cubicBezTo>
                        <a:pt x="444" y="976"/>
                        <a:pt x="447" y="996"/>
                        <a:pt x="444" y="1012"/>
                      </a:cubicBezTo>
                      <a:cubicBezTo>
                        <a:pt x="439" y="1035"/>
                        <a:pt x="431" y="1035"/>
                        <a:pt x="421" y="1053"/>
                      </a:cubicBezTo>
                      <a:cubicBezTo>
                        <a:pt x="404" y="1082"/>
                        <a:pt x="401" y="1111"/>
                        <a:pt x="396" y="1145"/>
                      </a:cubicBezTo>
                      <a:cubicBezTo>
                        <a:pt x="390" y="1181"/>
                        <a:pt x="382" y="1200"/>
                        <a:pt x="365" y="1230"/>
                      </a:cubicBezTo>
                      <a:cubicBezTo>
                        <a:pt x="344" y="1266"/>
                        <a:pt x="341" y="1288"/>
                        <a:pt x="328" y="1327"/>
                      </a:cubicBezTo>
                      <a:cubicBezTo>
                        <a:pt x="312" y="1374"/>
                        <a:pt x="273" y="1403"/>
                        <a:pt x="238" y="1434"/>
                      </a:cubicBezTo>
                      <a:cubicBezTo>
                        <a:pt x="203" y="1465"/>
                        <a:pt x="173" y="1514"/>
                        <a:pt x="149" y="1555"/>
                      </a:cubicBezTo>
                      <a:cubicBezTo>
                        <a:pt x="131" y="1561"/>
                        <a:pt x="119" y="1576"/>
                        <a:pt x="98" y="1572"/>
                      </a:cubicBezTo>
                      <a:cubicBezTo>
                        <a:pt x="95" y="1541"/>
                        <a:pt x="66" y="1528"/>
                        <a:pt x="53" y="1504"/>
                      </a:cubicBezTo>
                      <a:cubicBezTo>
                        <a:pt x="36" y="1472"/>
                        <a:pt x="31" y="1436"/>
                        <a:pt x="33" y="1399"/>
                      </a:cubicBezTo>
                      <a:cubicBezTo>
                        <a:pt x="37" y="1332"/>
                        <a:pt x="75" y="1284"/>
                        <a:pt x="98" y="1226"/>
                      </a:cubicBezTo>
                      <a:cubicBezTo>
                        <a:pt x="118" y="1176"/>
                        <a:pt x="141" y="1118"/>
                        <a:pt x="150" y="1068"/>
                      </a:cubicBezTo>
                      <a:cubicBezTo>
                        <a:pt x="156" y="1034"/>
                        <a:pt x="157" y="999"/>
                        <a:pt x="163" y="968"/>
                      </a:cubicBezTo>
                      <a:cubicBezTo>
                        <a:pt x="166" y="955"/>
                        <a:pt x="174" y="944"/>
                        <a:pt x="170" y="927"/>
                      </a:cubicBezTo>
                      <a:cubicBezTo>
                        <a:pt x="165" y="905"/>
                        <a:pt x="157" y="910"/>
                        <a:pt x="146" y="895"/>
                      </a:cubicBezTo>
                      <a:cubicBezTo>
                        <a:pt x="108" y="841"/>
                        <a:pt x="108" y="790"/>
                        <a:pt x="89" y="730"/>
                      </a:cubicBezTo>
                      <a:cubicBezTo>
                        <a:pt x="70" y="666"/>
                        <a:pt x="2" y="640"/>
                        <a:pt x="1" y="560"/>
                      </a:cubicBezTo>
                      <a:cubicBezTo>
                        <a:pt x="0" y="517"/>
                        <a:pt x="20" y="487"/>
                        <a:pt x="36" y="449"/>
                      </a:cubicBezTo>
                      <a:cubicBezTo>
                        <a:pt x="58" y="398"/>
                        <a:pt x="72" y="345"/>
                        <a:pt x="77" y="288"/>
                      </a:cubicBezTo>
                      <a:cubicBezTo>
                        <a:pt x="85" y="209"/>
                        <a:pt x="60" y="115"/>
                        <a:pt x="117" y="55"/>
                      </a:cubicBezTo>
                      <a:cubicBezTo>
                        <a:pt x="138" y="34"/>
                        <a:pt x="164" y="18"/>
                        <a:pt x="186" y="0"/>
                      </a:cubicBezTo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4" name="Freeform 214"/>
                <p:cNvSpPr>
                  <a:spLocks/>
                </p:cNvSpPr>
                <p:nvPr/>
              </p:nvSpPr>
              <p:spPr bwMode="gray">
                <a:xfrm>
                  <a:off x="-12274550" y="11315701"/>
                  <a:ext cx="1162050" cy="2009775"/>
                </a:xfrm>
                <a:custGeom>
                  <a:avLst/>
                  <a:gdLst/>
                  <a:ahLst/>
                  <a:cxnLst>
                    <a:cxn ang="0">
                      <a:pos x="148" y="0"/>
                    </a:cxn>
                    <a:cxn ang="0">
                      <a:pos x="154" y="269"/>
                    </a:cxn>
                    <a:cxn ang="0">
                      <a:pos x="310" y="452"/>
                    </a:cxn>
                    <a:cxn ang="0">
                      <a:pos x="131" y="0"/>
                    </a:cxn>
                  </a:cxnLst>
                  <a:rect l="0" t="0" r="r" b="b"/>
                  <a:pathLst>
                    <a:path w="310" h="536">
                      <a:moveTo>
                        <a:pt x="148" y="0"/>
                      </a:moveTo>
                      <a:cubicBezTo>
                        <a:pt x="148" y="85"/>
                        <a:pt x="124" y="195"/>
                        <a:pt x="154" y="269"/>
                      </a:cubicBezTo>
                      <a:cubicBezTo>
                        <a:pt x="182" y="338"/>
                        <a:pt x="254" y="405"/>
                        <a:pt x="310" y="452"/>
                      </a:cubicBezTo>
                      <a:cubicBezTo>
                        <a:pt x="222" y="536"/>
                        <a:pt x="0" y="98"/>
                        <a:pt x="131" y="0"/>
                      </a:cubicBezTo>
                    </a:path>
                  </a:pathLst>
                </a:custGeom>
                <a:solidFill>
                  <a:srgbClr val="6666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5" name="Freeform 215"/>
                <p:cNvSpPr>
                  <a:spLocks/>
                </p:cNvSpPr>
                <p:nvPr/>
              </p:nvSpPr>
              <p:spPr bwMode="gray">
                <a:xfrm>
                  <a:off x="-10691813" y="10321926"/>
                  <a:ext cx="1900238" cy="2689225"/>
                </a:xfrm>
                <a:custGeom>
                  <a:avLst/>
                  <a:gdLst/>
                  <a:ahLst/>
                  <a:cxnLst>
                    <a:cxn ang="0">
                      <a:pos x="8" y="701"/>
                    </a:cxn>
                    <a:cxn ang="0">
                      <a:pos x="292" y="372"/>
                    </a:cxn>
                    <a:cxn ang="0">
                      <a:pos x="507" y="0"/>
                    </a:cxn>
                    <a:cxn ang="0">
                      <a:pos x="466" y="56"/>
                    </a:cxn>
                    <a:cxn ang="0">
                      <a:pos x="428" y="121"/>
                    </a:cxn>
                    <a:cxn ang="0">
                      <a:pos x="365" y="251"/>
                    </a:cxn>
                    <a:cxn ang="0">
                      <a:pos x="232" y="514"/>
                    </a:cxn>
                    <a:cxn ang="0">
                      <a:pos x="0" y="717"/>
                    </a:cxn>
                  </a:cxnLst>
                  <a:rect l="0" t="0" r="r" b="b"/>
                  <a:pathLst>
                    <a:path w="507" h="717">
                      <a:moveTo>
                        <a:pt x="8" y="701"/>
                      </a:moveTo>
                      <a:cubicBezTo>
                        <a:pt x="126" y="642"/>
                        <a:pt x="212" y="486"/>
                        <a:pt x="292" y="372"/>
                      </a:cubicBezTo>
                      <a:cubicBezTo>
                        <a:pt x="352" y="287"/>
                        <a:pt x="402" y="8"/>
                        <a:pt x="507" y="0"/>
                      </a:cubicBezTo>
                      <a:cubicBezTo>
                        <a:pt x="502" y="35"/>
                        <a:pt x="481" y="30"/>
                        <a:pt x="466" y="56"/>
                      </a:cubicBezTo>
                      <a:cubicBezTo>
                        <a:pt x="456" y="72"/>
                        <a:pt x="439" y="102"/>
                        <a:pt x="428" y="121"/>
                      </a:cubicBezTo>
                      <a:cubicBezTo>
                        <a:pt x="400" y="166"/>
                        <a:pt x="384" y="201"/>
                        <a:pt x="365" y="251"/>
                      </a:cubicBezTo>
                      <a:cubicBezTo>
                        <a:pt x="327" y="350"/>
                        <a:pt x="276" y="423"/>
                        <a:pt x="232" y="514"/>
                      </a:cubicBezTo>
                      <a:cubicBezTo>
                        <a:pt x="135" y="568"/>
                        <a:pt x="118" y="700"/>
                        <a:pt x="0" y="717"/>
                      </a:cubicBezTo>
                    </a:path>
                  </a:pathLst>
                </a:custGeom>
                <a:solidFill>
                  <a:srgbClr val="6666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6" name="Freeform 216"/>
                <p:cNvSpPr>
                  <a:spLocks/>
                </p:cNvSpPr>
                <p:nvPr/>
              </p:nvSpPr>
              <p:spPr bwMode="gray">
                <a:xfrm>
                  <a:off x="-12109450" y="8926513"/>
                  <a:ext cx="3465513" cy="3694113"/>
                </a:xfrm>
                <a:custGeom>
                  <a:avLst/>
                  <a:gdLst/>
                  <a:ahLst/>
                  <a:cxnLst>
                    <a:cxn ang="0">
                      <a:pos x="657" y="363"/>
                    </a:cxn>
                    <a:cxn ang="0">
                      <a:pos x="462" y="673"/>
                    </a:cxn>
                    <a:cxn ang="0">
                      <a:pos x="333" y="985"/>
                    </a:cxn>
                    <a:cxn ang="0">
                      <a:pos x="236" y="354"/>
                    </a:cxn>
                    <a:cxn ang="0">
                      <a:pos x="0" y="385"/>
                    </a:cxn>
                    <a:cxn ang="0">
                      <a:pos x="155" y="269"/>
                    </a:cxn>
                    <a:cxn ang="0">
                      <a:pos x="272" y="118"/>
                    </a:cxn>
                    <a:cxn ang="0">
                      <a:pos x="655" y="53"/>
                    </a:cxn>
                    <a:cxn ang="0">
                      <a:pos x="924" y="405"/>
                    </a:cxn>
                    <a:cxn ang="0">
                      <a:pos x="647" y="374"/>
                    </a:cxn>
                  </a:cxnLst>
                  <a:rect l="0" t="0" r="r" b="b"/>
                  <a:pathLst>
                    <a:path w="924" h="985">
                      <a:moveTo>
                        <a:pt x="657" y="363"/>
                      </a:moveTo>
                      <a:cubicBezTo>
                        <a:pt x="602" y="466"/>
                        <a:pt x="523" y="569"/>
                        <a:pt x="462" y="673"/>
                      </a:cubicBezTo>
                      <a:cubicBezTo>
                        <a:pt x="412" y="727"/>
                        <a:pt x="334" y="908"/>
                        <a:pt x="333" y="985"/>
                      </a:cubicBezTo>
                      <a:cubicBezTo>
                        <a:pt x="183" y="931"/>
                        <a:pt x="225" y="479"/>
                        <a:pt x="236" y="354"/>
                      </a:cubicBezTo>
                      <a:cubicBezTo>
                        <a:pt x="139" y="320"/>
                        <a:pt x="90" y="383"/>
                        <a:pt x="0" y="385"/>
                      </a:cubicBezTo>
                      <a:cubicBezTo>
                        <a:pt x="25" y="359"/>
                        <a:pt x="111" y="310"/>
                        <a:pt x="155" y="269"/>
                      </a:cubicBezTo>
                      <a:cubicBezTo>
                        <a:pt x="203" y="225"/>
                        <a:pt x="232" y="156"/>
                        <a:pt x="272" y="118"/>
                      </a:cubicBezTo>
                      <a:cubicBezTo>
                        <a:pt x="370" y="25"/>
                        <a:pt x="531" y="0"/>
                        <a:pt x="655" y="53"/>
                      </a:cubicBezTo>
                      <a:cubicBezTo>
                        <a:pt x="729" y="164"/>
                        <a:pt x="911" y="267"/>
                        <a:pt x="924" y="405"/>
                      </a:cubicBezTo>
                      <a:cubicBezTo>
                        <a:pt x="842" y="413"/>
                        <a:pt x="739" y="374"/>
                        <a:pt x="647" y="374"/>
                      </a:cubicBezTo>
                    </a:path>
                  </a:pathLst>
                </a:custGeom>
                <a:solidFill>
                  <a:srgbClr val="EDEBE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7" name="Freeform 217"/>
                <p:cNvSpPr>
                  <a:spLocks/>
                </p:cNvSpPr>
                <p:nvPr/>
              </p:nvSpPr>
              <p:spPr bwMode="gray">
                <a:xfrm>
                  <a:off x="-10977563" y="7891463"/>
                  <a:ext cx="1387475" cy="3170238"/>
                </a:xfrm>
                <a:custGeom>
                  <a:avLst/>
                  <a:gdLst/>
                  <a:ahLst/>
                  <a:cxnLst>
                    <a:cxn ang="0">
                      <a:pos x="65" y="209"/>
                    </a:cxn>
                    <a:cxn ang="0">
                      <a:pos x="15" y="456"/>
                    </a:cxn>
                    <a:cxn ang="0">
                      <a:pos x="76" y="845"/>
                    </a:cxn>
                    <a:cxn ang="0">
                      <a:pos x="347" y="411"/>
                    </a:cxn>
                    <a:cxn ang="0">
                      <a:pos x="313" y="166"/>
                    </a:cxn>
                    <a:cxn ang="0">
                      <a:pos x="65" y="209"/>
                    </a:cxn>
                  </a:cxnLst>
                  <a:rect l="0" t="0" r="r" b="b"/>
                  <a:pathLst>
                    <a:path w="370" h="845">
                      <a:moveTo>
                        <a:pt x="65" y="209"/>
                      </a:moveTo>
                      <a:cubicBezTo>
                        <a:pt x="37" y="364"/>
                        <a:pt x="31" y="299"/>
                        <a:pt x="15" y="456"/>
                      </a:cubicBezTo>
                      <a:cubicBezTo>
                        <a:pt x="0" y="610"/>
                        <a:pt x="23" y="766"/>
                        <a:pt x="76" y="845"/>
                      </a:cubicBezTo>
                      <a:cubicBezTo>
                        <a:pt x="198" y="720"/>
                        <a:pt x="370" y="495"/>
                        <a:pt x="347" y="411"/>
                      </a:cubicBezTo>
                      <a:cubicBezTo>
                        <a:pt x="326" y="334"/>
                        <a:pt x="333" y="247"/>
                        <a:pt x="313" y="166"/>
                      </a:cubicBezTo>
                      <a:cubicBezTo>
                        <a:pt x="270" y="0"/>
                        <a:pt x="129" y="113"/>
                        <a:pt x="65" y="209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8" name="Freeform 218"/>
                <p:cNvSpPr>
                  <a:spLocks/>
                </p:cNvSpPr>
                <p:nvPr/>
              </p:nvSpPr>
              <p:spPr bwMode="gray">
                <a:xfrm>
                  <a:off x="-11336338" y="6861176"/>
                  <a:ext cx="1660525" cy="2741613"/>
                </a:xfrm>
                <a:custGeom>
                  <a:avLst/>
                  <a:gdLst/>
                  <a:ahLst/>
                  <a:cxnLst>
                    <a:cxn ang="0">
                      <a:pos x="34" y="0"/>
                    </a:cxn>
                    <a:cxn ang="0">
                      <a:pos x="151" y="571"/>
                    </a:cxn>
                    <a:cxn ang="0">
                      <a:pos x="423" y="467"/>
                    </a:cxn>
                  </a:cxnLst>
                  <a:rect l="0" t="0" r="r" b="b"/>
                  <a:pathLst>
                    <a:path w="443" h="731">
                      <a:moveTo>
                        <a:pt x="34" y="0"/>
                      </a:moveTo>
                      <a:cubicBezTo>
                        <a:pt x="0" y="121"/>
                        <a:pt x="95" y="464"/>
                        <a:pt x="151" y="571"/>
                      </a:cubicBezTo>
                      <a:cubicBezTo>
                        <a:pt x="202" y="731"/>
                        <a:pt x="443" y="654"/>
                        <a:pt x="423" y="467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59" name="Freeform 219"/>
                <p:cNvSpPr>
                  <a:spLocks/>
                </p:cNvSpPr>
                <p:nvPr/>
              </p:nvSpPr>
              <p:spPr bwMode="gray">
                <a:xfrm>
                  <a:off x="-11385550" y="5757863"/>
                  <a:ext cx="2643188" cy="3578225"/>
                </a:xfrm>
                <a:custGeom>
                  <a:avLst/>
                  <a:gdLst/>
                  <a:ahLst/>
                  <a:cxnLst>
                    <a:cxn ang="0">
                      <a:pos x="540" y="466"/>
                    </a:cxn>
                    <a:cxn ang="0">
                      <a:pos x="379" y="71"/>
                    </a:cxn>
                    <a:cxn ang="0">
                      <a:pos x="34" y="284"/>
                    </a:cxn>
                    <a:cxn ang="0">
                      <a:pos x="77" y="757"/>
                    </a:cxn>
                    <a:cxn ang="0">
                      <a:pos x="411" y="821"/>
                    </a:cxn>
                    <a:cxn ang="0">
                      <a:pos x="541" y="486"/>
                    </a:cxn>
                    <a:cxn ang="0">
                      <a:pos x="529" y="456"/>
                    </a:cxn>
                  </a:cxnLst>
                  <a:rect l="0" t="0" r="r" b="b"/>
                  <a:pathLst>
                    <a:path w="705" h="954">
                      <a:moveTo>
                        <a:pt x="540" y="466"/>
                      </a:moveTo>
                      <a:cubicBezTo>
                        <a:pt x="583" y="312"/>
                        <a:pt x="527" y="143"/>
                        <a:pt x="379" y="71"/>
                      </a:cubicBezTo>
                      <a:cubicBezTo>
                        <a:pt x="233" y="0"/>
                        <a:pt x="70" y="158"/>
                        <a:pt x="34" y="284"/>
                      </a:cubicBezTo>
                      <a:cubicBezTo>
                        <a:pt x="0" y="404"/>
                        <a:pt x="21" y="650"/>
                        <a:pt x="77" y="757"/>
                      </a:cubicBezTo>
                      <a:cubicBezTo>
                        <a:pt x="152" y="900"/>
                        <a:pt x="298" y="954"/>
                        <a:pt x="411" y="821"/>
                      </a:cubicBezTo>
                      <a:cubicBezTo>
                        <a:pt x="450" y="776"/>
                        <a:pt x="705" y="503"/>
                        <a:pt x="541" y="486"/>
                      </a:cubicBezTo>
                      <a:cubicBezTo>
                        <a:pt x="544" y="469"/>
                        <a:pt x="538" y="463"/>
                        <a:pt x="529" y="45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0" name="Freeform 220"/>
                <p:cNvSpPr>
                  <a:spLocks/>
                </p:cNvSpPr>
                <p:nvPr/>
              </p:nvSpPr>
              <p:spPr bwMode="gray">
                <a:xfrm>
                  <a:off x="-10306050" y="5870576"/>
                  <a:ext cx="1131888" cy="1927225"/>
                </a:xfrm>
                <a:custGeom>
                  <a:avLst/>
                  <a:gdLst/>
                  <a:ahLst/>
                  <a:cxnLst>
                    <a:cxn ang="0">
                      <a:pos x="78" y="130"/>
                    </a:cxn>
                    <a:cxn ang="0">
                      <a:pos x="216" y="282"/>
                    </a:cxn>
                    <a:cxn ang="0">
                      <a:pos x="232" y="496"/>
                    </a:cxn>
                    <a:cxn ang="0">
                      <a:pos x="284" y="336"/>
                    </a:cxn>
                    <a:cxn ang="0">
                      <a:pos x="256" y="153"/>
                    </a:cxn>
                    <a:cxn ang="0">
                      <a:pos x="135" y="36"/>
                    </a:cxn>
                    <a:cxn ang="0">
                      <a:pos x="38" y="13"/>
                    </a:cxn>
                    <a:cxn ang="0">
                      <a:pos x="10" y="98"/>
                    </a:cxn>
                    <a:cxn ang="0">
                      <a:pos x="78" y="130"/>
                    </a:cxn>
                  </a:cxnLst>
                  <a:rect l="0" t="0" r="r" b="b"/>
                  <a:pathLst>
                    <a:path w="302" h="514">
                      <a:moveTo>
                        <a:pt x="78" y="130"/>
                      </a:moveTo>
                      <a:cubicBezTo>
                        <a:pt x="136" y="173"/>
                        <a:pt x="189" y="210"/>
                        <a:pt x="216" y="282"/>
                      </a:cubicBezTo>
                      <a:cubicBezTo>
                        <a:pt x="240" y="345"/>
                        <a:pt x="241" y="427"/>
                        <a:pt x="232" y="496"/>
                      </a:cubicBezTo>
                      <a:cubicBezTo>
                        <a:pt x="289" y="514"/>
                        <a:pt x="276" y="368"/>
                        <a:pt x="284" y="336"/>
                      </a:cubicBezTo>
                      <a:cubicBezTo>
                        <a:pt x="302" y="266"/>
                        <a:pt x="300" y="217"/>
                        <a:pt x="256" y="153"/>
                      </a:cubicBezTo>
                      <a:cubicBezTo>
                        <a:pt x="224" y="105"/>
                        <a:pt x="184" y="67"/>
                        <a:pt x="135" y="36"/>
                      </a:cubicBezTo>
                      <a:cubicBezTo>
                        <a:pt x="112" y="22"/>
                        <a:pt x="65" y="0"/>
                        <a:pt x="38" y="13"/>
                      </a:cubicBezTo>
                      <a:cubicBezTo>
                        <a:pt x="14" y="25"/>
                        <a:pt x="0" y="74"/>
                        <a:pt x="10" y="98"/>
                      </a:cubicBezTo>
                      <a:cubicBezTo>
                        <a:pt x="20" y="121"/>
                        <a:pt x="56" y="129"/>
                        <a:pt x="78" y="130"/>
                      </a:cubicBezTo>
                    </a:path>
                  </a:pathLst>
                </a:custGeom>
                <a:solidFill>
                  <a:srgbClr val="38291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1" name="Freeform 221"/>
                <p:cNvSpPr>
                  <a:spLocks/>
                </p:cNvSpPr>
                <p:nvPr/>
              </p:nvSpPr>
              <p:spPr bwMode="gray">
                <a:xfrm>
                  <a:off x="-11415713" y="5799138"/>
                  <a:ext cx="1690688" cy="2160588"/>
                </a:xfrm>
                <a:custGeom>
                  <a:avLst/>
                  <a:gdLst/>
                  <a:ahLst/>
                  <a:cxnLst>
                    <a:cxn ang="0">
                      <a:pos x="370" y="157"/>
                    </a:cxn>
                    <a:cxn ang="0">
                      <a:pos x="151" y="329"/>
                    </a:cxn>
                    <a:cxn ang="0">
                      <a:pos x="23" y="576"/>
                    </a:cxn>
                    <a:cxn ang="0">
                      <a:pos x="11" y="500"/>
                    </a:cxn>
                    <a:cxn ang="0">
                      <a:pos x="0" y="499"/>
                    </a:cxn>
                    <a:cxn ang="0">
                      <a:pos x="56" y="165"/>
                    </a:cxn>
                    <a:cxn ang="0">
                      <a:pos x="330" y="16"/>
                    </a:cxn>
                    <a:cxn ang="0">
                      <a:pos x="370" y="157"/>
                    </a:cxn>
                  </a:cxnLst>
                  <a:rect l="0" t="0" r="r" b="b"/>
                  <a:pathLst>
                    <a:path w="451" h="576">
                      <a:moveTo>
                        <a:pt x="370" y="157"/>
                      </a:moveTo>
                      <a:cubicBezTo>
                        <a:pt x="280" y="183"/>
                        <a:pt x="205" y="258"/>
                        <a:pt x="151" y="329"/>
                      </a:cubicBezTo>
                      <a:cubicBezTo>
                        <a:pt x="104" y="393"/>
                        <a:pt x="34" y="493"/>
                        <a:pt x="23" y="576"/>
                      </a:cubicBezTo>
                      <a:cubicBezTo>
                        <a:pt x="6" y="557"/>
                        <a:pt x="12" y="526"/>
                        <a:pt x="11" y="500"/>
                      </a:cubicBezTo>
                      <a:cubicBezTo>
                        <a:pt x="7" y="499"/>
                        <a:pt x="4" y="500"/>
                        <a:pt x="0" y="499"/>
                      </a:cubicBezTo>
                      <a:cubicBezTo>
                        <a:pt x="18" y="386"/>
                        <a:pt x="1" y="273"/>
                        <a:pt x="56" y="165"/>
                      </a:cubicBezTo>
                      <a:cubicBezTo>
                        <a:pt x="100" y="77"/>
                        <a:pt x="228" y="0"/>
                        <a:pt x="330" y="16"/>
                      </a:cubicBezTo>
                      <a:cubicBezTo>
                        <a:pt x="408" y="28"/>
                        <a:pt x="451" y="128"/>
                        <a:pt x="370" y="157"/>
                      </a:cubicBezTo>
                    </a:path>
                  </a:pathLst>
                </a:custGeom>
                <a:solidFill>
                  <a:srgbClr val="4C392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2" name="Freeform 222"/>
                <p:cNvSpPr>
                  <a:spLocks/>
                </p:cNvSpPr>
                <p:nvPr/>
              </p:nvSpPr>
              <p:spPr bwMode="gray">
                <a:xfrm>
                  <a:off x="-11168063" y="12928601"/>
                  <a:ext cx="393700" cy="363538"/>
                </a:xfrm>
                <a:custGeom>
                  <a:avLst/>
                  <a:gdLst/>
                  <a:ahLst/>
                  <a:cxnLst>
                    <a:cxn ang="0">
                      <a:pos x="95" y="22"/>
                    </a:cxn>
                    <a:cxn ang="0">
                      <a:pos x="93" y="77"/>
                    </a:cxn>
                    <a:cxn ang="0">
                      <a:pos x="95" y="30"/>
                    </a:cxn>
                  </a:cxnLst>
                  <a:rect l="0" t="0" r="r" b="b"/>
                  <a:pathLst>
                    <a:path w="105" h="97">
                      <a:moveTo>
                        <a:pt x="95" y="22"/>
                      </a:moveTo>
                      <a:cubicBezTo>
                        <a:pt x="0" y="0"/>
                        <a:pt x="11" y="97"/>
                        <a:pt x="93" y="77"/>
                      </a:cubicBezTo>
                      <a:cubicBezTo>
                        <a:pt x="105" y="57"/>
                        <a:pt x="101" y="43"/>
                        <a:pt x="95" y="30"/>
                      </a:cubicBezTo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3" name="Freeform 223"/>
                <p:cNvSpPr>
                  <a:spLocks/>
                </p:cNvSpPr>
                <p:nvPr/>
              </p:nvSpPr>
              <p:spPr bwMode="gray">
                <a:xfrm>
                  <a:off x="-10966450" y="13839826"/>
                  <a:ext cx="225425" cy="292100"/>
                </a:xfrm>
                <a:custGeom>
                  <a:avLst/>
                  <a:gdLst/>
                  <a:ahLst/>
                  <a:cxnLst>
                    <a:cxn ang="0">
                      <a:pos x="57" y="21"/>
                    </a:cxn>
                    <a:cxn ang="0">
                      <a:pos x="18" y="6"/>
                    </a:cxn>
                    <a:cxn ang="0">
                      <a:pos x="40" y="78"/>
                    </a:cxn>
                    <a:cxn ang="0">
                      <a:pos x="57" y="37"/>
                    </a:cxn>
                  </a:cxnLst>
                  <a:rect l="0" t="0" r="r" b="b"/>
                  <a:pathLst>
                    <a:path w="60" h="78">
                      <a:moveTo>
                        <a:pt x="57" y="21"/>
                      </a:moveTo>
                      <a:cubicBezTo>
                        <a:pt x="45" y="10"/>
                        <a:pt x="38" y="0"/>
                        <a:pt x="18" y="6"/>
                      </a:cubicBezTo>
                      <a:cubicBezTo>
                        <a:pt x="0" y="35"/>
                        <a:pt x="9" y="63"/>
                        <a:pt x="40" y="78"/>
                      </a:cubicBezTo>
                      <a:cubicBezTo>
                        <a:pt x="60" y="68"/>
                        <a:pt x="57" y="57"/>
                        <a:pt x="57" y="37"/>
                      </a:cubicBezTo>
                    </a:path>
                  </a:pathLst>
                </a:custGeom>
                <a:solidFill>
                  <a:srgbClr val="6666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4" name="Freeform 224"/>
                <p:cNvSpPr>
                  <a:spLocks/>
                </p:cNvSpPr>
                <p:nvPr/>
              </p:nvSpPr>
              <p:spPr bwMode="gray">
                <a:xfrm>
                  <a:off x="-9634538" y="14068426"/>
                  <a:ext cx="1173163" cy="1057275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12" y="180"/>
                    </a:cxn>
                    <a:cxn ang="0">
                      <a:pos x="313" y="273"/>
                    </a:cxn>
                    <a:cxn ang="0">
                      <a:pos x="111" y="212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313" h="282">
                      <a:moveTo>
                        <a:pt x="8" y="0"/>
                      </a:moveTo>
                      <a:cubicBezTo>
                        <a:pt x="64" y="63"/>
                        <a:pt x="12" y="138"/>
                        <a:pt x="112" y="180"/>
                      </a:cubicBezTo>
                      <a:cubicBezTo>
                        <a:pt x="169" y="203"/>
                        <a:pt x="302" y="196"/>
                        <a:pt x="313" y="273"/>
                      </a:cubicBezTo>
                      <a:cubicBezTo>
                        <a:pt x="272" y="282"/>
                        <a:pt x="151" y="228"/>
                        <a:pt x="111" y="212"/>
                      </a:cubicBezTo>
                      <a:cubicBezTo>
                        <a:pt x="27" y="178"/>
                        <a:pt x="7" y="101"/>
                        <a:pt x="0" y="16"/>
                      </a:cubicBezTo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65" name="Freeform 225"/>
                <p:cNvSpPr>
                  <a:spLocks/>
                </p:cNvSpPr>
                <p:nvPr/>
              </p:nvSpPr>
              <p:spPr bwMode="gray">
                <a:xfrm>
                  <a:off x="-12042775" y="14008101"/>
                  <a:ext cx="646113" cy="919163"/>
                </a:xfrm>
                <a:custGeom>
                  <a:avLst/>
                  <a:gdLst/>
                  <a:ahLst/>
                  <a:cxnLst>
                    <a:cxn ang="0">
                      <a:pos x="110" y="0"/>
                    </a:cxn>
                    <a:cxn ang="0">
                      <a:pos x="0" y="226"/>
                    </a:cxn>
                    <a:cxn ang="0">
                      <a:pos x="118" y="16"/>
                    </a:cxn>
                  </a:cxnLst>
                  <a:rect l="0" t="0" r="r" b="b"/>
                  <a:pathLst>
                    <a:path w="172" h="245">
                      <a:moveTo>
                        <a:pt x="110" y="0"/>
                      </a:moveTo>
                      <a:cubicBezTo>
                        <a:pt x="115" y="91"/>
                        <a:pt x="69" y="180"/>
                        <a:pt x="0" y="226"/>
                      </a:cubicBezTo>
                      <a:cubicBezTo>
                        <a:pt x="97" y="245"/>
                        <a:pt x="172" y="88"/>
                        <a:pt x="118" y="16"/>
                      </a:cubicBezTo>
                    </a:path>
                  </a:pathLst>
                </a:custGeom>
                <a:solidFill>
                  <a:srgbClr val="6666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12" name="Gruppieren 451"/>
            <p:cNvGrpSpPr/>
            <p:nvPr/>
          </p:nvGrpSpPr>
          <p:grpSpPr bwMode="gray">
            <a:xfrm>
              <a:off x="8000889" y="1894234"/>
              <a:ext cx="1015032" cy="1779766"/>
              <a:chOff x="-1137816" y="2138743"/>
              <a:chExt cx="1338560" cy="2347039"/>
            </a:xfrm>
          </p:grpSpPr>
          <p:pic>
            <p:nvPicPr>
              <p:cNvPr id="867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-1137816" y="3937210"/>
                <a:ext cx="1338560" cy="548572"/>
              </a:xfrm>
              <a:prstGeom prst="rect">
                <a:avLst/>
              </a:prstGeom>
              <a:noFill/>
            </p:spPr>
          </p:pic>
          <p:grpSp>
            <p:nvGrpSpPr>
              <p:cNvPr id="13" name="Gruppieren 136"/>
              <p:cNvGrpSpPr/>
              <p:nvPr/>
            </p:nvGrpSpPr>
            <p:grpSpPr bwMode="gray">
              <a:xfrm>
                <a:off x="-783747" y="2138744"/>
                <a:ext cx="715750" cy="2167659"/>
                <a:chOff x="-4095750" y="5688013"/>
                <a:chExt cx="6791325" cy="20567650"/>
              </a:xfrm>
            </p:grpSpPr>
            <p:sp>
              <p:nvSpPr>
                <p:cNvPr id="869" name="Freeform 267"/>
                <p:cNvSpPr>
                  <a:spLocks/>
                </p:cNvSpPr>
                <p:nvPr/>
              </p:nvSpPr>
              <p:spPr bwMode="gray">
                <a:xfrm>
                  <a:off x="1247775" y="10442576"/>
                  <a:ext cx="641350" cy="3325813"/>
                </a:xfrm>
                <a:custGeom>
                  <a:avLst/>
                  <a:gdLst/>
                  <a:ahLst/>
                  <a:cxnLst>
                    <a:cxn ang="0">
                      <a:pos x="12" y="41"/>
                    </a:cxn>
                    <a:cxn ang="0">
                      <a:pos x="0" y="275"/>
                    </a:cxn>
                    <a:cxn ang="0">
                      <a:pos x="34" y="498"/>
                    </a:cxn>
                    <a:cxn ang="0">
                      <a:pos x="1" y="887"/>
                    </a:cxn>
                    <a:cxn ang="0">
                      <a:pos x="35" y="736"/>
                    </a:cxn>
                    <a:cxn ang="0">
                      <a:pos x="18" y="415"/>
                    </a:cxn>
                    <a:cxn ang="0">
                      <a:pos x="24" y="211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171" h="887">
                      <a:moveTo>
                        <a:pt x="12" y="41"/>
                      </a:moveTo>
                      <a:cubicBezTo>
                        <a:pt x="37" y="97"/>
                        <a:pt x="0" y="207"/>
                        <a:pt x="0" y="275"/>
                      </a:cubicBezTo>
                      <a:cubicBezTo>
                        <a:pt x="0" y="361"/>
                        <a:pt x="6" y="422"/>
                        <a:pt x="34" y="498"/>
                      </a:cubicBezTo>
                      <a:cubicBezTo>
                        <a:pt x="80" y="621"/>
                        <a:pt x="171" y="811"/>
                        <a:pt x="1" y="887"/>
                      </a:cubicBezTo>
                      <a:cubicBezTo>
                        <a:pt x="13" y="832"/>
                        <a:pt x="35" y="802"/>
                        <a:pt x="35" y="736"/>
                      </a:cubicBezTo>
                      <a:cubicBezTo>
                        <a:pt x="35" y="631"/>
                        <a:pt x="28" y="520"/>
                        <a:pt x="18" y="415"/>
                      </a:cubicBezTo>
                      <a:cubicBezTo>
                        <a:pt x="11" y="345"/>
                        <a:pt x="18" y="278"/>
                        <a:pt x="24" y="211"/>
                      </a:cubicBezTo>
                      <a:cubicBezTo>
                        <a:pt x="30" y="144"/>
                        <a:pt x="7" y="62"/>
                        <a:pt x="29" y="0"/>
                      </a:cubicBezTo>
                    </a:path>
                  </a:pathLst>
                </a:custGeom>
                <a:solidFill>
                  <a:srgbClr val="1B242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0" name="Freeform 268"/>
                <p:cNvSpPr>
                  <a:spLocks/>
                </p:cNvSpPr>
                <p:nvPr/>
              </p:nvSpPr>
              <p:spPr bwMode="gray">
                <a:xfrm>
                  <a:off x="-3135313" y="23976013"/>
                  <a:ext cx="1889125" cy="2017713"/>
                </a:xfrm>
                <a:custGeom>
                  <a:avLst/>
                  <a:gdLst/>
                  <a:ahLst/>
                  <a:cxnLst>
                    <a:cxn ang="0">
                      <a:pos x="453" y="0"/>
                    </a:cxn>
                    <a:cxn ang="0">
                      <a:pos x="491" y="43"/>
                    </a:cxn>
                    <a:cxn ang="0">
                      <a:pos x="503" y="116"/>
                    </a:cxn>
                    <a:cxn ang="0">
                      <a:pos x="451" y="228"/>
                    </a:cxn>
                    <a:cxn ang="0">
                      <a:pos x="385" y="327"/>
                    </a:cxn>
                    <a:cxn ang="0">
                      <a:pos x="343" y="382"/>
                    </a:cxn>
                    <a:cxn ang="0">
                      <a:pos x="324" y="452"/>
                    </a:cxn>
                    <a:cxn ang="0">
                      <a:pos x="196" y="515"/>
                    </a:cxn>
                    <a:cxn ang="0">
                      <a:pos x="56" y="537"/>
                    </a:cxn>
                    <a:cxn ang="0">
                      <a:pos x="4" y="531"/>
                    </a:cxn>
                    <a:cxn ang="0">
                      <a:pos x="44" y="415"/>
                    </a:cxn>
                    <a:cxn ang="0">
                      <a:pos x="94" y="301"/>
                    </a:cxn>
                    <a:cxn ang="0">
                      <a:pos x="205" y="239"/>
                    </a:cxn>
                    <a:cxn ang="0">
                      <a:pos x="318" y="133"/>
                    </a:cxn>
                    <a:cxn ang="0">
                      <a:pos x="372" y="26"/>
                    </a:cxn>
                    <a:cxn ang="0">
                      <a:pos x="471" y="11"/>
                    </a:cxn>
                  </a:cxnLst>
                  <a:rect l="0" t="0" r="r" b="b"/>
                  <a:pathLst>
                    <a:path w="504" h="538">
                      <a:moveTo>
                        <a:pt x="453" y="0"/>
                      </a:moveTo>
                      <a:cubicBezTo>
                        <a:pt x="468" y="18"/>
                        <a:pt x="482" y="20"/>
                        <a:pt x="491" y="43"/>
                      </a:cubicBezTo>
                      <a:cubicBezTo>
                        <a:pt x="500" y="66"/>
                        <a:pt x="502" y="91"/>
                        <a:pt x="503" y="116"/>
                      </a:cubicBezTo>
                      <a:cubicBezTo>
                        <a:pt x="504" y="156"/>
                        <a:pt x="497" y="220"/>
                        <a:pt x="451" y="228"/>
                      </a:cubicBezTo>
                      <a:cubicBezTo>
                        <a:pt x="427" y="259"/>
                        <a:pt x="408" y="295"/>
                        <a:pt x="385" y="327"/>
                      </a:cubicBezTo>
                      <a:cubicBezTo>
                        <a:pt x="373" y="344"/>
                        <a:pt x="349" y="362"/>
                        <a:pt x="343" y="382"/>
                      </a:cubicBezTo>
                      <a:cubicBezTo>
                        <a:pt x="334" y="411"/>
                        <a:pt x="345" y="427"/>
                        <a:pt x="324" y="452"/>
                      </a:cubicBezTo>
                      <a:cubicBezTo>
                        <a:pt x="289" y="493"/>
                        <a:pt x="242" y="495"/>
                        <a:pt x="196" y="515"/>
                      </a:cubicBezTo>
                      <a:cubicBezTo>
                        <a:pt x="151" y="535"/>
                        <a:pt x="109" y="535"/>
                        <a:pt x="56" y="537"/>
                      </a:cubicBezTo>
                      <a:cubicBezTo>
                        <a:pt x="42" y="538"/>
                        <a:pt x="19" y="532"/>
                        <a:pt x="4" y="531"/>
                      </a:cubicBezTo>
                      <a:cubicBezTo>
                        <a:pt x="0" y="499"/>
                        <a:pt x="30" y="441"/>
                        <a:pt x="44" y="415"/>
                      </a:cubicBezTo>
                      <a:cubicBezTo>
                        <a:pt x="62" y="381"/>
                        <a:pt x="70" y="333"/>
                        <a:pt x="94" y="301"/>
                      </a:cubicBezTo>
                      <a:cubicBezTo>
                        <a:pt x="120" y="267"/>
                        <a:pt x="170" y="258"/>
                        <a:pt x="205" y="239"/>
                      </a:cubicBezTo>
                      <a:cubicBezTo>
                        <a:pt x="250" y="213"/>
                        <a:pt x="288" y="178"/>
                        <a:pt x="318" y="133"/>
                      </a:cubicBezTo>
                      <a:cubicBezTo>
                        <a:pt x="340" y="101"/>
                        <a:pt x="341" y="52"/>
                        <a:pt x="372" y="26"/>
                      </a:cubicBezTo>
                      <a:cubicBezTo>
                        <a:pt x="398" y="5"/>
                        <a:pt x="439" y="6"/>
                        <a:pt x="471" y="11"/>
                      </a:cubicBezTo>
                    </a:path>
                  </a:pathLst>
                </a:custGeom>
                <a:solidFill>
                  <a:srgbClr val="2B2B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1" name="Freeform 269"/>
                <p:cNvSpPr>
                  <a:spLocks/>
                </p:cNvSpPr>
                <p:nvPr/>
              </p:nvSpPr>
              <p:spPr bwMode="gray">
                <a:xfrm>
                  <a:off x="-2787650" y="15524163"/>
                  <a:ext cx="2917825" cy="9955213"/>
                </a:xfrm>
                <a:custGeom>
                  <a:avLst/>
                  <a:gdLst/>
                  <a:ahLst/>
                  <a:cxnLst>
                    <a:cxn ang="0">
                      <a:pos x="751" y="46"/>
                    </a:cxn>
                    <a:cxn ang="0">
                      <a:pos x="715" y="302"/>
                    </a:cxn>
                    <a:cxn ang="0">
                      <a:pos x="696" y="587"/>
                    </a:cxn>
                    <a:cxn ang="0">
                      <a:pos x="681" y="884"/>
                    </a:cxn>
                    <a:cxn ang="0">
                      <a:pos x="689" y="1016"/>
                    </a:cxn>
                    <a:cxn ang="0">
                      <a:pos x="651" y="1113"/>
                    </a:cxn>
                    <a:cxn ang="0">
                      <a:pos x="622" y="1298"/>
                    </a:cxn>
                    <a:cxn ang="0">
                      <a:pos x="568" y="1465"/>
                    </a:cxn>
                    <a:cxn ang="0">
                      <a:pos x="547" y="1679"/>
                    </a:cxn>
                    <a:cxn ang="0">
                      <a:pos x="424" y="2026"/>
                    </a:cxn>
                    <a:cxn ang="0">
                      <a:pos x="377" y="2201"/>
                    </a:cxn>
                    <a:cxn ang="0">
                      <a:pos x="377" y="2291"/>
                    </a:cxn>
                    <a:cxn ang="0">
                      <a:pos x="374" y="2408"/>
                    </a:cxn>
                    <a:cxn ang="0">
                      <a:pos x="286" y="2521"/>
                    </a:cxn>
                    <a:cxn ang="0">
                      <a:pos x="211" y="2655"/>
                    </a:cxn>
                    <a:cxn ang="0">
                      <a:pos x="12" y="2581"/>
                    </a:cxn>
                    <a:cxn ang="0">
                      <a:pos x="113" y="2475"/>
                    </a:cxn>
                    <a:cxn ang="0">
                      <a:pos x="210" y="2354"/>
                    </a:cxn>
                    <a:cxn ang="0">
                      <a:pos x="252" y="1741"/>
                    </a:cxn>
                    <a:cxn ang="0">
                      <a:pos x="270" y="1473"/>
                    </a:cxn>
                    <a:cxn ang="0">
                      <a:pos x="283" y="1380"/>
                    </a:cxn>
                    <a:cxn ang="0">
                      <a:pos x="345" y="1184"/>
                    </a:cxn>
                    <a:cxn ang="0">
                      <a:pos x="354" y="1079"/>
                    </a:cxn>
                    <a:cxn ang="0">
                      <a:pos x="372" y="967"/>
                    </a:cxn>
                    <a:cxn ang="0">
                      <a:pos x="357" y="676"/>
                    </a:cxn>
                    <a:cxn ang="0">
                      <a:pos x="358" y="8"/>
                    </a:cxn>
                    <a:cxn ang="0">
                      <a:pos x="778" y="50"/>
                    </a:cxn>
                  </a:cxnLst>
                  <a:rect l="0" t="0" r="r" b="b"/>
                  <a:pathLst>
                    <a:path w="778" h="2655">
                      <a:moveTo>
                        <a:pt x="751" y="46"/>
                      </a:moveTo>
                      <a:cubicBezTo>
                        <a:pt x="750" y="133"/>
                        <a:pt x="733" y="218"/>
                        <a:pt x="715" y="302"/>
                      </a:cubicBezTo>
                      <a:cubicBezTo>
                        <a:pt x="694" y="393"/>
                        <a:pt x="701" y="495"/>
                        <a:pt x="696" y="587"/>
                      </a:cubicBezTo>
                      <a:cubicBezTo>
                        <a:pt x="692" y="687"/>
                        <a:pt x="680" y="784"/>
                        <a:pt x="681" y="884"/>
                      </a:cubicBezTo>
                      <a:cubicBezTo>
                        <a:pt x="681" y="929"/>
                        <a:pt x="689" y="970"/>
                        <a:pt x="689" y="1016"/>
                      </a:cubicBezTo>
                      <a:cubicBezTo>
                        <a:pt x="688" y="1062"/>
                        <a:pt x="669" y="1075"/>
                        <a:pt x="651" y="1113"/>
                      </a:cubicBezTo>
                      <a:cubicBezTo>
                        <a:pt x="634" y="1151"/>
                        <a:pt x="641" y="1272"/>
                        <a:pt x="622" y="1298"/>
                      </a:cubicBezTo>
                      <a:cubicBezTo>
                        <a:pt x="592" y="1340"/>
                        <a:pt x="568" y="1404"/>
                        <a:pt x="568" y="1465"/>
                      </a:cubicBezTo>
                      <a:cubicBezTo>
                        <a:pt x="568" y="1538"/>
                        <a:pt x="568" y="1609"/>
                        <a:pt x="547" y="1679"/>
                      </a:cubicBezTo>
                      <a:cubicBezTo>
                        <a:pt x="529" y="1741"/>
                        <a:pt x="445" y="1972"/>
                        <a:pt x="424" y="2026"/>
                      </a:cubicBezTo>
                      <a:cubicBezTo>
                        <a:pt x="402" y="2084"/>
                        <a:pt x="382" y="2137"/>
                        <a:pt x="377" y="2201"/>
                      </a:cubicBezTo>
                      <a:cubicBezTo>
                        <a:pt x="374" y="2231"/>
                        <a:pt x="370" y="2262"/>
                        <a:pt x="377" y="2291"/>
                      </a:cubicBezTo>
                      <a:cubicBezTo>
                        <a:pt x="384" y="2320"/>
                        <a:pt x="384" y="2374"/>
                        <a:pt x="374" y="2408"/>
                      </a:cubicBezTo>
                      <a:cubicBezTo>
                        <a:pt x="358" y="2461"/>
                        <a:pt x="327" y="2480"/>
                        <a:pt x="286" y="2521"/>
                      </a:cubicBezTo>
                      <a:cubicBezTo>
                        <a:pt x="255" y="2552"/>
                        <a:pt x="255" y="2616"/>
                        <a:pt x="211" y="2655"/>
                      </a:cubicBezTo>
                      <a:cubicBezTo>
                        <a:pt x="211" y="2655"/>
                        <a:pt x="0" y="2611"/>
                        <a:pt x="12" y="2581"/>
                      </a:cubicBezTo>
                      <a:cubicBezTo>
                        <a:pt x="29" y="2541"/>
                        <a:pt x="79" y="2502"/>
                        <a:pt x="113" y="2475"/>
                      </a:cubicBezTo>
                      <a:cubicBezTo>
                        <a:pt x="148" y="2445"/>
                        <a:pt x="189" y="2396"/>
                        <a:pt x="210" y="2354"/>
                      </a:cubicBezTo>
                      <a:cubicBezTo>
                        <a:pt x="236" y="2303"/>
                        <a:pt x="255" y="1803"/>
                        <a:pt x="252" y="1741"/>
                      </a:cubicBezTo>
                      <a:cubicBezTo>
                        <a:pt x="251" y="1710"/>
                        <a:pt x="264" y="1503"/>
                        <a:pt x="270" y="1473"/>
                      </a:cubicBezTo>
                      <a:cubicBezTo>
                        <a:pt x="277" y="1436"/>
                        <a:pt x="286" y="1414"/>
                        <a:pt x="283" y="1380"/>
                      </a:cubicBezTo>
                      <a:cubicBezTo>
                        <a:pt x="278" y="1310"/>
                        <a:pt x="329" y="1249"/>
                        <a:pt x="345" y="1184"/>
                      </a:cubicBezTo>
                      <a:cubicBezTo>
                        <a:pt x="354" y="1152"/>
                        <a:pt x="350" y="1112"/>
                        <a:pt x="354" y="1079"/>
                      </a:cubicBezTo>
                      <a:cubicBezTo>
                        <a:pt x="357" y="1041"/>
                        <a:pt x="368" y="1005"/>
                        <a:pt x="372" y="967"/>
                      </a:cubicBezTo>
                      <a:cubicBezTo>
                        <a:pt x="382" y="870"/>
                        <a:pt x="373" y="768"/>
                        <a:pt x="357" y="676"/>
                      </a:cubicBezTo>
                      <a:cubicBezTo>
                        <a:pt x="321" y="456"/>
                        <a:pt x="347" y="227"/>
                        <a:pt x="358" y="8"/>
                      </a:cubicBezTo>
                      <a:cubicBezTo>
                        <a:pt x="506" y="0"/>
                        <a:pt x="644" y="5"/>
                        <a:pt x="778" y="5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2" name="Freeform 270"/>
                <p:cNvSpPr>
                  <a:spLocks/>
                </p:cNvSpPr>
                <p:nvPr/>
              </p:nvSpPr>
              <p:spPr bwMode="gray">
                <a:xfrm>
                  <a:off x="-1133475" y="7926388"/>
                  <a:ext cx="2122488" cy="3573463"/>
                </a:xfrm>
                <a:custGeom>
                  <a:avLst/>
                  <a:gdLst/>
                  <a:ahLst/>
                  <a:cxnLst>
                    <a:cxn ang="0">
                      <a:pos x="136" y="59"/>
                    </a:cxn>
                    <a:cxn ang="0">
                      <a:pos x="84" y="133"/>
                    </a:cxn>
                    <a:cxn ang="0">
                      <a:pos x="53" y="222"/>
                    </a:cxn>
                    <a:cxn ang="0">
                      <a:pos x="12" y="339"/>
                    </a:cxn>
                    <a:cxn ang="0">
                      <a:pos x="3" y="386"/>
                    </a:cxn>
                    <a:cxn ang="0">
                      <a:pos x="46" y="494"/>
                    </a:cxn>
                    <a:cxn ang="0">
                      <a:pos x="96" y="654"/>
                    </a:cxn>
                    <a:cxn ang="0">
                      <a:pos x="136" y="714"/>
                    </a:cxn>
                    <a:cxn ang="0">
                      <a:pos x="142" y="820"/>
                    </a:cxn>
                    <a:cxn ang="0">
                      <a:pos x="260" y="931"/>
                    </a:cxn>
                    <a:cxn ang="0">
                      <a:pos x="377" y="829"/>
                    </a:cxn>
                    <a:cxn ang="0">
                      <a:pos x="429" y="674"/>
                    </a:cxn>
                    <a:cxn ang="0">
                      <a:pos x="471" y="538"/>
                    </a:cxn>
                    <a:cxn ang="0">
                      <a:pos x="534" y="445"/>
                    </a:cxn>
                    <a:cxn ang="0">
                      <a:pos x="560" y="355"/>
                    </a:cxn>
                    <a:cxn ang="0">
                      <a:pos x="514" y="238"/>
                    </a:cxn>
                    <a:cxn ang="0">
                      <a:pos x="436" y="124"/>
                    </a:cxn>
                    <a:cxn ang="0">
                      <a:pos x="322" y="4"/>
                    </a:cxn>
                    <a:cxn ang="0">
                      <a:pos x="179" y="36"/>
                    </a:cxn>
                  </a:cxnLst>
                  <a:rect l="0" t="0" r="r" b="b"/>
                  <a:pathLst>
                    <a:path w="566" h="953">
                      <a:moveTo>
                        <a:pt x="136" y="59"/>
                      </a:moveTo>
                      <a:cubicBezTo>
                        <a:pt x="136" y="88"/>
                        <a:pt x="99" y="110"/>
                        <a:pt x="84" y="133"/>
                      </a:cubicBezTo>
                      <a:cubicBezTo>
                        <a:pt x="65" y="163"/>
                        <a:pt x="62" y="189"/>
                        <a:pt x="53" y="222"/>
                      </a:cubicBezTo>
                      <a:cubicBezTo>
                        <a:pt x="43" y="258"/>
                        <a:pt x="23" y="300"/>
                        <a:pt x="12" y="339"/>
                      </a:cubicBezTo>
                      <a:cubicBezTo>
                        <a:pt x="7" y="356"/>
                        <a:pt x="4" y="368"/>
                        <a:pt x="3" y="386"/>
                      </a:cubicBezTo>
                      <a:cubicBezTo>
                        <a:pt x="0" y="439"/>
                        <a:pt x="30" y="452"/>
                        <a:pt x="46" y="494"/>
                      </a:cubicBezTo>
                      <a:cubicBezTo>
                        <a:pt x="66" y="547"/>
                        <a:pt x="69" y="601"/>
                        <a:pt x="96" y="654"/>
                      </a:cubicBezTo>
                      <a:cubicBezTo>
                        <a:pt x="106" y="675"/>
                        <a:pt x="127" y="692"/>
                        <a:pt x="136" y="714"/>
                      </a:cubicBezTo>
                      <a:cubicBezTo>
                        <a:pt x="148" y="744"/>
                        <a:pt x="137" y="786"/>
                        <a:pt x="142" y="820"/>
                      </a:cubicBezTo>
                      <a:cubicBezTo>
                        <a:pt x="153" y="889"/>
                        <a:pt x="176" y="953"/>
                        <a:pt x="260" y="931"/>
                      </a:cubicBezTo>
                      <a:cubicBezTo>
                        <a:pt x="282" y="880"/>
                        <a:pt x="342" y="868"/>
                        <a:pt x="377" y="829"/>
                      </a:cubicBezTo>
                      <a:cubicBezTo>
                        <a:pt x="417" y="784"/>
                        <a:pt x="421" y="730"/>
                        <a:pt x="429" y="674"/>
                      </a:cubicBezTo>
                      <a:cubicBezTo>
                        <a:pt x="435" y="631"/>
                        <a:pt x="447" y="575"/>
                        <a:pt x="471" y="538"/>
                      </a:cubicBezTo>
                      <a:cubicBezTo>
                        <a:pt x="494" y="502"/>
                        <a:pt x="520" y="487"/>
                        <a:pt x="534" y="445"/>
                      </a:cubicBezTo>
                      <a:cubicBezTo>
                        <a:pt x="544" y="414"/>
                        <a:pt x="557" y="388"/>
                        <a:pt x="560" y="355"/>
                      </a:cubicBezTo>
                      <a:cubicBezTo>
                        <a:pt x="566" y="305"/>
                        <a:pt x="541" y="281"/>
                        <a:pt x="514" y="238"/>
                      </a:cubicBezTo>
                      <a:cubicBezTo>
                        <a:pt x="487" y="197"/>
                        <a:pt x="453" y="170"/>
                        <a:pt x="436" y="124"/>
                      </a:cubicBezTo>
                      <a:cubicBezTo>
                        <a:pt x="413" y="64"/>
                        <a:pt x="396" y="10"/>
                        <a:pt x="322" y="4"/>
                      </a:cubicBezTo>
                      <a:cubicBezTo>
                        <a:pt x="271" y="0"/>
                        <a:pt x="227" y="27"/>
                        <a:pt x="179" y="3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3" name="Freeform 271"/>
                <p:cNvSpPr>
                  <a:spLocks/>
                </p:cNvSpPr>
                <p:nvPr/>
              </p:nvSpPr>
              <p:spPr bwMode="gray">
                <a:xfrm>
                  <a:off x="-304800" y="23855363"/>
                  <a:ext cx="1431925" cy="2400300"/>
                </a:xfrm>
                <a:custGeom>
                  <a:avLst/>
                  <a:gdLst/>
                  <a:ahLst/>
                  <a:cxnLst>
                    <a:cxn ang="0">
                      <a:pos x="99" y="26"/>
                    </a:cxn>
                    <a:cxn ang="0">
                      <a:pos x="29" y="111"/>
                    </a:cxn>
                    <a:cxn ang="0">
                      <a:pos x="8" y="172"/>
                    </a:cxn>
                    <a:cxn ang="0">
                      <a:pos x="31" y="239"/>
                    </a:cxn>
                    <a:cxn ang="0">
                      <a:pos x="78" y="368"/>
                    </a:cxn>
                    <a:cxn ang="0">
                      <a:pos x="93" y="429"/>
                    </a:cxn>
                    <a:cxn ang="0">
                      <a:pos x="99" y="508"/>
                    </a:cxn>
                    <a:cxn ang="0">
                      <a:pos x="209" y="588"/>
                    </a:cxn>
                    <a:cxn ang="0">
                      <a:pos x="370" y="639"/>
                    </a:cxn>
                    <a:cxn ang="0">
                      <a:pos x="377" y="496"/>
                    </a:cxn>
                    <a:cxn ang="0">
                      <a:pos x="362" y="438"/>
                    </a:cxn>
                    <a:cxn ang="0">
                      <a:pos x="327" y="390"/>
                    </a:cxn>
                    <a:cxn ang="0">
                      <a:pos x="279" y="275"/>
                    </a:cxn>
                    <a:cxn ang="0">
                      <a:pos x="238" y="146"/>
                    </a:cxn>
                    <a:cxn ang="0">
                      <a:pos x="186" y="38"/>
                    </a:cxn>
                    <a:cxn ang="0">
                      <a:pos x="81" y="26"/>
                    </a:cxn>
                  </a:cxnLst>
                  <a:rect l="0" t="0" r="r" b="b"/>
                  <a:pathLst>
                    <a:path w="382" h="640">
                      <a:moveTo>
                        <a:pt x="99" y="26"/>
                      </a:moveTo>
                      <a:cubicBezTo>
                        <a:pt x="49" y="19"/>
                        <a:pt x="36" y="75"/>
                        <a:pt x="29" y="111"/>
                      </a:cubicBezTo>
                      <a:cubicBezTo>
                        <a:pt x="25" y="132"/>
                        <a:pt x="13" y="152"/>
                        <a:pt x="8" y="172"/>
                      </a:cubicBezTo>
                      <a:cubicBezTo>
                        <a:pt x="0" y="203"/>
                        <a:pt x="19" y="212"/>
                        <a:pt x="31" y="239"/>
                      </a:cubicBezTo>
                      <a:cubicBezTo>
                        <a:pt x="49" y="281"/>
                        <a:pt x="70" y="324"/>
                        <a:pt x="78" y="368"/>
                      </a:cubicBezTo>
                      <a:cubicBezTo>
                        <a:pt x="82" y="389"/>
                        <a:pt x="89" y="408"/>
                        <a:pt x="93" y="429"/>
                      </a:cubicBezTo>
                      <a:cubicBezTo>
                        <a:pt x="98" y="453"/>
                        <a:pt x="91" y="484"/>
                        <a:pt x="99" y="508"/>
                      </a:cubicBezTo>
                      <a:cubicBezTo>
                        <a:pt x="113" y="556"/>
                        <a:pt x="168" y="570"/>
                        <a:pt x="209" y="588"/>
                      </a:cubicBezTo>
                      <a:cubicBezTo>
                        <a:pt x="259" y="609"/>
                        <a:pt x="315" y="640"/>
                        <a:pt x="370" y="639"/>
                      </a:cubicBezTo>
                      <a:cubicBezTo>
                        <a:pt x="376" y="592"/>
                        <a:pt x="382" y="545"/>
                        <a:pt x="377" y="496"/>
                      </a:cubicBezTo>
                      <a:cubicBezTo>
                        <a:pt x="375" y="474"/>
                        <a:pt x="372" y="457"/>
                        <a:pt x="362" y="438"/>
                      </a:cubicBezTo>
                      <a:cubicBezTo>
                        <a:pt x="352" y="421"/>
                        <a:pt x="338" y="407"/>
                        <a:pt x="327" y="390"/>
                      </a:cubicBezTo>
                      <a:cubicBezTo>
                        <a:pt x="306" y="355"/>
                        <a:pt x="294" y="313"/>
                        <a:pt x="279" y="275"/>
                      </a:cubicBezTo>
                      <a:cubicBezTo>
                        <a:pt x="263" y="233"/>
                        <a:pt x="245" y="189"/>
                        <a:pt x="238" y="146"/>
                      </a:cubicBezTo>
                      <a:cubicBezTo>
                        <a:pt x="232" y="107"/>
                        <a:pt x="215" y="66"/>
                        <a:pt x="186" y="38"/>
                      </a:cubicBezTo>
                      <a:cubicBezTo>
                        <a:pt x="162" y="15"/>
                        <a:pt x="107" y="0"/>
                        <a:pt x="81" y="26"/>
                      </a:cubicBezTo>
                    </a:path>
                  </a:pathLst>
                </a:custGeom>
                <a:solidFill>
                  <a:srgbClr val="2B2B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4" name="Freeform 272"/>
                <p:cNvSpPr>
                  <a:spLocks/>
                </p:cNvSpPr>
                <p:nvPr/>
              </p:nvSpPr>
              <p:spPr bwMode="gray">
                <a:xfrm>
                  <a:off x="-117475" y="15621001"/>
                  <a:ext cx="1766888" cy="10001250"/>
                </a:xfrm>
                <a:custGeom>
                  <a:avLst/>
                  <a:gdLst/>
                  <a:ahLst/>
                  <a:cxnLst>
                    <a:cxn ang="0">
                      <a:pos x="66" y="16"/>
                    </a:cxn>
                    <a:cxn ang="0">
                      <a:pos x="48" y="498"/>
                    </a:cxn>
                    <a:cxn ang="0">
                      <a:pos x="84" y="980"/>
                    </a:cxn>
                    <a:cxn ang="0">
                      <a:pos x="89" y="1181"/>
                    </a:cxn>
                    <a:cxn ang="0">
                      <a:pos x="62" y="1388"/>
                    </a:cxn>
                    <a:cxn ang="0">
                      <a:pos x="66" y="1789"/>
                    </a:cxn>
                    <a:cxn ang="0">
                      <a:pos x="20" y="2297"/>
                    </a:cxn>
                    <a:cxn ang="0">
                      <a:pos x="4" y="2358"/>
                    </a:cxn>
                    <a:cxn ang="0">
                      <a:pos x="48" y="2479"/>
                    </a:cxn>
                    <a:cxn ang="0">
                      <a:pos x="91" y="2636"/>
                    </a:cxn>
                    <a:cxn ang="0">
                      <a:pos x="273" y="2631"/>
                    </a:cxn>
                    <a:cxn ang="0">
                      <a:pos x="201" y="2214"/>
                    </a:cxn>
                    <a:cxn ang="0">
                      <a:pos x="364" y="1357"/>
                    </a:cxn>
                    <a:cxn ang="0">
                      <a:pos x="353" y="1118"/>
                    </a:cxn>
                    <a:cxn ang="0">
                      <a:pos x="407" y="761"/>
                    </a:cxn>
                    <a:cxn ang="0">
                      <a:pos x="434" y="515"/>
                    </a:cxn>
                    <a:cxn ang="0">
                      <a:pos x="407" y="8"/>
                    </a:cxn>
                    <a:cxn ang="0">
                      <a:pos x="66" y="7"/>
                    </a:cxn>
                  </a:cxnLst>
                  <a:rect l="0" t="0" r="r" b="b"/>
                  <a:pathLst>
                    <a:path w="471" h="2667">
                      <a:moveTo>
                        <a:pt x="66" y="16"/>
                      </a:moveTo>
                      <a:cubicBezTo>
                        <a:pt x="97" y="171"/>
                        <a:pt x="48" y="335"/>
                        <a:pt x="48" y="498"/>
                      </a:cubicBezTo>
                      <a:cubicBezTo>
                        <a:pt x="48" y="668"/>
                        <a:pt x="53" y="823"/>
                        <a:pt x="84" y="980"/>
                      </a:cubicBezTo>
                      <a:cubicBezTo>
                        <a:pt x="97" y="1046"/>
                        <a:pt x="92" y="1111"/>
                        <a:pt x="89" y="1181"/>
                      </a:cubicBezTo>
                      <a:cubicBezTo>
                        <a:pt x="85" y="1254"/>
                        <a:pt x="89" y="1324"/>
                        <a:pt x="62" y="1388"/>
                      </a:cubicBezTo>
                      <a:cubicBezTo>
                        <a:pt x="0" y="1540"/>
                        <a:pt x="59" y="1653"/>
                        <a:pt x="66" y="1789"/>
                      </a:cubicBezTo>
                      <a:cubicBezTo>
                        <a:pt x="72" y="1893"/>
                        <a:pt x="35" y="2179"/>
                        <a:pt x="20" y="2297"/>
                      </a:cubicBezTo>
                      <a:cubicBezTo>
                        <a:pt x="19" y="2307"/>
                        <a:pt x="1" y="2333"/>
                        <a:pt x="4" y="2358"/>
                      </a:cubicBezTo>
                      <a:cubicBezTo>
                        <a:pt x="8" y="2405"/>
                        <a:pt x="36" y="2460"/>
                        <a:pt x="48" y="2479"/>
                      </a:cubicBezTo>
                      <a:cubicBezTo>
                        <a:pt x="75" y="2521"/>
                        <a:pt x="52" y="2613"/>
                        <a:pt x="91" y="2636"/>
                      </a:cubicBezTo>
                      <a:cubicBezTo>
                        <a:pt x="144" y="2667"/>
                        <a:pt x="273" y="2631"/>
                        <a:pt x="273" y="2631"/>
                      </a:cubicBezTo>
                      <a:cubicBezTo>
                        <a:pt x="232" y="2565"/>
                        <a:pt x="185" y="2354"/>
                        <a:pt x="201" y="2214"/>
                      </a:cubicBezTo>
                      <a:cubicBezTo>
                        <a:pt x="216" y="2078"/>
                        <a:pt x="371" y="1520"/>
                        <a:pt x="364" y="1357"/>
                      </a:cubicBezTo>
                      <a:cubicBezTo>
                        <a:pt x="359" y="1232"/>
                        <a:pt x="343" y="1241"/>
                        <a:pt x="353" y="1118"/>
                      </a:cubicBezTo>
                      <a:cubicBezTo>
                        <a:pt x="359" y="1043"/>
                        <a:pt x="391" y="831"/>
                        <a:pt x="407" y="761"/>
                      </a:cubicBezTo>
                      <a:cubicBezTo>
                        <a:pt x="426" y="679"/>
                        <a:pt x="434" y="601"/>
                        <a:pt x="434" y="515"/>
                      </a:cubicBezTo>
                      <a:cubicBezTo>
                        <a:pt x="434" y="360"/>
                        <a:pt x="471" y="144"/>
                        <a:pt x="407" y="8"/>
                      </a:cubicBezTo>
                      <a:cubicBezTo>
                        <a:pt x="295" y="0"/>
                        <a:pt x="179" y="7"/>
                        <a:pt x="66" y="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5" name="Freeform 273"/>
                <p:cNvSpPr>
                  <a:spLocks/>
                </p:cNvSpPr>
                <p:nvPr/>
              </p:nvSpPr>
              <p:spPr bwMode="gray">
                <a:xfrm>
                  <a:off x="-71438" y="19408776"/>
                  <a:ext cx="1577975" cy="2628900"/>
                </a:xfrm>
                <a:custGeom>
                  <a:avLst/>
                  <a:gdLst/>
                  <a:ahLst/>
                  <a:cxnLst>
                    <a:cxn ang="0">
                      <a:pos x="54" y="701"/>
                    </a:cxn>
                    <a:cxn ang="0">
                      <a:pos x="71" y="427"/>
                    </a:cxn>
                    <a:cxn ang="0">
                      <a:pos x="195" y="194"/>
                    </a:cxn>
                    <a:cxn ang="0">
                      <a:pos x="329" y="35"/>
                    </a:cxn>
                    <a:cxn ang="0">
                      <a:pos x="88" y="121"/>
                    </a:cxn>
                    <a:cxn ang="0">
                      <a:pos x="72" y="275"/>
                    </a:cxn>
                    <a:cxn ang="0">
                      <a:pos x="24" y="409"/>
                    </a:cxn>
                    <a:cxn ang="0">
                      <a:pos x="54" y="701"/>
                    </a:cxn>
                  </a:cxnLst>
                  <a:rect l="0" t="0" r="r" b="b"/>
                  <a:pathLst>
                    <a:path w="421" h="701">
                      <a:moveTo>
                        <a:pt x="54" y="701"/>
                      </a:moveTo>
                      <a:cubicBezTo>
                        <a:pt x="64" y="608"/>
                        <a:pt x="46" y="519"/>
                        <a:pt x="71" y="427"/>
                      </a:cubicBezTo>
                      <a:cubicBezTo>
                        <a:pt x="89" y="362"/>
                        <a:pt x="145" y="234"/>
                        <a:pt x="195" y="194"/>
                      </a:cubicBezTo>
                      <a:cubicBezTo>
                        <a:pt x="230" y="166"/>
                        <a:pt x="421" y="104"/>
                        <a:pt x="329" y="35"/>
                      </a:cubicBezTo>
                      <a:cubicBezTo>
                        <a:pt x="283" y="0"/>
                        <a:pt x="115" y="77"/>
                        <a:pt x="88" y="121"/>
                      </a:cubicBezTo>
                      <a:cubicBezTo>
                        <a:pt x="65" y="159"/>
                        <a:pt x="78" y="232"/>
                        <a:pt x="72" y="275"/>
                      </a:cubicBezTo>
                      <a:cubicBezTo>
                        <a:pt x="64" y="323"/>
                        <a:pt x="34" y="361"/>
                        <a:pt x="24" y="409"/>
                      </a:cubicBezTo>
                      <a:cubicBezTo>
                        <a:pt x="0" y="523"/>
                        <a:pt x="41" y="601"/>
                        <a:pt x="54" y="701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6" name="Freeform 274"/>
                <p:cNvSpPr>
                  <a:spLocks/>
                </p:cNvSpPr>
                <p:nvPr/>
              </p:nvSpPr>
              <p:spPr bwMode="gray">
                <a:xfrm>
                  <a:off x="-1557338" y="19745326"/>
                  <a:ext cx="1219200" cy="1957388"/>
                </a:xfrm>
                <a:custGeom>
                  <a:avLst/>
                  <a:gdLst/>
                  <a:ahLst/>
                  <a:cxnLst>
                    <a:cxn ang="0">
                      <a:pos x="23" y="109"/>
                    </a:cxn>
                    <a:cxn ang="0">
                      <a:pos x="107" y="178"/>
                    </a:cxn>
                    <a:cxn ang="0">
                      <a:pos x="205" y="237"/>
                    </a:cxn>
                    <a:cxn ang="0">
                      <a:pos x="210" y="390"/>
                    </a:cxn>
                    <a:cxn ang="0">
                      <a:pos x="216" y="522"/>
                    </a:cxn>
                    <a:cxn ang="0">
                      <a:pos x="246" y="337"/>
                    </a:cxn>
                    <a:cxn ang="0">
                      <a:pos x="300" y="163"/>
                    </a:cxn>
                    <a:cxn ang="0">
                      <a:pos x="199" y="43"/>
                    </a:cxn>
                    <a:cxn ang="0">
                      <a:pos x="0" y="62"/>
                    </a:cxn>
                  </a:cxnLst>
                  <a:rect l="0" t="0" r="r" b="b"/>
                  <a:pathLst>
                    <a:path w="325" h="522">
                      <a:moveTo>
                        <a:pt x="23" y="109"/>
                      </a:moveTo>
                      <a:cubicBezTo>
                        <a:pt x="61" y="126"/>
                        <a:pt x="76" y="155"/>
                        <a:pt x="107" y="178"/>
                      </a:cubicBezTo>
                      <a:cubicBezTo>
                        <a:pt x="135" y="199"/>
                        <a:pt x="186" y="202"/>
                        <a:pt x="205" y="237"/>
                      </a:cubicBezTo>
                      <a:cubicBezTo>
                        <a:pt x="226" y="276"/>
                        <a:pt x="204" y="345"/>
                        <a:pt x="210" y="390"/>
                      </a:cubicBezTo>
                      <a:cubicBezTo>
                        <a:pt x="217" y="436"/>
                        <a:pt x="241" y="473"/>
                        <a:pt x="216" y="522"/>
                      </a:cubicBezTo>
                      <a:cubicBezTo>
                        <a:pt x="263" y="493"/>
                        <a:pt x="243" y="387"/>
                        <a:pt x="246" y="337"/>
                      </a:cubicBezTo>
                      <a:cubicBezTo>
                        <a:pt x="249" y="268"/>
                        <a:pt x="280" y="226"/>
                        <a:pt x="300" y="163"/>
                      </a:cubicBezTo>
                      <a:cubicBezTo>
                        <a:pt x="325" y="84"/>
                        <a:pt x="269" y="64"/>
                        <a:pt x="199" y="43"/>
                      </a:cubicBezTo>
                      <a:cubicBezTo>
                        <a:pt x="152" y="29"/>
                        <a:pt x="25" y="0"/>
                        <a:pt x="0" y="62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7" name="Freeform 275"/>
                <p:cNvSpPr>
                  <a:spLocks/>
                </p:cNvSpPr>
                <p:nvPr/>
              </p:nvSpPr>
              <p:spPr bwMode="gray">
                <a:xfrm>
                  <a:off x="-1920875" y="9531351"/>
                  <a:ext cx="4233863" cy="5718175"/>
                </a:xfrm>
                <a:custGeom>
                  <a:avLst/>
                  <a:gdLst/>
                  <a:ahLst/>
                  <a:cxnLst>
                    <a:cxn ang="0">
                      <a:pos x="22" y="1482"/>
                    </a:cxn>
                    <a:cxn ang="0">
                      <a:pos x="50" y="1171"/>
                    </a:cxn>
                    <a:cxn ang="0">
                      <a:pos x="103" y="1012"/>
                    </a:cxn>
                    <a:cxn ang="0">
                      <a:pos x="220" y="880"/>
                    </a:cxn>
                    <a:cxn ang="0">
                      <a:pos x="268" y="712"/>
                    </a:cxn>
                    <a:cxn ang="0">
                      <a:pos x="237" y="502"/>
                    </a:cxn>
                    <a:cxn ang="0">
                      <a:pos x="190" y="437"/>
                    </a:cxn>
                    <a:cxn ang="0">
                      <a:pos x="227" y="56"/>
                    </a:cxn>
                    <a:cxn ang="0">
                      <a:pos x="390" y="296"/>
                    </a:cxn>
                    <a:cxn ang="0">
                      <a:pos x="507" y="220"/>
                    </a:cxn>
                    <a:cxn ang="0">
                      <a:pos x="642" y="179"/>
                    </a:cxn>
                    <a:cxn ang="0">
                      <a:pos x="792" y="489"/>
                    </a:cxn>
                    <a:cxn ang="0">
                      <a:pos x="954" y="897"/>
                    </a:cxn>
                    <a:cxn ang="0">
                      <a:pos x="1032" y="950"/>
                    </a:cxn>
                    <a:cxn ang="0">
                      <a:pos x="1051" y="1086"/>
                    </a:cxn>
                    <a:cxn ang="0">
                      <a:pos x="1111" y="1312"/>
                    </a:cxn>
                    <a:cxn ang="0">
                      <a:pos x="1126" y="1481"/>
                    </a:cxn>
                    <a:cxn ang="0">
                      <a:pos x="870" y="1517"/>
                    </a:cxn>
                    <a:cxn ang="0">
                      <a:pos x="624" y="1499"/>
                    </a:cxn>
                    <a:cxn ang="0">
                      <a:pos x="344" y="1505"/>
                    </a:cxn>
                    <a:cxn ang="0">
                      <a:pos x="222" y="1504"/>
                    </a:cxn>
                    <a:cxn ang="0">
                      <a:pos x="122" y="1395"/>
                    </a:cxn>
                    <a:cxn ang="0">
                      <a:pos x="22" y="1476"/>
                    </a:cxn>
                  </a:cxnLst>
                  <a:rect l="0" t="0" r="r" b="b"/>
                  <a:pathLst>
                    <a:path w="1129" h="1525">
                      <a:moveTo>
                        <a:pt x="22" y="1482"/>
                      </a:moveTo>
                      <a:cubicBezTo>
                        <a:pt x="57" y="1380"/>
                        <a:pt x="0" y="1268"/>
                        <a:pt x="50" y="1171"/>
                      </a:cubicBezTo>
                      <a:cubicBezTo>
                        <a:pt x="78" y="1116"/>
                        <a:pt x="86" y="1070"/>
                        <a:pt x="103" y="1012"/>
                      </a:cubicBezTo>
                      <a:cubicBezTo>
                        <a:pt x="127" y="930"/>
                        <a:pt x="156" y="924"/>
                        <a:pt x="220" y="880"/>
                      </a:cubicBezTo>
                      <a:cubicBezTo>
                        <a:pt x="287" y="833"/>
                        <a:pt x="283" y="799"/>
                        <a:pt x="268" y="712"/>
                      </a:cubicBezTo>
                      <a:cubicBezTo>
                        <a:pt x="256" y="646"/>
                        <a:pt x="263" y="566"/>
                        <a:pt x="237" y="502"/>
                      </a:cubicBezTo>
                      <a:cubicBezTo>
                        <a:pt x="226" y="474"/>
                        <a:pt x="204" y="462"/>
                        <a:pt x="190" y="437"/>
                      </a:cubicBezTo>
                      <a:cubicBezTo>
                        <a:pt x="147" y="359"/>
                        <a:pt x="119" y="106"/>
                        <a:pt x="227" y="56"/>
                      </a:cubicBezTo>
                      <a:cubicBezTo>
                        <a:pt x="346" y="0"/>
                        <a:pt x="336" y="256"/>
                        <a:pt x="390" y="296"/>
                      </a:cubicBezTo>
                      <a:cubicBezTo>
                        <a:pt x="455" y="344"/>
                        <a:pt x="484" y="256"/>
                        <a:pt x="507" y="220"/>
                      </a:cubicBezTo>
                      <a:cubicBezTo>
                        <a:pt x="534" y="178"/>
                        <a:pt x="590" y="161"/>
                        <a:pt x="642" y="179"/>
                      </a:cubicBezTo>
                      <a:cubicBezTo>
                        <a:pt x="769" y="223"/>
                        <a:pt x="784" y="376"/>
                        <a:pt x="792" y="489"/>
                      </a:cubicBezTo>
                      <a:cubicBezTo>
                        <a:pt x="804" y="649"/>
                        <a:pt x="825" y="792"/>
                        <a:pt x="954" y="897"/>
                      </a:cubicBezTo>
                      <a:cubicBezTo>
                        <a:pt x="976" y="915"/>
                        <a:pt x="1018" y="925"/>
                        <a:pt x="1032" y="950"/>
                      </a:cubicBezTo>
                      <a:cubicBezTo>
                        <a:pt x="1050" y="982"/>
                        <a:pt x="1046" y="1048"/>
                        <a:pt x="1051" y="1086"/>
                      </a:cubicBezTo>
                      <a:cubicBezTo>
                        <a:pt x="1060" y="1168"/>
                        <a:pt x="1091" y="1231"/>
                        <a:pt x="1111" y="1312"/>
                      </a:cubicBezTo>
                      <a:cubicBezTo>
                        <a:pt x="1125" y="1367"/>
                        <a:pt x="1129" y="1423"/>
                        <a:pt x="1126" y="1481"/>
                      </a:cubicBezTo>
                      <a:cubicBezTo>
                        <a:pt x="1041" y="1476"/>
                        <a:pt x="952" y="1509"/>
                        <a:pt x="870" y="1517"/>
                      </a:cubicBezTo>
                      <a:cubicBezTo>
                        <a:pt x="789" y="1525"/>
                        <a:pt x="705" y="1503"/>
                        <a:pt x="624" y="1499"/>
                      </a:cubicBezTo>
                      <a:cubicBezTo>
                        <a:pt x="530" y="1496"/>
                        <a:pt x="437" y="1506"/>
                        <a:pt x="344" y="1505"/>
                      </a:cubicBezTo>
                      <a:cubicBezTo>
                        <a:pt x="316" y="1505"/>
                        <a:pt x="244" y="1518"/>
                        <a:pt x="222" y="1504"/>
                      </a:cubicBezTo>
                      <a:cubicBezTo>
                        <a:pt x="164" y="1467"/>
                        <a:pt x="229" y="1376"/>
                        <a:pt x="122" y="1395"/>
                      </a:cubicBezTo>
                      <a:cubicBezTo>
                        <a:pt x="130" y="1436"/>
                        <a:pt x="58" y="1476"/>
                        <a:pt x="22" y="1476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8" name="Freeform 276"/>
                <p:cNvSpPr>
                  <a:spLocks/>
                </p:cNvSpPr>
                <p:nvPr/>
              </p:nvSpPr>
              <p:spPr bwMode="gray">
                <a:xfrm>
                  <a:off x="-1741488" y="14217651"/>
                  <a:ext cx="4021138" cy="6184900"/>
                </a:xfrm>
                <a:custGeom>
                  <a:avLst/>
                  <a:gdLst/>
                  <a:ahLst/>
                  <a:cxnLst>
                    <a:cxn ang="0">
                      <a:pos x="49" y="197"/>
                    </a:cxn>
                    <a:cxn ang="0">
                      <a:pos x="5" y="390"/>
                    </a:cxn>
                    <a:cxn ang="0">
                      <a:pos x="15" y="591"/>
                    </a:cxn>
                    <a:cxn ang="0">
                      <a:pos x="40" y="1036"/>
                    </a:cxn>
                    <a:cxn ang="0">
                      <a:pos x="40" y="1450"/>
                    </a:cxn>
                    <a:cxn ang="0">
                      <a:pos x="93" y="1609"/>
                    </a:cxn>
                    <a:cxn ang="0">
                      <a:pos x="338" y="1617"/>
                    </a:cxn>
                    <a:cxn ang="0">
                      <a:pos x="522" y="1555"/>
                    </a:cxn>
                    <a:cxn ang="0">
                      <a:pos x="741" y="1503"/>
                    </a:cxn>
                    <a:cxn ang="0">
                      <a:pos x="917" y="1442"/>
                    </a:cxn>
                    <a:cxn ang="0">
                      <a:pos x="932" y="1343"/>
                    </a:cxn>
                    <a:cxn ang="0">
                      <a:pos x="972" y="1249"/>
                    </a:cxn>
                    <a:cxn ang="0">
                      <a:pos x="1014" y="820"/>
                    </a:cxn>
                    <a:cxn ang="0">
                      <a:pos x="1039" y="379"/>
                    </a:cxn>
                    <a:cxn ang="0">
                      <a:pos x="987" y="100"/>
                    </a:cxn>
                    <a:cxn ang="0">
                      <a:pos x="680" y="21"/>
                    </a:cxn>
                    <a:cxn ang="0">
                      <a:pos x="338" y="30"/>
                    </a:cxn>
                    <a:cxn ang="0">
                      <a:pos x="40" y="109"/>
                    </a:cxn>
                  </a:cxnLst>
                  <a:rect l="0" t="0" r="r" b="b"/>
                  <a:pathLst>
                    <a:path w="1072" h="1649">
                      <a:moveTo>
                        <a:pt x="49" y="197"/>
                      </a:moveTo>
                      <a:cubicBezTo>
                        <a:pt x="49" y="268"/>
                        <a:pt x="9" y="321"/>
                        <a:pt x="5" y="390"/>
                      </a:cubicBezTo>
                      <a:cubicBezTo>
                        <a:pt x="1" y="463"/>
                        <a:pt x="23" y="516"/>
                        <a:pt x="15" y="591"/>
                      </a:cubicBezTo>
                      <a:cubicBezTo>
                        <a:pt x="0" y="742"/>
                        <a:pt x="40" y="880"/>
                        <a:pt x="40" y="1036"/>
                      </a:cubicBezTo>
                      <a:cubicBezTo>
                        <a:pt x="40" y="1175"/>
                        <a:pt x="58" y="1322"/>
                        <a:pt x="40" y="1450"/>
                      </a:cubicBezTo>
                      <a:cubicBezTo>
                        <a:pt x="30" y="1526"/>
                        <a:pt x="4" y="1558"/>
                        <a:pt x="93" y="1609"/>
                      </a:cubicBezTo>
                      <a:cubicBezTo>
                        <a:pt x="163" y="1649"/>
                        <a:pt x="272" y="1628"/>
                        <a:pt x="338" y="1617"/>
                      </a:cubicBezTo>
                      <a:cubicBezTo>
                        <a:pt x="401" y="1607"/>
                        <a:pt x="459" y="1564"/>
                        <a:pt x="522" y="1555"/>
                      </a:cubicBezTo>
                      <a:cubicBezTo>
                        <a:pt x="611" y="1543"/>
                        <a:pt x="669" y="1531"/>
                        <a:pt x="741" y="1503"/>
                      </a:cubicBezTo>
                      <a:cubicBezTo>
                        <a:pt x="801" y="1480"/>
                        <a:pt x="887" y="1491"/>
                        <a:pt x="917" y="1442"/>
                      </a:cubicBezTo>
                      <a:cubicBezTo>
                        <a:pt x="926" y="1426"/>
                        <a:pt x="927" y="1364"/>
                        <a:pt x="932" y="1343"/>
                      </a:cubicBezTo>
                      <a:cubicBezTo>
                        <a:pt x="942" y="1309"/>
                        <a:pt x="962" y="1280"/>
                        <a:pt x="972" y="1249"/>
                      </a:cubicBezTo>
                      <a:cubicBezTo>
                        <a:pt x="1013" y="1120"/>
                        <a:pt x="986" y="953"/>
                        <a:pt x="1014" y="820"/>
                      </a:cubicBezTo>
                      <a:cubicBezTo>
                        <a:pt x="1044" y="674"/>
                        <a:pt x="1047" y="525"/>
                        <a:pt x="1039" y="379"/>
                      </a:cubicBezTo>
                      <a:cubicBezTo>
                        <a:pt x="1035" y="279"/>
                        <a:pt x="1072" y="163"/>
                        <a:pt x="987" y="100"/>
                      </a:cubicBezTo>
                      <a:cubicBezTo>
                        <a:pt x="918" y="49"/>
                        <a:pt x="767" y="37"/>
                        <a:pt x="680" y="21"/>
                      </a:cubicBezTo>
                      <a:cubicBezTo>
                        <a:pt x="564" y="0"/>
                        <a:pt x="454" y="26"/>
                        <a:pt x="338" y="30"/>
                      </a:cubicBezTo>
                      <a:cubicBezTo>
                        <a:pt x="253" y="34"/>
                        <a:pt x="102" y="49"/>
                        <a:pt x="40" y="109"/>
                      </a:cubicBezTo>
                    </a:path>
                  </a:pathLst>
                </a:custGeom>
                <a:solidFill>
                  <a:srgbClr val="3F3B3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79" name="Freeform 277"/>
                <p:cNvSpPr>
                  <a:spLocks/>
                </p:cNvSpPr>
                <p:nvPr/>
              </p:nvSpPr>
              <p:spPr bwMode="gray">
                <a:xfrm>
                  <a:off x="-1141413" y="14004926"/>
                  <a:ext cx="1987550" cy="806450"/>
                </a:xfrm>
                <a:custGeom>
                  <a:avLst/>
                  <a:gdLst/>
                  <a:ahLst/>
                  <a:cxnLst>
                    <a:cxn ang="0">
                      <a:pos x="35" y="132"/>
                    </a:cxn>
                    <a:cxn ang="0">
                      <a:pos x="251" y="195"/>
                    </a:cxn>
                    <a:cxn ang="0">
                      <a:pos x="252" y="168"/>
                    </a:cxn>
                    <a:cxn ang="0">
                      <a:pos x="345" y="208"/>
                    </a:cxn>
                    <a:cxn ang="0">
                      <a:pos x="462" y="196"/>
                    </a:cxn>
                    <a:cxn ang="0">
                      <a:pos x="526" y="132"/>
                    </a:cxn>
                    <a:cxn ang="0">
                      <a:pos x="440" y="60"/>
                    </a:cxn>
                    <a:cxn ang="0">
                      <a:pos x="221" y="9"/>
                    </a:cxn>
                    <a:cxn ang="0">
                      <a:pos x="0" y="108"/>
                    </a:cxn>
                  </a:cxnLst>
                  <a:rect l="0" t="0" r="r" b="b"/>
                  <a:pathLst>
                    <a:path w="530" h="215">
                      <a:moveTo>
                        <a:pt x="35" y="132"/>
                      </a:moveTo>
                      <a:cubicBezTo>
                        <a:pt x="56" y="196"/>
                        <a:pt x="194" y="198"/>
                        <a:pt x="251" y="195"/>
                      </a:cubicBezTo>
                      <a:cubicBezTo>
                        <a:pt x="250" y="187"/>
                        <a:pt x="253" y="176"/>
                        <a:pt x="252" y="168"/>
                      </a:cubicBezTo>
                      <a:cubicBezTo>
                        <a:pt x="306" y="141"/>
                        <a:pt x="309" y="199"/>
                        <a:pt x="345" y="208"/>
                      </a:cubicBezTo>
                      <a:cubicBezTo>
                        <a:pt x="371" y="215"/>
                        <a:pt x="434" y="201"/>
                        <a:pt x="462" y="196"/>
                      </a:cubicBezTo>
                      <a:cubicBezTo>
                        <a:pt x="500" y="189"/>
                        <a:pt x="530" y="182"/>
                        <a:pt x="526" y="132"/>
                      </a:cubicBezTo>
                      <a:cubicBezTo>
                        <a:pt x="522" y="79"/>
                        <a:pt x="479" y="76"/>
                        <a:pt x="440" y="60"/>
                      </a:cubicBezTo>
                      <a:cubicBezTo>
                        <a:pt x="364" y="31"/>
                        <a:pt x="304" y="16"/>
                        <a:pt x="221" y="9"/>
                      </a:cubicBezTo>
                      <a:cubicBezTo>
                        <a:pt x="115" y="0"/>
                        <a:pt x="78" y="59"/>
                        <a:pt x="0" y="108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0" name="Freeform 278"/>
                <p:cNvSpPr>
                  <a:spLocks/>
                </p:cNvSpPr>
                <p:nvPr/>
              </p:nvSpPr>
              <p:spPr bwMode="gray">
                <a:xfrm>
                  <a:off x="-1774825" y="8439151"/>
                  <a:ext cx="3055938" cy="6232525"/>
                </a:xfrm>
                <a:custGeom>
                  <a:avLst/>
                  <a:gdLst/>
                  <a:ahLst/>
                  <a:cxnLst>
                    <a:cxn ang="0">
                      <a:pos x="256" y="0"/>
                    </a:cxn>
                    <a:cxn ang="0">
                      <a:pos x="124" y="102"/>
                    </a:cxn>
                    <a:cxn ang="0">
                      <a:pos x="0" y="191"/>
                    </a:cxn>
                    <a:cxn ang="0">
                      <a:pos x="169" y="149"/>
                    </a:cxn>
                    <a:cxn ang="0">
                      <a:pos x="238" y="254"/>
                    </a:cxn>
                    <a:cxn ang="0">
                      <a:pos x="205" y="535"/>
                    </a:cxn>
                    <a:cxn ang="0">
                      <a:pos x="194" y="880"/>
                    </a:cxn>
                    <a:cxn ang="0">
                      <a:pos x="209" y="1027"/>
                    </a:cxn>
                    <a:cxn ang="0">
                      <a:pos x="213" y="1130"/>
                    </a:cxn>
                    <a:cxn ang="0">
                      <a:pos x="232" y="1246"/>
                    </a:cxn>
                    <a:cxn ang="0">
                      <a:pos x="178" y="1344"/>
                    </a:cxn>
                    <a:cxn ang="0">
                      <a:pos x="198" y="1395"/>
                    </a:cxn>
                    <a:cxn ang="0">
                      <a:pos x="198" y="1467"/>
                    </a:cxn>
                    <a:cxn ang="0">
                      <a:pos x="251" y="1638"/>
                    </a:cxn>
                    <a:cxn ang="0">
                      <a:pos x="338" y="1660"/>
                    </a:cxn>
                    <a:cxn ang="0">
                      <a:pos x="411" y="1585"/>
                    </a:cxn>
                    <a:cxn ang="0">
                      <a:pos x="434" y="1403"/>
                    </a:cxn>
                    <a:cxn ang="0">
                      <a:pos x="454" y="1613"/>
                    </a:cxn>
                    <a:cxn ang="0">
                      <a:pos x="514" y="1660"/>
                    </a:cxn>
                    <a:cxn ang="0">
                      <a:pos x="626" y="1655"/>
                    </a:cxn>
                    <a:cxn ang="0">
                      <a:pos x="615" y="1451"/>
                    </a:cxn>
                    <a:cxn ang="0">
                      <a:pos x="639" y="1083"/>
                    </a:cxn>
                    <a:cxn ang="0">
                      <a:pos x="623" y="546"/>
                    </a:cxn>
                    <a:cxn ang="0">
                      <a:pos x="630" y="346"/>
                    </a:cxn>
                    <a:cxn ang="0">
                      <a:pos x="600" y="215"/>
                    </a:cxn>
                    <a:cxn ang="0">
                      <a:pos x="654" y="176"/>
                    </a:cxn>
                    <a:cxn ang="0">
                      <a:pos x="705" y="202"/>
                    </a:cxn>
                    <a:cxn ang="0">
                      <a:pos x="760" y="225"/>
                    </a:cxn>
                    <a:cxn ang="0">
                      <a:pos x="813" y="265"/>
                    </a:cxn>
                    <a:cxn ang="0">
                      <a:pos x="779" y="202"/>
                    </a:cxn>
                    <a:cxn ang="0">
                      <a:pos x="746" y="129"/>
                    </a:cxn>
                    <a:cxn ang="0">
                      <a:pos x="607" y="23"/>
                    </a:cxn>
                    <a:cxn ang="0">
                      <a:pos x="576" y="191"/>
                    </a:cxn>
                    <a:cxn ang="0">
                      <a:pos x="483" y="316"/>
                    </a:cxn>
                    <a:cxn ang="0">
                      <a:pos x="427" y="480"/>
                    </a:cxn>
                    <a:cxn ang="0">
                      <a:pos x="393" y="654"/>
                    </a:cxn>
                    <a:cxn ang="0">
                      <a:pos x="381" y="479"/>
                    </a:cxn>
                    <a:cxn ang="0">
                      <a:pos x="350" y="331"/>
                    </a:cxn>
                    <a:cxn ang="0">
                      <a:pos x="272" y="187"/>
                    </a:cxn>
                    <a:cxn ang="0">
                      <a:pos x="182" y="78"/>
                    </a:cxn>
                  </a:cxnLst>
                  <a:rect l="0" t="0" r="r" b="b"/>
                  <a:pathLst>
                    <a:path w="815" h="1662">
                      <a:moveTo>
                        <a:pt x="256" y="0"/>
                      </a:moveTo>
                      <a:cubicBezTo>
                        <a:pt x="211" y="40"/>
                        <a:pt x="171" y="69"/>
                        <a:pt x="124" y="102"/>
                      </a:cubicBezTo>
                      <a:cubicBezTo>
                        <a:pt x="87" y="129"/>
                        <a:pt x="50" y="196"/>
                        <a:pt x="0" y="191"/>
                      </a:cubicBezTo>
                      <a:cubicBezTo>
                        <a:pt x="63" y="237"/>
                        <a:pt x="121" y="165"/>
                        <a:pt x="169" y="149"/>
                      </a:cubicBezTo>
                      <a:cubicBezTo>
                        <a:pt x="204" y="186"/>
                        <a:pt x="255" y="201"/>
                        <a:pt x="238" y="254"/>
                      </a:cubicBezTo>
                      <a:cubicBezTo>
                        <a:pt x="209" y="343"/>
                        <a:pt x="205" y="438"/>
                        <a:pt x="205" y="535"/>
                      </a:cubicBezTo>
                      <a:cubicBezTo>
                        <a:pt x="206" y="650"/>
                        <a:pt x="189" y="764"/>
                        <a:pt x="194" y="880"/>
                      </a:cubicBezTo>
                      <a:cubicBezTo>
                        <a:pt x="196" y="931"/>
                        <a:pt x="209" y="976"/>
                        <a:pt x="209" y="1027"/>
                      </a:cubicBezTo>
                      <a:cubicBezTo>
                        <a:pt x="209" y="1062"/>
                        <a:pt x="209" y="1096"/>
                        <a:pt x="213" y="1130"/>
                      </a:cubicBezTo>
                      <a:cubicBezTo>
                        <a:pt x="217" y="1168"/>
                        <a:pt x="234" y="1209"/>
                        <a:pt x="232" y="1246"/>
                      </a:cubicBezTo>
                      <a:cubicBezTo>
                        <a:pt x="212" y="1257"/>
                        <a:pt x="178" y="1320"/>
                        <a:pt x="178" y="1344"/>
                      </a:cubicBezTo>
                      <a:cubicBezTo>
                        <a:pt x="178" y="1362"/>
                        <a:pt x="194" y="1378"/>
                        <a:pt x="198" y="1395"/>
                      </a:cubicBezTo>
                      <a:cubicBezTo>
                        <a:pt x="203" y="1417"/>
                        <a:pt x="196" y="1444"/>
                        <a:pt x="198" y="1467"/>
                      </a:cubicBezTo>
                      <a:cubicBezTo>
                        <a:pt x="200" y="1524"/>
                        <a:pt x="198" y="1610"/>
                        <a:pt x="251" y="1638"/>
                      </a:cubicBezTo>
                      <a:cubicBezTo>
                        <a:pt x="278" y="1652"/>
                        <a:pt x="306" y="1660"/>
                        <a:pt x="338" y="1660"/>
                      </a:cubicBezTo>
                      <a:cubicBezTo>
                        <a:pt x="391" y="1660"/>
                        <a:pt x="400" y="1638"/>
                        <a:pt x="411" y="1585"/>
                      </a:cubicBezTo>
                      <a:cubicBezTo>
                        <a:pt x="423" y="1528"/>
                        <a:pt x="392" y="1448"/>
                        <a:pt x="434" y="1403"/>
                      </a:cubicBezTo>
                      <a:cubicBezTo>
                        <a:pt x="458" y="1464"/>
                        <a:pt x="436" y="1549"/>
                        <a:pt x="454" y="1613"/>
                      </a:cubicBezTo>
                      <a:cubicBezTo>
                        <a:pt x="467" y="1658"/>
                        <a:pt x="471" y="1662"/>
                        <a:pt x="514" y="1660"/>
                      </a:cubicBezTo>
                      <a:cubicBezTo>
                        <a:pt x="550" y="1658"/>
                        <a:pt x="590" y="1654"/>
                        <a:pt x="626" y="1655"/>
                      </a:cubicBezTo>
                      <a:cubicBezTo>
                        <a:pt x="633" y="1591"/>
                        <a:pt x="612" y="1518"/>
                        <a:pt x="615" y="1451"/>
                      </a:cubicBezTo>
                      <a:cubicBezTo>
                        <a:pt x="621" y="1327"/>
                        <a:pt x="650" y="1208"/>
                        <a:pt x="639" y="1083"/>
                      </a:cubicBezTo>
                      <a:cubicBezTo>
                        <a:pt x="623" y="910"/>
                        <a:pt x="596" y="718"/>
                        <a:pt x="623" y="546"/>
                      </a:cubicBezTo>
                      <a:cubicBezTo>
                        <a:pt x="680" y="550"/>
                        <a:pt x="641" y="384"/>
                        <a:pt x="630" y="346"/>
                      </a:cubicBezTo>
                      <a:cubicBezTo>
                        <a:pt x="618" y="305"/>
                        <a:pt x="571" y="247"/>
                        <a:pt x="600" y="215"/>
                      </a:cubicBezTo>
                      <a:cubicBezTo>
                        <a:pt x="608" y="206"/>
                        <a:pt x="646" y="179"/>
                        <a:pt x="654" y="176"/>
                      </a:cubicBezTo>
                      <a:cubicBezTo>
                        <a:pt x="695" y="163"/>
                        <a:pt x="682" y="184"/>
                        <a:pt x="705" y="202"/>
                      </a:cubicBezTo>
                      <a:cubicBezTo>
                        <a:pt x="723" y="216"/>
                        <a:pt x="741" y="215"/>
                        <a:pt x="760" y="225"/>
                      </a:cubicBezTo>
                      <a:cubicBezTo>
                        <a:pt x="779" y="235"/>
                        <a:pt x="792" y="256"/>
                        <a:pt x="813" y="265"/>
                      </a:cubicBezTo>
                      <a:cubicBezTo>
                        <a:pt x="815" y="238"/>
                        <a:pt x="791" y="223"/>
                        <a:pt x="779" y="202"/>
                      </a:cubicBezTo>
                      <a:cubicBezTo>
                        <a:pt x="767" y="180"/>
                        <a:pt x="764" y="150"/>
                        <a:pt x="746" y="129"/>
                      </a:cubicBezTo>
                      <a:cubicBezTo>
                        <a:pt x="708" y="85"/>
                        <a:pt x="641" y="69"/>
                        <a:pt x="607" y="23"/>
                      </a:cubicBezTo>
                      <a:cubicBezTo>
                        <a:pt x="592" y="80"/>
                        <a:pt x="607" y="139"/>
                        <a:pt x="576" y="191"/>
                      </a:cubicBezTo>
                      <a:cubicBezTo>
                        <a:pt x="548" y="236"/>
                        <a:pt x="505" y="268"/>
                        <a:pt x="483" y="316"/>
                      </a:cubicBezTo>
                      <a:cubicBezTo>
                        <a:pt x="459" y="368"/>
                        <a:pt x="446" y="424"/>
                        <a:pt x="427" y="480"/>
                      </a:cubicBezTo>
                      <a:cubicBezTo>
                        <a:pt x="411" y="527"/>
                        <a:pt x="428" y="620"/>
                        <a:pt x="393" y="654"/>
                      </a:cubicBezTo>
                      <a:cubicBezTo>
                        <a:pt x="376" y="608"/>
                        <a:pt x="381" y="529"/>
                        <a:pt x="381" y="479"/>
                      </a:cubicBezTo>
                      <a:cubicBezTo>
                        <a:pt x="380" y="421"/>
                        <a:pt x="381" y="374"/>
                        <a:pt x="350" y="331"/>
                      </a:cubicBezTo>
                      <a:cubicBezTo>
                        <a:pt x="317" y="282"/>
                        <a:pt x="287" y="242"/>
                        <a:pt x="272" y="187"/>
                      </a:cubicBezTo>
                      <a:cubicBezTo>
                        <a:pt x="262" y="153"/>
                        <a:pt x="229" y="68"/>
                        <a:pt x="182" y="78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1" name="Freeform 279"/>
                <p:cNvSpPr>
                  <a:spLocks/>
                </p:cNvSpPr>
                <p:nvPr/>
              </p:nvSpPr>
              <p:spPr bwMode="gray">
                <a:xfrm>
                  <a:off x="-2914650" y="13449301"/>
                  <a:ext cx="1031875" cy="720725"/>
                </a:xfrm>
                <a:custGeom>
                  <a:avLst/>
                  <a:gdLst/>
                  <a:ahLst/>
                  <a:cxnLst>
                    <a:cxn ang="0">
                      <a:pos x="135" y="191"/>
                    </a:cxn>
                    <a:cxn ang="0">
                      <a:pos x="188" y="4"/>
                    </a:cxn>
                    <a:cxn ang="0">
                      <a:pos x="234" y="116"/>
                    </a:cxn>
                    <a:cxn ang="0">
                      <a:pos x="129" y="191"/>
                    </a:cxn>
                  </a:cxnLst>
                  <a:rect l="0" t="0" r="r" b="b"/>
                  <a:pathLst>
                    <a:path w="275" h="192">
                      <a:moveTo>
                        <a:pt x="135" y="191"/>
                      </a:moveTo>
                      <a:cubicBezTo>
                        <a:pt x="0" y="192"/>
                        <a:pt x="88" y="10"/>
                        <a:pt x="188" y="4"/>
                      </a:cubicBezTo>
                      <a:cubicBezTo>
                        <a:pt x="259" y="0"/>
                        <a:pt x="275" y="74"/>
                        <a:pt x="234" y="116"/>
                      </a:cubicBezTo>
                      <a:cubicBezTo>
                        <a:pt x="207" y="143"/>
                        <a:pt x="162" y="165"/>
                        <a:pt x="129" y="19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2" name="Freeform 280"/>
                <p:cNvSpPr>
                  <a:spLocks/>
                </p:cNvSpPr>
                <p:nvPr/>
              </p:nvSpPr>
              <p:spPr bwMode="gray">
                <a:xfrm>
                  <a:off x="400050" y="14341476"/>
                  <a:ext cx="1808163" cy="1276350"/>
                </a:xfrm>
                <a:custGeom>
                  <a:avLst/>
                  <a:gdLst/>
                  <a:ahLst/>
                  <a:cxnLst>
                    <a:cxn ang="0">
                      <a:pos x="460" y="287"/>
                    </a:cxn>
                    <a:cxn ang="0">
                      <a:pos x="232" y="257"/>
                    </a:cxn>
                    <a:cxn ang="0">
                      <a:pos x="11" y="327"/>
                    </a:cxn>
                    <a:cxn ang="0">
                      <a:pos x="15" y="236"/>
                    </a:cxn>
                    <a:cxn ang="0">
                      <a:pos x="0" y="235"/>
                    </a:cxn>
                    <a:cxn ang="0">
                      <a:pos x="482" y="228"/>
                    </a:cxn>
                    <a:cxn ang="0">
                      <a:pos x="466" y="235"/>
                    </a:cxn>
                  </a:cxnLst>
                  <a:rect l="0" t="0" r="r" b="b"/>
                  <a:pathLst>
                    <a:path w="482" h="340">
                      <a:moveTo>
                        <a:pt x="460" y="287"/>
                      </a:moveTo>
                      <a:cubicBezTo>
                        <a:pt x="386" y="340"/>
                        <a:pt x="304" y="274"/>
                        <a:pt x="232" y="257"/>
                      </a:cubicBezTo>
                      <a:cubicBezTo>
                        <a:pt x="132" y="232"/>
                        <a:pt x="95" y="302"/>
                        <a:pt x="11" y="327"/>
                      </a:cubicBezTo>
                      <a:cubicBezTo>
                        <a:pt x="11" y="297"/>
                        <a:pt x="20" y="267"/>
                        <a:pt x="15" y="236"/>
                      </a:cubicBezTo>
                      <a:cubicBezTo>
                        <a:pt x="11" y="235"/>
                        <a:pt x="4" y="236"/>
                        <a:pt x="0" y="235"/>
                      </a:cubicBezTo>
                      <a:cubicBezTo>
                        <a:pt x="109" y="206"/>
                        <a:pt x="473" y="0"/>
                        <a:pt x="482" y="228"/>
                      </a:cubicBezTo>
                      <a:cubicBezTo>
                        <a:pt x="476" y="229"/>
                        <a:pt x="472" y="232"/>
                        <a:pt x="466" y="235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3" name="Freeform 281"/>
                <p:cNvSpPr>
                  <a:spLocks/>
                </p:cNvSpPr>
                <p:nvPr/>
              </p:nvSpPr>
              <p:spPr bwMode="gray">
                <a:xfrm>
                  <a:off x="-1665288" y="14825663"/>
                  <a:ext cx="1098550" cy="919163"/>
                </a:xfrm>
                <a:custGeom>
                  <a:avLst/>
                  <a:gdLst/>
                  <a:ahLst/>
                  <a:cxnLst>
                    <a:cxn ang="0">
                      <a:pos x="0" y="59"/>
                    </a:cxn>
                    <a:cxn ang="0">
                      <a:pos x="98" y="182"/>
                    </a:cxn>
                    <a:cxn ang="0">
                      <a:pos x="293" y="240"/>
                    </a:cxn>
                    <a:cxn ang="0">
                      <a:pos x="227" y="19"/>
                    </a:cxn>
                    <a:cxn ang="0">
                      <a:pos x="75" y="6"/>
                    </a:cxn>
                    <a:cxn ang="0">
                      <a:pos x="0" y="76"/>
                    </a:cxn>
                  </a:cxnLst>
                  <a:rect l="0" t="0" r="r" b="b"/>
                  <a:pathLst>
                    <a:path w="293" h="245">
                      <a:moveTo>
                        <a:pt x="0" y="59"/>
                      </a:moveTo>
                      <a:cubicBezTo>
                        <a:pt x="40" y="113"/>
                        <a:pt x="22" y="156"/>
                        <a:pt x="98" y="182"/>
                      </a:cubicBezTo>
                      <a:cubicBezTo>
                        <a:pt x="149" y="199"/>
                        <a:pt x="239" y="245"/>
                        <a:pt x="293" y="240"/>
                      </a:cubicBezTo>
                      <a:cubicBezTo>
                        <a:pt x="214" y="196"/>
                        <a:pt x="232" y="106"/>
                        <a:pt x="227" y="19"/>
                      </a:cubicBezTo>
                      <a:cubicBezTo>
                        <a:pt x="177" y="14"/>
                        <a:pt x="128" y="0"/>
                        <a:pt x="75" y="6"/>
                      </a:cubicBezTo>
                      <a:cubicBezTo>
                        <a:pt x="11" y="14"/>
                        <a:pt x="36" y="33"/>
                        <a:pt x="0" y="76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4" name="Freeform 282"/>
                <p:cNvSpPr>
                  <a:spLocks/>
                </p:cNvSpPr>
                <p:nvPr/>
              </p:nvSpPr>
              <p:spPr bwMode="gray">
                <a:xfrm>
                  <a:off x="-739775" y="15628938"/>
                  <a:ext cx="2692400" cy="2411413"/>
                </a:xfrm>
                <a:custGeom>
                  <a:avLst/>
                  <a:gdLst/>
                  <a:ahLst/>
                  <a:cxnLst>
                    <a:cxn ang="0">
                      <a:pos x="653" y="225"/>
                    </a:cxn>
                    <a:cxn ang="0">
                      <a:pos x="513" y="353"/>
                    </a:cxn>
                    <a:cxn ang="0">
                      <a:pos x="361" y="480"/>
                    </a:cxn>
                    <a:cxn ang="0">
                      <a:pos x="0" y="621"/>
                    </a:cxn>
                    <a:cxn ang="0">
                      <a:pos x="435" y="305"/>
                    </a:cxn>
                    <a:cxn ang="0">
                      <a:pos x="573" y="104"/>
                    </a:cxn>
                    <a:cxn ang="0">
                      <a:pos x="675" y="21"/>
                    </a:cxn>
                    <a:cxn ang="0">
                      <a:pos x="682" y="153"/>
                    </a:cxn>
                    <a:cxn ang="0">
                      <a:pos x="589" y="283"/>
                    </a:cxn>
                  </a:cxnLst>
                  <a:rect l="0" t="0" r="r" b="b"/>
                  <a:pathLst>
                    <a:path w="718" h="643">
                      <a:moveTo>
                        <a:pt x="653" y="225"/>
                      </a:moveTo>
                      <a:cubicBezTo>
                        <a:pt x="637" y="279"/>
                        <a:pt x="556" y="321"/>
                        <a:pt x="513" y="353"/>
                      </a:cubicBezTo>
                      <a:cubicBezTo>
                        <a:pt x="459" y="393"/>
                        <a:pt x="411" y="438"/>
                        <a:pt x="361" y="480"/>
                      </a:cubicBezTo>
                      <a:cubicBezTo>
                        <a:pt x="264" y="561"/>
                        <a:pt x="132" y="643"/>
                        <a:pt x="0" y="621"/>
                      </a:cubicBezTo>
                      <a:cubicBezTo>
                        <a:pt x="150" y="549"/>
                        <a:pt x="337" y="442"/>
                        <a:pt x="435" y="305"/>
                      </a:cubicBezTo>
                      <a:cubicBezTo>
                        <a:pt x="483" y="238"/>
                        <a:pt x="524" y="167"/>
                        <a:pt x="573" y="104"/>
                      </a:cubicBezTo>
                      <a:cubicBezTo>
                        <a:pt x="593" y="77"/>
                        <a:pt x="630" y="0"/>
                        <a:pt x="675" y="21"/>
                      </a:cubicBezTo>
                      <a:cubicBezTo>
                        <a:pt x="718" y="41"/>
                        <a:pt x="695" y="127"/>
                        <a:pt x="682" y="153"/>
                      </a:cubicBezTo>
                      <a:cubicBezTo>
                        <a:pt x="663" y="191"/>
                        <a:pt x="626" y="263"/>
                        <a:pt x="589" y="283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5" name="Freeform 283"/>
                <p:cNvSpPr>
                  <a:spLocks/>
                </p:cNvSpPr>
                <p:nvPr/>
              </p:nvSpPr>
              <p:spPr bwMode="gray">
                <a:xfrm>
                  <a:off x="-477838" y="16422688"/>
                  <a:ext cx="2482850" cy="3222625"/>
                </a:xfrm>
                <a:custGeom>
                  <a:avLst/>
                  <a:gdLst/>
                  <a:ahLst/>
                  <a:cxnLst>
                    <a:cxn ang="0">
                      <a:pos x="554" y="112"/>
                    </a:cxn>
                    <a:cxn ang="0">
                      <a:pos x="436" y="323"/>
                    </a:cxn>
                    <a:cxn ang="0">
                      <a:pos x="315" y="511"/>
                    </a:cxn>
                    <a:cxn ang="0">
                      <a:pos x="0" y="859"/>
                    </a:cxn>
                    <a:cxn ang="0">
                      <a:pos x="223" y="732"/>
                    </a:cxn>
                    <a:cxn ang="0">
                      <a:pos x="459" y="529"/>
                    </a:cxn>
                    <a:cxn ang="0">
                      <a:pos x="344" y="782"/>
                    </a:cxn>
                    <a:cxn ang="0">
                      <a:pos x="548" y="387"/>
                    </a:cxn>
                    <a:cxn ang="0">
                      <a:pos x="596" y="169"/>
                    </a:cxn>
                    <a:cxn ang="0">
                      <a:pos x="652" y="8"/>
                    </a:cxn>
                    <a:cxn ang="0">
                      <a:pos x="542" y="137"/>
                    </a:cxn>
                    <a:cxn ang="0">
                      <a:pos x="449" y="258"/>
                    </a:cxn>
                  </a:cxnLst>
                  <a:rect l="0" t="0" r="r" b="b"/>
                  <a:pathLst>
                    <a:path w="662" h="859">
                      <a:moveTo>
                        <a:pt x="554" y="112"/>
                      </a:moveTo>
                      <a:cubicBezTo>
                        <a:pt x="559" y="166"/>
                        <a:pt x="462" y="270"/>
                        <a:pt x="436" y="323"/>
                      </a:cubicBezTo>
                      <a:cubicBezTo>
                        <a:pt x="401" y="390"/>
                        <a:pt x="359" y="448"/>
                        <a:pt x="315" y="511"/>
                      </a:cubicBezTo>
                      <a:cubicBezTo>
                        <a:pt x="222" y="646"/>
                        <a:pt x="129" y="762"/>
                        <a:pt x="0" y="859"/>
                      </a:cubicBezTo>
                      <a:cubicBezTo>
                        <a:pt x="79" y="822"/>
                        <a:pt x="156" y="788"/>
                        <a:pt x="223" y="732"/>
                      </a:cubicBezTo>
                      <a:cubicBezTo>
                        <a:pt x="301" y="667"/>
                        <a:pt x="376" y="588"/>
                        <a:pt x="459" y="529"/>
                      </a:cubicBezTo>
                      <a:cubicBezTo>
                        <a:pt x="464" y="635"/>
                        <a:pt x="411" y="705"/>
                        <a:pt x="344" y="782"/>
                      </a:cubicBezTo>
                      <a:cubicBezTo>
                        <a:pt x="477" y="691"/>
                        <a:pt x="524" y="541"/>
                        <a:pt x="548" y="387"/>
                      </a:cubicBezTo>
                      <a:cubicBezTo>
                        <a:pt x="561" y="307"/>
                        <a:pt x="569" y="239"/>
                        <a:pt x="596" y="169"/>
                      </a:cubicBezTo>
                      <a:cubicBezTo>
                        <a:pt x="616" y="117"/>
                        <a:pt x="662" y="68"/>
                        <a:pt x="652" y="8"/>
                      </a:cubicBezTo>
                      <a:cubicBezTo>
                        <a:pt x="607" y="0"/>
                        <a:pt x="572" y="106"/>
                        <a:pt x="542" y="137"/>
                      </a:cubicBezTo>
                      <a:cubicBezTo>
                        <a:pt x="507" y="173"/>
                        <a:pt x="454" y="204"/>
                        <a:pt x="449" y="258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6" name="Freeform 284"/>
                <p:cNvSpPr>
                  <a:spLocks/>
                </p:cNvSpPr>
                <p:nvPr/>
              </p:nvSpPr>
              <p:spPr bwMode="gray">
                <a:xfrm>
                  <a:off x="1765300" y="14338301"/>
                  <a:ext cx="817563" cy="2287588"/>
                </a:xfrm>
                <a:custGeom>
                  <a:avLst/>
                  <a:gdLst/>
                  <a:ahLst/>
                  <a:cxnLst>
                    <a:cxn ang="0">
                      <a:pos x="99" y="1"/>
                    </a:cxn>
                    <a:cxn ang="0">
                      <a:pos x="61" y="160"/>
                    </a:cxn>
                    <a:cxn ang="0">
                      <a:pos x="40" y="273"/>
                    </a:cxn>
                    <a:cxn ang="0">
                      <a:pos x="23" y="348"/>
                    </a:cxn>
                    <a:cxn ang="0">
                      <a:pos x="7" y="447"/>
                    </a:cxn>
                    <a:cxn ang="0">
                      <a:pos x="79" y="361"/>
                    </a:cxn>
                    <a:cxn ang="0">
                      <a:pos x="56" y="501"/>
                    </a:cxn>
                    <a:cxn ang="0">
                      <a:pos x="48" y="556"/>
                    </a:cxn>
                    <a:cxn ang="0">
                      <a:pos x="58" y="610"/>
                    </a:cxn>
                    <a:cxn ang="0">
                      <a:pos x="109" y="467"/>
                    </a:cxn>
                    <a:cxn ang="0">
                      <a:pos x="109" y="594"/>
                    </a:cxn>
                    <a:cxn ang="0">
                      <a:pos x="147" y="493"/>
                    </a:cxn>
                    <a:cxn ang="0">
                      <a:pos x="155" y="570"/>
                    </a:cxn>
                    <a:cxn ang="0">
                      <a:pos x="211" y="327"/>
                    </a:cxn>
                    <a:cxn ang="0">
                      <a:pos x="206" y="178"/>
                    </a:cxn>
                    <a:cxn ang="0">
                      <a:pos x="208" y="124"/>
                    </a:cxn>
                    <a:cxn ang="0">
                      <a:pos x="201" y="89"/>
                    </a:cxn>
                    <a:cxn ang="0">
                      <a:pos x="191" y="35"/>
                    </a:cxn>
                    <a:cxn ang="0">
                      <a:pos x="100" y="1"/>
                    </a:cxn>
                  </a:cxnLst>
                  <a:rect l="0" t="0" r="r" b="b"/>
                  <a:pathLst>
                    <a:path w="218" h="610">
                      <a:moveTo>
                        <a:pt x="99" y="1"/>
                      </a:moveTo>
                      <a:cubicBezTo>
                        <a:pt x="91" y="55"/>
                        <a:pt x="75" y="107"/>
                        <a:pt x="61" y="160"/>
                      </a:cubicBezTo>
                      <a:cubicBezTo>
                        <a:pt x="51" y="197"/>
                        <a:pt x="46" y="235"/>
                        <a:pt x="40" y="273"/>
                      </a:cubicBezTo>
                      <a:cubicBezTo>
                        <a:pt x="36" y="298"/>
                        <a:pt x="27" y="323"/>
                        <a:pt x="23" y="348"/>
                      </a:cubicBezTo>
                      <a:cubicBezTo>
                        <a:pt x="21" y="356"/>
                        <a:pt x="0" y="440"/>
                        <a:pt x="7" y="447"/>
                      </a:cubicBezTo>
                      <a:cubicBezTo>
                        <a:pt x="37" y="449"/>
                        <a:pt x="71" y="360"/>
                        <a:pt x="79" y="361"/>
                      </a:cubicBezTo>
                      <a:cubicBezTo>
                        <a:pt x="83" y="379"/>
                        <a:pt x="59" y="484"/>
                        <a:pt x="56" y="501"/>
                      </a:cubicBezTo>
                      <a:cubicBezTo>
                        <a:pt x="53" y="519"/>
                        <a:pt x="50" y="538"/>
                        <a:pt x="48" y="556"/>
                      </a:cubicBezTo>
                      <a:cubicBezTo>
                        <a:pt x="46" y="571"/>
                        <a:pt x="36" y="609"/>
                        <a:pt x="58" y="610"/>
                      </a:cubicBezTo>
                      <a:cubicBezTo>
                        <a:pt x="69" y="610"/>
                        <a:pt x="101" y="480"/>
                        <a:pt x="109" y="467"/>
                      </a:cubicBezTo>
                      <a:cubicBezTo>
                        <a:pt x="115" y="476"/>
                        <a:pt x="96" y="592"/>
                        <a:pt x="109" y="594"/>
                      </a:cubicBezTo>
                      <a:cubicBezTo>
                        <a:pt x="130" y="596"/>
                        <a:pt x="143" y="502"/>
                        <a:pt x="147" y="493"/>
                      </a:cubicBezTo>
                      <a:cubicBezTo>
                        <a:pt x="147" y="495"/>
                        <a:pt x="141" y="559"/>
                        <a:pt x="155" y="570"/>
                      </a:cubicBezTo>
                      <a:cubicBezTo>
                        <a:pt x="172" y="569"/>
                        <a:pt x="218" y="396"/>
                        <a:pt x="211" y="327"/>
                      </a:cubicBezTo>
                      <a:cubicBezTo>
                        <a:pt x="205" y="276"/>
                        <a:pt x="204" y="228"/>
                        <a:pt x="206" y="178"/>
                      </a:cubicBezTo>
                      <a:cubicBezTo>
                        <a:pt x="207" y="161"/>
                        <a:pt x="209" y="142"/>
                        <a:pt x="208" y="124"/>
                      </a:cubicBezTo>
                      <a:cubicBezTo>
                        <a:pt x="207" y="112"/>
                        <a:pt x="202" y="101"/>
                        <a:pt x="201" y="89"/>
                      </a:cubicBezTo>
                      <a:cubicBezTo>
                        <a:pt x="199" y="74"/>
                        <a:pt x="200" y="49"/>
                        <a:pt x="191" y="35"/>
                      </a:cubicBezTo>
                      <a:cubicBezTo>
                        <a:pt x="173" y="9"/>
                        <a:pt x="130" y="0"/>
                        <a:pt x="100" y="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7" name="Freeform 285"/>
                <p:cNvSpPr>
                  <a:spLocks/>
                </p:cNvSpPr>
                <p:nvPr/>
              </p:nvSpPr>
              <p:spPr bwMode="gray">
                <a:xfrm>
                  <a:off x="-863600" y="6575426"/>
                  <a:ext cx="1585913" cy="2251075"/>
                </a:xfrm>
                <a:custGeom>
                  <a:avLst/>
                  <a:gdLst/>
                  <a:ahLst/>
                  <a:cxnLst>
                    <a:cxn ang="0">
                      <a:pos x="6" y="213"/>
                    </a:cxn>
                    <a:cxn ang="0">
                      <a:pos x="35" y="379"/>
                    </a:cxn>
                    <a:cxn ang="0">
                      <a:pos x="76" y="526"/>
                    </a:cxn>
                    <a:cxn ang="0">
                      <a:pos x="199" y="599"/>
                    </a:cxn>
                    <a:cxn ang="0">
                      <a:pos x="330" y="527"/>
                    </a:cxn>
                    <a:cxn ang="0">
                      <a:pos x="374" y="392"/>
                    </a:cxn>
                    <a:cxn ang="0">
                      <a:pos x="329" y="70"/>
                    </a:cxn>
                    <a:cxn ang="0">
                      <a:pos x="158" y="0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23" h="600">
                      <a:moveTo>
                        <a:pt x="6" y="213"/>
                      </a:moveTo>
                      <a:cubicBezTo>
                        <a:pt x="0" y="277"/>
                        <a:pt x="15" y="323"/>
                        <a:pt x="35" y="379"/>
                      </a:cubicBezTo>
                      <a:cubicBezTo>
                        <a:pt x="53" y="428"/>
                        <a:pt x="42" y="480"/>
                        <a:pt x="76" y="526"/>
                      </a:cubicBezTo>
                      <a:cubicBezTo>
                        <a:pt x="102" y="561"/>
                        <a:pt x="152" y="597"/>
                        <a:pt x="199" y="599"/>
                      </a:cubicBezTo>
                      <a:cubicBezTo>
                        <a:pt x="244" y="600"/>
                        <a:pt x="305" y="565"/>
                        <a:pt x="330" y="527"/>
                      </a:cubicBezTo>
                      <a:cubicBezTo>
                        <a:pt x="356" y="487"/>
                        <a:pt x="352" y="434"/>
                        <a:pt x="374" y="392"/>
                      </a:cubicBezTo>
                      <a:cubicBezTo>
                        <a:pt x="423" y="295"/>
                        <a:pt x="402" y="146"/>
                        <a:pt x="329" y="70"/>
                      </a:cubicBezTo>
                      <a:cubicBezTo>
                        <a:pt x="281" y="20"/>
                        <a:pt x="227" y="0"/>
                        <a:pt x="158" y="0"/>
                      </a:cubicBezTo>
                      <a:cubicBezTo>
                        <a:pt x="115" y="0"/>
                        <a:pt x="3" y="73"/>
                        <a:pt x="0" y="85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8" name="Freeform 286"/>
                <p:cNvSpPr>
                  <a:spLocks/>
                </p:cNvSpPr>
                <p:nvPr/>
              </p:nvSpPr>
              <p:spPr bwMode="gray">
                <a:xfrm>
                  <a:off x="-971550" y="5983288"/>
                  <a:ext cx="1795463" cy="2549525"/>
                </a:xfrm>
                <a:custGeom>
                  <a:avLst/>
                  <a:gdLst/>
                  <a:ahLst/>
                  <a:cxnLst>
                    <a:cxn ang="0">
                      <a:pos x="7" y="242"/>
                    </a:cxn>
                    <a:cxn ang="0">
                      <a:pos x="39" y="429"/>
                    </a:cxn>
                    <a:cxn ang="0">
                      <a:pos x="86" y="596"/>
                    </a:cxn>
                    <a:cxn ang="0">
                      <a:pos x="225" y="678"/>
                    </a:cxn>
                    <a:cxn ang="0">
                      <a:pos x="373" y="597"/>
                    </a:cxn>
                    <a:cxn ang="0">
                      <a:pos x="423" y="444"/>
                    </a:cxn>
                    <a:cxn ang="0">
                      <a:pos x="372" y="79"/>
                    </a:cxn>
                    <a:cxn ang="0">
                      <a:pos x="178" y="0"/>
                    </a:cxn>
                    <a:cxn ang="0">
                      <a:pos x="0" y="97"/>
                    </a:cxn>
                  </a:cxnLst>
                  <a:rect l="0" t="0" r="r" b="b"/>
                  <a:pathLst>
                    <a:path w="479" h="680">
                      <a:moveTo>
                        <a:pt x="7" y="242"/>
                      </a:moveTo>
                      <a:cubicBezTo>
                        <a:pt x="0" y="314"/>
                        <a:pt x="16" y="366"/>
                        <a:pt x="39" y="429"/>
                      </a:cubicBezTo>
                      <a:cubicBezTo>
                        <a:pt x="59" y="485"/>
                        <a:pt x="47" y="544"/>
                        <a:pt x="86" y="596"/>
                      </a:cubicBezTo>
                      <a:cubicBezTo>
                        <a:pt x="115" y="635"/>
                        <a:pt x="172" y="677"/>
                        <a:pt x="225" y="678"/>
                      </a:cubicBezTo>
                      <a:cubicBezTo>
                        <a:pt x="276" y="680"/>
                        <a:pt x="346" y="640"/>
                        <a:pt x="373" y="597"/>
                      </a:cubicBezTo>
                      <a:cubicBezTo>
                        <a:pt x="403" y="552"/>
                        <a:pt x="398" y="492"/>
                        <a:pt x="423" y="444"/>
                      </a:cubicBezTo>
                      <a:cubicBezTo>
                        <a:pt x="479" y="334"/>
                        <a:pt x="455" y="166"/>
                        <a:pt x="372" y="79"/>
                      </a:cubicBezTo>
                      <a:cubicBezTo>
                        <a:pt x="318" y="23"/>
                        <a:pt x="257" y="0"/>
                        <a:pt x="178" y="0"/>
                      </a:cubicBezTo>
                      <a:cubicBezTo>
                        <a:pt x="130" y="0"/>
                        <a:pt x="3" y="83"/>
                        <a:pt x="0" y="9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89" name="Freeform 287"/>
                <p:cNvSpPr>
                  <a:spLocks/>
                </p:cNvSpPr>
                <p:nvPr/>
              </p:nvSpPr>
              <p:spPr bwMode="gray">
                <a:xfrm>
                  <a:off x="-117475" y="11623676"/>
                  <a:ext cx="1038225" cy="2324100"/>
                </a:xfrm>
                <a:custGeom>
                  <a:avLst/>
                  <a:gdLst/>
                  <a:ahLst/>
                  <a:cxnLst>
                    <a:cxn ang="0">
                      <a:pos x="200" y="59"/>
                    </a:cxn>
                    <a:cxn ang="0">
                      <a:pos x="101" y="65"/>
                    </a:cxn>
                    <a:cxn ang="0">
                      <a:pos x="38" y="19"/>
                    </a:cxn>
                    <a:cxn ang="0">
                      <a:pos x="61" y="201"/>
                    </a:cxn>
                    <a:cxn ang="0">
                      <a:pos x="95" y="293"/>
                    </a:cxn>
                    <a:cxn ang="0">
                      <a:pos x="54" y="404"/>
                    </a:cxn>
                    <a:cxn ang="0">
                      <a:pos x="78" y="522"/>
                    </a:cxn>
                    <a:cxn ang="0">
                      <a:pos x="176" y="615"/>
                    </a:cxn>
                    <a:cxn ang="0">
                      <a:pos x="253" y="464"/>
                    </a:cxn>
                    <a:cxn ang="0">
                      <a:pos x="276" y="286"/>
                    </a:cxn>
                    <a:cxn ang="0">
                      <a:pos x="203" y="78"/>
                    </a:cxn>
                    <a:cxn ang="0">
                      <a:pos x="85" y="57"/>
                    </a:cxn>
                    <a:cxn ang="0">
                      <a:pos x="25" y="48"/>
                    </a:cxn>
                  </a:cxnLst>
                  <a:rect l="0" t="0" r="r" b="b"/>
                  <a:pathLst>
                    <a:path w="277" h="620">
                      <a:moveTo>
                        <a:pt x="200" y="59"/>
                      </a:moveTo>
                      <a:cubicBezTo>
                        <a:pt x="175" y="76"/>
                        <a:pt x="127" y="78"/>
                        <a:pt x="101" y="65"/>
                      </a:cubicBezTo>
                      <a:cubicBezTo>
                        <a:pt x="75" y="52"/>
                        <a:pt x="68" y="17"/>
                        <a:pt x="38" y="19"/>
                      </a:cubicBezTo>
                      <a:cubicBezTo>
                        <a:pt x="26" y="65"/>
                        <a:pt x="135" y="171"/>
                        <a:pt x="61" y="201"/>
                      </a:cubicBezTo>
                      <a:cubicBezTo>
                        <a:pt x="46" y="250"/>
                        <a:pt x="96" y="253"/>
                        <a:pt x="95" y="293"/>
                      </a:cubicBezTo>
                      <a:cubicBezTo>
                        <a:pt x="95" y="334"/>
                        <a:pt x="49" y="349"/>
                        <a:pt x="54" y="404"/>
                      </a:cubicBezTo>
                      <a:cubicBezTo>
                        <a:pt x="57" y="438"/>
                        <a:pt x="68" y="488"/>
                        <a:pt x="78" y="522"/>
                      </a:cubicBezTo>
                      <a:cubicBezTo>
                        <a:pt x="89" y="562"/>
                        <a:pt x="124" y="620"/>
                        <a:pt x="176" y="615"/>
                      </a:cubicBezTo>
                      <a:cubicBezTo>
                        <a:pt x="249" y="607"/>
                        <a:pt x="253" y="521"/>
                        <a:pt x="253" y="464"/>
                      </a:cubicBezTo>
                      <a:cubicBezTo>
                        <a:pt x="253" y="398"/>
                        <a:pt x="276" y="352"/>
                        <a:pt x="276" y="286"/>
                      </a:cubicBezTo>
                      <a:cubicBezTo>
                        <a:pt x="276" y="197"/>
                        <a:pt x="277" y="138"/>
                        <a:pt x="203" y="78"/>
                      </a:cubicBezTo>
                      <a:cubicBezTo>
                        <a:pt x="173" y="54"/>
                        <a:pt x="115" y="6"/>
                        <a:pt x="85" y="57"/>
                      </a:cubicBezTo>
                      <a:cubicBezTo>
                        <a:pt x="70" y="18"/>
                        <a:pt x="0" y="0"/>
                        <a:pt x="25" y="4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0" name="Freeform 288"/>
                <p:cNvSpPr>
                  <a:spLocks/>
                </p:cNvSpPr>
                <p:nvPr/>
              </p:nvSpPr>
              <p:spPr bwMode="gray">
                <a:xfrm>
                  <a:off x="-219075" y="10855326"/>
                  <a:ext cx="657225" cy="704850"/>
                </a:xfrm>
                <a:custGeom>
                  <a:avLst/>
                  <a:gdLst/>
                  <a:ahLst/>
                  <a:cxnLst>
                    <a:cxn ang="0">
                      <a:pos x="157" y="183"/>
                    </a:cxn>
                    <a:cxn ang="0">
                      <a:pos x="75" y="20"/>
                    </a:cxn>
                    <a:cxn ang="0">
                      <a:pos x="87" y="118"/>
                    </a:cxn>
                    <a:cxn ang="0">
                      <a:pos x="175" y="188"/>
                    </a:cxn>
                  </a:cxnLst>
                  <a:rect l="0" t="0" r="r" b="b"/>
                  <a:pathLst>
                    <a:path w="175" h="188">
                      <a:moveTo>
                        <a:pt x="157" y="183"/>
                      </a:moveTo>
                      <a:cubicBezTo>
                        <a:pt x="117" y="174"/>
                        <a:pt x="0" y="57"/>
                        <a:pt x="75" y="20"/>
                      </a:cubicBezTo>
                      <a:cubicBezTo>
                        <a:pt x="116" y="0"/>
                        <a:pt x="82" y="106"/>
                        <a:pt x="87" y="118"/>
                      </a:cubicBezTo>
                      <a:cubicBezTo>
                        <a:pt x="99" y="149"/>
                        <a:pt x="147" y="167"/>
                        <a:pt x="175" y="18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1" name="Freeform 289"/>
                <p:cNvSpPr>
                  <a:spLocks/>
                </p:cNvSpPr>
                <p:nvPr/>
              </p:nvSpPr>
              <p:spPr bwMode="gray">
                <a:xfrm>
                  <a:off x="-1287463" y="11717338"/>
                  <a:ext cx="1196975" cy="3367088"/>
                </a:xfrm>
                <a:custGeom>
                  <a:avLst/>
                  <a:gdLst/>
                  <a:ahLst/>
                  <a:cxnLst>
                    <a:cxn ang="0">
                      <a:pos x="127" y="122"/>
                    </a:cxn>
                    <a:cxn ang="0">
                      <a:pos x="144" y="227"/>
                    </a:cxn>
                    <a:cxn ang="0">
                      <a:pos x="198" y="308"/>
                    </a:cxn>
                    <a:cxn ang="0">
                      <a:pos x="319" y="472"/>
                    </a:cxn>
                    <a:cxn ang="0">
                      <a:pos x="157" y="339"/>
                    </a:cxn>
                    <a:cxn ang="0">
                      <a:pos x="169" y="594"/>
                    </a:cxn>
                    <a:cxn ang="0">
                      <a:pos x="238" y="695"/>
                    </a:cxn>
                    <a:cxn ang="0">
                      <a:pos x="259" y="829"/>
                    </a:cxn>
                    <a:cxn ang="0">
                      <a:pos x="74" y="397"/>
                    </a:cxn>
                    <a:cxn ang="0">
                      <a:pos x="4" y="128"/>
                    </a:cxn>
                    <a:cxn ang="0">
                      <a:pos x="161" y="35"/>
                    </a:cxn>
                    <a:cxn ang="0">
                      <a:pos x="92" y="134"/>
                    </a:cxn>
                    <a:cxn ang="0">
                      <a:pos x="156" y="210"/>
                    </a:cxn>
                  </a:cxnLst>
                  <a:rect l="0" t="0" r="r" b="b"/>
                  <a:pathLst>
                    <a:path w="319" h="898">
                      <a:moveTo>
                        <a:pt x="127" y="122"/>
                      </a:moveTo>
                      <a:cubicBezTo>
                        <a:pt x="148" y="154"/>
                        <a:pt x="133" y="189"/>
                        <a:pt x="144" y="227"/>
                      </a:cubicBezTo>
                      <a:cubicBezTo>
                        <a:pt x="152" y="254"/>
                        <a:pt x="181" y="284"/>
                        <a:pt x="198" y="308"/>
                      </a:cubicBezTo>
                      <a:cubicBezTo>
                        <a:pt x="238" y="364"/>
                        <a:pt x="288" y="410"/>
                        <a:pt x="319" y="472"/>
                      </a:cubicBezTo>
                      <a:cubicBezTo>
                        <a:pt x="273" y="430"/>
                        <a:pt x="238" y="326"/>
                        <a:pt x="157" y="339"/>
                      </a:cubicBezTo>
                      <a:cubicBezTo>
                        <a:pt x="137" y="420"/>
                        <a:pt x="112" y="529"/>
                        <a:pt x="169" y="594"/>
                      </a:cubicBezTo>
                      <a:cubicBezTo>
                        <a:pt x="198" y="626"/>
                        <a:pt x="227" y="651"/>
                        <a:pt x="238" y="695"/>
                      </a:cubicBezTo>
                      <a:cubicBezTo>
                        <a:pt x="249" y="737"/>
                        <a:pt x="209" y="810"/>
                        <a:pt x="259" y="829"/>
                      </a:cubicBezTo>
                      <a:cubicBezTo>
                        <a:pt x="43" y="898"/>
                        <a:pt x="109" y="499"/>
                        <a:pt x="74" y="397"/>
                      </a:cubicBezTo>
                      <a:cubicBezTo>
                        <a:pt x="43" y="305"/>
                        <a:pt x="0" y="232"/>
                        <a:pt x="4" y="128"/>
                      </a:cubicBezTo>
                      <a:cubicBezTo>
                        <a:pt x="9" y="0"/>
                        <a:pt x="83" y="57"/>
                        <a:pt x="161" y="35"/>
                      </a:cubicBezTo>
                      <a:cubicBezTo>
                        <a:pt x="179" y="98"/>
                        <a:pt x="85" y="76"/>
                        <a:pt x="92" y="134"/>
                      </a:cubicBezTo>
                      <a:cubicBezTo>
                        <a:pt x="93" y="151"/>
                        <a:pt x="147" y="202"/>
                        <a:pt x="156" y="21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2" name="Freeform 290"/>
                <p:cNvSpPr>
                  <a:spLocks/>
                </p:cNvSpPr>
                <p:nvPr/>
              </p:nvSpPr>
              <p:spPr bwMode="gray">
                <a:xfrm>
                  <a:off x="193675" y="8870951"/>
                  <a:ext cx="919163" cy="884238"/>
                </a:xfrm>
                <a:custGeom>
                  <a:avLst/>
                  <a:gdLst/>
                  <a:ahLst/>
                  <a:cxnLst>
                    <a:cxn ang="0">
                      <a:pos x="123" y="39"/>
                    </a:cxn>
                    <a:cxn ang="0">
                      <a:pos x="6" y="236"/>
                    </a:cxn>
                    <a:cxn ang="0">
                      <a:pos x="166" y="139"/>
                    </a:cxn>
                    <a:cxn ang="0">
                      <a:pos x="77" y="69"/>
                    </a:cxn>
                  </a:cxnLst>
                  <a:rect l="0" t="0" r="r" b="b"/>
                  <a:pathLst>
                    <a:path w="245" h="236">
                      <a:moveTo>
                        <a:pt x="123" y="39"/>
                      </a:moveTo>
                      <a:cubicBezTo>
                        <a:pt x="55" y="75"/>
                        <a:pt x="0" y="158"/>
                        <a:pt x="6" y="236"/>
                      </a:cubicBezTo>
                      <a:cubicBezTo>
                        <a:pt x="33" y="141"/>
                        <a:pt x="109" y="197"/>
                        <a:pt x="166" y="139"/>
                      </a:cubicBezTo>
                      <a:cubicBezTo>
                        <a:pt x="245" y="58"/>
                        <a:pt x="100" y="0"/>
                        <a:pt x="77" y="69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3" name="Freeform 291"/>
                <p:cNvSpPr>
                  <a:spLocks/>
                </p:cNvSpPr>
                <p:nvPr/>
              </p:nvSpPr>
              <p:spPr bwMode="gray">
                <a:xfrm>
                  <a:off x="1919287" y="14533563"/>
                  <a:ext cx="655638" cy="809625"/>
                </a:xfrm>
                <a:custGeom>
                  <a:avLst/>
                  <a:gdLst/>
                  <a:ahLst/>
                  <a:cxnLst>
                    <a:cxn ang="0">
                      <a:pos x="172" y="35"/>
                    </a:cxn>
                    <a:cxn ang="0">
                      <a:pos x="143" y="88"/>
                    </a:cxn>
                    <a:cxn ang="0">
                      <a:pos x="87" y="125"/>
                    </a:cxn>
                    <a:cxn ang="0">
                      <a:pos x="43" y="172"/>
                    </a:cxn>
                    <a:cxn ang="0">
                      <a:pos x="1" y="216"/>
                    </a:cxn>
                    <a:cxn ang="0">
                      <a:pos x="9" y="154"/>
                    </a:cxn>
                    <a:cxn ang="0">
                      <a:pos x="39" y="100"/>
                    </a:cxn>
                    <a:cxn ang="0">
                      <a:pos x="55" y="65"/>
                    </a:cxn>
                    <a:cxn ang="0">
                      <a:pos x="119" y="20"/>
                    </a:cxn>
                    <a:cxn ang="0">
                      <a:pos x="158" y="13"/>
                    </a:cxn>
                    <a:cxn ang="0">
                      <a:pos x="175" y="33"/>
                    </a:cxn>
                    <a:cxn ang="0">
                      <a:pos x="169" y="33"/>
                    </a:cxn>
                  </a:cxnLst>
                  <a:rect l="0" t="0" r="r" b="b"/>
                  <a:pathLst>
                    <a:path w="175" h="216">
                      <a:moveTo>
                        <a:pt x="172" y="35"/>
                      </a:moveTo>
                      <a:cubicBezTo>
                        <a:pt x="174" y="49"/>
                        <a:pt x="152" y="77"/>
                        <a:pt x="143" y="88"/>
                      </a:cubicBezTo>
                      <a:cubicBezTo>
                        <a:pt x="128" y="106"/>
                        <a:pt x="103" y="110"/>
                        <a:pt x="87" y="125"/>
                      </a:cubicBezTo>
                      <a:cubicBezTo>
                        <a:pt x="70" y="141"/>
                        <a:pt x="57" y="153"/>
                        <a:pt x="43" y="172"/>
                      </a:cubicBezTo>
                      <a:cubicBezTo>
                        <a:pt x="30" y="188"/>
                        <a:pt x="19" y="207"/>
                        <a:pt x="1" y="216"/>
                      </a:cubicBezTo>
                      <a:cubicBezTo>
                        <a:pt x="0" y="196"/>
                        <a:pt x="6" y="174"/>
                        <a:pt x="9" y="154"/>
                      </a:cubicBezTo>
                      <a:cubicBezTo>
                        <a:pt x="12" y="132"/>
                        <a:pt x="30" y="120"/>
                        <a:pt x="39" y="100"/>
                      </a:cubicBezTo>
                      <a:cubicBezTo>
                        <a:pt x="45" y="88"/>
                        <a:pt x="48" y="76"/>
                        <a:pt x="55" y="65"/>
                      </a:cubicBezTo>
                      <a:cubicBezTo>
                        <a:pt x="71" y="41"/>
                        <a:pt x="95" y="34"/>
                        <a:pt x="119" y="20"/>
                      </a:cubicBezTo>
                      <a:cubicBezTo>
                        <a:pt x="135" y="10"/>
                        <a:pt x="141" y="0"/>
                        <a:pt x="158" y="13"/>
                      </a:cubicBezTo>
                      <a:cubicBezTo>
                        <a:pt x="164" y="18"/>
                        <a:pt x="168" y="29"/>
                        <a:pt x="175" y="33"/>
                      </a:cubicBezTo>
                      <a:cubicBezTo>
                        <a:pt x="173" y="33"/>
                        <a:pt x="171" y="33"/>
                        <a:pt x="169" y="33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4" name="Freeform 292"/>
                <p:cNvSpPr>
                  <a:spLocks/>
                </p:cNvSpPr>
                <p:nvPr/>
              </p:nvSpPr>
              <p:spPr bwMode="gray">
                <a:xfrm>
                  <a:off x="-4095750" y="8386763"/>
                  <a:ext cx="6791325" cy="7204075"/>
                </a:xfrm>
                <a:custGeom>
                  <a:avLst/>
                  <a:gdLst/>
                  <a:ahLst/>
                  <a:cxnLst>
                    <a:cxn ang="0">
                      <a:pos x="1156" y="1557"/>
                    </a:cxn>
                    <a:cxn ang="0">
                      <a:pos x="1157" y="1117"/>
                    </a:cxn>
                    <a:cxn ang="0">
                      <a:pos x="1207" y="345"/>
                    </a:cxn>
                    <a:cxn ang="0">
                      <a:pos x="1346" y="124"/>
                    </a:cxn>
                    <a:cxn ang="0">
                      <a:pos x="1642" y="268"/>
                    </a:cxn>
                    <a:cxn ang="0">
                      <a:pos x="1689" y="578"/>
                    </a:cxn>
                    <a:cxn ang="0">
                      <a:pos x="1731" y="1101"/>
                    </a:cxn>
                    <a:cxn ang="0">
                      <a:pos x="1767" y="1289"/>
                    </a:cxn>
                    <a:cxn ang="0">
                      <a:pos x="1788" y="1685"/>
                    </a:cxn>
                    <a:cxn ang="0">
                      <a:pos x="1359" y="1806"/>
                    </a:cxn>
                    <a:cxn ang="0">
                      <a:pos x="993" y="1908"/>
                    </a:cxn>
                    <a:cxn ang="0">
                      <a:pos x="575" y="1568"/>
                    </a:cxn>
                    <a:cxn ang="0">
                      <a:pos x="611" y="1378"/>
                    </a:cxn>
                    <a:cxn ang="0">
                      <a:pos x="603" y="1284"/>
                    </a:cxn>
                    <a:cxn ang="0">
                      <a:pos x="618" y="1144"/>
                    </a:cxn>
                    <a:cxn ang="0">
                      <a:pos x="559" y="922"/>
                    </a:cxn>
                    <a:cxn ang="0">
                      <a:pos x="493" y="703"/>
                    </a:cxn>
                    <a:cxn ang="0">
                      <a:pos x="412" y="759"/>
                    </a:cxn>
                    <a:cxn ang="0">
                      <a:pos x="330" y="915"/>
                    </a:cxn>
                    <a:cxn ang="0">
                      <a:pos x="345" y="1062"/>
                    </a:cxn>
                    <a:cxn ang="0">
                      <a:pos x="472" y="1291"/>
                    </a:cxn>
                    <a:cxn ang="0">
                      <a:pos x="571" y="1381"/>
                    </a:cxn>
                    <a:cxn ang="0">
                      <a:pos x="487" y="1410"/>
                    </a:cxn>
                    <a:cxn ang="0">
                      <a:pos x="480" y="1558"/>
                    </a:cxn>
                    <a:cxn ang="0">
                      <a:pos x="282" y="1383"/>
                    </a:cxn>
                    <a:cxn ang="0">
                      <a:pos x="143" y="1207"/>
                    </a:cxn>
                    <a:cxn ang="0">
                      <a:pos x="79" y="1097"/>
                    </a:cxn>
                    <a:cxn ang="0">
                      <a:pos x="100" y="755"/>
                    </a:cxn>
                    <a:cxn ang="0">
                      <a:pos x="276" y="475"/>
                    </a:cxn>
                    <a:cxn ang="0">
                      <a:pos x="384" y="353"/>
                    </a:cxn>
                    <a:cxn ang="0">
                      <a:pos x="477" y="185"/>
                    </a:cxn>
                    <a:cxn ang="0">
                      <a:pos x="741" y="87"/>
                    </a:cxn>
                    <a:cxn ang="0">
                      <a:pos x="851" y="189"/>
                    </a:cxn>
                    <a:cxn ang="0">
                      <a:pos x="817" y="548"/>
                    </a:cxn>
                    <a:cxn ang="0">
                      <a:pos x="848" y="856"/>
                    </a:cxn>
                    <a:cxn ang="0">
                      <a:pos x="898" y="1421"/>
                    </a:cxn>
                    <a:cxn ang="0">
                      <a:pos x="993" y="1908"/>
                    </a:cxn>
                  </a:cxnLst>
                  <a:rect l="0" t="0" r="r" b="b"/>
                  <a:pathLst>
                    <a:path w="1811" h="1921">
                      <a:moveTo>
                        <a:pt x="1143" y="1908"/>
                      </a:moveTo>
                      <a:cubicBezTo>
                        <a:pt x="1187" y="1827"/>
                        <a:pt x="1155" y="1642"/>
                        <a:pt x="1156" y="1557"/>
                      </a:cubicBezTo>
                      <a:cubicBezTo>
                        <a:pt x="1156" y="1504"/>
                        <a:pt x="1169" y="1457"/>
                        <a:pt x="1171" y="1405"/>
                      </a:cubicBezTo>
                      <a:cubicBezTo>
                        <a:pt x="1176" y="1314"/>
                        <a:pt x="1164" y="1210"/>
                        <a:pt x="1157" y="1117"/>
                      </a:cubicBezTo>
                      <a:cubicBezTo>
                        <a:pt x="1144" y="955"/>
                        <a:pt x="1127" y="801"/>
                        <a:pt x="1151" y="642"/>
                      </a:cubicBezTo>
                      <a:cubicBezTo>
                        <a:pt x="1166" y="540"/>
                        <a:pt x="1176" y="444"/>
                        <a:pt x="1207" y="345"/>
                      </a:cubicBezTo>
                      <a:cubicBezTo>
                        <a:pt x="1231" y="269"/>
                        <a:pt x="1215" y="188"/>
                        <a:pt x="1232" y="111"/>
                      </a:cubicBezTo>
                      <a:cubicBezTo>
                        <a:pt x="1251" y="26"/>
                        <a:pt x="1303" y="94"/>
                        <a:pt x="1346" y="124"/>
                      </a:cubicBezTo>
                      <a:cubicBezTo>
                        <a:pt x="1380" y="148"/>
                        <a:pt x="1405" y="164"/>
                        <a:pt x="1444" y="185"/>
                      </a:cubicBezTo>
                      <a:cubicBezTo>
                        <a:pt x="1510" y="219"/>
                        <a:pt x="1571" y="248"/>
                        <a:pt x="1642" y="268"/>
                      </a:cubicBezTo>
                      <a:cubicBezTo>
                        <a:pt x="1655" y="321"/>
                        <a:pt x="1645" y="379"/>
                        <a:pt x="1667" y="430"/>
                      </a:cubicBezTo>
                      <a:cubicBezTo>
                        <a:pt x="1689" y="480"/>
                        <a:pt x="1686" y="520"/>
                        <a:pt x="1689" y="578"/>
                      </a:cubicBezTo>
                      <a:cubicBezTo>
                        <a:pt x="1693" y="635"/>
                        <a:pt x="1709" y="688"/>
                        <a:pt x="1709" y="749"/>
                      </a:cubicBezTo>
                      <a:cubicBezTo>
                        <a:pt x="1709" y="805"/>
                        <a:pt x="1723" y="1043"/>
                        <a:pt x="1731" y="1101"/>
                      </a:cubicBezTo>
                      <a:cubicBezTo>
                        <a:pt x="1735" y="1130"/>
                        <a:pt x="1723" y="1157"/>
                        <a:pt x="1737" y="1184"/>
                      </a:cubicBezTo>
                      <a:cubicBezTo>
                        <a:pt x="1755" y="1221"/>
                        <a:pt x="1763" y="1248"/>
                        <a:pt x="1767" y="1289"/>
                      </a:cubicBezTo>
                      <a:cubicBezTo>
                        <a:pt x="1773" y="1343"/>
                        <a:pt x="1758" y="1392"/>
                        <a:pt x="1780" y="1443"/>
                      </a:cubicBezTo>
                      <a:cubicBezTo>
                        <a:pt x="1811" y="1510"/>
                        <a:pt x="1788" y="1606"/>
                        <a:pt x="1788" y="1685"/>
                      </a:cubicBezTo>
                      <a:cubicBezTo>
                        <a:pt x="1788" y="1712"/>
                        <a:pt x="1603" y="1756"/>
                        <a:pt x="1605" y="1823"/>
                      </a:cubicBezTo>
                      <a:cubicBezTo>
                        <a:pt x="1457" y="1829"/>
                        <a:pt x="1505" y="1792"/>
                        <a:pt x="1359" y="1806"/>
                      </a:cubicBezTo>
                      <a:cubicBezTo>
                        <a:pt x="1319" y="1810"/>
                        <a:pt x="1240" y="1879"/>
                        <a:pt x="1143" y="1908"/>
                      </a:cubicBezTo>
                      <a:cubicBezTo>
                        <a:pt x="1097" y="1921"/>
                        <a:pt x="1043" y="1908"/>
                        <a:pt x="993" y="1908"/>
                      </a:cubicBezTo>
                      <a:cubicBezTo>
                        <a:pt x="820" y="1907"/>
                        <a:pt x="643" y="1809"/>
                        <a:pt x="572" y="1806"/>
                      </a:cubicBezTo>
                      <a:cubicBezTo>
                        <a:pt x="567" y="1725"/>
                        <a:pt x="575" y="1645"/>
                        <a:pt x="575" y="1568"/>
                      </a:cubicBezTo>
                      <a:cubicBezTo>
                        <a:pt x="575" y="1529"/>
                        <a:pt x="555" y="1500"/>
                        <a:pt x="559" y="1460"/>
                      </a:cubicBezTo>
                      <a:cubicBezTo>
                        <a:pt x="564" y="1421"/>
                        <a:pt x="591" y="1408"/>
                        <a:pt x="611" y="1378"/>
                      </a:cubicBezTo>
                      <a:cubicBezTo>
                        <a:pt x="620" y="1364"/>
                        <a:pt x="650" y="1313"/>
                        <a:pt x="641" y="1297"/>
                      </a:cubicBezTo>
                      <a:cubicBezTo>
                        <a:pt x="631" y="1281"/>
                        <a:pt x="612" y="1296"/>
                        <a:pt x="603" y="1284"/>
                      </a:cubicBezTo>
                      <a:cubicBezTo>
                        <a:pt x="597" y="1275"/>
                        <a:pt x="602" y="1244"/>
                        <a:pt x="602" y="1234"/>
                      </a:cubicBezTo>
                      <a:cubicBezTo>
                        <a:pt x="604" y="1202"/>
                        <a:pt x="620" y="1177"/>
                        <a:pt x="618" y="1144"/>
                      </a:cubicBezTo>
                      <a:cubicBezTo>
                        <a:pt x="615" y="1108"/>
                        <a:pt x="597" y="1065"/>
                        <a:pt x="586" y="1031"/>
                      </a:cubicBezTo>
                      <a:cubicBezTo>
                        <a:pt x="575" y="996"/>
                        <a:pt x="561" y="963"/>
                        <a:pt x="559" y="922"/>
                      </a:cubicBezTo>
                      <a:cubicBezTo>
                        <a:pt x="557" y="867"/>
                        <a:pt x="557" y="827"/>
                        <a:pt x="539" y="775"/>
                      </a:cubicBezTo>
                      <a:cubicBezTo>
                        <a:pt x="533" y="757"/>
                        <a:pt x="522" y="701"/>
                        <a:pt x="493" y="703"/>
                      </a:cubicBezTo>
                      <a:cubicBezTo>
                        <a:pt x="480" y="704"/>
                        <a:pt x="468" y="733"/>
                        <a:pt x="459" y="740"/>
                      </a:cubicBezTo>
                      <a:cubicBezTo>
                        <a:pt x="446" y="749"/>
                        <a:pt x="427" y="752"/>
                        <a:pt x="412" y="759"/>
                      </a:cubicBezTo>
                      <a:cubicBezTo>
                        <a:pt x="409" y="783"/>
                        <a:pt x="385" y="811"/>
                        <a:pt x="369" y="832"/>
                      </a:cubicBezTo>
                      <a:cubicBezTo>
                        <a:pt x="349" y="860"/>
                        <a:pt x="347" y="887"/>
                        <a:pt x="330" y="915"/>
                      </a:cubicBezTo>
                      <a:cubicBezTo>
                        <a:pt x="314" y="943"/>
                        <a:pt x="284" y="944"/>
                        <a:pt x="297" y="985"/>
                      </a:cubicBezTo>
                      <a:cubicBezTo>
                        <a:pt x="306" y="1013"/>
                        <a:pt x="331" y="1037"/>
                        <a:pt x="345" y="1062"/>
                      </a:cubicBezTo>
                      <a:cubicBezTo>
                        <a:pt x="376" y="1117"/>
                        <a:pt x="387" y="1181"/>
                        <a:pt x="426" y="1230"/>
                      </a:cubicBezTo>
                      <a:cubicBezTo>
                        <a:pt x="442" y="1250"/>
                        <a:pt x="454" y="1272"/>
                        <a:pt x="472" y="1291"/>
                      </a:cubicBezTo>
                      <a:cubicBezTo>
                        <a:pt x="492" y="1314"/>
                        <a:pt x="514" y="1324"/>
                        <a:pt x="537" y="1347"/>
                      </a:cubicBezTo>
                      <a:cubicBezTo>
                        <a:pt x="548" y="1358"/>
                        <a:pt x="562" y="1368"/>
                        <a:pt x="571" y="1381"/>
                      </a:cubicBezTo>
                      <a:cubicBezTo>
                        <a:pt x="546" y="1382"/>
                        <a:pt x="522" y="1371"/>
                        <a:pt x="500" y="1385"/>
                      </a:cubicBezTo>
                      <a:cubicBezTo>
                        <a:pt x="496" y="1387"/>
                        <a:pt x="490" y="1406"/>
                        <a:pt x="487" y="1410"/>
                      </a:cubicBezTo>
                      <a:cubicBezTo>
                        <a:pt x="478" y="1420"/>
                        <a:pt x="460" y="1431"/>
                        <a:pt x="455" y="1445"/>
                      </a:cubicBezTo>
                      <a:cubicBezTo>
                        <a:pt x="445" y="1471"/>
                        <a:pt x="445" y="1555"/>
                        <a:pt x="480" y="1558"/>
                      </a:cubicBezTo>
                      <a:cubicBezTo>
                        <a:pt x="413" y="1576"/>
                        <a:pt x="366" y="1524"/>
                        <a:pt x="330" y="1475"/>
                      </a:cubicBezTo>
                      <a:cubicBezTo>
                        <a:pt x="308" y="1444"/>
                        <a:pt x="298" y="1414"/>
                        <a:pt x="282" y="1383"/>
                      </a:cubicBezTo>
                      <a:cubicBezTo>
                        <a:pt x="266" y="1354"/>
                        <a:pt x="236" y="1333"/>
                        <a:pt x="217" y="1308"/>
                      </a:cubicBezTo>
                      <a:cubicBezTo>
                        <a:pt x="192" y="1273"/>
                        <a:pt x="170" y="1239"/>
                        <a:pt x="143" y="1207"/>
                      </a:cubicBezTo>
                      <a:cubicBezTo>
                        <a:pt x="124" y="1186"/>
                        <a:pt x="113" y="1183"/>
                        <a:pt x="100" y="1158"/>
                      </a:cubicBezTo>
                      <a:cubicBezTo>
                        <a:pt x="91" y="1138"/>
                        <a:pt x="90" y="1117"/>
                        <a:pt x="79" y="1097"/>
                      </a:cubicBezTo>
                      <a:cubicBezTo>
                        <a:pt x="50" y="1043"/>
                        <a:pt x="0" y="1002"/>
                        <a:pt x="6" y="934"/>
                      </a:cubicBezTo>
                      <a:cubicBezTo>
                        <a:pt x="12" y="858"/>
                        <a:pt x="60" y="813"/>
                        <a:pt x="100" y="755"/>
                      </a:cubicBezTo>
                      <a:cubicBezTo>
                        <a:pt x="146" y="688"/>
                        <a:pt x="165" y="616"/>
                        <a:pt x="232" y="564"/>
                      </a:cubicBezTo>
                      <a:cubicBezTo>
                        <a:pt x="271" y="535"/>
                        <a:pt x="257" y="517"/>
                        <a:pt x="276" y="475"/>
                      </a:cubicBezTo>
                      <a:cubicBezTo>
                        <a:pt x="288" y="448"/>
                        <a:pt x="310" y="432"/>
                        <a:pt x="333" y="411"/>
                      </a:cubicBezTo>
                      <a:cubicBezTo>
                        <a:pt x="354" y="391"/>
                        <a:pt x="372" y="386"/>
                        <a:pt x="384" y="353"/>
                      </a:cubicBezTo>
                      <a:cubicBezTo>
                        <a:pt x="395" y="323"/>
                        <a:pt x="404" y="294"/>
                        <a:pt x="418" y="264"/>
                      </a:cubicBezTo>
                      <a:cubicBezTo>
                        <a:pt x="430" y="237"/>
                        <a:pt x="453" y="198"/>
                        <a:pt x="477" y="185"/>
                      </a:cubicBezTo>
                      <a:cubicBezTo>
                        <a:pt x="506" y="171"/>
                        <a:pt x="536" y="183"/>
                        <a:pt x="567" y="178"/>
                      </a:cubicBezTo>
                      <a:cubicBezTo>
                        <a:pt x="633" y="166"/>
                        <a:pt x="686" y="122"/>
                        <a:pt x="741" y="87"/>
                      </a:cubicBezTo>
                      <a:cubicBezTo>
                        <a:pt x="777" y="64"/>
                        <a:pt x="893" y="0"/>
                        <a:pt x="887" y="85"/>
                      </a:cubicBezTo>
                      <a:cubicBezTo>
                        <a:pt x="884" y="118"/>
                        <a:pt x="859" y="155"/>
                        <a:pt x="851" y="189"/>
                      </a:cubicBezTo>
                      <a:cubicBezTo>
                        <a:pt x="842" y="225"/>
                        <a:pt x="840" y="262"/>
                        <a:pt x="836" y="299"/>
                      </a:cubicBezTo>
                      <a:cubicBezTo>
                        <a:pt x="827" y="383"/>
                        <a:pt x="813" y="461"/>
                        <a:pt x="817" y="548"/>
                      </a:cubicBezTo>
                      <a:cubicBezTo>
                        <a:pt x="819" y="607"/>
                        <a:pt x="824" y="667"/>
                        <a:pt x="824" y="728"/>
                      </a:cubicBezTo>
                      <a:cubicBezTo>
                        <a:pt x="825" y="777"/>
                        <a:pt x="840" y="808"/>
                        <a:pt x="848" y="856"/>
                      </a:cubicBezTo>
                      <a:cubicBezTo>
                        <a:pt x="870" y="995"/>
                        <a:pt x="855" y="1139"/>
                        <a:pt x="876" y="1280"/>
                      </a:cubicBezTo>
                      <a:cubicBezTo>
                        <a:pt x="882" y="1324"/>
                        <a:pt x="896" y="1372"/>
                        <a:pt x="898" y="1421"/>
                      </a:cubicBezTo>
                      <a:cubicBezTo>
                        <a:pt x="901" y="1479"/>
                        <a:pt x="897" y="1538"/>
                        <a:pt x="902" y="1596"/>
                      </a:cubicBezTo>
                      <a:cubicBezTo>
                        <a:pt x="910" y="1675"/>
                        <a:pt x="896" y="1821"/>
                        <a:pt x="993" y="190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5" name="Freeform 293"/>
                <p:cNvSpPr>
                  <a:spLocks/>
                </p:cNvSpPr>
                <p:nvPr/>
              </p:nvSpPr>
              <p:spPr bwMode="gray">
                <a:xfrm>
                  <a:off x="490537" y="8915401"/>
                  <a:ext cx="633413" cy="593725"/>
                </a:xfrm>
                <a:custGeom>
                  <a:avLst/>
                  <a:gdLst/>
                  <a:ahLst/>
                  <a:cxnLst>
                    <a:cxn ang="0">
                      <a:pos x="4" y="103"/>
                    </a:cxn>
                    <a:cxn ang="0">
                      <a:pos x="86" y="106"/>
                    </a:cxn>
                    <a:cxn ang="0">
                      <a:pos x="163" y="158"/>
                    </a:cxn>
                    <a:cxn ang="0">
                      <a:pos x="109" y="28"/>
                    </a:cxn>
                    <a:cxn ang="0">
                      <a:pos x="35" y="6"/>
                    </a:cxn>
                    <a:cxn ang="0">
                      <a:pos x="0" y="68"/>
                    </a:cxn>
                  </a:cxnLst>
                  <a:rect l="0" t="0" r="r" b="b"/>
                  <a:pathLst>
                    <a:path w="169" h="158">
                      <a:moveTo>
                        <a:pt x="4" y="103"/>
                      </a:moveTo>
                      <a:cubicBezTo>
                        <a:pt x="49" y="98"/>
                        <a:pt x="42" y="81"/>
                        <a:pt x="86" y="106"/>
                      </a:cubicBezTo>
                      <a:cubicBezTo>
                        <a:pt x="114" y="122"/>
                        <a:pt x="137" y="140"/>
                        <a:pt x="163" y="158"/>
                      </a:cubicBezTo>
                      <a:cubicBezTo>
                        <a:pt x="169" y="119"/>
                        <a:pt x="141" y="50"/>
                        <a:pt x="109" y="28"/>
                      </a:cubicBezTo>
                      <a:cubicBezTo>
                        <a:pt x="98" y="21"/>
                        <a:pt x="47" y="0"/>
                        <a:pt x="35" y="6"/>
                      </a:cubicBezTo>
                      <a:cubicBezTo>
                        <a:pt x="15" y="14"/>
                        <a:pt x="17" y="56"/>
                        <a:pt x="0" y="6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6" name="Freeform 294"/>
                <p:cNvSpPr>
                  <a:spLocks/>
                </p:cNvSpPr>
                <p:nvPr/>
              </p:nvSpPr>
              <p:spPr bwMode="gray">
                <a:xfrm>
                  <a:off x="-1816100" y="8859838"/>
                  <a:ext cx="866775" cy="465138"/>
                </a:xfrm>
                <a:custGeom>
                  <a:avLst/>
                  <a:gdLst/>
                  <a:ahLst/>
                  <a:cxnLst>
                    <a:cxn ang="0">
                      <a:pos x="65" y="64"/>
                    </a:cxn>
                    <a:cxn ang="0">
                      <a:pos x="0" y="114"/>
                    </a:cxn>
                    <a:cxn ang="0">
                      <a:pos x="108" y="103"/>
                    </a:cxn>
                    <a:cxn ang="0">
                      <a:pos x="191" y="71"/>
                    </a:cxn>
                    <a:cxn ang="0">
                      <a:pos x="225" y="60"/>
                    </a:cxn>
                    <a:cxn ang="0">
                      <a:pos x="209" y="18"/>
                    </a:cxn>
                    <a:cxn ang="0">
                      <a:pos x="112" y="25"/>
                    </a:cxn>
                  </a:cxnLst>
                  <a:rect l="0" t="0" r="r" b="b"/>
                  <a:pathLst>
                    <a:path w="231" h="124">
                      <a:moveTo>
                        <a:pt x="65" y="64"/>
                      </a:moveTo>
                      <a:cubicBezTo>
                        <a:pt x="50" y="98"/>
                        <a:pt x="31" y="101"/>
                        <a:pt x="0" y="114"/>
                      </a:cubicBezTo>
                      <a:cubicBezTo>
                        <a:pt x="37" y="124"/>
                        <a:pt x="75" y="121"/>
                        <a:pt x="108" y="103"/>
                      </a:cubicBezTo>
                      <a:cubicBezTo>
                        <a:pt x="145" y="82"/>
                        <a:pt x="149" y="74"/>
                        <a:pt x="191" y="71"/>
                      </a:cubicBezTo>
                      <a:cubicBezTo>
                        <a:pt x="208" y="69"/>
                        <a:pt x="216" y="84"/>
                        <a:pt x="225" y="60"/>
                      </a:cubicBezTo>
                      <a:cubicBezTo>
                        <a:pt x="231" y="44"/>
                        <a:pt x="219" y="25"/>
                        <a:pt x="209" y="18"/>
                      </a:cubicBezTo>
                      <a:cubicBezTo>
                        <a:pt x="185" y="0"/>
                        <a:pt x="132" y="6"/>
                        <a:pt x="112" y="25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7" name="Freeform 295"/>
                <p:cNvSpPr>
                  <a:spLocks/>
                </p:cNvSpPr>
                <p:nvPr/>
              </p:nvSpPr>
              <p:spPr bwMode="gray">
                <a:xfrm>
                  <a:off x="823912" y="8807451"/>
                  <a:ext cx="1225550" cy="828675"/>
                </a:xfrm>
                <a:custGeom>
                  <a:avLst/>
                  <a:gdLst/>
                  <a:ahLst/>
                  <a:cxnLst>
                    <a:cxn ang="0">
                      <a:pos x="55" y="74"/>
                    </a:cxn>
                    <a:cxn ang="0">
                      <a:pos x="128" y="114"/>
                    </a:cxn>
                    <a:cxn ang="0">
                      <a:pos x="183" y="167"/>
                    </a:cxn>
                    <a:cxn ang="0">
                      <a:pos x="164" y="125"/>
                    </a:cxn>
                    <a:cxn ang="0">
                      <a:pos x="327" y="1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27" h="221">
                      <a:moveTo>
                        <a:pt x="55" y="74"/>
                      </a:moveTo>
                      <a:cubicBezTo>
                        <a:pt x="78" y="91"/>
                        <a:pt x="106" y="95"/>
                        <a:pt x="128" y="114"/>
                      </a:cubicBezTo>
                      <a:cubicBezTo>
                        <a:pt x="146" y="131"/>
                        <a:pt x="159" y="161"/>
                        <a:pt x="183" y="167"/>
                      </a:cubicBezTo>
                      <a:cubicBezTo>
                        <a:pt x="178" y="152"/>
                        <a:pt x="167" y="141"/>
                        <a:pt x="164" y="125"/>
                      </a:cubicBezTo>
                      <a:cubicBezTo>
                        <a:pt x="209" y="117"/>
                        <a:pt x="280" y="221"/>
                        <a:pt x="327" y="153"/>
                      </a:cubicBezTo>
                      <a:cubicBezTo>
                        <a:pt x="209" y="137"/>
                        <a:pt x="122" y="16"/>
                        <a:pt x="0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8" name="Freeform 296"/>
                <p:cNvSpPr>
                  <a:spLocks/>
                </p:cNvSpPr>
                <p:nvPr/>
              </p:nvSpPr>
              <p:spPr bwMode="gray">
                <a:xfrm>
                  <a:off x="-1804988" y="8394701"/>
                  <a:ext cx="3055938" cy="2590800"/>
                </a:xfrm>
                <a:custGeom>
                  <a:avLst/>
                  <a:gdLst/>
                  <a:ahLst/>
                  <a:cxnLst>
                    <a:cxn ang="0">
                      <a:pos x="130" y="73"/>
                    </a:cxn>
                    <a:cxn ang="0">
                      <a:pos x="0" y="192"/>
                    </a:cxn>
                    <a:cxn ang="0">
                      <a:pos x="170" y="150"/>
                    </a:cxn>
                    <a:cxn ang="0">
                      <a:pos x="238" y="256"/>
                    </a:cxn>
                    <a:cxn ang="0">
                      <a:pos x="213" y="547"/>
                    </a:cxn>
                    <a:cxn ang="0">
                      <a:pos x="580" y="403"/>
                    </a:cxn>
                    <a:cxn ang="0">
                      <a:pos x="600" y="217"/>
                    </a:cxn>
                    <a:cxn ang="0">
                      <a:pos x="655" y="177"/>
                    </a:cxn>
                    <a:cxn ang="0">
                      <a:pos x="705" y="203"/>
                    </a:cxn>
                    <a:cxn ang="0">
                      <a:pos x="760" y="226"/>
                    </a:cxn>
                    <a:cxn ang="0">
                      <a:pos x="813" y="266"/>
                    </a:cxn>
                    <a:cxn ang="0">
                      <a:pos x="779" y="203"/>
                    </a:cxn>
                    <a:cxn ang="0">
                      <a:pos x="746" y="131"/>
                    </a:cxn>
                    <a:cxn ang="0">
                      <a:pos x="619" y="7"/>
                    </a:cxn>
                    <a:cxn ang="0">
                      <a:pos x="576" y="192"/>
                    </a:cxn>
                    <a:cxn ang="0">
                      <a:pos x="483" y="318"/>
                    </a:cxn>
                    <a:cxn ang="0">
                      <a:pos x="407" y="480"/>
                    </a:cxn>
                    <a:cxn ang="0">
                      <a:pos x="407" y="691"/>
                    </a:cxn>
                    <a:cxn ang="0">
                      <a:pos x="381" y="481"/>
                    </a:cxn>
                    <a:cxn ang="0">
                      <a:pos x="350" y="332"/>
                    </a:cxn>
                    <a:cxn ang="0">
                      <a:pos x="272" y="188"/>
                    </a:cxn>
                    <a:cxn ang="0">
                      <a:pos x="260" y="0"/>
                    </a:cxn>
                  </a:cxnLst>
                  <a:rect l="0" t="0" r="r" b="b"/>
                  <a:pathLst>
                    <a:path w="815" h="691">
                      <a:moveTo>
                        <a:pt x="130" y="73"/>
                      </a:moveTo>
                      <a:cubicBezTo>
                        <a:pt x="93" y="100"/>
                        <a:pt x="50" y="197"/>
                        <a:pt x="0" y="192"/>
                      </a:cubicBezTo>
                      <a:cubicBezTo>
                        <a:pt x="64" y="238"/>
                        <a:pt x="121" y="166"/>
                        <a:pt x="170" y="150"/>
                      </a:cubicBezTo>
                      <a:cubicBezTo>
                        <a:pt x="204" y="188"/>
                        <a:pt x="255" y="202"/>
                        <a:pt x="238" y="256"/>
                      </a:cubicBezTo>
                      <a:cubicBezTo>
                        <a:pt x="209" y="344"/>
                        <a:pt x="213" y="450"/>
                        <a:pt x="213" y="547"/>
                      </a:cubicBezTo>
                      <a:cubicBezTo>
                        <a:pt x="214" y="662"/>
                        <a:pt x="591" y="441"/>
                        <a:pt x="580" y="403"/>
                      </a:cubicBezTo>
                      <a:cubicBezTo>
                        <a:pt x="567" y="362"/>
                        <a:pt x="571" y="248"/>
                        <a:pt x="600" y="217"/>
                      </a:cubicBezTo>
                      <a:cubicBezTo>
                        <a:pt x="609" y="207"/>
                        <a:pt x="646" y="180"/>
                        <a:pt x="655" y="177"/>
                      </a:cubicBezTo>
                      <a:cubicBezTo>
                        <a:pt x="695" y="164"/>
                        <a:pt x="682" y="185"/>
                        <a:pt x="705" y="203"/>
                      </a:cubicBezTo>
                      <a:cubicBezTo>
                        <a:pt x="723" y="217"/>
                        <a:pt x="741" y="217"/>
                        <a:pt x="760" y="226"/>
                      </a:cubicBezTo>
                      <a:cubicBezTo>
                        <a:pt x="779" y="236"/>
                        <a:pt x="792" y="257"/>
                        <a:pt x="813" y="266"/>
                      </a:cubicBezTo>
                      <a:cubicBezTo>
                        <a:pt x="815" y="239"/>
                        <a:pt x="791" y="224"/>
                        <a:pt x="779" y="203"/>
                      </a:cubicBezTo>
                      <a:cubicBezTo>
                        <a:pt x="767" y="182"/>
                        <a:pt x="764" y="151"/>
                        <a:pt x="746" y="131"/>
                      </a:cubicBezTo>
                      <a:cubicBezTo>
                        <a:pt x="708" y="87"/>
                        <a:pt x="652" y="52"/>
                        <a:pt x="619" y="7"/>
                      </a:cubicBezTo>
                      <a:cubicBezTo>
                        <a:pt x="603" y="63"/>
                        <a:pt x="607" y="140"/>
                        <a:pt x="576" y="192"/>
                      </a:cubicBezTo>
                      <a:cubicBezTo>
                        <a:pt x="549" y="237"/>
                        <a:pt x="505" y="270"/>
                        <a:pt x="483" y="318"/>
                      </a:cubicBezTo>
                      <a:cubicBezTo>
                        <a:pt x="459" y="369"/>
                        <a:pt x="425" y="424"/>
                        <a:pt x="407" y="480"/>
                      </a:cubicBezTo>
                      <a:cubicBezTo>
                        <a:pt x="390" y="527"/>
                        <a:pt x="571" y="551"/>
                        <a:pt x="407" y="691"/>
                      </a:cubicBezTo>
                      <a:cubicBezTo>
                        <a:pt x="389" y="645"/>
                        <a:pt x="381" y="530"/>
                        <a:pt x="381" y="481"/>
                      </a:cubicBezTo>
                      <a:cubicBezTo>
                        <a:pt x="380" y="423"/>
                        <a:pt x="381" y="376"/>
                        <a:pt x="350" y="332"/>
                      </a:cubicBezTo>
                      <a:cubicBezTo>
                        <a:pt x="317" y="283"/>
                        <a:pt x="287" y="244"/>
                        <a:pt x="272" y="188"/>
                      </a:cubicBezTo>
                      <a:cubicBezTo>
                        <a:pt x="262" y="154"/>
                        <a:pt x="292" y="7"/>
                        <a:pt x="260" y="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899" name="Freeform 297"/>
                <p:cNvSpPr>
                  <a:spLocks/>
                </p:cNvSpPr>
                <p:nvPr/>
              </p:nvSpPr>
              <p:spPr bwMode="gray">
                <a:xfrm>
                  <a:off x="-1519238" y="8405813"/>
                  <a:ext cx="812800" cy="487363"/>
                </a:xfrm>
                <a:custGeom>
                  <a:avLst/>
                  <a:gdLst/>
                  <a:ahLst/>
                  <a:cxnLst>
                    <a:cxn ang="0">
                      <a:pos x="0" y="130"/>
                    </a:cxn>
                    <a:cxn ang="0">
                      <a:pos x="86" y="76"/>
                    </a:cxn>
                    <a:cxn ang="0">
                      <a:pos x="74" y="103"/>
                    </a:cxn>
                    <a:cxn ang="0">
                      <a:pos x="124" y="62"/>
                    </a:cxn>
                    <a:cxn ang="0">
                      <a:pos x="127" y="91"/>
                    </a:cxn>
                    <a:cxn ang="0">
                      <a:pos x="163" y="64"/>
                    </a:cxn>
                    <a:cxn ang="0">
                      <a:pos x="173" y="91"/>
                    </a:cxn>
                    <a:cxn ang="0">
                      <a:pos x="187" y="71"/>
                    </a:cxn>
                    <a:cxn ang="0">
                      <a:pos x="208" y="93"/>
                    </a:cxn>
                    <a:cxn ang="0">
                      <a:pos x="176" y="22"/>
                    </a:cxn>
                    <a:cxn ang="0">
                      <a:pos x="107" y="26"/>
                    </a:cxn>
                    <a:cxn ang="0">
                      <a:pos x="15" y="101"/>
                    </a:cxn>
                  </a:cxnLst>
                  <a:rect l="0" t="0" r="r" b="b"/>
                  <a:pathLst>
                    <a:path w="217" h="130">
                      <a:moveTo>
                        <a:pt x="0" y="130"/>
                      </a:moveTo>
                      <a:cubicBezTo>
                        <a:pt x="23" y="129"/>
                        <a:pt x="76" y="97"/>
                        <a:pt x="86" y="76"/>
                      </a:cubicBezTo>
                      <a:cubicBezTo>
                        <a:pt x="87" y="87"/>
                        <a:pt x="82" y="97"/>
                        <a:pt x="74" y="103"/>
                      </a:cubicBezTo>
                      <a:cubicBezTo>
                        <a:pt x="105" y="108"/>
                        <a:pt x="94" y="54"/>
                        <a:pt x="124" y="62"/>
                      </a:cubicBezTo>
                      <a:cubicBezTo>
                        <a:pt x="128" y="71"/>
                        <a:pt x="126" y="81"/>
                        <a:pt x="127" y="91"/>
                      </a:cubicBezTo>
                      <a:cubicBezTo>
                        <a:pt x="143" y="91"/>
                        <a:pt x="150" y="71"/>
                        <a:pt x="163" y="64"/>
                      </a:cubicBezTo>
                      <a:cubicBezTo>
                        <a:pt x="162" y="74"/>
                        <a:pt x="166" y="85"/>
                        <a:pt x="173" y="91"/>
                      </a:cubicBezTo>
                      <a:cubicBezTo>
                        <a:pt x="176" y="84"/>
                        <a:pt x="180" y="76"/>
                        <a:pt x="187" y="71"/>
                      </a:cubicBezTo>
                      <a:cubicBezTo>
                        <a:pt x="187" y="85"/>
                        <a:pt x="190" y="97"/>
                        <a:pt x="208" y="93"/>
                      </a:cubicBezTo>
                      <a:cubicBezTo>
                        <a:pt x="217" y="68"/>
                        <a:pt x="196" y="37"/>
                        <a:pt x="176" y="22"/>
                      </a:cubicBezTo>
                      <a:cubicBezTo>
                        <a:pt x="149" y="0"/>
                        <a:pt x="132" y="11"/>
                        <a:pt x="107" y="26"/>
                      </a:cubicBezTo>
                      <a:cubicBezTo>
                        <a:pt x="69" y="50"/>
                        <a:pt x="40" y="62"/>
                        <a:pt x="15" y="101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0" name="Freeform 298"/>
                <p:cNvSpPr>
                  <a:spLocks/>
                </p:cNvSpPr>
                <p:nvPr/>
              </p:nvSpPr>
              <p:spPr bwMode="gray">
                <a:xfrm>
                  <a:off x="411159" y="8405816"/>
                  <a:ext cx="735014" cy="803276"/>
                </a:xfrm>
                <a:custGeom>
                  <a:avLst/>
                  <a:gdLst/>
                  <a:ahLst/>
                  <a:cxnLst>
                    <a:cxn ang="0">
                      <a:pos x="11" y="66"/>
                    </a:cxn>
                    <a:cxn ang="0">
                      <a:pos x="9" y="126"/>
                    </a:cxn>
                    <a:cxn ang="0">
                      <a:pos x="40" y="105"/>
                    </a:cxn>
                    <a:cxn ang="0">
                      <a:pos x="69" y="78"/>
                    </a:cxn>
                    <a:cxn ang="0">
                      <a:pos x="142" y="142"/>
                    </a:cxn>
                    <a:cxn ang="0">
                      <a:pos x="196" y="212"/>
                    </a:cxn>
                    <a:cxn ang="0">
                      <a:pos x="165" y="144"/>
                    </a:cxn>
                    <a:cxn ang="0">
                      <a:pos x="124" y="71"/>
                    </a:cxn>
                    <a:cxn ang="0">
                      <a:pos x="54" y="7"/>
                    </a:cxn>
                    <a:cxn ang="0">
                      <a:pos x="3" y="72"/>
                    </a:cxn>
                    <a:cxn ang="0">
                      <a:pos x="13" y="78"/>
                    </a:cxn>
                  </a:cxnLst>
                  <a:rect l="0" t="0" r="r" b="b"/>
                  <a:pathLst>
                    <a:path w="196" h="214">
                      <a:moveTo>
                        <a:pt x="11" y="66"/>
                      </a:moveTo>
                      <a:cubicBezTo>
                        <a:pt x="20" y="73"/>
                        <a:pt x="13" y="114"/>
                        <a:pt x="9" y="126"/>
                      </a:cubicBezTo>
                      <a:cubicBezTo>
                        <a:pt x="20" y="122"/>
                        <a:pt x="31" y="112"/>
                        <a:pt x="40" y="105"/>
                      </a:cubicBezTo>
                      <a:cubicBezTo>
                        <a:pt x="49" y="98"/>
                        <a:pt x="60" y="81"/>
                        <a:pt x="69" y="78"/>
                      </a:cubicBezTo>
                      <a:cubicBezTo>
                        <a:pt x="86" y="109"/>
                        <a:pt x="122" y="118"/>
                        <a:pt x="142" y="142"/>
                      </a:cubicBezTo>
                      <a:cubicBezTo>
                        <a:pt x="155" y="158"/>
                        <a:pt x="171" y="214"/>
                        <a:pt x="196" y="212"/>
                      </a:cubicBezTo>
                      <a:cubicBezTo>
                        <a:pt x="189" y="191"/>
                        <a:pt x="175" y="165"/>
                        <a:pt x="165" y="144"/>
                      </a:cubicBezTo>
                      <a:cubicBezTo>
                        <a:pt x="153" y="120"/>
                        <a:pt x="138" y="95"/>
                        <a:pt x="124" y="71"/>
                      </a:cubicBezTo>
                      <a:cubicBezTo>
                        <a:pt x="108" y="45"/>
                        <a:pt x="85" y="13"/>
                        <a:pt x="54" y="7"/>
                      </a:cubicBezTo>
                      <a:cubicBezTo>
                        <a:pt x="17" y="0"/>
                        <a:pt x="0" y="40"/>
                        <a:pt x="3" y="72"/>
                      </a:cubicBezTo>
                      <a:cubicBezTo>
                        <a:pt x="7" y="73"/>
                        <a:pt x="10" y="77"/>
                        <a:pt x="13" y="7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1" name="Freeform 299"/>
                <p:cNvSpPr>
                  <a:spLocks/>
                </p:cNvSpPr>
                <p:nvPr/>
              </p:nvSpPr>
              <p:spPr bwMode="gray">
                <a:xfrm>
                  <a:off x="-1095375" y="9036051"/>
                  <a:ext cx="547688" cy="809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6" y="216"/>
                    </a:cxn>
                    <a:cxn ang="0">
                      <a:pos x="53" y="131"/>
                    </a:cxn>
                    <a:cxn ang="0">
                      <a:pos x="28" y="193"/>
                    </a:cxn>
                  </a:cxnLst>
                  <a:rect l="0" t="0" r="r" b="b"/>
                  <a:pathLst>
                    <a:path w="146" h="216">
                      <a:moveTo>
                        <a:pt x="0" y="0"/>
                      </a:moveTo>
                      <a:cubicBezTo>
                        <a:pt x="40" y="3"/>
                        <a:pt x="144" y="168"/>
                        <a:pt x="146" y="216"/>
                      </a:cubicBezTo>
                      <a:cubicBezTo>
                        <a:pt x="134" y="178"/>
                        <a:pt x="97" y="126"/>
                        <a:pt x="53" y="131"/>
                      </a:cubicBezTo>
                      <a:cubicBezTo>
                        <a:pt x="54" y="153"/>
                        <a:pt x="29" y="170"/>
                        <a:pt x="28" y="193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2" name="Freeform 300"/>
                <p:cNvSpPr>
                  <a:spLocks/>
                </p:cNvSpPr>
                <p:nvPr/>
              </p:nvSpPr>
              <p:spPr bwMode="gray">
                <a:xfrm>
                  <a:off x="-2127250" y="5688013"/>
                  <a:ext cx="3724275" cy="3937000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solidFill>
                  <a:srgbClr val="736357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3" name="Freeform 301"/>
                <p:cNvSpPr>
                  <a:spLocks/>
                </p:cNvSpPr>
                <p:nvPr/>
              </p:nvSpPr>
              <p:spPr bwMode="gray">
                <a:xfrm>
                  <a:off x="-2127250" y="5688013"/>
                  <a:ext cx="3724275" cy="3937000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4" name="Freeform 302"/>
                <p:cNvSpPr>
                  <a:spLocks/>
                </p:cNvSpPr>
                <p:nvPr/>
              </p:nvSpPr>
              <p:spPr bwMode="gray">
                <a:xfrm>
                  <a:off x="-1965325" y="13963651"/>
                  <a:ext cx="746125" cy="757238"/>
                </a:xfrm>
                <a:custGeom>
                  <a:avLst/>
                  <a:gdLst/>
                  <a:ahLst/>
                  <a:cxnLst>
                    <a:cxn ang="0">
                      <a:pos x="4" y="47"/>
                    </a:cxn>
                    <a:cxn ang="0">
                      <a:pos x="16" y="105"/>
                    </a:cxn>
                    <a:cxn ang="0">
                      <a:pos x="128" y="168"/>
                    </a:cxn>
                    <a:cxn ang="0">
                      <a:pos x="176" y="188"/>
                    </a:cxn>
                    <a:cxn ang="0">
                      <a:pos x="171" y="138"/>
                    </a:cxn>
                    <a:cxn ang="0">
                      <a:pos x="86" y="71"/>
                    </a:cxn>
                    <a:cxn ang="0">
                      <a:pos x="186" y="58"/>
                    </a:cxn>
                    <a:cxn ang="0">
                      <a:pos x="97" y="16"/>
                    </a:cxn>
                    <a:cxn ang="0">
                      <a:pos x="39" y="4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199" h="202">
                      <a:moveTo>
                        <a:pt x="4" y="47"/>
                      </a:moveTo>
                      <a:cubicBezTo>
                        <a:pt x="14" y="65"/>
                        <a:pt x="16" y="85"/>
                        <a:pt x="16" y="105"/>
                      </a:cubicBezTo>
                      <a:cubicBezTo>
                        <a:pt x="64" y="87"/>
                        <a:pt x="95" y="139"/>
                        <a:pt x="128" y="168"/>
                      </a:cubicBezTo>
                      <a:cubicBezTo>
                        <a:pt x="142" y="181"/>
                        <a:pt x="157" y="202"/>
                        <a:pt x="176" y="188"/>
                      </a:cubicBezTo>
                      <a:cubicBezTo>
                        <a:pt x="193" y="176"/>
                        <a:pt x="181" y="151"/>
                        <a:pt x="171" y="138"/>
                      </a:cubicBezTo>
                      <a:cubicBezTo>
                        <a:pt x="154" y="117"/>
                        <a:pt x="88" y="99"/>
                        <a:pt x="86" y="71"/>
                      </a:cubicBezTo>
                      <a:cubicBezTo>
                        <a:pt x="83" y="30"/>
                        <a:pt x="159" y="61"/>
                        <a:pt x="186" y="58"/>
                      </a:cubicBezTo>
                      <a:cubicBezTo>
                        <a:pt x="199" y="12"/>
                        <a:pt x="125" y="20"/>
                        <a:pt x="97" y="16"/>
                      </a:cubicBezTo>
                      <a:cubicBezTo>
                        <a:pt x="82" y="14"/>
                        <a:pt x="53" y="0"/>
                        <a:pt x="39" y="4"/>
                      </a:cubicBezTo>
                      <a:cubicBezTo>
                        <a:pt x="22" y="9"/>
                        <a:pt x="12" y="35"/>
                        <a:pt x="0" y="43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5" name="Freeform 303"/>
                <p:cNvSpPr>
                  <a:spLocks/>
                </p:cNvSpPr>
                <p:nvPr/>
              </p:nvSpPr>
              <p:spPr bwMode="gray">
                <a:xfrm>
                  <a:off x="-2424113" y="13239751"/>
                  <a:ext cx="1387475" cy="993775"/>
                </a:xfrm>
                <a:custGeom>
                  <a:avLst/>
                  <a:gdLst/>
                  <a:ahLst/>
                  <a:cxnLst>
                    <a:cxn ang="0">
                      <a:pos x="4" y="216"/>
                    </a:cxn>
                    <a:cxn ang="0">
                      <a:pos x="1" y="259"/>
                    </a:cxn>
                    <a:cxn ang="0">
                      <a:pos x="78" y="255"/>
                    </a:cxn>
                    <a:cxn ang="0">
                      <a:pos x="144" y="224"/>
                    </a:cxn>
                    <a:cxn ang="0">
                      <a:pos x="185" y="214"/>
                    </a:cxn>
                    <a:cxn ang="0">
                      <a:pos x="299" y="219"/>
                    </a:cxn>
                    <a:cxn ang="0">
                      <a:pos x="193" y="179"/>
                    </a:cxn>
                    <a:cxn ang="0">
                      <a:pos x="180" y="165"/>
                    </a:cxn>
                    <a:cxn ang="0">
                      <a:pos x="335" y="197"/>
                    </a:cxn>
                    <a:cxn ang="0">
                      <a:pos x="265" y="146"/>
                    </a:cxn>
                    <a:cxn ang="0">
                      <a:pos x="184" y="122"/>
                    </a:cxn>
                    <a:cxn ang="0">
                      <a:pos x="284" y="114"/>
                    </a:cxn>
                    <a:cxn ang="0">
                      <a:pos x="370" y="142"/>
                    </a:cxn>
                    <a:cxn ang="0">
                      <a:pos x="285" y="82"/>
                    </a:cxn>
                    <a:cxn ang="0">
                      <a:pos x="191" y="66"/>
                    </a:cxn>
                    <a:cxn ang="0">
                      <a:pos x="339" y="34"/>
                    </a:cxn>
                    <a:cxn ang="0">
                      <a:pos x="241" y="3"/>
                    </a:cxn>
                    <a:cxn ang="0">
                      <a:pos x="143" y="48"/>
                    </a:cxn>
                    <a:cxn ang="0">
                      <a:pos x="4" y="216"/>
                    </a:cxn>
                  </a:cxnLst>
                  <a:rect l="0" t="0" r="r" b="b"/>
                  <a:pathLst>
                    <a:path w="370" h="265">
                      <a:moveTo>
                        <a:pt x="4" y="216"/>
                      </a:moveTo>
                      <a:cubicBezTo>
                        <a:pt x="2" y="231"/>
                        <a:pt x="0" y="243"/>
                        <a:pt x="1" y="259"/>
                      </a:cubicBezTo>
                      <a:cubicBezTo>
                        <a:pt x="28" y="265"/>
                        <a:pt x="53" y="263"/>
                        <a:pt x="78" y="255"/>
                      </a:cubicBezTo>
                      <a:cubicBezTo>
                        <a:pt x="98" y="250"/>
                        <a:pt x="133" y="240"/>
                        <a:pt x="144" y="224"/>
                      </a:cubicBezTo>
                      <a:cubicBezTo>
                        <a:pt x="147" y="219"/>
                        <a:pt x="175" y="214"/>
                        <a:pt x="185" y="214"/>
                      </a:cubicBezTo>
                      <a:cubicBezTo>
                        <a:pt x="229" y="214"/>
                        <a:pt x="302" y="248"/>
                        <a:pt x="299" y="219"/>
                      </a:cubicBezTo>
                      <a:cubicBezTo>
                        <a:pt x="296" y="213"/>
                        <a:pt x="226" y="193"/>
                        <a:pt x="193" y="179"/>
                      </a:cubicBezTo>
                      <a:cubicBezTo>
                        <a:pt x="181" y="173"/>
                        <a:pt x="178" y="167"/>
                        <a:pt x="180" y="165"/>
                      </a:cubicBezTo>
                      <a:cubicBezTo>
                        <a:pt x="200" y="139"/>
                        <a:pt x="329" y="219"/>
                        <a:pt x="335" y="197"/>
                      </a:cubicBezTo>
                      <a:cubicBezTo>
                        <a:pt x="334" y="181"/>
                        <a:pt x="293" y="161"/>
                        <a:pt x="265" y="146"/>
                      </a:cubicBezTo>
                      <a:cubicBezTo>
                        <a:pt x="241" y="133"/>
                        <a:pt x="214" y="125"/>
                        <a:pt x="184" y="122"/>
                      </a:cubicBezTo>
                      <a:cubicBezTo>
                        <a:pt x="186" y="93"/>
                        <a:pt x="237" y="103"/>
                        <a:pt x="284" y="114"/>
                      </a:cubicBezTo>
                      <a:cubicBezTo>
                        <a:pt x="326" y="127"/>
                        <a:pt x="367" y="149"/>
                        <a:pt x="370" y="142"/>
                      </a:cubicBezTo>
                      <a:cubicBezTo>
                        <a:pt x="370" y="119"/>
                        <a:pt x="306" y="92"/>
                        <a:pt x="285" y="82"/>
                      </a:cubicBezTo>
                      <a:cubicBezTo>
                        <a:pt x="262" y="72"/>
                        <a:pt x="204" y="81"/>
                        <a:pt x="191" y="66"/>
                      </a:cubicBezTo>
                      <a:cubicBezTo>
                        <a:pt x="212" y="5"/>
                        <a:pt x="338" y="49"/>
                        <a:pt x="339" y="34"/>
                      </a:cubicBezTo>
                      <a:cubicBezTo>
                        <a:pt x="336" y="15"/>
                        <a:pt x="265" y="4"/>
                        <a:pt x="241" y="3"/>
                      </a:cubicBezTo>
                      <a:cubicBezTo>
                        <a:pt x="191" y="0"/>
                        <a:pt x="179" y="20"/>
                        <a:pt x="143" y="48"/>
                      </a:cubicBezTo>
                      <a:cubicBezTo>
                        <a:pt x="89" y="90"/>
                        <a:pt x="0" y="130"/>
                        <a:pt x="4" y="21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6" name="Oval 304"/>
                <p:cNvSpPr>
                  <a:spLocks noChangeArrowheads="1"/>
                </p:cNvSpPr>
                <p:nvPr/>
              </p:nvSpPr>
              <p:spPr bwMode="gray">
                <a:xfrm>
                  <a:off x="-417513" y="15395576"/>
                  <a:ext cx="668338" cy="671513"/>
                </a:xfrm>
                <a:prstGeom prst="ellipse">
                  <a:avLst/>
                </a:prstGeom>
                <a:solidFill>
                  <a:srgbClr val="3F3B3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7" name="Freeform 305"/>
                <p:cNvSpPr>
                  <a:spLocks/>
                </p:cNvSpPr>
                <p:nvPr/>
              </p:nvSpPr>
              <p:spPr bwMode="gray">
                <a:xfrm>
                  <a:off x="-533400" y="15692438"/>
                  <a:ext cx="2347913" cy="1858963"/>
                </a:xfrm>
                <a:custGeom>
                  <a:avLst/>
                  <a:gdLst/>
                  <a:ahLst/>
                  <a:cxnLst>
                    <a:cxn ang="0">
                      <a:pos x="24" y="461"/>
                    </a:cxn>
                    <a:cxn ang="0">
                      <a:pos x="189" y="375"/>
                    </a:cxn>
                    <a:cxn ang="0">
                      <a:pos x="347" y="276"/>
                    </a:cxn>
                    <a:cxn ang="0">
                      <a:pos x="497" y="157"/>
                    </a:cxn>
                    <a:cxn ang="0">
                      <a:pos x="625" y="12"/>
                    </a:cxn>
                    <a:cxn ang="0">
                      <a:pos x="452" y="111"/>
                    </a:cxn>
                    <a:cxn ang="0">
                      <a:pos x="268" y="240"/>
                    </a:cxn>
                    <a:cxn ang="0">
                      <a:pos x="0" y="496"/>
                    </a:cxn>
                  </a:cxnLst>
                  <a:rect l="0" t="0" r="r" b="b"/>
                  <a:pathLst>
                    <a:path w="626" h="496">
                      <a:moveTo>
                        <a:pt x="24" y="461"/>
                      </a:moveTo>
                      <a:cubicBezTo>
                        <a:pt x="83" y="466"/>
                        <a:pt x="144" y="404"/>
                        <a:pt x="189" y="375"/>
                      </a:cubicBezTo>
                      <a:cubicBezTo>
                        <a:pt x="240" y="343"/>
                        <a:pt x="297" y="313"/>
                        <a:pt x="347" y="276"/>
                      </a:cubicBezTo>
                      <a:cubicBezTo>
                        <a:pt x="397" y="237"/>
                        <a:pt x="450" y="200"/>
                        <a:pt x="497" y="157"/>
                      </a:cubicBezTo>
                      <a:cubicBezTo>
                        <a:pt x="535" y="123"/>
                        <a:pt x="626" y="64"/>
                        <a:pt x="625" y="12"/>
                      </a:cubicBezTo>
                      <a:cubicBezTo>
                        <a:pt x="557" y="0"/>
                        <a:pt x="498" y="71"/>
                        <a:pt x="452" y="111"/>
                      </a:cubicBezTo>
                      <a:cubicBezTo>
                        <a:pt x="395" y="159"/>
                        <a:pt x="326" y="191"/>
                        <a:pt x="268" y="240"/>
                      </a:cubicBezTo>
                      <a:cubicBezTo>
                        <a:pt x="172" y="320"/>
                        <a:pt x="62" y="387"/>
                        <a:pt x="0" y="496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8" name="Freeform 306"/>
                <p:cNvSpPr>
                  <a:spLocks/>
                </p:cNvSpPr>
                <p:nvPr/>
              </p:nvSpPr>
              <p:spPr bwMode="gray">
                <a:xfrm>
                  <a:off x="-1835150" y="15640051"/>
                  <a:ext cx="1890713" cy="989013"/>
                </a:xfrm>
                <a:custGeom>
                  <a:avLst/>
                  <a:gdLst/>
                  <a:ahLst/>
                  <a:cxnLst>
                    <a:cxn ang="0">
                      <a:pos x="103" y="46"/>
                    </a:cxn>
                    <a:cxn ang="0">
                      <a:pos x="179" y="82"/>
                    </a:cxn>
                    <a:cxn ang="0">
                      <a:pos x="290" y="87"/>
                    </a:cxn>
                    <a:cxn ang="0">
                      <a:pos x="500" y="41"/>
                    </a:cxn>
                    <a:cxn ang="0">
                      <a:pos x="354" y="146"/>
                    </a:cxn>
                    <a:cxn ang="0">
                      <a:pos x="91" y="90"/>
                    </a:cxn>
                    <a:cxn ang="0">
                      <a:pos x="202" y="238"/>
                    </a:cxn>
                    <a:cxn ang="0">
                      <a:pos x="86" y="0"/>
                    </a:cxn>
                  </a:cxnLst>
                  <a:rect l="0" t="0" r="r" b="b"/>
                  <a:pathLst>
                    <a:path w="504" h="264">
                      <a:moveTo>
                        <a:pt x="103" y="46"/>
                      </a:moveTo>
                      <a:cubicBezTo>
                        <a:pt x="131" y="56"/>
                        <a:pt x="151" y="74"/>
                        <a:pt x="179" y="82"/>
                      </a:cubicBezTo>
                      <a:cubicBezTo>
                        <a:pt x="213" y="90"/>
                        <a:pt x="253" y="88"/>
                        <a:pt x="290" y="87"/>
                      </a:cubicBezTo>
                      <a:cubicBezTo>
                        <a:pt x="369" y="86"/>
                        <a:pt x="426" y="47"/>
                        <a:pt x="500" y="41"/>
                      </a:cubicBezTo>
                      <a:cubicBezTo>
                        <a:pt x="504" y="138"/>
                        <a:pt x="442" y="146"/>
                        <a:pt x="354" y="146"/>
                      </a:cubicBezTo>
                      <a:cubicBezTo>
                        <a:pt x="248" y="146"/>
                        <a:pt x="177" y="138"/>
                        <a:pt x="91" y="90"/>
                      </a:cubicBezTo>
                      <a:cubicBezTo>
                        <a:pt x="93" y="164"/>
                        <a:pt x="164" y="188"/>
                        <a:pt x="202" y="238"/>
                      </a:cubicBezTo>
                      <a:cubicBezTo>
                        <a:pt x="89" y="264"/>
                        <a:pt x="0" y="69"/>
                        <a:pt x="86" y="0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09" name="Freeform 307"/>
                <p:cNvSpPr>
                  <a:spLocks/>
                </p:cNvSpPr>
                <p:nvPr/>
              </p:nvSpPr>
              <p:spPr bwMode="gray">
                <a:xfrm>
                  <a:off x="246062" y="17765713"/>
                  <a:ext cx="1792288" cy="2166938"/>
                </a:xfrm>
                <a:custGeom>
                  <a:avLst/>
                  <a:gdLst/>
                  <a:ahLst/>
                  <a:cxnLst>
                    <a:cxn ang="0">
                      <a:pos x="437" y="187"/>
                    </a:cxn>
                    <a:cxn ang="0">
                      <a:pos x="383" y="519"/>
                    </a:cxn>
                    <a:cxn ang="0">
                      <a:pos x="192" y="543"/>
                    </a:cxn>
                    <a:cxn ang="0">
                      <a:pos x="0" y="577"/>
                    </a:cxn>
                    <a:cxn ang="0">
                      <a:pos x="197" y="484"/>
                    </a:cxn>
                    <a:cxn ang="0">
                      <a:pos x="330" y="356"/>
                    </a:cxn>
                    <a:cxn ang="0">
                      <a:pos x="408" y="175"/>
                    </a:cxn>
                    <a:cxn ang="0">
                      <a:pos x="443" y="0"/>
                    </a:cxn>
                  </a:cxnLst>
                  <a:rect l="0" t="0" r="r" b="b"/>
                  <a:pathLst>
                    <a:path w="478" h="578">
                      <a:moveTo>
                        <a:pt x="437" y="187"/>
                      </a:moveTo>
                      <a:cubicBezTo>
                        <a:pt x="478" y="282"/>
                        <a:pt x="415" y="429"/>
                        <a:pt x="383" y="519"/>
                      </a:cubicBezTo>
                      <a:cubicBezTo>
                        <a:pt x="320" y="532"/>
                        <a:pt x="254" y="532"/>
                        <a:pt x="192" y="543"/>
                      </a:cubicBezTo>
                      <a:cubicBezTo>
                        <a:pt x="129" y="555"/>
                        <a:pt x="64" y="578"/>
                        <a:pt x="0" y="577"/>
                      </a:cubicBezTo>
                      <a:cubicBezTo>
                        <a:pt x="46" y="530"/>
                        <a:pt x="137" y="510"/>
                        <a:pt x="197" y="484"/>
                      </a:cubicBezTo>
                      <a:cubicBezTo>
                        <a:pt x="264" y="456"/>
                        <a:pt x="295" y="423"/>
                        <a:pt x="330" y="356"/>
                      </a:cubicBezTo>
                      <a:cubicBezTo>
                        <a:pt x="359" y="301"/>
                        <a:pt x="389" y="237"/>
                        <a:pt x="408" y="175"/>
                      </a:cubicBezTo>
                      <a:cubicBezTo>
                        <a:pt x="425" y="118"/>
                        <a:pt x="419" y="53"/>
                        <a:pt x="443" y="0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0" name="Freeform 308"/>
                <p:cNvSpPr>
                  <a:spLocks/>
                </p:cNvSpPr>
                <p:nvPr/>
              </p:nvSpPr>
              <p:spPr bwMode="gray">
                <a:xfrm>
                  <a:off x="1371600" y="10360026"/>
                  <a:ext cx="363538" cy="3490913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12" y="235"/>
                    </a:cxn>
                    <a:cxn ang="0">
                      <a:pos x="30" y="450"/>
                    </a:cxn>
                    <a:cxn ang="0">
                      <a:pos x="18" y="666"/>
                    </a:cxn>
                    <a:cxn ang="0">
                      <a:pos x="12" y="771"/>
                    </a:cxn>
                    <a:cxn ang="0">
                      <a:pos x="94" y="931"/>
                    </a:cxn>
                    <a:cxn ang="0">
                      <a:pos x="94" y="666"/>
                    </a:cxn>
                    <a:cxn ang="0">
                      <a:pos x="83" y="399"/>
                    </a:cxn>
                    <a:cxn ang="0">
                      <a:pos x="29" y="15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7" h="931">
                      <a:moveTo>
                        <a:pt x="0" y="29"/>
                      </a:moveTo>
                      <a:cubicBezTo>
                        <a:pt x="33" y="79"/>
                        <a:pt x="3" y="174"/>
                        <a:pt x="12" y="235"/>
                      </a:cubicBezTo>
                      <a:cubicBezTo>
                        <a:pt x="23" y="307"/>
                        <a:pt x="19" y="379"/>
                        <a:pt x="30" y="450"/>
                      </a:cubicBezTo>
                      <a:cubicBezTo>
                        <a:pt x="41" y="525"/>
                        <a:pt x="24" y="593"/>
                        <a:pt x="18" y="666"/>
                      </a:cubicBezTo>
                      <a:cubicBezTo>
                        <a:pt x="15" y="694"/>
                        <a:pt x="7" y="748"/>
                        <a:pt x="12" y="771"/>
                      </a:cubicBezTo>
                      <a:cubicBezTo>
                        <a:pt x="20" y="804"/>
                        <a:pt x="76" y="906"/>
                        <a:pt x="94" y="931"/>
                      </a:cubicBezTo>
                      <a:cubicBezTo>
                        <a:pt x="97" y="875"/>
                        <a:pt x="93" y="728"/>
                        <a:pt x="94" y="666"/>
                      </a:cubicBezTo>
                      <a:cubicBezTo>
                        <a:pt x="95" y="576"/>
                        <a:pt x="90" y="487"/>
                        <a:pt x="83" y="399"/>
                      </a:cubicBezTo>
                      <a:cubicBezTo>
                        <a:pt x="75" y="317"/>
                        <a:pt x="42" y="239"/>
                        <a:pt x="29" y="158"/>
                      </a:cubicBezTo>
                      <a:cubicBezTo>
                        <a:pt x="20" y="97"/>
                        <a:pt x="25" y="55"/>
                        <a:pt x="0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1" name="Freeform 309"/>
                <p:cNvSpPr>
                  <a:spLocks/>
                </p:cNvSpPr>
                <p:nvPr/>
              </p:nvSpPr>
              <p:spPr bwMode="gray">
                <a:xfrm>
                  <a:off x="479425" y="13655676"/>
                  <a:ext cx="1484313" cy="1492250"/>
                </a:xfrm>
                <a:custGeom>
                  <a:avLst/>
                  <a:gdLst/>
                  <a:ahLst/>
                  <a:cxnLst>
                    <a:cxn ang="0">
                      <a:pos x="330" y="55"/>
                    </a:cxn>
                    <a:cxn ang="0">
                      <a:pos x="318" y="109"/>
                    </a:cxn>
                    <a:cxn ang="0">
                      <a:pos x="108" y="33"/>
                    </a:cxn>
                    <a:cxn ang="0">
                      <a:pos x="209" y="113"/>
                    </a:cxn>
                    <a:cxn ang="0">
                      <a:pos x="243" y="164"/>
                    </a:cxn>
                    <a:cxn ang="0">
                      <a:pos x="287" y="214"/>
                    </a:cxn>
                    <a:cxn ang="0">
                      <a:pos x="221" y="219"/>
                    </a:cxn>
                    <a:cxn ang="0">
                      <a:pos x="256" y="289"/>
                    </a:cxn>
                    <a:cxn ang="0">
                      <a:pos x="170" y="329"/>
                    </a:cxn>
                    <a:cxn ang="0">
                      <a:pos x="0" y="398"/>
                    </a:cxn>
                    <a:cxn ang="0">
                      <a:pos x="194" y="344"/>
                    </a:cxn>
                    <a:cxn ang="0">
                      <a:pos x="314" y="351"/>
                    </a:cxn>
                    <a:cxn ang="0">
                      <a:pos x="396" y="370"/>
                    </a:cxn>
                    <a:cxn ang="0">
                      <a:pos x="357" y="238"/>
                    </a:cxn>
                    <a:cxn ang="0">
                      <a:pos x="330" y="98"/>
                    </a:cxn>
                  </a:cxnLst>
                  <a:rect l="0" t="0" r="r" b="b"/>
                  <a:pathLst>
                    <a:path w="396" h="398">
                      <a:moveTo>
                        <a:pt x="330" y="55"/>
                      </a:moveTo>
                      <a:cubicBezTo>
                        <a:pt x="319" y="72"/>
                        <a:pt x="324" y="91"/>
                        <a:pt x="318" y="109"/>
                      </a:cubicBezTo>
                      <a:cubicBezTo>
                        <a:pt x="238" y="165"/>
                        <a:pt x="183" y="0"/>
                        <a:pt x="108" y="33"/>
                      </a:cubicBezTo>
                      <a:cubicBezTo>
                        <a:pt x="96" y="79"/>
                        <a:pt x="186" y="88"/>
                        <a:pt x="209" y="113"/>
                      </a:cubicBezTo>
                      <a:cubicBezTo>
                        <a:pt x="222" y="129"/>
                        <a:pt x="223" y="147"/>
                        <a:pt x="243" y="164"/>
                      </a:cubicBezTo>
                      <a:cubicBezTo>
                        <a:pt x="262" y="180"/>
                        <a:pt x="285" y="188"/>
                        <a:pt x="287" y="214"/>
                      </a:cubicBezTo>
                      <a:cubicBezTo>
                        <a:pt x="266" y="222"/>
                        <a:pt x="243" y="218"/>
                        <a:pt x="221" y="219"/>
                      </a:cubicBezTo>
                      <a:cubicBezTo>
                        <a:pt x="210" y="261"/>
                        <a:pt x="255" y="250"/>
                        <a:pt x="256" y="289"/>
                      </a:cubicBezTo>
                      <a:cubicBezTo>
                        <a:pt x="257" y="338"/>
                        <a:pt x="204" y="331"/>
                        <a:pt x="170" y="329"/>
                      </a:cubicBezTo>
                      <a:cubicBezTo>
                        <a:pt x="94" y="325"/>
                        <a:pt x="33" y="326"/>
                        <a:pt x="0" y="398"/>
                      </a:cubicBezTo>
                      <a:cubicBezTo>
                        <a:pt x="21" y="350"/>
                        <a:pt x="148" y="348"/>
                        <a:pt x="194" y="344"/>
                      </a:cubicBezTo>
                      <a:cubicBezTo>
                        <a:pt x="237" y="339"/>
                        <a:pt x="273" y="340"/>
                        <a:pt x="314" y="351"/>
                      </a:cubicBezTo>
                      <a:cubicBezTo>
                        <a:pt x="341" y="357"/>
                        <a:pt x="369" y="383"/>
                        <a:pt x="396" y="370"/>
                      </a:cubicBezTo>
                      <a:cubicBezTo>
                        <a:pt x="384" y="326"/>
                        <a:pt x="364" y="287"/>
                        <a:pt x="357" y="238"/>
                      </a:cubicBezTo>
                      <a:cubicBezTo>
                        <a:pt x="351" y="193"/>
                        <a:pt x="326" y="145"/>
                        <a:pt x="330" y="9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2" name="Freeform 310"/>
                <p:cNvSpPr>
                  <a:spLocks/>
                </p:cNvSpPr>
                <p:nvPr/>
              </p:nvSpPr>
              <p:spPr bwMode="gray">
                <a:xfrm>
                  <a:off x="-3533775" y="11672888"/>
                  <a:ext cx="1027113" cy="1357313"/>
                </a:xfrm>
                <a:custGeom>
                  <a:avLst/>
                  <a:gdLst/>
                  <a:ahLst/>
                  <a:cxnLst>
                    <a:cxn ang="0">
                      <a:pos x="173" y="43"/>
                    </a:cxn>
                    <a:cxn ang="0">
                      <a:pos x="47" y="57"/>
                    </a:cxn>
                    <a:cxn ang="0">
                      <a:pos x="133" y="133"/>
                    </a:cxn>
                    <a:cxn ang="0">
                      <a:pos x="181" y="236"/>
                    </a:cxn>
                    <a:cxn ang="0">
                      <a:pos x="122" y="311"/>
                    </a:cxn>
                    <a:cxn ang="0">
                      <a:pos x="211" y="320"/>
                    </a:cxn>
                    <a:cxn ang="0">
                      <a:pos x="274" y="362"/>
                    </a:cxn>
                    <a:cxn ang="0">
                      <a:pos x="197" y="182"/>
                    </a:cxn>
                    <a:cxn ang="0">
                      <a:pos x="144" y="94"/>
                    </a:cxn>
                    <a:cxn ang="0">
                      <a:pos x="192" y="0"/>
                    </a:cxn>
                  </a:cxnLst>
                  <a:rect l="0" t="0" r="r" b="b"/>
                  <a:pathLst>
                    <a:path w="274" h="362">
                      <a:moveTo>
                        <a:pt x="173" y="43"/>
                      </a:moveTo>
                      <a:cubicBezTo>
                        <a:pt x="131" y="91"/>
                        <a:pt x="76" y="24"/>
                        <a:pt x="47" y="57"/>
                      </a:cubicBezTo>
                      <a:cubicBezTo>
                        <a:pt x="0" y="111"/>
                        <a:pt x="107" y="119"/>
                        <a:pt x="133" y="133"/>
                      </a:cubicBezTo>
                      <a:cubicBezTo>
                        <a:pt x="142" y="171"/>
                        <a:pt x="169" y="200"/>
                        <a:pt x="181" y="236"/>
                      </a:cubicBezTo>
                      <a:cubicBezTo>
                        <a:pt x="206" y="307"/>
                        <a:pt x="107" y="248"/>
                        <a:pt x="122" y="311"/>
                      </a:cubicBezTo>
                      <a:cubicBezTo>
                        <a:pt x="156" y="316"/>
                        <a:pt x="179" y="302"/>
                        <a:pt x="211" y="320"/>
                      </a:cubicBezTo>
                      <a:cubicBezTo>
                        <a:pt x="235" y="334"/>
                        <a:pt x="245" y="354"/>
                        <a:pt x="274" y="362"/>
                      </a:cubicBezTo>
                      <a:cubicBezTo>
                        <a:pt x="232" y="335"/>
                        <a:pt x="223" y="229"/>
                        <a:pt x="197" y="182"/>
                      </a:cubicBezTo>
                      <a:cubicBezTo>
                        <a:pt x="181" y="153"/>
                        <a:pt x="150" y="128"/>
                        <a:pt x="144" y="94"/>
                      </a:cubicBezTo>
                      <a:cubicBezTo>
                        <a:pt x="136" y="43"/>
                        <a:pt x="186" y="43"/>
                        <a:pt x="192" y="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3" name="Freeform 311"/>
                <p:cNvSpPr>
                  <a:spLocks/>
                </p:cNvSpPr>
                <p:nvPr/>
              </p:nvSpPr>
              <p:spPr bwMode="gray">
                <a:xfrm>
                  <a:off x="-2686050" y="10748963"/>
                  <a:ext cx="685800" cy="747713"/>
                </a:xfrm>
                <a:custGeom>
                  <a:avLst/>
                  <a:gdLst/>
                  <a:ahLst/>
                  <a:cxnLst>
                    <a:cxn ang="0">
                      <a:pos x="180" y="199"/>
                    </a:cxn>
                    <a:cxn ang="0">
                      <a:pos x="162" y="77"/>
                    </a:cxn>
                    <a:cxn ang="0">
                      <a:pos x="76" y="28"/>
                    </a:cxn>
                    <a:cxn ang="0">
                      <a:pos x="28" y="94"/>
                    </a:cxn>
                    <a:cxn ang="0">
                      <a:pos x="2" y="175"/>
                    </a:cxn>
                    <a:cxn ang="0">
                      <a:pos x="20" y="148"/>
                    </a:cxn>
                    <a:cxn ang="0">
                      <a:pos x="52" y="125"/>
                    </a:cxn>
                    <a:cxn ang="0">
                      <a:pos x="114" y="78"/>
                    </a:cxn>
                    <a:cxn ang="0">
                      <a:pos x="180" y="191"/>
                    </a:cxn>
                  </a:cxnLst>
                  <a:rect l="0" t="0" r="r" b="b"/>
                  <a:pathLst>
                    <a:path w="183" h="199">
                      <a:moveTo>
                        <a:pt x="180" y="199"/>
                      </a:moveTo>
                      <a:cubicBezTo>
                        <a:pt x="180" y="154"/>
                        <a:pt x="183" y="115"/>
                        <a:pt x="162" y="77"/>
                      </a:cubicBezTo>
                      <a:cubicBezTo>
                        <a:pt x="145" y="47"/>
                        <a:pt x="112" y="0"/>
                        <a:pt x="76" y="28"/>
                      </a:cubicBezTo>
                      <a:cubicBezTo>
                        <a:pt x="72" y="76"/>
                        <a:pt x="57" y="67"/>
                        <a:pt x="28" y="94"/>
                      </a:cubicBezTo>
                      <a:cubicBezTo>
                        <a:pt x="0" y="120"/>
                        <a:pt x="25" y="147"/>
                        <a:pt x="2" y="175"/>
                      </a:cubicBezTo>
                      <a:cubicBezTo>
                        <a:pt x="12" y="169"/>
                        <a:pt x="14" y="155"/>
                        <a:pt x="20" y="148"/>
                      </a:cubicBezTo>
                      <a:cubicBezTo>
                        <a:pt x="34" y="135"/>
                        <a:pt x="36" y="135"/>
                        <a:pt x="52" y="125"/>
                      </a:cubicBezTo>
                      <a:cubicBezTo>
                        <a:pt x="66" y="117"/>
                        <a:pt x="101" y="80"/>
                        <a:pt x="114" y="78"/>
                      </a:cubicBezTo>
                      <a:cubicBezTo>
                        <a:pt x="164" y="70"/>
                        <a:pt x="158" y="165"/>
                        <a:pt x="180" y="191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4" name="Freeform 312"/>
                <p:cNvSpPr>
                  <a:spLocks/>
                </p:cNvSpPr>
                <p:nvPr/>
              </p:nvSpPr>
              <p:spPr bwMode="gray">
                <a:xfrm>
                  <a:off x="-3184525" y="10048876"/>
                  <a:ext cx="209550" cy="603250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34" y="89"/>
                    </a:cxn>
                    <a:cxn ang="0">
                      <a:pos x="10" y="155"/>
                    </a:cxn>
                    <a:cxn ang="0">
                      <a:pos x="21" y="78"/>
                    </a:cxn>
                  </a:cxnLst>
                  <a:rect l="0" t="0" r="r" b="b"/>
                  <a:pathLst>
                    <a:path w="56" h="161">
                      <a:moveTo>
                        <a:pt x="56" y="0"/>
                      </a:moveTo>
                      <a:cubicBezTo>
                        <a:pt x="49" y="35"/>
                        <a:pt x="30" y="47"/>
                        <a:pt x="34" y="89"/>
                      </a:cubicBezTo>
                      <a:cubicBezTo>
                        <a:pt x="36" y="112"/>
                        <a:pt x="55" y="161"/>
                        <a:pt x="10" y="155"/>
                      </a:cubicBezTo>
                      <a:cubicBezTo>
                        <a:pt x="0" y="123"/>
                        <a:pt x="14" y="107"/>
                        <a:pt x="21" y="7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5" name="Freeform 313"/>
                <p:cNvSpPr>
                  <a:spLocks/>
                </p:cNvSpPr>
                <p:nvPr/>
              </p:nvSpPr>
              <p:spPr bwMode="gray">
                <a:xfrm>
                  <a:off x="2098675" y="12576176"/>
                  <a:ext cx="338138" cy="584200"/>
                </a:xfrm>
                <a:custGeom>
                  <a:avLst/>
                  <a:gdLst/>
                  <a:ahLst/>
                  <a:cxnLst>
                    <a:cxn ang="0">
                      <a:pos x="77" y="0"/>
                    </a:cxn>
                    <a:cxn ang="0">
                      <a:pos x="12" y="144"/>
                    </a:cxn>
                    <a:cxn ang="0">
                      <a:pos x="73" y="20"/>
                    </a:cxn>
                  </a:cxnLst>
                  <a:rect l="0" t="0" r="r" b="b"/>
                  <a:pathLst>
                    <a:path w="90" h="156">
                      <a:moveTo>
                        <a:pt x="77" y="0"/>
                      </a:moveTo>
                      <a:cubicBezTo>
                        <a:pt x="90" y="55"/>
                        <a:pt x="0" y="75"/>
                        <a:pt x="12" y="144"/>
                      </a:cubicBezTo>
                      <a:cubicBezTo>
                        <a:pt x="69" y="156"/>
                        <a:pt x="57" y="50"/>
                        <a:pt x="73" y="20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6" name="Freeform 314"/>
                <p:cNvSpPr>
                  <a:spLocks/>
                </p:cNvSpPr>
                <p:nvPr/>
              </p:nvSpPr>
              <p:spPr bwMode="gray">
                <a:xfrm>
                  <a:off x="-2006600" y="11877676"/>
                  <a:ext cx="688975" cy="1328738"/>
                </a:xfrm>
                <a:custGeom>
                  <a:avLst/>
                  <a:gdLst/>
                  <a:ahLst/>
                  <a:cxnLst>
                    <a:cxn ang="0">
                      <a:pos x="46" y="323"/>
                    </a:cxn>
                    <a:cxn ang="0">
                      <a:pos x="81" y="249"/>
                    </a:cxn>
                    <a:cxn ang="0">
                      <a:pos x="166" y="244"/>
                    </a:cxn>
                    <a:cxn ang="0">
                      <a:pos x="74" y="139"/>
                    </a:cxn>
                    <a:cxn ang="0">
                      <a:pos x="0" y="0"/>
                    </a:cxn>
                    <a:cxn ang="0">
                      <a:pos x="30" y="85"/>
                    </a:cxn>
                    <a:cxn ang="0">
                      <a:pos x="49" y="179"/>
                    </a:cxn>
                    <a:cxn ang="0">
                      <a:pos x="50" y="272"/>
                    </a:cxn>
                    <a:cxn ang="0">
                      <a:pos x="50" y="354"/>
                    </a:cxn>
                  </a:cxnLst>
                  <a:rect l="0" t="0" r="r" b="b"/>
                  <a:pathLst>
                    <a:path w="184" h="354">
                      <a:moveTo>
                        <a:pt x="46" y="323"/>
                      </a:moveTo>
                      <a:cubicBezTo>
                        <a:pt x="53" y="297"/>
                        <a:pt x="55" y="264"/>
                        <a:pt x="81" y="249"/>
                      </a:cubicBezTo>
                      <a:cubicBezTo>
                        <a:pt x="108" y="232"/>
                        <a:pt x="137" y="249"/>
                        <a:pt x="166" y="244"/>
                      </a:cubicBezTo>
                      <a:cubicBezTo>
                        <a:pt x="184" y="213"/>
                        <a:pt x="93" y="159"/>
                        <a:pt x="74" y="139"/>
                      </a:cubicBezTo>
                      <a:cubicBezTo>
                        <a:pt x="48" y="109"/>
                        <a:pt x="33" y="11"/>
                        <a:pt x="0" y="0"/>
                      </a:cubicBezTo>
                      <a:cubicBezTo>
                        <a:pt x="1" y="28"/>
                        <a:pt x="21" y="59"/>
                        <a:pt x="30" y="85"/>
                      </a:cubicBezTo>
                      <a:cubicBezTo>
                        <a:pt x="41" y="115"/>
                        <a:pt x="43" y="150"/>
                        <a:pt x="49" y="179"/>
                      </a:cubicBezTo>
                      <a:cubicBezTo>
                        <a:pt x="56" y="213"/>
                        <a:pt x="59" y="237"/>
                        <a:pt x="50" y="272"/>
                      </a:cubicBezTo>
                      <a:cubicBezTo>
                        <a:pt x="44" y="296"/>
                        <a:pt x="23" y="334"/>
                        <a:pt x="50" y="354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7" name="Freeform 315"/>
                <p:cNvSpPr>
                  <a:spLocks/>
                </p:cNvSpPr>
                <p:nvPr/>
              </p:nvSpPr>
              <p:spPr bwMode="gray">
                <a:xfrm>
                  <a:off x="1614487" y="9932988"/>
                  <a:ext cx="654050" cy="1104900"/>
                </a:xfrm>
                <a:custGeom>
                  <a:avLst/>
                  <a:gdLst/>
                  <a:ahLst/>
                  <a:cxnLst>
                    <a:cxn ang="0">
                      <a:pos x="128" y="0"/>
                    </a:cxn>
                    <a:cxn ang="0">
                      <a:pos x="79" y="98"/>
                    </a:cxn>
                    <a:cxn ang="0">
                      <a:pos x="20" y="175"/>
                    </a:cxn>
                    <a:cxn ang="0">
                      <a:pos x="109" y="179"/>
                    </a:cxn>
                    <a:cxn ang="0">
                      <a:pos x="74" y="238"/>
                    </a:cxn>
                    <a:cxn ang="0">
                      <a:pos x="82" y="288"/>
                    </a:cxn>
                    <a:cxn ang="0">
                      <a:pos x="136" y="8"/>
                    </a:cxn>
                  </a:cxnLst>
                  <a:rect l="0" t="0" r="r" b="b"/>
                  <a:pathLst>
                    <a:path w="174" h="295">
                      <a:moveTo>
                        <a:pt x="128" y="0"/>
                      </a:moveTo>
                      <a:cubicBezTo>
                        <a:pt x="134" y="41"/>
                        <a:pt x="105" y="72"/>
                        <a:pt x="79" y="98"/>
                      </a:cubicBezTo>
                      <a:cubicBezTo>
                        <a:pt x="60" y="117"/>
                        <a:pt x="0" y="144"/>
                        <a:pt x="20" y="175"/>
                      </a:cubicBezTo>
                      <a:cubicBezTo>
                        <a:pt x="45" y="214"/>
                        <a:pt x="99" y="149"/>
                        <a:pt x="109" y="179"/>
                      </a:cubicBezTo>
                      <a:cubicBezTo>
                        <a:pt x="115" y="197"/>
                        <a:pt x="77" y="221"/>
                        <a:pt x="74" y="238"/>
                      </a:cubicBezTo>
                      <a:cubicBezTo>
                        <a:pt x="72" y="248"/>
                        <a:pt x="83" y="273"/>
                        <a:pt x="82" y="288"/>
                      </a:cubicBezTo>
                      <a:cubicBezTo>
                        <a:pt x="174" y="295"/>
                        <a:pt x="147" y="64"/>
                        <a:pt x="136" y="8"/>
                      </a:cubicBezTo>
                    </a:path>
                  </a:pathLst>
                </a:custGeom>
                <a:solidFill>
                  <a:srgbClr val="64646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8" name="Freeform 316"/>
                <p:cNvSpPr>
                  <a:spLocks/>
                </p:cNvSpPr>
                <p:nvPr/>
              </p:nvSpPr>
              <p:spPr bwMode="gray">
                <a:xfrm>
                  <a:off x="-1208088" y="6396038"/>
                  <a:ext cx="584200" cy="2230438"/>
                </a:xfrm>
                <a:custGeom>
                  <a:avLst/>
                  <a:gdLst/>
                  <a:ahLst/>
                  <a:cxnLst>
                    <a:cxn ang="0">
                      <a:pos x="98" y="68"/>
                    </a:cxn>
                    <a:cxn ang="0">
                      <a:pos x="66" y="108"/>
                    </a:cxn>
                    <a:cxn ang="0">
                      <a:pos x="55" y="169"/>
                    </a:cxn>
                    <a:cxn ang="0">
                      <a:pos x="75" y="304"/>
                    </a:cxn>
                    <a:cxn ang="0">
                      <a:pos x="107" y="414"/>
                    </a:cxn>
                    <a:cxn ang="0">
                      <a:pos x="116" y="472"/>
                    </a:cxn>
                    <a:cxn ang="0">
                      <a:pos x="108" y="530"/>
                    </a:cxn>
                    <a:cxn ang="0">
                      <a:pos x="119" y="561"/>
                    </a:cxn>
                    <a:cxn ang="0">
                      <a:pos x="123" y="595"/>
                    </a:cxn>
                    <a:cxn ang="0">
                      <a:pos x="66" y="384"/>
                    </a:cxn>
                    <a:cxn ang="0">
                      <a:pos x="47" y="296"/>
                    </a:cxn>
                    <a:cxn ang="0">
                      <a:pos x="41" y="197"/>
                    </a:cxn>
                    <a:cxn ang="0">
                      <a:pos x="8" y="267"/>
                    </a:cxn>
                    <a:cxn ang="0">
                      <a:pos x="18" y="344"/>
                    </a:cxn>
                    <a:cxn ang="0">
                      <a:pos x="1" y="212"/>
                    </a:cxn>
                    <a:cxn ang="0">
                      <a:pos x="37" y="108"/>
                    </a:cxn>
                    <a:cxn ang="0">
                      <a:pos x="40" y="123"/>
                    </a:cxn>
                    <a:cxn ang="0">
                      <a:pos x="57" y="86"/>
                    </a:cxn>
                    <a:cxn ang="0">
                      <a:pos x="84" y="50"/>
                    </a:cxn>
                    <a:cxn ang="0">
                      <a:pos x="118" y="16"/>
                    </a:cxn>
                    <a:cxn ang="0">
                      <a:pos x="156" y="0"/>
                    </a:cxn>
                    <a:cxn ang="0">
                      <a:pos x="77" y="107"/>
                    </a:cxn>
                  </a:cxnLst>
                  <a:rect l="0" t="0" r="r" b="b"/>
                  <a:pathLst>
                    <a:path w="156" h="595">
                      <a:moveTo>
                        <a:pt x="98" y="68"/>
                      </a:moveTo>
                      <a:cubicBezTo>
                        <a:pt x="93" y="84"/>
                        <a:pt x="74" y="93"/>
                        <a:pt x="66" y="108"/>
                      </a:cubicBezTo>
                      <a:cubicBezTo>
                        <a:pt x="54" y="127"/>
                        <a:pt x="54" y="147"/>
                        <a:pt x="55" y="169"/>
                      </a:cubicBezTo>
                      <a:cubicBezTo>
                        <a:pt x="57" y="215"/>
                        <a:pt x="72" y="259"/>
                        <a:pt x="75" y="304"/>
                      </a:cubicBezTo>
                      <a:cubicBezTo>
                        <a:pt x="77" y="343"/>
                        <a:pt x="94" y="379"/>
                        <a:pt x="107" y="414"/>
                      </a:cubicBezTo>
                      <a:cubicBezTo>
                        <a:pt x="113" y="431"/>
                        <a:pt x="118" y="452"/>
                        <a:pt x="116" y="472"/>
                      </a:cubicBezTo>
                      <a:cubicBezTo>
                        <a:pt x="113" y="491"/>
                        <a:pt x="104" y="509"/>
                        <a:pt x="108" y="530"/>
                      </a:cubicBezTo>
                      <a:cubicBezTo>
                        <a:pt x="110" y="540"/>
                        <a:pt x="117" y="550"/>
                        <a:pt x="119" y="561"/>
                      </a:cubicBezTo>
                      <a:cubicBezTo>
                        <a:pt x="122" y="572"/>
                        <a:pt x="120" y="584"/>
                        <a:pt x="123" y="595"/>
                      </a:cubicBezTo>
                      <a:cubicBezTo>
                        <a:pt x="121" y="524"/>
                        <a:pt x="92" y="450"/>
                        <a:pt x="66" y="384"/>
                      </a:cubicBezTo>
                      <a:cubicBezTo>
                        <a:pt x="55" y="353"/>
                        <a:pt x="49" y="330"/>
                        <a:pt x="47" y="296"/>
                      </a:cubicBezTo>
                      <a:cubicBezTo>
                        <a:pt x="46" y="262"/>
                        <a:pt x="46" y="230"/>
                        <a:pt x="41" y="197"/>
                      </a:cubicBezTo>
                      <a:cubicBezTo>
                        <a:pt x="28" y="213"/>
                        <a:pt x="12" y="245"/>
                        <a:pt x="8" y="267"/>
                      </a:cubicBezTo>
                      <a:cubicBezTo>
                        <a:pt x="4" y="295"/>
                        <a:pt x="22" y="318"/>
                        <a:pt x="18" y="344"/>
                      </a:cubicBezTo>
                      <a:cubicBezTo>
                        <a:pt x="2" y="306"/>
                        <a:pt x="1" y="253"/>
                        <a:pt x="1" y="212"/>
                      </a:cubicBezTo>
                      <a:cubicBezTo>
                        <a:pt x="0" y="180"/>
                        <a:pt x="16" y="132"/>
                        <a:pt x="37" y="108"/>
                      </a:cubicBezTo>
                      <a:cubicBezTo>
                        <a:pt x="37" y="113"/>
                        <a:pt x="40" y="117"/>
                        <a:pt x="40" y="123"/>
                      </a:cubicBezTo>
                      <a:cubicBezTo>
                        <a:pt x="46" y="113"/>
                        <a:pt x="50" y="96"/>
                        <a:pt x="57" y="86"/>
                      </a:cubicBezTo>
                      <a:cubicBezTo>
                        <a:pt x="66" y="73"/>
                        <a:pt x="76" y="63"/>
                        <a:pt x="84" y="50"/>
                      </a:cubicBezTo>
                      <a:cubicBezTo>
                        <a:pt x="94" y="34"/>
                        <a:pt x="102" y="25"/>
                        <a:pt x="118" y="16"/>
                      </a:cubicBezTo>
                      <a:cubicBezTo>
                        <a:pt x="129" y="9"/>
                        <a:pt x="144" y="8"/>
                        <a:pt x="156" y="0"/>
                      </a:cubicBezTo>
                      <a:cubicBezTo>
                        <a:pt x="129" y="36"/>
                        <a:pt x="96" y="70"/>
                        <a:pt x="77" y="107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19" name="Freeform 317"/>
                <p:cNvSpPr>
                  <a:spLocks/>
                </p:cNvSpPr>
                <p:nvPr/>
              </p:nvSpPr>
              <p:spPr bwMode="gray">
                <a:xfrm>
                  <a:off x="-1208088" y="6396038"/>
                  <a:ext cx="584200" cy="2230438"/>
                </a:xfrm>
                <a:custGeom>
                  <a:avLst/>
                  <a:gdLst/>
                  <a:ahLst/>
                  <a:cxnLst>
                    <a:cxn ang="0">
                      <a:pos x="98" y="68"/>
                    </a:cxn>
                    <a:cxn ang="0">
                      <a:pos x="66" y="108"/>
                    </a:cxn>
                    <a:cxn ang="0">
                      <a:pos x="55" y="169"/>
                    </a:cxn>
                    <a:cxn ang="0">
                      <a:pos x="75" y="304"/>
                    </a:cxn>
                    <a:cxn ang="0">
                      <a:pos x="107" y="414"/>
                    </a:cxn>
                    <a:cxn ang="0">
                      <a:pos x="116" y="472"/>
                    </a:cxn>
                    <a:cxn ang="0">
                      <a:pos x="108" y="530"/>
                    </a:cxn>
                    <a:cxn ang="0">
                      <a:pos x="119" y="561"/>
                    </a:cxn>
                    <a:cxn ang="0">
                      <a:pos x="123" y="595"/>
                    </a:cxn>
                    <a:cxn ang="0">
                      <a:pos x="66" y="384"/>
                    </a:cxn>
                    <a:cxn ang="0">
                      <a:pos x="47" y="296"/>
                    </a:cxn>
                    <a:cxn ang="0">
                      <a:pos x="41" y="197"/>
                    </a:cxn>
                    <a:cxn ang="0">
                      <a:pos x="8" y="267"/>
                    </a:cxn>
                    <a:cxn ang="0">
                      <a:pos x="18" y="344"/>
                    </a:cxn>
                    <a:cxn ang="0">
                      <a:pos x="1" y="212"/>
                    </a:cxn>
                    <a:cxn ang="0">
                      <a:pos x="37" y="108"/>
                    </a:cxn>
                    <a:cxn ang="0">
                      <a:pos x="40" y="123"/>
                    </a:cxn>
                    <a:cxn ang="0">
                      <a:pos x="57" y="86"/>
                    </a:cxn>
                    <a:cxn ang="0">
                      <a:pos x="84" y="50"/>
                    </a:cxn>
                    <a:cxn ang="0">
                      <a:pos x="118" y="16"/>
                    </a:cxn>
                    <a:cxn ang="0">
                      <a:pos x="156" y="0"/>
                    </a:cxn>
                    <a:cxn ang="0">
                      <a:pos x="77" y="107"/>
                    </a:cxn>
                  </a:cxnLst>
                  <a:rect l="0" t="0" r="r" b="b"/>
                  <a:pathLst>
                    <a:path w="156" h="595">
                      <a:moveTo>
                        <a:pt x="98" y="68"/>
                      </a:moveTo>
                      <a:cubicBezTo>
                        <a:pt x="93" y="84"/>
                        <a:pt x="74" y="93"/>
                        <a:pt x="66" y="108"/>
                      </a:cubicBezTo>
                      <a:cubicBezTo>
                        <a:pt x="54" y="127"/>
                        <a:pt x="54" y="147"/>
                        <a:pt x="55" y="169"/>
                      </a:cubicBezTo>
                      <a:cubicBezTo>
                        <a:pt x="57" y="215"/>
                        <a:pt x="72" y="259"/>
                        <a:pt x="75" y="304"/>
                      </a:cubicBezTo>
                      <a:cubicBezTo>
                        <a:pt x="77" y="343"/>
                        <a:pt x="94" y="379"/>
                        <a:pt x="107" y="414"/>
                      </a:cubicBezTo>
                      <a:cubicBezTo>
                        <a:pt x="113" y="431"/>
                        <a:pt x="118" y="452"/>
                        <a:pt x="116" y="472"/>
                      </a:cubicBezTo>
                      <a:cubicBezTo>
                        <a:pt x="113" y="491"/>
                        <a:pt x="104" y="509"/>
                        <a:pt x="108" y="530"/>
                      </a:cubicBezTo>
                      <a:cubicBezTo>
                        <a:pt x="110" y="540"/>
                        <a:pt x="117" y="550"/>
                        <a:pt x="119" y="561"/>
                      </a:cubicBezTo>
                      <a:cubicBezTo>
                        <a:pt x="122" y="572"/>
                        <a:pt x="120" y="584"/>
                        <a:pt x="123" y="595"/>
                      </a:cubicBezTo>
                      <a:cubicBezTo>
                        <a:pt x="121" y="524"/>
                        <a:pt x="92" y="450"/>
                        <a:pt x="66" y="384"/>
                      </a:cubicBezTo>
                      <a:cubicBezTo>
                        <a:pt x="55" y="353"/>
                        <a:pt x="49" y="330"/>
                        <a:pt x="47" y="296"/>
                      </a:cubicBezTo>
                      <a:cubicBezTo>
                        <a:pt x="46" y="262"/>
                        <a:pt x="46" y="230"/>
                        <a:pt x="41" y="197"/>
                      </a:cubicBezTo>
                      <a:cubicBezTo>
                        <a:pt x="28" y="213"/>
                        <a:pt x="12" y="245"/>
                        <a:pt x="8" y="267"/>
                      </a:cubicBezTo>
                      <a:cubicBezTo>
                        <a:pt x="4" y="295"/>
                        <a:pt x="22" y="318"/>
                        <a:pt x="18" y="344"/>
                      </a:cubicBezTo>
                      <a:cubicBezTo>
                        <a:pt x="2" y="306"/>
                        <a:pt x="1" y="253"/>
                        <a:pt x="1" y="212"/>
                      </a:cubicBezTo>
                      <a:cubicBezTo>
                        <a:pt x="0" y="180"/>
                        <a:pt x="16" y="132"/>
                        <a:pt x="37" y="108"/>
                      </a:cubicBezTo>
                      <a:cubicBezTo>
                        <a:pt x="37" y="113"/>
                        <a:pt x="40" y="117"/>
                        <a:pt x="40" y="123"/>
                      </a:cubicBezTo>
                      <a:cubicBezTo>
                        <a:pt x="46" y="113"/>
                        <a:pt x="50" y="96"/>
                        <a:pt x="57" y="86"/>
                      </a:cubicBezTo>
                      <a:cubicBezTo>
                        <a:pt x="66" y="73"/>
                        <a:pt x="76" y="63"/>
                        <a:pt x="84" y="50"/>
                      </a:cubicBezTo>
                      <a:cubicBezTo>
                        <a:pt x="94" y="34"/>
                        <a:pt x="102" y="25"/>
                        <a:pt x="118" y="16"/>
                      </a:cubicBezTo>
                      <a:cubicBezTo>
                        <a:pt x="129" y="9"/>
                        <a:pt x="144" y="8"/>
                        <a:pt x="156" y="0"/>
                      </a:cubicBezTo>
                      <a:cubicBezTo>
                        <a:pt x="129" y="36"/>
                        <a:pt x="96" y="70"/>
                        <a:pt x="77" y="107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0" name="Freeform 318"/>
                <p:cNvSpPr>
                  <a:spLocks/>
                </p:cNvSpPr>
                <p:nvPr/>
              </p:nvSpPr>
              <p:spPr bwMode="gray">
                <a:xfrm>
                  <a:off x="-1841500" y="7648576"/>
                  <a:ext cx="730250" cy="1177925"/>
                </a:xfrm>
                <a:custGeom>
                  <a:avLst/>
                  <a:gdLst/>
                  <a:ahLst/>
                  <a:cxnLst>
                    <a:cxn ang="0">
                      <a:pos x="0" y="229"/>
                    </a:cxn>
                    <a:cxn ang="0">
                      <a:pos x="8" y="266"/>
                    </a:cxn>
                    <a:cxn ang="0">
                      <a:pos x="30" y="295"/>
                    </a:cxn>
                    <a:cxn ang="0">
                      <a:pos x="173" y="221"/>
                    </a:cxn>
                    <a:cxn ang="0">
                      <a:pos x="189" y="109"/>
                    </a:cxn>
                    <a:cxn ang="0">
                      <a:pos x="170" y="54"/>
                    </a:cxn>
                    <a:cxn ang="0">
                      <a:pos x="168" y="0"/>
                    </a:cxn>
                    <a:cxn ang="0">
                      <a:pos x="170" y="69"/>
                    </a:cxn>
                    <a:cxn ang="0">
                      <a:pos x="164" y="148"/>
                    </a:cxn>
                    <a:cxn ang="0">
                      <a:pos x="152" y="60"/>
                    </a:cxn>
                    <a:cxn ang="0">
                      <a:pos x="142" y="151"/>
                    </a:cxn>
                    <a:cxn ang="0">
                      <a:pos x="126" y="233"/>
                    </a:cxn>
                    <a:cxn ang="0">
                      <a:pos x="55" y="282"/>
                    </a:cxn>
                    <a:cxn ang="0">
                      <a:pos x="6" y="227"/>
                    </a:cxn>
                  </a:cxnLst>
                  <a:rect l="0" t="0" r="r" b="b"/>
                  <a:pathLst>
                    <a:path w="195" h="314">
                      <a:moveTo>
                        <a:pt x="0" y="229"/>
                      </a:moveTo>
                      <a:cubicBezTo>
                        <a:pt x="2" y="238"/>
                        <a:pt x="4" y="256"/>
                        <a:pt x="8" y="266"/>
                      </a:cubicBezTo>
                      <a:cubicBezTo>
                        <a:pt x="13" y="277"/>
                        <a:pt x="25" y="283"/>
                        <a:pt x="30" y="295"/>
                      </a:cubicBezTo>
                      <a:cubicBezTo>
                        <a:pt x="87" y="314"/>
                        <a:pt x="154" y="274"/>
                        <a:pt x="173" y="221"/>
                      </a:cubicBezTo>
                      <a:cubicBezTo>
                        <a:pt x="184" y="193"/>
                        <a:pt x="195" y="140"/>
                        <a:pt x="189" y="109"/>
                      </a:cubicBezTo>
                      <a:cubicBezTo>
                        <a:pt x="186" y="90"/>
                        <a:pt x="173" y="72"/>
                        <a:pt x="170" y="54"/>
                      </a:cubicBezTo>
                      <a:cubicBezTo>
                        <a:pt x="166" y="36"/>
                        <a:pt x="168" y="18"/>
                        <a:pt x="168" y="0"/>
                      </a:cubicBezTo>
                      <a:cubicBezTo>
                        <a:pt x="168" y="24"/>
                        <a:pt x="171" y="48"/>
                        <a:pt x="170" y="69"/>
                      </a:cubicBezTo>
                      <a:cubicBezTo>
                        <a:pt x="168" y="95"/>
                        <a:pt x="163" y="121"/>
                        <a:pt x="164" y="148"/>
                      </a:cubicBezTo>
                      <a:cubicBezTo>
                        <a:pt x="146" y="127"/>
                        <a:pt x="152" y="86"/>
                        <a:pt x="152" y="60"/>
                      </a:cubicBezTo>
                      <a:cubicBezTo>
                        <a:pt x="145" y="89"/>
                        <a:pt x="142" y="120"/>
                        <a:pt x="142" y="151"/>
                      </a:cubicBezTo>
                      <a:cubicBezTo>
                        <a:pt x="142" y="182"/>
                        <a:pt x="146" y="211"/>
                        <a:pt x="126" y="233"/>
                      </a:cubicBezTo>
                      <a:cubicBezTo>
                        <a:pt x="106" y="255"/>
                        <a:pt x="87" y="277"/>
                        <a:pt x="55" y="282"/>
                      </a:cubicBezTo>
                      <a:cubicBezTo>
                        <a:pt x="23" y="286"/>
                        <a:pt x="9" y="252"/>
                        <a:pt x="6" y="227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1" name="Freeform 319"/>
                <p:cNvSpPr>
                  <a:spLocks/>
                </p:cNvSpPr>
                <p:nvPr/>
              </p:nvSpPr>
              <p:spPr bwMode="gray">
                <a:xfrm>
                  <a:off x="-1841500" y="7648576"/>
                  <a:ext cx="730250" cy="1177925"/>
                </a:xfrm>
                <a:custGeom>
                  <a:avLst/>
                  <a:gdLst/>
                  <a:ahLst/>
                  <a:cxnLst>
                    <a:cxn ang="0">
                      <a:pos x="0" y="229"/>
                    </a:cxn>
                    <a:cxn ang="0">
                      <a:pos x="8" y="266"/>
                    </a:cxn>
                    <a:cxn ang="0">
                      <a:pos x="30" y="295"/>
                    </a:cxn>
                    <a:cxn ang="0">
                      <a:pos x="173" y="221"/>
                    </a:cxn>
                    <a:cxn ang="0">
                      <a:pos x="189" y="109"/>
                    </a:cxn>
                    <a:cxn ang="0">
                      <a:pos x="170" y="54"/>
                    </a:cxn>
                    <a:cxn ang="0">
                      <a:pos x="168" y="0"/>
                    </a:cxn>
                    <a:cxn ang="0">
                      <a:pos x="170" y="69"/>
                    </a:cxn>
                    <a:cxn ang="0">
                      <a:pos x="164" y="148"/>
                    </a:cxn>
                    <a:cxn ang="0">
                      <a:pos x="152" y="60"/>
                    </a:cxn>
                    <a:cxn ang="0">
                      <a:pos x="142" y="151"/>
                    </a:cxn>
                    <a:cxn ang="0">
                      <a:pos x="126" y="233"/>
                    </a:cxn>
                    <a:cxn ang="0">
                      <a:pos x="55" y="282"/>
                    </a:cxn>
                    <a:cxn ang="0">
                      <a:pos x="6" y="227"/>
                    </a:cxn>
                  </a:cxnLst>
                  <a:rect l="0" t="0" r="r" b="b"/>
                  <a:pathLst>
                    <a:path w="195" h="314">
                      <a:moveTo>
                        <a:pt x="0" y="229"/>
                      </a:moveTo>
                      <a:cubicBezTo>
                        <a:pt x="2" y="238"/>
                        <a:pt x="4" y="256"/>
                        <a:pt x="8" y="266"/>
                      </a:cubicBezTo>
                      <a:cubicBezTo>
                        <a:pt x="13" y="277"/>
                        <a:pt x="25" y="283"/>
                        <a:pt x="30" y="295"/>
                      </a:cubicBezTo>
                      <a:cubicBezTo>
                        <a:pt x="87" y="314"/>
                        <a:pt x="154" y="274"/>
                        <a:pt x="173" y="221"/>
                      </a:cubicBezTo>
                      <a:cubicBezTo>
                        <a:pt x="184" y="193"/>
                        <a:pt x="195" y="140"/>
                        <a:pt x="189" y="109"/>
                      </a:cubicBezTo>
                      <a:cubicBezTo>
                        <a:pt x="186" y="90"/>
                        <a:pt x="173" y="72"/>
                        <a:pt x="170" y="54"/>
                      </a:cubicBezTo>
                      <a:cubicBezTo>
                        <a:pt x="166" y="36"/>
                        <a:pt x="168" y="18"/>
                        <a:pt x="168" y="0"/>
                      </a:cubicBezTo>
                      <a:cubicBezTo>
                        <a:pt x="168" y="24"/>
                        <a:pt x="171" y="48"/>
                        <a:pt x="170" y="69"/>
                      </a:cubicBezTo>
                      <a:cubicBezTo>
                        <a:pt x="168" y="95"/>
                        <a:pt x="163" y="121"/>
                        <a:pt x="164" y="148"/>
                      </a:cubicBezTo>
                      <a:cubicBezTo>
                        <a:pt x="146" y="127"/>
                        <a:pt x="152" y="86"/>
                        <a:pt x="152" y="60"/>
                      </a:cubicBezTo>
                      <a:cubicBezTo>
                        <a:pt x="145" y="89"/>
                        <a:pt x="142" y="120"/>
                        <a:pt x="142" y="151"/>
                      </a:cubicBezTo>
                      <a:cubicBezTo>
                        <a:pt x="142" y="182"/>
                        <a:pt x="146" y="211"/>
                        <a:pt x="126" y="233"/>
                      </a:cubicBezTo>
                      <a:cubicBezTo>
                        <a:pt x="106" y="255"/>
                        <a:pt x="87" y="277"/>
                        <a:pt x="55" y="282"/>
                      </a:cubicBezTo>
                      <a:cubicBezTo>
                        <a:pt x="23" y="286"/>
                        <a:pt x="9" y="252"/>
                        <a:pt x="6" y="227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2" name="Freeform 320"/>
                <p:cNvSpPr>
                  <a:spLocks/>
                </p:cNvSpPr>
                <p:nvPr/>
              </p:nvSpPr>
              <p:spPr bwMode="gray">
                <a:xfrm>
                  <a:off x="-2127250" y="8799513"/>
                  <a:ext cx="446088" cy="184150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3" name="Freeform 321"/>
                <p:cNvSpPr>
                  <a:spLocks/>
                </p:cNvSpPr>
                <p:nvPr/>
              </p:nvSpPr>
              <p:spPr bwMode="gray">
                <a:xfrm>
                  <a:off x="-2127250" y="8799513"/>
                  <a:ext cx="446088" cy="184150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4" name="Freeform 322"/>
                <p:cNvSpPr>
                  <a:spLocks/>
                </p:cNvSpPr>
                <p:nvPr/>
              </p:nvSpPr>
              <p:spPr bwMode="gray">
                <a:xfrm>
                  <a:off x="-1103313" y="8147051"/>
                  <a:ext cx="173038" cy="558800"/>
                </a:xfrm>
                <a:custGeom>
                  <a:avLst/>
                  <a:gdLst/>
                  <a:ahLst/>
                  <a:cxnLst>
                    <a:cxn ang="0">
                      <a:pos x="2" y="149"/>
                    </a:cxn>
                    <a:cxn ang="0">
                      <a:pos x="31" y="0"/>
                    </a:cxn>
                    <a:cxn ang="0">
                      <a:pos x="43" y="90"/>
                    </a:cxn>
                    <a:cxn ang="0">
                      <a:pos x="0" y="149"/>
                    </a:cxn>
                  </a:cxnLst>
                  <a:rect l="0" t="0" r="r" b="b"/>
                  <a:pathLst>
                    <a:path w="46" h="149">
                      <a:moveTo>
                        <a:pt x="2" y="149"/>
                      </a:moveTo>
                      <a:cubicBezTo>
                        <a:pt x="44" y="125"/>
                        <a:pt x="31" y="38"/>
                        <a:pt x="31" y="0"/>
                      </a:cubicBezTo>
                      <a:cubicBezTo>
                        <a:pt x="30" y="32"/>
                        <a:pt x="41" y="59"/>
                        <a:pt x="43" y="90"/>
                      </a:cubicBezTo>
                      <a:cubicBezTo>
                        <a:pt x="46" y="121"/>
                        <a:pt x="26" y="137"/>
                        <a:pt x="0" y="149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5" name="Freeform 323"/>
                <p:cNvSpPr>
                  <a:spLocks/>
                </p:cNvSpPr>
                <p:nvPr/>
              </p:nvSpPr>
              <p:spPr bwMode="gray">
                <a:xfrm>
                  <a:off x="-1103313" y="8147051"/>
                  <a:ext cx="173038" cy="558800"/>
                </a:xfrm>
                <a:custGeom>
                  <a:avLst/>
                  <a:gdLst/>
                  <a:ahLst/>
                  <a:cxnLst>
                    <a:cxn ang="0">
                      <a:pos x="2" y="149"/>
                    </a:cxn>
                    <a:cxn ang="0">
                      <a:pos x="31" y="0"/>
                    </a:cxn>
                    <a:cxn ang="0">
                      <a:pos x="43" y="90"/>
                    </a:cxn>
                    <a:cxn ang="0">
                      <a:pos x="0" y="149"/>
                    </a:cxn>
                  </a:cxnLst>
                  <a:rect l="0" t="0" r="r" b="b"/>
                  <a:pathLst>
                    <a:path w="46" h="149">
                      <a:moveTo>
                        <a:pt x="2" y="149"/>
                      </a:moveTo>
                      <a:cubicBezTo>
                        <a:pt x="44" y="125"/>
                        <a:pt x="31" y="38"/>
                        <a:pt x="31" y="0"/>
                      </a:cubicBezTo>
                      <a:cubicBezTo>
                        <a:pt x="30" y="32"/>
                        <a:pt x="41" y="59"/>
                        <a:pt x="43" y="90"/>
                      </a:cubicBezTo>
                      <a:cubicBezTo>
                        <a:pt x="46" y="121"/>
                        <a:pt x="26" y="137"/>
                        <a:pt x="0" y="149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6" name="Freeform 324"/>
                <p:cNvSpPr>
                  <a:spLocks/>
                </p:cNvSpPr>
                <p:nvPr/>
              </p:nvSpPr>
              <p:spPr bwMode="gray">
                <a:xfrm>
                  <a:off x="-847725" y="8450263"/>
                  <a:ext cx="52388" cy="266700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7" name="Freeform 325"/>
                <p:cNvSpPr>
                  <a:spLocks/>
                </p:cNvSpPr>
                <p:nvPr/>
              </p:nvSpPr>
              <p:spPr bwMode="gray">
                <a:xfrm>
                  <a:off x="-847725" y="8450263"/>
                  <a:ext cx="52388" cy="266700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8" name="Freeform 326"/>
                <p:cNvSpPr>
                  <a:spLocks/>
                </p:cNvSpPr>
                <p:nvPr/>
              </p:nvSpPr>
              <p:spPr bwMode="gray">
                <a:xfrm>
                  <a:off x="576262" y="7712076"/>
                  <a:ext cx="352425" cy="1057275"/>
                </a:xfrm>
                <a:custGeom>
                  <a:avLst/>
                  <a:gdLst/>
                  <a:ahLst/>
                  <a:cxnLst>
                    <a:cxn ang="0">
                      <a:pos x="2" y="206"/>
                    </a:cxn>
                    <a:cxn ang="0">
                      <a:pos x="45" y="119"/>
                    </a:cxn>
                    <a:cxn ang="0">
                      <a:pos x="68" y="62"/>
                    </a:cxn>
                    <a:cxn ang="0">
                      <a:pos x="92" y="0"/>
                    </a:cxn>
                    <a:cxn ang="0">
                      <a:pos x="64" y="91"/>
                    </a:cxn>
                    <a:cxn ang="0">
                      <a:pos x="45" y="173"/>
                    </a:cxn>
                    <a:cxn ang="0">
                      <a:pos x="51" y="239"/>
                    </a:cxn>
                    <a:cxn ang="0">
                      <a:pos x="83" y="282"/>
                    </a:cxn>
                    <a:cxn ang="0">
                      <a:pos x="45" y="247"/>
                    </a:cxn>
                    <a:cxn ang="0">
                      <a:pos x="0" y="212"/>
                    </a:cxn>
                  </a:cxnLst>
                  <a:rect l="0" t="0" r="r" b="b"/>
                  <a:pathLst>
                    <a:path w="94" h="282">
                      <a:moveTo>
                        <a:pt x="2" y="206"/>
                      </a:moveTo>
                      <a:cubicBezTo>
                        <a:pt x="16" y="177"/>
                        <a:pt x="32" y="149"/>
                        <a:pt x="45" y="119"/>
                      </a:cubicBezTo>
                      <a:cubicBezTo>
                        <a:pt x="53" y="101"/>
                        <a:pt x="60" y="81"/>
                        <a:pt x="68" y="62"/>
                      </a:cubicBezTo>
                      <a:cubicBezTo>
                        <a:pt x="76" y="43"/>
                        <a:pt x="90" y="21"/>
                        <a:pt x="92" y="0"/>
                      </a:cubicBezTo>
                      <a:cubicBezTo>
                        <a:pt x="94" y="35"/>
                        <a:pt x="76" y="61"/>
                        <a:pt x="64" y="91"/>
                      </a:cubicBezTo>
                      <a:cubicBezTo>
                        <a:pt x="54" y="118"/>
                        <a:pt x="48" y="146"/>
                        <a:pt x="45" y="173"/>
                      </a:cubicBezTo>
                      <a:cubicBezTo>
                        <a:pt x="43" y="195"/>
                        <a:pt x="38" y="221"/>
                        <a:pt x="51" y="239"/>
                      </a:cubicBezTo>
                      <a:cubicBezTo>
                        <a:pt x="61" y="253"/>
                        <a:pt x="79" y="265"/>
                        <a:pt x="83" y="282"/>
                      </a:cubicBezTo>
                      <a:cubicBezTo>
                        <a:pt x="70" y="271"/>
                        <a:pt x="59" y="258"/>
                        <a:pt x="45" y="247"/>
                      </a:cubicBezTo>
                      <a:cubicBezTo>
                        <a:pt x="32" y="237"/>
                        <a:pt x="10" y="225"/>
                        <a:pt x="0" y="212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29" name="Freeform 327"/>
                <p:cNvSpPr>
                  <a:spLocks/>
                </p:cNvSpPr>
                <p:nvPr/>
              </p:nvSpPr>
              <p:spPr bwMode="gray">
                <a:xfrm>
                  <a:off x="576262" y="7712076"/>
                  <a:ext cx="352425" cy="1057275"/>
                </a:xfrm>
                <a:custGeom>
                  <a:avLst/>
                  <a:gdLst/>
                  <a:ahLst/>
                  <a:cxnLst>
                    <a:cxn ang="0">
                      <a:pos x="2" y="206"/>
                    </a:cxn>
                    <a:cxn ang="0">
                      <a:pos x="45" y="119"/>
                    </a:cxn>
                    <a:cxn ang="0">
                      <a:pos x="68" y="62"/>
                    </a:cxn>
                    <a:cxn ang="0">
                      <a:pos x="92" y="0"/>
                    </a:cxn>
                    <a:cxn ang="0">
                      <a:pos x="64" y="91"/>
                    </a:cxn>
                    <a:cxn ang="0">
                      <a:pos x="45" y="173"/>
                    </a:cxn>
                    <a:cxn ang="0">
                      <a:pos x="51" y="239"/>
                    </a:cxn>
                    <a:cxn ang="0">
                      <a:pos x="83" y="282"/>
                    </a:cxn>
                    <a:cxn ang="0">
                      <a:pos x="45" y="247"/>
                    </a:cxn>
                    <a:cxn ang="0">
                      <a:pos x="0" y="212"/>
                    </a:cxn>
                  </a:cxnLst>
                  <a:rect l="0" t="0" r="r" b="b"/>
                  <a:pathLst>
                    <a:path w="94" h="282">
                      <a:moveTo>
                        <a:pt x="2" y="206"/>
                      </a:moveTo>
                      <a:cubicBezTo>
                        <a:pt x="16" y="177"/>
                        <a:pt x="32" y="149"/>
                        <a:pt x="45" y="119"/>
                      </a:cubicBezTo>
                      <a:cubicBezTo>
                        <a:pt x="53" y="101"/>
                        <a:pt x="60" y="81"/>
                        <a:pt x="68" y="62"/>
                      </a:cubicBezTo>
                      <a:cubicBezTo>
                        <a:pt x="76" y="43"/>
                        <a:pt x="90" y="21"/>
                        <a:pt x="92" y="0"/>
                      </a:cubicBezTo>
                      <a:cubicBezTo>
                        <a:pt x="94" y="35"/>
                        <a:pt x="76" y="61"/>
                        <a:pt x="64" y="91"/>
                      </a:cubicBezTo>
                      <a:cubicBezTo>
                        <a:pt x="54" y="118"/>
                        <a:pt x="48" y="146"/>
                        <a:pt x="45" y="173"/>
                      </a:cubicBezTo>
                      <a:cubicBezTo>
                        <a:pt x="43" y="195"/>
                        <a:pt x="38" y="221"/>
                        <a:pt x="51" y="239"/>
                      </a:cubicBezTo>
                      <a:cubicBezTo>
                        <a:pt x="61" y="253"/>
                        <a:pt x="79" y="265"/>
                        <a:pt x="83" y="282"/>
                      </a:cubicBezTo>
                      <a:cubicBezTo>
                        <a:pt x="70" y="271"/>
                        <a:pt x="59" y="258"/>
                        <a:pt x="45" y="247"/>
                      </a:cubicBezTo>
                      <a:cubicBezTo>
                        <a:pt x="32" y="237"/>
                        <a:pt x="10" y="225"/>
                        <a:pt x="0" y="212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0" name="Freeform 328"/>
                <p:cNvSpPr>
                  <a:spLocks/>
                </p:cNvSpPr>
                <p:nvPr/>
              </p:nvSpPr>
              <p:spPr bwMode="gray">
                <a:xfrm>
                  <a:off x="1090612" y="8821738"/>
                  <a:ext cx="385763" cy="131763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1" name="Freeform 329"/>
                <p:cNvSpPr>
                  <a:spLocks/>
                </p:cNvSpPr>
                <p:nvPr/>
              </p:nvSpPr>
              <p:spPr bwMode="gray">
                <a:xfrm>
                  <a:off x="1090612" y="8821738"/>
                  <a:ext cx="385763" cy="131763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2" name="Freeform 330"/>
                <p:cNvSpPr>
                  <a:spLocks/>
                </p:cNvSpPr>
                <p:nvPr/>
              </p:nvSpPr>
              <p:spPr bwMode="gray">
                <a:xfrm>
                  <a:off x="-431800" y="6511926"/>
                  <a:ext cx="641350" cy="638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3" name="Freeform 331"/>
                <p:cNvSpPr>
                  <a:spLocks/>
                </p:cNvSpPr>
                <p:nvPr/>
              </p:nvSpPr>
              <p:spPr bwMode="gray">
                <a:xfrm>
                  <a:off x="-431800" y="6511926"/>
                  <a:ext cx="641350" cy="638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4" name="Freeform 332"/>
                <p:cNvSpPr>
                  <a:spLocks/>
                </p:cNvSpPr>
                <p:nvPr/>
              </p:nvSpPr>
              <p:spPr bwMode="gray">
                <a:xfrm>
                  <a:off x="411162" y="7108826"/>
                  <a:ext cx="285750" cy="944563"/>
                </a:xfrm>
                <a:custGeom>
                  <a:avLst/>
                  <a:gdLst/>
                  <a:ahLst/>
                  <a:cxnLst>
                    <a:cxn ang="0">
                      <a:pos x="18" y="22"/>
                    </a:cxn>
                    <a:cxn ang="0">
                      <a:pos x="38" y="8"/>
                    </a:cxn>
                    <a:cxn ang="0">
                      <a:pos x="56" y="33"/>
                    </a:cxn>
                    <a:cxn ang="0">
                      <a:pos x="71" y="121"/>
                    </a:cxn>
                    <a:cxn ang="0">
                      <a:pos x="1" y="252"/>
                    </a:cxn>
                    <a:cxn ang="0">
                      <a:pos x="23" y="193"/>
                    </a:cxn>
                    <a:cxn ang="0">
                      <a:pos x="44" y="134"/>
                    </a:cxn>
                    <a:cxn ang="0">
                      <a:pos x="47" y="67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76" h="252">
                      <a:moveTo>
                        <a:pt x="18" y="22"/>
                      </a:moveTo>
                      <a:cubicBezTo>
                        <a:pt x="24" y="10"/>
                        <a:pt x="23" y="0"/>
                        <a:pt x="38" y="8"/>
                      </a:cubicBezTo>
                      <a:cubicBezTo>
                        <a:pt x="46" y="11"/>
                        <a:pt x="52" y="26"/>
                        <a:pt x="56" y="33"/>
                      </a:cubicBezTo>
                      <a:cubicBezTo>
                        <a:pt x="68" y="57"/>
                        <a:pt x="76" y="94"/>
                        <a:pt x="71" y="121"/>
                      </a:cubicBezTo>
                      <a:cubicBezTo>
                        <a:pt x="63" y="165"/>
                        <a:pt x="27" y="216"/>
                        <a:pt x="1" y="252"/>
                      </a:cubicBezTo>
                      <a:cubicBezTo>
                        <a:pt x="0" y="233"/>
                        <a:pt x="17" y="209"/>
                        <a:pt x="23" y="193"/>
                      </a:cubicBezTo>
                      <a:cubicBezTo>
                        <a:pt x="30" y="174"/>
                        <a:pt x="39" y="154"/>
                        <a:pt x="44" y="134"/>
                      </a:cubicBezTo>
                      <a:cubicBezTo>
                        <a:pt x="50" y="112"/>
                        <a:pt x="49" y="90"/>
                        <a:pt x="47" y="67"/>
                      </a:cubicBezTo>
                      <a:cubicBezTo>
                        <a:pt x="45" y="44"/>
                        <a:pt x="36" y="37"/>
                        <a:pt x="20" y="24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5" name="Freeform 333"/>
                <p:cNvSpPr>
                  <a:spLocks/>
                </p:cNvSpPr>
                <p:nvPr/>
              </p:nvSpPr>
              <p:spPr bwMode="gray">
                <a:xfrm>
                  <a:off x="411162" y="7108826"/>
                  <a:ext cx="285750" cy="944563"/>
                </a:xfrm>
                <a:custGeom>
                  <a:avLst/>
                  <a:gdLst/>
                  <a:ahLst/>
                  <a:cxnLst>
                    <a:cxn ang="0">
                      <a:pos x="18" y="22"/>
                    </a:cxn>
                    <a:cxn ang="0">
                      <a:pos x="38" y="8"/>
                    </a:cxn>
                    <a:cxn ang="0">
                      <a:pos x="56" y="33"/>
                    </a:cxn>
                    <a:cxn ang="0">
                      <a:pos x="71" y="121"/>
                    </a:cxn>
                    <a:cxn ang="0">
                      <a:pos x="1" y="252"/>
                    </a:cxn>
                    <a:cxn ang="0">
                      <a:pos x="23" y="193"/>
                    </a:cxn>
                    <a:cxn ang="0">
                      <a:pos x="44" y="134"/>
                    </a:cxn>
                    <a:cxn ang="0">
                      <a:pos x="47" y="67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76" h="252">
                      <a:moveTo>
                        <a:pt x="18" y="22"/>
                      </a:moveTo>
                      <a:cubicBezTo>
                        <a:pt x="24" y="10"/>
                        <a:pt x="23" y="0"/>
                        <a:pt x="38" y="8"/>
                      </a:cubicBezTo>
                      <a:cubicBezTo>
                        <a:pt x="46" y="11"/>
                        <a:pt x="52" y="26"/>
                        <a:pt x="56" y="33"/>
                      </a:cubicBezTo>
                      <a:cubicBezTo>
                        <a:pt x="68" y="57"/>
                        <a:pt x="76" y="94"/>
                        <a:pt x="71" y="121"/>
                      </a:cubicBezTo>
                      <a:cubicBezTo>
                        <a:pt x="63" y="165"/>
                        <a:pt x="27" y="216"/>
                        <a:pt x="1" y="252"/>
                      </a:cubicBezTo>
                      <a:cubicBezTo>
                        <a:pt x="0" y="233"/>
                        <a:pt x="17" y="209"/>
                        <a:pt x="23" y="193"/>
                      </a:cubicBezTo>
                      <a:cubicBezTo>
                        <a:pt x="30" y="174"/>
                        <a:pt x="39" y="154"/>
                        <a:pt x="44" y="134"/>
                      </a:cubicBezTo>
                      <a:cubicBezTo>
                        <a:pt x="50" y="112"/>
                        <a:pt x="49" y="90"/>
                        <a:pt x="47" y="67"/>
                      </a:cubicBezTo>
                      <a:cubicBezTo>
                        <a:pt x="45" y="44"/>
                        <a:pt x="36" y="37"/>
                        <a:pt x="20" y="24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6" name="Freeform 334"/>
                <p:cNvSpPr>
                  <a:spLocks/>
                </p:cNvSpPr>
                <p:nvPr/>
              </p:nvSpPr>
              <p:spPr bwMode="gray">
                <a:xfrm>
                  <a:off x="-825500" y="5776913"/>
                  <a:ext cx="1600200" cy="690563"/>
                </a:xfrm>
                <a:custGeom>
                  <a:avLst/>
                  <a:gdLst/>
                  <a:ahLst/>
                  <a:cxnLst>
                    <a:cxn ang="0">
                      <a:pos x="23" y="85"/>
                    </a:cxn>
                    <a:cxn ang="0">
                      <a:pos x="77" y="64"/>
                    </a:cxn>
                    <a:cxn ang="0">
                      <a:pos x="156" y="58"/>
                    </a:cxn>
                    <a:cxn ang="0">
                      <a:pos x="269" y="119"/>
                    </a:cxn>
                    <a:cxn ang="0">
                      <a:pos x="172" y="54"/>
                    </a:cxn>
                    <a:cxn ang="0">
                      <a:pos x="208" y="50"/>
                    </a:cxn>
                    <a:cxn ang="0">
                      <a:pos x="179" y="40"/>
                    </a:cxn>
                    <a:cxn ang="0">
                      <a:pos x="241" y="27"/>
                    </a:cxn>
                    <a:cxn ang="0">
                      <a:pos x="309" y="70"/>
                    </a:cxn>
                    <a:cxn ang="0">
                      <a:pos x="349" y="126"/>
                    </a:cxn>
                    <a:cxn ang="0">
                      <a:pos x="427" y="184"/>
                    </a:cxn>
                    <a:cxn ang="0">
                      <a:pos x="366" y="112"/>
                    </a:cxn>
                    <a:cxn ang="0">
                      <a:pos x="304" y="45"/>
                    </a:cxn>
                    <a:cxn ang="0">
                      <a:pos x="215" y="11"/>
                    </a:cxn>
                    <a:cxn ang="0">
                      <a:pos x="140" y="21"/>
                    </a:cxn>
                    <a:cxn ang="0">
                      <a:pos x="142" y="40"/>
                    </a:cxn>
                    <a:cxn ang="0">
                      <a:pos x="77" y="53"/>
                    </a:cxn>
                    <a:cxn ang="0">
                      <a:pos x="4" y="104"/>
                    </a:cxn>
                    <a:cxn ang="0">
                      <a:pos x="31" y="83"/>
                    </a:cxn>
                  </a:cxnLst>
                  <a:rect l="0" t="0" r="r" b="b"/>
                  <a:pathLst>
                    <a:path w="427" h="184">
                      <a:moveTo>
                        <a:pt x="23" y="85"/>
                      </a:moveTo>
                      <a:cubicBezTo>
                        <a:pt x="37" y="68"/>
                        <a:pt x="57" y="66"/>
                        <a:pt x="77" y="64"/>
                      </a:cubicBezTo>
                      <a:cubicBezTo>
                        <a:pt x="103" y="61"/>
                        <a:pt x="130" y="55"/>
                        <a:pt x="156" y="58"/>
                      </a:cubicBezTo>
                      <a:cubicBezTo>
                        <a:pt x="198" y="62"/>
                        <a:pt x="239" y="91"/>
                        <a:pt x="269" y="119"/>
                      </a:cubicBezTo>
                      <a:cubicBezTo>
                        <a:pt x="273" y="77"/>
                        <a:pt x="194" y="71"/>
                        <a:pt x="172" y="54"/>
                      </a:cubicBezTo>
                      <a:cubicBezTo>
                        <a:pt x="185" y="53"/>
                        <a:pt x="195" y="49"/>
                        <a:pt x="208" y="50"/>
                      </a:cubicBezTo>
                      <a:cubicBezTo>
                        <a:pt x="200" y="44"/>
                        <a:pt x="191" y="39"/>
                        <a:pt x="179" y="40"/>
                      </a:cubicBezTo>
                      <a:cubicBezTo>
                        <a:pt x="188" y="23"/>
                        <a:pt x="224" y="24"/>
                        <a:pt x="241" y="27"/>
                      </a:cubicBezTo>
                      <a:cubicBezTo>
                        <a:pt x="272" y="31"/>
                        <a:pt x="292" y="46"/>
                        <a:pt x="309" y="70"/>
                      </a:cubicBezTo>
                      <a:cubicBezTo>
                        <a:pt x="323" y="87"/>
                        <a:pt x="334" y="110"/>
                        <a:pt x="349" y="126"/>
                      </a:cubicBezTo>
                      <a:cubicBezTo>
                        <a:pt x="371" y="148"/>
                        <a:pt x="404" y="162"/>
                        <a:pt x="427" y="184"/>
                      </a:cubicBezTo>
                      <a:cubicBezTo>
                        <a:pt x="418" y="150"/>
                        <a:pt x="386" y="138"/>
                        <a:pt x="366" y="112"/>
                      </a:cubicBezTo>
                      <a:cubicBezTo>
                        <a:pt x="347" y="87"/>
                        <a:pt x="331" y="64"/>
                        <a:pt x="304" y="45"/>
                      </a:cubicBezTo>
                      <a:cubicBezTo>
                        <a:pt x="277" y="26"/>
                        <a:pt x="245" y="15"/>
                        <a:pt x="215" y="11"/>
                      </a:cubicBezTo>
                      <a:cubicBezTo>
                        <a:pt x="195" y="9"/>
                        <a:pt x="152" y="0"/>
                        <a:pt x="140" y="21"/>
                      </a:cubicBezTo>
                      <a:cubicBezTo>
                        <a:pt x="155" y="31"/>
                        <a:pt x="175" y="38"/>
                        <a:pt x="142" y="40"/>
                      </a:cubicBezTo>
                      <a:cubicBezTo>
                        <a:pt x="116" y="42"/>
                        <a:pt x="101" y="45"/>
                        <a:pt x="77" y="53"/>
                      </a:cubicBezTo>
                      <a:cubicBezTo>
                        <a:pt x="57" y="59"/>
                        <a:pt x="0" y="74"/>
                        <a:pt x="4" y="104"/>
                      </a:cubicBezTo>
                      <a:cubicBezTo>
                        <a:pt x="11" y="95"/>
                        <a:pt x="20" y="87"/>
                        <a:pt x="31" y="83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7" name="Freeform 335"/>
                <p:cNvSpPr>
                  <a:spLocks/>
                </p:cNvSpPr>
                <p:nvPr/>
              </p:nvSpPr>
              <p:spPr bwMode="gray">
                <a:xfrm>
                  <a:off x="-825500" y="5776913"/>
                  <a:ext cx="1600200" cy="690563"/>
                </a:xfrm>
                <a:custGeom>
                  <a:avLst/>
                  <a:gdLst/>
                  <a:ahLst/>
                  <a:cxnLst>
                    <a:cxn ang="0">
                      <a:pos x="23" y="85"/>
                    </a:cxn>
                    <a:cxn ang="0">
                      <a:pos x="77" y="64"/>
                    </a:cxn>
                    <a:cxn ang="0">
                      <a:pos x="156" y="58"/>
                    </a:cxn>
                    <a:cxn ang="0">
                      <a:pos x="269" y="119"/>
                    </a:cxn>
                    <a:cxn ang="0">
                      <a:pos x="172" y="54"/>
                    </a:cxn>
                    <a:cxn ang="0">
                      <a:pos x="208" y="50"/>
                    </a:cxn>
                    <a:cxn ang="0">
                      <a:pos x="179" y="40"/>
                    </a:cxn>
                    <a:cxn ang="0">
                      <a:pos x="241" y="27"/>
                    </a:cxn>
                    <a:cxn ang="0">
                      <a:pos x="309" y="70"/>
                    </a:cxn>
                    <a:cxn ang="0">
                      <a:pos x="349" y="126"/>
                    </a:cxn>
                    <a:cxn ang="0">
                      <a:pos x="427" y="184"/>
                    </a:cxn>
                    <a:cxn ang="0">
                      <a:pos x="366" y="112"/>
                    </a:cxn>
                    <a:cxn ang="0">
                      <a:pos x="304" y="45"/>
                    </a:cxn>
                    <a:cxn ang="0">
                      <a:pos x="215" y="11"/>
                    </a:cxn>
                    <a:cxn ang="0">
                      <a:pos x="140" y="21"/>
                    </a:cxn>
                    <a:cxn ang="0">
                      <a:pos x="142" y="40"/>
                    </a:cxn>
                    <a:cxn ang="0">
                      <a:pos x="77" y="53"/>
                    </a:cxn>
                    <a:cxn ang="0">
                      <a:pos x="4" y="104"/>
                    </a:cxn>
                    <a:cxn ang="0">
                      <a:pos x="31" y="83"/>
                    </a:cxn>
                  </a:cxnLst>
                  <a:rect l="0" t="0" r="r" b="b"/>
                  <a:pathLst>
                    <a:path w="427" h="184">
                      <a:moveTo>
                        <a:pt x="23" y="85"/>
                      </a:moveTo>
                      <a:cubicBezTo>
                        <a:pt x="37" y="68"/>
                        <a:pt x="57" y="66"/>
                        <a:pt x="77" y="64"/>
                      </a:cubicBezTo>
                      <a:cubicBezTo>
                        <a:pt x="103" y="61"/>
                        <a:pt x="130" y="55"/>
                        <a:pt x="156" y="58"/>
                      </a:cubicBezTo>
                      <a:cubicBezTo>
                        <a:pt x="198" y="62"/>
                        <a:pt x="239" y="91"/>
                        <a:pt x="269" y="119"/>
                      </a:cubicBezTo>
                      <a:cubicBezTo>
                        <a:pt x="273" y="77"/>
                        <a:pt x="194" y="71"/>
                        <a:pt x="172" y="54"/>
                      </a:cubicBezTo>
                      <a:cubicBezTo>
                        <a:pt x="185" y="53"/>
                        <a:pt x="195" y="49"/>
                        <a:pt x="208" y="50"/>
                      </a:cubicBezTo>
                      <a:cubicBezTo>
                        <a:pt x="200" y="44"/>
                        <a:pt x="191" y="39"/>
                        <a:pt x="179" y="40"/>
                      </a:cubicBezTo>
                      <a:cubicBezTo>
                        <a:pt x="188" y="23"/>
                        <a:pt x="224" y="24"/>
                        <a:pt x="241" y="27"/>
                      </a:cubicBezTo>
                      <a:cubicBezTo>
                        <a:pt x="272" y="31"/>
                        <a:pt x="292" y="46"/>
                        <a:pt x="309" y="70"/>
                      </a:cubicBezTo>
                      <a:cubicBezTo>
                        <a:pt x="323" y="87"/>
                        <a:pt x="334" y="110"/>
                        <a:pt x="349" y="126"/>
                      </a:cubicBezTo>
                      <a:cubicBezTo>
                        <a:pt x="371" y="148"/>
                        <a:pt x="404" y="162"/>
                        <a:pt x="427" y="184"/>
                      </a:cubicBezTo>
                      <a:cubicBezTo>
                        <a:pt x="418" y="150"/>
                        <a:pt x="386" y="138"/>
                        <a:pt x="366" y="112"/>
                      </a:cubicBezTo>
                      <a:cubicBezTo>
                        <a:pt x="347" y="87"/>
                        <a:pt x="331" y="64"/>
                        <a:pt x="304" y="45"/>
                      </a:cubicBezTo>
                      <a:cubicBezTo>
                        <a:pt x="277" y="26"/>
                        <a:pt x="245" y="15"/>
                        <a:pt x="215" y="11"/>
                      </a:cubicBezTo>
                      <a:cubicBezTo>
                        <a:pt x="195" y="9"/>
                        <a:pt x="152" y="0"/>
                        <a:pt x="140" y="21"/>
                      </a:cubicBezTo>
                      <a:cubicBezTo>
                        <a:pt x="155" y="31"/>
                        <a:pt x="175" y="38"/>
                        <a:pt x="142" y="40"/>
                      </a:cubicBezTo>
                      <a:cubicBezTo>
                        <a:pt x="116" y="42"/>
                        <a:pt x="101" y="45"/>
                        <a:pt x="77" y="53"/>
                      </a:cubicBezTo>
                      <a:cubicBezTo>
                        <a:pt x="57" y="59"/>
                        <a:pt x="0" y="74"/>
                        <a:pt x="4" y="104"/>
                      </a:cubicBezTo>
                      <a:cubicBezTo>
                        <a:pt x="11" y="95"/>
                        <a:pt x="20" y="87"/>
                        <a:pt x="31" y="83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8" name="Freeform 336"/>
                <p:cNvSpPr>
                  <a:spLocks/>
                </p:cNvSpPr>
                <p:nvPr/>
              </p:nvSpPr>
              <p:spPr bwMode="gray">
                <a:xfrm>
                  <a:off x="328612" y="6462713"/>
                  <a:ext cx="600075" cy="1166813"/>
                </a:xfrm>
                <a:custGeom>
                  <a:avLst/>
                  <a:gdLst/>
                  <a:ahLst/>
                  <a:cxnLst>
                    <a:cxn ang="0">
                      <a:pos x="54" y="48"/>
                    </a:cxn>
                    <a:cxn ang="0">
                      <a:pos x="97" y="108"/>
                    </a:cxn>
                    <a:cxn ang="0">
                      <a:pos x="119" y="190"/>
                    </a:cxn>
                    <a:cxn ang="0">
                      <a:pos x="123" y="161"/>
                    </a:cxn>
                    <a:cxn ang="0">
                      <a:pos x="150" y="311"/>
                    </a:cxn>
                    <a:cxn ang="0">
                      <a:pos x="151" y="261"/>
                    </a:cxn>
                    <a:cxn ang="0">
                      <a:pos x="146" y="206"/>
                    </a:cxn>
                    <a:cxn ang="0">
                      <a:pos x="121" y="103"/>
                    </a:cxn>
                    <a:cxn ang="0">
                      <a:pos x="142" y="128"/>
                    </a:cxn>
                    <a:cxn ang="0">
                      <a:pos x="111" y="31"/>
                    </a:cxn>
                    <a:cxn ang="0">
                      <a:pos x="101" y="81"/>
                    </a:cxn>
                    <a:cxn ang="0">
                      <a:pos x="60" y="3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60" h="311">
                      <a:moveTo>
                        <a:pt x="54" y="48"/>
                      </a:moveTo>
                      <a:cubicBezTo>
                        <a:pt x="78" y="45"/>
                        <a:pt x="88" y="91"/>
                        <a:pt x="97" y="108"/>
                      </a:cubicBezTo>
                      <a:cubicBezTo>
                        <a:pt x="109" y="133"/>
                        <a:pt x="120" y="159"/>
                        <a:pt x="119" y="190"/>
                      </a:cubicBezTo>
                      <a:cubicBezTo>
                        <a:pt x="119" y="180"/>
                        <a:pt x="124" y="171"/>
                        <a:pt x="123" y="161"/>
                      </a:cubicBezTo>
                      <a:cubicBezTo>
                        <a:pt x="148" y="198"/>
                        <a:pt x="150" y="265"/>
                        <a:pt x="150" y="311"/>
                      </a:cubicBezTo>
                      <a:cubicBezTo>
                        <a:pt x="160" y="296"/>
                        <a:pt x="155" y="276"/>
                        <a:pt x="151" y="261"/>
                      </a:cubicBezTo>
                      <a:cubicBezTo>
                        <a:pt x="147" y="243"/>
                        <a:pt x="146" y="226"/>
                        <a:pt x="146" y="206"/>
                      </a:cubicBezTo>
                      <a:cubicBezTo>
                        <a:pt x="146" y="169"/>
                        <a:pt x="140" y="133"/>
                        <a:pt x="121" y="103"/>
                      </a:cubicBezTo>
                      <a:cubicBezTo>
                        <a:pt x="132" y="110"/>
                        <a:pt x="137" y="115"/>
                        <a:pt x="142" y="128"/>
                      </a:cubicBezTo>
                      <a:cubicBezTo>
                        <a:pt x="144" y="100"/>
                        <a:pt x="126" y="55"/>
                        <a:pt x="111" y="31"/>
                      </a:cubicBezTo>
                      <a:cubicBezTo>
                        <a:pt x="111" y="52"/>
                        <a:pt x="105" y="63"/>
                        <a:pt x="101" y="81"/>
                      </a:cubicBezTo>
                      <a:cubicBezTo>
                        <a:pt x="78" y="76"/>
                        <a:pt x="73" y="47"/>
                        <a:pt x="60" y="31"/>
                      </a:cubicBezTo>
                      <a:cubicBezTo>
                        <a:pt x="47" y="15"/>
                        <a:pt x="20" y="0"/>
                        <a:pt x="0" y="1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39" name="Freeform 337"/>
                <p:cNvSpPr>
                  <a:spLocks/>
                </p:cNvSpPr>
                <p:nvPr/>
              </p:nvSpPr>
              <p:spPr bwMode="gray">
                <a:xfrm>
                  <a:off x="328612" y="6462713"/>
                  <a:ext cx="600075" cy="1166813"/>
                </a:xfrm>
                <a:custGeom>
                  <a:avLst/>
                  <a:gdLst/>
                  <a:ahLst/>
                  <a:cxnLst>
                    <a:cxn ang="0">
                      <a:pos x="54" y="48"/>
                    </a:cxn>
                    <a:cxn ang="0">
                      <a:pos x="97" y="108"/>
                    </a:cxn>
                    <a:cxn ang="0">
                      <a:pos x="119" y="190"/>
                    </a:cxn>
                    <a:cxn ang="0">
                      <a:pos x="123" y="161"/>
                    </a:cxn>
                    <a:cxn ang="0">
                      <a:pos x="150" y="311"/>
                    </a:cxn>
                    <a:cxn ang="0">
                      <a:pos x="151" y="261"/>
                    </a:cxn>
                    <a:cxn ang="0">
                      <a:pos x="146" y="206"/>
                    </a:cxn>
                    <a:cxn ang="0">
                      <a:pos x="121" y="103"/>
                    </a:cxn>
                    <a:cxn ang="0">
                      <a:pos x="142" y="128"/>
                    </a:cxn>
                    <a:cxn ang="0">
                      <a:pos x="111" y="31"/>
                    </a:cxn>
                    <a:cxn ang="0">
                      <a:pos x="101" y="81"/>
                    </a:cxn>
                    <a:cxn ang="0">
                      <a:pos x="60" y="3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60" h="311">
                      <a:moveTo>
                        <a:pt x="54" y="48"/>
                      </a:moveTo>
                      <a:cubicBezTo>
                        <a:pt x="78" y="45"/>
                        <a:pt x="88" y="91"/>
                        <a:pt x="97" y="108"/>
                      </a:cubicBezTo>
                      <a:cubicBezTo>
                        <a:pt x="109" y="133"/>
                        <a:pt x="120" y="159"/>
                        <a:pt x="119" y="190"/>
                      </a:cubicBezTo>
                      <a:cubicBezTo>
                        <a:pt x="119" y="180"/>
                        <a:pt x="124" y="171"/>
                        <a:pt x="123" y="161"/>
                      </a:cubicBezTo>
                      <a:cubicBezTo>
                        <a:pt x="148" y="198"/>
                        <a:pt x="150" y="265"/>
                        <a:pt x="150" y="311"/>
                      </a:cubicBezTo>
                      <a:cubicBezTo>
                        <a:pt x="160" y="296"/>
                        <a:pt x="155" y="276"/>
                        <a:pt x="151" y="261"/>
                      </a:cubicBezTo>
                      <a:cubicBezTo>
                        <a:pt x="147" y="243"/>
                        <a:pt x="146" y="226"/>
                        <a:pt x="146" y="206"/>
                      </a:cubicBezTo>
                      <a:cubicBezTo>
                        <a:pt x="146" y="169"/>
                        <a:pt x="140" y="133"/>
                        <a:pt x="121" y="103"/>
                      </a:cubicBezTo>
                      <a:cubicBezTo>
                        <a:pt x="132" y="110"/>
                        <a:pt x="137" y="115"/>
                        <a:pt x="142" y="128"/>
                      </a:cubicBezTo>
                      <a:cubicBezTo>
                        <a:pt x="144" y="100"/>
                        <a:pt x="126" y="55"/>
                        <a:pt x="111" y="31"/>
                      </a:cubicBezTo>
                      <a:cubicBezTo>
                        <a:pt x="111" y="52"/>
                        <a:pt x="105" y="63"/>
                        <a:pt x="101" y="81"/>
                      </a:cubicBezTo>
                      <a:cubicBezTo>
                        <a:pt x="78" y="76"/>
                        <a:pt x="73" y="47"/>
                        <a:pt x="60" y="31"/>
                      </a:cubicBezTo>
                      <a:cubicBezTo>
                        <a:pt x="47" y="15"/>
                        <a:pt x="20" y="0"/>
                        <a:pt x="0" y="1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0" name="Freeform 338"/>
                <p:cNvSpPr>
                  <a:spLocks/>
                </p:cNvSpPr>
                <p:nvPr/>
              </p:nvSpPr>
              <p:spPr bwMode="gray">
                <a:xfrm>
                  <a:off x="276225" y="7910513"/>
                  <a:ext cx="558800" cy="974725"/>
                </a:xfrm>
                <a:custGeom>
                  <a:avLst/>
                  <a:gdLst/>
                  <a:ahLst/>
                  <a:cxnLst>
                    <a:cxn ang="0">
                      <a:pos x="137" y="23"/>
                    </a:cxn>
                    <a:cxn ang="0">
                      <a:pos x="149" y="0"/>
                    </a:cxn>
                    <a:cxn ang="0">
                      <a:pos x="70" y="149"/>
                    </a:cxn>
                    <a:cxn ang="0">
                      <a:pos x="32" y="208"/>
                    </a:cxn>
                    <a:cxn ang="0">
                      <a:pos x="0" y="260"/>
                    </a:cxn>
                    <a:cxn ang="0">
                      <a:pos x="23" y="208"/>
                    </a:cxn>
                    <a:cxn ang="0">
                      <a:pos x="65" y="145"/>
                    </a:cxn>
                    <a:cxn ang="0">
                      <a:pos x="86" y="93"/>
                    </a:cxn>
                    <a:cxn ang="0">
                      <a:pos x="110" y="46"/>
                    </a:cxn>
                  </a:cxnLst>
                  <a:rect l="0" t="0" r="r" b="b"/>
                  <a:pathLst>
                    <a:path w="149" h="260">
                      <a:moveTo>
                        <a:pt x="137" y="23"/>
                      </a:moveTo>
                      <a:cubicBezTo>
                        <a:pt x="144" y="17"/>
                        <a:pt x="146" y="9"/>
                        <a:pt x="149" y="0"/>
                      </a:cubicBezTo>
                      <a:cubicBezTo>
                        <a:pt x="120" y="47"/>
                        <a:pt x="103" y="105"/>
                        <a:pt x="70" y="149"/>
                      </a:cubicBezTo>
                      <a:cubicBezTo>
                        <a:pt x="56" y="169"/>
                        <a:pt x="42" y="185"/>
                        <a:pt x="32" y="208"/>
                      </a:cubicBezTo>
                      <a:cubicBezTo>
                        <a:pt x="24" y="229"/>
                        <a:pt x="12" y="241"/>
                        <a:pt x="0" y="260"/>
                      </a:cubicBezTo>
                      <a:cubicBezTo>
                        <a:pt x="9" y="244"/>
                        <a:pt x="13" y="224"/>
                        <a:pt x="23" y="208"/>
                      </a:cubicBezTo>
                      <a:cubicBezTo>
                        <a:pt x="36" y="187"/>
                        <a:pt x="55" y="168"/>
                        <a:pt x="65" y="145"/>
                      </a:cubicBezTo>
                      <a:cubicBezTo>
                        <a:pt x="72" y="128"/>
                        <a:pt x="77" y="108"/>
                        <a:pt x="86" y="93"/>
                      </a:cubicBezTo>
                      <a:cubicBezTo>
                        <a:pt x="96" y="78"/>
                        <a:pt x="113" y="66"/>
                        <a:pt x="110" y="46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1" name="Freeform 339"/>
                <p:cNvSpPr>
                  <a:spLocks/>
                </p:cNvSpPr>
                <p:nvPr/>
              </p:nvSpPr>
              <p:spPr bwMode="gray">
                <a:xfrm>
                  <a:off x="276225" y="7910513"/>
                  <a:ext cx="558800" cy="974725"/>
                </a:xfrm>
                <a:custGeom>
                  <a:avLst/>
                  <a:gdLst/>
                  <a:ahLst/>
                  <a:cxnLst>
                    <a:cxn ang="0">
                      <a:pos x="137" y="23"/>
                    </a:cxn>
                    <a:cxn ang="0">
                      <a:pos x="149" y="0"/>
                    </a:cxn>
                    <a:cxn ang="0">
                      <a:pos x="70" y="149"/>
                    </a:cxn>
                    <a:cxn ang="0">
                      <a:pos x="32" y="208"/>
                    </a:cxn>
                    <a:cxn ang="0">
                      <a:pos x="0" y="260"/>
                    </a:cxn>
                    <a:cxn ang="0">
                      <a:pos x="23" y="208"/>
                    </a:cxn>
                    <a:cxn ang="0">
                      <a:pos x="65" y="145"/>
                    </a:cxn>
                    <a:cxn ang="0">
                      <a:pos x="86" y="93"/>
                    </a:cxn>
                    <a:cxn ang="0">
                      <a:pos x="110" y="46"/>
                    </a:cxn>
                  </a:cxnLst>
                  <a:rect l="0" t="0" r="r" b="b"/>
                  <a:pathLst>
                    <a:path w="149" h="260">
                      <a:moveTo>
                        <a:pt x="137" y="23"/>
                      </a:moveTo>
                      <a:cubicBezTo>
                        <a:pt x="144" y="17"/>
                        <a:pt x="146" y="9"/>
                        <a:pt x="149" y="0"/>
                      </a:cubicBezTo>
                      <a:cubicBezTo>
                        <a:pt x="120" y="47"/>
                        <a:pt x="103" y="105"/>
                        <a:pt x="70" y="149"/>
                      </a:cubicBezTo>
                      <a:cubicBezTo>
                        <a:pt x="56" y="169"/>
                        <a:pt x="42" y="185"/>
                        <a:pt x="32" y="208"/>
                      </a:cubicBezTo>
                      <a:cubicBezTo>
                        <a:pt x="24" y="229"/>
                        <a:pt x="12" y="241"/>
                        <a:pt x="0" y="260"/>
                      </a:cubicBezTo>
                      <a:cubicBezTo>
                        <a:pt x="9" y="244"/>
                        <a:pt x="13" y="224"/>
                        <a:pt x="23" y="208"/>
                      </a:cubicBezTo>
                      <a:cubicBezTo>
                        <a:pt x="36" y="187"/>
                        <a:pt x="55" y="168"/>
                        <a:pt x="65" y="145"/>
                      </a:cubicBezTo>
                      <a:cubicBezTo>
                        <a:pt x="72" y="128"/>
                        <a:pt x="77" y="108"/>
                        <a:pt x="86" y="93"/>
                      </a:cubicBezTo>
                      <a:cubicBezTo>
                        <a:pt x="96" y="78"/>
                        <a:pt x="113" y="66"/>
                        <a:pt x="110" y="46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2" name="Freeform 340"/>
                <p:cNvSpPr>
                  <a:spLocks/>
                </p:cNvSpPr>
                <p:nvPr/>
              </p:nvSpPr>
              <p:spPr bwMode="gray">
                <a:xfrm>
                  <a:off x="-1662113" y="24028401"/>
                  <a:ext cx="319088" cy="892175"/>
                </a:xfrm>
                <a:custGeom>
                  <a:avLst/>
                  <a:gdLst/>
                  <a:ahLst/>
                  <a:cxnLst>
                    <a:cxn ang="0">
                      <a:pos x="72" y="9"/>
                    </a:cxn>
                    <a:cxn ang="0">
                      <a:pos x="65" y="71"/>
                    </a:cxn>
                    <a:cxn ang="0">
                      <a:pos x="66" y="137"/>
                    </a:cxn>
                    <a:cxn ang="0">
                      <a:pos x="33" y="187"/>
                    </a:cxn>
                    <a:cxn ang="0">
                      <a:pos x="0" y="238"/>
                    </a:cxn>
                    <a:cxn ang="0">
                      <a:pos x="82" y="134"/>
                    </a:cxn>
                    <a:cxn ang="0">
                      <a:pos x="84" y="61"/>
                    </a:cxn>
                    <a:cxn ang="0">
                      <a:pos x="78" y="31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238">
                      <a:moveTo>
                        <a:pt x="72" y="9"/>
                      </a:moveTo>
                      <a:cubicBezTo>
                        <a:pt x="72" y="31"/>
                        <a:pt x="66" y="50"/>
                        <a:pt x="65" y="71"/>
                      </a:cubicBezTo>
                      <a:cubicBezTo>
                        <a:pt x="64" y="93"/>
                        <a:pt x="73" y="117"/>
                        <a:pt x="66" y="137"/>
                      </a:cubicBezTo>
                      <a:cubicBezTo>
                        <a:pt x="60" y="157"/>
                        <a:pt x="42" y="170"/>
                        <a:pt x="33" y="187"/>
                      </a:cubicBezTo>
                      <a:cubicBezTo>
                        <a:pt x="23" y="206"/>
                        <a:pt x="13" y="224"/>
                        <a:pt x="0" y="238"/>
                      </a:cubicBezTo>
                      <a:cubicBezTo>
                        <a:pt x="38" y="219"/>
                        <a:pt x="77" y="177"/>
                        <a:pt x="82" y="134"/>
                      </a:cubicBezTo>
                      <a:cubicBezTo>
                        <a:pt x="85" y="111"/>
                        <a:pt x="84" y="86"/>
                        <a:pt x="84" y="61"/>
                      </a:cubicBezTo>
                      <a:cubicBezTo>
                        <a:pt x="84" y="49"/>
                        <a:pt x="83" y="41"/>
                        <a:pt x="78" y="31"/>
                      </a:cubicBezTo>
                      <a:cubicBezTo>
                        <a:pt x="73" y="21"/>
                        <a:pt x="68" y="13"/>
                        <a:pt x="69" y="0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3" name="Freeform 341"/>
                <p:cNvSpPr>
                  <a:spLocks/>
                </p:cNvSpPr>
                <p:nvPr/>
              </p:nvSpPr>
              <p:spPr bwMode="gray">
                <a:xfrm>
                  <a:off x="-2741613" y="25190451"/>
                  <a:ext cx="911225" cy="300038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66" y="26"/>
                    </a:cxn>
                    <a:cxn ang="0">
                      <a:pos x="129" y="42"/>
                    </a:cxn>
                    <a:cxn ang="0">
                      <a:pos x="243" y="0"/>
                    </a:cxn>
                    <a:cxn ang="0">
                      <a:pos x="208" y="61"/>
                    </a:cxn>
                    <a:cxn ang="0">
                      <a:pos x="180" y="75"/>
                    </a:cxn>
                    <a:cxn ang="0">
                      <a:pos x="145" y="66"/>
                    </a:cxn>
                    <a:cxn ang="0">
                      <a:pos x="82" y="50"/>
                    </a:cxn>
                    <a:cxn ang="0">
                      <a:pos x="19" y="2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43" h="80">
                      <a:moveTo>
                        <a:pt x="0" y="4"/>
                      </a:moveTo>
                      <a:cubicBezTo>
                        <a:pt x="17" y="19"/>
                        <a:pt x="44" y="21"/>
                        <a:pt x="66" y="26"/>
                      </a:cubicBezTo>
                      <a:cubicBezTo>
                        <a:pt x="87" y="31"/>
                        <a:pt x="108" y="40"/>
                        <a:pt x="129" y="42"/>
                      </a:cubicBezTo>
                      <a:cubicBezTo>
                        <a:pt x="173" y="46"/>
                        <a:pt x="214" y="35"/>
                        <a:pt x="243" y="0"/>
                      </a:cubicBezTo>
                      <a:cubicBezTo>
                        <a:pt x="235" y="23"/>
                        <a:pt x="222" y="41"/>
                        <a:pt x="208" y="61"/>
                      </a:cubicBezTo>
                      <a:cubicBezTo>
                        <a:pt x="198" y="75"/>
                        <a:pt x="198" y="80"/>
                        <a:pt x="180" y="75"/>
                      </a:cubicBezTo>
                      <a:cubicBezTo>
                        <a:pt x="168" y="71"/>
                        <a:pt x="157" y="69"/>
                        <a:pt x="145" y="66"/>
                      </a:cubicBezTo>
                      <a:cubicBezTo>
                        <a:pt x="125" y="61"/>
                        <a:pt x="102" y="57"/>
                        <a:pt x="82" y="50"/>
                      </a:cubicBezTo>
                      <a:cubicBezTo>
                        <a:pt x="62" y="43"/>
                        <a:pt x="38" y="38"/>
                        <a:pt x="19" y="27"/>
                      </a:cubicBezTo>
                      <a:cubicBezTo>
                        <a:pt x="12" y="23"/>
                        <a:pt x="4" y="16"/>
                        <a:pt x="0" y="7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4" name="Freeform 342"/>
                <p:cNvSpPr>
                  <a:spLocks/>
                </p:cNvSpPr>
                <p:nvPr/>
              </p:nvSpPr>
              <p:spPr bwMode="gray">
                <a:xfrm>
                  <a:off x="-98425" y="24039513"/>
                  <a:ext cx="203200" cy="941388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12" y="60"/>
                    </a:cxn>
                    <a:cxn ang="0">
                      <a:pos x="1" y="127"/>
                    </a:cxn>
                    <a:cxn ang="0">
                      <a:pos x="13" y="158"/>
                    </a:cxn>
                    <a:cxn ang="0">
                      <a:pos x="26" y="194"/>
                    </a:cxn>
                    <a:cxn ang="0">
                      <a:pos x="43" y="218"/>
                    </a:cxn>
                    <a:cxn ang="0">
                      <a:pos x="54" y="251"/>
                    </a:cxn>
                    <a:cxn ang="0">
                      <a:pos x="21" y="125"/>
                    </a:cxn>
                    <a:cxn ang="0">
                      <a:pos x="27" y="61"/>
                    </a:cxn>
                    <a:cxn ang="0">
                      <a:pos x="26" y="6"/>
                    </a:cxn>
                    <a:cxn ang="0">
                      <a:pos x="20" y="33"/>
                    </a:cxn>
                  </a:cxnLst>
                  <a:rect l="0" t="0" r="r" b="b"/>
                  <a:pathLst>
                    <a:path w="54" h="251">
                      <a:moveTo>
                        <a:pt x="28" y="0"/>
                      </a:moveTo>
                      <a:cubicBezTo>
                        <a:pt x="28" y="26"/>
                        <a:pt x="24" y="39"/>
                        <a:pt x="12" y="60"/>
                      </a:cubicBezTo>
                      <a:cubicBezTo>
                        <a:pt x="0" y="81"/>
                        <a:pt x="0" y="102"/>
                        <a:pt x="1" y="127"/>
                      </a:cubicBezTo>
                      <a:cubicBezTo>
                        <a:pt x="2" y="141"/>
                        <a:pt x="6" y="146"/>
                        <a:pt x="13" y="158"/>
                      </a:cubicBezTo>
                      <a:cubicBezTo>
                        <a:pt x="19" y="169"/>
                        <a:pt x="19" y="183"/>
                        <a:pt x="26" y="194"/>
                      </a:cubicBezTo>
                      <a:cubicBezTo>
                        <a:pt x="31" y="203"/>
                        <a:pt x="39" y="209"/>
                        <a:pt x="43" y="218"/>
                      </a:cubicBezTo>
                      <a:cubicBezTo>
                        <a:pt x="49" y="228"/>
                        <a:pt x="51" y="240"/>
                        <a:pt x="54" y="251"/>
                      </a:cubicBezTo>
                      <a:cubicBezTo>
                        <a:pt x="53" y="206"/>
                        <a:pt x="29" y="167"/>
                        <a:pt x="21" y="125"/>
                      </a:cubicBezTo>
                      <a:cubicBezTo>
                        <a:pt x="16" y="102"/>
                        <a:pt x="19" y="82"/>
                        <a:pt x="27" y="61"/>
                      </a:cubicBezTo>
                      <a:cubicBezTo>
                        <a:pt x="34" y="43"/>
                        <a:pt x="37" y="24"/>
                        <a:pt x="26" y="6"/>
                      </a:cubicBezTo>
                      <a:cubicBezTo>
                        <a:pt x="22" y="15"/>
                        <a:pt x="22" y="24"/>
                        <a:pt x="20" y="33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5" name="Freeform 343"/>
                <p:cNvSpPr>
                  <a:spLocks/>
                </p:cNvSpPr>
                <p:nvPr/>
              </p:nvSpPr>
              <p:spPr bwMode="gray">
                <a:xfrm>
                  <a:off x="231775" y="25336501"/>
                  <a:ext cx="655638" cy="195263"/>
                </a:xfrm>
                <a:custGeom>
                  <a:avLst/>
                  <a:gdLst/>
                  <a:ahLst/>
                  <a:cxnLst>
                    <a:cxn ang="0">
                      <a:pos x="159" y="0"/>
                    </a:cxn>
                    <a:cxn ang="0">
                      <a:pos x="145" y="35"/>
                    </a:cxn>
                    <a:cxn ang="0">
                      <a:pos x="93" y="45"/>
                    </a:cxn>
                    <a:cxn ang="0">
                      <a:pos x="0" y="25"/>
                    </a:cxn>
                    <a:cxn ang="0">
                      <a:pos x="35" y="45"/>
                    </a:cxn>
                    <a:cxn ang="0">
                      <a:pos x="87" y="51"/>
                    </a:cxn>
                    <a:cxn ang="0">
                      <a:pos x="134" y="50"/>
                    </a:cxn>
                    <a:cxn ang="0">
                      <a:pos x="175" y="38"/>
                    </a:cxn>
                    <a:cxn ang="0">
                      <a:pos x="168" y="26"/>
                    </a:cxn>
                  </a:cxnLst>
                  <a:rect l="0" t="0" r="r" b="b"/>
                  <a:pathLst>
                    <a:path w="175" h="52">
                      <a:moveTo>
                        <a:pt x="159" y="0"/>
                      </a:moveTo>
                      <a:cubicBezTo>
                        <a:pt x="161" y="18"/>
                        <a:pt x="162" y="27"/>
                        <a:pt x="145" y="35"/>
                      </a:cubicBezTo>
                      <a:cubicBezTo>
                        <a:pt x="130" y="43"/>
                        <a:pt x="111" y="45"/>
                        <a:pt x="93" y="45"/>
                      </a:cubicBezTo>
                      <a:cubicBezTo>
                        <a:pt x="60" y="47"/>
                        <a:pt x="28" y="37"/>
                        <a:pt x="0" y="25"/>
                      </a:cubicBezTo>
                      <a:cubicBezTo>
                        <a:pt x="13" y="32"/>
                        <a:pt x="20" y="42"/>
                        <a:pt x="35" y="45"/>
                      </a:cubicBezTo>
                      <a:cubicBezTo>
                        <a:pt x="51" y="49"/>
                        <a:pt x="70" y="50"/>
                        <a:pt x="87" y="51"/>
                      </a:cubicBezTo>
                      <a:cubicBezTo>
                        <a:pt x="102" y="52"/>
                        <a:pt x="120" y="52"/>
                        <a:pt x="134" y="50"/>
                      </a:cubicBezTo>
                      <a:cubicBezTo>
                        <a:pt x="148" y="48"/>
                        <a:pt x="161" y="41"/>
                        <a:pt x="175" y="38"/>
                      </a:cubicBezTo>
                      <a:cubicBezTo>
                        <a:pt x="174" y="33"/>
                        <a:pt x="171" y="29"/>
                        <a:pt x="168" y="26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6" name="Freeform 344"/>
                <p:cNvSpPr>
                  <a:spLocks/>
                </p:cNvSpPr>
                <p:nvPr/>
              </p:nvSpPr>
              <p:spPr bwMode="gray">
                <a:xfrm>
                  <a:off x="104775" y="25633363"/>
                  <a:ext cx="430213" cy="407988"/>
                </a:xfrm>
                <a:custGeom>
                  <a:avLst/>
                  <a:gdLst/>
                  <a:ahLst/>
                  <a:cxnLst>
                    <a:cxn ang="0">
                      <a:pos x="15" y="15"/>
                    </a:cxn>
                    <a:cxn ang="0">
                      <a:pos x="53" y="38"/>
                    </a:cxn>
                    <a:cxn ang="0">
                      <a:pos x="114" y="60"/>
                    </a:cxn>
                    <a:cxn ang="0">
                      <a:pos x="114" y="64"/>
                    </a:cxn>
                    <a:cxn ang="0">
                      <a:pos x="67" y="69"/>
                    </a:cxn>
                    <a:cxn ang="0">
                      <a:pos x="115" y="92"/>
                    </a:cxn>
                    <a:cxn ang="0">
                      <a:pos x="35" y="6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5" h="109">
                      <a:moveTo>
                        <a:pt x="15" y="15"/>
                      </a:moveTo>
                      <a:cubicBezTo>
                        <a:pt x="28" y="21"/>
                        <a:pt x="40" y="30"/>
                        <a:pt x="53" y="38"/>
                      </a:cubicBezTo>
                      <a:cubicBezTo>
                        <a:pt x="73" y="51"/>
                        <a:pt x="91" y="53"/>
                        <a:pt x="114" y="60"/>
                      </a:cubicBezTo>
                      <a:cubicBezTo>
                        <a:pt x="114" y="61"/>
                        <a:pt x="114" y="63"/>
                        <a:pt x="114" y="64"/>
                      </a:cubicBezTo>
                      <a:cubicBezTo>
                        <a:pt x="99" y="67"/>
                        <a:pt x="82" y="69"/>
                        <a:pt x="67" y="69"/>
                      </a:cubicBezTo>
                      <a:cubicBezTo>
                        <a:pt x="78" y="79"/>
                        <a:pt x="103" y="81"/>
                        <a:pt x="115" y="92"/>
                      </a:cubicBezTo>
                      <a:cubicBezTo>
                        <a:pt x="88" y="109"/>
                        <a:pt x="56" y="78"/>
                        <a:pt x="35" y="65"/>
                      </a:cubicBezTo>
                      <a:cubicBezTo>
                        <a:pt x="9" y="50"/>
                        <a:pt x="16" y="20"/>
                        <a:pt x="0" y="0"/>
                      </a:cubicBezTo>
                    </a:path>
                  </a:pathLst>
                </a:custGeom>
                <a:solidFill>
                  <a:srgbClr val="9B979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47" name="Freeform 345"/>
                <p:cNvSpPr>
                  <a:spLocks/>
                </p:cNvSpPr>
                <p:nvPr/>
              </p:nvSpPr>
              <p:spPr bwMode="gray">
                <a:xfrm>
                  <a:off x="-3090863" y="25314276"/>
                  <a:ext cx="468313" cy="600075"/>
                </a:xfrm>
                <a:custGeom>
                  <a:avLst/>
                  <a:gdLst/>
                  <a:ahLst/>
                  <a:cxnLst>
                    <a:cxn ang="0">
                      <a:pos x="85" y="0"/>
                    </a:cxn>
                    <a:cxn ang="0">
                      <a:pos x="42" y="76"/>
                    </a:cxn>
                    <a:cxn ang="0">
                      <a:pos x="0" y="160"/>
                    </a:cxn>
                    <a:cxn ang="0">
                      <a:pos x="62" y="88"/>
                    </a:cxn>
                    <a:cxn ang="0">
                      <a:pos x="85" y="73"/>
                    </a:cxn>
                    <a:cxn ang="0">
                      <a:pos x="87" y="47"/>
                    </a:cxn>
                    <a:cxn ang="0">
                      <a:pos x="125" y="29"/>
                    </a:cxn>
                    <a:cxn ang="0">
                      <a:pos x="125" y="21"/>
                    </a:cxn>
                    <a:cxn ang="0">
                      <a:pos x="91" y="12"/>
                    </a:cxn>
                  </a:cxnLst>
                  <a:rect l="0" t="0" r="r" b="b"/>
                  <a:pathLst>
                    <a:path w="125" h="160">
                      <a:moveTo>
                        <a:pt x="85" y="0"/>
                      </a:moveTo>
                      <a:cubicBezTo>
                        <a:pt x="55" y="15"/>
                        <a:pt x="56" y="50"/>
                        <a:pt x="42" y="76"/>
                      </a:cubicBezTo>
                      <a:cubicBezTo>
                        <a:pt x="28" y="101"/>
                        <a:pt x="1" y="133"/>
                        <a:pt x="0" y="160"/>
                      </a:cubicBezTo>
                      <a:cubicBezTo>
                        <a:pt x="17" y="132"/>
                        <a:pt x="36" y="108"/>
                        <a:pt x="62" y="88"/>
                      </a:cubicBezTo>
                      <a:cubicBezTo>
                        <a:pt x="70" y="81"/>
                        <a:pt x="79" y="83"/>
                        <a:pt x="85" y="73"/>
                      </a:cubicBezTo>
                      <a:cubicBezTo>
                        <a:pt x="90" y="66"/>
                        <a:pt x="83" y="54"/>
                        <a:pt x="87" y="47"/>
                      </a:cubicBezTo>
                      <a:cubicBezTo>
                        <a:pt x="96" y="33"/>
                        <a:pt x="108" y="27"/>
                        <a:pt x="125" y="29"/>
                      </a:cubicBezTo>
                      <a:cubicBezTo>
                        <a:pt x="125" y="28"/>
                        <a:pt x="125" y="22"/>
                        <a:pt x="125" y="21"/>
                      </a:cubicBezTo>
                      <a:cubicBezTo>
                        <a:pt x="114" y="16"/>
                        <a:pt x="103" y="11"/>
                        <a:pt x="91" y="12"/>
                      </a:cubicBezTo>
                    </a:path>
                  </a:pathLst>
                </a:custGeom>
                <a:solidFill>
                  <a:srgbClr val="9B979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996" name="Rechteck 995"/>
            <p:cNvSpPr/>
            <p:nvPr/>
          </p:nvSpPr>
          <p:spPr bwMode="gray">
            <a:xfrm>
              <a:off x="323849" y="3825664"/>
              <a:ext cx="1627557" cy="8247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Mass media</a:t>
              </a:r>
            </a:p>
          </p:txBody>
        </p:sp>
        <p:sp>
          <p:nvSpPr>
            <p:cNvPr id="997" name="Rechteck 996"/>
            <p:cNvSpPr/>
            <p:nvPr/>
          </p:nvSpPr>
          <p:spPr bwMode="gray">
            <a:xfrm>
              <a:off x="3798050" y="3825664"/>
              <a:ext cx="1627557" cy="8247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Opinion leader</a:t>
              </a:r>
              <a:endParaRPr lang="en-US" sz="1100" noProof="1" smtClean="0">
                <a:solidFill>
                  <a:prstClr val="black"/>
                </a:solidFill>
              </a:endParaRPr>
            </a:p>
          </p:txBody>
        </p:sp>
        <p:sp>
          <p:nvSpPr>
            <p:cNvPr id="998" name="Rechteck 997"/>
            <p:cNvSpPr/>
            <p:nvPr/>
          </p:nvSpPr>
          <p:spPr bwMode="gray">
            <a:xfrm>
              <a:off x="7192593" y="3825664"/>
              <a:ext cx="1627557" cy="82475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"Passive" audience</a:t>
              </a:r>
            </a:p>
          </p:txBody>
        </p:sp>
        <p:sp>
          <p:nvSpPr>
            <p:cNvPr id="1003" name="Rechteck 1002"/>
            <p:cNvSpPr/>
            <p:nvPr/>
          </p:nvSpPr>
          <p:spPr bwMode="gray">
            <a:xfrm>
              <a:off x="1951406" y="3935906"/>
              <a:ext cx="1846643" cy="6042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cs typeface="Arial" charset="0"/>
                </a:rPr>
                <a:t>Mass</a:t>
              </a:r>
            </a:p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cs typeface="Arial" charset="0"/>
                </a:rPr>
                <a:t>communication</a:t>
              </a:r>
            </a:p>
          </p:txBody>
        </p:sp>
        <p:sp>
          <p:nvSpPr>
            <p:cNvPr id="1004" name="Rechteck 1003"/>
            <p:cNvSpPr/>
            <p:nvPr/>
          </p:nvSpPr>
          <p:spPr bwMode="gray">
            <a:xfrm>
              <a:off x="5425608" y="3935906"/>
              <a:ext cx="1766986" cy="6042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cs typeface="Arial" charset="0"/>
                </a:rPr>
                <a:t>Personal</a:t>
              </a:r>
            </a:p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cs typeface="Arial" charset="0"/>
                </a:rPr>
                <a:t> communication</a:t>
              </a:r>
            </a:p>
          </p:txBody>
        </p:sp>
      </p:grpSp>
      <p:sp>
        <p:nvSpPr>
          <p:cNvPr id="342" name="Pfeil nach oben 341"/>
          <p:cNvSpPr/>
          <p:nvPr/>
        </p:nvSpPr>
        <p:spPr bwMode="auto">
          <a:xfrm rot="5400000">
            <a:off x="2813053" y="3316307"/>
            <a:ext cx="123350" cy="1846643"/>
          </a:xfrm>
          <a:prstGeom prst="upArrow">
            <a:avLst/>
          </a:prstGeom>
          <a:solidFill>
            <a:srgbClr val="969696"/>
          </a:solidFill>
          <a:ln w="12700">
            <a:solidFill>
              <a:srgbClr val="FFFFFF"/>
            </a:solidFill>
            <a:round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346" name="Pfeil nach oben 345"/>
          <p:cNvSpPr/>
          <p:nvPr/>
        </p:nvSpPr>
        <p:spPr bwMode="auto">
          <a:xfrm rot="5400000">
            <a:off x="6245163" y="3353876"/>
            <a:ext cx="123350" cy="1771509"/>
          </a:xfrm>
          <a:prstGeom prst="upArrow">
            <a:avLst/>
          </a:prstGeom>
          <a:solidFill>
            <a:srgbClr val="969696"/>
          </a:solidFill>
          <a:ln w="12700">
            <a:solidFill>
              <a:srgbClr val="FFFFFF"/>
            </a:solidFill>
            <a:round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en-US" noProof="1" smtClean="0"/>
          </a:p>
        </p:txBody>
      </p:sp>
    </p:spTree>
    <p:extLst>
      <p:ext uri="{BB962C8B-B14F-4D97-AF65-F5344CB8AC3E}">
        <p14:creationId xmlns:p14="http://schemas.microsoft.com/office/powerpoint/2010/main" val="4613414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ustomer Satisfaction </a:t>
            </a:r>
            <a:r>
              <a:rPr lang="en-US" b="0" noProof="1" smtClean="0"/>
              <a:t>- Graphic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Graphic of customer satisfaction as a result between expectation and perceived performance quality (Customer satisfaction = B / A)</a:t>
            </a:r>
            <a:endParaRPr lang="en-US" noProof="1"/>
          </a:p>
        </p:txBody>
      </p:sp>
      <p:grpSp>
        <p:nvGrpSpPr>
          <p:cNvPr id="5" name="Gruppieren 38"/>
          <p:cNvGrpSpPr/>
          <p:nvPr/>
        </p:nvGrpSpPr>
        <p:grpSpPr>
          <a:xfrm>
            <a:off x="1214803" y="2034988"/>
            <a:ext cx="6771545" cy="3767325"/>
            <a:chOff x="1214803" y="2034988"/>
            <a:chExt cx="6771545" cy="3767325"/>
          </a:xfrm>
        </p:grpSpPr>
        <p:pic>
          <p:nvPicPr>
            <p:cNvPr id="107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533267" y="4879126"/>
              <a:ext cx="1919682" cy="786728"/>
            </a:xfrm>
            <a:prstGeom prst="rect">
              <a:avLst/>
            </a:prstGeom>
            <a:noFill/>
          </p:spPr>
        </p:pic>
        <p:sp>
          <p:nvSpPr>
            <p:cNvPr id="4" name="Rechteck 3"/>
            <p:cNvSpPr/>
            <p:nvPr/>
          </p:nvSpPr>
          <p:spPr bwMode="gray">
            <a:xfrm>
              <a:off x="1993612" y="2093396"/>
              <a:ext cx="1622612" cy="9911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Individual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subjective) expectation of Customer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5642075" y="2715181"/>
              <a:ext cx="1622612" cy="9911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Perceived product- / service quality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3474790" y="5432981"/>
              <a:ext cx="23271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Process of comparison</a:t>
              </a:r>
              <a:endParaRPr lang="en-US" b="1" noProof="1"/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1214803" y="2034988"/>
              <a:ext cx="675185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6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E6E6E6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A</a:t>
              </a:r>
              <a:endParaRPr lang="de-DE" sz="66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E6E6E6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7341620" y="2656773"/>
              <a:ext cx="644728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66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E6E6E6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B</a:t>
              </a:r>
              <a:endParaRPr lang="de-DE" sz="66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E6E6E6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grpSp>
          <p:nvGrpSpPr>
            <p:cNvPr id="6" name="Gruppieren 103"/>
            <p:cNvGrpSpPr/>
            <p:nvPr/>
          </p:nvGrpSpPr>
          <p:grpSpPr bwMode="gray">
            <a:xfrm>
              <a:off x="3634273" y="2179363"/>
              <a:ext cx="2002454" cy="3220758"/>
              <a:chOff x="9426814" y="1688046"/>
              <a:chExt cx="2671763" cy="4297279"/>
            </a:xfrm>
          </p:grpSpPr>
          <p:sp>
            <p:nvSpPr>
              <p:cNvPr id="3077" name="Freeform 5"/>
              <p:cNvSpPr>
                <a:spLocks/>
              </p:cNvSpPr>
              <p:nvPr/>
            </p:nvSpPr>
            <p:spPr bwMode="gray">
              <a:xfrm>
                <a:off x="9426814" y="1751601"/>
                <a:ext cx="2671763" cy="4183180"/>
              </a:xfrm>
              <a:custGeom>
                <a:avLst/>
                <a:gdLst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904 w 10000"/>
                  <a:gd name="connsiteY141" fmla="*/ 5531 h 10000"/>
                  <a:gd name="connsiteX142" fmla="*/ 5913 w 10000"/>
                  <a:gd name="connsiteY142" fmla="*/ 5537 h 10000"/>
                  <a:gd name="connsiteX143" fmla="*/ 5913 w 10000"/>
                  <a:gd name="connsiteY143" fmla="*/ 5250 h 10000"/>
                  <a:gd name="connsiteX144" fmla="*/ 5850 w 10000"/>
                  <a:gd name="connsiteY144" fmla="*/ 5289 h 10000"/>
                  <a:gd name="connsiteX145" fmla="*/ 5806 w 10000"/>
                  <a:gd name="connsiteY145" fmla="*/ 4632 h 10000"/>
                  <a:gd name="connsiteX146" fmla="*/ 5788 w 10000"/>
                  <a:gd name="connsiteY146" fmla="*/ 4525 h 10000"/>
                  <a:gd name="connsiteX147" fmla="*/ 5833 w 10000"/>
                  <a:gd name="connsiteY147" fmla="*/ 4480 h 10000"/>
                  <a:gd name="connsiteX148" fmla="*/ 5833 w 10000"/>
                  <a:gd name="connsiteY148" fmla="*/ 4418 h 10000"/>
                  <a:gd name="connsiteX149" fmla="*/ 5744 w 10000"/>
                  <a:gd name="connsiteY149" fmla="*/ 4205 h 10000"/>
                  <a:gd name="connsiteX150" fmla="*/ 5752 w 10000"/>
                  <a:gd name="connsiteY150" fmla="*/ 4103 h 10000"/>
                  <a:gd name="connsiteX151" fmla="*/ 5717 w 10000"/>
                  <a:gd name="connsiteY151" fmla="*/ 4025 h 10000"/>
                  <a:gd name="connsiteX152" fmla="*/ 5717 w 10000"/>
                  <a:gd name="connsiteY152" fmla="*/ 3822 h 10000"/>
                  <a:gd name="connsiteX153" fmla="*/ 5833 w 10000"/>
                  <a:gd name="connsiteY153" fmla="*/ 3721 h 10000"/>
                  <a:gd name="connsiteX154" fmla="*/ 5824 w 10000"/>
                  <a:gd name="connsiteY154" fmla="*/ 3508 h 10000"/>
                  <a:gd name="connsiteX155" fmla="*/ 5833 w 10000"/>
                  <a:gd name="connsiteY155" fmla="*/ 3474 h 10000"/>
                  <a:gd name="connsiteX156" fmla="*/ 5895 w 10000"/>
                  <a:gd name="connsiteY156" fmla="*/ 3412 h 10000"/>
                  <a:gd name="connsiteX157" fmla="*/ 5904 w 10000"/>
                  <a:gd name="connsiteY157" fmla="*/ 3333 h 10000"/>
                  <a:gd name="connsiteX158" fmla="*/ 5993 w 10000"/>
                  <a:gd name="connsiteY158" fmla="*/ 3243 h 10000"/>
                  <a:gd name="connsiteX159" fmla="*/ 6011 w 10000"/>
                  <a:gd name="connsiteY159" fmla="*/ 3159 h 10000"/>
                  <a:gd name="connsiteX160" fmla="*/ 6100 w 10000"/>
                  <a:gd name="connsiteY160" fmla="*/ 3058 h 10000"/>
                  <a:gd name="connsiteX161" fmla="*/ 6224 w 10000"/>
                  <a:gd name="connsiteY161" fmla="*/ 2934 h 10000"/>
                  <a:gd name="connsiteX162" fmla="*/ 6224 w 10000"/>
                  <a:gd name="connsiteY162" fmla="*/ 2945 h 10000"/>
                  <a:gd name="connsiteX163" fmla="*/ 6233 w 10000"/>
                  <a:gd name="connsiteY163" fmla="*/ 2906 h 10000"/>
                  <a:gd name="connsiteX164" fmla="*/ 6750 w 10000"/>
                  <a:gd name="connsiteY164" fmla="*/ 3249 h 10000"/>
                  <a:gd name="connsiteX165" fmla="*/ 7035 w 10000"/>
                  <a:gd name="connsiteY165" fmla="*/ 3479 h 10000"/>
                  <a:gd name="connsiteX166" fmla="*/ 7231 w 10000"/>
                  <a:gd name="connsiteY166" fmla="*/ 3564 h 10000"/>
                  <a:gd name="connsiteX167" fmla="*/ 7471 w 10000"/>
                  <a:gd name="connsiteY167" fmla="*/ 3474 h 10000"/>
                  <a:gd name="connsiteX168" fmla="*/ 7667 w 10000"/>
                  <a:gd name="connsiteY168" fmla="*/ 3339 h 10000"/>
                  <a:gd name="connsiteX169" fmla="*/ 8059 w 10000"/>
                  <a:gd name="connsiteY169" fmla="*/ 3080 h 10000"/>
                  <a:gd name="connsiteX170" fmla="*/ 8397 w 10000"/>
                  <a:gd name="connsiteY170" fmla="*/ 2782 h 10000"/>
                  <a:gd name="connsiteX171" fmla="*/ 8549 w 10000"/>
                  <a:gd name="connsiteY171" fmla="*/ 2619 h 10000"/>
                  <a:gd name="connsiteX172" fmla="*/ 8905 w 10000"/>
                  <a:gd name="connsiteY172" fmla="*/ 2361 h 10000"/>
                  <a:gd name="connsiteX173" fmla="*/ 9172 w 10000"/>
                  <a:gd name="connsiteY173" fmla="*/ 2333 h 10000"/>
                  <a:gd name="connsiteX174" fmla="*/ 9546 w 10000"/>
                  <a:gd name="connsiteY174" fmla="*/ 2333 h 10000"/>
                  <a:gd name="connsiteX175" fmla="*/ 9688 w 10000"/>
                  <a:gd name="connsiteY175" fmla="*/ 2333 h 10000"/>
                  <a:gd name="connsiteX176" fmla="*/ 9902 w 10000"/>
                  <a:gd name="connsiteY176" fmla="*/ 2316 h 10000"/>
                  <a:gd name="connsiteX177" fmla="*/ 9697 w 10000"/>
                  <a:gd name="connsiteY177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904 w 10000"/>
                  <a:gd name="connsiteY141" fmla="*/ 5531 h 10000"/>
                  <a:gd name="connsiteX142" fmla="*/ 5913 w 10000"/>
                  <a:gd name="connsiteY142" fmla="*/ 5250 h 10000"/>
                  <a:gd name="connsiteX143" fmla="*/ 5850 w 10000"/>
                  <a:gd name="connsiteY143" fmla="*/ 5289 h 10000"/>
                  <a:gd name="connsiteX144" fmla="*/ 5806 w 10000"/>
                  <a:gd name="connsiteY144" fmla="*/ 4632 h 10000"/>
                  <a:gd name="connsiteX145" fmla="*/ 5788 w 10000"/>
                  <a:gd name="connsiteY145" fmla="*/ 4525 h 10000"/>
                  <a:gd name="connsiteX146" fmla="*/ 5833 w 10000"/>
                  <a:gd name="connsiteY146" fmla="*/ 4480 h 10000"/>
                  <a:gd name="connsiteX147" fmla="*/ 5833 w 10000"/>
                  <a:gd name="connsiteY147" fmla="*/ 4418 h 10000"/>
                  <a:gd name="connsiteX148" fmla="*/ 5744 w 10000"/>
                  <a:gd name="connsiteY148" fmla="*/ 4205 h 10000"/>
                  <a:gd name="connsiteX149" fmla="*/ 5752 w 10000"/>
                  <a:gd name="connsiteY149" fmla="*/ 4103 h 10000"/>
                  <a:gd name="connsiteX150" fmla="*/ 5717 w 10000"/>
                  <a:gd name="connsiteY150" fmla="*/ 4025 h 10000"/>
                  <a:gd name="connsiteX151" fmla="*/ 5717 w 10000"/>
                  <a:gd name="connsiteY151" fmla="*/ 3822 h 10000"/>
                  <a:gd name="connsiteX152" fmla="*/ 5833 w 10000"/>
                  <a:gd name="connsiteY152" fmla="*/ 3721 h 10000"/>
                  <a:gd name="connsiteX153" fmla="*/ 5824 w 10000"/>
                  <a:gd name="connsiteY153" fmla="*/ 3508 h 10000"/>
                  <a:gd name="connsiteX154" fmla="*/ 5833 w 10000"/>
                  <a:gd name="connsiteY154" fmla="*/ 3474 h 10000"/>
                  <a:gd name="connsiteX155" fmla="*/ 5895 w 10000"/>
                  <a:gd name="connsiteY155" fmla="*/ 3412 h 10000"/>
                  <a:gd name="connsiteX156" fmla="*/ 5904 w 10000"/>
                  <a:gd name="connsiteY156" fmla="*/ 3333 h 10000"/>
                  <a:gd name="connsiteX157" fmla="*/ 5993 w 10000"/>
                  <a:gd name="connsiteY157" fmla="*/ 3243 h 10000"/>
                  <a:gd name="connsiteX158" fmla="*/ 6011 w 10000"/>
                  <a:gd name="connsiteY158" fmla="*/ 3159 h 10000"/>
                  <a:gd name="connsiteX159" fmla="*/ 6100 w 10000"/>
                  <a:gd name="connsiteY159" fmla="*/ 3058 h 10000"/>
                  <a:gd name="connsiteX160" fmla="*/ 6224 w 10000"/>
                  <a:gd name="connsiteY160" fmla="*/ 2934 h 10000"/>
                  <a:gd name="connsiteX161" fmla="*/ 6224 w 10000"/>
                  <a:gd name="connsiteY161" fmla="*/ 2945 h 10000"/>
                  <a:gd name="connsiteX162" fmla="*/ 6233 w 10000"/>
                  <a:gd name="connsiteY162" fmla="*/ 2906 h 10000"/>
                  <a:gd name="connsiteX163" fmla="*/ 6750 w 10000"/>
                  <a:gd name="connsiteY163" fmla="*/ 3249 h 10000"/>
                  <a:gd name="connsiteX164" fmla="*/ 7035 w 10000"/>
                  <a:gd name="connsiteY164" fmla="*/ 3479 h 10000"/>
                  <a:gd name="connsiteX165" fmla="*/ 7231 w 10000"/>
                  <a:gd name="connsiteY165" fmla="*/ 3564 h 10000"/>
                  <a:gd name="connsiteX166" fmla="*/ 7471 w 10000"/>
                  <a:gd name="connsiteY166" fmla="*/ 3474 h 10000"/>
                  <a:gd name="connsiteX167" fmla="*/ 7667 w 10000"/>
                  <a:gd name="connsiteY167" fmla="*/ 3339 h 10000"/>
                  <a:gd name="connsiteX168" fmla="*/ 8059 w 10000"/>
                  <a:gd name="connsiteY168" fmla="*/ 3080 h 10000"/>
                  <a:gd name="connsiteX169" fmla="*/ 8397 w 10000"/>
                  <a:gd name="connsiteY169" fmla="*/ 2782 h 10000"/>
                  <a:gd name="connsiteX170" fmla="*/ 8549 w 10000"/>
                  <a:gd name="connsiteY170" fmla="*/ 2619 h 10000"/>
                  <a:gd name="connsiteX171" fmla="*/ 8905 w 10000"/>
                  <a:gd name="connsiteY171" fmla="*/ 2361 h 10000"/>
                  <a:gd name="connsiteX172" fmla="*/ 9172 w 10000"/>
                  <a:gd name="connsiteY172" fmla="*/ 2333 h 10000"/>
                  <a:gd name="connsiteX173" fmla="*/ 9546 w 10000"/>
                  <a:gd name="connsiteY173" fmla="*/ 2333 h 10000"/>
                  <a:gd name="connsiteX174" fmla="*/ 9688 w 10000"/>
                  <a:gd name="connsiteY174" fmla="*/ 2333 h 10000"/>
                  <a:gd name="connsiteX175" fmla="*/ 9902 w 10000"/>
                  <a:gd name="connsiteY175" fmla="*/ 2316 h 10000"/>
                  <a:gd name="connsiteX176" fmla="*/ 9697 w 10000"/>
                  <a:gd name="connsiteY176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904 w 10000"/>
                  <a:gd name="connsiteY141" fmla="*/ 5531 h 10000"/>
                  <a:gd name="connsiteX142" fmla="*/ 5850 w 10000"/>
                  <a:gd name="connsiteY142" fmla="*/ 5289 h 10000"/>
                  <a:gd name="connsiteX143" fmla="*/ 5806 w 10000"/>
                  <a:gd name="connsiteY143" fmla="*/ 4632 h 10000"/>
                  <a:gd name="connsiteX144" fmla="*/ 5788 w 10000"/>
                  <a:gd name="connsiteY144" fmla="*/ 4525 h 10000"/>
                  <a:gd name="connsiteX145" fmla="*/ 5833 w 10000"/>
                  <a:gd name="connsiteY145" fmla="*/ 4480 h 10000"/>
                  <a:gd name="connsiteX146" fmla="*/ 5833 w 10000"/>
                  <a:gd name="connsiteY146" fmla="*/ 4418 h 10000"/>
                  <a:gd name="connsiteX147" fmla="*/ 5744 w 10000"/>
                  <a:gd name="connsiteY147" fmla="*/ 4205 h 10000"/>
                  <a:gd name="connsiteX148" fmla="*/ 5752 w 10000"/>
                  <a:gd name="connsiteY148" fmla="*/ 4103 h 10000"/>
                  <a:gd name="connsiteX149" fmla="*/ 5717 w 10000"/>
                  <a:gd name="connsiteY149" fmla="*/ 4025 h 10000"/>
                  <a:gd name="connsiteX150" fmla="*/ 5717 w 10000"/>
                  <a:gd name="connsiteY150" fmla="*/ 3822 h 10000"/>
                  <a:gd name="connsiteX151" fmla="*/ 5833 w 10000"/>
                  <a:gd name="connsiteY151" fmla="*/ 3721 h 10000"/>
                  <a:gd name="connsiteX152" fmla="*/ 5824 w 10000"/>
                  <a:gd name="connsiteY152" fmla="*/ 3508 h 10000"/>
                  <a:gd name="connsiteX153" fmla="*/ 5833 w 10000"/>
                  <a:gd name="connsiteY153" fmla="*/ 3474 h 10000"/>
                  <a:gd name="connsiteX154" fmla="*/ 5895 w 10000"/>
                  <a:gd name="connsiteY154" fmla="*/ 3412 h 10000"/>
                  <a:gd name="connsiteX155" fmla="*/ 5904 w 10000"/>
                  <a:gd name="connsiteY155" fmla="*/ 3333 h 10000"/>
                  <a:gd name="connsiteX156" fmla="*/ 5993 w 10000"/>
                  <a:gd name="connsiteY156" fmla="*/ 3243 h 10000"/>
                  <a:gd name="connsiteX157" fmla="*/ 6011 w 10000"/>
                  <a:gd name="connsiteY157" fmla="*/ 3159 h 10000"/>
                  <a:gd name="connsiteX158" fmla="*/ 6100 w 10000"/>
                  <a:gd name="connsiteY158" fmla="*/ 3058 h 10000"/>
                  <a:gd name="connsiteX159" fmla="*/ 6224 w 10000"/>
                  <a:gd name="connsiteY159" fmla="*/ 2934 h 10000"/>
                  <a:gd name="connsiteX160" fmla="*/ 6224 w 10000"/>
                  <a:gd name="connsiteY160" fmla="*/ 2945 h 10000"/>
                  <a:gd name="connsiteX161" fmla="*/ 6233 w 10000"/>
                  <a:gd name="connsiteY161" fmla="*/ 2906 h 10000"/>
                  <a:gd name="connsiteX162" fmla="*/ 6750 w 10000"/>
                  <a:gd name="connsiteY162" fmla="*/ 3249 h 10000"/>
                  <a:gd name="connsiteX163" fmla="*/ 7035 w 10000"/>
                  <a:gd name="connsiteY163" fmla="*/ 3479 h 10000"/>
                  <a:gd name="connsiteX164" fmla="*/ 7231 w 10000"/>
                  <a:gd name="connsiteY164" fmla="*/ 3564 h 10000"/>
                  <a:gd name="connsiteX165" fmla="*/ 7471 w 10000"/>
                  <a:gd name="connsiteY165" fmla="*/ 3474 h 10000"/>
                  <a:gd name="connsiteX166" fmla="*/ 7667 w 10000"/>
                  <a:gd name="connsiteY166" fmla="*/ 3339 h 10000"/>
                  <a:gd name="connsiteX167" fmla="*/ 8059 w 10000"/>
                  <a:gd name="connsiteY167" fmla="*/ 3080 h 10000"/>
                  <a:gd name="connsiteX168" fmla="*/ 8397 w 10000"/>
                  <a:gd name="connsiteY168" fmla="*/ 2782 h 10000"/>
                  <a:gd name="connsiteX169" fmla="*/ 8549 w 10000"/>
                  <a:gd name="connsiteY169" fmla="*/ 2619 h 10000"/>
                  <a:gd name="connsiteX170" fmla="*/ 8905 w 10000"/>
                  <a:gd name="connsiteY170" fmla="*/ 2361 h 10000"/>
                  <a:gd name="connsiteX171" fmla="*/ 9172 w 10000"/>
                  <a:gd name="connsiteY171" fmla="*/ 2333 h 10000"/>
                  <a:gd name="connsiteX172" fmla="*/ 9546 w 10000"/>
                  <a:gd name="connsiteY172" fmla="*/ 2333 h 10000"/>
                  <a:gd name="connsiteX173" fmla="*/ 9688 w 10000"/>
                  <a:gd name="connsiteY173" fmla="*/ 2333 h 10000"/>
                  <a:gd name="connsiteX174" fmla="*/ 9902 w 10000"/>
                  <a:gd name="connsiteY174" fmla="*/ 2316 h 10000"/>
                  <a:gd name="connsiteX175" fmla="*/ 9697 w 10000"/>
                  <a:gd name="connsiteY175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52 w 10000"/>
                  <a:gd name="connsiteY147" fmla="*/ 4103 h 10000"/>
                  <a:gd name="connsiteX148" fmla="*/ 5717 w 10000"/>
                  <a:gd name="connsiteY148" fmla="*/ 4025 h 10000"/>
                  <a:gd name="connsiteX149" fmla="*/ 5717 w 10000"/>
                  <a:gd name="connsiteY149" fmla="*/ 3822 h 10000"/>
                  <a:gd name="connsiteX150" fmla="*/ 5833 w 10000"/>
                  <a:gd name="connsiteY150" fmla="*/ 3721 h 10000"/>
                  <a:gd name="connsiteX151" fmla="*/ 5824 w 10000"/>
                  <a:gd name="connsiteY151" fmla="*/ 3508 h 10000"/>
                  <a:gd name="connsiteX152" fmla="*/ 5833 w 10000"/>
                  <a:gd name="connsiteY152" fmla="*/ 3474 h 10000"/>
                  <a:gd name="connsiteX153" fmla="*/ 5895 w 10000"/>
                  <a:gd name="connsiteY153" fmla="*/ 3412 h 10000"/>
                  <a:gd name="connsiteX154" fmla="*/ 5904 w 10000"/>
                  <a:gd name="connsiteY154" fmla="*/ 3333 h 10000"/>
                  <a:gd name="connsiteX155" fmla="*/ 5993 w 10000"/>
                  <a:gd name="connsiteY155" fmla="*/ 3243 h 10000"/>
                  <a:gd name="connsiteX156" fmla="*/ 6011 w 10000"/>
                  <a:gd name="connsiteY156" fmla="*/ 3159 h 10000"/>
                  <a:gd name="connsiteX157" fmla="*/ 6100 w 10000"/>
                  <a:gd name="connsiteY157" fmla="*/ 3058 h 10000"/>
                  <a:gd name="connsiteX158" fmla="*/ 6224 w 10000"/>
                  <a:gd name="connsiteY158" fmla="*/ 2934 h 10000"/>
                  <a:gd name="connsiteX159" fmla="*/ 6224 w 10000"/>
                  <a:gd name="connsiteY159" fmla="*/ 2945 h 10000"/>
                  <a:gd name="connsiteX160" fmla="*/ 6233 w 10000"/>
                  <a:gd name="connsiteY160" fmla="*/ 2906 h 10000"/>
                  <a:gd name="connsiteX161" fmla="*/ 6750 w 10000"/>
                  <a:gd name="connsiteY161" fmla="*/ 3249 h 10000"/>
                  <a:gd name="connsiteX162" fmla="*/ 7035 w 10000"/>
                  <a:gd name="connsiteY162" fmla="*/ 3479 h 10000"/>
                  <a:gd name="connsiteX163" fmla="*/ 7231 w 10000"/>
                  <a:gd name="connsiteY163" fmla="*/ 3564 h 10000"/>
                  <a:gd name="connsiteX164" fmla="*/ 7471 w 10000"/>
                  <a:gd name="connsiteY164" fmla="*/ 3474 h 10000"/>
                  <a:gd name="connsiteX165" fmla="*/ 7667 w 10000"/>
                  <a:gd name="connsiteY165" fmla="*/ 3339 h 10000"/>
                  <a:gd name="connsiteX166" fmla="*/ 8059 w 10000"/>
                  <a:gd name="connsiteY166" fmla="*/ 3080 h 10000"/>
                  <a:gd name="connsiteX167" fmla="*/ 8397 w 10000"/>
                  <a:gd name="connsiteY167" fmla="*/ 2782 h 10000"/>
                  <a:gd name="connsiteX168" fmla="*/ 8549 w 10000"/>
                  <a:gd name="connsiteY168" fmla="*/ 2619 h 10000"/>
                  <a:gd name="connsiteX169" fmla="*/ 8905 w 10000"/>
                  <a:gd name="connsiteY169" fmla="*/ 2361 h 10000"/>
                  <a:gd name="connsiteX170" fmla="*/ 9172 w 10000"/>
                  <a:gd name="connsiteY170" fmla="*/ 2333 h 10000"/>
                  <a:gd name="connsiteX171" fmla="*/ 9546 w 10000"/>
                  <a:gd name="connsiteY171" fmla="*/ 2333 h 10000"/>
                  <a:gd name="connsiteX172" fmla="*/ 9688 w 10000"/>
                  <a:gd name="connsiteY172" fmla="*/ 2333 h 10000"/>
                  <a:gd name="connsiteX173" fmla="*/ 9902 w 10000"/>
                  <a:gd name="connsiteY173" fmla="*/ 2316 h 10000"/>
                  <a:gd name="connsiteX174" fmla="*/ 9697 w 10000"/>
                  <a:gd name="connsiteY174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33 w 10000"/>
                  <a:gd name="connsiteY149" fmla="*/ 3721 h 10000"/>
                  <a:gd name="connsiteX150" fmla="*/ 5824 w 10000"/>
                  <a:gd name="connsiteY150" fmla="*/ 3508 h 10000"/>
                  <a:gd name="connsiteX151" fmla="*/ 5833 w 10000"/>
                  <a:gd name="connsiteY151" fmla="*/ 3474 h 10000"/>
                  <a:gd name="connsiteX152" fmla="*/ 5895 w 10000"/>
                  <a:gd name="connsiteY152" fmla="*/ 3412 h 10000"/>
                  <a:gd name="connsiteX153" fmla="*/ 5904 w 10000"/>
                  <a:gd name="connsiteY153" fmla="*/ 3333 h 10000"/>
                  <a:gd name="connsiteX154" fmla="*/ 5993 w 10000"/>
                  <a:gd name="connsiteY154" fmla="*/ 3243 h 10000"/>
                  <a:gd name="connsiteX155" fmla="*/ 6011 w 10000"/>
                  <a:gd name="connsiteY155" fmla="*/ 3159 h 10000"/>
                  <a:gd name="connsiteX156" fmla="*/ 6100 w 10000"/>
                  <a:gd name="connsiteY156" fmla="*/ 3058 h 10000"/>
                  <a:gd name="connsiteX157" fmla="*/ 6224 w 10000"/>
                  <a:gd name="connsiteY157" fmla="*/ 2934 h 10000"/>
                  <a:gd name="connsiteX158" fmla="*/ 6224 w 10000"/>
                  <a:gd name="connsiteY158" fmla="*/ 2945 h 10000"/>
                  <a:gd name="connsiteX159" fmla="*/ 6233 w 10000"/>
                  <a:gd name="connsiteY159" fmla="*/ 2906 h 10000"/>
                  <a:gd name="connsiteX160" fmla="*/ 6750 w 10000"/>
                  <a:gd name="connsiteY160" fmla="*/ 3249 h 10000"/>
                  <a:gd name="connsiteX161" fmla="*/ 7035 w 10000"/>
                  <a:gd name="connsiteY161" fmla="*/ 3479 h 10000"/>
                  <a:gd name="connsiteX162" fmla="*/ 7231 w 10000"/>
                  <a:gd name="connsiteY162" fmla="*/ 3564 h 10000"/>
                  <a:gd name="connsiteX163" fmla="*/ 7471 w 10000"/>
                  <a:gd name="connsiteY163" fmla="*/ 3474 h 10000"/>
                  <a:gd name="connsiteX164" fmla="*/ 7667 w 10000"/>
                  <a:gd name="connsiteY164" fmla="*/ 3339 h 10000"/>
                  <a:gd name="connsiteX165" fmla="*/ 8059 w 10000"/>
                  <a:gd name="connsiteY165" fmla="*/ 3080 h 10000"/>
                  <a:gd name="connsiteX166" fmla="*/ 8397 w 10000"/>
                  <a:gd name="connsiteY166" fmla="*/ 2782 h 10000"/>
                  <a:gd name="connsiteX167" fmla="*/ 8549 w 10000"/>
                  <a:gd name="connsiteY167" fmla="*/ 2619 h 10000"/>
                  <a:gd name="connsiteX168" fmla="*/ 8905 w 10000"/>
                  <a:gd name="connsiteY168" fmla="*/ 2361 h 10000"/>
                  <a:gd name="connsiteX169" fmla="*/ 9172 w 10000"/>
                  <a:gd name="connsiteY169" fmla="*/ 2333 h 10000"/>
                  <a:gd name="connsiteX170" fmla="*/ 9546 w 10000"/>
                  <a:gd name="connsiteY170" fmla="*/ 2333 h 10000"/>
                  <a:gd name="connsiteX171" fmla="*/ 9688 w 10000"/>
                  <a:gd name="connsiteY171" fmla="*/ 2333 h 10000"/>
                  <a:gd name="connsiteX172" fmla="*/ 9902 w 10000"/>
                  <a:gd name="connsiteY172" fmla="*/ 2316 h 10000"/>
                  <a:gd name="connsiteX173" fmla="*/ 9697 w 10000"/>
                  <a:gd name="connsiteY173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895 w 10000"/>
                  <a:gd name="connsiteY151" fmla="*/ 3412 h 10000"/>
                  <a:gd name="connsiteX152" fmla="*/ 5904 w 10000"/>
                  <a:gd name="connsiteY152" fmla="*/ 3333 h 10000"/>
                  <a:gd name="connsiteX153" fmla="*/ 5993 w 10000"/>
                  <a:gd name="connsiteY153" fmla="*/ 3243 h 10000"/>
                  <a:gd name="connsiteX154" fmla="*/ 6011 w 10000"/>
                  <a:gd name="connsiteY154" fmla="*/ 3159 h 10000"/>
                  <a:gd name="connsiteX155" fmla="*/ 6100 w 10000"/>
                  <a:gd name="connsiteY155" fmla="*/ 3058 h 10000"/>
                  <a:gd name="connsiteX156" fmla="*/ 6224 w 10000"/>
                  <a:gd name="connsiteY156" fmla="*/ 2934 h 10000"/>
                  <a:gd name="connsiteX157" fmla="*/ 6224 w 10000"/>
                  <a:gd name="connsiteY157" fmla="*/ 2945 h 10000"/>
                  <a:gd name="connsiteX158" fmla="*/ 6233 w 10000"/>
                  <a:gd name="connsiteY158" fmla="*/ 2906 h 10000"/>
                  <a:gd name="connsiteX159" fmla="*/ 6750 w 10000"/>
                  <a:gd name="connsiteY159" fmla="*/ 3249 h 10000"/>
                  <a:gd name="connsiteX160" fmla="*/ 7035 w 10000"/>
                  <a:gd name="connsiteY160" fmla="*/ 3479 h 10000"/>
                  <a:gd name="connsiteX161" fmla="*/ 7231 w 10000"/>
                  <a:gd name="connsiteY161" fmla="*/ 3564 h 10000"/>
                  <a:gd name="connsiteX162" fmla="*/ 7471 w 10000"/>
                  <a:gd name="connsiteY162" fmla="*/ 3474 h 10000"/>
                  <a:gd name="connsiteX163" fmla="*/ 7667 w 10000"/>
                  <a:gd name="connsiteY163" fmla="*/ 3339 h 10000"/>
                  <a:gd name="connsiteX164" fmla="*/ 8059 w 10000"/>
                  <a:gd name="connsiteY164" fmla="*/ 3080 h 10000"/>
                  <a:gd name="connsiteX165" fmla="*/ 8397 w 10000"/>
                  <a:gd name="connsiteY165" fmla="*/ 2782 h 10000"/>
                  <a:gd name="connsiteX166" fmla="*/ 8549 w 10000"/>
                  <a:gd name="connsiteY166" fmla="*/ 2619 h 10000"/>
                  <a:gd name="connsiteX167" fmla="*/ 8905 w 10000"/>
                  <a:gd name="connsiteY167" fmla="*/ 2361 h 10000"/>
                  <a:gd name="connsiteX168" fmla="*/ 9172 w 10000"/>
                  <a:gd name="connsiteY168" fmla="*/ 2333 h 10000"/>
                  <a:gd name="connsiteX169" fmla="*/ 9546 w 10000"/>
                  <a:gd name="connsiteY169" fmla="*/ 2333 h 10000"/>
                  <a:gd name="connsiteX170" fmla="*/ 9688 w 10000"/>
                  <a:gd name="connsiteY170" fmla="*/ 2333 h 10000"/>
                  <a:gd name="connsiteX171" fmla="*/ 9902 w 10000"/>
                  <a:gd name="connsiteY171" fmla="*/ 2316 h 10000"/>
                  <a:gd name="connsiteX172" fmla="*/ 9697 w 10000"/>
                  <a:gd name="connsiteY172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904 w 10000"/>
                  <a:gd name="connsiteY151" fmla="*/ 3333 h 10000"/>
                  <a:gd name="connsiteX152" fmla="*/ 5993 w 10000"/>
                  <a:gd name="connsiteY152" fmla="*/ 3243 h 10000"/>
                  <a:gd name="connsiteX153" fmla="*/ 6011 w 10000"/>
                  <a:gd name="connsiteY153" fmla="*/ 3159 h 10000"/>
                  <a:gd name="connsiteX154" fmla="*/ 6100 w 10000"/>
                  <a:gd name="connsiteY154" fmla="*/ 3058 h 10000"/>
                  <a:gd name="connsiteX155" fmla="*/ 6224 w 10000"/>
                  <a:gd name="connsiteY155" fmla="*/ 2934 h 10000"/>
                  <a:gd name="connsiteX156" fmla="*/ 6224 w 10000"/>
                  <a:gd name="connsiteY156" fmla="*/ 2945 h 10000"/>
                  <a:gd name="connsiteX157" fmla="*/ 6233 w 10000"/>
                  <a:gd name="connsiteY157" fmla="*/ 2906 h 10000"/>
                  <a:gd name="connsiteX158" fmla="*/ 6750 w 10000"/>
                  <a:gd name="connsiteY158" fmla="*/ 3249 h 10000"/>
                  <a:gd name="connsiteX159" fmla="*/ 7035 w 10000"/>
                  <a:gd name="connsiteY159" fmla="*/ 3479 h 10000"/>
                  <a:gd name="connsiteX160" fmla="*/ 7231 w 10000"/>
                  <a:gd name="connsiteY160" fmla="*/ 3564 h 10000"/>
                  <a:gd name="connsiteX161" fmla="*/ 7471 w 10000"/>
                  <a:gd name="connsiteY161" fmla="*/ 3474 h 10000"/>
                  <a:gd name="connsiteX162" fmla="*/ 7667 w 10000"/>
                  <a:gd name="connsiteY162" fmla="*/ 3339 h 10000"/>
                  <a:gd name="connsiteX163" fmla="*/ 8059 w 10000"/>
                  <a:gd name="connsiteY163" fmla="*/ 3080 h 10000"/>
                  <a:gd name="connsiteX164" fmla="*/ 8397 w 10000"/>
                  <a:gd name="connsiteY164" fmla="*/ 2782 h 10000"/>
                  <a:gd name="connsiteX165" fmla="*/ 8549 w 10000"/>
                  <a:gd name="connsiteY165" fmla="*/ 2619 h 10000"/>
                  <a:gd name="connsiteX166" fmla="*/ 8905 w 10000"/>
                  <a:gd name="connsiteY166" fmla="*/ 2361 h 10000"/>
                  <a:gd name="connsiteX167" fmla="*/ 9172 w 10000"/>
                  <a:gd name="connsiteY167" fmla="*/ 2333 h 10000"/>
                  <a:gd name="connsiteX168" fmla="*/ 9546 w 10000"/>
                  <a:gd name="connsiteY168" fmla="*/ 2333 h 10000"/>
                  <a:gd name="connsiteX169" fmla="*/ 9688 w 10000"/>
                  <a:gd name="connsiteY169" fmla="*/ 2333 h 10000"/>
                  <a:gd name="connsiteX170" fmla="*/ 9902 w 10000"/>
                  <a:gd name="connsiteY170" fmla="*/ 2316 h 10000"/>
                  <a:gd name="connsiteX171" fmla="*/ 9697 w 10000"/>
                  <a:gd name="connsiteY171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904 w 10000"/>
                  <a:gd name="connsiteY151" fmla="*/ 3333 h 10000"/>
                  <a:gd name="connsiteX152" fmla="*/ 6011 w 10000"/>
                  <a:gd name="connsiteY152" fmla="*/ 3159 h 10000"/>
                  <a:gd name="connsiteX153" fmla="*/ 6100 w 10000"/>
                  <a:gd name="connsiteY153" fmla="*/ 3058 h 10000"/>
                  <a:gd name="connsiteX154" fmla="*/ 6224 w 10000"/>
                  <a:gd name="connsiteY154" fmla="*/ 2934 h 10000"/>
                  <a:gd name="connsiteX155" fmla="*/ 6224 w 10000"/>
                  <a:gd name="connsiteY155" fmla="*/ 2945 h 10000"/>
                  <a:gd name="connsiteX156" fmla="*/ 6233 w 10000"/>
                  <a:gd name="connsiteY156" fmla="*/ 2906 h 10000"/>
                  <a:gd name="connsiteX157" fmla="*/ 6750 w 10000"/>
                  <a:gd name="connsiteY157" fmla="*/ 3249 h 10000"/>
                  <a:gd name="connsiteX158" fmla="*/ 7035 w 10000"/>
                  <a:gd name="connsiteY158" fmla="*/ 3479 h 10000"/>
                  <a:gd name="connsiteX159" fmla="*/ 7231 w 10000"/>
                  <a:gd name="connsiteY159" fmla="*/ 3564 h 10000"/>
                  <a:gd name="connsiteX160" fmla="*/ 7471 w 10000"/>
                  <a:gd name="connsiteY160" fmla="*/ 3474 h 10000"/>
                  <a:gd name="connsiteX161" fmla="*/ 7667 w 10000"/>
                  <a:gd name="connsiteY161" fmla="*/ 3339 h 10000"/>
                  <a:gd name="connsiteX162" fmla="*/ 8059 w 10000"/>
                  <a:gd name="connsiteY162" fmla="*/ 3080 h 10000"/>
                  <a:gd name="connsiteX163" fmla="*/ 8397 w 10000"/>
                  <a:gd name="connsiteY163" fmla="*/ 2782 h 10000"/>
                  <a:gd name="connsiteX164" fmla="*/ 8549 w 10000"/>
                  <a:gd name="connsiteY164" fmla="*/ 2619 h 10000"/>
                  <a:gd name="connsiteX165" fmla="*/ 8905 w 10000"/>
                  <a:gd name="connsiteY165" fmla="*/ 2361 h 10000"/>
                  <a:gd name="connsiteX166" fmla="*/ 9172 w 10000"/>
                  <a:gd name="connsiteY166" fmla="*/ 2333 h 10000"/>
                  <a:gd name="connsiteX167" fmla="*/ 9546 w 10000"/>
                  <a:gd name="connsiteY167" fmla="*/ 2333 h 10000"/>
                  <a:gd name="connsiteX168" fmla="*/ 9688 w 10000"/>
                  <a:gd name="connsiteY168" fmla="*/ 2333 h 10000"/>
                  <a:gd name="connsiteX169" fmla="*/ 9902 w 10000"/>
                  <a:gd name="connsiteY169" fmla="*/ 2316 h 10000"/>
                  <a:gd name="connsiteX170" fmla="*/ 9697 w 10000"/>
                  <a:gd name="connsiteY170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904 w 10000"/>
                  <a:gd name="connsiteY151" fmla="*/ 3333 h 10000"/>
                  <a:gd name="connsiteX152" fmla="*/ 6011 w 10000"/>
                  <a:gd name="connsiteY152" fmla="*/ 3159 h 10000"/>
                  <a:gd name="connsiteX153" fmla="*/ 6224 w 10000"/>
                  <a:gd name="connsiteY153" fmla="*/ 2934 h 10000"/>
                  <a:gd name="connsiteX154" fmla="*/ 6224 w 10000"/>
                  <a:gd name="connsiteY154" fmla="*/ 2945 h 10000"/>
                  <a:gd name="connsiteX155" fmla="*/ 6233 w 10000"/>
                  <a:gd name="connsiteY155" fmla="*/ 2906 h 10000"/>
                  <a:gd name="connsiteX156" fmla="*/ 6750 w 10000"/>
                  <a:gd name="connsiteY156" fmla="*/ 3249 h 10000"/>
                  <a:gd name="connsiteX157" fmla="*/ 7035 w 10000"/>
                  <a:gd name="connsiteY157" fmla="*/ 3479 h 10000"/>
                  <a:gd name="connsiteX158" fmla="*/ 7231 w 10000"/>
                  <a:gd name="connsiteY158" fmla="*/ 3564 h 10000"/>
                  <a:gd name="connsiteX159" fmla="*/ 7471 w 10000"/>
                  <a:gd name="connsiteY159" fmla="*/ 3474 h 10000"/>
                  <a:gd name="connsiteX160" fmla="*/ 7667 w 10000"/>
                  <a:gd name="connsiteY160" fmla="*/ 3339 h 10000"/>
                  <a:gd name="connsiteX161" fmla="*/ 8059 w 10000"/>
                  <a:gd name="connsiteY161" fmla="*/ 3080 h 10000"/>
                  <a:gd name="connsiteX162" fmla="*/ 8397 w 10000"/>
                  <a:gd name="connsiteY162" fmla="*/ 2782 h 10000"/>
                  <a:gd name="connsiteX163" fmla="*/ 8549 w 10000"/>
                  <a:gd name="connsiteY163" fmla="*/ 2619 h 10000"/>
                  <a:gd name="connsiteX164" fmla="*/ 8905 w 10000"/>
                  <a:gd name="connsiteY164" fmla="*/ 2361 h 10000"/>
                  <a:gd name="connsiteX165" fmla="*/ 9172 w 10000"/>
                  <a:gd name="connsiteY165" fmla="*/ 2333 h 10000"/>
                  <a:gd name="connsiteX166" fmla="*/ 9546 w 10000"/>
                  <a:gd name="connsiteY166" fmla="*/ 2333 h 10000"/>
                  <a:gd name="connsiteX167" fmla="*/ 9688 w 10000"/>
                  <a:gd name="connsiteY167" fmla="*/ 2333 h 10000"/>
                  <a:gd name="connsiteX168" fmla="*/ 9902 w 10000"/>
                  <a:gd name="connsiteY168" fmla="*/ 2316 h 10000"/>
                  <a:gd name="connsiteX169" fmla="*/ 9697 w 10000"/>
                  <a:gd name="connsiteY16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904 w 10000"/>
                  <a:gd name="connsiteY151" fmla="*/ 3333 h 10000"/>
                  <a:gd name="connsiteX152" fmla="*/ 5947 w 10000"/>
                  <a:gd name="connsiteY152" fmla="*/ 3092 h 10000"/>
                  <a:gd name="connsiteX153" fmla="*/ 6224 w 10000"/>
                  <a:gd name="connsiteY153" fmla="*/ 2934 h 10000"/>
                  <a:gd name="connsiteX154" fmla="*/ 6224 w 10000"/>
                  <a:gd name="connsiteY154" fmla="*/ 2945 h 10000"/>
                  <a:gd name="connsiteX155" fmla="*/ 6233 w 10000"/>
                  <a:gd name="connsiteY155" fmla="*/ 2906 h 10000"/>
                  <a:gd name="connsiteX156" fmla="*/ 6750 w 10000"/>
                  <a:gd name="connsiteY156" fmla="*/ 3249 h 10000"/>
                  <a:gd name="connsiteX157" fmla="*/ 7035 w 10000"/>
                  <a:gd name="connsiteY157" fmla="*/ 3479 h 10000"/>
                  <a:gd name="connsiteX158" fmla="*/ 7231 w 10000"/>
                  <a:gd name="connsiteY158" fmla="*/ 3564 h 10000"/>
                  <a:gd name="connsiteX159" fmla="*/ 7471 w 10000"/>
                  <a:gd name="connsiteY159" fmla="*/ 3474 h 10000"/>
                  <a:gd name="connsiteX160" fmla="*/ 7667 w 10000"/>
                  <a:gd name="connsiteY160" fmla="*/ 3339 h 10000"/>
                  <a:gd name="connsiteX161" fmla="*/ 8059 w 10000"/>
                  <a:gd name="connsiteY161" fmla="*/ 3080 h 10000"/>
                  <a:gd name="connsiteX162" fmla="*/ 8397 w 10000"/>
                  <a:gd name="connsiteY162" fmla="*/ 2782 h 10000"/>
                  <a:gd name="connsiteX163" fmla="*/ 8549 w 10000"/>
                  <a:gd name="connsiteY163" fmla="*/ 2619 h 10000"/>
                  <a:gd name="connsiteX164" fmla="*/ 8905 w 10000"/>
                  <a:gd name="connsiteY164" fmla="*/ 2361 h 10000"/>
                  <a:gd name="connsiteX165" fmla="*/ 9172 w 10000"/>
                  <a:gd name="connsiteY165" fmla="*/ 2333 h 10000"/>
                  <a:gd name="connsiteX166" fmla="*/ 9546 w 10000"/>
                  <a:gd name="connsiteY166" fmla="*/ 2333 h 10000"/>
                  <a:gd name="connsiteX167" fmla="*/ 9688 w 10000"/>
                  <a:gd name="connsiteY167" fmla="*/ 2333 h 10000"/>
                  <a:gd name="connsiteX168" fmla="*/ 9902 w 10000"/>
                  <a:gd name="connsiteY168" fmla="*/ 2316 h 10000"/>
                  <a:gd name="connsiteX169" fmla="*/ 9697 w 10000"/>
                  <a:gd name="connsiteY16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824 w 10000"/>
                  <a:gd name="connsiteY149" fmla="*/ 3508 h 10000"/>
                  <a:gd name="connsiteX150" fmla="*/ 5833 w 10000"/>
                  <a:gd name="connsiteY150" fmla="*/ 3474 h 10000"/>
                  <a:gd name="connsiteX151" fmla="*/ 5857 w 10000"/>
                  <a:gd name="connsiteY151" fmla="*/ 3290 h 10000"/>
                  <a:gd name="connsiteX152" fmla="*/ 5947 w 10000"/>
                  <a:gd name="connsiteY152" fmla="*/ 3092 h 10000"/>
                  <a:gd name="connsiteX153" fmla="*/ 6224 w 10000"/>
                  <a:gd name="connsiteY153" fmla="*/ 2934 h 10000"/>
                  <a:gd name="connsiteX154" fmla="*/ 6224 w 10000"/>
                  <a:gd name="connsiteY154" fmla="*/ 2945 h 10000"/>
                  <a:gd name="connsiteX155" fmla="*/ 6233 w 10000"/>
                  <a:gd name="connsiteY155" fmla="*/ 2906 h 10000"/>
                  <a:gd name="connsiteX156" fmla="*/ 6750 w 10000"/>
                  <a:gd name="connsiteY156" fmla="*/ 3249 h 10000"/>
                  <a:gd name="connsiteX157" fmla="*/ 7035 w 10000"/>
                  <a:gd name="connsiteY157" fmla="*/ 3479 h 10000"/>
                  <a:gd name="connsiteX158" fmla="*/ 7231 w 10000"/>
                  <a:gd name="connsiteY158" fmla="*/ 3564 h 10000"/>
                  <a:gd name="connsiteX159" fmla="*/ 7471 w 10000"/>
                  <a:gd name="connsiteY159" fmla="*/ 3474 h 10000"/>
                  <a:gd name="connsiteX160" fmla="*/ 7667 w 10000"/>
                  <a:gd name="connsiteY160" fmla="*/ 3339 h 10000"/>
                  <a:gd name="connsiteX161" fmla="*/ 8059 w 10000"/>
                  <a:gd name="connsiteY161" fmla="*/ 3080 h 10000"/>
                  <a:gd name="connsiteX162" fmla="*/ 8397 w 10000"/>
                  <a:gd name="connsiteY162" fmla="*/ 2782 h 10000"/>
                  <a:gd name="connsiteX163" fmla="*/ 8549 w 10000"/>
                  <a:gd name="connsiteY163" fmla="*/ 2619 h 10000"/>
                  <a:gd name="connsiteX164" fmla="*/ 8905 w 10000"/>
                  <a:gd name="connsiteY164" fmla="*/ 2361 h 10000"/>
                  <a:gd name="connsiteX165" fmla="*/ 9172 w 10000"/>
                  <a:gd name="connsiteY165" fmla="*/ 2333 h 10000"/>
                  <a:gd name="connsiteX166" fmla="*/ 9546 w 10000"/>
                  <a:gd name="connsiteY166" fmla="*/ 2333 h 10000"/>
                  <a:gd name="connsiteX167" fmla="*/ 9688 w 10000"/>
                  <a:gd name="connsiteY167" fmla="*/ 2333 h 10000"/>
                  <a:gd name="connsiteX168" fmla="*/ 9902 w 10000"/>
                  <a:gd name="connsiteY168" fmla="*/ 2316 h 10000"/>
                  <a:gd name="connsiteX169" fmla="*/ 9697 w 10000"/>
                  <a:gd name="connsiteY16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707 w 10000"/>
                  <a:gd name="connsiteY149" fmla="*/ 3455 h 10000"/>
                  <a:gd name="connsiteX150" fmla="*/ 5833 w 10000"/>
                  <a:gd name="connsiteY150" fmla="*/ 3474 h 10000"/>
                  <a:gd name="connsiteX151" fmla="*/ 5857 w 10000"/>
                  <a:gd name="connsiteY151" fmla="*/ 3290 h 10000"/>
                  <a:gd name="connsiteX152" fmla="*/ 5947 w 10000"/>
                  <a:gd name="connsiteY152" fmla="*/ 3092 h 10000"/>
                  <a:gd name="connsiteX153" fmla="*/ 6224 w 10000"/>
                  <a:gd name="connsiteY153" fmla="*/ 2934 h 10000"/>
                  <a:gd name="connsiteX154" fmla="*/ 6224 w 10000"/>
                  <a:gd name="connsiteY154" fmla="*/ 2945 h 10000"/>
                  <a:gd name="connsiteX155" fmla="*/ 6233 w 10000"/>
                  <a:gd name="connsiteY155" fmla="*/ 2906 h 10000"/>
                  <a:gd name="connsiteX156" fmla="*/ 6750 w 10000"/>
                  <a:gd name="connsiteY156" fmla="*/ 3249 h 10000"/>
                  <a:gd name="connsiteX157" fmla="*/ 7035 w 10000"/>
                  <a:gd name="connsiteY157" fmla="*/ 3479 h 10000"/>
                  <a:gd name="connsiteX158" fmla="*/ 7231 w 10000"/>
                  <a:gd name="connsiteY158" fmla="*/ 3564 h 10000"/>
                  <a:gd name="connsiteX159" fmla="*/ 7471 w 10000"/>
                  <a:gd name="connsiteY159" fmla="*/ 3474 h 10000"/>
                  <a:gd name="connsiteX160" fmla="*/ 7667 w 10000"/>
                  <a:gd name="connsiteY160" fmla="*/ 3339 h 10000"/>
                  <a:gd name="connsiteX161" fmla="*/ 8059 w 10000"/>
                  <a:gd name="connsiteY161" fmla="*/ 3080 h 10000"/>
                  <a:gd name="connsiteX162" fmla="*/ 8397 w 10000"/>
                  <a:gd name="connsiteY162" fmla="*/ 2782 h 10000"/>
                  <a:gd name="connsiteX163" fmla="*/ 8549 w 10000"/>
                  <a:gd name="connsiteY163" fmla="*/ 2619 h 10000"/>
                  <a:gd name="connsiteX164" fmla="*/ 8905 w 10000"/>
                  <a:gd name="connsiteY164" fmla="*/ 2361 h 10000"/>
                  <a:gd name="connsiteX165" fmla="*/ 9172 w 10000"/>
                  <a:gd name="connsiteY165" fmla="*/ 2333 h 10000"/>
                  <a:gd name="connsiteX166" fmla="*/ 9546 w 10000"/>
                  <a:gd name="connsiteY166" fmla="*/ 2333 h 10000"/>
                  <a:gd name="connsiteX167" fmla="*/ 9688 w 10000"/>
                  <a:gd name="connsiteY167" fmla="*/ 2333 h 10000"/>
                  <a:gd name="connsiteX168" fmla="*/ 9902 w 10000"/>
                  <a:gd name="connsiteY168" fmla="*/ 2316 h 10000"/>
                  <a:gd name="connsiteX169" fmla="*/ 9697 w 10000"/>
                  <a:gd name="connsiteY16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717 w 10000"/>
                  <a:gd name="connsiteY148" fmla="*/ 3822 h 10000"/>
                  <a:gd name="connsiteX149" fmla="*/ 5707 w 10000"/>
                  <a:gd name="connsiteY149" fmla="*/ 3455 h 10000"/>
                  <a:gd name="connsiteX150" fmla="*/ 5857 w 10000"/>
                  <a:gd name="connsiteY150" fmla="*/ 3290 h 10000"/>
                  <a:gd name="connsiteX151" fmla="*/ 5947 w 10000"/>
                  <a:gd name="connsiteY151" fmla="*/ 3092 h 10000"/>
                  <a:gd name="connsiteX152" fmla="*/ 6224 w 10000"/>
                  <a:gd name="connsiteY152" fmla="*/ 2934 h 10000"/>
                  <a:gd name="connsiteX153" fmla="*/ 6224 w 10000"/>
                  <a:gd name="connsiteY153" fmla="*/ 2945 h 10000"/>
                  <a:gd name="connsiteX154" fmla="*/ 6233 w 10000"/>
                  <a:gd name="connsiteY154" fmla="*/ 2906 h 10000"/>
                  <a:gd name="connsiteX155" fmla="*/ 6750 w 10000"/>
                  <a:gd name="connsiteY155" fmla="*/ 3249 h 10000"/>
                  <a:gd name="connsiteX156" fmla="*/ 7035 w 10000"/>
                  <a:gd name="connsiteY156" fmla="*/ 3479 h 10000"/>
                  <a:gd name="connsiteX157" fmla="*/ 7231 w 10000"/>
                  <a:gd name="connsiteY157" fmla="*/ 3564 h 10000"/>
                  <a:gd name="connsiteX158" fmla="*/ 7471 w 10000"/>
                  <a:gd name="connsiteY158" fmla="*/ 3474 h 10000"/>
                  <a:gd name="connsiteX159" fmla="*/ 7667 w 10000"/>
                  <a:gd name="connsiteY159" fmla="*/ 3339 h 10000"/>
                  <a:gd name="connsiteX160" fmla="*/ 8059 w 10000"/>
                  <a:gd name="connsiteY160" fmla="*/ 3080 h 10000"/>
                  <a:gd name="connsiteX161" fmla="*/ 8397 w 10000"/>
                  <a:gd name="connsiteY161" fmla="*/ 2782 h 10000"/>
                  <a:gd name="connsiteX162" fmla="*/ 8549 w 10000"/>
                  <a:gd name="connsiteY162" fmla="*/ 2619 h 10000"/>
                  <a:gd name="connsiteX163" fmla="*/ 8905 w 10000"/>
                  <a:gd name="connsiteY163" fmla="*/ 2361 h 10000"/>
                  <a:gd name="connsiteX164" fmla="*/ 9172 w 10000"/>
                  <a:gd name="connsiteY164" fmla="*/ 2333 h 10000"/>
                  <a:gd name="connsiteX165" fmla="*/ 9546 w 10000"/>
                  <a:gd name="connsiteY165" fmla="*/ 2333 h 10000"/>
                  <a:gd name="connsiteX166" fmla="*/ 9688 w 10000"/>
                  <a:gd name="connsiteY166" fmla="*/ 2333 h 10000"/>
                  <a:gd name="connsiteX167" fmla="*/ 9902 w 10000"/>
                  <a:gd name="connsiteY167" fmla="*/ 2316 h 10000"/>
                  <a:gd name="connsiteX168" fmla="*/ 9697 w 10000"/>
                  <a:gd name="connsiteY168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717 w 10000"/>
                  <a:gd name="connsiteY147" fmla="*/ 4025 h 10000"/>
                  <a:gd name="connsiteX148" fmla="*/ 5617 w 10000"/>
                  <a:gd name="connsiteY148" fmla="*/ 3933 h 10000"/>
                  <a:gd name="connsiteX149" fmla="*/ 5707 w 10000"/>
                  <a:gd name="connsiteY149" fmla="*/ 3455 h 10000"/>
                  <a:gd name="connsiteX150" fmla="*/ 5857 w 10000"/>
                  <a:gd name="connsiteY150" fmla="*/ 3290 h 10000"/>
                  <a:gd name="connsiteX151" fmla="*/ 5947 w 10000"/>
                  <a:gd name="connsiteY151" fmla="*/ 3092 h 10000"/>
                  <a:gd name="connsiteX152" fmla="*/ 6224 w 10000"/>
                  <a:gd name="connsiteY152" fmla="*/ 2934 h 10000"/>
                  <a:gd name="connsiteX153" fmla="*/ 6224 w 10000"/>
                  <a:gd name="connsiteY153" fmla="*/ 2945 h 10000"/>
                  <a:gd name="connsiteX154" fmla="*/ 6233 w 10000"/>
                  <a:gd name="connsiteY154" fmla="*/ 2906 h 10000"/>
                  <a:gd name="connsiteX155" fmla="*/ 6750 w 10000"/>
                  <a:gd name="connsiteY155" fmla="*/ 3249 h 10000"/>
                  <a:gd name="connsiteX156" fmla="*/ 7035 w 10000"/>
                  <a:gd name="connsiteY156" fmla="*/ 3479 h 10000"/>
                  <a:gd name="connsiteX157" fmla="*/ 7231 w 10000"/>
                  <a:gd name="connsiteY157" fmla="*/ 3564 h 10000"/>
                  <a:gd name="connsiteX158" fmla="*/ 7471 w 10000"/>
                  <a:gd name="connsiteY158" fmla="*/ 3474 h 10000"/>
                  <a:gd name="connsiteX159" fmla="*/ 7667 w 10000"/>
                  <a:gd name="connsiteY159" fmla="*/ 3339 h 10000"/>
                  <a:gd name="connsiteX160" fmla="*/ 8059 w 10000"/>
                  <a:gd name="connsiteY160" fmla="*/ 3080 h 10000"/>
                  <a:gd name="connsiteX161" fmla="*/ 8397 w 10000"/>
                  <a:gd name="connsiteY161" fmla="*/ 2782 h 10000"/>
                  <a:gd name="connsiteX162" fmla="*/ 8549 w 10000"/>
                  <a:gd name="connsiteY162" fmla="*/ 2619 h 10000"/>
                  <a:gd name="connsiteX163" fmla="*/ 8905 w 10000"/>
                  <a:gd name="connsiteY163" fmla="*/ 2361 h 10000"/>
                  <a:gd name="connsiteX164" fmla="*/ 9172 w 10000"/>
                  <a:gd name="connsiteY164" fmla="*/ 2333 h 10000"/>
                  <a:gd name="connsiteX165" fmla="*/ 9546 w 10000"/>
                  <a:gd name="connsiteY165" fmla="*/ 2333 h 10000"/>
                  <a:gd name="connsiteX166" fmla="*/ 9688 w 10000"/>
                  <a:gd name="connsiteY166" fmla="*/ 2333 h 10000"/>
                  <a:gd name="connsiteX167" fmla="*/ 9902 w 10000"/>
                  <a:gd name="connsiteY167" fmla="*/ 2316 h 10000"/>
                  <a:gd name="connsiteX168" fmla="*/ 9697 w 10000"/>
                  <a:gd name="connsiteY168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80 h 10000"/>
                  <a:gd name="connsiteX145" fmla="*/ 5833 w 10000"/>
                  <a:gd name="connsiteY145" fmla="*/ 4418 h 10000"/>
                  <a:gd name="connsiteX146" fmla="*/ 5744 w 10000"/>
                  <a:gd name="connsiteY146" fmla="*/ 4205 h 10000"/>
                  <a:gd name="connsiteX147" fmla="*/ 5659 w 10000"/>
                  <a:gd name="connsiteY147" fmla="*/ 4114 h 10000"/>
                  <a:gd name="connsiteX148" fmla="*/ 5617 w 10000"/>
                  <a:gd name="connsiteY148" fmla="*/ 3933 h 10000"/>
                  <a:gd name="connsiteX149" fmla="*/ 5707 w 10000"/>
                  <a:gd name="connsiteY149" fmla="*/ 3455 h 10000"/>
                  <a:gd name="connsiteX150" fmla="*/ 5857 w 10000"/>
                  <a:gd name="connsiteY150" fmla="*/ 3290 h 10000"/>
                  <a:gd name="connsiteX151" fmla="*/ 5947 w 10000"/>
                  <a:gd name="connsiteY151" fmla="*/ 3092 h 10000"/>
                  <a:gd name="connsiteX152" fmla="*/ 6224 w 10000"/>
                  <a:gd name="connsiteY152" fmla="*/ 2934 h 10000"/>
                  <a:gd name="connsiteX153" fmla="*/ 6224 w 10000"/>
                  <a:gd name="connsiteY153" fmla="*/ 2945 h 10000"/>
                  <a:gd name="connsiteX154" fmla="*/ 6233 w 10000"/>
                  <a:gd name="connsiteY154" fmla="*/ 2906 h 10000"/>
                  <a:gd name="connsiteX155" fmla="*/ 6750 w 10000"/>
                  <a:gd name="connsiteY155" fmla="*/ 3249 h 10000"/>
                  <a:gd name="connsiteX156" fmla="*/ 7035 w 10000"/>
                  <a:gd name="connsiteY156" fmla="*/ 3479 h 10000"/>
                  <a:gd name="connsiteX157" fmla="*/ 7231 w 10000"/>
                  <a:gd name="connsiteY157" fmla="*/ 3564 h 10000"/>
                  <a:gd name="connsiteX158" fmla="*/ 7471 w 10000"/>
                  <a:gd name="connsiteY158" fmla="*/ 3474 h 10000"/>
                  <a:gd name="connsiteX159" fmla="*/ 7667 w 10000"/>
                  <a:gd name="connsiteY159" fmla="*/ 3339 h 10000"/>
                  <a:gd name="connsiteX160" fmla="*/ 8059 w 10000"/>
                  <a:gd name="connsiteY160" fmla="*/ 3080 h 10000"/>
                  <a:gd name="connsiteX161" fmla="*/ 8397 w 10000"/>
                  <a:gd name="connsiteY161" fmla="*/ 2782 h 10000"/>
                  <a:gd name="connsiteX162" fmla="*/ 8549 w 10000"/>
                  <a:gd name="connsiteY162" fmla="*/ 2619 h 10000"/>
                  <a:gd name="connsiteX163" fmla="*/ 8905 w 10000"/>
                  <a:gd name="connsiteY163" fmla="*/ 2361 h 10000"/>
                  <a:gd name="connsiteX164" fmla="*/ 9172 w 10000"/>
                  <a:gd name="connsiteY164" fmla="*/ 2333 h 10000"/>
                  <a:gd name="connsiteX165" fmla="*/ 9546 w 10000"/>
                  <a:gd name="connsiteY165" fmla="*/ 2333 h 10000"/>
                  <a:gd name="connsiteX166" fmla="*/ 9688 w 10000"/>
                  <a:gd name="connsiteY166" fmla="*/ 2333 h 10000"/>
                  <a:gd name="connsiteX167" fmla="*/ 9902 w 10000"/>
                  <a:gd name="connsiteY167" fmla="*/ 2316 h 10000"/>
                  <a:gd name="connsiteX168" fmla="*/ 9697 w 10000"/>
                  <a:gd name="connsiteY168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833 w 10000"/>
                  <a:gd name="connsiteY144" fmla="*/ 4418 h 10000"/>
                  <a:gd name="connsiteX145" fmla="*/ 5744 w 10000"/>
                  <a:gd name="connsiteY145" fmla="*/ 4205 h 10000"/>
                  <a:gd name="connsiteX146" fmla="*/ 5659 w 10000"/>
                  <a:gd name="connsiteY146" fmla="*/ 4114 h 10000"/>
                  <a:gd name="connsiteX147" fmla="*/ 5617 w 10000"/>
                  <a:gd name="connsiteY147" fmla="*/ 3933 h 10000"/>
                  <a:gd name="connsiteX148" fmla="*/ 5707 w 10000"/>
                  <a:gd name="connsiteY148" fmla="*/ 3455 h 10000"/>
                  <a:gd name="connsiteX149" fmla="*/ 5857 w 10000"/>
                  <a:gd name="connsiteY149" fmla="*/ 3290 h 10000"/>
                  <a:gd name="connsiteX150" fmla="*/ 5947 w 10000"/>
                  <a:gd name="connsiteY150" fmla="*/ 3092 h 10000"/>
                  <a:gd name="connsiteX151" fmla="*/ 6224 w 10000"/>
                  <a:gd name="connsiteY151" fmla="*/ 2934 h 10000"/>
                  <a:gd name="connsiteX152" fmla="*/ 6224 w 10000"/>
                  <a:gd name="connsiteY152" fmla="*/ 2945 h 10000"/>
                  <a:gd name="connsiteX153" fmla="*/ 6233 w 10000"/>
                  <a:gd name="connsiteY153" fmla="*/ 2906 h 10000"/>
                  <a:gd name="connsiteX154" fmla="*/ 6750 w 10000"/>
                  <a:gd name="connsiteY154" fmla="*/ 3249 h 10000"/>
                  <a:gd name="connsiteX155" fmla="*/ 7035 w 10000"/>
                  <a:gd name="connsiteY155" fmla="*/ 3479 h 10000"/>
                  <a:gd name="connsiteX156" fmla="*/ 7231 w 10000"/>
                  <a:gd name="connsiteY156" fmla="*/ 3564 h 10000"/>
                  <a:gd name="connsiteX157" fmla="*/ 7471 w 10000"/>
                  <a:gd name="connsiteY157" fmla="*/ 3474 h 10000"/>
                  <a:gd name="connsiteX158" fmla="*/ 7667 w 10000"/>
                  <a:gd name="connsiteY158" fmla="*/ 3339 h 10000"/>
                  <a:gd name="connsiteX159" fmla="*/ 8059 w 10000"/>
                  <a:gd name="connsiteY159" fmla="*/ 3080 h 10000"/>
                  <a:gd name="connsiteX160" fmla="*/ 8397 w 10000"/>
                  <a:gd name="connsiteY160" fmla="*/ 2782 h 10000"/>
                  <a:gd name="connsiteX161" fmla="*/ 8549 w 10000"/>
                  <a:gd name="connsiteY161" fmla="*/ 2619 h 10000"/>
                  <a:gd name="connsiteX162" fmla="*/ 8905 w 10000"/>
                  <a:gd name="connsiteY162" fmla="*/ 2361 h 10000"/>
                  <a:gd name="connsiteX163" fmla="*/ 9172 w 10000"/>
                  <a:gd name="connsiteY163" fmla="*/ 2333 h 10000"/>
                  <a:gd name="connsiteX164" fmla="*/ 9546 w 10000"/>
                  <a:gd name="connsiteY164" fmla="*/ 2333 h 10000"/>
                  <a:gd name="connsiteX165" fmla="*/ 9688 w 10000"/>
                  <a:gd name="connsiteY165" fmla="*/ 2333 h 10000"/>
                  <a:gd name="connsiteX166" fmla="*/ 9902 w 10000"/>
                  <a:gd name="connsiteY166" fmla="*/ 2316 h 10000"/>
                  <a:gd name="connsiteX167" fmla="*/ 9697 w 10000"/>
                  <a:gd name="connsiteY167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744 w 10000"/>
                  <a:gd name="connsiteY144" fmla="*/ 4205 h 10000"/>
                  <a:gd name="connsiteX145" fmla="*/ 5659 w 10000"/>
                  <a:gd name="connsiteY145" fmla="*/ 4114 h 10000"/>
                  <a:gd name="connsiteX146" fmla="*/ 5617 w 10000"/>
                  <a:gd name="connsiteY146" fmla="*/ 3933 h 10000"/>
                  <a:gd name="connsiteX147" fmla="*/ 5707 w 10000"/>
                  <a:gd name="connsiteY147" fmla="*/ 3455 h 10000"/>
                  <a:gd name="connsiteX148" fmla="*/ 5857 w 10000"/>
                  <a:gd name="connsiteY148" fmla="*/ 3290 h 10000"/>
                  <a:gd name="connsiteX149" fmla="*/ 5947 w 10000"/>
                  <a:gd name="connsiteY149" fmla="*/ 3092 h 10000"/>
                  <a:gd name="connsiteX150" fmla="*/ 6224 w 10000"/>
                  <a:gd name="connsiteY150" fmla="*/ 2934 h 10000"/>
                  <a:gd name="connsiteX151" fmla="*/ 6224 w 10000"/>
                  <a:gd name="connsiteY151" fmla="*/ 2945 h 10000"/>
                  <a:gd name="connsiteX152" fmla="*/ 6233 w 10000"/>
                  <a:gd name="connsiteY152" fmla="*/ 2906 h 10000"/>
                  <a:gd name="connsiteX153" fmla="*/ 6750 w 10000"/>
                  <a:gd name="connsiteY153" fmla="*/ 3249 h 10000"/>
                  <a:gd name="connsiteX154" fmla="*/ 7035 w 10000"/>
                  <a:gd name="connsiteY154" fmla="*/ 3479 h 10000"/>
                  <a:gd name="connsiteX155" fmla="*/ 7231 w 10000"/>
                  <a:gd name="connsiteY155" fmla="*/ 3564 h 10000"/>
                  <a:gd name="connsiteX156" fmla="*/ 7471 w 10000"/>
                  <a:gd name="connsiteY156" fmla="*/ 3474 h 10000"/>
                  <a:gd name="connsiteX157" fmla="*/ 7667 w 10000"/>
                  <a:gd name="connsiteY157" fmla="*/ 3339 h 10000"/>
                  <a:gd name="connsiteX158" fmla="*/ 8059 w 10000"/>
                  <a:gd name="connsiteY158" fmla="*/ 3080 h 10000"/>
                  <a:gd name="connsiteX159" fmla="*/ 8397 w 10000"/>
                  <a:gd name="connsiteY159" fmla="*/ 2782 h 10000"/>
                  <a:gd name="connsiteX160" fmla="*/ 8549 w 10000"/>
                  <a:gd name="connsiteY160" fmla="*/ 2619 h 10000"/>
                  <a:gd name="connsiteX161" fmla="*/ 8905 w 10000"/>
                  <a:gd name="connsiteY161" fmla="*/ 2361 h 10000"/>
                  <a:gd name="connsiteX162" fmla="*/ 9172 w 10000"/>
                  <a:gd name="connsiteY162" fmla="*/ 2333 h 10000"/>
                  <a:gd name="connsiteX163" fmla="*/ 9546 w 10000"/>
                  <a:gd name="connsiteY163" fmla="*/ 2333 h 10000"/>
                  <a:gd name="connsiteX164" fmla="*/ 9688 w 10000"/>
                  <a:gd name="connsiteY164" fmla="*/ 2333 h 10000"/>
                  <a:gd name="connsiteX165" fmla="*/ 9902 w 10000"/>
                  <a:gd name="connsiteY165" fmla="*/ 2316 h 10000"/>
                  <a:gd name="connsiteX166" fmla="*/ 9697 w 10000"/>
                  <a:gd name="connsiteY166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2832 w 10000"/>
                  <a:gd name="connsiteY102" fmla="*/ 9696 h 10000"/>
                  <a:gd name="connsiteX103" fmla="*/ 3526 w 10000"/>
                  <a:gd name="connsiteY103" fmla="*/ 9741 h 10000"/>
                  <a:gd name="connsiteX104" fmla="*/ 3918 w 10000"/>
                  <a:gd name="connsiteY104" fmla="*/ 9719 h 10000"/>
                  <a:gd name="connsiteX105" fmla="*/ 4114 w 10000"/>
                  <a:gd name="connsiteY105" fmla="*/ 9533 h 10000"/>
                  <a:gd name="connsiteX106" fmla="*/ 4212 w 10000"/>
                  <a:gd name="connsiteY106" fmla="*/ 9460 h 10000"/>
                  <a:gd name="connsiteX107" fmla="*/ 4381 w 10000"/>
                  <a:gd name="connsiteY107" fmla="*/ 9376 h 10000"/>
                  <a:gd name="connsiteX108" fmla="*/ 4408 w 10000"/>
                  <a:gd name="connsiteY108" fmla="*/ 9590 h 10000"/>
                  <a:gd name="connsiteX109" fmla="*/ 4461 w 10000"/>
                  <a:gd name="connsiteY109" fmla="*/ 9511 h 10000"/>
                  <a:gd name="connsiteX110" fmla="*/ 4488 w 10000"/>
                  <a:gd name="connsiteY110" fmla="*/ 9415 h 10000"/>
                  <a:gd name="connsiteX111" fmla="*/ 4826 w 10000"/>
                  <a:gd name="connsiteY111" fmla="*/ 9185 h 10000"/>
                  <a:gd name="connsiteX112" fmla="*/ 4639 w 10000"/>
                  <a:gd name="connsiteY112" fmla="*/ 8881 h 10000"/>
                  <a:gd name="connsiteX113" fmla="*/ 4720 w 10000"/>
                  <a:gd name="connsiteY113" fmla="*/ 7459 h 10000"/>
                  <a:gd name="connsiteX114" fmla="*/ 4898 w 10000"/>
                  <a:gd name="connsiteY114" fmla="*/ 8106 h 10000"/>
                  <a:gd name="connsiteX115" fmla="*/ 4996 w 10000"/>
                  <a:gd name="connsiteY115" fmla="*/ 8432 h 10000"/>
                  <a:gd name="connsiteX116" fmla="*/ 5049 w 10000"/>
                  <a:gd name="connsiteY116" fmla="*/ 8775 h 10000"/>
                  <a:gd name="connsiteX117" fmla="*/ 4978 w 10000"/>
                  <a:gd name="connsiteY117" fmla="*/ 8960 h 10000"/>
                  <a:gd name="connsiteX118" fmla="*/ 4951 w 10000"/>
                  <a:gd name="connsiteY118" fmla="*/ 9084 h 10000"/>
                  <a:gd name="connsiteX119" fmla="*/ 4889 w 10000"/>
                  <a:gd name="connsiteY119" fmla="*/ 9191 h 10000"/>
                  <a:gd name="connsiteX120" fmla="*/ 4835 w 10000"/>
                  <a:gd name="connsiteY120" fmla="*/ 9421 h 10000"/>
                  <a:gd name="connsiteX121" fmla="*/ 4577 w 10000"/>
                  <a:gd name="connsiteY121" fmla="*/ 9764 h 10000"/>
                  <a:gd name="connsiteX122" fmla="*/ 4559 w 10000"/>
                  <a:gd name="connsiteY122" fmla="*/ 9944 h 10000"/>
                  <a:gd name="connsiteX123" fmla="*/ 5387 w 10000"/>
                  <a:gd name="connsiteY123" fmla="*/ 9831 h 10000"/>
                  <a:gd name="connsiteX124" fmla="*/ 5557 w 10000"/>
                  <a:gd name="connsiteY124" fmla="*/ 9449 h 10000"/>
                  <a:gd name="connsiteX125" fmla="*/ 5654 w 10000"/>
                  <a:gd name="connsiteY125" fmla="*/ 9202 h 10000"/>
                  <a:gd name="connsiteX126" fmla="*/ 5601 w 10000"/>
                  <a:gd name="connsiteY126" fmla="*/ 9073 h 10000"/>
                  <a:gd name="connsiteX127" fmla="*/ 5610 w 10000"/>
                  <a:gd name="connsiteY127" fmla="*/ 9011 h 10000"/>
                  <a:gd name="connsiteX128" fmla="*/ 5583 w 10000"/>
                  <a:gd name="connsiteY128" fmla="*/ 8921 h 10000"/>
                  <a:gd name="connsiteX129" fmla="*/ 5583 w 10000"/>
                  <a:gd name="connsiteY129" fmla="*/ 8668 h 10000"/>
                  <a:gd name="connsiteX130" fmla="*/ 5654 w 10000"/>
                  <a:gd name="connsiteY130" fmla="*/ 8449 h 10000"/>
                  <a:gd name="connsiteX131" fmla="*/ 5708 w 10000"/>
                  <a:gd name="connsiteY131" fmla="*/ 8212 h 10000"/>
                  <a:gd name="connsiteX132" fmla="*/ 5744 w 10000"/>
                  <a:gd name="connsiteY132" fmla="*/ 7690 h 10000"/>
                  <a:gd name="connsiteX133" fmla="*/ 5485 w 10000"/>
                  <a:gd name="connsiteY133" fmla="*/ 7173 h 10000"/>
                  <a:gd name="connsiteX134" fmla="*/ 5450 w 10000"/>
                  <a:gd name="connsiteY134" fmla="*/ 7088 h 10000"/>
                  <a:gd name="connsiteX135" fmla="*/ 5476 w 10000"/>
                  <a:gd name="connsiteY135" fmla="*/ 6847 h 10000"/>
                  <a:gd name="connsiteX136" fmla="*/ 5476 w 10000"/>
                  <a:gd name="connsiteY136" fmla="*/ 6700 h 10000"/>
                  <a:gd name="connsiteX137" fmla="*/ 5503 w 10000"/>
                  <a:gd name="connsiteY137" fmla="*/ 6605 h 10000"/>
                  <a:gd name="connsiteX138" fmla="*/ 5503 w 10000"/>
                  <a:gd name="connsiteY138" fmla="*/ 6532 h 10000"/>
                  <a:gd name="connsiteX139" fmla="*/ 5548 w 10000"/>
                  <a:gd name="connsiteY139" fmla="*/ 6453 h 10000"/>
                  <a:gd name="connsiteX140" fmla="*/ 5708 w 10000"/>
                  <a:gd name="connsiteY140" fmla="*/ 5790 h 10000"/>
                  <a:gd name="connsiteX141" fmla="*/ 5850 w 10000"/>
                  <a:gd name="connsiteY141" fmla="*/ 5289 h 10000"/>
                  <a:gd name="connsiteX142" fmla="*/ 5806 w 10000"/>
                  <a:gd name="connsiteY142" fmla="*/ 4632 h 10000"/>
                  <a:gd name="connsiteX143" fmla="*/ 5788 w 10000"/>
                  <a:gd name="connsiteY143" fmla="*/ 4525 h 10000"/>
                  <a:gd name="connsiteX144" fmla="*/ 5659 w 10000"/>
                  <a:gd name="connsiteY144" fmla="*/ 4114 h 10000"/>
                  <a:gd name="connsiteX145" fmla="*/ 5617 w 10000"/>
                  <a:gd name="connsiteY145" fmla="*/ 3933 h 10000"/>
                  <a:gd name="connsiteX146" fmla="*/ 5707 w 10000"/>
                  <a:gd name="connsiteY146" fmla="*/ 3455 h 10000"/>
                  <a:gd name="connsiteX147" fmla="*/ 5857 w 10000"/>
                  <a:gd name="connsiteY147" fmla="*/ 3290 h 10000"/>
                  <a:gd name="connsiteX148" fmla="*/ 5947 w 10000"/>
                  <a:gd name="connsiteY148" fmla="*/ 3092 h 10000"/>
                  <a:gd name="connsiteX149" fmla="*/ 6224 w 10000"/>
                  <a:gd name="connsiteY149" fmla="*/ 2934 h 10000"/>
                  <a:gd name="connsiteX150" fmla="*/ 6224 w 10000"/>
                  <a:gd name="connsiteY150" fmla="*/ 2945 h 10000"/>
                  <a:gd name="connsiteX151" fmla="*/ 6233 w 10000"/>
                  <a:gd name="connsiteY151" fmla="*/ 2906 h 10000"/>
                  <a:gd name="connsiteX152" fmla="*/ 6750 w 10000"/>
                  <a:gd name="connsiteY152" fmla="*/ 3249 h 10000"/>
                  <a:gd name="connsiteX153" fmla="*/ 7035 w 10000"/>
                  <a:gd name="connsiteY153" fmla="*/ 3479 h 10000"/>
                  <a:gd name="connsiteX154" fmla="*/ 7231 w 10000"/>
                  <a:gd name="connsiteY154" fmla="*/ 3564 h 10000"/>
                  <a:gd name="connsiteX155" fmla="*/ 7471 w 10000"/>
                  <a:gd name="connsiteY155" fmla="*/ 3474 h 10000"/>
                  <a:gd name="connsiteX156" fmla="*/ 7667 w 10000"/>
                  <a:gd name="connsiteY156" fmla="*/ 3339 h 10000"/>
                  <a:gd name="connsiteX157" fmla="*/ 8059 w 10000"/>
                  <a:gd name="connsiteY157" fmla="*/ 3080 h 10000"/>
                  <a:gd name="connsiteX158" fmla="*/ 8397 w 10000"/>
                  <a:gd name="connsiteY158" fmla="*/ 2782 h 10000"/>
                  <a:gd name="connsiteX159" fmla="*/ 8549 w 10000"/>
                  <a:gd name="connsiteY159" fmla="*/ 2619 h 10000"/>
                  <a:gd name="connsiteX160" fmla="*/ 8905 w 10000"/>
                  <a:gd name="connsiteY160" fmla="*/ 2361 h 10000"/>
                  <a:gd name="connsiteX161" fmla="*/ 9172 w 10000"/>
                  <a:gd name="connsiteY161" fmla="*/ 2333 h 10000"/>
                  <a:gd name="connsiteX162" fmla="*/ 9546 w 10000"/>
                  <a:gd name="connsiteY162" fmla="*/ 2333 h 10000"/>
                  <a:gd name="connsiteX163" fmla="*/ 9688 w 10000"/>
                  <a:gd name="connsiteY163" fmla="*/ 2333 h 10000"/>
                  <a:gd name="connsiteX164" fmla="*/ 9902 w 10000"/>
                  <a:gd name="connsiteY164" fmla="*/ 2316 h 10000"/>
                  <a:gd name="connsiteX165" fmla="*/ 9697 w 10000"/>
                  <a:gd name="connsiteY165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2992 w 10000"/>
                  <a:gd name="connsiteY101" fmla="*/ 9646 h 10000"/>
                  <a:gd name="connsiteX102" fmla="*/ 3526 w 10000"/>
                  <a:gd name="connsiteY102" fmla="*/ 9741 h 10000"/>
                  <a:gd name="connsiteX103" fmla="*/ 3918 w 10000"/>
                  <a:gd name="connsiteY103" fmla="*/ 9719 h 10000"/>
                  <a:gd name="connsiteX104" fmla="*/ 4114 w 10000"/>
                  <a:gd name="connsiteY104" fmla="*/ 9533 h 10000"/>
                  <a:gd name="connsiteX105" fmla="*/ 4212 w 10000"/>
                  <a:gd name="connsiteY105" fmla="*/ 9460 h 10000"/>
                  <a:gd name="connsiteX106" fmla="*/ 4381 w 10000"/>
                  <a:gd name="connsiteY106" fmla="*/ 9376 h 10000"/>
                  <a:gd name="connsiteX107" fmla="*/ 4408 w 10000"/>
                  <a:gd name="connsiteY107" fmla="*/ 9590 h 10000"/>
                  <a:gd name="connsiteX108" fmla="*/ 4461 w 10000"/>
                  <a:gd name="connsiteY108" fmla="*/ 9511 h 10000"/>
                  <a:gd name="connsiteX109" fmla="*/ 4488 w 10000"/>
                  <a:gd name="connsiteY109" fmla="*/ 9415 h 10000"/>
                  <a:gd name="connsiteX110" fmla="*/ 4826 w 10000"/>
                  <a:gd name="connsiteY110" fmla="*/ 9185 h 10000"/>
                  <a:gd name="connsiteX111" fmla="*/ 4639 w 10000"/>
                  <a:gd name="connsiteY111" fmla="*/ 8881 h 10000"/>
                  <a:gd name="connsiteX112" fmla="*/ 4720 w 10000"/>
                  <a:gd name="connsiteY112" fmla="*/ 7459 h 10000"/>
                  <a:gd name="connsiteX113" fmla="*/ 4898 w 10000"/>
                  <a:gd name="connsiteY113" fmla="*/ 8106 h 10000"/>
                  <a:gd name="connsiteX114" fmla="*/ 4996 w 10000"/>
                  <a:gd name="connsiteY114" fmla="*/ 8432 h 10000"/>
                  <a:gd name="connsiteX115" fmla="*/ 5049 w 10000"/>
                  <a:gd name="connsiteY115" fmla="*/ 8775 h 10000"/>
                  <a:gd name="connsiteX116" fmla="*/ 4978 w 10000"/>
                  <a:gd name="connsiteY116" fmla="*/ 8960 h 10000"/>
                  <a:gd name="connsiteX117" fmla="*/ 4951 w 10000"/>
                  <a:gd name="connsiteY117" fmla="*/ 9084 h 10000"/>
                  <a:gd name="connsiteX118" fmla="*/ 4889 w 10000"/>
                  <a:gd name="connsiteY118" fmla="*/ 9191 h 10000"/>
                  <a:gd name="connsiteX119" fmla="*/ 4835 w 10000"/>
                  <a:gd name="connsiteY119" fmla="*/ 9421 h 10000"/>
                  <a:gd name="connsiteX120" fmla="*/ 4577 w 10000"/>
                  <a:gd name="connsiteY120" fmla="*/ 9764 h 10000"/>
                  <a:gd name="connsiteX121" fmla="*/ 4559 w 10000"/>
                  <a:gd name="connsiteY121" fmla="*/ 9944 h 10000"/>
                  <a:gd name="connsiteX122" fmla="*/ 5387 w 10000"/>
                  <a:gd name="connsiteY122" fmla="*/ 9831 h 10000"/>
                  <a:gd name="connsiteX123" fmla="*/ 5557 w 10000"/>
                  <a:gd name="connsiteY123" fmla="*/ 9449 h 10000"/>
                  <a:gd name="connsiteX124" fmla="*/ 5654 w 10000"/>
                  <a:gd name="connsiteY124" fmla="*/ 9202 h 10000"/>
                  <a:gd name="connsiteX125" fmla="*/ 5601 w 10000"/>
                  <a:gd name="connsiteY125" fmla="*/ 9073 h 10000"/>
                  <a:gd name="connsiteX126" fmla="*/ 5610 w 10000"/>
                  <a:gd name="connsiteY126" fmla="*/ 9011 h 10000"/>
                  <a:gd name="connsiteX127" fmla="*/ 5583 w 10000"/>
                  <a:gd name="connsiteY127" fmla="*/ 8921 h 10000"/>
                  <a:gd name="connsiteX128" fmla="*/ 5583 w 10000"/>
                  <a:gd name="connsiteY128" fmla="*/ 8668 h 10000"/>
                  <a:gd name="connsiteX129" fmla="*/ 5654 w 10000"/>
                  <a:gd name="connsiteY129" fmla="*/ 8449 h 10000"/>
                  <a:gd name="connsiteX130" fmla="*/ 5708 w 10000"/>
                  <a:gd name="connsiteY130" fmla="*/ 8212 h 10000"/>
                  <a:gd name="connsiteX131" fmla="*/ 5744 w 10000"/>
                  <a:gd name="connsiteY131" fmla="*/ 7690 h 10000"/>
                  <a:gd name="connsiteX132" fmla="*/ 5485 w 10000"/>
                  <a:gd name="connsiteY132" fmla="*/ 7173 h 10000"/>
                  <a:gd name="connsiteX133" fmla="*/ 5450 w 10000"/>
                  <a:gd name="connsiteY133" fmla="*/ 7088 h 10000"/>
                  <a:gd name="connsiteX134" fmla="*/ 5476 w 10000"/>
                  <a:gd name="connsiteY134" fmla="*/ 6847 h 10000"/>
                  <a:gd name="connsiteX135" fmla="*/ 5476 w 10000"/>
                  <a:gd name="connsiteY135" fmla="*/ 6700 h 10000"/>
                  <a:gd name="connsiteX136" fmla="*/ 5503 w 10000"/>
                  <a:gd name="connsiteY136" fmla="*/ 6605 h 10000"/>
                  <a:gd name="connsiteX137" fmla="*/ 5503 w 10000"/>
                  <a:gd name="connsiteY137" fmla="*/ 6532 h 10000"/>
                  <a:gd name="connsiteX138" fmla="*/ 5548 w 10000"/>
                  <a:gd name="connsiteY138" fmla="*/ 6453 h 10000"/>
                  <a:gd name="connsiteX139" fmla="*/ 5708 w 10000"/>
                  <a:gd name="connsiteY139" fmla="*/ 5790 h 10000"/>
                  <a:gd name="connsiteX140" fmla="*/ 5850 w 10000"/>
                  <a:gd name="connsiteY140" fmla="*/ 5289 h 10000"/>
                  <a:gd name="connsiteX141" fmla="*/ 5806 w 10000"/>
                  <a:gd name="connsiteY141" fmla="*/ 4632 h 10000"/>
                  <a:gd name="connsiteX142" fmla="*/ 5788 w 10000"/>
                  <a:gd name="connsiteY142" fmla="*/ 4525 h 10000"/>
                  <a:gd name="connsiteX143" fmla="*/ 5659 w 10000"/>
                  <a:gd name="connsiteY143" fmla="*/ 4114 h 10000"/>
                  <a:gd name="connsiteX144" fmla="*/ 5617 w 10000"/>
                  <a:gd name="connsiteY144" fmla="*/ 3933 h 10000"/>
                  <a:gd name="connsiteX145" fmla="*/ 5707 w 10000"/>
                  <a:gd name="connsiteY145" fmla="*/ 3455 h 10000"/>
                  <a:gd name="connsiteX146" fmla="*/ 5857 w 10000"/>
                  <a:gd name="connsiteY146" fmla="*/ 3290 h 10000"/>
                  <a:gd name="connsiteX147" fmla="*/ 5947 w 10000"/>
                  <a:gd name="connsiteY147" fmla="*/ 3092 h 10000"/>
                  <a:gd name="connsiteX148" fmla="*/ 6224 w 10000"/>
                  <a:gd name="connsiteY148" fmla="*/ 2934 h 10000"/>
                  <a:gd name="connsiteX149" fmla="*/ 6224 w 10000"/>
                  <a:gd name="connsiteY149" fmla="*/ 2945 h 10000"/>
                  <a:gd name="connsiteX150" fmla="*/ 6233 w 10000"/>
                  <a:gd name="connsiteY150" fmla="*/ 2906 h 10000"/>
                  <a:gd name="connsiteX151" fmla="*/ 6750 w 10000"/>
                  <a:gd name="connsiteY151" fmla="*/ 3249 h 10000"/>
                  <a:gd name="connsiteX152" fmla="*/ 7035 w 10000"/>
                  <a:gd name="connsiteY152" fmla="*/ 3479 h 10000"/>
                  <a:gd name="connsiteX153" fmla="*/ 7231 w 10000"/>
                  <a:gd name="connsiteY153" fmla="*/ 3564 h 10000"/>
                  <a:gd name="connsiteX154" fmla="*/ 7471 w 10000"/>
                  <a:gd name="connsiteY154" fmla="*/ 3474 h 10000"/>
                  <a:gd name="connsiteX155" fmla="*/ 7667 w 10000"/>
                  <a:gd name="connsiteY155" fmla="*/ 3339 h 10000"/>
                  <a:gd name="connsiteX156" fmla="*/ 8059 w 10000"/>
                  <a:gd name="connsiteY156" fmla="*/ 3080 h 10000"/>
                  <a:gd name="connsiteX157" fmla="*/ 8397 w 10000"/>
                  <a:gd name="connsiteY157" fmla="*/ 2782 h 10000"/>
                  <a:gd name="connsiteX158" fmla="*/ 8549 w 10000"/>
                  <a:gd name="connsiteY158" fmla="*/ 2619 h 10000"/>
                  <a:gd name="connsiteX159" fmla="*/ 8905 w 10000"/>
                  <a:gd name="connsiteY159" fmla="*/ 2361 h 10000"/>
                  <a:gd name="connsiteX160" fmla="*/ 9172 w 10000"/>
                  <a:gd name="connsiteY160" fmla="*/ 2333 h 10000"/>
                  <a:gd name="connsiteX161" fmla="*/ 9546 w 10000"/>
                  <a:gd name="connsiteY161" fmla="*/ 2333 h 10000"/>
                  <a:gd name="connsiteX162" fmla="*/ 9688 w 10000"/>
                  <a:gd name="connsiteY162" fmla="*/ 2333 h 10000"/>
                  <a:gd name="connsiteX163" fmla="*/ 9902 w 10000"/>
                  <a:gd name="connsiteY163" fmla="*/ 2316 h 10000"/>
                  <a:gd name="connsiteX164" fmla="*/ 9697 w 10000"/>
                  <a:gd name="connsiteY164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3526 w 10000"/>
                  <a:gd name="connsiteY101" fmla="*/ 9741 h 10000"/>
                  <a:gd name="connsiteX102" fmla="*/ 3918 w 10000"/>
                  <a:gd name="connsiteY102" fmla="*/ 9719 h 10000"/>
                  <a:gd name="connsiteX103" fmla="*/ 4114 w 10000"/>
                  <a:gd name="connsiteY103" fmla="*/ 9533 h 10000"/>
                  <a:gd name="connsiteX104" fmla="*/ 4212 w 10000"/>
                  <a:gd name="connsiteY104" fmla="*/ 9460 h 10000"/>
                  <a:gd name="connsiteX105" fmla="*/ 4381 w 10000"/>
                  <a:gd name="connsiteY105" fmla="*/ 9376 h 10000"/>
                  <a:gd name="connsiteX106" fmla="*/ 4408 w 10000"/>
                  <a:gd name="connsiteY106" fmla="*/ 9590 h 10000"/>
                  <a:gd name="connsiteX107" fmla="*/ 4461 w 10000"/>
                  <a:gd name="connsiteY107" fmla="*/ 9511 h 10000"/>
                  <a:gd name="connsiteX108" fmla="*/ 4488 w 10000"/>
                  <a:gd name="connsiteY108" fmla="*/ 9415 h 10000"/>
                  <a:gd name="connsiteX109" fmla="*/ 4826 w 10000"/>
                  <a:gd name="connsiteY109" fmla="*/ 9185 h 10000"/>
                  <a:gd name="connsiteX110" fmla="*/ 4639 w 10000"/>
                  <a:gd name="connsiteY110" fmla="*/ 8881 h 10000"/>
                  <a:gd name="connsiteX111" fmla="*/ 4720 w 10000"/>
                  <a:gd name="connsiteY111" fmla="*/ 7459 h 10000"/>
                  <a:gd name="connsiteX112" fmla="*/ 4898 w 10000"/>
                  <a:gd name="connsiteY112" fmla="*/ 8106 h 10000"/>
                  <a:gd name="connsiteX113" fmla="*/ 4996 w 10000"/>
                  <a:gd name="connsiteY113" fmla="*/ 8432 h 10000"/>
                  <a:gd name="connsiteX114" fmla="*/ 5049 w 10000"/>
                  <a:gd name="connsiteY114" fmla="*/ 8775 h 10000"/>
                  <a:gd name="connsiteX115" fmla="*/ 4978 w 10000"/>
                  <a:gd name="connsiteY115" fmla="*/ 8960 h 10000"/>
                  <a:gd name="connsiteX116" fmla="*/ 4951 w 10000"/>
                  <a:gd name="connsiteY116" fmla="*/ 9084 h 10000"/>
                  <a:gd name="connsiteX117" fmla="*/ 4889 w 10000"/>
                  <a:gd name="connsiteY117" fmla="*/ 9191 h 10000"/>
                  <a:gd name="connsiteX118" fmla="*/ 4835 w 10000"/>
                  <a:gd name="connsiteY118" fmla="*/ 9421 h 10000"/>
                  <a:gd name="connsiteX119" fmla="*/ 4577 w 10000"/>
                  <a:gd name="connsiteY119" fmla="*/ 9764 h 10000"/>
                  <a:gd name="connsiteX120" fmla="*/ 4559 w 10000"/>
                  <a:gd name="connsiteY120" fmla="*/ 9944 h 10000"/>
                  <a:gd name="connsiteX121" fmla="*/ 5387 w 10000"/>
                  <a:gd name="connsiteY121" fmla="*/ 9831 h 10000"/>
                  <a:gd name="connsiteX122" fmla="*/ 5557 w 10000"/>
                  <a:gd name="connsiteY122" fmla="*/ 9449 h 10000"/>
                  <a:gd name="connsiteX123" fmla="*/ 5654 w 10000"/>
                  <a:gd name="connsiteY123" fmla="*/ 9202 h 10000"/>
                  <a:gd name="connsiteX124" fmla="*/ 5601 w 10000"/>
                  <a:gd name="connsiteY124" fmla="*/ 9073 h 10000"/>
                  <a:gd name="connsiteX125" fmla="*/ 5610 w 10000"/>
                  <a:gd name="connsiteY125" fmla="*/ 9011 h 10000"/>
                  <a:gd name="connsiteX126" fmla="*/ 5583 w 10000"/>
                  <a:gd name="connsiteY126" fmla="*/ 8921 h 10000"/>
                  <a:gd name="connsiteX127" fmla="*/ 5583 w 10000"/>
                  <a:gd name="connsiteY127" fmla="*/ 8668 h 10000"/>
                  <a:gd name="connsiteX128" fmla="*/ 5654 w 10000"/>
                  <a:gd name="connsiteY128" fmla="*/ 8449 h 10000"/>
                  <a:gd name="connsiteX129" fmla="*/ 5708 w 10000"/>
                  <a:gd name="connsiteY129" fmla="*/ 8212 h 10000"/>
                  <a:gd name="connsiteX130" fmla="*/ 5744 w 10000"/>
                  <a:gd name="connsiteY130" fmla="*/ 7690 h 10000"/>
                  <a:gd name="connsiteX131" fmla="*/ 5485 w 10000"/>
                  <a:gd name="connsiteY131" fmla="*/ 7173 h 10000"/>
                  <a:gd name="connsiteX132" fmla="*/ 5450 w 10000"/>
                  <a:gd name="connsiteY132" fmla="*/ 7088 h 10000"/>
                  <a:gd name="connsiteX133" fmla="*/ 5476 w 10000"/>
                  <a:gd name="connsiteY133" fmla="*/ 6847 h 10000"/>
                  <a:gd name="connsiteX134" fmla="*/ 5476 w 10000"/>
                  <a:gd name="connsiteY134" fmla="*/ 6700 h 10000"/>
                  <a:gd name="connsiteX135" fmla="*/ 5503 w 10000"/>
                  <a:gd name="connsiteY135" fmla="*/ 6605 h 10000"/>
                  <a:gd name="connsiteX136" fmla="*/ 5503 w 10000"/>
                  <a:gd name="connsiteY136" fmla="*/ 6532 h 10000"/>
                  <a:gd name="connsiteX137" fmla="*/ 5548 w 10000"/>
                  <a:gd name="connsiteY137" fmla="*/ 6453 h 10000"/>
                  <a:gd name="connsiteX138" fmla="*/ 5708 w 10000"/>
                  <a:gd name="connsiteY138" fmla="*/ 5790 h 10000"/>
                  <a:gd name="connsiteX139" fmla="*/ 5850 w 10000"/>
                  <a:gd name="connsiteY139" fmla="*/ 5289 h 10000"/>
                  <a:gd name="connsiteX140" fmla="*/ 5806 w 10000"/>
                  <a:gd name="connsiteY140" fmla="*/ 4632 h 10000"/>
                  <a:gd name="connsiteX141" fmla="*/ 5788 w 10000"/>
                  <a:gd name="connsiteY141" fmla="*/ 4525 h 10000"/>
                  <a:gd name="connsiteX142" fmla="*/ 5659 w 10000"/>
                  <a:gd name="connsiteY142" fmla="*/ 4114 h 10000"/>
                  <a:gd name="connsiteX143" fmla="*/ 5617 w 10000"/>
                  <a:gd name="connsiteY143" fmla="*/ 3933 h 10000"/>
                  <a:gd name="connsiteX144" fmla="*/ 5707 w 10000"/>
                  <a:gd name="connsiteY144" fmla="*/ 3455 h 10000"/>
                  <a:gd name="connsiteX145" fmla="*/ 5857 w 10000"/>
                  <a:gd name="connsiteY145" fmla="*/ 3290 h 10000"/>
                  <a:gd name="connsiteX146" fmla="*/ 5947 w 10000"/>
                  <a:gd name="connsiteY146" fmla="*/ 3092 h 10000"/>
                  <a:gd name="connsiteX147" fmla="*/ 6224 w 10000"/>
                  <a:gd name="connsiteY147" fmla="*/ 2934 h 10000"/>
                  <a:gd name="connsiteX148" fmla="*/ 6224 w 10000"/>
                  <a:gd name="connsiteY148" fmla="*/ 2945 h 10000"/>
                  <a:gd name="connsiteX149" fmla="*/ 6233 w 10000"/>
                  <a:gd name="connsiteY149" fmla="*/ 2906 h 10000"/>
                  <a:gd name="connsiteX150" fmla="*/ 6750 w 10000"/>
                  <a:gd name="connsiteY150" fmla="*/ 3249 h 10000"/>
                  <a:gd name="connsiteX151" fmla="*/ 7035 w 10000"/>
                  <a:gd name="connsiteY151" fmla="*/ 3479 h 10000"/>
                  <a:gd name="connsiteX152" fmla="*/ 7231 w 10000"/>
                  <a:gd name="connsiteY152" fmla="*/ 3564 h 10000"/>
                  <a:gd name="connsiteX153" fmla="*/ 7471 w 10000"/>
                  <a:gd name="connsiteY153" fmla="*/ 3474 h 10000"/>
                  <a:gd name="connsiteX154" fmla="*/ 7667 w 10000"/>
                  <a:gd name="connsiteY154" fmla="*/ 3339 h 10000"/>
                  <a:gd name="connsiteX155" fmla="*/ 8059 w 10000"/>
                  <a:gd name="connsiteY155" fmla="*/ 3080 h 10000"/>
                  <a:gd name="connsiteX156" fmla="*/ 8397 w 10000"/>
                  <a:gd name="connsiteY156" fmla="*/ 2782 h 10000"/>
                  <a:gd name="connsiteX157" fmla="*/ 8549 w 10000"/>
                  <a:gd name="connsiteY157" fmla="*/ 2619 h 10000"/>
                  <a:gd name="connsiteX158" fmla="*/ 8905 w 10000"/>
                  <a:gd name="connsiteY158" fmla="*/ 2361 h 10000"/>
                  <a:gd name="connsiteX159" fmla="*/ 9172 w 10000"/>
                  <a:gd name="connsiteY159" fmla="*/ 2333 h 10000"/>
                  <a:gd name="connsiteX160" fmla="*/ 9546 w 10000"/>
                  <a:gd name="connsiteY160" fmla="*/ 2333 h 10000"/>
                  <a:gd name="connsiteX161" fmla="*/ 9688 w 10000"/>
                  <a:gd name="connsiteY161" fmla="*/ 2333 h 10000"/>
                  <a:gd name="connsiteX162" fmla="*/ 9902 w 10000"/>
                  <a:gd name="connsiteY162" fmla="*/ 2316 h 10000"/>
                  <a:gd name="connsiteX163" fmla="*/ 9697 w 10000"/>
                  <a:gd name="connsiteY163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3526 w 10000"/>
                  <a:gd name="connsiteY101" fmla="*/ 9741 h 10000"/>
                  <a:gd name="connsiteX102" fmla="*/ 3918 w 10000"/>
                  <a:gd name="connsiteY102" fmla="*/ 9719 h 10000"/>
                  <a:gd name="connsiteX103" fmla="*/ 4114 w 10000"/>
                  <a:gd name="connsiteY103" fmla="*/ 9533 h 10000"/>
                  <a:gd name="connsiteX104" fmla="*/ 4212 w 10000"/>
                  <a:gd name="connsiteY104" fmla="*/ 9460 h 10000"/>
                  <a:gd name="connsiteX105" fmla="*/ 4381 w 10000"/>
                  <a:gd name="connsiteY105" fmla="*/ 9376 h 10000"/>
                  <a:gd name="connsiteX106" fmla="*/ 4461 w 10000"/>
                  <a:gd name="connsiteY106" fmla="*/ 9511 h 10000"/>
                  <a:gd name="connsiteX107" fmla="*/ 4488 w 10000"/>
                  <a:gd name="connsiteY107" fmla="*/ 9415 h 10000"/>
                  <a:gd name="connsiteX108" fmla="*/ 4826 w 10000"/>
                  <a:gd name="connsiteY108" fmla="*/ 9185 h 10000"/>
                  <a:gd name="connsiteX109" fmla="*/ 4639 w 10000"/>
                  <a:gd name="connsiteY109" fmla="*/ 8881 h 10000"/>
                  <a:gd name="connsiteX110" fmla="*/ 4720 w 10000"/>
                  <a:gd name="connsiteY110" fmla="*/ 7459 h 10000"/>
                  <a:gd name="connsiteX111" fmla="*/ 4898 w 10000"/>
                  <a:gd name="connsiteY111" fmla="*/ 8106 h 10000"/>
                  <a:gd name="connsiteX112" fmla="*/ 4996 w 10000"/>
                  <a:gd name="connsiteY112" fmla="*/ 8432 h 10000"/>
                  <a:gd name="connsiteX113" fmla="*/ 5049 w 10000"/>
                  <a:gd name="connsiteY113" fmla="*/ 8775 h 10000"/>
                  <a:gd name="connsiteX114" fmla="*/ 4978 w 10000"/>
                  <a:gd name="connsiteY114" fmla="*/ 8960 h 10000"/>
                  <a:gd name="connsiteX115" fmla="*/ 4951 w 10000"/>
                  <a:gd name="connsiteY115" fmla="*/ 9084 h 10000"/>
                  <a:gd name="connsiteX116" fmla="*/ 4889 w 10000"/>
                  <a:gd name="connsiteY116" fmla="*/ 9191 h 10000"/>
                  <a:gd name="connsiteX117" fmla="*/ 4835 w 10000"/>
                  <a:gd name="connsiteY117" fmla="*/ 9421 h 10000"/>
                  <a:gd name="connsiteX118" fmla="*/ 4577 w 10000"/>
                  <a:gd name="connsiteY118" fmla="*/ 9764 h 10000"/>
                  <a:gd name="connsiteX119" fmla="*/ 4559 w 10000"/>
                  <a:gd name="connsiteY119" fmla="*/ 9944 h 10000"/>
                  <a:gd name="connsiteX120" fmla="*/ 5387 w 10000"/>
                  <a:gd name="connsiteY120" fmla="*/ 9831 h 10000"/>
                  <a:gd name="connsiteX121" fmla="*/ 5557 w 10000"/>
                  <a:gd name="connsiteY121" fmla="*/ 9449 h 10000"/>
                  <a:gd name="connsiteX122" fmla="*/ 5654 w 10000"/>
                  <a:gd name="connsiteY122" fmla="*/ 9202 h 10000"/>
                  <a:gd name="connsiteX123" fmla="*/ 5601 w 10000"/>
                  <a:gd name="connsiteY123" fmla="*/ 9073 h 10000"/>
                  <a:gd name="connsiteX124" fmla="*/ 5610 w 10000"/>
                  <a:gd name="connsiteY124" fmla="*/ 9011 h 10000"/>
                  <a:gd name="connsiteX125" fmla="*/ 5583 w 10000"/>
                  <a:gd name="connsiteY125" fmla="*/ 8921 h 10000"/>
                  <a:gd name="connsiteX126" fmla="*/ 5583 w 10000"/>
                  <a:gd name="connsiteY126" fmla="*/ 8668 h 10000"/>
                  <a:gd name="connsiteX127" fmla="*/ 5654 w 10000"/>
                  <a:gd name="connsiteY127" fmla="*/ 8449 h 10000"/>
                  <a:gd name="connsiteX128" fmla="*/ 5708 w 10000"/>
                  <a:gd name="connsiteY128" fmla="*/ 8212 h 10000"/>
                  <a:gd name="connsiteX129" fmla="*/ 5744 w 10000"/>
                  <a:gd name="connsiteY129" fmla="*/ 7690 h 10000"/>
                  <a:gd name="connsiteX130" fmla="*/ 5485 w 10000"/>
                  <a:gd name="connsiteY130" fmla="*/ 7173 h 10000"/>
                  <a:gd name="connsiteX131" fmla="*/ 5450 w 10000"/>
                  <a:gd name="connsiteY131" fmla="*/ 7088 h 10000"/>
                  <a:gd name="connsiteX132" fmla="*/ 5476 w 10000"/>
                  <a:gd name="connsiteY132" fmla="*/ 6847 h 10000"/>
                  <a:gd name="connsiteX133" fmla="*/ 5476 w 10000"/>
                  <a:gd name="connsiteY133" fmla="*/ 6700 h 10000"/>
                  <a:gd name="connsiteX134" fmla="*/ 5503 w 10000"/>
                  <a:gd name="connsiteY134" fmla="*/ 6605 h 10000"/>
                  <a:gd name="connsiteX135" fmla="*/ 5503 w 10000"/>
                  <a:gd name="connsiteY135" fmla="*/ 6532 h 10000"/>
                  <a:gd name="connsiteX136" fmla="*/ 5548 w 10000"/>
                  <a:gd name="connsiteY136" fmla="*/ 6453 h 10000"/>
                  <a:gd name="connsiteX137" fmla="*/ 5708 w 10000"/>
                  <a:gd name="connsiteY137" fmla="*/ 5790 h 10000"/>
                  <a:gd name="connsiteX138" fmla="*/ 5850 w 10000"/>
                  <a:gd name="connsiteY138" fmla="*/ 5289 h 10000"/>
                  <a:gd name="connsiteX139" fmla="*/ 5806 w 10000"/>
                  <a:gd name="connsiteY139" fmla="*/ 4632 h 10000"/>
                  <a:gd name="connsiteX140" fmla="*/ 5788 w 10000"/>
                  <a:gd name="connsiteY140" fmla="*/ 4525 h 10000"/>
                  <a:gd name="connsiteX141" fmla="*/ 5659 w 10000"/>
                  <a:gd name="connsiteY141" fmla="*/ 4114 h 10000"/>
                  <a:gd name="connsiteX142" fmla="*/ 5617 w 10000"/>
                  <a:gd name="connsiteY142" fmla="*/ 3933 h 10000"/>
                  <a:gd name="connsiteX143" fmla="*/ 5707 w 10000"/>
                  <a:gd name="connsiteY143" fmla="*/ 3455 h 10000"/>
                  <a:gd name="connsiteX144" fmla="*/ 5857 w 10000"/>
                  <a:gd name="connsiteY144" fmla="*/ 3290 h 10000"/>
                  <a:gd name="connsiteX145" fmla="*/ 5947 w 10000"/>
                  <a:gd name="connsiteY145" fmla="*/ 3092 h 10000"/>
                  <a:gd name="connsiteX146" fmla="*/ 6224 w 10000"/>
                  <a:gd name="connsiteY146" fmla="*/ 2934 h 10000"/>
                  <a:gd name="connsiteX147" fmla="*/ 6224 w 10000"/>
                  <a:gd name="connsiteY147" fmla="*/ 2945 h 10000"/>
                  <a:gd name="connsiteX148" fmla="*/ 6233 w 10000"/>
                  <a:gd name="connsiteY148" fmla="*/ 2906 h 10000"/>
                  <a:gd name="connsiteX149" fmla="*/ 6750 w 10000"/>
                  <a:gd name="connsiteY149" fmla="*/ 3249 h 10000"/>
                  <a:gd name="connsiteX150" fmla="*/ 7035 w 10000"/>
                  <a:gd name="connsiteY150" fmla="*/ 3479 h 10000"/>
                  <a:gd name="connsiteX151" fmla="*/ 7231 w 10000"/>
                  <a:gd name="connsiteY151" fmla="*/ 3564 h 10000"/>
                  <a:gd name="connsiteX152" fmla="*/ 7471 w 10000"/>
                  <a:gd name="connsiteY152" fmla="*/ 3474 h 10000"/>
                  <a:gd name="connsiteX153" fmla="*/ 7667 w 10000"/>
                  <a:gd name="connsiteY153" fmla="*/ 3339 h 10000"/>
                  <a:gd name="connsiteX154" fmla="*/ 8059 w 10000"/>
                  <a:gd name="connsiteY154" fmla="*/ 3080 h 10000"/>
                  <a:gd name="connsiteX155" fmla="*/ 8397 w 10000"/>
                  <a:gd name="connsiteY155" fmla="*/ 2782 h 10000"/>
                  <a:gd name="connsiteX156" fmla="*/ 8549 w 10000"/>
                  <a:gd name="connsiteY156" fmla="*/ 2619 h 10000"/>
                  <a:gd name="connsiteX157" fmla="*/ 8905 w 10000"/>
                  <a:gd name="connsiteY157" fmla="*/ 2361 h 10000"/>
                  <a:gd name="connsiteX158" fmla="*/ 9172 w 10000"/>
                  <a:gd name="connsiteY158" fmla="*/ 2333 h 10000"/>
                  <a:gd name="connsiteX159" fmla="*/ 9546 w 10000"/>
                  <a:gd name="connsiteY159" fmla="*/ 2333 h 10000"/>
                  <a:gd name="connsiteX160" fmla="*/ 9688 w 10000"/>
                  <a:gd name="connsiteY160" fmla="*/ 2333 h 10000"/>
                  <a:gd name="connsiteX161" fmla="*/ 9902 w 10000"/>
                  <a:gd name="connsiteY161" fmla="*/ 2316 h 10000"/>
                  <a:gd name="connsiteX162" fmla="*/ 9697 w 10000"/>
                  <a:gd name="connsiteY162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3526 w 10000"/>
                  <a:gd name="connsiteY101" fmla="*/ 9741 h 10000"/>
                  <a:gd name="connsiteX102" fmla="*/ 3918 w 10000"/>
                  <a:gd name="connsiteY102" fmla="*/ 9719 h 10000"/>
                  <a:gd name="connsiteX103" fmla="*/ 4114 w 10000"/>
                  <a:gd name="connsiteY103" fmla="*/ 9533 h 10000"/>
                  <a:gd name="connsiteX104" fmla="*/ 4212 w 10000"/>
                  <a:gd name="connsiteY104" fmla="*/ 9460 h 10000"/>
                  <a:gd name="connsiteX105" fmla="*/ 4381 w 10000"/>
                  <a:gd name="connsiteY105" fmla="*/ 9376 h 10000"/>
                  <a:gd name="connsiteX106" fmla="*/ 4488 w 10000"/>
                  <a:gd name="connsiteY106" fmla="*/ 9415 h 10000"/>
                  <a:gd name="connsiteX107" fmla="*/ 4826 w 10000"/>
                  <a:gd name="connsiteY107" fmla="*/ 9185 h 10000"/>
                  <a:gd name="connsiteX108" fmla="*/ 4639 w 10000"/>
                  <a:gd name="connsiteY108" fmla="*/ 8881 h 10000"/>
                  <a:gd name="connsiteX109" fmla="*/ 4720 w 10000"/>
                  <a:gd name="connsiteY109" fmla="*/ 7459 h 10000"/>
                  <a:gd name="connsiteX110" fmla="*/ 4898 w 10000"/>
                  <a:gd name="connsiteY110" fmla="*/ 8106 h 10000"/>
                  <a:gd name="connsiteX111" fmla="*/ 4996 w 10000"/>
                  <a:gd name="connsiteY111" fmla="*/ 8432 h 10000"/>
                  <a:gd name="connsiteX112" fmla="*/ 5049 w 10000"/>
                  <a:gd name="connsiteY112" fmla="*/ 8775 h 10000"/>
                  <a:gd name="connsiteX113" fmla="*/ 4978 w 10000"/>
                  <a:gd name="connsiteY113" fmla="*/ 8960 h 10000"/>
                  <a:gd name="connsiteX114" fmla="*/ 4951 w 10000"/>
                  <a:gd name="connsiteY114" fmla="*/ 9084 h 10000"/>
                  <a:gd name="connsiteX115" fmla="*/ 4889 w 10000"/>
                  <a:gd name="connsiteY115" fmla="*/ 9191 h 10000"/>
                  <a:gd name="connsiteX116" fmla="*/ 4835 w 10000"/>
                  <a:gd name="connsiteY116" fmla="*/ 9421 h 10000"/>
                  <a:gd name="connsiteX117" fmla="*/ 4577 w 10000"/>
                  <a:gd name="connsiteY117" fmla="*/ 9764 h 10000"/>
                  <a:gd name="connsiteX118" fmla="*/ 4559 w 10000"/>
                  <a:gd name="connsiteY118" fmla="*/ 9944 h 10000"/>
                  <a:gd name="connsiteX119" fmla="*/ 5387 w 10000"/>
                  <a:gd name="connsiteY119" fmla="*/ 9831 h 10000"/>
                  <a:gd name="connsiteX120" fmla="*/ 5557 w 10000"/>
                  <a:gd name="connsiteY120" fmla="*/ 9449 h 10000"/>
                  <a:gd name="connsiteX121" fmla="*/ 5654 w 10000"/>
                  <a:gd name="connsiteY121" fmla="*/ 9202 h 10000"/>
                  <a:gd name="connsiteX122" fmla="*/ 5601 w 10000"/>
                  <a:gd name="connsiteY122" fmla="*/ 9073 h 10000"/>
                  <a:gd name="connsiteX123" fmla="*/ 5610 w 10000"/>
                  <a:gd name="connsiteY123" fmla="*/ 9011 h 10000"/>
                  <a:gd name="connsiteX124" fmla="*/ 5583 w 10000"/>
                  <a:gd name="connsiteY124" fmla="*/ 8921 h 10000"/>
                  <a:gd name="connsiteX125" fmla="*/ 5583 w 10000"/>
                  <a:gd name="connsiteY125" fmla="*/ 8668 h 10000"/>
                  <a:gd name="connsiteX126" fmla="*/ 5654 w 10000"/>
                  <a:gd name="connsiteY126" fmla="*/ 8449 h 10000"/>
                  <a:gd name="connsiteX127" fmla="*/ 5708 w 10000"/>
                  <a:gd name="connsiteY127" fmla="*/ 8212 h 10000"/>
                  <a:gd name="connsiteX128" fmla="*/ 5744 w 10000"/>
                  <a:gd name="connsiteY128" fmla="*/ 7690 h 10000"/>
                  <a:gd name="connsiteX129" fmla="*/ 5485 w 10000"/>
                  <a:gd name="connsiteY129" fmla="*/ 7173 h 10000"/>
                  <a:gd name="connsiteX130" fmla="*/ 5450 w 10000"/>
                  <a:gd name="connsiteY130" fmla="*/ 7088 h 10000"/>
                  <a:gd name="connsiteX131" fmla="*/ 5476 w 10000"/>
                  <a:gd name="connsiteY131" fmla="*/ 6847 h 10000"/>
                  <a:gd name="connsiteX132" fmla="*/ 5476 w 10000"/>
                  <a:gd name="connsiteY132" fmla="*/ 6700 h 10000"/>
                  <a:gd name="connsiteX133" fmla="*/ 5503 w 10000"/>
                  <a:gd name="connsiteY133" fmla="*/ 6605 h 10000"/>
                  <a:gd name="connsiteX134" fmla="*/ 5503 w 10000"/>
                  <a:gd name="connsiteY134" fmla="*/ 6532 h 10000"/>
                  <a:gd name="connsiteX135" fmla="*/ 5548 w 10000"/>
                  <a:gd name="connsiteY135" fmla="*/ 6453 h 10000"/>
                  <a:gd name="connsiteX136" fmla="*/ 5708 w 10000"/>
                  <a:gd name="connsiteY136" fmla="*/ 5790 h 10000"/>
                  <a:gd name="connsiteX137" fmla="*/ 5850 w 10000"/>
                  <a:gd name="connsiteY137" fmla="*/ 5289 h 10000"/>
                  <a:gd name="connsiteX138" fmla="*/ 5806 w 10000"/>
                  <a:gd name="connsiteY138" fmla="*/ 4632 h 10000"/>
                  <a:gd name="connsiteX139" fmla="*/ 5788 w 10000"/>
                  <a:gd name="connsiteY139" fmla="*/ 4525 h 10000"/>
                  <a:gd name="connsiteX140" fmla="*/ 5659 w 10000"/>
                  <a:gd name="connsiteY140" fmla="*/ 4114 h 10000"/>
                  <a:gd name="connsiteX141" fmla="*/ 5617 w 10000"/>
                  <a:gd name="connsiteY141" fmla="*/ 3933 h 10000"/>
                  <a:gd name="connsiteX142" fmla="*/ 5707 w 10000"/>
                  <a:gd name="connsiteY142" fmla="*/ 3455 h 10000"/>
                  <a:gd name="connsiteX143" fmla="*/ 5857 w 10000"/>
                  <a:gd name="connsiteY143" fmla="*/ 3290 h 10000"/>
                  <a:gd name="connsiteX144" fmla="*/ 5947 w 10000"/>
                  <a:gd name="connsiteY144" fmla="*/ 3092 h 10000"/>
                  <a:gd name="connsiteX145" fmla="*/ 6224 w 10000"/>
                  <a:gd name="connsiteY145" fmla="*/ 2934 h 10000"/>
                  <a:gd name="connsiteX146" fmla="*/ 6224 w 10000"/>
                  <a:gd name="connsiteY146" fmla="*/ 2945 h 10000"/>
                  <a:gd name="connsiteX147" fmla="*/ 6233 w 10000"/>
                  <a:gd name="connsiteY147" fmla="*/ 2906 h 10000"/>
                  <a:gd name="connsiteX148" fmla="*/ 6750 w 10000"/>
                  <a:gd name="connsiteY148" fmla="*/ 3249 h 10000"/>
                  <a:gd name="connsiteX149" fmla="*/ 7035 w 10000"/>
                  <a:gd name="connsiteY149" fmla="*/ 3479 h 10000"/>
                  <a:gd name="connsiteX150" fmla="*/ 7231 w 10000"/>
                  <a:gd name="connsiteY150" fmla="*/ 3564 h 10000"/>
                  <a:gd name="connsiteX151" fmla="*/ 7471 w 10000"/>
                  <a:gd name="connsiteY151" fmla="*/ 3474 h 10000"/>
                  <a:gd name="connsiteX152" fmla="*/ 7667 w 10000"/>
                  <a:gd name="connsiteY152" fmla="*/ 3339 h 10000"/>
                  <a:gd name="connsiteX153" fmla="*/ 8059 w 10000"/>
                  <a:gd name="connsiteY153" fmla="*/ 3080 h 10000"/>
                  <a:gd name="connsiteX154" fmla="*/ 8397 w 10000"/>
                  <a:gd name="connsiteY154" fmla="*/ 2782 h 10000"/>
                  <a:gd name="connsiteX155" fmla="*/ 8549 w 10000"/>
                  <a:gd name="connsiteY155" fmla="*/ 2619 h 10000"/>
                  <a:gd name="connsiteX156" fmla="*/ 8905 w 10000"/>
                  <a:gd name="connsiteY156" fmla="*/ 2361 h 10000"/>
                  <a:gd name="connsiteX157" fmla="*/ 9172 w 10000"/>
                  <a:gd name="connsiteY157" fmla="*/ 2333 h 10000"/>
                  <a:gd name="connsiteX158" fmla="*/ 9546 w 10000"/>
                  <a:gd name="connsiteY158" fmla="*/ 2333 h 10000"/>
                  <a:gd name="connsiteX159" fmla="*/ 9688 w 10000"/>
                  <a:gd name="connsiteY159" fmla="*/ 2333 h 10000"/>
                  <a:gd name="connsiteX160" fmla="*/ 9902 w 10000"/>
                  <a:gd name="connsiteY160" fmla="*/ 2316 h 10000"/>
                  <a:gd name="connsiteX161" fmla="*/ 9697 w 10000"/>
                  <a:gd name="connsiteY161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3526 w 10000"/>
                  <a:gd name="connsiteY101" fmla="*/ 9741 h 10000"/>
                  <a:gd name="connsiteX102" fmla="*/ 4114 w 10000"/>
                  <a:gd name="connsiteY102" fmla="*/ 9533 h 10000"/>
                  <a:gd name="connsiteX103" fmla="*/ 4212 w 10000"/>
                  <a:gd name="connsiteY103" fmla="*/ 9460 h 10000"/>
                  <a:gd name="connsiteX104" fmla="*/ 4381 w 10000"/>
                  <a:gd name="connsiteY104" fmla="*/ 9376 h 10000"/>
                  <a:gd name="connsiteX105" fmla="*/ 4488 w 10000"/>
                  <a:gd name="connsiteY105" fmla="*/ 9415 h 10000"/>
                  <a:gd name="connsiteX106" fmla="*/ 4826 w 10000"/>
                  <a:gd name="connsiteY106" fmla="*/ 9185 h 10000"/>
                  <a:gd name="connsiteX107" fmla="*/ 4639 w 10000"/>
                  <a:gd name="connsiteY107" fmla="*/ 8881 h 10000"/>
                  <a:gd name="connsiteX108" fmla="*/ 4720 w 10000"/>
                  <a:gd name="connsiteY108" fmla="*/ 7459 h 10000"/>
                  <a:gd name="connsiteX109" fmla="*/ 4898 w 10000"/>
                  <a:gd name="connsiteY109" fmla="*/ 8106 h 10000"/>
                  <a:gd name="connsiteX110" fmla="*/ 4996 w 10000"/>
                  <a:gd name="connsiteY110" fmla="*/ 8432 h 10000"/>
                  <a:gd name="connsiteX111" fmla="*/ 5049 w 10000"/>
                  <a:gd name="connsiteY111" fmla="*/ 8775 h 10000"/>
                  <a:gd name="connsiteX112" fmla="*/ 4978 w 10000"/>
                  <a:gd name="connsiteY112" fmla="*/ 8960 h 10000"/>
                  <a:gd name="connsiteX113" fmla="*/ 4951 w 10000"/>
                  <a:gd name="connsiteY113" fmla="*/ 9084 h 10000"/>
                  <a:gd name="connsiteX114" fmla="*/ 4889 w 10000"/>
                  <a:gd name="connsiteY114" fmla="*/ 9191 h 10000"/>
                  <a:gd name="connsiteX115" fmla="*/ 4835 w 10000"/>
                  <a:gd name="connsiteY115" fmla="*/ 9421 h 10000"/>
                  <a:gd name="connsiteX116" fmla="*/ 4577 w 10000"/>
                  <a:gd name="connsiteY116" fmla="*/ 9764 h 10000"/>
                  <a:gd name="connsiteX117" fmla="*/ 4559 w 10000"/>
                  <a:gd name="connsiteY117" fmla="*/ 9944 h 10000"/>
                  <a:gd name="connsiteX118" fmla="*/ 5387 w 10000"/>
                  <a:gd name="connsiteY118" fmla="*/ 9831 h 10000"/>
                  <a:gd name="connsiteX119" fmla="*/ 5557 w 10000"/>
                  <a:gd name="connsiteY119" fmla="*/ 9449 h 10000"/>
                  <a:gd name="connsiteX120" fmla="*/ 5654 w 10000"/>
                  <a:gd name="connsiteY120" fmla="*/ 9202 h 10000"/>
                  <a:gd name="connsiteX121" fmla="*/ 5601 w 10000"/>
                  <a:gd name="connsiteY121" fmla="*/ 9073 h 10000"/>
                  <a:gd name="connsiteX122" fmla="*/ 5610 w 10000"/>
                  <a:gd name="connsiteY122" fmla="*/ 9011 h 10000"/>
                  <a:gd name="connsiteX123" fmla="*/ 5583 w 10000"/>
                  <a:gd name="connsiteY123" fmla="*/ 8921 h 10000"/>
                  <a:gd name="connsiteX124" fmla="*/ 5583 w 10000"/>
                  <a:gd name="connsiteY124" fmla="*/ 8668 h 10000"/>
                  <a:gd name="connsiteX125" fmla="*/ 5654 w 10000"/>
                  <a:gd name="connsiteY125" fmla="*/ 8449 h 10000"/>
                  <a:gd name="connsiteX126" fmla="*/ 5708 w 10000"/>
                  <a:gd name="connsiteY126" fmla="*/ 8212 h 10000"/>
                  <a:gd name="connsiteX127" fmla="*/ 5744 w 10000"/>
                  <a:gd name="connsiteY127" fmla="*/ 7690 h 10000"/>
                  <a:gd name="connsiteX128" fmla="*/ 5485 w 10000"/>
                  <a:gd name="connsiteY128" fmla="*/ 7173 h 10000"/>
                  <a:gd name="connsiteX129" fmla="*/ 5450 w 10000"/>
                  <a:gd name="connsiteY129" fmla="*/ 7088 h 10000"/>
                  <a:gd name="connsiteX130" fmla="*/ 5476 w 10000"/>
                  <a:gd name="connsiteY130" fmla="*/ 6847 h 10000"/>
                  <a:gd name="connsiteX131" fmla="*/ 5476 w 10000"/>
                  <a:gd name="connsiteY131" fmla="*/ 6700 h 10000"/>
                  <a:gd name="connsiteX132" fmla="*/ 5503 w 10000"/>
                  <a:gd name="connsiteY132" fmla="*/ 6605 h 10000"/>
                  <a:gd name="connsiteX133" fmla="*/ 5503 w 10000"/>
                  <a:gd name="connsiteY133" fmla="*/ 6532 h 10000"/>
                  <a:gd name="connsiteX134" fmla="*/ 5548 w 10000"/>
                  <a:gd name="connsiteY134" fmla="*/ 6453 h 10000"/>
                  <a:gd name="connsiteX135" fmla="*/ 5708 w 10000"/>
                  <a:gd name="connsiteY135" fmla="*/ 5790 h 10000"/>
                  <a:gd name="connsiteX136" fmla="*/ 5850 w 10000"/>
                  <a:gd name="connsiteY136" fmla="*/ 5289 h 10000"/>
                  <a:gd name="connsiteX137" fmla="*/ 5806 w 10000"/>
                  <a:gd name="connsiteY137" fmla="*/ 4632 h 10000"/>
                  <a:gd name="connsiteX138" fmla="*/ 5788 w 10000"/>
                  <a:gd name="connsiteY138" fmla="*/ 4525 h 10000"/>
                  <a:gd name="connsiteX139" fmla="*/ 5659 w 10000"/>
                  <a:gd name="connsiteY139" fmla="*/ 4114 h 10000"/>
                  <a:gd name="connsiteX140" fmla="*/ 5617 w 10000"/>
                  <a:gd name="connsiteY140" fmla="*/ 3933 h 10000"/>
                  <a:gd name="connsiteX141" fmla="*/ 5707 w 10000"/>
                  <a:gd name="connsiteY141" fmla="*/ 3455 h 10000"/>
                  <a:gd name="connsiteX142" fmla="*/ 5857 w 10000"/>
                  <a:gd name="connsiteY142" fmla="*/ 3290 h 10000"/>
                  <a:gd name="connsiteX143" fmla="*/ 5947 w 10000"/>
                  <a:gd name="connsiteY143" fmla="*/ 3092 h 10000"/>
                  <a:gd name="connsiteX144" fmla="*/ 6224 w 10000"/>
                  <a:gd name="connsiteY144" fmla="*/ 2934 h 10000"/>
                  <a:gd name="connsiteX145" fmla="*/ 6224 w 10000"/>
                  <a:gd name="connsiteY145" fmla="*/ 2945 h 10000"/>
                  <a:gd name="connsiteX146" fmla="*/ 6233 w 10000"/>
                  <a:gd name="connsiteY146" fmla="*/ 2906 h 10000"/>
                  <a:gd name="connsiteX147" fmla="*/ 6750 w 10000"/>
                  <a:gd name="connsiteY147" fmla="*/ 3249 h 10000"/>
                  <a:gd name="connsiteX148" fmla="*/ 7035 w 10000"/>
                  <a:gd name="connsiteY148" fmla="*/ 3479 h 10000"/>
                  <a:gd name="connsiteX149" fmla="*/ 7231 w 10000"/>
                  <a:gd name="connsiteY149" fmla="*/ 3564 h 10000"/>
                  <a:gd name="connsiteX150" fmla="*/ 7471 w 10000"/>
                  <a:gd name="connsiteY150" fmla="*/ 3474 h 10000"/>
                  <a:gd name="connsiteX151" fmla="*/ 7667 w 10000"/>
                  <a:gd name="connsiteY151" fmla="*/ 3339 h 10000"/>
                  <a:gd name="connsiteX152" fmla="*/ 8059 w 10000"/>
                  <a:gd name="connsiteY152" fmla="*/ 3080 h 10000"/>
                  <a:gd name="connsiteX153" fmla="*/ 8397 w 10000"/>
                  <a:gd name="connsiteY153" fmla="*/ 2782 h 10000"/>
                  <a:gd name="connsiteX154" fmla="*/ 8549 w 10000"/>
                  <a:gd name="connsiteY154" fmla="*/ 2619 h 10000"/>
                  <a:gd name="connsiteX155" fmla="*/ 8905 w 10000"/>
                  <a:gd name="connsiteY155" fmla="*/ 2361 h 10000"/>
                  <a:gd name="connsiteX156" fmla="*/ 9172 w 10000"/>
                  <a:gd name="connsiteY156" fmla="*/ 2333 h 10000"/>
                  <a:gd name="connsiteX157" fmla="*/ 9546 w 10000"/>
                  <a:gd name="connsiteY157" fmla="*/ 2333 h 10000"/>
                  <a:gd name="connsiteX158" fmla="*/ 9688 w 10000"/>
                  <a:gd name="connsiteY158" fmla="*/ 2333 h 10000"/>
                  <a:gd name="connsiteX159" fmla="*/ 9902 w 10000"/>
                  <a:gd name="connsiteY159" fmla="*/ 2316 h 10000"/>
                  <a:gd name="connsiteX160" fmla="*/ 9697 w 10000"/>
                  <a:gd name="connsiteY160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4114 w 10000"/>
                  <a:gd name="connsiteY101" fmla="*/ 9533 h 10000"/>
                  <a:gd name="connsiteX102" fmla="*/ 4212 w 10000"/>
                  <a:gd name="connsiteY102" fmla="*/ 9460 h 10000"/>
                  <a:gd name="connsiteX103" fmla="*/ 4381 w 10000"/>
                  <a:gd name="connsiteY103" fmla="*/ 9376 h 10000"/>
                  <a:gd name="connsiteX104" fmla="*/ 4488 w 10000"/>
                  <a:gd name="connsiteY104" fmla="*/ 9415 h 10000"/>
                  <a:gd name="connsiteX105" fmla="*/ 4826 w 10000"/>
                  <a:gd name="connsiteY105" fmla="*/ 9185 h 10000"/>
                  <a:gd name="connsiteX106" fmla="*/ 4639 w 10000"/>
                  <a:gd name="connsiteY106" fmla="*/ 8881 h 10000"/>
                  <a:gd name="connsiteX107" fmla="*/ 4720 w 10000"/>
                  <a:gd name="connsiteY107" fmla="*/ 7459 h 10000"/>
                  <a:gd name="connsiteX108" fmla="*/ 4898 w 10000"/>
                  <a:gd name="connsiteY108" fmla="*/ 8106 h 10000"/>
                  <a:gd name="connsiteX109" fmla="*/ 4996 w 10000"/>
                  <a:gd name="connsiteY109" fmla="*/ 8432 h 10000"/>
                  <a:gd name="connsiteX110" fmla="*/ 5049 w 10000"/>
                  <a:gd name="connsiteY110" fmla="*/ 8775 h 10000"/>
                  <a:gd name="connsiteX111" fmla="*/ 4978 w 10000"/>
                  <a:gd name="connsiteY111" fmla="*/ 8960 h 10000"/>
                  <a:gd name="connsiteX112" fmla="*/ 4951 w 10000"/>
                  <a:gd name="connsiteY112" fmla="*/ 9084 h 10000"/>
                  <a:gd name="connsiteX113" fmla="*/ 4889 w 10000"/>
                  <a:gd name="connsiteY113" fmla="*/ 9191 h 10000"/>
                  <a:gd name="connsiteX114" fmla="*/ 4835 w 10000"/>
                  <a:gd name="connsiteY114" fmla="*/ 9421 h 10000"/>
                  <a:gd name="connsiteX115" fmla="*/ 4577 w 10000"/>
                  <a:gd name="connsiteY115" fmla="*/ 9764 h 10000"/>
                  <a:gd name="connsiteX116" fmla="*/ 4559 w 10000"/>
                  <a:gd name="connsiteY116" fmla="*/ 9944 h 10000"/>
                  <a:gd name="connsiteX117" fmla="*/ 5387 w 10000"/>
                  <a:gd name="connsiteY117" fmla="*/ 9831 h 10000"/>
                  <a:gd name="connsiteX118" fmla="*/ 5557 w 10000"/>
                  <a:gd name="connsiteY118" fmla="*/ 9449 h 10000"/>
                  <a:gd name="connsiteX119" fmla="*/ 5654 w 10000"/>
                  <a:gd name="connsiteY119" fmla="*/ 9202 h 10000"/>
                  <a:gd name="connsiteX120" fmla="*/ 5601 w 10000"/>
                  <a:gd name="connsiteY120" fmla="*/ 9073 h 10000"/>
                  <a:gd name="connsiteX121" fmla="*/ 5610 w 10000"/>
                  <a:gd name="connsiteY121" fmla="*/ 9011 h 10000"/>
                  <a:gd name="connsiteX122" fmla="*/ 5583 w 10000"/>
                  <a:gd name="connsiteY122" fmla="*/ 8921 h 10000"/>
                  <a:gd name="connsiteX123" fmla="*/ 5583 w 10000"/>
                  <a:gd name="connsiteY123" fmla="*/ 8668 h 10000"/>
                  <a:gd name="connsiteX124" fmla="*/ 5654 w 10000"/>
                  <a:gd name="connsiteY124" fmla="*/ 8449 h 10000"/>
                  <a:gd name="connsiteX125" fmla="*/ 5708 w 10000"/>
                  <a:gd name="connsiteY125" fmla="*/ 8212 h 10000"/>
                  <a:gd name="connsiteX126" fmla="*/ 5744 w 10000"/>
                  <a:gd name="connsiteY126" fmla="*/ 7690 h 10000"/>
                  <a:gd name="connsiteX127" fmla="*/ 5485 w 10000"/>
                  <a:gd name="connsiteY127" fmla="*/ 7173 h 10000"/>
                  <a:gd name="connsiteX128" fmla="*/ 5450 w 10000"/>
                  <a:gd name="connsiteY128" fmla="*/ 7088 h 10000"/>
                  <a:gd name="connsiteX129" fmla="*/ 5476 w 10000"/>
                  <a:gd name="connsiteY129" fmla="*/ 6847 h 10000"/>
                  <a:gd name="connsiteX130" fmla="*/ 5476 w 10000"/>
                  <a:gd name="connsiteY130" fmla="*/ 6700 h 10000"/>
                  <a:gd name="connsiteX131" fmla="*/ 5503 w 10000"/>
                  <a:gd name="connsiteY131" fmla="*/ 6605 h 10000"/>
                  <a:gd name="connsiteX132" fmla="*/ 5503 w 10000"/>
                  <a:gd name="connsiteY132" fmla="*/ 6532 h 10000"/>
                  <a:gd name="connsiteX133" fmla="*/ 5548 w 10000"/>
                  <a:gd name="connsiteY133" fmla="*/ 6453 h 10000"/>
                  <a:gd name="connsiteX134" fmla="*/ 5708 w 10000"/>
                  <a:gd name="connsiteY134" fmla="*/ 5790 h 10000"/>
                  <a:gd name="connsiteX135" fmla="*/ 5850 w 10000"/>
                  <a:gd name="connsiteY135" fmla="*/ 5289 h 10000"/>
                  <a:gd name="connsiteX136" fmla="*/ 5806 w 10000"/>
                  <a:gd name="connsiteY136" fmla="*/ 4632 h 10000"/>
                  <a:gd name="connsiteX137" fmla="*/ 5788 w 10000"/>
                  <a:gd name="connsiteY137" fmla="*/ 4525 h 10000"/>
                  <a:gd name="connsiteX138" fmla="*/ 5659 w 10000"/>
                  <a:gd name="connsiteY138" fmla="*/ 4114 h 10000"/>
                  <a:gd name="connsiteX139" fmla="*/ 5617 w 10000"/>
                  <a:gd name="connsiteY139" fmla="*/ 3933 h 10000"/>
                  <a:gd name="connsiteX140" fmla="*/ 5707 w 10000"/>
                  <a:gd name="connsiteY140" fmla="*/ 3455 h 10000"/>
                  <a:gd name="connsiteX141" fmla="*/ 5857 w 10000"/>
                  <a:gd name="connsiteY141" fmla="*/ 3290 h 10000"/>
                  <a:gd name="connsiteX142" fmla="*/ 5947 w 10000"/>
                  <a:gd name="connsiteY142" fmla="*/ 3092 h 10000"/>
                  <a:gd name="connsiteX143" fmla="*/ 6224 w 10000"/>
                  <a:gd name="connsiteY143" fmla="*/ 2934 h 10000"/>
                  <a:gd name="connsiteX144" fmla="*/ 6224 w 10000"/>
                  <a:gd name="connsiteY144" fmla="*/ 2945 h 10000"/>
                  <a:gd name="connsiteX145" fmla="*/ 6233 w 10000"/>
                  <a:gd name="connsiteY145" fmla="*/ 2906 h 10000"/>
                  <a:gd name="connsiteX146" fmla="*/ 6750 w 10000"/>
                  <a:gd name="connsiteY146" fmla="*/ 3249 h 10000"/>
                  <a:gd name="connsiteX147" fmla="*/ 7035 w 10000"/>
                  <a:gd name="connsiteY147" fmla="*/ 3479 h 10000"/>
                  <a:gd name="connsiteX148" fmla="*/ 7231 w 10000"/>
                  <a:gd name="connsiteY148" fmla="*/ 3564 h 10000"/>
                  <a:gd name="connsiteX149" fmla="*/ 7471 w 10000"/>
                  <a:gd name="connsiteY149" fmla="*/ 3474 h 10000"/>
                  <a:gd name="connsiteX150" fmla="*/ 7667 w 10000"/>
                  <a:gd name="connsiteY150" fmla="*/ 3339 h 10000"/>
                  <a:gd name="connsiteX151" fmla="*/ 8059 w 10000"/>
                  <a:gd name="connsiteY151" fmla="*/ 3080 h 10000"/>
                  <a:gd name="connsiteX152" fmla="*/ 8397 w 10000"/>
                  <a:gd name="connsiteY152" fmla="*/ 2782 h 10000"/>
                  <a:gd name="connsiteX153" fmla="*/ 8549 w 10000"/>
                  <a:gd name="connsiteY153" fmla="*/ 2619 h 10000"/>
                  <a:gd name="connsiteX154" fmla="*/ 8905 w 10000"/>
                  <a:gd name="connsiteY154" fmla="*/ 2361 h 10000"/>
                  <a:gd name="connsiteX155" fmla="*/ 9172 w 10000"/>
                  <a:gd name="connsiteY155" fmla="*/ 2333 h 10000"/>
                  <a:gd name="connsiteX156" fmla="*/ 9546 w 10000"/>
                  <a:gd name="connsiteY156" fmla="*/ 2333 h 10000"/>
                  <a:gd name="connsiteX157" fmla="*/ 9688 w 10000"/>
                  <a:gd name="connsiteY157" fmla="*/ 2333 h 10000"/>
                  <a:gd name="connsiteX158" fmla="*/ 9902 w 10000"/>
                  <a:gd name="connsiteY158" fmla="*/ 2316 h 10000"/>
                  <a:gd name="connsiteX159" fmla="*/ 9697 w 10000"/>
                  <a:gd name="connsiteY15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4114 w 10000"/>
                  <a:gd name="connsiteY101" fmla="*/ 9533 h 10000"/>
                  <a:gd name="connsiteX102" fmla="*/ 4212 w 10000"/>
                  <a:gd name="connsiteY102" fmla="*/ 9460 h 10000"/>
                  <a:gd name="connsiteX103" fmla="*/ 4381 w 10000"/>
                  <a:gd name="connsiteY103" fmla="*/ 9376 h 10000"/>
                  <a:gd name="connsiteX104" fmla="*/ 4488 w 10000"/>
                  <a:gd name="connsiteY104" fmla="*/ 9415 h 10000"/>
                  <a:gd name="connsiteX105" fmla="*/ 4826 w 10000"/>
                  <a:gd name="connsiteY105" fmla="*/ 9185 h 10000"/>
                  <a:gd name="connsiteX106" fmla="*/ 4639 w 10000"/>
                  <a:gd name="connsiteY106" fmla="*/ 8881 h 10000"/>
                  <a:gd name="connsiteX107" fmla="*/ 4720 w 10000"/>
                  <a:gd name="connsiteY107" fmla="*/ 7459 h 10000"/>
                  <a:gd name="connsiteX108" fmla="*/ 4898 w 10000"/>
                  <a:gd name="connsiteY108" fmla="*/ 8106 h 10000"/>
                  <a:gd name="connsiteX109" fmla="*/ 4996 w 10000"/>
                  <a:gd name="connsiteY109" fmla="*/ 8432 h 10000"/>
                  <a:gd name="connsiteX110" fmla="*/ 5049 w 10000"/>
                  <a:gd name="connsiteY110" fmla="*/ 8775 h 10000"/>
                  <a:gd name="connsiteX111" fmla="*/ 4978 w 10000"/>
                  <a:gd name="connsiteY111" fmla="*/ 8960 h 10000"/>
                  <a:gd name="connsiteX112" fmla="*/ 4951 w 10000"/>
                  <a:gd name="connsiteY112" fmla="*/ 9084 h 10000"/>
                  <a:gd name="connsiteX113" fmla="*/ 4889 w 10000"/>
                  <a:gd name="connsiteY113" fmla="*/ 9191 h 10000"/>
                  <a:gd name="connsiteX114" fmla="*/ 4835 w 10000"/>
                  <a:gd name="connsiteY114" fmla="*/ 9421 h 10000"/>
                  <a:gd name="connsiteX115" fmla="*/ 4577 w 10000"/>
                  <a:gd name="connsiteY115" fmla="*/ 9764 h 10000"/>
                  <a:gd name="connsiteX116" fmla="*/ 4559 w 10000"/>
                  <a:gd name="connsiteY116" fmla="*/ 9944 h 10000"/>
                  <a:gd name="connsiteX117" fmla="*/ 5387 w 10000"/>
                  <a:gd name="connsiteY117" fmla="*/ 9831 h 10000"/>
                  <a:gd name="connsiteX118" fmla="*/ 5557 w 10000"/>
                  <a:gd name="connsiteY118" fmla="*/ 9449 h 10000"/>
                  <a:gd name="connsiteX119" fmla="*/ 5654 w 10000"/>
                  <a:gd name="connsiteY119" fmla="*/ 9202 h 10000"/>
                  <a:gd name="connsiteX120" fmla="*/ 5601 w 10000"/>
                  <a:gd name="connsiteY120" fmla="*/ 9073 h 10000"/>
                  <a:gd name="connsiteX121" fmla="*/ 5610 w 10000"/>
                  <a:gd name="connsiteY121" fmla="*/ 9011 h 10000"/>
                  <a:gd name="connsiteX122" fmla="*/ 5583 w 10000"/>
                  <a:gd name="connsiteY122" fmla="*/ 8921 h 10000"/>
                  <a:gd name="connsiteX123" fmla="*/ 5583 w 10000"/>
                  <a:gd name="connsiteY123" fmla="*/ 8668 h 10000"/>
                  <a:gd name="connsiteX124" fmla="*/ 5654 w 10000"/>
                  <a:gd name="connsiteY124" fmla="*/ 8449 h 10000"/>
                  <a:gd name="connsiteX125" fmla="*/ 5708 w 10000"/>
                  <a:gd name="connsiteY125" fmla="*/ 8212 h 10000"/>
                  <a:gd name="connsiteX126" fmla="*/ 5744 w 10000"/>
                  <a:gd name="connsiteY126" fmla="*/ 7690 h 10000"/>
                  <a:gd name="connsiteX127" fmla="*/ 5485 w 10000"/>
                  <a:gd name="connsiteY127" fmla="*/ 7173 h 10000"/>
                  <a:gd name="connsiteX128" fmla="*/ 5450 w 10000"/>
                  <a:gd name="connsiteY128" fmla="*/ 7088 h 10000"/>
                  <a:gd name="connsiteX129" fmla="*/ 5476 w 10000"/>
                  <a:gd name="connsiteY129" fmla="*/ 6847 h 10000"/>
                  <a:gd name="connsiteX130" fmla="*/ 5476 w 10000"/>
                  <a:gd name="connsiteY130" fmla="*/ 6700 h 10000"/>
                  <a:gd name="connsiteX131" fmla="*/ 5503 w 10000"/>
                  <a:gd name="connsiteY131" fmla="*/ 6605 h 10000"/>
                  <a:gd name="connsiteX132" fmla="*/ 5503 w 10000"/>
                  <a:gd name="connsiteY132" fmla="*/ 6532 h 10000"/>
                  <a:gd name="connsiteX133" fmla="*/ 5548 w 10000"/>
                  <a:gd name="connsiteY133" fmla="*/ 6453 h 10000"/>
                  <a:gd name="connsiteX134" fmla="*/ 5708 w 10000"/>
                  <a:gd name="connsiteY134" fmla="*/ 5790 h 10000"/>
                  <a:gd name="connsiteX135" fmla="*/ 5850 w 10000"/>
                  <a:gd name="connsiteY135" fmla="*/ 5289 h 10000"/>
                  <a:gd name="connsiteX136" fmla="*/ 5806 w 10000"/>
                  <a:gd name="connsiteY136" fmla="*/ 4632 h 10000"/>
                  <a:gd name="connsiteX137" fmla="*/ 5788 w 10000"/>
                  <a:gd name="connsiteY137" fmla="*/ 4525 h 10000"/>
                  <a:gd name="connsiteX138" fmla="*/ 5659 w 10000"/>
                  <a:gd name="connsiteY138" fmla="*/ 4114 h 10000"/>
                  <a:gd name="connsiteX139" fmla="*/ 5617 w 10000"/>
                  <a:gd name="connsiteY139" fmla="*/ 3933 h 10000"/>
                  <a:gd name="connsiteX140" fmla="*/ 5707 w 10000"/>
                  <a:gd name="connsiteY140" fmla="*/ 3455 h 10000"/>
                  <a:gd name="connsiteX141" fmla="*/ 5857 w 10000"/>
                  <a:gd name="connsiteY141" fmla="*/ 3290 h 10000"/>
                  <a:gd name="connsiteX142" fmla="*/ 5947 w 10000"/>
                  <a:gd name="connsiteY142" fmla="*/ 3092 h 10000"/>
                  <a:gd name="connsiteX143" fmla="*/ 6224 w 10000"/>
                  <a:gd name="connsiteY143" fmla="*/ 2934 h 10000"/>
                  <a:gd name="connsiteX144" fmla="*/ 6224 w 10000"/>
                  <a:gd name="connsiteY144" fmla="*/ 2945 h 10000"/>
                  <a:gd name="connsiteX145" fmla="*/ 6233 w 10000"/>
                  <a:gd name="connsiteY145" fmla="*/ 2906 h 10000"/>
                  <a:gd name="connsiteX146" fmla="*/ 6750 w 10000"/>
                  <a:gd name="connsiteY146" fmla="*/ 3249 h 10000"/>
                  <a:gd name="connsiteX147" fmla="*/ 7035 w 10000"/>
                  <a:gd name="connsiteY147" fmla="*/ 3479 h 10000"/>
                  <a:gd name="connsiteX148" fmla="*/ 7231 w 10000"/>
                  <a:gd name="connsiteY148" fmla="*/ 3564 h 10000"/>
                  <a:gd name="connsiteX149" fmla="*/ 7471 w 10000"/>
                  <a:gd name="connsiteY149" fmla="*/ 3474 h 10000"/>
                  <a:gd name="connsiteX150" fmla="*/ 7667 w 10000"/>
                  <a:gd name="connsiteY150" fmla="*/ 3339 h 10000"/>
                  <a:gd name="connsiteX151" fmla="*/ 8059 w 10000"/>
                  <a:gd name="connsiteY151" fmla="*/ 3080 h 10000"/>
                  <a:gd name="connsiteX152" fmla="*/ 8397 w 10000"/>
                  <a:gd name="connsiteY152" fmla="*/ 2782 h 10000"/>
                  <a:gd name="connsiteX153" fmla="*/ 8549 w 10000"/>
                  <a:gd name="connsiteY153" fmla="*/ 2619 h 10000"/>
                  <a:gd name="connsiteX154" fmla="*/ 8905 w 10000"/>
                  <a:gd name="connsiteY154" fmla="*/ 2361 h 10000"/>
                  <a:gd name="connsiteX155" fmla="*/ 9172 w 10000"/>
                  <a:gd name="connsiteY155" fmla="*/ 2333 h 10000"/>
                  <a:gd name="connsiteX156" fmla="*/ 9546 w 10000"/>
                  <a:gd name="connsiteY156" fmla="*/ 2333 h 10000"/>
                  <a:gd name="connsiteX157" fmla="*/ 9688 w 10000"/>
                  <a:gd name="connsiteY157" fmla="*/ 2333 h 10000"/>
                  <a:gd name="connsiteX158" fmla="*/ 9902 w 10000"/>
                  <a:gd name="connsiteY158" fmla="*/ 2316 h 10000"/>
                  <a:gd name="connsiteX159" fmla="*/ 9697 w 10000"/>
                  <a:gd name="connsiteY159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4114 w 10000"/>
                  <a:gd name="connsiteY101" fmla="*/ 9533 h 10000"/>
                  <a:gd name="connsiteX102" fmla="*/ 4212 w 10000"/>
                  <a:gd name="connsiteY102" fmla="*/ 9460 h 10000"/>
                  <a:gd name="connsiteX103" fmla="*/ 4381 w 10000"/>
                  <a:gd name="connsiteY103" fmla="*/ 9376 h 10000"/>
                  <a:gd name="connsiteX104" fmla="*/ 4826 w 10000"/>
                  <a:gd name="connsiteY104" fmla="*/ 9185 h 10000"/>
                  <a:gd name="connsiteX105" fmla="*/ 4639 w 10000"/>
                  <a:gd name="connsiteY105" fmla="*/ 8881 h 10000"/>
                  <a:gd name="connsiteX106" fmla="*/ 4720 w 10000"/>
                  <a:gd name="connsiteY106" fmla="*/ 7459 h 10000"/>
                  <a:gd name="connsiteX107" fmla="*/ 4898 w 10000"/>
                  <a:gd name="connsiteY107" fmla="*/ 8106 h 10000"/>
                  <a:gd name="connsiteX108" fmla="*/ 4996 w 10000"/>
                  <a:gd name="connsiteY108" fmla="*/ 8432 h 10000"/>
                  <a:gd name="connsiteX109" fmla="*/ 5049 w 10000"/>
                  <a:gd name="connsiteY109" fmla="*/ 8775 h 10000"/>
                  <a:gd name="connsiteX110" fmla="*/ 4978 w 10000"/>
                  <a:gd name="connsiteY110" fmla="*/ 8960 h 10000"/>
                  <a:gd name="connsiteX111" fmla="*/ 4951 w 10000"/>
                  <a:gd name="connsiteY111" fmla="*/ 9084 h 10000"/>
                  <a:gd name="connsiteX112" fmla="*/ 4889 w 10000"/>
                  <a:gd name="connsiteY112" fmla="*/ 9191 h 10000"/>
                  <a:gd name="connsiteX113" fmla="*/ 4835 w 10000"/>
                  <a:gd name="connsiteY113" fmla="*/ 9421 h 10000"/>
                  <a:gd name="connsiteX114" fmla="*/ 4577 w 10000"/>
                  <a:gd name="connsiteY114" fmla="*/ 9764 h 10000"/>
                  <a:gd name="connsiteX115" fmla="*/ 4559 w 10000"/>
                  <a:gd name="connsiteY115" fmla="*/ 9944 h 10000"/>
                  <a:gd name="connsiteX116" fmla="*/ 5387 w 10000"/>
                  <a:gd name="connsiteY116" fmla="*/ 9831 h 10000"/>
                  <a:gd name="connsiteX117" fmla="*/ 5557 w 10000"/>
                  <a:gd name="connsiteY117" fmla="*/ 9449 h 10000"/>
                  <a:gd name="connsiteX118" fmla="*/ 5654 w 10000"/>
                  <a:gd name="connsiteY118" fmla="*/ 9202 h 10000"/>
                  <a:gd name="connsiteX119" fmla="*/ 5601 w 10000"/>
                  <a:gd name="connsiteY119" fmla="*/ 9073 h 10000"/>
                  <a:gd name="connsiteX120" fmla="*/ 5610 w 10000"/>
                  <a:gd name="connsiteY120" fmla="*/ 9011 h 10000"/>
                  <a:gd name="connsiteX121" fmla="*/ 5583 w 10000"/>
                  <a:gd name="connsiteY121" fmla="*/ 8921 h 10000"/>
                  <a:gd name="connsiteX122" fmla="*/ 5583 w 10000"/>
                  <a:gd name="connsiteY122" fmla="*/ 8668 h 10000"/>
                  <a:gd name="connsiteX123" fmla="*/ 5654 w 10000"/>
                  <a:gd name="connsiteY123" fmla="*/ 8449 h 10000"/>
                  <a:gd name="connsiteX124" fmla="*/ 5708 w 10000"/>
                  <a:gd name="connsiteY124" fmla="*/ 8212 h 10000"/>
                  <a:gd name="connsiteX125" fmla="*/ 5744 w 10000"/>
                  <a:gd name="connsiteY125" fmla="*/ 7690 h 10000"/>
                  <a:gd name="connsiteX126" fmla="*/ 5485 w 10000"/>
                  <a:gd name="connsiteY126" fmla="*/ 7173 h 10000"/>
                  <a:gd name="connsiteX127" fmla="*/ 5450 w 10000"/>
                  <a:gd name="connsiteY127" fmla="*/ 7088 h 10000"/>
                  <a:gd name="connsiteX128" fmla="*/ 5476 w 10000"/>
                  <a:gd name="connsiteY128" fmla="*/ 6847 h 10000"/>
                  <a:gd name="connsiteX129" fmla="*/ 5476 w 10000"/>
                  <a:gd name="connsiteY129" fmla="*/ 6700 h 10000"/>
                  <a:gd name="connsiteX130" fmla="*/ 5503 w 10000"/>
                  <a:gd name="connsiteY130" fmla="*/ 6605 h 10000"/>
                  <a:gd name="connsiteX131" fmla="*/ 5503 w 10000"/>
                  <a:gd name="connsiteY131" fmla="*/ 6532 h 10000"/>
                  <a:gd name="connsiteX132" fmla="*/ 5548 w 10000"/>
                  <a:gd name="connsiteY132" fmla="*/ 6453 h 10000"/>
                  <a:gd name="connsiteX133" fmla="*/ 5708 w 10000"/>
                  <a:gd name="connsiteY133" fmla="*/ 5790 h 10000"/>
                  <a:gd name="connsiteX134" fmla="*/ 5850 w 10000"/>
                  <a:gd name="connsiteY134" fmla="*/ 5289 h 10000"/>
                  <a:gd name="connsiteX135" fmla="*/ 5806 w 10000"/>
                  <a:gd name="connsiteY135" fmla="*/ 4632 h 10000"/>
                  <a:gd name="connsiteX136" fmla="*/ 5788 w 10000"/>
                  <a:gd name="connsiteY136" fmla="*/ 4525 h 10000"/>
                  <a:gd name="connsiteX137" fmla="*/ 5659 w 10000"/>
                  <a:gd name="connsiteY137" fmla="*/ 4114 h 10000"/>
                  <a:gd name="connsiteX138" fmla="*/ 5617 w 10000"/>
                  <a:gd name="connsiteY138" fmla="*/ 3933 h 10000"/>
                  <a:gd name="connsiteX139" fmla="*/ 5707 w 10000"/>
                  <a:gd name="connsiteY139" fmla="*/ 3455 h 10000"/>
                  <a:gd name="connsiteX140" fmla="*/ 5857 w 10000"/>
                  <a:gd name="connsiteY140" fmla="*/ 3290 h 10000"/>
                  <a:gd name="connsiteX141" fmla="*/ 5947 w 10000"/>
                  <a:gd name="connsiteY141" fmla="*/ 3092 h 10000"/>
                  <a:gd name="connsiteX142" fmla="*/ 6224 w 10000"/>
                  <a:gd name="connsiteY142" fmla="*/ 2934 h 10000"/>
                  <a:gd name="connsiteX143" fmla="*/ 6224 w 10000"/>
                  <a:gd name="connsiteY143" fmla="*/ 2945 h 10000"/>
                  <a:gd name="connsiteX144" fmla="*/ 6233 w 10000"/>
                  <a:gd name="connsiteY144" fmla="*/ 2906 h 10000"/>
                  <a:gd name="connsiteX145" fmla="*/ 6750 w 10000"/>
                  <a:gd name="connsiteY145" fmla="*/ 3249 h 10000"/>
                  <a:gd name="connsiteX146" fmla="*/ 7035 w 10000"/>
                  <a:gd name="connsiteY146" fmla="*/ 3479 h 10000"/>
                  <a:gd name="connsiteX147" fmla="*/ 7231 w 10000"/>
                  <a:gd name="connsiteY147" fmla="*/ 3564 h 10000"/>
                  <a:gd name="connsiteX148" fmla="*/ 7471 w 10000"/>
                  <a:gd name="connsiteY148" fmla="*/ 3474 h 10000"/>
                  <a:gd name="connsiteX149" fmla="*/ 7667 w 10000"/>
                  <a:gd name="connsiteY149" fmla="*/ 3339 h 10000"/>
                  <a:gd name="connsiteX150" fmla="*/ 8059 w 10000"/>
                  <a:gd name="connsiteY150" fmla="*/ 3080 h 10000"/>
                  <a:gd name="connsiteX151" fmla="*/ 8397 w 10000"/>
                  <a:gd name="connsiteY151" fmla="*/ 2782 h 10000"/>
                  <a:gd name="connsiteX152" fmla="*/ 8549 w 10000"/>
                  <a:gd name="connsiteY152" fmla="*/ 2619 h 10000"/>
                  <a:gd name="connsiteX153" fmla="*/ 8905 w 10000"/>
                  <a:gd name="connsiteY153" fmla="*/ 2361 h 10000"/>
                  <a:gd name="connsiteX154" fmla="*/ 9172 w 10000"/>
                  <a:gd name="connsiteY154" fmla="*/ 2333 h 10000"/>
                  <a:gd name="connsiteX155" fmla="*/ 9546 w 10000"/>
                  <a:gd name="connsiteY155" fmla="*/ 2333 h 10000"/>
                  <a:gd name="connsiteX156" fmla="*/ 9688 w 10000"/>
                  <a:gd name="connsiteY156" fmla="*/ 2333 h 10000"/>
                  <a:gd name="connsiteX157" fmla="*/ 9902 w 10000"/>
                  <a:gd name="connsiteY157" fmla="*/ 2316 h 10000"/>
                  <a:gd name="connsiteX158" fmla="*/ 9697 w 10000"/>
                  <a:gd name="connsiteY158" fmla="*/ 2226 h 10000"/>
                  <a:gd name="connsiteX0" fmla="*/ 9697 w 10000"/>
                  <a:gd name="connsiteY0" fmla="*/ 2226 h 10000"/>
                  <a:gd name="connsiteX1" fmla="*/ 8976 w 10000"/>
                  <a:gd name="connsiteY1" fmla="*/ 2198 h 10000"/>
                  <a:gd name="connsiteX2" fmla="*/ 8718 w 10000"/>
                  <a:gd name="connsiteY2" fmla="*/ 2159 h 10000"/>
                  <a:gd name="connsiteX3" fmla="*/ 8540 w 10000"/>
                  <a:gd name="connsiteY3" fmla="*/ 2209 h 10000"/>
                  <a:gd name="connsiteX4" fmla="*/ 8290 w 10000"/>
                  <a:gd name="connsiteY4" fmla="*/ 2451 h 10000"/>
                  <a:gd name="connsiteX5" fmla="*/ 7667 w 10000"/>
                  <a:gd name="connsiteY5" fmla="*/ 2833 h 10000"/>
                  <a:gd name="connsiteX6" fmla="*/ 7302 w 10000"/>
                  <a:gd name="connsiteY6" fmla="*/ 2990 h 10000"/>
                  <a:gd name="connsiteX7" fmla="*/ 7213 w 10000"/>
                  <a:gd name="connsiteY7" fmla="*/ 2901 h 10000"/>
                  <a:gd name="connsiteX8" fmla="*/ 7133 w 10000"/>
                  <a:gd name="connsiteY8" fmla="*/ 2811 h 10000"/>
                  <a:gd name="connsiteX9" fmla="*/ 7070 w 10000"/>
                  <a:gd name="connsiteY9" fmla="*/ 2676 h 10000"/>
                  <a:gd name="connsiteX10" fmla="*/ 6999 w 10000"/>
                  <a:gd name="connsiteY10" fmla="*/ 2569 h 10000"/>
                  <a:gd name="connsiteX11" fmla="*/ 6999 w 10000"/>
                  <a:gd name="connsiteY11" fmla="*/ 2569 h 10000"/>
                  <a:gd name="connsiteX12" fmla="*/ 6990 w 10000"/>
                  <a:gd name="connsiteY12" fmla="*/ 2563 h 10000"/>
                  <a:gd name="connsiteX13" fmla="*/ 6981 w 10000"/>
                  <a:gd name="connsiteY13" fmla="*/ 2546 h 10000"/>
                  <a:gd name="connsiteX14" fmla="*/ 6999 w 10000"/>
                  <a:gd name="connsiteY14" fmla="*/ 2479 h 10000"/>
                  <a:gd name="connsiteX15" fmla="*/ 6972 w 10000"/>
                  <a:gd name="connsiteY15" fmla="*/ 2468 h 10000"/>
                  <a:gd name="connsiteX16" fmla="*/ 6990 w 10000"/>
                  <a:gd name="connsiteY16" fmla="*/ 2434 h 10000"/>
                  <a:gd name="connsiteX17" fmla="*/ 6990 w 10000"/>
                  <a:gd name="connsiteY17" fmla="*/ 2383 h 10000"/>
                  <a:gd name="connsiteX18" fmla="*/ 6946 w 10000"/>
                  <a:gd name="connsiteY18" fmla="*/ 2159 h 10000"/>
                  <a:gd name="connsiteX19" fmla="*/ 6928 w 10000"/>
                  <a:gd name="connsiteY19" fmla="*/ 1973 h 10000"/>
                  <a:gd name="connsiteX20" fmla="*/ 6634 w 10000"/>
                  <a:gd name="connsiteY20" fmla="*/ 1855 h 10000"/>
                  <a:gd name="connsiteX21" fmla="*/ 6322 w 10000"/>
                  <a:gd name="connsiteY21" fmla="*/ 1759 h 10000"/>
                  <a:gd name="connsiteX22" fmla="*/ 6109 w 10000"/>
                  <a:gd name="connsiteY22" fmla="*/ 1613 h 10000"/>
                  <a:gd name="connsiteX23" fmla="*/ 6109 w 10000"/>
                  <a:gd name="connsiteY23" fmla="*/ 1540 h 10000"/>
                  <a:gd name="connsiteX24" fmla="*/ 6171 w 10000"/>
                  <a:gd name="connsiteY24" fmla="*/ 1310 h 10000"/>
                  <a:gd name="connsiteX25" fmla="*/ 6162 w 10000"/>
                  <a:gd name="connsiteY25" fmla="*/ 1062 h 10000"/>
                  <a:gd name="connsiteX26" fmla="*/ 6224 w 10000"/>
                  <a:gd name="connsiteY26" fmla="*/ 894 h 10000"/>
                  <a:gd name="connsiteX27" fmla="*/ 6215 w 10000"/>
                  <a:gd name="connsiteY27" fmla="*/ 725 h 10000"/>
                  <a:gd name="connsiteX28" fmla="*/ 6198 w 10000"/>
                  <a:gd name="connsiteY28" fmla="*/ 618 h 10000"/>
                  <a:gd name="connsiteX29" fmla="*/ 6046 w 10000"/>
                  <a:gd name="connsiteY29" fmla="*/ 382 h 10000"/>
                  <a:gd name="connsiteX30" fmla="*/ 5841 w 10000"/>
                  <a:gd name="connsiteY30" fmla="*/ 191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6 h 10000"/>
                  <a:gd name="connsiteX34" fmla="*/ 4889 w 10000"/>
                  <a:gd name="connsiteY34" fmla="*/ 62 h 10000"/>
                  <a:gd name="connsiteX35" fmla="*/ 4835 w 10000"/>
                  <a:gd name="connsiteY35" fmla="*/ 90 h 10000"/>
                  <a:gd name="connsiteX36" fmla="*/ 4613 w 10000"/>
                  <a:gd name="connsiteY36" fmla="*/ 202 h 10000"/>
                  <a:gd name="connsiteX37" fmla="*/ 4337 w 10000"/>
                  <a:gd name="connsiteY37" fmla="*/ 663 h 10000"/>
                  <a:gd name="connsiteX38" fmla="*/ 4265 w 10000"/>
                  <a:gd name="connsiteY38" fmla="*/ 967 h 10000"/>
                  <a:gd name="connsiteX39" fmla="*/ 4390 w 10000"/>
                  <a:gd name="connsiteY39" fmla="*/ 1338 h 10000"/>
                  <a:gd name="connsiteX40" fmla="*/ 4506 w 10000"/>
                  <a:gd name="connsiteY40" fmla="*/ 1383 h 10000"/>
                  <a:gd name="connsiteX41" fmla="*/ 4568 w 10000"/>
                  <a:gd name="connsiteY41" fmla="*/ 1473 h 10000"/>
                  <a:gd name="connsiteX42" fmla="*/ 4443 w 10000"/>
                  <a:gd name="connsiteY42" fmla="*/ 1523 h 10000"/>
                  <a:gd name="connsiteX43" fmla="*/ 4328 w 10000"/>
                  <a:gd name="connsiteY43" fmla="*/ 1608 h 10000"/>
                  <a:gd name="connsiteX44" fmla="*/ 4203 w 10000"/>
                  <a:gd name="connsiteY44" fmla="*/ 1675 h 10000"/>
                  <a:gd name="connsiteX45" fmla="*/ 4274 w 10000"/>
                  <a:gd name="connsiteY45" fmla="*/ 1686 h 10000"/>
                  <a:gd name="connsiteX46" fmla="*/ 4087 w 10000"/>
                  <a:gd name="connsiteY46" fmla="*/ 1754 h 10000"/>
                  <a:gd name="connsiteX47" fmla="*/ 3865 w 10000"/>
                  <a:gd name="connsiteY47" fmla="*/ 1804 h 10000"/>
                  <a:gd name="connsiteX48" fmla="*/ 3722 w 10000"/>
                  <a:gd name="connsiteY48" fmla="*/ 1804 h 10000"/>
                  <a:gd name="connsiteX49" fmla="*/ 3446 w 10000"/>
                  <a:gd name="connsiteY49" fmla="*/ 1956 h 10000"/>
                  <a:gd name="connsiteX50" fmla="*/ 3250 w 10000"/>
                  <a:gd name="connsiteY50" fmla="*/ 2192 h 10000"/>
                  <a:gd name="connsiteX51" fmla="*/ 3152 w 10000"/>
                  <a:gd name="connsiteY51" fmla="*/ 2322 h 10000"/>
                  <a:gd name="connsiteX52" fmla="*/ 3188 w 10000"/>
                  <a:gd name="connsiteY52" fmla="*/ 2361 h 10000"/>
                  <a:gd name="connsiteX53" fmla="*/ 3090 w 10000"/>
                  <a:gd name="connsiteY53" fmla="*/ 2501 h 10000"/>
                  <a:gd name="connsiteX54" fmla="*/ 2858 w 10000"/>
                  <a:gd name="connsiteY54" fmla="*/ 2726 h 10000"/>
                  <a:gd name="connsiteX55" fmla="*/ 2778 w 10000"/>
                  <a:gd name="connsiteY55" fmla="*/ 2861 h 10000"/>
                  <a:gd name="connsiteX56" fmla="*/ 2689 w 10000"/>
                  <a:gd name="connsiteY56" fmla="*/ 2951 h 10000"/>
                  <a:gd name="connsiteX57" fmla="*/ 2582 w 10000"/>
                  <a:gd name="connsiteY57" fmla="*/ 3030 h 10000"/>
                  <a:gd name="connsiteX58" fmla="*/ 2244 w 10000"/>
                  <a:gd name="connsiteY58" fmla="*/ 2856 h 10000"/>
                  <a:gd name="connsiteX59" fmla="*/ 1674 w 10000"/>
                  <a:gd name="connsiteY59" fmla="*/ 2445 h 10000"/>
                  <a:gd name="connsiteX60" fmla="*/ 1460 w 10000"/>
                  <a:gd name="connsiteY60" fmla="*/ 2187 h 10000"/>
                  <a:gd name="connsiteX61" fmla="*/ 1291 w 10000"/>
                  <a:gd name="connsiteY61" fmla="*/ 2130 h 10000"/>
                  <a:gd name="connsiteX62" fmla="*/ 1024 w 10000"/>
                  <a:gd name="connsiteY62" fmla="*/ 2153 h 10000"/>
                  <a:gd name="connsiteX63" fmla="*/ 303 w 10000"/>
                  <a:gd name="connsiteY63" fmla="*/ 2142 h 10000"/>
                  <a:gd name="connsiteX64" fmla="*/ 89 w 10000"/>
                  <a:gd name="connsiteY64" fmla="*/ 2220 h 10000"/>
                  <a:gd name="connsiteX65" fmla="*/ 294 w 10000"/>
                  <a:gd name="connsiteY65" fmla="*/ 2248 h 10000"/>
                  <a:gd name="connsiteX66" fmla="*/ 436 w 10000"/>
                  <a:gd name="connsiteY66" fmla="*/ 2260 h 10000"/>
                  <a:gd name="connsiteX67" fmla="*/ 801 w 10000"/>
                  <a:gd name="connsiteY67" fmla="*/ 2277 h 10000"/>
                  <a:gd name="connsiteX68" fmla="*/ 1069 w 10000"/>
                  <a:gd name="connsiteY68" fmla="*/ 2322 h 10000"/>
                  <a:gd name="connsiteX69" fmla="*/ 1389 w 10000"/>
                  <a:gd name="connsiteY69" fmla="*/ 2597 h 10000"/>
                  <a:gd name="connsiteX70" fmla="*/ 1523 w 10000"/>
                  <a:gd name="connsiteY70" fmla="*/ 2766 h 10000"/>
                  <a:gd name="connsiteX71" fmla="*/ 1817 w 10000"/>
                  <a:gd name="connsiteY71" fmla="*/ 3086 h 10000"/>
                  <a:gd name="connsiteX72" fmla="*/ 2173 w 10000"/>
                  <a:gd name="connsiteY72" fmla="*/ 3361 h 10000"/>
                  <a:gd name="connsiteX73" fmla="*/ 2351 w 10000"/>
                  <a:gd name="connsiteY73" fmla="*/ 3502 h 10000"/>
                  <a:gd name="connsiteX74" fmla="*/ 2573 w 10000"/>
                  <a:gd name="connsiteY74" fmla="*/ 3609 h 10000"/>
                  <a:gd name="connsiteX75" fmla="*/ 2778 w 10000"/>
                  <a:gd name="connsiteY75" fmla="*/ 3536 h 10000"/>
                  <a:gd name="connsiteX76" fmla="*/ 3108 w 10000"/>
                  <a:gd name="connsiteY76" fmla="*/ 3322 h 10000"/>
                  <a:gd name="connsiteX77" fmla="*/ 3695 w 10000"/>
                  <a:gd name="connsiteY77" fmla="*/ 2737 h 10000"/>
                  <a:gd name="connsiteX78" fmla="*/ 3722 w 10000"/>
                  <a:gd name="connsiteY78" fmla="*/ 2676 h 10000"/>
                  <a:gd name="connsiteX79" fmla="*/ 3749 w 10000"/>
                  <a:gd name="connsiteY79" fmla="*/ 2670 h 10000"/>
                  <a:gd name="connsiteX80" fmla="*/ 3749 w 10000"/>
                  <a:gd name="connsiteY80" fmla="*/ 2749 h 10000"/>
                  <a:gd name="connsiteX81" fmla="*/ 3713 w 10000"/>
                  <a:gd name="connsiteY81" fmla="*/ 2833 h 10000"/>
                  <a:gd name="connsiteX82" fmla="*/ 3713 w 10000"/>
                  <a:gd name="connsiteY82" fmla="*/ 3047 h 10000"/>
                  <a:gd name="connsiteX83" fmla="*/ 3678 w 10000"/>
                  <a:gd name="connsiteY83" fmla="*/ 3215 h 10000"/>
                  <a:gd name="connsiteX84" fmla="*/ 3704 w 10000"/>
                  <a:gd name="connsiteY84" fmla="*/ 3288 h 10000"/>
                  <a:gd name="connsiteX85" fmla="*/ 3544 w 10000"/>
                  <a:gd name="connsiteY85" fmla="*/ 3530 h 10000"/>
                  <a:gd name="connsiteX86" fmla="*/ 3437 w 10000"/>
                  <a:gd name="connsiteY86" fmla="*/ 3732 h 10000"/>
                  <a:gd name="connsiteX87" fmla="*/ 3330 w 10000"/>
                  <a:gd name="connsiteY87" fmla="*/ 3834 h 10000"/>
                  <a:gd name="connsiteX88" fmla="*/ 3295 w 10000"/>
                  <a:gd name="connsiteY88" fmla="*/ 3946 h 10000"/>
                  <a:gd name="connsiteX89" fmla="*/ 3250 w 10000"/>
                  <a:gd name="connsiteY89" fmla="*/ 4053 h 10000"/>
                  <a:gd name="connsiteX90" fmla="*/ 3161 w 10000"/>
                  <a:gd name="connsiteY90" fmla="*/ 4272 h 10000"/>
                  <a:gd name="connsiteX91" fmla="*/ 3188 w 10000"/>
                  <a:gd name="connsiteY91" fmla="*/ 4345 h 10000"/>
                  <a:gd name="connsiteX92" fmla="*/ 3143 w 10000"/>
                  <a:gd name="connsiteY92" fmla="*/ 4604 h 10000"/>
                  <a:gd name="connsiteX93" fmla="*/ 3161 w 10000"/>
                  <a:gd name="connsiteY93" fmla="*/ 5419 h 10000"/>
                  <a:gd name="connsiteX94" fmla="*/ 3304 w 10000"/>
                  <a:gd name="connsiteY94" fmla="*/ 6925 h 10000"/>
                  <a:gd name="connsiteX95" fmla="*/ 3749 w 10000"/>
                  <a:gd name="connsiteY95" fmla="*/ 7077 h 10000"/>
                  <a:gd name="connsiteX96" fmla="*/ 3882 w 10000"/>
                  <a:gd name="connsiteY96" fmla="*/ 8269 h 10000"/>
                  <a:gd name="connsiteX97" fmla="*/ 3954 w 10000"/>
                  <a:gd name="connsiteY97" fmla="*/ 8791 h 10000"/>
                  <a:gd name="connsiteX98" fmla="*/ 3945 w 10000"/>
                  <a:gd name="connsiteY98" fmla="*/ 8926 h 10000"/>
                  <a:gd name="connsiteX99" fmla="*/ 3758 w 10000"/>
                  <a:gd name="connsiteY99" fmla="*/ 9202 h 10000"/>
                  <a:gd name="connsiteX100" fmla="*/ 3357 w 10000"/>
                  <a:gd name="connsiteY100" fmla="*/ 9500 h 10000"/>
                  <a:gd name="connsiteX101" fmla="*/ 4114 w 10000"/>
                  <a:gd name="connsiteY101" fmla="*/ 9533 h 10000"/>
                  <a:gd name="connsiteX102" fmla="*/ 4212 w 10000"/>
                  <a:gd name="connsiteY102" fmla="*/ 9460 h 10000"/>
                  <a:gd name="connsiteX103" fmla="*/ 4381 w 10000"/>
                  <a:gd name="connsiteY103" fmla="*/ 9376 h 10000"/>
                  <a:gd name="connsiteX104" fmla="*/ 4647 w 10000"/>
                  <a:gd name="connsiteY104" fmla="*/ 9168 h 10000"/>
                  <a:gd name="connsiteX105" fmla="*/ 4639 w 10000"/>
                  <a:gd name="connsiteY105" fmla="*/ 8881 h 10000"/>
                  <a:gd name="connsiteX106" fmla="*/ 4720 w 10000"/>
                  <a:gd name="connsiteY106" fmla="*/ 7459 h 10000"/>
                  <a:gd name="connsiteX107" fmla="*/ 4898 w 10000"/>
                  <a:gd name="connsiteY107" fmla="*/ 8106 h 10000"/>
                  <a:gd name="connsiteX108" fmla="*/ 4996 w 10000"/>
                  <a:gd name="connsiteY108" fmla="*/ 8432 h 10000"/>
                  <a:gd name="connsiteX109" fmla="*/ 5049 w 10000"/>
                  <a:gd name="connsiteY109" fmla="*/ 8775 h 10000"/>
                  <a:gd name="connsiteX110" fmla="*/ 4978 w 10000"/>
                  <a:gd name="connsiteY110" fmla="*/ 8960 h 10000"/>
                  <a:gd name="connsiteX111" fmla="*/ 4951 w 10000"/>
                  <a:gd name="connsiteY111" fmla="*/ 9084 h 10000"/>
                  <a:gd name="connsiteX112" fmla="*/ 4889 w 10000"/>
                  <a:gd name="connsiteY112" fmla="*/ 9191 h 10000"/>
                  <a:gd name="connsiteX113" fmla="*/ 4835 w 10000"/>
                  <a:gd name="connsiteY113" fmla="*/ 9421 h 10000"/>
                  <a:gd name="connsiteX114" fmla="*/ 4577 w 10000"/>
                  <a:gd name="connsiteY114" fmla="*/ 9764 h 10000"/>
                  <a:gd name="connsiteX115" fmla="*/ 4559 w 10000"/>
                  <a:gd name="connsiteY115" fmla="*/ 9944 h 10000"/>
                  <a:gd name="connsiteX116" fmla="*/ 5387 w 10000"/>
                  <a:gd name="connsiteY116" fmla="*/ 9831 h 10000"/>
                  <a:gd name="connsiteX117" fmla="*/ 5557 w 10000"/>
                  <a:gd name="connsiteY117" fmla="*/ 9449 h 10000"/>
                  <a:gd name="connsiteX118" fmla="*/ 5654 w 10000"/>
                  <a:gd name="connsiteY118" fmla="*/ 9202 h 10000"/>
                  <a:gd name="connsiteX119" fmla="*/ 5601 w 10000"/>
                  <a:gd name="connsiteY119" fmla="*/ 9073 h 10000"/>
                  <a:gd name="connsiteX120" fmla="*/ 5610 w 10000"/>
                  <a:gd name="connsiteY120" fmla="*/ 9011 h 10000"/>
                  <a:gd name="connsiteX121" fmla="*/ 5583 w 10000"/>
                  <a:gd name="connsiteY121" fmla="*/ 8921 h 10000"/>
                  <a:gd name="connsiteX122" fmla="*/ 5583 w 10000"/>
                  <a:gd name="connsiteY122" fmla="*/ 8668 h 10000"/>
                  <a:gd name="connsiteX123" fmla="*/ 5654 w 10000"/>
                  <a:gd name="connsiteY123" fmla="*/ 8449 h 10000"/>
                  <a:gd name="connsiteX124" fmla="*/ 5708 w 10000"/>
                  <a:gd name="connsiteY124" fmla="*/ 8212 h 10000"/>
                  <a:gd name="connsiteX125" fmla="*/ 5744 w 10000"/>
                  <a:gd name="connsiteY125" fmla="*/ 7690 h 10000"/>
                  <a:gd name="connsiteX126" fmla="*/ 5485 w 10000"/>
                  <a:gd name="connsiteY126" fmla="*/ 7173 h 10000"/>
                  <a:gd name="connsiteX127" fmla="*/ 5450 w 10000"/>
                  <a:gd name="connsiteY127" fmla="*/ 7088 h 10000"/>
                  <a:gd name="connsiteX128" fmla="*/ 5476 w 10000"/>
                  <a:gd name="connsiteY128" fmla="*/ 6847 h 10000"/>
                  <a:gd name="connsiteX129" fmla="*/ 5476 w 10000"/>
                  <a:gd name="connsiteY129" fmla="*/ 6700 h 10000"/>
                  <a:gd name="connsiteX130" fmla="*/ 5503 w 10000"/>
                  <a:gd name="connsiteY130" fmla="*/ 6605 h 10000"/>
                  <a:gd name="connsiteX131" fmla="*/ 5503 w 10000"/>
                  <a:gd name="connsiteY131" fmla="*/ 6532 h 10000"/>
                  <a:gd name="connsiteX132" fmla="*/ 5548 w 10000"/>
                  <a:gd name="connsiteY132" fmla="*/ 6453 h 10000"/>
                  <a:gd name="connsiteX133" fmla="*/ 5708 w 10000"/>
                  <a:gd name="connsiteY133" fmla="*/ 5790 h 10000"/>
                  <a:gd name="connsiteX134" fmla="*/ 5850 w 10000"/>
                  <a:gd name="connsiteY134" fmla="*/ 5289 h 10000"/>
                  <a:gd name="connsiteX135" fmla="*/ 5806 w 10000"/>
                  <a:gd name="connsiteY135" fmla="*/ 4632 h 10000"/>
                  <a:gd name="connsiteX136" fmla="*/ 5788 w 10000"/>
                  <a:gd name="connsiteY136" fmla="*/ 4525 h 10000"/>
                  <a:gd name="connsiteX137" fmla="*/ 5659 w 10000"/>
                  <a:gd name="connsiteY137" fmla="*/ 4114 h 10000"/>
                  <a:gd name="connsiteX138" fmla="*/ 5617 w 10000"/>
                  <a:gd name="connsiteY138" fmla="*/ 3933 h 10000"/>
                  <a:gd name="connsiteX139" fmla="*/ 5707 w 10000"/>
                  <a:gd name="connsiteY139" fmla="*/ 3455 h 10000"/>
                  <a:gd name="connsiteX140" fmla="*/ 5857 w 10000"/>
                  <a:gd name="connsiteY140" fmla="*/ 3290 h 10000"/>
                  <a:gd name="connsiteX141" fmla="*/ 5947 w 10000"/>
                  <a:gd name="connsiteY141" fmla="*/ 3092 h 10000"/>
                  <a:gd name="connsiteX142" fmla="*/ 6224 w 10000"/>
                  <a:gd name="connsiteY142" fmla="*/ 2934 h 10000"/>
                  <a:gd name="connsiteX143" fmla="*/ 6224 w 10000"/>
                  <a:gd name="connsiteY143" fmla="*/ 2945 h 10000"/>
                  <a:gd name="connsiteX144" fmla="*/ 6233 w 10000"/>
                  <a:gd name="connsiteY144" fmla="*/ 2906 h 10000"/>
                  <a:gd name="connsiteX145" fmla="*/ 6750 w 10000"/>
                  <a:gd name="connsiteY145" fmla="*/ 3249 h 10000"/>
                  <a:gd name="connsiteX146" fmla="*/ 7035 w 10000"/>
                  <a:gd name="connsiteY146" fmla="*/ 3479 h 10000"/>
                  <a:gd name="connsiteX147" fmla="*/ 7231 w 10000"/>
                  <a:gd name="connsiteY147" fmla="*/ 3564 h 10000"/>
                  <a:gd name="connsiteX148" fmla="*/ 7471 w 10000"/>
                  <a:gd name="connsiteY148" fmla="*/ 3474 h 10000"/>
                  <a:gd name="connsiteX149" fmla="*/ 7667 w 10000"/>
                  <a:gd name="connsiteY149" fmla="*/ 3339 h 10000"/>
                  <a:gd name="connsiteX150" fmla="*/ 8059 w 10000"/>
                  <a:gd name="connsiteY150" fmla="*/ 3080 h 10000"/>
                  <a:gd name="connsiteX151" fmla="*/ 8397 w 10000"/>
                  <a:gd name="connsiteY151" fmla="*/ 2782 h 10000"/>
                  <a:gd name="connsiteX152" fmla="*/ 8549 w 10000"/>
                  <a:gd name="connsiteY152" fmla="*/ 2619 h 10000"/>
                  <a:gd name="connsiteX153" fmla="*/ 8905 w 10000"/>
                  <a:gd name="connsiteY153" fmla="*/ 2361 h 10000"/>
                  <a:gd name="connsiteX154" fmla="*/ 9172 w 10000"/>
                  <a:gd name="connsiteY154" fmla="*/ 2333 h 10000"/>
                  <a:gd name="connsiteX155" fmla="*/ 9546 w 10000"/>
                  <a:gd name="connsiteY155" fmla="*/ 2333 h 10000"/>
                  <a:gd name="connsiteX156" fmla="*/ 9688 w 10000"/>
                  <a:gd name="connsiteY156" fmla="*/ 2333 h 10000"/>
                  <a:gd name="connsiteX157" fmla="*/ 9902 w 10000"/>
                  <a:gd name="connsiteY157" fmla="*/ 2316 h 10000"/>
                  <a:gd name="connsiteX158" fmla="*/ 9697 w 10000"/>
                  <a:gd name="connsiteY158" fmla="*/ 2226 h 10000"/>
                  <a:gd name="connsiteX0" fmla="*/ 9697 w 10000"/>
                  <a:gd name="connsiteY0" fmla="*/ 2226 h 9884"/>
                  <a:gd name="connsiteX1" fmla="*/ 8976 w 10000"/>
                  <a:gd name="connsiteY1" fmla="*/ 2198 h 9884"/>
                  <a:gd name="connsiteX2" fmla="*/ 8718 w 10000"/>
                  <a:gd name="connsiteY2" fmla="*/ 2159 h 9884"/>
                  <a:gd name="connsiteX3" fmla="*/ 8540 w 10000"/>
                  <a:gd name="connsiteY3" fmla="*/ 2209 h 9884"/>
                  <a:gd name="connsiteX4" fmla="*/ 8290 w 10000"/>
                  <a:gd name="connsiteY4" fmla="*/ 2451 h 9884"/>
                  <a:gd name="connsiteX5" fmla="*/ 7667 w 10000"/>
                  <a:gd name="connsiteY5" fmla="*/ 2833 h 9884"/>
                  <a:gd name="connsiteX6" fmla="*/ 7302 w 10000"/>
                  <a:gd name="connsiteY6" fmla="*/ 2990 h 9884"/>
                  <a:gd name="connsiteX7" fmla="*/ 7213 w 10000"/>
                  <a:gd name="connsiteY7" fmla="*/ 2901 h 9884"/>
                  <a:gd name="connsiteX8" fmla="*/ 7133 w 10000"/>
                  <a:gd name="connsiteY8" fmla="*/ 2811 h 9884"/>
                  <a:gd name="connsiteX9" fmla="*/ 7070 w 10000"/>
                  <a:gd name="connsiteY9" fmla="*/ 2676 h 9884"/>
                  <a:gd name="connsiteX10" fmla="*/ 6999 w 10000"/>
                  <a:gd name="connsiteY10" fmla="*/ 2569 h 9884"/>
                  <a:gd name="connsiteX11" fmla="*/ 6999 w 10000"/>
                  <a:gd name="connsiteY11" fmla="*/ 2569 h 9884"/>
                  <a:gd name="connsiteX12" fmla="*/ 6990 w 10000"/>
                  <a:gd name="connsiteY12" fmla="*/ 2563 h 9884"/>
                  <a:gd name="connsiteX13" fmla="*/ 6981 w 10000"/>
                  <a:gd name="connsiteY13" fmla="*/ 2546 h 9884"/>
                  <a:gd name="connsiteX14" fmla="*/ 6999 w 10000"/>
                  <a:gd name="connsiteY14" fmla="*/ 2479 h 9884"/>
                  <a:gd name="connsiteX15" fmla="*/ 6972 w 10000"/>
                  <a:gd name="connsiteY15" fmla="*/ 2468 h 9884"/>
                  <a:gd name="connsiteX16" fmla="*/ 6990 w 10000"/>
                  <a:gd name="connsiteY16" fmla="*/ 2434 h 9884"/>
                  <a:gd name="connsiteX17" fmla="*/ 6990 w 10000"/>
                  <a:gd name="connsiteY17" fmla="*/ 2383 h 9884"/>
                  <a:gd name="connsiteX18" fmla="*/ 6946 w 10000"/>
                  <a:gd name="connsiteY18" fmla="*/ 2159 h 9884"/>
                  <a:gd name="connsiteX19" fmla="*/ 6928 w 10000"/>
                  <a:gd name="connsiteY19" fmla="*/ 1973 h 9884"/>
                  <a:gd name="connsiteX20" fmla="*/ 6634 w 10000"/>
                  <a:gd name="connsiteY20" fmla="*/ 1855 h 9884"/>
                  <a:gd name="connsiteX21" fmla="*/ 6322 w 10000"/>
                  <a:gd name="connsiteY21" fmla="*/ 1759 h 9884"/>
                  <a:gd name="connsiteX22" fmla="*/ 6109 w 10000"/>
                  <a:gd name="connsiteY22" fmla="*/ 1613 h 9884"/>
                  <a:gd name="connsiteX23" fmla="*/ 6109 w 10000"/>
                  <a:gd name="connsiteY23" fmla="*/ 1540 h 9884"/>
                  <a:gd name="connsiteX24" fmla="*/ 6171 w 10000"/>
                  <a:gd name="connsiteY24" fmla="*/ 1310 h 9884"/>
                  <a:gd name="connsiteX25" fmla="*/ 6162 w 10000"/>
                  <a:gd name="connsiteY25" fmla="*/ 1062 h 9884"/>
                  <a:gd name="connsiteX26" fmla="*/ 6224 w 10000"/>
                  <a:gd name="connsiteY26" fmla="*/ 894 h 9884"/>
                  <a:gd name="connsiteX27" fmla="*/ 6215 w 10000"/>
                  <a:gd name="connsiteY27" fmla="*/ 725 h 9884"/>
                  <a:gd name="connsiteX28" fmla="*/ 6198 w 10000"/>
                  <a:gd name="connsiteY28" fmla="*/ 618 h 9884"/>
                  <a:gd name="connsiteX29" fmla="*/ 6046 w 10000"/>
                  <a:gd name="connsiteY29" fmla="*/ 382 h 9884"/>
                  <a:gd name="connsiteX30" fmla="*/ 5841 w 10000"/>
                  <a:gd name="connsiteY30" fmla="*/ 191 h 9884"/>
                  <a:gd name="connsiteX31" fmla="*/ 5334 w 10000"/>
                  <a:gd name="connsiteY31" fmla="*/ 6 h 9884"/>
                  <a:gd name="connsiteX32" fmla="*/ 5236 w 10000"/>
                  <a:gd name="connsiteY32" fmla="*/ 6 h 9884"/>
                  <a:gd name="connsiteX33" fmla="*/ 4996 w 10000"/>
                  <a:gd name="connsiteY33" fmla="*/ 56 h 9884"/>
                  <a:gd name="connsiteX34" fmla="*/ 4889 w 10000"/>
                  <a:gd name="connsiteY34" fmla="*/ 62 h 9884"/>
                  <a:gd name="connsiteX35" fmla="*/ 4835 w 10000"/>
                  <a:gd name="connsiteY35" fmla="*/ 90 h 9884"/>
                  <a:gd name="connsiteX36" fmla="*/ 4613 w 10000"/>
                  <a:gd name="connsiteY36" fmla="*/ 202 h 9884"/>
                  <a:gd name="connsiteX37" fmla="*/ 4337 w 10000"/>
                  <a:gd name="connsiteY37" fmla="*/ 663 h 9884"/>
                  <a:gd name="connsiteX38" fmla="*/ 4265 w 10000"/>
                  <a:gd name="connsiteY38" fmla="*/ 967 h 9884"/>
                  <a:gd name="connsiteX39" fmla="*/ 4390 w 10000"/>
                  <a:gd name="connsiteY39" fmla="*/ 1338 h 9884"/>
                  <a:gd name="connsiteX40" fmla="*/ 4506 w 10000"/>
                  <a:gd name="connsiteY40" fmla="*/ 1383 h 9884"/>
                  <a:gd name="connsiteX41" fmla="*/ 4568 w 10000"/>
                  <a:gd name="connsiteY41" fmla="*/ 1473 h 9884"/>
                  <a:gd name="connsiteX42" fmla="*/ 4443 w 10000"/>
                  <a:gd name="connsiteY42" fmla="*/ 1523 h 9884"/>
                  <a:gd name="connsiteX43" fmla="*/ 4328 w 10000"/>
                  <a:gd name="connsiteY43" fmla="*/ 1608 h 9884"/>
                  <a:gd name="connsiteX44" fmla="*/ 4203 w 10000"/>
                  <a:gd name="connsiteY44" fmla="*/ 1675 h 9884"/>
                  <a:gd name="connsiteX45" fmla="*/ 4274 w 10000"/>
                  <a:gd name="connsiteY45" fmla="*/ 1686 h 9884"/>
                  <a:gd name="connsiteX46" fmla="*/ 4087 w 10000"/>
                  <a:gd name="connsiteY46" fmla="*/ 1754 h 9884"/>
                  <a:gd name="connsiteX47" fmla="*/ 3865 w 10000"/>
                  <a:gd name="connsiteY47" fmla="*/ 1804 h 9884"/>
                  <a:gd name="connsiteX48" fmla="*/ 3722 w 10000"/>
                  <a:gd name="connsiteY48" fmla="*/ 1804 h 9884"/>
                  <a:gd name="connsiteX49" fmla="*/ 3446 w 10000"/>
                  <a:gd name="connsiteY49" fmla="*/ 1956 h 9884"/>
                  <a:gd name="connsiteX50" fmla="*/ 3250 w 10000"/>
                  <a:gd name="connsiteY50" fmla="*/ 2192 h 9884"/>
                  <a:gd name="connsiteX51" fmla="*/ 3152 w 10000"/>
                  <a:gd name="connsiteY51" fmla="*/ 2322 h 9884"/>
                  <a:gd name="connsiteX52" fmla="*/ 3188 w 10000"/>
                  <a:gd name="connsiteY52" fmla="*/ 2361 h 9884"/>
                  <a:gd name="connsiteX53" fmla="*/ 3090 w 10000"/>
                  <a:gd name="connsiteY53" fmla="*/ 2501 h 9884"/>
                  <a:gd name="connsiteX54" fmla="*/ 2858 w 10000"/>
                  <a:gd name="connsiteY54" fmla="*/ 2726 h 9884"/>
                  <a:gd name="connsiteX55" fmla="*/ 2778 w 10000"/>
                  <a:gd name="connsiteY55" fmla="*/ 2861 h 9884"/>
                  <a:gd name="connsiteX56" fmla="*/ 2689 w 10000"/>
                  <a:gd name="connsiteY56" fmla="*/ 2951 h 9884"/>
                  <a:gd name="connsiteX57" fmla="*/ 2582 w 10000"/>
                  <a:gd name="connsiteY57" fmla="*/ 3030 h 9884"/>
                  <a:gd name="connsiteX58" fmla="*/ 2244 w 10000"/>
                  <a:gd name="connsiteY58" fmla="*/ 2856 h 9884"/>
                  <a:gd name="connsiteX59" fmla="*/ 1674 w 10000"/>
                  <a:gd name="connsiteY59" fmla="*/ 2445 h 9884"/>
                  <a:gd name="connsiteX60" fmla="*/ 1460 w 10000"/>
                  <a:gd name="connsiteY60" fmla="*/ 2187 h 9884"/>
                  <a:gd name="connsiteX61" fmla="*/ 1291 w 10000"/>
                  <a:gd name="connsiteY61" fmla="*/ 2130 h 9884"/>
                  <a:gd name="connsiteX62" fmla="*/ 1024 w 10000"/>
                  <a:gd name="connsiteY62" fmla="*/ 2153 h 9884"/>
                  <a:gd name="connsiteX63" fmla="*/ 303 w 10000"/>
                  <a:gd name="connsiteY63" fmla="*/ 2142 h 9884"/>
                  <a:gd name="connsiteX64" fmla="*/ 89 w 10000"/>
                  <a:gd name="connsiteY64" fmla="*/ 2220 h 9884"/>
                  <a:gd name="connsiteX65" fmla="*/ 294 w 10000"/>
                  <a:gd name="connsiteY65" fmla="*/ 2248 h 9884"/>
                  <a:gd name="connsiteX66" fmla="*/ 436 w 10000"/>
                  <a:gd name="connsiteY66" fmla="*/ 2260 h 9884"/>
                  <a:gd name="connsiteX67" fmla="*/ 801 w 10000"/>
                  <a:gd name="connsiteY67" fmla="*/ 2277 h 9884"/>
                  <a:gd name="connsiteX68" fmla="*/ 1069 w 10000"/>
                  <a:gd name="connsiteY68" fmla="*/ 2322 h 9884"/>
                  <a:gd name="connsiteX69" fmla="*/ 1389 w 10000"/>
                  <a:gd name="connsiteY69" fmla="*/ 2597 h 9884"/>
                  <a:gd name="connsiteX70" fmla="*/ 1523 w 10000"/>
                  <a:gd name="connsiteY70" fmla="*/ 2766 h 9884"/>
                  <a:gd name="connsiteX71" fmla="*/ 1817 w 10000"/>
                  <a:gd name="connsiteY71" fmla="*/ 3086 h 9884"/>
                  <a:gd name="connsiteX72" fmla="*/ 2173 w 10000"/>
                  <a:gd name="connsiteY72" fmla="*/ 3361 h 9884"/>
                  <a:gd name="connsiteX73" fmla="*/ 2351 w 10000"/>
                  <a:gd name="connsiteY73" fmla="*/ 3502 h 9884"/>
                  <a:gd name="connsiteX74" fmla="*/ 2573 w 10000"/>
                  <a:gd name="connsiteY74" fmla="*/ 3609 h 9884"/>
                  <a:gd name="connsiteX75" fmla="*/ 2778 w 10000"/>
                  <a:gd name="connsiteY75" fmla="*/ 3536 h 9884"/>
                  <a:gd name="connsiteX76" fmla="*/ 3108 w 10000"/>
                  <a:gd name="connsiteY76" fmla="*/ 3322 h 9884"/>
                  <a:gd name="connsiteX77" fmla="*/ 3695 w 10000"/>
                  <a:gd name="connsiteY77" fmla="*/ 2737 h 9884"/>
                  <a:gd name="connsiteX78" fmla="*/ 3722 w 10000"/>
                  <a:gd name="connsiteY78" fmla="*/ 2676 h 9884"/>
                  <a:gd name="connsiteX79" fmla="*/ 3749 w 10000"/>
                  <a:gd name="connsiteY79" fmla="*/ 2670 h 9884"/>
                  <a:gd name="connsiteX80" fmla="*/ 3749 w 10000"/>
                  <a:gd name="connsiteY80" fmla="*/ 2749 h 9884"/>
                  <a:gd name="connsiteX81" fmla="*/ 3713 w 10000"/>
                  <a:gd name="connsiteY81" fmla="*/ 2833 h 9884"/>
                  <a:gd name="connsiteX82" fmla="*/ 3713 w 10000"/>
                  <a:gd name="connsiteY82" fmla="*/ 3047 h 9884"/>
                  <a:gd name="connsiteX83" fmla="*/ 3678 w 10000"/>
                  <a:gd name="connsiteY83" fmla="*/ 3215 h 9884"/>
                  <a:gd name="connsiteX84" fmla="*/ 3704 w 10000"/>
                  <a:gd name="connsiteY84" fmla="*/ 3288 h 9884"/>
                  <a:gd name="connsiteX85" fmla="*/ 3544 w 10000"/>
                  <a:gd name="connsiteY85" fmla="*/ 3530 h 9884"/>
                  <a:gd name="connsiteX86" fmla="*/ 3437 w 10000"/>
                  <a:gd name="connsiteY86" fmla="*/ 3732 h 9884"/>
                  <a:gd name="connsiteX87" fmla="*/ 3330 w 10000"/>
                  <a:gd name="connsiteY87" fmla="*/ 3834 h 9884"/>
                  <a:gd name="connsiteX88" fmla="*/ 3295 w 10000"/>
                  <a:gd name="connsiteY88" fmla="*/ 3946 h 9884"/>
                  <a:gd name="connsiteX89" fmla="*/ 3250 w 10000"/>
                  <a:gd name="connsiteY89" fmla="*/ 4053 h 9884"/>
                  <a:gd name="connsiteX90" fmla="*/ 3161 w 10000"/>
                  <a:gd name="connsiteY90" fmla="*/ 4272 h 9884"/>
                  <a:gd name="connsiteX91" fmla="*/ 3188 w 10000"/>
                  <a:gd name="connsiteY91" fmla="*/ 4345 h 9884"/>
                  <a:gd name="connsiteX92" fmla="*/ 3143 w 10000"/>
                  <a:gd name="connsiteY92" fmla="*/ 4604 h 9884"/>
                  <a:gd name="connsiteX93" fmla="*/ 3161 w 10000"/>
                  <a:gd name="connsiteY93" fmla="*/ 5419 h 9884"/>
                  <a:gd name="connsiteX94" fmla="*/ 3304 w 10000"/>
                  <a:gd name="connsiteY94" fmla="*/ 6925 h 9884"/>
                  <a:gd name="connsiteX95" fmla="*/ 3749 w 10000"/>
                  <a:gd name="connsiteY95" fmla="*/ 7077 h 9884"/>
                  <a:gd name="connsiteX96" fmla="*/ 3882 w 10000"/>
                  <a:gd name="connsiteY96" fmla="*/ 8269 h 9884"/>
                  <a:gd name="connsiteX97" fmla="*/ 3954 w 10000"/>
                  <a:gd name="connsiteY97" fmla="*/ 8791 h 9884"/>
                  <a:gd name="connsiteX98" fmla="*/ 3945 w 10000"/>
                  <a:gd name="connsiteY98" fmla="*/ 8926 h 9884"/>
                  <a:gd name="connsiteX99" fmla="*/ 3758 w 10000"/>
                  <a:gd name="connsiteY99" fmla="*/ 9202 h 9884"/>
                  <a:gd name="connsiteX100" fmla="*/ 3357 w 10000"/>
                  <a:gd name="connsiteY100" fmla="*/ 9500 h 9884"/>
                  <a:gd name="connsiteX101" fmla="*/ 4114 w 10000"/>
                  <a:gd name="connsiteY101" fmla="*/ 9533 h 9884"/>
                  <a:gd name="connsiteX102" fmla="*/ 4212 w 10000"/>
                  <a:gd name="connsiteY102" fmla="*/ 9460 h 9884"/>
                  <a:gd name="connsiteX103" fmla="*/ 4381 w 10000"/>
                  <a:gd name="connsiteY103" fmla="*/ 9376 h 9884"/>
                  <a:gd name="connsiteX104" fmla="*/ 4647 w 10000"/>
                  <a:gd name="connsiteY104" fmla="*/ 9168 h 9884"/>
                  <a:gd name="connsiteX105" fmla="*/ 4639 w 10000"/>
                  <a:gd name="connsiteY105" fmla="*/ 8881 h 9884"/>
                  <a:gd name="connsiteX106" fmla="*/ 4720 w 10000"/>
                  <a:gd name="connsiteY106" fmla="*/ 7459 h 9884"/>
                  <a:gd name="connsiteX107" fmla="*/ 4898 w 10000"/>
                  <a:gd name="connsiteY107" fmla="*/ 8106 h 9884"/>
                  <a:gd name="connsiteX108" fmla="*/ 4996 w 10000"/>
                  <a:gd name="connsiteY108" fmla="*/ 8432 h 9884"/>
                  <a:gd name="connsiteX109" fmla="*/ 5049 w 10000"/>
                  <a:gd name="connsiteY109" fmla="*/ 8775 h 9884"/>
                  <a:gd name="connsiteX110" fmla="*/ 4978 w 10000"/>
                  <a:gd name="connsiteY110" fmla="*/ 8960 h 9884"/>
                  <a:gd name="connsiteX111" fmla="*/ 4951 w 10000"/>
                  <a:gd name="connsiteY111" fmla="*/ 9084 h 9884"/>
                  <a:gd name="connsiteX112" fmla="*/ 4889 w 10000"/>
                  <a:gd name="connsiteY112" fmla="*/ 9191 h 9884"/>
                  <a:gd name="connsiteX113" fmla="*/ 4835 w 10000"/>
                  <a:gd name="connsiteY113" fmla="*/ 9421 h 9884"/>
                  <a:gd name="connsiteX114" fmla="*/ 4577 w 10000"/>
                  <a:gd name="connsiteY114" fmla="*/ 9764 h 9884"/>
                  <a:gd name="connsiteX115" fmla="*/ 5387 w 10000"/>
                  <a:gd name="connsiteY115" fmla="*/ 9831 h 9884"/>
                  <a:gd name="connsiteX116" fmla="*/ 5557 w 10000"/>
                  <a:gd name="connsiteY116" fmla="*/ 9449 h 9884"/>
                  <a:gd name="connsiteX117" fmla="*/ 5654 w 10000"/>
                  <a:gd name="connsiteY117" fmla="*/ 9202 h 9884"/>
                  <a:gd name="connsiteX118" fmla="*/ 5601 w 10000"/>
                  <a:gd name="connsiteY118" fmla="*/ 9073 h 9884"/>
                  <a:gd name="connsiteX119" fmla="*/ 5610 w 10000"/>
                  <a:gd name="connsiteY119" fmla="*/ 9011 h 9884"/>
                  <a:gd name="connsiteX120" fmla="*/ 5583 w 10000"/>
                  <a:gd name="connsiteY120" fmla="*/ 8921 h 9884"/>
                  <a:gd name="connsiteX121" fmla="*/ 5583 w 10000"/>
                  <a:gd name="connsiteY121" fmla="*/ 8668 h 9884"/>
                  <a:gd name="connsiteX122" fmla="*/ 5654 w 10000"/>
                  <a:gd name="connsiteY122" fmla="*/ 8449 h 9884"/>
                  <a:gd name="connsiteX123" fmla="*/ 5708 w 10000"/>
                  <a:gd name="connsiteY123" fmla="*/ 8212 h 9884"/>
                  <a:gd name="connsiteX124" fmla="*/ 5744 w 10000"/>
                  <a:gd name="connsiteY124" fmla="*/ 7690 h 9884"/>
                  <a:gd name="connsiteX125" fmla="*/ 5485 w 10000"/>
                  <a:gd name="connsiteY125" fmla="*/ 7173 h 9884"/>
                  <a:gd name="connsiteX126" fmla="*/ 5450 w 10000"/>
                  <a:gd name="connsiteY126" fmla="*/ 7088 h 9884"/>
                  <a:gd name="connsiteX127" fmla="*/ 5476 w 10000"/>
                  <a:gd name="connsiteY127" fmla="*/ 6847 h 9884"/>
                  <a:gd name="connsiteX128" fmla="*/ 5476 w 10000"/>
                  <a:gd name="connsiteY128" fmla="*/ 6700 h 9884"/>
                  <a:gd name="connsiteX129" fmla="*/ 5503 w 10000"/>
                  <a:gd name="connsiteY129" fmla="*/ 6605 h 9884"/>
                  <a:gd name="connsiteX130" fmla="*/ 5503 w 10000"/>
                  <a:gd name="connsiteY130" fmla="*/ 6532 h 9884"/>
                  <a:gd name="connsiteX131" fmla="*/ 5548 w 10000"/>
                  <a:gd name="connsiteY131" fmla="*/ 6453 h 9884"/>
                  <a:gd name="connsiteX132" fmla="*/ 5708 w 10000"/>
                  <a:gd name="connsiteY132" fmla="*/ 5790 h 9884"/>
                  <a:gd name="connsiteX133" fmla="*/ 5850 w 10000"/>
                  <a:gd name="connsiteY133" fmla="*/ 5289 h 9884"/>
                  <a:gd name="connsiteX134" fmla="*/ 5806 w 10000"/>
                  <a:gd name="connsiteY134" fmla="*/ 4632 h 9884"/>
                  <a:gd name="connsiteX135" fmla="*/ 5788 w 10000"/>
                  <a:gd name="connsiteY135" fmla="*/ 4525 h 9884"/>
                  <a:gd name="connsiteX136" fmla="*/ 5659 w 10000"/>
                  <a:gd name="connsiteY136" fmla="*/ 4114 h 9884"/>
                  <a:gd name="connsiteX137" fmla="*/ 5617 w 10000"/>
                  <a:gd name="connsiteY137" fmla="*/ 3933 h 9884"/>
                  <a:gd name="connsiteX138" fmla="*/ 5707 w 10000"/>
                  <a:gd name="connsiteY138" fmla="*/ 3455 h 9884"/>
                  <a:gd name="connsiteX139" fmla="*/ 5857 w 10000"/>
                  <a:gd name="connsiteY139" fmla="*/ 3290 h 9884"/>
                  <a:gd name="connsiteX140" fmla="*/ 5947 w 10000"/>
                  <a:gd name="connsiteY140" fmla="*/ 3092 h 9884"/>
                  <a:gd name="connsiteX141" fmla="*/ 6224 w 10000"/>
                  <a:gd name="connsiteY141" fmla="*/ 2934 h 9884"/>
                  <a:gd name="connsiteX142" fmla="*/ 6224 w 10000"/>
                  <a:gd name="connsiteY142" fmla="*/ 2945 h 9884"/>
                  <a:gd name="connsiteX143" fmla="*/ 6233 w 10000"/>
                  <a:gd name="connsiteY143" fmla="*/ 2906 h 9884"/>
                  <a:gd name="connsiteX144" fmla="*/ 6750 w 10000"/>
                  <a:gd name="connsiteY144" fmla="*/ 3249 h 9884"/>
                  <a:gd name="connsiteX145" fmla="*/ 7035 w 10000"/>
                  <a:gd name="connsiteY145" fmla="*/ 3479 h 9884"/>
                  <a:gd name="connsiteX146" fmla="*/ 7231 w 10000"/>
                  <a:gd name="connsiteY146" fmla="*/ 3564 h 9884"/>
                  <a:gd name="connsiteX147" fmla="*/ 7471 w 10000"/>
                  <a:gd name="connsiteY147" fmla="*/ 3474 h 9884"/>
                  <a:gd name="connsiteX148" fmla="*/ 7667 w 10000"/>
                  <a:gd name="connsiteY148" fmla="*/ 3339 h 9884"/>
                  <a:gd name="connsiteX149" fmla="*/ 8059 w 10000"/>
                  <a:gd name="connsiteY149" fmla="*/ 3080 h 9884"/>
                  <a:gd name="connsiteX150" fmla="*/ 8397 w 10000"/>
                  <a:gd name="connsiteY150" fmla="*/ 2782 h 9884"/>
                  <a:gd name="connsiteX151" fmla="*/ 8549 w 10000"/>
                  <a:gd name="connsiteY151" fmla="*/ 2619 h 9884"/>
                  <a:gd name="connsiteX152" fmla="*/ 8905 w 10000"/>
                  <a:gd name="connsiteY152" fmla="*/ 2361 h 9884"/>
                  <a:gd name="connsiteX153" fmla="*/ 9172 w 10000"/>
                  <a:gd name="connsiteY153" fmla="*/ 2333 h 9884"/>
                  <a:gd name="connsiteX154" fmla="*/ 9546 w 10000"/>
                  <a:gd name="connsiteY154" fmla="*/ 2333 h 9884"/>
                  <a:gd name="connsiteX155" fmla="*/ 9688 w 10000"/>
                  <a:gd name="connsiteY155" fmla="*/ 2333 h 9884"/>
                  <a:gd name="connsiteX156" fmla="*/ 9902 w 10000"/>
                  <a:gd name="connsiteY156" fmla="*/ 2316 h 9884"/>
                  <a:gd name="connsiteX157" fmla="*/ 9697 w 10000"/>
                  <a:gd name="connsiteY157" fmla="*/ 2226 h 9884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188 w 10000"/>
                  <a:gd name="connsiteY91" fmla="*/ 4396 h 10000"/>
                  <a:gd name="connsiteX92" fmla="*/ 3143 w 10000"/>
                  <a:gd name="connsiteY92" fmla="*/ 4658 h 10000"/>
                  <a:gd name="connsiteX93" fmla="*/ 3161 w 10000"/>
                  <a:gd name="connsiteY93" fmla="*/ 5483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188 w 10000"/>
                  <a:gd name="connsiteY91" fmla="*/ 4396 h 10000"/>
                  <a:gd name="connsiteX92" fmla="*/ 3143 w 10000"/>
                  <a:gd name="connsiteY92" fmla="*/ 4658 h 10000"/>
                  <a:gd name="connsiteX93" fmla="*/ 3357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188 w 10000"/>
                  <a:gd name="connsiteY91" fmla="*/ 4396 h 10000"/>
                  <a:gd name="connsiteX92" fmla="*/ 3315 w 10000"/>
                  <a:gd name="connsiteY92" fmla="*/ 4631 h 10000"/>
                  <a:gd name="connsiteX93" fmla="*/ 3357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188 w 10000"/>
                  <a:gd name="connsiteY91" fmla="*/ 4396 h 10000"/>
                  <a:gd name="connsiteX92" fmla="*/ 3270 w 10000"/>
                  <a:gd name="connsiteY92" fmla="*/ 4658 h 10000"/>
                  <a:gd name="connsiteX93" fmla="*/ 3357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188 w 10000"/>
                  <a:gd name="connsiteY91" fmla="*/ 4396 h 10000"/>
                  <a:gd name="connsiteX92" fmla="*/ 3270 w 10000"/>
                  <a:gd name="connsiteY92" fmla="*/ 4658 h 10000"/>
                  <a:gd name="connsiteX93" fmla="*/ 3268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161 w 10000"/>
                  <a:gd name="connsiteY90" fmla="*/ 4322 h 10000"/>
                  <a:gd name="connsiteX91" fmla="*/ 3303 w 10000"/>
                  <a:gd name="connsiteY91" fmla="*/ 4380 h 10000"/>
                  <a:gd name="connsiteX92" fmla="*/ 3270 w 10000"/>
                  <a:gd name="connsiteY92" fmla="*/ 4658 h 10000"/>
                  <a:gd name="connsiteX93" fmla="*/ 3268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268 w 10000"/>
                  <a:gd name="connsiteY90" fmla="*/ 4268 h 10000"/>
                  <a:gd name="connsiteX91" fmla="*/ 3303 w 10000"/>
                  <a:gd name="connsiteY91" fmla="*/ 4380 h 10000"/>
                  <a:gd name="connsiteX92" fmla="*/ 3270 w 10000"/>
                  <a:gd name="connsiteY92" fmla="*/ 4658 h 10000"/>
                  <a:gd name="connsiteX93" fmla="*/ 3268 w 10000"/>
                  <a:gd name="connsiteY93" fmla="*/ 5465 h 10000"/>
                  <a:gd name="connsiteX94" fmla="*/ 3447 w 10000"/>
                  <a:gd name="connsiteY94" fmla="*/ 6982 h 10000"/>
                  <a:gd name="connsiteX95" fmla="*/ 3749 w 10000"/>
                  <a:gd name="connsiteY95" fmla="*/ 7160 h 10000"/>
                  <a:gd name="connsiteX96" fmla="*/ 3882 w 10000"/>
                  <a:gd name="connsiteY96" fmla="*/ 8366 h 10000"/>
                  <a:gd name="connsiteX97" fmla="*/ 3954 w 10000"/>
                  <a:gd name="connsiteY97" fmla="*/ 8894 h 10000"/>
                  <a:gd name="connsiteX98" fmla="*/ 3945 w 10000"/>
                  <a:gd name="connsiteY98" fmla="*/ 9031 h 10000"/>
                  <a:gd name="connsiteX99" fmla="*/ 3758 w 10000"/>
                  <a:gd name="connsiteY99" fmla="*/ 9310 h 10000"/>
                  <a:gd name="connsiteX100" fmla="*/ 3357 w 10000"/>
                  <a:gd name="connsiteY100" fmla="*/ 9611 h 10000"/>
                  <a:gd name="connsiteX101" fmla="*/ 4114 w 10000"/>
                  <a:gd name="connsiteY101" fmla="*/ 9645 h 10000"/>
                  <a:gd name="connsiteX102" fmla="*/ 4212 w 10000"/>
                  <a:gd name="connsiteY102" fmla="*/ 9571 h 10000"/>
                  <a:gd name="connsiteX103" fmla="*/ 4381 w 10000"/>
                  <a:gd name="connsiteY103" fmla="*/ 9486 h 10000"/>
                  <a:gd name="connsiteX104" fmla="*/ 4647 w 10000"/>
                  <a:gd name="connsiteY104" fmla="*/ 9276 h 10000"/>
                  <a:gd name="connsiteX105" fmla="*/ 4639 w 10000"/>
                  <a:gd name="connsiteY105" fmla="*/ 8985 h 10000"/>
                  <a:gd name="connsiteX106" fmla="*/ 4720 w 10000"/>
                  <a:gd name="connsiteY106" fmla="*/ 7547 h 10000"/>
                  <a:gd name="connsiteX107" fmla="*/ 4898 w 10000"/>
                  <a:gd name="connsiteY107" fmla="*/ 8201 h 10000"/>
                  <a:gd name="connsiteX108" fmla="*/ 4996 w 10000"/>
                  <a:gd name="connsiteY108" fmla="*/ 8531 h 10000"/>
                  <a:gd name="connsiteX109" fmla="*/ 5049 w 10000"/>
                  <a:gd name="connsiteY109" fmla="*/ 8878 h 10000"/>
                  <a:gd name="connsiteX110" fmla="*/ 4978 w 10000"/>
                  <a:gd name="connsiteY110" fmla="*/ 9065 h 10000"/>
                  <a:gd name="connsiteX111" fmla="*/ 4951 w 10000"/>
                  <a:gd name="connsiteY111" fmla="*/ 9191 h 10000"/>
                  <a:gd name="connsiteX112" fmla="*/ 4889 w 10000"/>
                  <a:gd name="connsiteY112" fmla="*/ 9299 h 10000"/>
                  <a:gd name="connsiteX113" fmla="*/ 4835 w 10000"/>
                  <a:gd name="connsiteY113" fmla="*/ 9532 h 10000"/>
                  <a:gd name="connsiteX114" fmla="*/ 4577 w 10000"/>
                  <a:gd name="connsiteY114" fmla="*/ 9879 h 10000"/>
                  <a:gd name="connsiteX115" fmla="*/ 5387 w 10000"/>
                  <a:gd name="connsiteY115" fmla="*/ 9946 h 10000"/>
                  <a:gd name="connsiteX116" fmla="*/ 5557 w 10000"/>
                  <a:gd name="connsiteY116" fmla="*/ 9560 h 10000"/>
                  <a:gd name="connsiteX117" fmla="*/ 5654 w 10000"/>
                  <a:gd name="connsiteY117" fmla="*/ 9310 h 10000"/>
                  <a:gd name="connsiteX118" fmla="*/ 5601 w 10000"/>
                  <a:gd name="connsiteY118" fmla="*/ 9179 h 10000"/>
                  <a:gd name="connsiteX119" fmla="*/ 5610 w 10000"/>
                  <a:gd name="connsiteY119" fmla="*/ 9117 h 10000"/>
                  <a:gd name="connsiteX120" fmla="*/ 5583 w 10000"/>
                  <a:gd name="connsiteY120" fmla="*/ 9026 h 10000"/>
                  <a:gd name="connsiteX121" fmla="*/ 5583 w 10000"/>
                  <a:gd name="connsiteY121" fmla="*/ 8770 h 10000"/>
                  <a:gd name="connsiteX122" fmla="*/ 5654 w 10000"/>
                  <a:gd name="connsiteY122" fmla="*/ 8548 h 10000"/>
                  <a:gd name="connsiteX123" fmla="*/ 5708 w 10000"/>
                  <a:gd name="connsiteY123" fmla="*/ 8308 h 10000"/>
                  <a:gd name="connsiteX124" fmla="*/ 5744 w 10000"/>
                  <a:gd name="connsiteY124" fmla="*/ 7780 h 10000"/>
                  <a:gd name="connsiteX125" fmla="*/ 5485 w 10000"/>
                  <a:gd name="connsiteY125" fmla="*/ 7257 h 10000"/>
                  <a:gd name="connsiteX126" fmla="*/ 5450 w 10000"/>
                  <a:gd name="connsiteY126" fmla="*/ 7171 h 10000"/>
                  <a:gd name="connsiteX127" fmla="*/ 5476 w 10000"/>
                  <a:gd name="connsiteY127" fmla="*/ 6927 h 10000"/>
                  <a:gd name="connsiteX128" fmla="*/ 5476 w 10000"/>
                  <a:gd name="connsiteY128" fmla="*/ 6779 h 10000"/>
                  <a:gd name="connsiteX129" fmla="*/ 5503 w 10000"/>
                  <a:gd name="connsiteY129" fmla="*/ 6683 h 10000"/>
                  <a:gd name="connsiteX130" fmla="*/ 5503 w 10000"/>
                  <a:gd name="connsiteY130" fmla="*/ 6609 h 10000"/>
                  <a:gd name="connsiteX131" fmla="*/ 5548 w 10000"/>
                  <a:gd name="connsiteY131" fmla="*/ 6529 h 10000"/>
                  <a:gd name="connsiteX132" fmla="*/ 5708 w 10000"/>
                  <a:gd name="connsiteY132" fmla="*/ 5858 h 10000"/>
                  <a:gd name="connsiteX133" fmla="*/ 5850 w 10000"/>
                  <a:gd name="connsiteY133" fmla="*/ 5351 h 10000"/>
                  <a:gd name="connsiteX134" fmla="*/ 5806 w 10000"/>
                  <a:gd name="connsiteY134" fmla="*/ 4686 h 10000"/>
                  <a:gd name="connsiteX135" fmla="*/ 5788 w 10000"/>
                  <a:gd name="connsiteY135" fmla="*/ 4578 h 10000"/>
                  <a:gd name="connsiteX136" fmla="*/ 5659 w 10000"/>
                  <a:gd name="connsiteY136" fmla="*/ 4162 h 10000"/>
                  <a:gd name="connsiteX137" fmla="*/ 5617 w 10000"/>
                  <a:gd name="connsiteY137" fmla="*/ 3979 h 10000"/>
                  <a:gd name="connsiteX138" fmla="*/ 5707 w 10000"/>
                  <a:gd name="connsiteY138" fmla="*/ 3496 h 10000"/>
                  <a:gd name="connsiteX139" fmla="*/ 5857 w 10000"/>
                  <a:gd name="connsiteY139" fmla="*/ 3329 h 10000"/>
                  <a:gd name="connsiteX140" fmla="*/ 5947 w 10000"/>
                  <a:gd name="connsiteY140" fmla="*/ 3128 h 10000"/>
                  <a:gd name="connsiteX141" fmla="*/ 6224 w 10000"/>
                  <a:gd name="connsiteY141" fmla="*/ 2968 h 10000"/>
                  <a:gd name="connsiteX142" fmla="*/ 6224 w 10000"/>
                  <a:gd name="connsiteY142" fmla="*/ 2980 h 10000"/>
                  <a:gd name="connsiteX143" fmla="*/ 6233 w 10000"/>
                  <a:gd name="connsiteY143" fmla="*/ 2940 h 10000"/>
                  <a:gd name="connsiteX144" fmla="*/ 6750 w 10000"/>
                  <a:gd name="connsiteY144" fmla="*/ 3287 h 10000"/>
                  <a:gd name="connsiteX145" fmla="*/ 7035 w 10000"/>
                  <a:gd name="connsiteY145" fmla="*/ 3520 h 10000"/>
                  <a:gd name="connsiteX146" fmla="*/ 7231 w 10000"/>
                  <a:gd name="connsiteY146" fmla="*/ 3606 h 10000"/>
                  <a:gd name="connsiteX147" fmla="*/ 7471 w 10000"/>
                  <a:gd name="connsiteY147" fmla="*/ 3515 h 10000"/>
                  <a:gd name="connsiteX148" fmla="*/ 7667 w 10000"/>
                  <a:gd name="connsiteY148" fmla="*/ 3378 h 10000"/>
                  <a:gd name="connsiteX149" fmla="*/ 8059 w 10000"/>
                  <a:gd name="connsiteY149" fmla="*/ 3116 h 10000"/>
                  <a:gd name="connsiteX150" fmla="*/ 8397 w 10000"/>
                  <a:gd name="connsiteY150" fmla="*/ 2815 h 10000"/>
                  <a:gd name="connsiteX151" fmla="*/ 8549 w 10000"/>
                  <a:gd name="connsiteY151" fmla="*/ 2650 h 10000"/>
                  <a:gd name="connsiteX152" fmla="*/ 8905 w 10000"/>
                  <a:gd name="connsiteY152" fmla="*/ 2389 h 10000"/>
                  <a:gd name="connsiteX153" fmla="*/ 9172 w 10000"/>
                  <a:gd name="connsiteY153" fmla="*/ 2360 h 10000"/>
                  <a:gd name="connsiteX154" fmla="*/ 9546 w 10000"/>
                  <a:gd name="connsiteY154" fmla="*/ 2360 h 10000"/>
                  <a:gd name="connsiteX155" fmla="*/ 9688 w 10000"/>
                  <a:gd name="connsiteY155" fmla="*/ 2360 h 10000"/>
                  <a:gd name="connsiteX156" fmla="*/ 9902 w 10000"/>
                  <a:gd name="connsiteY156" fmla="*/ 2343 h 10000"/>
                  <a:gd name="connsiteX157" fmla="*/ 9697 w 10000"/>
                  <a:gd name="connsiteY157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95 w 10000"/>
                  <a:gd name="connsiteY88" fmla="*/ 3992 h 10000"/>
                  <a:gd name="connsiteX89" fmla="*/ 3250 w 10000"/>
                  <a:gd name="connsiteY89" fmla="*/ 4101 h 10000"/>
                  <a:gd name="connsiteX90" fmla="*/ 3303 w 10000"/>
                  <a:gd name="connsiteY90" fmla="*/ 4380 h 10000"/>
                  <a:gd name="connsiteX91" fmla="*/ 3270 w 10000"/>
                  <a:gd name="connsiteY91" fmla="*/ 4658 h 10000"/>
                  <a:gd name="connsiteX92" fmla="*/ 3268 w 10000"/>
                  <a:gd name="connsiteY92" fmla="*/ 5465 h 10000"/>
                  <a:gd name="connsiteX93" fmla="*/ 3447 w 10000"/>
                  <a:gd name="connsiteY93" fmla="*/ 6982 h 10000"/>
                  <a:gd name="connsiteX94" fmla="*/ 3749 w 10000"/>
                  <a:gd name="connsiteY94" fmla="*/ 7160 h 10000"/>
                  <a:gd name="connsiteX95" fmla="*/ 3882 w 10000"/>
                  <a:gd name="connsiteY95" fmla="*/ 8366 h 10000"/>
                  <a:gd name="connsiteX96" fmla="*/ 3954 w 10000"/>
                  <a:gd name="connsiteY96" fmla="*/ 8894 h 10000"/>
                  <a:gd name="connsiteX97" fmla="*/ 3945 w 10000"/>
                  <a:gd name="connsiteY97" fmla="*/ 9031 h 10000"/>
                  <a:gd name="connsiteX98" fmla="*/ 3758 w 10000"/>
                  <a:gd name="connsiteY98" fmla="*/ 9310 h 10000"/>
                  <a:gd name="connsiteX99" fmla="*/ 3357 w 10000"/>
                  <a:gd name="connsiteY99" fmla="*/ 9611 h 10000"/>
                  <a:gd name="connsiteX100" fmla="*/ 4114 w 10000"/>
                  <a:gd name="connsiteY100" fmla="*/ 9645 h 10000"/>
                  <a:gd name="connsiteX101" fmla="*/ 4212 w 10000"/>
                  <a:gd name="connsiteY101" fmla="*/ 9571 h 10000"/>
                  <a:gd name="connsiteX102" fmla="*/ 4381 w 10000"/>
                  <a:gd name="connsiteY102" fmla="*/ 9486 h 10000"/>
                  <a:gd name="connsiteX103" fmla="*/ 4647 w 10000"/>
                  <a:gd name="connsiteY103" fmla="*/ 9276 h 10000"/>
                  <a:gd name="connsiteX104" fmla="*/ 4639 w 10000"/>
                  <a:gd name="connsiteY104" fmla="*/ 8985 h 10000"/>
                  <a:gd name="connsiteX105" fmla="*/ 4720 w 10000"/>
                  <a:gd name="connsiteY105" fmla="*/ 7547 h 10000"/>
                  <a:gd name="connsiteX106" fmla="*/ 4898 w 10000"/>
                  <a:gd name="connsiteY106" fmla="*/ 8201 h 10000"/>
                  <a:gd name="connsiteX107" fmla="*/ 4996 w 10000"/>
                  <a:gd name="connsiteY107" fmla="*/ 8531 h 10000"/>
                  <a:gd name="connsiteX108" fmla="*/ 5049 w 10000"/>
                  <a:gd name="connsiteY108" fmla="*/ 8878 h 10000"/>
                  <a:gd name="connsiteX109" fmla="*/ 4978 w 10000"/>
                  <a:gd name="connsiteY109" fmla="*/ 9065 h 10000"/>
                  <a:gd name="connsiteX110" fmla="*/ 4951 w 10000"/>
                  <a:gd name="connsiteY110" fmla="*/ 9191 h 10000"/>
                  <a:gd name="connsiteX111" fmla="*/ 4889 w 10000"/>
                  <a:gd name="connsiteY111" fmla="*/ 9299 h 10000"/>
                  <a:gd name="connsiteX112" fmla="*/ 4835 w 10000"/>
                  <a:gd name="connsiteY112" fmla="*/ 9532 h 10000"/>
                  <a:gd name="connsiteX113" fmla="*/ 4577 w 10000"/>
                  <a:gd name="connsiteY113" fmla="*/ 9879 h 10000"/>
                  <a:gd name="connsiteX114" fmla="*/ 5387 w 10000"/>
                  <a:gd name="connsiteY114" fmla="*/ 9946 h 10000"/>
                  <a:gd name="connsiteX115" fmla="*/ 5557 w 10000"/>
                  <a:gd name="connsiteY115" fmla="*/ 9560 h 10000"/>
                  <a:gd name="connsiteX116" fmla="*/ 5654 w 10000"/>
                  <a:gd name="connsiteY116" fmla="*/ 9310 h 10000"/>
                  <a:gd name="connsiteX117" fmla="*/ 5601 w 10000"/>
                  <a:gd name="connsiteY117" fmla="*/ 9179 h 10000"/>
                  <a:gd name="connsiteX118" fmla="*/ 5610 w 10000"/>
                  <a:gd name="connsiteY118" fmla="*/ 9117 h 10000"/>
                  <a:gd name="connsiteX119" fmla="*/ 5583 w 10000"/>
                  <a:gd name="connsiteY119" fmla="*/ 9026 h 10000"/>
                  <a:gd name="connsiteX120" fmla="*/ 5583 w 10000"/>
                  <a:gd name="connsiteY120" fmla="*/ 8770 h 10000"/>
                  <a:gd name="connsiteX121" fmla="*/ 5654 w 10000"/>
                  <a:gd name="connsiteY121" fmla="*/ 8548 h 10000"/>
                  <a:gd name="connsiteX122" fmla="*/ 5708 w 10000"/>
                  <a:gd name="connsiteY122" fmla="*/ 8308 h 10000"/>
                  <a:gd name="connsiteX123" fmla="*/ 5744 w 10000"/>
                  <a:gd name="connsiteY123" fmla="*/ 7780 h 10000"/>
                  <a:gd name="connsiteX124" fmla="*/ 5485 w 10000"/>
                  <a:gd name="connsiteY124" fmla="*/ 7257 h 10000"/>
                  <a:gd name="connsiteX125" fmla="*/ 5450 w 10000"/>
                  <a:gd name="connsiteY125" fmla="*/ 7171 h 10000"/>
                  <a:gd name="connsiteX126" fmla="*/ 5476 w 10000"/>
                  <a:gd name="connsiteY126" fmla="*/ 6927 h 10000"/>
                  <a:gd name="connsiteX127" fmla="*/ 5476 w 10000"/>
                  <a:gd name="connsiteY127" fmla="*/ 6779 h 10000"/>
                  <a:gd name="connsiteX128" fmla="*/ 5503 w 10000"/>
                  <a:gd name="connsiteY128" fmla="*/ 6683 h 10000"/>
                  <a:gd name="connsiteX129" fmla="*/ 5503 w 10000"/>
                  <a:gd name="connsiteY129" fmla="*/ 6609 h 10000"/>
                  <a:gd name="connsiteX130" fmla="*/ 5548 w 10000"/>
                  <a:gd name="connsiteY130" fmla="*/ 6529 h 10000"/>
                  <a:gd name="connsiteX131" fmla="*/ 5708 w 10000"/>
                  <a:gd name="connsiteY131" fmla="*/ 5858 h 10000"/>
                  <a:gd name="connsiteX132" fmla="*/ 5850 w 10000"/>
                  <a:gd name="connsiteY132" fmla="*/ 5351 h 10000"/>
                  <a:gd name="connsiteX133" fmla="*/ 5806 w 10000"/>
                  <a:gd name="connsiteY133" fmla="*/ 4686 h 10000"/>
                  <a:gd name="connsiteX134" fmla="*/ 5788 w 10000"/>
                  <a:gd name="connsiteY134" fmla="*/ 4578 h 10000"/>
                  <a:gd name="connsiteX135" fmla="*/ 5659 w 10000"/>
                  <a:gd name="connsiteY135" fmla="*/ 4162 h 10000"/>
                  <a:gd name="connsiteX136" fmla="*/ 5617 w 10000"/>
                  <a:gd name="connsiteY136" fmla="*/ 3979 h 10000"/>
                  <a:gd name="connsiteX137" fmla="*/ 5707 w 10000"/>
                  <a:gd name="connsiteY137" fmla="*/ 3496 h 10000"/>
                  <a:gd name="connsiteX138" fmla="*/ 5857 w 10000"/>
                  <a:gd name="connsiteY138" fmla="*/ 3329 h 10000"/>
                  <a:gd name="connsiteX139" fmla="*/ 5947 w 10000"/>
                  <a:gd name="connsiteY139" fmla="*/ 3128 h 10000"/>
                  <a:gd name="connsiteX140" fmla="*/ 6224 w 10000"/>
                  <a:gd name="connsiteY140" fmla="*/ 2968 h 10000"/>
                  <a:gd name="connsiteX141" fmla="*/ 6224 w 10000"/>
                  <a:gd name="connsiteY141" fmla="*/ 2980 h 10000"/>
                  <a:gd name="connsiteX142" fmla="*/ 6233 w 10000"/>
                  <a:gd name="connsiteY142" fmla="*/ 2940 h 10000"/>
                  <a:gd name="connsiteX143" fmla="*/ 6750 w 10000"/>
                  <a:gd name="connsiteY143" fmla="*/ 3287 h 10000"/>
                  <a:gd name="connsiteX144" fmla="*/ 7035 w 10000"/>
                  <a:gd name="connsiteY144" fmla="*/ 3520 h 10000"/>
                  <a:gd name="connsiteX145" fmla="*/ 7231 w 10000"/>
                  <a:gd name="connsiteY145" fmla="*/ 3606 h 10000"/>
                  <a:gd name="connsiteX146" fmla="*/ 7471 w 10000"/>
                  <a:gd name="connsiteY146" fmla="*/ 3515 h 10000"/>
                  <a:gd name="connsiteX147" fmla="*/ 7667 w 10000"/>
                  <a:gd name="connsiteY147" fmla="*/ 3378 h 10000"/>
                  <a:gd name="connsiteX148" fmla="*/ 8059 w 10000"/>
                  <a:gd name="connsiteY148" fmla="*/ 3116 h 10000"/>
                  <a:gd name="connsiteX149" fmla="*/ 8397 w 10000"/>
                  <a:gd name="connsiteY149" fmla="*/ 2815 h 10000"/>
                  <a:gd name="connsiteX150" fmla="*/ 8549 w 10000"/>
                  <a:gd name="connsiteY150" fmla="*/ 2650 h 10000"/>
                  <a:gd name="connsiteX151" fmla="*/ 8905 w 10000"/>
                  <a:gd name="connsiteY151" fmla="*/ 2389 h 10000"/>
                  <a:gd name="connsiteX152" fmla="*/ 9172 w 10000"/>
                  <a:gd name="connsiteY152" fmla="*/ 2360 h 10000"/>
                  <a:gd name="connsiteX153" fmla="*/ 9546 w 10000"/>
                  <a:gd name="connsiteY153" fmla="*/ 2360 h 10000"/>
                  <a:gd name="connsiteX154" fmla="*/ 9688 w 10000"/>
                  <a:gd name="connsiteY154" fmla="*/ 2360 h 10000"/>
                  <a:gd name="connsiteX155" fmla="*/ 9902 w 10000"/>
                  <a:gd name="connsiteY155" fmla="*/ 2343 h 10000"/>
                  <a:gd name="connsiteX156" fmla="*/ 9697 w 10000"/>
                  <a:gd name="connsiteY156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250 w 10000"/>
                  <a:gd name="connsiteY88" fmla="*/ 4101 h 10000"/>
                  <a:gd name="connsiteX89" fmla="*/ 3303 w 10000"/>
                  <a:gd name="connsiteY89" fmla="*/ 4380 h 10000"/>
                  <a:gd name="connsiteX90" fmla="*/ 3270 w 10000"/>
                  <a:gd name="connsiteY90" fmla="*/ 4658 h 10000"/>
                  <a:gd name="connsiteX91" fmla="*/ 3268 w 10000"/>
                  <a:gd name="connsiteY91" fmla="*/ 5465 h 10000"/>
                  <a:gd name="connsiteX92" fmla="*/ 3447 w 10000"/>
                  <a:gd name="connsiteY92" fmla="*/ 6982 h 10000"/>
                  <a:gd name="connsiteX93" fmla="*/ 3749 w 10000"/>
                  <a:gd name="connsiteY93" fmla="*/ 7160 h 10000"/>
                  <a:gd name="connsiteX94" fmla="*/ 3882 w 10000"/>
                  <a:gd name="connsiteY94" fmla="*/ 8366 h 10000"/>
                  <a:gd name="connsiteX95" fmla="*/ 3954 w 10000"/>
                  <a:gd name="connsiteY95" fmla="*/ 8894 h 10000"/>
                  <a:gd name="connsiteX96" fmla="*/ 3945 w 10000"/>
                  <a:gd name="connsiteY96" fmla="*/ 9031 h 10000"/>
                  <a:gd name="connsiteX97" fmla="*/ 3758 w 10000"/>
                  <a:gd name="connsiteY97" fmla="*/ 9310 h 10000"/>
                  <a:gd name="connsiteX98" fmla="*/ 3357 w 10000"/>
                  <a:gd name="connsiteY98" fmla="*/ 9611 h 10000"/>
                  <a:gd name="connsiteX99" fmla="*/ 4114 w 10000"/>
                  <a:gd name="connsiteY99" fmla="*/ 9645 h 10000"/>
                  <a:gd name="connsiteX100" fmla="*/ 4212 w 10000"/>
                  <a:gd name="connsiteY100" fmla="*/ 9571 h 10000"/>
                  <a:gd name="connsiteX101" fmla="*/ 4381 w 10000"/>
                  <a:gd name="connsiteY101" fmla="*/ 9486 h 10000"/>
                  <a:gd name="connsiteX102" fmla="*/ 4647 w 10000"/>
                  <a:gd name="connsiteY102" fmla="*/ 9276 h 10000"/>
                  <a:gd name="connsiteX103" fmla="*/ 4639 w 10000"/>
                  <a:gd name="connsiteY103" fmla="*/ 8985 h 10000"/>
                  <a:gd name="connsiteX104" fmla="*/ 4720 w 10000"/>
                  <a:gd name="connsiteY104" fmla="*/ 7547 h 10000"/>
                  <a:gd name="connsiteX105" fmla="*/ 4898 w 10000"/>
                  <a:gd name="connsiteY105" fmla="*/ 8201 h 10000"/>
                  <a:gd name="connsiteX106" fmla="*/ 4996 w 10000"/>
                  <a:gd name="connsiteY106" fmla="*/ 8531 h 10000"/>
                  <a:gd name="connsiteX107" fmla="*/ 5049 w 10000"/>
                  <a:gd name="connsiteY107" fmla="*/ 8878 h 10000"/>
                  <a:gd name="connsiteX108" fmla="*/ 4978 w 10000"/>
                  <a:gd name="connsiteY108" fmla="*/ 9065 h 10000"/>
                  <a:gd name="connsiteX109" fmla="*/ 4951 w 10000"/>
                  <a:gd name="connsiteY109" fmla="*/ 9191 h 10000"/>
                  <a:gd name="connsiteX110" fmla="*/ 4889 w 10000"/>
                  <a:gd name="connsiteY110" fmla="*/ 9299 h 10000"/>
                  <a:gd name="connsiteX111" fmla="*/ 4835 w 10000"/>
                  <a:gd name="connsiteY111" fmla="*/ 9532 h 10000"/>
                  <a:gd name="connsiteX112" fmla="*/ 4577 w 10000"/>
                  <a:gd name="connsiteY112" fmla="*/ 9879 h 10000"/>
                  <a:gd name="connsiteX113" fmla="*/ 5387 w 10000"/>
                  <a:gd name="connsiteY113" fmla="*/ 9946 h 10000"/>
                  <a:gd name="connsiteX114" fmla="*/ 5557 w 10000"/>
                  <a:gd name="connsiteY114" fmla="*/ 9560 h 10000"/>
                  <a:gd name="connsiteX115" fmla="*/ 5654 w 10000"/>
                  <a:gd name="connsiteY115" fmla="*/ 9310 h 10000"/>
                  <a:gd name="connsiteX116" fmla="*/ 5601 w 10000"/>
                  <a:gd name="connsiteY116" fmla="*/ 9179 h 10000"/>
                  <a:gd name="connsiteX117" fmla="*/ 5610 w 10000"/>
                  <a:gd name="connsiteY117" fmla="*/ 9117 h 10000"/>
                  <a:gd name="connsiteX118" fmla="*/ 5583 w 10000"/>
                  <a:gd name="connsiteY118" fmla="*/ 9026 h 10000"/>
                  <a:gd name="connsiteX119" fmla="*/ 5583 w 10000"/>
                  <a:gd name="connsiteY119" fmla="*/ 8770 h 10000"/>
                  <a:gd name="connsiteX120" fmla="*/ 5654 w 10000"/>
                  <a:gd name="connsiteY120" fmla="*/ 8548 h 10000"/>
                  <a:gd name="connsiteX121" fmla="*/ 5708 w 10000"/>
                  <a:gd name="connsiteY121" fmla="*/ 8308 h 10000"/>
                  <a:gd name="connsiteX122" fmla="*/ 5744 w 10000"/>
                  <a:gd name="connsiteY122" fmla="*/ 7780 h 10000"/>
                  <a:gd name="connsiteX123" fmla="*/ 5485 w 10000"/>
                  <a:gd name="connsiteY123" fmla="*/ 7257 h 10000"/>
                  <a:gd name="connsiteX124" fmla="*/ 5450 w 10000"/>
                  <a:gd name="connsiteY124" fmla="*/ 7171 h 10000"/>
                  <a:gd name="connsiteX125" fmla="*/ 5476 w 10000"/>
                  <a:gd name="connsiteY125" fmla="*/ 6927 h 10000"/>
                  <a:gd name="connsiteX126" fmla="*/ 5476 w 10000"/>
                  <a:gd name="connsiteY126" fmla="*/ 6779 h 10000"/>
                  <a:gd name="connsiteX127" fmla="*/ 5503 w 10000"/>
                  <a:gd name="connsiteY127" fmla="*/ 6683 h 10000"/>
                  <a:gd name="connsiteX128" fmla="*/ 5503 w 10000"/>
                  <a:gd name="connsiteY128" fmla="*/ 6609 h 10000"/>
                  <a:gd name="connsiteX129" fmla="*/ 5548 w 10000"/>
                  <a:gd name="connsiteY129" fmla="*/ 6529 h 10000"/>
                  <a:gd name="connsiteX130" fmla="*/ 5708 w 10000"/>
                  <a:gd name="connsiteY130" fmla="*/ 5858 h 10000"/>
                  <a:gd name="connsiteX131" fmla="*/ 5850 w 10000"/>
                  <a:gd name="connsiteY131" fmla="*/ 5351 h 10000"/>
                  <a:gd name="connsiteX132" fmla="*/ 5806 w 10000"/>
                  <a:gd name="connsiteY132" fmla="*/ 4686 h 10000"/>
                  <a:gd name="connsiteX133" fmla="*/ 5788 w 10000"/>
                  <a:gd name="connsiteY133" fmla="*/ 4578 h 10000"/>
                  <a:gd name="connsiteX134" fmla="*/ 5659 w 10000"/>
                  <a:gd name="connsiteY134" fmla="*/ 4162 h 10000"/>
                  <a:gd name="connsiteX135" fmla="*/ 5617 w 10000"/>
                  <a:gd name="connsiteY135" fmla="*/ 3979 h 10000"/>
                  <a:gd name="connsiteX136" fmla="*/ 5707 w 10000"/>
                  <a:gd name="connsiteY136" fmla="*/ 3496 h 10000"/>
                  <a:gd name="connsiteX137" fmla="*/ 5857 w 10000"/>
                  <a:gd name="connsiteY137" fmla="*/ 3329 h 10000"/>
                  <a:gd name="connsiteX138" fmla="*/ 5947 w 10000"/>
                  <a:gd name="connsiteY138" fmla="*/ 3128 h 10000"/>
                  <a:gd name="connsiteX139" fmla="*/ 6224 w 10000"/>
                  <a:gd name="connsiteY139" fmla="*/ 2968 h 10000"/>
                  <a:gd name="connsiteX140" fmla="*/ 6224 w 10000"/>
                  <a:gd name="connsiteY140" fmla="*/ 2980 h 10000"/>
                  <a:gd name="connsiteX141" fmla="*/ 6233 w 10000"/>
                  <a:gd name="connsiteY141" fmla="*/ 2940 h 10000"/>
                  <a:gd name="connsiteX142" fmla="*/ 6750 w 10000"/>
                  <a:gd name="connsiteY142" fmla="*/ 3287 h 10000"/>
                  <a:gd name="connsiteX143" fmla="*/ 7035 w 10000"/>
                  <a:gd name="connsiteY143" fmla="*/ 3520 h 10000"/>
                  <a:gd name="connsiteX144" fmla="*/ 7231 w 10000"/>
                  <a:gd name="connsiteY144" fmla="*/ 3606 h 10000"/>
                  <a:gd name="connsiteX145" fmla="*/ 7471 w 10000"/>
                  <a:gd name="connsiteY145" fmla="*/ 3515 h 10000"/>
                  <a:gd name="connsiteX146" fmla="*/ 7667 w 10000"/>
                  <a:gd name="connsiteY146" fmla="*/ 3378 h 10000"/>
                  <a:gd name="connsiteX147" fmla="*/ 8059 w 10000"/>
                  <a:gd name="connsiteY147" fmla="*/ 3116 h 10000"/>
                  <a:gd name="connsiteX148" fmla="*/ 8397 w 10000"/>
                  <a:gd name="connsiteY148" fmla="*/ 2815 h 10000"/>
                  <a:gd name="connsiteX149" fmla="*/ 8549 w 10000"/>
                  <a:gd name="connsiteY149" fmla="*/ 2650 h 10000"/>
                  <a:gd name="connsiteX150" fmla="*/ 8905 w 10000"/>
                  <a:gd name="connsiteY150" fmla="*/ 2389 h 10000"/>
                  <a:gd name="connsiteX151" fmla="*/ 9172 w 10000"/>
                  <a:gd name="connsiteY151" fmla="*/ 2360 h 10000"/>
                  <a:gd name="connsiteX152" fmla="*/ 9546 w 10000"/>
                  <a:gd name="connsiteY152" fmla="*/ 2360 h 10000"/>
                  <a:gd name="connsiteX153" fmla="*/ 9688 w 10000"/>
                  <a:gd name="connsiteY153" fmla="*/ 2360 h 10000"/>
                  <a:gd name="connsiteX154" fmla="*/ 9902 w 10000"/>
                  <a:gd name="connsiteY154" fmla="*/ 2343 h 10000"/>
                  <a:gd name="connsiteX155" fmla="*/ 9697 w 10000"/>
                  <a:gd name="connsiteY155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30 w 10000"/>
                  <a:gd name="connsiteY87" fmla="*/ 3879 h 10000"/>
                  <a:gd name="connsiteX88" fmla="*/ 3303 w 10000"/>
                  <a:gd name="connsiteY88" fmla="*/ 4380 h 10000"/>
                  <a:gd name="connsiteX89" fmla="*/ 3270 w 10000"/>
                  <a:gd name="connsiteY89" fmla="*/ 4658 h 10000"/>
                  <a:gd name="connsiteX90" fmla="*/ 3268 w 10000"/>
                  <a:gd name="connsiteY90" fmla="*/ 5465 h 10000"/>
                  <a:gd name="connsiteX91" fmla="*/ 3447 w 10000"/>
                  <a:gd name="connsiteY91" fmla="*/ 6982 h 10000"/>
                  <a:gd name="connsiteX92" fmla="*/ 3749 w 10000"/>
                  <a:gd name="connsiteY92" fmla="*/ 7160 h 10000"/>
                  <a:gd name="connsiteX93" fmla="*/ 3882 w 10000"/>
                  <a:gd name="connsiteY93" fmla="*/ 8366 h 10000"/>
                  <a:gd name="connsiteX94" fmla="*/ 3954 w 10000"/>
                  <a:gd name="connsiteY94" fmla="*/ 8894 h 10000"/>
                  <a:gd name="connsiteX95" fmla="*/ 3945 w 10000"/>
                  <a:gd name="connsiteY95" fmla="*/ 9031 h 10000"/>
                  <a:gd name="connsiteX96" fmla="*/ 3758 w 10000"/>
                  <a:gd name="connsiteY96" fmla="*/ 9310 h 10000"/>
                  <a:gd name="connsiteX97" fmla="*/ 3357 w 10000"/>
                  <a:gd name="connsiteY97" fmla="*/ 9611 h 10000"/>
                  <a:gd name="connsiteX98" fmla="*/ 4114 w 10000"/>
                  <a:gd name="connsiteY98" fmla="*/ 9645 h 10000"/>
                  <a:gd name="connsiteX99" fmla="*/ 4212 w 10000"/>
                  <a:gd name="connsiteY99" fmla="*/ 9571 h 10000"/>
                  <a:gd name="connsiteX100" fmla="*/ 4381 w 10000"/>
                  <a:gd name="connsiteY100" fmla="*/ 9486 h 10000"/>
                  <a:gd name="connsiteX101" fmla="*/ 4647 w 10000"/>
                  <a:gd name="connsiteY101" fmla="*/ 9276 h 10000"/>
                  <a:gd name="connsiteX102" fmla="*/ 4639 w 10000"/>
                  <a:gd name="connsiteY102" fmla="*/ 8985 h 10000"/>
                  <a:gd name="connsiteX103" fmla="*/ 4720 w 10000"/>
                  <a:gd name="connsiteY103" fmla="*/ 7547 h 10000"/>
                  <a:gd name="connsiteX104" fmla="*/ 4898 w 10000"/>
                  <a:gd name="connsiteY104" fmla="*/ 8201 h 10000"/>
                  <a:gd name="connsiteX105" fmla="*/ 4996 w 10000"/>
                  <a:gd name="connsiteY105" fmla="*/ 8531 h 10000"/>
                  <a:gd name="connsiteX106" fmla="*/ 5049 w 10000"/>
                  <a:gd name="connsiteY106" fmla="*/ 8878 h 10000"/>
                  <a:gd name="connsiteX107" fmla="*/ 4978 w 10000"/>
                  <a:gd name="connsiteY107" fmla="*/ 9065 h 10000"/>
                  <a:gd name="connsiteX108" fmla="*/ 4951 w 10000"/>
                  <a:gd name="connsiteY108" fmla="*/ 9191 h 10000"/>
                  <a:gd name="connsiteX109" fmla="*/ 4889 w 10000"/>
                  <a:gd name="connsiteY109" fmla="*/ 9299 h 10000"/>
                  <a:gd name="connsiteX110" fmla="*/ 4835 w 10000"/>
                  <a:gd name="connsiteY110" fmla="*/ 9532 h 10000"/>
                  <a:gd name="connsiteX111" fmla="*/ 4577 w 10000"/>
                  <a:gd name="connsiteY111" fmla="*/ 9879 h 10000"/>
                  <a:gd name="connsiteX112" fmla="*/ 5387 w 10000"/>
                  <a:gd name="connsiteY112" fmla="*/ 9946 h 10000"/>
                  <a:gd name="connsiteX113" fmla="*/ 5557 w 10000"/>
                  <a:gd name="connsiteY113" fmla="*/ 9560 h 10000"/>
                  <a:gd name="connsiteX114" fmla="*/ 5654 w 10000"/>
                  <a:gd name="connsiteY114" fmla="*/ 9310 h 10000"/>
                  <a:gd name="connsiteX115" fmla="*/ 5601 w 10000"/>
                  <a:gd name="connsiteY115" fmla="*/ 9179 h 10000"/>
                  <a:gd name="connsiteX116" fmla="*/ 5610 w 10000"/>
                  <a:gd name="connsiteY116" fmla="*/ 9117 h 10000"/>
                  <a:gd name="connsiteX117" fmla="*/ 5583 w 10000"/>
                  <a:gd name="connsiteY117" fmla="*/ 9026 h 10000"/>
                  <a:gd name="connsiteX118" fmla="*/ 5583 w 10000"/>
                  <a:gd name="connsiteY118" fmla="*/ 8770 h 10000"/>
                  <a:gd name="connsiteX119" fmla="*/ 5654 w 10000"/>
                  <a:gd name="connsiteY119" fmla="*/ 8548 h 10000"/>
                  <a:gd name="connsiteX120" fmla="*/ 5708 w 10000"/>
                  <a:gd name="connsiteY120" fmla="*/ 8308 h 10000"/>
                  <a:gd name="connsiteX121" fmla="*/ 5744 w 10000"/>
                  <a:gd name="connsiteY121" fmla="*/ 7780 h 10000"/>
                  <a:gd name="connsiteX122" fmla="*/ 5485 w 10000"/>
                  <a:gd name="connsiteY122" fmla="*/ 7257 h 10000"/>
                  <a:gd name="connsiteX123" fmla="*/ 5450 w 10000"/>
                  <a:gd name="connsiteY123" fmla="*/ 7171 h 10000"/>
                  <a:gd name="connsiteX124" fmla="*/ 5476 w 10000"/>
                  <a:gd name="connsiteY124" fmla="*/ 6927 h 10000"/>
                  <a:gd name="connsiteX125" fmla="*/ 5476 w 10000"/>
                  <a:gd name="connsiteY125" fmla="*/ 6779 h 10000"/>
                  <a:gd name="connsiteX126" fmla="*/ 5503 w 10000"/>
                  <a:gd name="connsiteY126" fmla="*/ 6683 h 10000"/>
                  <a:gd name="connsiteX127" fmla="*/ 5503 w 10000"/>
                  <a:gd name="connsiteY127" fmla="*/ 6609 h 10000"/>
                  <a:gd name="connsiteX128" fmla="*/ 5548 w 10000"/>
                  <a:gd name="connsiteY128" fmla="*/ 6529 h 10000"/>
                  <a:gd name="connsiteX129" fmla="*/ 5708 w 10000"/>
                  <a:gd name="connsiteY129" fmla="*/ 5858 h 10000"/>
                  <a:gd name="connsiteX130" fmla="*/ 5850 w 10000"/>
                  <a:gd name="connsiteY130" fmla="*/ 5351 h 10000"/>
                  <a:gd name="connsiteX131" fmla="*/ 5806 w 10000"/>
                  <a:gd name="connsiteY131" fmla="*/ 4686 h 10000"/>
                  <a:gd name="connsiteX132" fmla="*/ 5788 w 10000"/>
                  <a:gd name="connsiteY132" fmla="*/ 4578 h 10000"/>
                  <a:gd name="connsiteX133" fmla="*/ 5659 w 10000"/>
                  <a:gd name="connsiteY133" fmla="*/ 4162 h 10000"/>
                  <a:gd name="connsiteX134" fmla="*/ 5617 w 10000"/>
                  <a:gd name="connsiteY134" fmla="*/ 3979 h 10000"/>
                  <a:gd name="connsiteX135" fmla="*/ 5707 w 10000"/>
                  <a:gd name="connsiteY135" fmla="*/ 3496 h 10000"/>
                  <a:gd name="connsiteX136" fmla="*/ 5857 w 10000"/>
                  <a:gd name="connsiteY136" fmla="*/ 3329 h 10000"/>
                  <a:gd name="connsiteX137" fmla="*/ 5947 w 10000"/>
                  <a:gd name="connsiteY137" fmla="*/ 3128 h 10000"/>
                  <a:gd name="connsiteX138" fmla="*/ 6224 w 10000"/>
                  <a:gd name="connsiteY138" fmla="*/ 2968 h 10000"/>
                  <a:gd name="connsiteX139" fmla="*/ 6224 w 10000"/>
                  <a:gd name="connsiteY139" fmla="*/ 2980 h 10000"/>
                  <a:gd name="connsiteX140" fmla="*/ 6233 w 10000"/>
                  <a:gd name="connsiteY140" fmla="*/ 2940 h 10000"/>
                  <a:gd name="connsiteX141" fmla="*/ 6750 w 10000"/>
                  <a:gd name="connsiteY141" fmla="*/ 3287 h 10000"/>
                  <a:gd name="connsiteX142" fmla="*/ 7035 w 10000"/>
                  <a:gd name="connsiteY142" fmla="*/ 3520 h 10000"/>
                  <a:gd name="connsiteX143" fmla="*/ 7231 w 10000"/>
                  <a:gd name="connsiteY143" fmla="*/ 3606 h 10000"/>
                  <a:gd name="connsiteX144" fmla="*/ 7471 w 10000"/>
                  <a:gd name="connsiteY144" fmla="*/ 3515 h 10000"/>
                  <a:gd name="connsiteX145" fmla="*/ 7667 w 10000"/>
                  <a:gd name="connsiteY145" fmla="*/ 3378 h 10000"/>
                  <a:gd name="connsiteX146" fmla="*/ 8059 w 10000"/>
                  <a:gd name="connsiteY146" fmla="*/ 3116 h 10000"/>
                  <a:gd name="connsiteX147" fmla="*/ 8397 w 10000"/>
                  <a:gd name="connsiteY147" fmla="*/ 2815 h 10000"/>
                  <a:gd name="connsiteX148" fmla="*/ 8549 w 10000"/>
                  <a:gd name="connsiteY148" fmla="*/ 2650 h 10000"/>
                  <a:gd name="connsiteX149" fmla="*/ 8905 w 10000"/>
                  <a:gd name="connsiteY149" fmla="*/ 2389 h 10000"/>
                  <a:gd name="connsiteX150" fmla="*/ 9172 w 10000"/>
                  <a:gd name="connsiteY150" fmla="*/ 2360 h 10000"/>
                  <a:gd name="connsiteX151" fmla="*/ 9546 w 10000"/>
                  <a:gd name="connsiteY151" fmla="*/ 2360 h 10000"/>
                  <a:gd name="connsiteX152" fmla="*/ 9688 w 10000"/>
                  <a:gd name="connsiteY152" fmla="*/ 2360 h 10000"/>
                  <a:gd name="connsiteX153" fmla="*/ 9902 w 10000"/>
                  <a:gd name="connsiteY153" fmla="*/ 2343 h 10000"/>
                  <a:gd name="connsiteX154" fmla="*/ 9697 w 10000"/>
                  <a:gd name="connsiteY154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44 w 10000"/>
                  <a:gd name="connsiteY85" fmla="*/ 3571 h 10000"/>
                  <a:gd name="connsiteX86" fmla="*/ 3437 w 10000"/>
                  <a:gd name="connsiteY86" fmla="*/ 3776 h 10000"/>
                  <a:gd name="connsiteX87" fmla="*/ 3392 w 10000"/>
                  <a:gd name="connsiteY87" fmla="*/ 3885 h 10000"/>
                  <a:gd name="connsiteX88" fmla="*/ 3303 w 10000"/>
                  <a:gd name="connsiteY88" fmla="*/ 4380 h 10000"/>
                  <a:gd name="connsiteX89" fmla="*/ 3270 w 10000"/>
                  <a:gd name="connsiteY89" fmla="*/ 4658 h 10000"/>
                  <a:gd name="connsiteX90" fmla="*/ 3268 w 10000"/>
                  <a:gd name="connsiteY90" fmla="*/ 5465 h 10000"/>
                  <a:gd name="connsiteX91" fmla="*/ 3447 w 10000"/>
                  <a:gd name="connsiteY91" fmla="*/ 6982 h 10000"/>
                  <a:gd name="connsiteX92" fmla="*/ 3749 w 10000"/>
                  <a:gd name="connsiteY92" fmla="*/ 7160 h 10000"/>
                  <a:gd name="connsiteX93" fmla="*/ 3882 w 10000"/>
                  <a:gd name="connsiteY93" fmla="*/ 8366 h 10000"/>
                  <a:gd name="connsiteX94" fmla="*/ 3954 w 10000"/>
                  <a:gd name="connsiteY94" fmla="*/ 8894 h 10000"/>
                  <a:gd name="connsiteX95" fmla="*/ 3945 w 10000"/>
                  <a:gd name="connsiteY95" fmla="*/ 9031 h 10000"/>
                  <a:gd name="connsiteX96" fmla="*/ 3758 w 10000"/>
                  <a:gd name="connsiteY96" fmla="*/ 9310 h 10000"/>
                  <a:gd name="connsiteX97" fmla="*/ 3357 w 10000"/>
                  <a:gd name="connsiteY97" fmla="*/ 9611 h 10000"/>
                  <a:gd name="connsiteX98" fmla="*/ 4114 w 10000"/>
                  <a:gd name="connsiteY98" fmla="*/ 9645 h 10000"/>
                  <a:gd name="connsiteX99" fmla="*/ 4212 w 10000"/>
                  <a:gd name="connsiteY99" fmla="*/ 9571 h 10000"/>
                  <a:gd name="connsiteX100" fmla="*/ 4381 w 10000"/>
                  <a:gd name="connsiteY100" fmla="*/ 9486 h 10000"/>
                  <a:gd name="connsiteX101" fmla="*/ 4647 w 10000"/>
                  <a:gd name="connsiteY101" fmla="*/ 9276 h 10000"/>
                  <a:gd name="connsiteX102" fmla="*/ 4639 w 10000"/>
                  <a:gd name="connsiteY102" fmla="*/ 8985 h 10000"/>
                  <a:gd name="connsiteX103" fmla="*/ 4720 w 10000"/>
                  <a:gd name="connsiteY103" fmla="*/ 7547 h 10000"/>
                  <a:gd name="connsiteX104" fmla="*/ 4898 w 10000"/>
                  <a:gd name="connsiteY104" fmla="*/ 8201 h 10000"/>
                  <a:gd name="connsiteX105" fmla="*/ 4996 w 10000"/>
                  <a:gd name="connsiteY105" fmla="*/ 8531 h 10000"/>
                  <a:gd name="connsiteX106" fmla="*/ 5049 w 10000"/>
                  <a:gd name="connsiteY106" fmla="*/ 8878 h 10000"/>
                  <a:gd name="connsiteX107" fmla="*/ 4978 w 10000"/>
                  <a:gd name="connsiteY107" fmla="*/ 9065 h 10000"/>
                  <a:gd name="connsiteX108" fmla="*/ 4951 w 10000"/>
                  <a:gd name="connsiteY108" fmla="*/ 9191 h 10000"/>
                  <a:gd name="connsiteX109" fmla="*/ 4889 w 10000"/>
                  <a:gd name="connsiteY109" fmla="*/ 9299 h 10000"/>
                  <a:gd name="connsiteX110" fmla="*/ 4835 w 10000"/>
                  <a:gd name="connsiteY110" fmla="*/ 9532 h 10000"/>
                  <a:gd name="connsiteX111" fmla="*/ 4577 w 10000"/>
                  <a:gd name="connsiteY111" fmla="*/ 9879 h 10000"/>
                  <a:gd name="connsiteX112" fmla="*/ 5387 w 10000"/>
                  <a:gd name="connsiteY112" fmla="*/ 9946 h 10000"/>
                  <a:gd name="connsiteX113" fmla="*/ 5557 w 10000"/>
                  <a:gd name="connsiteY113" fmla="*/ 9560 h 10000"/>
                  <a:gd name="connsiteX114" fmla="*/ 5654 w 10000"/>
                  <a:gd name="connsiteY114" fmla="*/ 9310 h 10000"/>
                  <a:gd name="connsiteX115" fmla="*/ 5601 w 10000"/>
                  <a:gd name="connsiteY115" fmla="*/ 9179 h 10000"/>
                  <a:gd name="connsiteX116" fmla="*/ 5610 w 10000"/>
                  <a:gd name="connsiteY116" fmla="*/ 9117 h 10000"/>
                  <a:gd name="connsiteX117" fmla="*/ 5583 w 10000"/>
                  <a:gd name="connsiteY117" fmla="*/ 9026 h 10000"/>
                  <a:gd name="connsiteX118" fmla="*/ 5583 w 10000"/>
                  <a:gd name="connsiteY118" fmla="*/ 8770 h 10000"/>
                  <a:gd name="connsiteX119" fmla="*/ 5654 w 10000"/>
                  <a:gd name="connsiteY119" fmla="*/ 8548 h 10000"/>
                  <a:gd name="connsiteX120" fmla="*/ 5708 w 10000"/>
                  <a:gd name="connsiteY120" fmla="*/ 8308 h 10000"/>
                  <a:gd name="connsiteX121" fmla="*/ 5744 w 10000"/>
                  <a:gd name="connsiteY121" fmla="*/ 7780 h 10000"/>
                  <a:gd name="connsiteX122" fmla="*/ 5485 w 10000"/>
                  <a:gd name="connsiteY122" fmla="*/ 7257 h 10000"/>
                  <a:gd name="connsiteX123" fmla="*/ 5450 w 10000"/>
                  <a:gd name="connsiteY123" fmla="*/ 7171 h 10000"/>
                  <a:gd name="connsiteX124" fmla="*/ 5476 w 10000"/>
                  <a:gd name="connsiteY124" fmla="*/ 6927 h 10000"/>
                  <a:gd name="connsiteX125" fmla="*/ 5476 w 10000"/>
                  <a:gd name="connsiteY125" fmla="*/ 6779 h 10000"/>
                  <a:gd name="connsiteX126" fmla="*/ 5503 w 10000"/>
                  <a:gd name="connsiteY126" fmla="*/ 6683 h 10000"/>
                  <a:gd name="connsiteX127" fmla="*/ 5503 w 10000"/>
                  <a:gd name="connsiteY127" fmla="*/ 6609 h 10000"/>
                  <a:gd name="connsiteX128" fmla="*/ 5548 w 10000"/>
                  <a:gd name="connsiteY128" fmla="*/ 6529 h 10000"/>
                  <a:gd name="connsiteX129" fmla="*/ 5708 w 10000"/>
                  <a:gd name="connsiteY129" fmla="*/ 5858 h 10000"/>
                  <a:gd name="connsiteX130" fmla="*/ 5850 w 10000"/>
                  <a:gd name="connsiteY130" fmla="*/ 5351 h 10000"/>
                  <a:gd name="connsiteX131" fmla="*/ 5806 w 10000"/>
                  <a:gd name="connsiteY131" fmla="*/ 4686 h 10000"/>
                  <a:gd name="connsiteX132" fmla="*/ 5788 w 10000"/>
                  <a:gd name="connsiteY132" fmla="*/ 4578 h 10000"/>
                  <a:gd name="connsiteX133" fmla="*/ 5659 w 10000"/>
                  <a:gd name="connsiteY133" fmla="*/ 4162 h 10000"/>
                  <a:gd name="connsiteX134" fmla="*/ 5617 w 10000"/>
                  <a:gd name="connsiteY134" fmla="*/ 3979 h 10000"/>
                  <a:gd name="connsiteX135" fmla="*/ 5707 w 10000"/>
                  <a:gd name="connsiteY135" fmla="*/ 3496 h 10000"/>
                  <a:gd name="connsiteX136" fmla="*/ 5857 w 10000"/>
                  <a:gd name="connsiteY136" fmla="*/ 3329 h 10000"/>
                  <a:gd name="connsiteX137" fmla="*/ 5947 w 10000"/>
                  <a:gd name="connsiteY137" fmla="*/ 3128 h 10000"/>
                  <a:gd name="connsiteX138" fmla="*/ 6224 w 10000"/>
                  <a:gd name="connsiteY138" fmla="*/ 2968 h 10000"/>
                  <a:gd name="connsiteX139" fmla="*/ 6224 w 10000"/>
                  <a:gd name="connsiteY139" fmla="*/ 2980 h 10000"/>
                  <a:gd name="connsiteX140" fmla="*/ 6233 w 10000"/>
                  <a:gd name="connsiteY140" fmla="*/ 2940 h 10000"/>
                  <a:gd name="connsiteX141" fmla="*/ 6750 w 10000"/>
                  <a:gd name="connsiteY141" fmla="*/ 3287 h 10000"/>
                  <a:gd name="connsiteX142" fmla="*/ 7035 w 10000"/>
                  <a:gd name="connsiteY142" fmla="*/ 3520 h 10000"/>
                  <a:gd name="connsiteX143" fmla="*/ 7231 w 10000"/>
                  <a:gd name="connsiteY143" fmla="*/ 3606 h 10000"/>
                  <a:gd name="connsiteX144" fmla="*/ 7471 w 10000"/>
                  <a:gd name="connsiteY144" fmla="*/ 3515 h 10000"/>
                  <a:gd name="connsiteX145" fmla="*/ 7667 w 10000"/>
                  <a:gd name="connsiteY145" fmla="*/ 3378 h 10000"/>
                  <a:gd name="connsiteX146" fmla="*/ 8059 w 10000"/>
                  <a:gd name="connsiteY146" fmla="*/ 3116 h 10000"/>
                  <a:gd name="connsiteX147" fmla="*/ 8397 w 10000"/>
                  <a:gd name="connsiteY147" fmla="*/ 2815 h 10000"/>
                  <a:gd name="connsiteX148" fmla="*/ 8549 w 10000"/>
                  <a:gd name="connsiteY148" fmla="*/ 2650 h 10000"/>
                  <a:gd name="connsiteX149" fmla="*/ 8905 w 10000"/>
                  <a:gd name="connsiteY149" fmla="*/ 2389 h 10000"/>
                  <a:gd name="connsiteX150" fmla="*/ 9172 w 10000"/>
                  <a:gd name="connsiteY150" fmla="*/ 2360 h 10000"/>
                  <a:gd name="connsiteX151" fmla="*/ 9546 w 10000"/>
                  <a:gd name="connsiteY151" fmla="*/ 2360 h 10000"/>
                  <a:gd name="connsiteX152" fmla="*/ 9688 w 10000"/>
                  <a:gd name="connsiteY152" fmla="*/ 2360 h 10000"/>
                  <a:gd name="connsiteX153" fmla="*/ 9902 w 10000"/>
                  <a:gd name="connsiteY153" fmla="*/ 2343 h 10000"/>
                  <a:gd name="connsiteX154" fmla="*/ 9697 w 10000"/>
                  <a:gd name="connsiteY154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437 w 10000"/>
                  <a:gd name="connsiteY85" fmla="*/ 3776 h 10000"/>
                  <a:gd name="connsiteX86" fmla="*/ 3392 w 10000"/>
                  <a:gd name="connsiteY86" fmla="*/ 3885 h 10000"/>
                  <a:gd name="connsiteX87" fmla="*/ 3303 w 10000"/>
                  <a:gd name="connsiteY87" fmla="*/ 4380 h 10000"/>
                  <a:gd name="connsiteX88" fmla="*/ 3270 w 10000"/>
                  <a:gd name="connsiteY88" fmla="*/ 4658 h 10000"/>
                  <a:gd name="connsiteX89" fmla="*/ 3268 w 10000"/>
                  <a:gd name="connsiteY89" fmla="*/ 5465 h 10000"/>
                  <a:gd name="connsiteX90" fmla="*/ 3447 w 10000"/>
                  <a:gd name="connsiteY90" fmla="*/ 6982 h 10000"/>
                  <a:gd name="connsiteX91" fmla="*/ 3749 w 10000"/>
                  <a:gd name="connsiteY91" fmla="*/ 7160 h 10000"/>
                  <a:gd name="connsiteX92" fmla="*/ 3882 w 10000"/>
                  <a:gd name="connsiteY92" fmla="*/ 8366 h 10000"/>
                  <a:gd name="connsiteX93" fmla="*/ 3954 w 10000"/>
                  <a:gd name="connsiteY93" fmla="*/ 8894 h 10000"/>
                  <a:gd name="connsiteX94" fmla="*/ 3945 w 10000"/>
                  <a:gd name="connsiteY94" fmla="*/ 9031 h 10000"/>
                  <a:gd name="connsiteX95" fmla="*/ 3758 w 10000"/>
                  <a:gd name="connsiteY95" fmla="*/ 9310 h 10000"/>
                  <a:gd name="connsiteX96" fmla="*/ 3357 w 10000"/>
                  <a:gd name="connsiteY96" fmla="*/ 9611 h 10000"/>
                  <a:gd name="connsiteX97" fmla="*/ 4114 w 10000"/>
                  <a:gd name="connsiteY97" fmla="*/ 9645 h 10000"/>
                  <a:gd name="connsiteX98" fmla="*/ 4212 w 10000"/>
                  <a:gd name="connsiteY98" fmla="*/ 9571 h 10000"/>
                  <a:gd name="connsiteX99" fmla="*/ 4381 w 10000"/>
                  <a:gd name="connsiteY99" fmla="*/ 9486 h 10000"/>
                  <a:gd name="connsiteX100" fmla="*/ 4647 w 10000"/>
                  <a:gd name="connsiteY100" fmla="*/ 9276 h 10000"/>
                  <a:gd name="connsiteX101" fmla="*/ 4639 w 10000"/>
                  <a:gd name="connsiteY101" fmla="*/ 8985 h 10000"/>
                  <a:gd name="connsiteX102" fmla="*/ 4720 w 10000"/>
                  <a:gd name="connsiteY102" fmla="*/ 7547 h 10000"/>
                  <a:gd name="connsiteX103" fmla="*/ 4898 w 10000"/>
                  <a:gd name="connsiteY103" fmla="*/ 8201 h 10000"/>
                  <a:gd name="connsiteX104" fmla="*/ 4996 w 10000"/>
                  <a:gd name="connsiteY104" fmla="*/ 8531 h 10000"/>
                  <a:gd name="connsiteX105" fmla="*/ 5049 w 10000"/>
                  <a:gd name="connsiteY105" fmla="*/ 8878 h 10000"/>
                  <a:gd name="connsiteX106" fmla="*/ 4978 w 10000"/>
                  <a:gd name="connsiteY106" fmla="*/ 9065 h 10000"/>
                  <a:gd name="connsiteX107" fmla="*/ 4951 w 10000"/>
                  <a:gd name="connsiteY107" fmla="*/ 9191 h 10000"/>
                  <a:gd name="connsiteX108" fmla="*/ 4889 w 10000"/>
                  <a:gd name="connsiteY108" fmla="*/ 9299 h 10000"/>
                  <a:gd name="connsiteX109" fmla="*/ 4835 w 10000"/>
                  <a:gd name="connsiteY109" fmla="*/ 9532 h 10000"/>
                  <a:gd name="connsiteX110" fmla="*/ 4577 w 10000"/>
                  <a:gd name="connsiteY110" fmla="*/ 9879 h 10000"/>
                  <a:gd name="connsiteX111" fmla="*/ 5387 w 10000"/>
                  <a:gd name="connsiteY111" fmla="*/ 9946 h 10000"/>
                  <a:gd name="connsiteX112" fmla="*/ 5557 w 10000"/>
                  <a:gd name="connsiteY112" fmla="*/ 9560 h 10000"/>
                  <a:gd name="connsiteX113" fmla="*/ 5654 w 10000"/>
                  <a:gd name="connsiteY113" fmla="*/ 9310 h 10000"/>
                  <a:gd name="connsiteX114" fmla="*/ 5601 w 10000"/>
                  <a:gd name="connsiteY114" fmla="*/ 9179 h 10000"/>
                  <a:gd name="connsiteX115" fmla="*/ 5610 w 10000"/>
                  <a:gd name="connsiteY115" fmla="*/ 9117 h 10000"/>
                  <a:gd name="connsiteX116" fmla="*/ 5583 w 10000"/>
                  <a:gd name="connsiteY116" fmla="*/ 9026 h 10000"/>
                  <a:gd name="connsiteX117" fmla="*/ 5583 w 10000"/>
                  <a:gd name="connsiteY117" fmla="*/ 8770 h 10000"/>
                  <a:gd name="connsiteX118" fmla="*/ 5654 w 10000"/>
                  <a:gd name="connsiteY118" fmla="*/ 8548 h 10000"/>
                  <a:gd name="connsiteX119" fmla="*/ 5708 w 10000"/>
                  <a:gd name="connsiteY119" fmla="*/ 8308 h 10000"/>
                  <a:gd name="connsiteX120" fmla="*/ 5744 w 10000"/>
                  <a:gd name="connsiteY120" fmla="*/ 7780 h 10000"/>
                  <a:gd name="connsiteX121" fmla="*/ 5485 w 10000"/>
                  <a:gd name="connsiteY121" fmla="*/ 7257 h 10000"/>
                  <a:gd name="connsiteX122" fmla="*/ 5450 w 10000"/>
                  <a:gd name="connsiteY122" fmla="*/ 7171 h 10000"/>
                  <a:gd name="connsiteX123" fmla="*/ 5476 w 10000"/>
                  <a:gd name="connsiteY123" fmla="*/ 6927 h 10000"/>
                  <a:gd name="connsiteX124" fmla="*/ 5476 w 10000"/>
                  <a:gd name="connsiteY124" fmla="*/ 6779 h 10000"/>
                  <a:gd name="connsiteX125" fmla="*/ 5503 w 10000"/>
                  <a:gd name="connsiteY125" fmla="*/ 6683 h 10000"/>
                  <a:gd name="connsiteX126" fmla="*/ 5503 w 10000"/>
                  <a:gd name="connsiteY126" fmla="*/ 6609 h 10000"/>
                  <a:gd name="connsiteX127" fmla="*/ 5548 w 10000"/>
                  <a:gd name="connsiteY127" fmla="*/ 6529 h 10000"/>
                  <a:gd name="connsiteX128" fmla="*/ 5708 w 10000"/>
                  <a:gd name="connsiteY128" fmla="*/ 5858 h 10000"/>
                  <a:gd name="connsiteX129" fmla="*/ 5850 w 10000"/>
                  <a:gd name="connsiteY129" fmla="*/ 5351 h 10000"/>
                  <a:gd name="connsiteX130" fmla="*/ 5806 w 10000"/>
                  <a:gd name="connsiteY130" fmla="*/ 4686 h 10000"/>
                  <a:gd name="connsiteX131" fmla="*/ 5788 w 10000"/>
                  <a:gd name="connsiteY131" fmla="*/ 4578 h 10000"/>
                  <a:gd name="connsiteX132" fmla="*/ 5659 w 10000"/>
                  <a:gd name="connsiteY132" fmla="*/ 4162 h 10000"/>
                  <a:gd name="connsiteX133" fmla="*/ 5617 w 10000"/>
                  <a:gd name="connsiteY133" fmla="*/ 3979 h 10000"/>
                  <a:gd name="connsiteX134" fmla="*/ 5707 w 10000"/>
                  <a:gd name="connsiteY134" fmla="*/ 3496 h 10000"/>
                  <a:gd name="connsiteX135" fmla="*/ 5857 w 10000"/>
                  <a:gd name="connsiteY135" fmla="*/ 3329 h 10000"/>
                  <a:gd name="connsiteX136" fmla="*/ 5947 w 10000"/>
                  <a:gd name="connsiteY136" fmla="*/ 3128 h 10000"/>
                  <a:gd name="connsiteX137" fmla="*/ 6224 w 10000"/>
                  <a:gd name="connsiteY137" fmla="*/ 2968 h 10000"/>
                  <a:gd name="connsiteX138" fmla="*/ 6224 w 10000"/>
                  <a:gd name="connsiteY138" fmla="*/ 2980 h 10000"/>
                  <a:gd name="connsiteX139" fmla="*/ 6233 w 10000"/>
                  <a:gd name="connsiteY139" fmla="*/ 2940 h 10000"/>
                  <a:gd name="connsiteX140" fmla="*/ 6750 w 10000"/>
                  <a:gd name="connsiteY140" fmla="*/ 3287 h 10000"/>
                  <a:gd name="connsiteX141" fmla="*/ 7035 w 10000"/>
                  <a:gd name="connsiteY141" fmla="*/ 3520 h 10000"/>
                  <a:gd name="connsiteX142" fmla="*/ 7231 w 10000"/>
                  <a:gd name="connsiteY142" fmla="*/ 3606 h 10000"/>
                  <a:gd name="connsiteX143" fmla="*/ 7471 w 10000"/>
                  <a:gd name="connsiteY143" fmla="*/ 3515 h 10000"/>
                  <a:gd name="connsiteX144" fmla="*/ 7667 w 10000"/>
                  <a:gd name="connsiteY144" fmla="*/ 3378 h 10000"/>
                  <a:gd name="connsiteX145" fmla="*/ 8059 w 10000"/>
                  <a:gd name="connsiteY145" fmla="*/ 3116 h 10000"/>
                  <a:gd name="connsiteX146" fmla="*/ 8397 w 10000"/>
                  <a:gd name="connsiteY146" fmla="*/ 2815 h 10000"/>
                  <a:gd name="connsiteX147" fmla="*/ 8549 w 10000"/>
                  <a:gd name="connsiteY147" fmla="*/ 2650 h 10000"/>
                  <a:gd name="connsiteX148" fmla="*/ 8905 w 10000"/>
                  <a:gd name="connsiteY148" fmla="*/ 2389 h 10000"/>
                  <a:gd name="connsiteX149" fmla="*/ 9172 w 10000"/>
                  <a:gd name="connsiteY149" fmla="*/ 2360 h 10000"/>
                  <a:gd name="connsiteX150" fmla="*/ 9546 w 10000"/>
                  <a:gd name="connsiteY150" fmla="*/ 2360 h 10000"/>
                  <a:gd name="connsiteX151" fmla="*/ 9688 w 10000"/>
                  <a:gd name="connsiteY151" fmla="*/ 2360 h 10000"/>
                  <a:gd name="connsiteX152" fmla="*/ 9902 w 10000"/>
                  <a:gd name="connsiteY152" fmla="*/ 2343 h 10000"/>
                  <a:gd name="connsiteX153" fmla="*/ 9697 w 10000"/>
                  <a:gd name="connsiteY153" fmla="*/ 2252 h 10000"/>
                  <a:gd name="connsiteX0" fmla="*/ 9697 w 10000"/>
                  <a:gd name="connsiteY0" fmla="*/ 2252 h 10000"/>
                  <a:gd name="connsiteX1" fmla="*/ 8976 w 10000"/>
                  <a:gd name="connsiteY1" fmla="*/ 2224 h 10000"/>
                  <a:gd name="connsiteX2" fmla="*/ 8718 w 10000"/>
                  <a:gd name="connsiteY2" fmla="*/ 2184 h 10000"/>
                  <a:gd name="connsiteX3" fmla="*/ 8540 w 10000"/>
                  <a:gd name="connsiteY3" fmla="*/ 2235 h 10000"/>
                  <a:gd name="connsiteX4" fmla="*/ 8290 w 10000"/>
                  <a:gd name="connsiteY4" fmla="*/ 2480 h 10000"/>
                  <a:gd name="connsiteX5" fmla="*/ 7667 w 10000"/>
                  <a:gd name="connsiteY5" fmla="*/ 2866 h 10000"/>
                  <a:gd name="connsiteX6" fmla="*/ 7302 w 10000"/>
                  <a:gd name="connsiteY6" fmla="*/ 3025 h 10000"/>
                  <a:gd name="connsiteX7" fmla="*/ 7213 w 10000"/>
                  <a:gd name="connsiteY7" fmla="*/ 2935 h 10000"/>
                  <a:gd name="connsiteX8" fmla="*/ 7133 w 10000"/>
                  <a:gd name="connsiteY8" fmla="*/ 2844 h 10000"/>
                  <a:gd name="connsiteX9" fmla="*/ 7070 w 10000"/>
                  <a:gd name="connsiteY9" fmla="*/ 2707 h 10000"/>
                  <a:gd name="connsiteX10" fmla="*/ 6999 w 10000"/>
                  <a:gd name="connsiteY10" fmla="*/ 2599 h 10000"/>
                  <a:gd name="connsiteX11" fmla="*/ 6999 w 10000"/>
                  <a:gd name="connsiteY11" fmla="*/ 2599 h 10000"/>
                  <a:gd name="connsiteX12" fmla="*/ 6990 w 10000"/>
                  <a:gd name="connsiteY12" fmla="*/ 2593 h 10000"/>
                  <a:gd name="connsiteX13" fmla="*/ 6981 w 10000"/>
                  <a:gd name="connsiteY13" fmla="*/ 2576 h 10000"/>
                  <a:gd name="connsiteX14" fmla="*/ 6999 w 10000"/>
                  <a:gd name="connsiteY14" fmla="*/ 2508 h 10000"/>
                  <a:gd name="connsiteX15" fmla="*/ 6972 w 10000"/>
                  <a:gd name="connsiteY15" fmla="*/ 2497 h 10000"/>
                  <a:gd name="connsiteX16" fmla="*/ 6990 w 10000"/>
                  <a:gd name="connsiteY16" fmla="*/ 2463 h 10000"/>
                  <a:gd name="connsiteX17" fmla="*/ 6990 w 10000"/>
                  <a:gd name="connsiteY17" fmla="*/ 2411 h 10000"/>
                  <a:gd name="connsiteX18" fmla="*/ 6946 w 10000"/>
                  <a:gd name="connsiteY18" fmla="*/ 2184 h 10000"/>
                  <a:gd name="connsiteX19" fmla="*/ 6928 w 10000"/>
                  <a:gd name="connsiteY19" fmla="*/ 1996 h 10000"/>
                  <a:gd name="connsiteX20" fmla="*/ 6634 w 10000"/>
                  <a:gd name="connsiteY20" fmla="*/ 1877 h 10000"/>
                  <a:gd name="connsiteX21" fmla="*/ 6322 w 10000"/>
                  <a:gd name="connsiteY21" fmla="*/ 1780 h 10000"/>
                  <a:gd name="connsiteX22" fmla="*/ 6109 w 10000"/>
                  <a:gd name="connsiteY22" fmla="*/ 1632 h 10000"/>
                  <a:gd name="connsiteX23" fmla="*/ 6109 w 10000"/>
                  <a:gd name="connsiteY23" fmla="*/ 1558 h 10000"/>
                  <a:gd name="connsiteX24" fmla="*/ 6171 w 10000"/>
                  <a:gd name="connsiteY24" fmla="*/ 1325 h 10000"/>
                  <a:gd name="connsiteX25" fmla="*/ 6162 w 10000"/>
                  <a:gd name="connsiteY25" fmla="*/ 1074 h 10000"/>
                  <a:gd name="connsiteX26" fmla="*/ 6224 w 10000"/>
                  <a:gd name="connsiteY26" fmla="*/ 904 h 10000"/>
                  <a:gd name="connsiteX27" fmla="*/ 6215 w 10000"/>
                  <a:gd name="connsiteY27" fmla="*/ 734 h 10000"/>
                  <a:gd name="connsiteX28" fmla="*/ 6198 w 10000"/>
                  <a:gd name="connsiteY28" fmla="*/ 625 h 10000"/>
                  <a:gd name="connsiteX29" fmla="*/ 6046 w 10000"/>
                  <a:gd name="connsiteY29" fmla="*/ 386 h 10000"/>
                  <a:gd name="connsiteX30" fmla="*/ 5841 w 10000"/>
                  <a:gd name="connsiteY30" fmla="*/ 193 h 10000"/>
                  <a:gd name="connsiteX31" fmla="*/ 5334 w 10000"/>
                  <a:gd name="connsiteY31" fmla="*/ 6 h 10000"/>
                  <a:gd name="connsiteX32" fmla="*/ 5236 w 10000"/>
                  <a:gd name="connsiteY32" fmla="*/ 6 h 10000"/>
                  <a:gd name="connsiteX33" fmla="*/ 4996 w 10000"/>
                  <a:gd name="connsiteY33" fmla="*/ 57 h 10000"/>
                  <a:gd name="connsiteX34" fmla="*/ 4889 w 10000"/>
                  <a:gd name="connsiteY34" fmla="*/ 63 h 10000"/>
                  <a:gd name="connsiteX35" fmla="*/ 4835 w 10000"/>
                  <a:gd name="connsiteY35" fmla="*/ 91 h 10000"/>
                  <a:gd name="connsiteX36" fmla="*/ 4613 w 10000"/>
                  <a:gd name="connsiteY36" fmla="*/ 204 h 10000"/>
                  <a:gd name="connsiteX37" fmla="*/ 4337 w 10000"/>
                  <a:gd name="connsiteY37" fmla="*/ 671 h 10000"/>
                  <a:gd name="connsiteX38" fmla="*/ 4265 w 10000"/>
                  <a:gd name="connsiteY38" fmla="*/ 978 h 10000"/>
                  <a:gd name="connsiteX39" fmla="*/ 4390 w 10000"/>
                  <a:gd name="connsiteY39" fmla="*/ 1354 h 10000"/>
                  <a:gd name="connsiteX40" fmla="*/ 4506 w 10000"/>
                  <a:gd name="connsiteY40" fmla="*/ 1399 h 10000"/>
                  <a:gd name="connsiteX41" fmla="*/ 4568 w 10000"/>
                  <a:gd name="connsiteY41" fmla="*/ 1490 h 10000"/>
                  <a:gd name="connsiteX42" fmla="*/ 4443 w 10000"/>
                  <a:gd name="connsiteY42" fmla="*/ 1541 h 10000"/>
                  <a:gd name="connsiteX43" fmla="*/ 4328 w 10000"/>
                  <a:gd name="connsiteY43" fmla="*/ 1627 h 10000"/>
                  <a:gd name="connsiteX44" fmla="*/ 4203 w 10000"/>
                  <a:gd name="connsiteY44" fmla="*/ 1695 h 10000"/>
                  <a:gd name="connsiteX45" fmla="*/ 4274 w 10000"/>
                  <a:gd name="connsiteY45" fmla="*/ 1706 h 10000"/>
                  <a:gd name="connsiteX46" fmla="*/ 4087 w 10000"/>
                  <a:gd name="connsiteY46" fmla="*/ 1775 h 10000"/>
                  <a:gd name="connsiteX47" fmla="*/ 3865 w 10000"/>
                  <a:gd name="connsiteY47" fmla="*/ 1825 h 10000"/>
                  <a:gd name="connsiteX48" fmla="*/ 3722 w 10000"/>
                  <a:gd name="connsiteY48" fmla="*/ 1825 h 10000"/>
                  <a:gd name="connsiteX49" fmla="*/ 3446 w 10000"/>
                  <a:gd name="connsiteY49" fmla="*/ 1979 h 10000"/>
                  <a:gd name="connsiteX50" fmla="*/ 3250 w 10000"/>
                  <a:gd name="connsiteY50" fmla="*/ 2218 h 10000"/>
                  <a:gd name="connsiteX51" fmla="*/ 3152 w 10000"/>
                  <a:gd name="connsiteY51" fmla="*/ 2349 h 10000"/>
                  <a:gd name="connsiteX52" fmla="*/ 3188 w 10000"/>
                  <a:gd name="connsiteY52" fmla="*/ 2389 h 10000"/>
                  <a:gd name="connsiteX53" fmla="*/ 3090 w 10000"/>
                  <a:gd name="connsiteY53" fmla="*/ 2530 h 10000"/>
                  <a:gd name="connsiteX54" fmla="*/ 2858 w 10000"/>
                  <a:gd name="connsiteY54" fmla="*/ 2758 h 10000"/>
                  <a:gd name="connsiteX55" fmla="*/ 2778 w 10000"/>
                  <a:gd name="connsiteY55" fmla="*/ 2895 h 10000"/>
                  <a:gd name="connsiteX56" fmla="*/ 2689 w 10000"/>
                  <a:gd name="connsiteY56" fmla="*/ 2986 h 10000"/>
                  <a:gd name="connsiteX57" fmla="*/ 2582 w 10000"/>
                  <a:gd name="connsiteY57" fmla="*/ 3066 h 10000"/>
                  <a:gd name="connsiteX58" fmla="*/ 2244 w 10000"/>
                  <a:gd name="connsiteY58" fmla="*/ 2890 h 10000"/>
                  <a:gd name="connsiteX59" fmla="*/ 1674 w 10000"/>
                  <a:gd name="connsiteY59" fmla="*/ 2474 h 10000"/>
                  <a:gd name="connsiteX60" fmla="*/ 1460 w 10000"/>
                  <a:gd name="connsiteY60" fmla="*/ 2213 h 10000"/>
                  <a:gd name="connsiteX61" fmla="*/ 1291 w 10000"/>
                  <a:gd name="connsiteY61" fmla="*/ 2155 h 10000"/>
                  <a:gd name="connsiteX62" fmla="*/ 1024 w 10000"/>
                  <a:gd name="connsiteY62" fmla="*/ 2178 h 10000"/>
                  <a:gd name="connsiteX63" fmla="*/ 303 w 10000"/>
                  <a:gd name="connsiteY63" fmla="*/ 2167 h 10000"/>
                  <a:gd name="connsiteX64" fmla="*/ 89 w 10000"/>
                  <a:gd name="connsiteY64" fmla="*/ 2246 h 10000"/>
                  <a:gd name="connsiteX65" fmla="*/ 294 w 10000"/>
                  <a:gd name="connsiteY65" fmla="*/ 2274 h 10000"/>
                  <a:gd name="connsiteX66" fmla="*/ 436 w 10000"/>
                  <a:gd name="connsiteY66" fmla="*/ 2287 h 10000"/>
                  <a:gd name="connsiteX67" fmla="*/ 801 w 10000"/>
                  <a:gd name="connsiteY67" fmla="*/ 2304 h 10000"/>
                  <a:gd name="connsiteX68" fmla="*/ 1069 w 10000"/>
                  <a:gd name="connsiteY68" fmla="*/ 2349 h 10000"/>
                  <a:gd name="connsiteX69" fmla="*/ 1389 w 10000"/>
                  <a:gd name="connsiteY69" fmla="*/ 2627 h 10000"/>
                  <a:gd name="connsiteX70" fmla="*/ 1523 w 10000"/>
                  <a:gd name="connsiteY70" fmla="*/ 2798 h 10000"/>
                  <a:gd name="connsiteX71" fmla="*/ 1817 w 10000"/>
                  <a:gd name="connsiteY71" fmla="*/ 3122 h 10000"/>
                  <a:gd name="connsiteX72" fmla="*/ 2173 w 10000"/>
                  <a:gd name="connsiteY72" fmla="*/ 3400 h 10000"/>
                  <a:gd name="connsiteX73" fmla="*/ 2351 w 10000"/>
                  <a:gd name="connsiteY73" fmla="*/ 3543 h 10000"/>
                  <a:gd name="connsiteX74" fmla="*/ 2573 w 10000"/>
                  <a:gd name="connsiteY74" fmla="*/ 3651 h 10000"/>
                  <a:gd name="connsiteX75" fmla="*/ 2778 w 10000"/>
                  <a:gd name="connsiteY75" fmla="*/ 3577 h 10000"/>
                  <a:gd name="connsiteX76" fmla="*/ 3108 w 10000"/>
                  <a:gd name="connsiteY76" fmla="*/ 3361 h 10000"/>
                  <a:gd name="connsiteX77" fmla="*/ 3695 w 10000"/>
                  <a:gd name="connsiteY77" fmla="*/ 2769 h 10000"/>
                  <a:gd name="connsiteX78" fmla="*/ 3722 w 10000"/>
                  <a:gd name="connsiteY78" fmla="*/ 2707 h 10000"/>
                  <a:gd name="connsiteX79" fmla="*/ 3749 w 10000"/>
                  <a:gd name="connsiteY79" fmla="*/ 2701 h 10000"/>
                  <a:gd name="connsiteX80" fmla="*/ 3749 w 10000"/>
                  <a:gd name="connsiteY80" fmla="*/ 2781 h 10000"/>
                  <a:gd name="connsiteX81" fmla="*/ 3713 w 10000"/>
                  <a:gd name="connsiteY81" fmla="*/ 2866 h 10000"/>
                  <a:gd name="connsiteX82" fmla="*/ 3713 w 10000"/>
                  <a:gd name="connsiteY82" fmla="*/ 3083 h 10000"/>
                  <a:gd name="connsiteX83" fmla="*/ 3678 w 10000"/>
                  <a:gd name="connsiteY83" fmla="*/ 3253 h 10000"/>
                  <a:gd name="connsiteX84" fmla="*/ 3704 w 10000"/>
                  <a:gd name="connsiteY84" fmla="*/ 3327 h 10000"/>
                  <a:gd name="connsiteX85" fmla="*/ 3577 w 10000"/>
                  <a:gd name="connsiteY85" fmla="*/ 3723 h 10000"/>
                  <a:gd name="connsiteX86" fmla="*/ 3392 w 10000"/>
                  <a:gd name="connsiteY86" fmla="*/ 3885 h 10000"/>
                  <a:gd name="connsiteX87" fmla="*/ 3303 w 10000"/>
                  <a:gd name="connsiteY87" fmla="*/ 4380 h 10000"/>
                  <a:gd name="connsiteX88" fmla="*/ 3270 w 10000"/>
                  <a:gd name="connsiteY88" fmla="*/ 4658 h 10000"/>
                  <a:gd name="connsiteX89" fmla="*/ 3268 w 10000"/>
                  <a:gd name="connsiteY89" fmla="*/ 5465 h 10000"/>
                  <a:gd name="connsiteX90" fmla="*/ 3447 w 10000"/>
                  <a:gd name="connsiteY90" fmla="*/ 6982 h 10000"/>
                  <a:gd name="connsiteX91" fmla="*/ 3749 w 10000"/>
                  <a:gd name="connsiteY91" fmla="*/ 7160 h 10000"/>
                  <a:gd name="connsiteX92" fmla="*/ 3882 w 10000"/>
                  <a:gd name="connsiteY92" fmla="*/ 8366 h 10000"/>
                  <a:gd name="connsiteX93" fmla="*/ 3954 w 10000"/>
                  <a:gd name="connsiteY93" fmla="*/ 8894 h 10000"/>
                  <a:gd name="connsiteX94" fmla="*/ 3945 w 10000"/>
                  <a:gd name="connsiteY94" fmla="*/ 9031 h 10000"/>
                  <a:gd name="connsiteX95" fmla="*/ 3758 w 10000"/>
                  <a:gd name="connsiteY95" fmla="*/ 9310 h 10000"/>
                  <a:gd name="connsiteX96" fmla="*/ 3357 w 10000"/>
                  <a:gd name="connsiteY96" fmla="*/ 9611 h 10000"/>
                  <a:gd name="connsiteX97" fmla="*/ 4114 w 10000"/>
                  <a:gd name="connsiteY97" fmla="*/ 9645 h 10000"/>
                  <a:gd name="connsiteX98" fmla="*/ 4212 w 10000"/>
                  <a:gd name="connsiteY98" fmla="*/ 9571 h 10000"/>
                  <a:gd name="connsiteX99" fmla="*/ 4381 w 10000"/>
                  <a:gd name="connsiteY99" fmla="*/ 9486 h 10000"/>
                  <a:gd name="connsiteX100" fmla="*/ 4647 w 10000"/>
                  <a:gd name="connsiteY100" fmla="*/ 9276 h 10000"/>
                  <a:gd name="connsiteX101" fmla="*/ 4639 w 10000"/>
                  <a:gd name="connsiteY101" fmla="*/ 8985 h 10000"/>
                  <a:gd name="connsiteX102" fmla="*/ 4720 w 10000"/>
                  <a:gd name="connsiteY102" fmla="*/ 7547 h 10000"/>
                  <a:gd name="connsiteX103" fmla="*/ 4898 w 10000"/>
                  <a:gd name="connsiteY103" fmla="*/ 8201 h 10000"/>
                  <a:gd name="connsiteX104" fmla="*/ 4996 w 10000"/>
                  <a:gd name="connsiteY104" fmla="*/ 8531 h 10000"/>
                  <a:gd name="connsiteX105" fmla="*/ 5049 w 10000"/>
                  <a:gd name="connsiteY105" fmla="*/ 8878 h 10000"/>
                  <a:gd name="connsiteX106" fmla="*/ 4978 w 10000"/>
                  <a:gd name="connsiteY106" fmla="*/ 9065 h 10000"/>
                  <a:gd name="connsiteX107" fmla="*/ 4951 w 10000"/>
                  <a:gd name="connsiteY107" fmla="*/ 9191 h 10000"/>
                  <a:gd name="connsiteX108" fmla="*/ 4889 w 10000"/>
                  <a:gd name="connsiteY108" fmla="*/ 9299 h 10000"/>
                  <a:gd name="connsiteX109" fmla="*/ 4835 w 10000"/>
                  <a:gd name="connsiteY109" fmla="*/ 9532 h 10000"/>
                  <a:gd name="connsiteX110" fmla="*/ 4577 w 10000"/>
                  <a:gd name="connsiteY110" fmla="*/ 9879 h 10000"/>
                  <a:gd name="connsiteX111" fmla="*/ 5387 w 10000"/>
                  <a:gd name="connsiteY111" fmla="*/ 9946 h 10000"/>
                  <a:gd name="connsiteX112" fmla="*/ 5557 w 10000"/>
                  <a:gd name="connsiteY112" fmla="*/ 9560 h 10000"/>
                  <a:gd name="connsiteX113" fmla="*/ 5654 w 10000"/>
                  <a:gd name="connsiteY113" fmla="*/ 9310 h 10000"/>
                  <a:gd name="connsiteX114" fmla="*/ 5601 w 10000"/>
                  <a:gd name="connsiteY114" fmla="*/ 9179 h 10000"/>
                  <a:gd name="connsiteX115" fmla="*/ 5610 w 10000"/>
                  <a:gd name="connsiteY115" fmla="*/ 9117 h 10000"/>
                  <a:gd name="connsiteX116" fmla="*/ 5583 w 10000"/>
                  <a:gd name="connsiteY116" fmla="*/ 9026 h 10000"/>
                  <a:gd name="connsiteX117" fmla="*/ 5583 w 10000"/>
                  <a:gd name="connsiteY117" fmla="*/ 8770 h 10000"/>
                  <a:gd name="connsiteX118" fmla="*/ 5654 w 10000"/>
                  <a:gd name="connsiteY118" fmla="*/ 8548 h 10000"/>
                  <a:gd name="connsiteX119" fmla="*/ 5708 w 10000"/>
                  <a:gd name="connsiteY119" fmla="*/ 8308 h 10000"/>
                  <a:gd name="connsiteX120" fmla="*/ 5744 w 10000"/>
                  <a:gd name="connsiteY120" fmla="*/ 7780 h 10000"/>
                  <a:gd name="connsiteX121" fmla="*/ 5485 w 10000"/>
                  <a:gd name="connsiteY121" fmla="*/ 7257 h 10000"/>
                  <a:gd name="connsiteX122" fmla="*/ 5450 w 10000"/>
                  <a:gd name="connsiteY122" fmla="*/ 7171 h 10000"/>
                  <a:gd name="connsiteX123" fmla="*/ 5476 w 10000"/>
                  <a:gd name="connsiteY123" fmla="*/ 6927 h 10000"/>
                  <a:gd name="connsiteX124" fmla="*/ 5476 w 10000"/>
                  <a:gd name="connsiteY124" fmla="*/ 6779 h 10000"/>
                  <a:gd name="connsiteX125" fmla="*/ 5503 w 10000"/>
                  <a:gd name="connsiteY125" fmla="*/ 6683 h 10000"/>
                  <a:gd name="connsiteX126" fmla="*/ 5503 w 10000"/>
                  <a:gd name="connsiteY126" fmla="*/ 6609 h 10000"/>
                  <a:gd name="connsiteX127" fmla="*/ 5548 w 10000"/>
                  <a:gd name="connsiteY127" fmla="*/ 6529 h 10000"/>
                  <a:gd name="connsiteX128" fmla="*/ 5708 w 10000"/>
                  <a:gd name="connsiteY128" fmla="*/ 5858 h 10000"/>
                  <a:gd name="connsiteX129" fmla="*/ 5850 w 10000"/>
                  <a:gd name="connsiteY129" fmla="*/ 5351 h 10000"/>
                  <a:gd name="connsiteX130" fmla="*/ 5806 w 10000"/>
                  <a:gd name="connsiteY130" fmla="*/ 4686 h 10000"/>
                  <a:gd name="connsiteX131" fmla="*/ 5788 w 10000"/>
                  <a:gd name="connsiteY131" fmla="*/ 4578 h 10000"/>
                  <a:gd name="connsiteX132" fmla="*/ 5659 w 10000"/>
                  <a:gd name="connsiteY132" fmla="*/ 4162 h 10000"/>
                  <a:gd name="connsiteX133" fmla="*/ 5617 w 10000"/>
                  <a:gd name="connsiteY133" fmla="*/ 3979 h 10000"/>
                  <a:gd name="connsiteX134" fmla="*/ 5707 w 10000"/>
                  <a:gd name="connsiteY134" fmla="*/ 3496 h 10000"/>
                  <a:gd name="connsiteX135" fmla="*/ 5857 w 10000"/>
                  <a:gd name="connsiteY135" fmla="*/ 3329 h 10000"/>
                  <a:gd name="connsiteX136" fmla="*/ 5947 w 10000"/>
                  <a:gd name="connsiteY136" fmla="*/ 3128 h 10000"/>
                  <a:gd name="connsiteX137" fmla="*/ 6224 w 10000"/>
                  <a:gd name="connsiteY137" fmla="*/ 2968 h 10000"/>
                  <a:gd name="connsiteX138" fmla="*/ 6224 w 10000"/>
                  <a:gd name="connsiteY138" fmla="*/ 2980 h 10000"/>
                  <a:gd name="connsiteX139" fmla="*/ 6233 w 10000"/>
                  <a:gd name="connsiteY139" fmla="*/ 2940 h 10000"/>
                  <a:gd name="connsiteX140" fmla="*/ 6750 w 10000"/>
                  <a:gd name="connsiteY140" fmla="*/ 3287 h 10000"/>
                  <a:gd name="connsiteX141" fmla="*/ 7035 w 10000"/>
                  <a:gd name="connsiteY141" fmla="*/ 3520 h 10000"/>
                  <a:gd name="connsiteX142" fmla="*/ 7231 w 10000"/>
                  <a:gd name="connsiteY142" fmla="*/ 3606 h 10000"/>
                  <a:gd name="connsiteX143" fmla="*/ 7471 w 10000"/>
                  <a:gd name="connsiteY143" fmla="*/ 3515 h 10000"/>
                  <a:gd name="connsiteX144" fmla="*/ 7667 w 10000"/>
                  <a:gd name="connsiteY144" fmla="*/ 3378 h 10000"/>
                  <a:gd name="connsiteX145" fmla="*/ 8059 w 10000"/>
                  <a:gd name="connsiteY145" fmla="*/ 3116 h 10000"/>
                  <a:gd name="connsiteX146" fmla="*/ 8397 w 10000"/>
                  <a:gd name="connsiteY146" fmla="*/ 2815 h 10000"/>
                  <a:gd name="connsiteX147" fmla="*/ 8549 w 10000"/>
                  <a:gd name="connsiteY147" fmla="*/ 2650 h 10000"/>
                  <a:gd name="connsiteX148" fmla="*/ 8905 w 10000"/>
                  <a:gd name="connsiteY148" fmla="*/ 2389 h 10000"/>
                  <a:gd name="connsiteX149" fmla="*/ 9172 w 10000"/>
                  <a:gd name="connsiteY149" fmla="*/ 2360 h 10000"/>
                  <a:gd name="connsiteX150" fmla="*/ 9546 w 10000"/>
                  <a:gd name="connsiteY150" fmla="*/ 2360 h 10000"/>
                  <a:gd name="connsiteX151" fmla="*/ 9688 w 10000"/>
                  <a:gd name="connsiteY151" fmla="*/ 2360 h 10000"/>
                  <a:gd name="connsiteX152" fmla="*/ 9902 w 10000"/>
                  <a:gd name="connsiteY152" fmla="*/ 2343 h 10000"/>
                  <a:gd name="connsiteX153" fmla="*/ 9697 w 10000"/>
                  <a:gd name="connsiteY153" fmla="*/ 225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0000" h="10000">
                    <a:moveTo>
                      <a:pt x="9697" y="2252"/>
                    </a:moveTo>
                    <a:cubicBezTo>
                      <a:pt x="9270" y="2246"/>
                      <a:pt x="8994" y="2224"/>
                      <a:pt x="8976" y="2224"/>
                    </a:cubicBezTo>
                    <a:cubicBezTo>
                      <a:pt x="9012" y="2213"/>
                      <a:pt x="9163" y="2059"/>
                      <a:pt x="8718" y="2184"/>
                    </a:cubicBezTo>
                    <a:cubicBezTo>
                      <a:pt x="8700" y="2189"/>
                      <a:pt x="8549" y="2229"/>
                      <a:pt x="8540" y="2235"/>
                    </a:cubicBezTo>
                    <a:cubicBezTo>
                      <a:pt x="8424" y="2263"/>
                      <a:pt x="8362" y="2417"/>
                      <a:pt x="8290" y="2480"/>
                    </a:cubicBezTo>
                    <a:cubicBezTo>
                      <a:pt x="8103" y="2627"/>
                      <a:pt x="7890" y="2747"/>
                      <a:pt x="7667" y="2866"/>
                    </a:cubicBezTo>
                    <a:cubicBezTo>
                      <a:pt x="7551" y="2923"/>
                      <a:pt x="7453" y="3003"/>
                      <a:pt x="7302" y="3025"/>
                    </a:cubicBezTo>
                    <a:cubicBezTo>
                      <a:pt x="7248" y="3003"/>
                      <a:pt x="7240" y="2968"/>
                      <a:pt x="7213" y="2935"/>
                    </a:cubicBezTo>
                    <a:cubicBezTo>
                      <a:pt x="7186" y="2906"/>
                      <a:pt x="7150" y="2877"/>
                      <a:pt x="7133" y="2844"/>
                    </a:cubicBezTo>
                    <a:cubicBezTo>
                      <a:pt x="7106" y="2804"/>
                      <a:pt x="7097" y="2758"/>
                      <a:pt x="7070" y="2707"/>
                    </a:cubicBezTo>
                    <a:cubicBezTo>
                      <a:pt x="7044" y="2667"/>
                      <a:pt x="7026" y="2634"/>
                      <a:pt x="6999" y="2599"/>
                    </a:cubicBezTo>
                    <a:lnTo>
                      <a:pt x="6999" y="2599"/>
                    </a:lnTo>
                    <a:cubicBezTo>
                      <a:pt x="6999" y="2599"/>
                      <a:pt x="6990" y="2599"/>
                      <a:pt x="6990" y="2593"/>
                    </a:cubicBezTo>
                    <a:cubicBezTo>
                      <a:pt x="6990" y="2588"/>
                      <a:pt x="6981" y="2582"/>
                      <a:pt x="6981" y="2576"/>
                    </a:cubicBezTo>
                    <a:cubicBezTo>
                      <a:pt x="6981" y="2560"/>
                      <a:pt x="7008" y="2530"/>
                      <a:pt x="6999" y="2508"/>
                    </a:cubicBezTo>
                    <a:cubicBezTo>
                      <a:pt x="6990" y="2497"/>
                      <a:pt x="6972" y="2514"/>
                      <a:pt x="6972" y="2497"/>
                    </a:cubicBezTo>
                    <a:cubicBezTo>
                      <a:pt x="6972" y="2485"/>
                      <a:pt x="6990" y="2474"/>
                      <a:pt x="6990" y="2463"/>
                    </a:cubicBezTo>
                    <a:cubicBezTo>
                      <a:pt x="6999" y="2445"/>
                      <a:pt x="6990" y="2428"/>
                      <a:pt x="6990" y="2411"/>
                    </a:cubicBezTo>
                    <a:cubicBezTo>
                      <a:pt x="6990" y="2354"/>
                      <a:pt x="6955" y="2263"/>
                      <a:pt x="6946" y="2184"/>
                    </a:cubicBezTo>
                    <a:cubicBezTo>
                      <a:pt x="6946" y="2122"/>
                      <a:pt x="6963" y="2036"/>
                      <a:pt x="6928" y="1996"/>
                    </a:cubicBezTo>
                    <a:cubicBezTo>
                      <a:pt x="6883" y="1939"/>
                      <a:pt x="6732" y="1905"/>
                      <a:pt x="6634" y="1877"/>
                    </a:cubicBezTo>
                    <a:cubicBezTo>
                      <a:pt x="6527" y="1848"/>
                      <a:pt x="6420" y="1814"/>
                      <a:pt x="6322" y="1780"/>
                    </a:cubicBezTo>
                    <a:cubicBezTo>
                      <a:pt x="6260" y="1718"/>
                      <a:pt x="6135" y="1712"/>
                      <a:pt x="6109" y="1632"/>
                    </a:cubicBezTo>
                    <a:cubicBezTo>
                      <a:pt x="6100" y="1615"/>
                      <a:pt x="6109" y="1586"/>
                      <a:pt x="6109" y="1558"/>
                    </a:cubicBezTo>
                    <a:cubicBezTo>
                      <a:pt x="6109" y="1473"/>
                      <a:pt x="6153" y="1404"/>
                      <a:pt x="6171" y="1325"/>
                    </a:cubicBezTo>
                    <a:cubicBezTo>
                      <a:pt x="6198" y="1239"/>
                      <a:pt x="6189" y="1148"/>
                      <a:pt x="6162" y="1074"/>
                    </a:cubicBezTo>
                    <a:cubicBezTo>
                      <a:pt x="6224" y="1018"/>
                      <a:pt x="6224" y="983"/>
                      <a:pt x="6224" y="904"/>
                    </a:cubicBezTo>
                    <a:cubicBezTo>
                      <a:pt x="6224" y="836"/>
                      <a:pt x="6224" y="790"/>
                      <a:pt x="6215" y="734"/>
                    </a:cubicBezTo>
                    <a:cubicBezTo>
                      <a:pt x="6207" y="699"/>
                      <a:pt x="6207" y="654"/>
                      <a:pt x="6198" y="625"/>
                    </a:cubicBezTo>
                    <a:cubicBezTo>
                      <a:pt x="6171" y="540"/>
                      <a:pt x="6091" y="455"/>
                      <a:pt x="6046" y="386"/>
                    </a:cubicBezTo>
                    <a:cubicBezTo>
                      <a:pt x="5984" y="295"/>
                      <a:pt x="5948" y="262"/>
                      <a:pt x="5841" y="193"/>
                    </a:cubicBezTo>
                    <a:cubicBezTo>
                      <a:pt x="5717" y="102"/>
                      <a:pt x="5539" y="28"/>
                      <a:pt x="5334" y="6"/>
                    </a:cubicBezTo>
                    <a:lnTo>
                      <a:pt x="5236" y="6"/>
                    </a:lnTo>
                    <a:cubicBezTo>
                      <a:pt x="5120" y="0"/>
                      <a:pt x="5085" y="46"/>
                      <a:pt x="4996" y="57"/>
                    </a:cubicBezTo>
                    <a:cubicBezTo>
                      <a:pt x="4960" y="63"/>
                      <a:pt x="4924" y="57"/>
                      <a:pt x="4889" y="63"/>
                    </a:cubicBezTo>
                    <a:cubicBezTo>
                      <a:pt x="4871" y="68"/>
                      <a:pt x="4862" y="80"/>
                      <a:pt x="4835" y="91"/>
                    </a:cubicBezTo>
                    <a:cubicBezTo>
                      <a:pt x="4755" y="113"/>
                      <a:pt x="4657" y="165"/>
                      <a:pt x="4613" y="204"/>
                    </a:cubicBezTo>
                    <a:cubicBezTo>
                      <a:pt x="4461" y="319"/>
                      <a:pt x="4417" y="484"/>
                      <a:pt x="4337" y="671"/>
                    </a:cubicBezTo>
                    <a:cubicBezTo>
                      <a:pt x="4292" y="779"/>
                      <a:pt x="4274" y="893"/>
                      <a:pt x="4265" y="978"/>
                    </a:cubicBezTo>
                    <a:cubicBezTo>
                      <a:pt x="4265" y="1126"/>
                      <a:pt x="4283" y="1274"/>
                      <a:pt x="4390" y="1354"/>
                    </a:cubicBezTo>
                    <a:cubicBezTo>
                      <a:pt x="4435" y="1376"/>
                      <a:pt x="4479" y="1382"/>
                      <a:pt x="4506" y="1399"/>
                    </a:cubicBezTo>
                    <a:cubicBezTo>
                      <a:pt x="4541" y="1428"/>
                      <a:pt x="4533" y="1456"/>
                      <a:pt x="4568" y="1490"/>
                    </a:cubicBezTo>
                    <a:cubicBezTo>
                      <a:pt x="4533" y="1507"/>
                      <a:pt x="4497" y="1530"/>
                      <a:pt x="4443" y="1541"/>
                    </a:cubicBezTo>
                    <a:cubicBezTo>
                      <a:pt x="4426" y="1581"/>
                      <a:pt x="4372" y="1604"/>
                      <a:pt x="4328" y="1627"/>
                    </a:cubicBezTo>
                    <a:cubicBezTo>
                      <a:pt x="4283" y="1649"/>
                      <a:pt x="4256" y="1677"/>
                      <a:pt x="4203" y="1695"/>
                    </a:cubicBezTo>
                    <a:cubicBezTo>
                      <a:pt x="4221" y="1718"/>
                      <a:pt x="4265" y="1684"/>
                      <a:pt x="4274" y="1706"/>
                    </a:cubicBezTo>
                    <a:cubicBezTo>
                      <a:pt x="4248" y="1746"/>
                      <a:pt x="4159" y="1757"/>
                      <a:pt x="4087" y="1775"/>
                    </a:cubicBezTo>
                    <a:cubicBezTo>
                      <a:pt x="4016" y="1792"/>
                      <a:pt x="3936" y="1820"/>
                      <a:pt x="3865" y="1825"/>
                    </a:cubicBezTo>
                    <a:cubicBezTo>
                      <a:pt x="3811" y="1831"/>
                      <a:pt x="3767" y="1820"/>
                      <a:pt x="3722" y="1825"/>
                    </a:cubicBezTo>
                    <a:cubicBezTo>
                      <a:pt x="3562" y="1848"/>
                      <a:pt x="3517" y="1899"/>
                      <a:pt x="3446" y="1979"/>
                    </a:cubicBezTo>
                    <a:cubicBezTo>
                      <a:pt x="3366" y="2064"/>
                      <a:pt x="3304" y="2139"/>
                      <a:pt x="3250" y="2218"/>
                    </a:cubicBezTo>
                    <a:cubicBezTo>
                      <a:pt x="3224" y="2263"/>
                      <a:pt x="3206" y="2309"/>
                      <a:pt x="3152" y="2349"/>
                    </a:cubicBezTo>
                    <a:cubicBezTo>
                      <a:pt x="3170" y="2360"/>
                      <a:pt x="3188" y="2378"/>
                      <a:pt x="3188" y="2389"/>
                    </a:cubicBezTo>
                    <a:cubicBezTo>
                      <a:pt x="3215" y="2439"/>
                      <a:pt x="3152" y="2485"/>
                      <a:pt x="3090" y="2530"/>
                    </a:cubicBezTo>
                    <a:cubicBezTo>
                      <a:pt x="2983" y="2616"/>
                      <a:pt x="2930" y="2673"/>
                      <a:pt x="2858" y="2758"/>
                    </a:cubicBezTo>
                    <a:cubicBezTo>
                      <a:pt x="2823" y="2810"/>
                      <a:pt x="2805" y="2860"/>
                      <a:pt x="2778" y="2895"/>
                    </a:cubicBezTo>
                    <a:cubicBezTo>
                      <a:pt x="2752" y="2929"/>
                      <a:pt x="2716" y="2957"/>
                      <a:pt x="2689" y="2986"/>
                    </a:cubicBezTo>
                    <a:cubicBezTo>
                      <a:pt x="2654" y="3014"/>
                      <a:pt x="2636" y="3048"/>
                      <a:pt x="2582" y="3066"/>
                    </a:cubicBezTo>
                    <a:cubicBezTo>
                      <a:pt x="2440" y="3037"/>
                      <a:pt x="2351" y="2951"/>
                      <a:pt x="2244" y="2890"/>
                    </a:cubicBezTo>
                    <a:cubicBezTo>
                      <a:pt x="2030" y="2758"/>
                      <a:pt x="1834" y="2627"/>
                      <a:pt x="1674" y="2474"/>
                    </a:cubicBezTo>
                    <a:cubicBezTo>
                      <a:pt x="1603" y="2406"/>
                      <a:pt x="1567" y="2246"/>
                      <a:pt x="1460" y="2213"/>
                    </a:cubicBezTo>
                    <a:cubicBezTo>
                      <a:pt x="1443" y="2207"/>
                      <a:pt x="1300" y="2161"/>
                      <a:pt x="1291" y="2155"/>
                    </a:cubicBezTo>
                    <a:cubicBezTo>
                      <a:pt x="855" y="2007"/>
                      <a:pt x="988" y="2167"/>
                      <a:pt x="1024" y="2178"/>
                    </a:cubicBezTo>
                    <a:cubicBezTo>
                      <a:pt x="997" y="2178"/>
                      <a:pt x="730" y="2189"/>
                      <a:pt x="303" y="2167"/>
                    </a:cubicBezTo>
                    <a:cubicBezTo>
                      <a:pt x="0" y="2161"/>
                      <a:pt x="89" y="2246"/>
                      <a:pt x="89" y="2246"/>
                    </a:cubicBezTo>
                    <a:cubicBezTo>
                      <a:pt x="89" y="2246"/>
                      <a:pt x="223" y="2269"/>
                      <a:pt x="294" y="2274"/>
                    </a:cubicBezTo>
                    <a:cubicBezTo>
                      <a:pt x="347" y="2280"/>
                      <a:pt x="392" y="2287"/>
                      <a:pt x="436" y="2287"/>
                    </a:cubicBezTo>
                    <a:cubicBezTo>
                      <a:pt x="508" y="2287"/>
                      <a:pt x="712" y="2292"/>
                      <a:pt x="801" y="2304"/>
                    </a:cubicBezTo>
                    <a:cubicBezTo>
                      <a:pt x="908" y="2315"/>
                      <a:pt x="1006" y="2326"/>
                      <a:pt x="1069" y="2349"/>
                    </a:cubicBezTo>
                    <a:cubicBezTo>
                      <a:pt x="1220" y="2406"/>
                      <a:pt x="1309" y="2530"/>
                      <a:pt x="1389" y="2627"/>
                    </a:cubicBezTo>
                    <a:cubicBezTo>
                      <a:pt x="1434" y="2684"/>
                      <a:pt x="1487" y="2747"/>
                      <a:pt x="1523" y="2798"/>
                    </a:cubicBezTo>
                    <a:cubicBezTo>
                      <a:pt x="1594" y="2912"/>
                      <a:pt x="1701" y="3014"/>
                      <a:pt x="1817" y="3122"/>
                    </a:cubicBezTo>
                    <a:cubicBezTo>
                      <a:pt x="1923" y="3207"/>
                      <a:pt x="2057" y="3304"/>
                      <a:pt x="2173" y="3400"/>
                    </a:cubicBezTo>
                    <a:cubicBezTo>
                      <a:pt x="2217" y="3435"/>
                      <a:pt x="2280" y="3498"/>
                      <a:pt x="2351" y="3543"/>
                    </a:cubicBezTo>
                    <a:cubicBezTo>
                      <a:pt x="2422" y="3595"/>
                      <a:pt x="2502" y="3651"/>
                      <a:pt x="2573" y="3651"/>
                    </a:cubicBezTo>
                    <a:cubicBezTo>
                      <a:pt x="2654" y="3656"/>
                      <a:pt x="2716" y="3611"/>
                      <a:pt x="2778" y="3577"/>
                    </a:cubicBezTo>
                    <a:cubicBezTo>
                      <a:pt x="2921" y="3509"/>
                      <a:pt x="3010" y="3441"/>
                      <a:pt x="3108" y="3361"/>
                    </a:cubicBezTo>
                    <a:cubicBezTo>
                      <a:pt x="3330" y="3179"/>
                      <a:pt x="3562" y="2997"/>
                      <a:pt x="3695" y="2769"/>
                    </a:cubicBezTo>
                    <a:cubicBezTo>
                      <a:pt x="3695" y="2758"/>
                      <a:pt x="3695" y="2725"/>
                      <a:pt x="3722" y="2707"/>
                    </a:cubicBezTo>
                    <a:cubicBezTo>
                      <a:pt x="3731" y="2707"/>
                      <a:pt x="3740" y="2701"/>
                      <a:pt x="3749" y="2701"/>
                    </a:cubicBezTo>
                    <a:cubicBezTo>
                      <a:pt x="3785" y="2725"/>
                      <a:pt x="3758" y="2758"/>
                      <a:pt x="3749" y="2781"/>
                    </a:cubicBezTo>
                    <a:cubicBezTo>
                      <a:pt x="3740" y="2810"/>
                      <a:pt x="3722" y="2838"/>
                      <a:pt x="3713" y="2866"/>
                    </a:cubicBezTo>
                    <a:cubicBezTo>
                      <a:pt x="3704" y="2923"/>
                      <a:pt x="3722" y="3009"/>
                      <a:pt x="3713" y="3083"/>
                    </a:cubicBezTo>
                    <a:cubicBezTo>
                      <a:pt x="3704" y="3139"/>
                      <a:pt x="3678" y="3202"/>
                      <a:pt x="3678" y="3253"/>
                    </a:cubicBezTo>
                    <a:cubicBezTo>
                      <a:pt x="3687" y="3270"/>
                      <a:pt x="3704" y="3304"/>
                      <a:pt x="3704" y="3327"/>
                    </a:cubicBezTo>
                    <a:cubicBezTo>
                      <a:pt x="3664" y="3414"/>
                      <a:pt x="3629" y="3630"/>
                      <a:pt x="3577" y="3723"/>
                    </a:cubicBezTo>
                    <a:cubicBezTo>
                      <a:pt x="3542" y="3763"/>
                      <a:pt x="3410" y="3857"/>
                      <a:pt x="3392" y="3885"/>
                    </a:cubicBezTo>
                    <a:cubicBezTo>
                      <a:pt x="3370" y="3985"/>
                      <a:pt x="3313" y="4250"/>
                      <a:pt x="3303" y="4380"/>
                    </a:cubicBezTo>
                    <a:cubicBezTo>
                      <a:pt x="3303" y="4471"/>
                      <a:pt x="3288" y="4572"/>
                      <a:pt x="3270" y="4658"/>
                    </a:cubicBezTo>
                    <a:cubicBezTo>
                      <a:pt x="3235" y="4936"/>
                      <a:pt x="3250" y="5191"/>
                      <a:pt x="3268" y="5465"/>
                    </a:cubicBezTo>
                    <a:cubicBezTo>
                      <a:pt x="3322" y="5977"/>
                      <a:pt x="3562" y="6494"/>
                      <a:pt x="3447" y="6982"/>
                    </a:cubicBezTo>
                    <a:cubicBezTo>
                      <a:pt x="3571" y="7045"/>
                      <a:pt x="3606" y="7103"/>
                      <a:pt x="3749" y="7160"/>
                    </a:cubicBezTo>
                    <a:cubicBezTo>
                      <a:pt x="3651" y="7570"/>
                      <a:pt x="3811" y="7996"/>
                      <a:pt x="3882" y="8366"/>
                    </a:cubicBezTo>
                    <a:cubicBezTo>
                      <a:pt x="3918" y="8548"/>
                      <a:pt x="3980" y="8713"/>
                      <a:pt x="3954" y="8894"/>
                    </a:cubicBezTo>
                    <a:cubicBezTo>
                      <a:pt x="3945" y="8935"/>
                      <a:pt x="3954" y="8985"/>
                      <a:pt x="3945" y="9031"/>
                    </a:cubicBezTo>
                    <a:cubicBezTo>
                      <a:pt x="3918" y="9117"/>
                      <a:pt x="3838" y="9213"/>
                      <a:pt x="3758" y="9310"/>
                    </a:cubicBezTo>
                    <a:cubicBezTo>
                      <a:pt x="3660" y="9434"/>
                      <a:pt x="3553" y="9543"/>
                      <a:pt x="3357" y="9611"/>
                    </a:cubicBezTo>
                    <a:cubicBezTo>
                      <a:pt x="3416" y="9667"/>
                      <a:pt x="3898" y="9700"/>
                      <a:pt x="4114" y="9645"/>
                    </a:cubicBezTo>
                    <a:cubicBezTo>
                      <a:pt x="4141" y="9611"/>
                      <a:pt x="4185" y="9594"/>
                      <a:pt x="4212" y="9571"/>
                    </a:cubicBezTo>
                    <a:cubicBezTo>
                      <a:pt x="4248" y="9538"/>
                      <a:pt x="4319" y="9503"/>
                      <a:pt x="4381" y="9486"/>
                    </a:cubicBezTo>
                    <a:cubicBezTo>
                      <a:pt x="4483" y="9439"/>
                      <a:pt x="4604" y="9359"/>
                      <a:pt x="4647" y="9276"/>
                    </a:cubicBezTo>
                    <a:cubicBezTo>
                      <a:pt x="4701" y="9150"/>
                      <a:pt x="4720" y="9065"/>
                      <a:pt x="4639" y="8985"/>
                    </a:cubicBezTo>
                    <a:cubicBezTo>
                      <a:pt x="4461" y="8519"/>
                      <a:pt x="4720" y="8008"/>
                      <a:pt x="4720" y="7547"/>
                    </a:cubicBezTo>
                    <a:cubicBezTo>
                      <a:pt x="4773" y="7768"/>
                      <a:pt x="4826" y="7985"/>
                      <a:pt x="4898" y="8201"/>
                    </a:cubicBezTo>
                    <a:cubicBezTo>
                      <a:pt x="4942" y="8303"/>
                      <a:pt x="4969" y="8417"/>
                      <a:pt x="4996" y="8531"/>
                    </a:cubicBezTo>
                    <a:cubicBezTo>
                      <a:pt x="5031" y="8644"/>
                      <a:pt x="5058" y="8764"/>
                      <a:pt x="5049" y="8878"/>
                    </a:cubicBezTo>
                    <a:cubicBezTo>
                      <a:pt x="5040" y="8940"/>
                      <a:pt x="4996" y="9002"/>
                      <a:pt x="4978" y="9065"/>
                    </a:cubicBezTo>
                    <a:cubicBezTo>
                      <a:pt x="4960" y="9111"/>
                      <a:pt x="4969" y="9156"/>
                      <a:pt x="4951" y="9191"/>
                    </a:cubicBezTo>
                    <a:cubicBezTo>
                      <a:pt x="4942" y="9230"/>
                      <a:pt x="4907" y="9264"/>
                      <a:pt x="4889" y="9299"/>
                    </a:cubicBezTo>
                    <a:cubicBezTo>
                      <a:pt x="4862" y="9378"/>
                      <a:pt x="4862" y="9458"/>
                      <a:pt x="4835" y="9532"/>
                    </a:cubicBezTo>
                    <a:cubicBezTo>
                      <a:pt x="4773" y="9657"/>
                      <a:pt x="4622" y="9759"/>
                      <a:pt x="4577" y="9879"/>
                    </a:cubicBezTo>
                    <a:cubicBezTo>
                      <a:pt x="4669" y="9947"/>
                      <a:pt x="5224" y="10000"/>
                      <a:pt x="5387" y="9946"/>
                    </a:cubicBezTo>
                    <a:cubicBezTo>
                      <a:pt x="5441" y="9805"/>
                      <a:pt x="5485" y="9696"/>
                      <a:pt x="5557" y="9560"/>
                    </a:cubicBezTo>
                    <a:cubicBezTo>
                      <a:pt x="5610" y="9480"/>
                      <a:pt x="5663" y="9395"/>
                      <a:pt x="5654" y="9310"/>
                    </a:cubicBezTo>
                    <a:cubicBezTo>
                      <a:pt x="5654" y="9264"/>
                      <a:pt x="5610" y="9224"/>
                      <a:pt x="5601" y="9179"/>
                    </a:cubicBezTo>
                    <a:cubicBezTo>
                      <a:pt x="5601" y="9156"/>
                      <a:pt x="5610" y="9134"/>
                      <a:pt x="5610" y="9117"/>
                    </a:cubicBezTo>
                    <a:cubicBezTo>
                      <a:pt x="5610" y="9082"/>
                      <a:pt x="5583" y="9048"/>
                      <a:pt x="5583" y="9026"/>
                    </a:cubicBezTo>
                    <a:cubicBezTo>
                      <a:pt x="5565" y="8940"/>
                      <a:pt x="5565" y="8849"/>
                      <a:pt x="5583" y="8770"/>
                    </a:cubicBezTo>
                    <a:cubicBezTo>
                      <a:pt x="5592" y="8696"/>
                      <a:pt x="5637" y="8627"/>
                      <a:pt x="5654" y="8548"/>
                    </a:cubicBezTo>
                    <a:cubicBezTo>
                      <a:pt x="5681" y="8473"/>
                      <a:pt x="5699" y="8394"/>
                      <a:pt x="5708" y="8308"/>
                    </a:cubicBezTo>
                    <a:cubicBezTo>
                      <a:pt x="5735" y="8132"/>
                      <a:pt x="5761" y="7950"/>
                      <a:pt x="5744" y="7780"/>
                    </a:cubicBezTo>
                    <a:cubicBezTo>
                      <a:pt x="5717" y="7553"/>
                      <a:pt x="5601" y="7416"/>
                      <a:pt x="5485" y="7257"/>
                    </a:cubicBezTo>
                    <a:cubicBezTo>
                      <a:pt x="5485" y="7212"/>
                      <a:pt x="5459" y="7200"/>
                      <a:pt x="5450" y="7171"/>
                    </a:cubicBezTo>
                    <a:cubicBezTo>
                      <a:pt x="5441" y="7097"/>
                      <a:pt x="5467" y="7012"/>
                      <a:pt x="5476" y="6927"/>
                    </a:cubicBezTo>
                    <a:cubicBezTo>
                      <a:pt x="5476" y="6876"/>
                      <a:pt x="5467" y="6819"/>
                      <a:pt x="5476" y="6779"/>
                    </a:cubicBezTo>
                    <a:cubicBezTo>
                      <a:pt x="5476" y="6745"/>
                      <a:pt x="5503" y="6711"/>
                      <a:pt x="5503" y="6683"/>
                    </a:cubicBezTo>
                    <a:cubicBezTo>
                      <a:pt x="5512" y="6659"/>
                      <a:pt x="5503" y="6631"/>
                      <a:pt x="5503" y="6609"/>
                    </a:cubicBezTo>
                    <a:cubicBezTo>
                      <a:pt x="5512" y="6580"/>
                      <a:pt x="5539" y="6552"/>
                      <a:pt x="5548" y="6529"/>
                    </a:cubicBezTo>
                    <a:cubicBezTo>
                      <a:pt x="5628" y="6301"/>
                      <a:pt x="5628" y="6073"/>
                      <a:pt x="5708" y="5858"/>
                    </a:cubicBezTo>
                    <a:cubicBezTo>
                      <a:pt x="5758" y="5662"/>
                      <a:pt x="5834" y="5546"/>
                      <a:pt x="5850" y="5351"/>
                    </a:cubicBezTo>
                    <a:cubicBezTo>
                      <a:pt x="5832" y="5247"/>
                      <a:pt x="5816" y="4815"/>
                      <a:pt x="5806" y="4686"/>
                    </a:cubicBezTo>
                    <a:cubicBezTo>
                      <a:pt x="5806" y="4641"/>
                      <a:pt x="5788" y="4618"/>
                      <a:pt x="5788" y="4578"/>
                    </a:cubicBezTo>
                    <a:cubicBezTo>
                      <a:pt x="5764" y="4491"/>
                      <a:pt x="5687" y="4262"/>
                      <a:pt x="5659" y="4162"/>
                    </a:cubicBezTo>
                    <a:cubicBezTo>
                      <a:pt x="5650" y="4093"/>
                      <a:pt x="5599" y="4020"/>
                      <a:pt x="5617" y="3979"/>
                    </a:cubicBezTo>
                    <a:cubicBezTo>
                      <a:pt x="5635" y="3892"/>
                      <a:pt x="5688" y="3554"/>
                      <a:pt x="5707" y="3496"/>
                    </a:cubicBezTo>
                    <a:cubicBezTo>
                      <a:pt x="5730" y="3406"/>
                      <a:pt x="5817" y="3389"/>
                      <a:pt x="5857" y="3329"/>
                    </a:cubicBezTo>
                    <a:cubicBezTo>
                      <a:pt x="5887" y="3276"/>
                      <a:pt x="5914" y="3175"/>
                      <a:pt x="5947" y="3128"/>
                    </a:cubicBezTo>
                    <a:cubicBezTo>
                      <a:pt x="6000" y="3062"/>
                      <a:pt x="6178" y="2993"/>
                      <a:pt x="6224" y="2968"/>
                    </a:cubicBezTo>
                    <a:cubicBezTo>
                      <a:pt x="6270" y="2944"/>
                      <a:pt x="6224" y="2976"/>
                      <a:pt x="6224" y="2980"/>
                    </a:cubicBezTo>
                    <a:cubicBezTo>
                      <a:pt x="6224" y="2986"/>
                      <a:pt x="6233" y="2968"/>
                      <a:pt x="6233" y="2940"/>
                    </a:cubicBezTo>
                    <a:cubicBezTo>
                      <a:pt x="6402" y="3059"/>
                      <a:pt x="6616" y="3168"/>
                      <a:pt x="6750" y="3287"/>
                    </a:cubicBezTo>
                    <a:cubicBezTo>
                      <a:pt x="6830" y="3372"/>
                      <a:pt x="6910" y="3446"/>
                      <a:pt x="7035" y="3520"/>
                    </a:cubicBezTo>
                    <a:cubicBezTo>
                      <a:pt x="7106" y="3560"/>
                      <a:pt x="7159" y="3611"/>
                      <a:pt x="7231" y="3606"/>
                    </a:cubicBezTo>
                    <a:cubicBezTo>
                      <a:pt x="7311" y="3611"/>
                      <a:pt x="7391" y="3554"/>
                      <a:pt x="7471" y="3515"/>
                    </a:cubicBezTo>
                    <a:cubicBezTo>
                      <a:pt x="7551" y="3469"/>
                      <a:pt x="7622" y="3413"/>
                      <a:pt x="7667" y="3378"/>
                    </a:cubicBezTo>
                    <a:cubicBezTo>
                      <a:pt x="7801" y="3287"/>
                      <a:pt x="7943" y="3202"/>
                      <a:pt x="8059" y="3116"/>
                    </a:cubicBezTo>
                    <a:cubicBezTo>
                      <a:pt x="8192" y="3020"/>
                      <a:pt x="8308" y="2923"/>
                      <a:pt x="8397" y="2815"/>
                    </a:cubicBezTo>
                    <a:cubicBezTo>
                      <a:pt x="8442" y="2764"/>
                      <a:pt x="8495" y="2707"/>
                      <a:pt x="8549" y="2650"/>
                    </a:cubicBezTo>
                    <a:cubicBezTo>
                      <a:pt x="8646" y="2560"/>
                      <a:pt x="8744" y="2439"/>
                      <a:pt x="8905" y="2389"/>
                    </a:cubicBezTo>
                    <a:cubicBezTo>
                      <a:pt x="8967" y="2372"/>
                      <a:pt x="9074" y="2365"/>
                      <a:pt x="9172" y="2360"/>
                    </a:cubicBezTo>
                    <a:cubicBezTo>
                      <a:pt x="9270" y="2354"/>
                      <a:pt x="9475" y="2354"/>
                      <a:pt x="9546" y="2360"/>
                    </a:cubicBezTo>
                    <a:lnTo>
                      <a:pt x="9688" y="2360"/>
                    </a:lnTo>
                    <a:cubicBezTo>
                      <a:pt x="9760" y="2360"/>
                      <a:pt x="9902" y="2343"/>
                      <a:pt x="9902" y="2343"/>
                    </a:cubicBezTo>
                    <a:cubicBezTo>
                      <a:pt x="9902" y="2343"/>
                      <a:pt x="10000" y="2258"/>
                      <a:pt x="9697" y="2252"/>
                    </a:cubicBezTo>
                    <a:close/>
                  </a:path>
                </a:pathLst>
              </a:custGeom>
              <a:solidFill>
                <a:srgbClr val="F4DDC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2" name="Freeform 273"/>
              <p:cNvSpPr>
                <a:spLocks/>
              </p:cNvSpPr>
              <p:nvPr/>
            </p:nvSpPr>
            <p:spPr bwMode="gray">
              <a:xfrm rot="21395312" flipH="1">
                <a:off x="10753904" y="4770086"/>
                <a:ext cx="187297" cy="312037"/>
              </a:xfrm>
              <a:custGeom>
                <a:avLst/>
                <a:gdLst/>
                <a:ahLst/>
                <a:cxnLst>
                  <a:cxn ang="0">
                    <a:pos x="54" y="701"/>
                  </a:cxn>
                  <a:cxn ang="0">
                    <a:pos x="71" y="427"/>
                  </a:cxn>
                  <a:cxn ang="0">
                    <a:pos x="195" y="194"/>
                  </a:cxn>
                  <a:cxn ang="0">
                    <a:pos x="329" y="35"/>
                  </a:cxn>
                  <a:cxn ang="0">
                    <a:pos x="88" y="121"/>
                  </a:cxn>
                  <a:cxn ang="0">
                    <a:pos x="72" y="275"/>
                  </a:cxn>
                  <a:cxn ang="0">
                    <a:pos x="24" y="409"/>
                  </a:cxn>
                  <a:cxn ang="0">
                    <a:pos x="54" y="701"/>
                  </a:cxn>
                </a:cxnLst>
                <a:rect l="0" t="0" r="r" b="b"/>
                <a:pathLst>
                  <a:path w="421" h="701">
                    <a:moveTo>
                      <a:pt x="54" y="701"/>
                    </a:moveTo>
                    <a:cubicBezTo>
                      <a:pt x="64" y="608"/>
                      <a:pt x="46" y="519"/>
                      <a:pt x="71" y="427"/>
                    </a:cubicBezTo>
                    <a:cubicBezTo>
                      <a:pt x="89" y="362"/>
                      <a:pt x="145" y="234"/>
                      <a:pt x="195" y="194"/>
                    </a:cubicBezTo>
                    <a:cubicBezTo>
                      <a:pt x="230" y="166"/>
                      <a:pt x="421" y="104"/>
                      <a:pt x="329" y="35"/>
                    </a:cubicBezTo>
                    <a:cubicBezTo>
                      <a:pt x="283" y="0"/>
                      <a:pt x="115" y="77"/>
                      <a:pt x="88" y="121"/>
                    </a:cubicBezTo>
                    <a:cubicBezTo>
                      <a:pt x="65" y="159"/>
                      <a:pt x="78" y="232"/>
                      <a:pt x="72" y="275"/>
                    </a:cubicBezTo>
                    <a:cubicBezTo>
                      <a:pt x="64" y="323"/>
                      <a:pt x="34" y="361"/>
                      <a:pt x="24" y="409"/>
                    </a:cubicBezTo>
                    <a:cubicBezTo>
                      <a:pt x="0" y="523"/>
                      <a:pt x="41" y="601"/>
                      <a:pt x="54" y="701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3" name="Freeform 274"/>
              <p:cNvSpPr>
                <a:spLocks/>
              </p:cNvSpPr>
              <p:nvPr/>
            </p:nvSpPr>
            <p:spPr bwMode="gray">
              <a:xfrm>
                <a:off x="10523714" y="4774599"/>
                <a:ext cx="144712" cy="232331"/>
              </a:xfrm>
              <a:custGeom>
                <a:avLst/>
                <a:gdLst/>
                <a:ahLst/>
                <a:cxnLst>
                  <a:cxn ang="0">
                    <a:pos x="23" y="109"/>
                  </a:cxn>
                  <a:cxn ang="0">
                    <a:pos x="107" y="178"/>
                  </a:cxn>
                  <a:cxn ang="0">
                    <a:pos x="205" y="237"/>
                  </a:cxn>
                  <a:cxn ang="0">
                    <a:pos x="210" y="390"/>
                  </a:cxn>
                  <a:cxn ang="0">
                    <a:pos x="216" y="522"/>
                  </a:cxn>
                  <a:cxn ang="0">
                    <a:pos x="246" y="337"/>
                  </a:cxn>
                  <a:cxn ang="0">
                    <a:pos x="300" y="163"/>
                  </a:cxn>
                  <a:cxn ang="0">
                    <a:pos x="199" y="43"/>
                  </a:cxn>
                  <a:cxn ang="0">
                    <a:pos x="0" y="62"/>
                  </a:cxn>
                </a:cxnLst>
                <a:rect l="0" t="0" r="r" b="b"/>
                <a:pathLst>
                  <a:path w="325" h="522">
                    <a:moveTo>
                      <a:pt x="23" y="109"/>
                    </a:moveTo>
                    <a:cubicBezTo>
                      <a:pt x="61" y="126"/>
                      <a:pt x="76" y="155"/>
                      <a:pt x="107" y="178"/>
                    </a:cubicBezTo>
                    <a:cubicBezTo>
                      <a:pt x="135" y="199"/>
                      <a:pt x="186" y="202"/>
                      <a:pt x="205" y="237"/>
                    </a:cubicBezTo>
                    <a:cubicBezTo>
                      <a:pt x="226" y="276"/>
                      <a:pt x="204" y="345"/>
                      <a:pt x="210" y="390"/>
                    </a:cubicBezTo>
                    <a:cubicBezTo>
                      <a:pt x="217" y="436"/>
                      <a:pt x="241" y="473"/>
                      <a:pt x="216" y="522"/>
                    </a:cubicBezTo>
                    <a:cubicBezTo>
                      <a:pt x="263" y="493"/>
                      <a:pt x="243" y="387"/>
                      <a:pt x="246" y="337"/>
                    </a:cubicBezTo>
                    <a:cubicBezTo>
                      <a:pt x="249" y="268"/>
                      <a:pt x="280" y="226"/>
                      <a:pt x="300" y="163"/>
                    </a:cubicBezTo>
                    <a:cubicBezTo>
                      <a:pt x="325" y="84"/>
                      <a:pt x="269" y="64"/>
                      <a:pt x="199" y="43"/>
                    </a:cubicBezTo>
                    <a:cubicBezTo>
                      <a:pt x="152" y="29"/>
                      <a:pt x="25" y="0"/>
                      <a:pt x="0" y="62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4" name="Freeform 50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264753" y="3579128"/>
                <a:ext cx="741956" cy="1231574"/>
              </a:xfrm>
              <a:custGeom>
                <a:avLst/>
                <a:gdLst>
                  <a:gd name="connsiteX0" fmla="*/ 10000 w 10092"/>
                  <a:gd name="connsiteY0" fmla="*/ 1664 h 10000"/>
                  <a:gd name="connsiteX1" fmla="*/ 10000 w 10092"/>
                  <a:gd name="connsiteY1" fmla="*/ 1793 h 10000"/>
                  <a:gd name="connsiteX2" fmla="*/ 9817 w 10092"/>
                  <a:gd name="connsiteY2" fmla="*/ 2015 h 10000"/>
                  <a:gd name="connsiteX3" fmla="*/ 9847 w 10092"/>
                  <a:gd name="connsiteY3" fmla="*/ 2532 h 10000"/>
                  <a:gd name="connsiteX4" fmla="*/ 9786 w 10092"/>
                  <a:gd name="connsiteY4" fmla="*/ 3327 h 10000"/>
                  <a:gd name="connsiteX5" fmla="*/ 10000 w 10092"/>
                  <a:gd name="connsiteY5" fmla="*/ 4271 h 10000"/>
                  <a:gd name="connsiteX6" fmla="*/ 9235 w 10092"/>
                  <a:gd name="connsiteY6" fmla="*/ 4177 h 10000"/>
                  <a:gd name="connsiteX7" fmla="*/ 8869 w 10092"/>
                  <a:gd name="connsiteY7" fmla="*/ 5046 h 10000"/>
                  <a:gd name="connsiteX8" fmla="*/ 9297 w 10092"/>
                  <a:gd name="connsiteY8" fmla="*/ 5046 h 10000"/>
                  <a:gd name="connsiteX9" fmla="*/ 8685 w 10092"/>
                  <a:gd name="connsiteY9" fmla="*/ 7338 h 10000"/>
                  <a:gd name="connsiteX10" fmla="*/ 8532 w 10092"/>
                  <a:gd name="connsiteY10" fmla="*/ 7616 h 10000"/>
                  <a:gd name="connsiteX11" fmla="*/ 8532 w 10092"/>
                  <a:gd name="connsiteY11" fmla="*/ 7893 h 10000"/>
                  <a:gd name="connsiteX12" fmla="*/ 8440 w 10092"/>
                  <a:gd name="connsiteY12" fmla="*/ 8189 h 10000"/>
                  <a:gd name="connsiteX13" fmla="*/ 8440 w 10092"/>
                  <a:gd name="connsiteY13" fmla="*/ 8706 h 10000"/>
                  <a:gd name="connsiteX14" fmla="*/ 8349 w 10092"/>
                  <a:gd name="connsiteY14" fmla="*/ 9445 h 10000"/>
                  <a:gd name="connsiteX15" fmla="*/ 8471 w 10092"/>
                  <a:gd name="connsiteY15" fmla="*/ 9815 h 10000"/>
                  <a:gd name="connsiteX16" fmla="*/ 6300 w 10092"/>
                  <a:gd name="connsiteY16" fmla="*/ 10000 h 10000"/>
                  <a:gd name="connsiteX17" fmla="*/ 6147 w 10092"/>
                  <a:gd name="connsiteY17" fmla="*/ 10000 h 10000"/>
                  <a:gd name="connsiteX18" fmla="*/ 612 w 10092"/>
                  <a:gd name="connsiteY18" fmla="*/ 8965 h 10000"/>
                  <a:gd name="connsiteX19" fmla="*/ 673 w 10092"/>
                  <a:gd name="connsiteY19" fmla="*/ 7357 h 10000"/>
                  <a:gd name="connsiteX20" fmla="*/ 489 w 10092"/>
                  <a:gd name="connsiteY20" fmla="*/ 6155 h 10000"/>
                  <a:gd name="connsiteX21" fmla="*/ 0 w 10092"/>
                  <a:gd name="connsiteY21" fmla="*/ 2458 h 10000"/>
                  <a:gd name="connsiteX22" fmla="*/ 0 w 10092"/>
                  <a:gd name="connsiteY22" fmla="*/ 1386 h 10000"/>
                  <a:gd name="connsiteX23" fmla="*/ 183 w 10092"/>
                  <a:gd name="connsiteY23" fmla="*/ 277 h 10000"/>
                  <a:gd name="connsiteX24" fmla="*/ 183 w 10092"/>
                  <a:gd name="connsiteY24" fmla="*/ 0 h 10000"/>
                  <a:gd name="connsiteX25" fmla="*/ 1284 w 10092"/>
                  <a:gd name="connsiteY25" fmla="*/ 166 h 10000"/>
                  <a:gd name="connsiteX26" fmla="*/ 1682 w 10092"/>
                  <a:gd name="connsiteY26" fmla="*/ 185 h 10000"/>
                  <a:gd name="connsiteX27" fmla="*/ 5260 w 10092"/>
                  <a:gd name="connsiteY27" fmla="*/ 628 h 10000"/>
                  <a:gd name="connsiteX28" fmla="*/ 5872 w 10092"/>
                  <a:gd name="connsiteY28" fmla="*/ 758 h 10000"/>
                  <a:gd name="connsiteX29" fmla="*/ 9541 w 10092"/>
                  <a:gd name="connsiteY29" fmla="*/ 684 h 10000"/>
                  <a:gd name="connsiteX30" fmla="*/ 9633 w 10092"/>
                  <a:gd name="connsiteY30" fmla="*/ 1072 h 10000"/>
                  <a:gd name="connsiteX31" fmla="*/ 10000 w 10092"/>
                  <a:gd name="connsiteY31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235 w 10153"/>
                  <a:gd name="connsiteY6" fmla="*/ 4177 h 10000"/>
                  <a:gd name="connsiteX7" fmla="*/ 8869 w 10153"/>
                  <a:gd name="connsiteY7" fmla="*/ 5046 h 10000"/>
                  <a:gd name="connsiteX8" fmla="*/ 9297 w 10153"/>
                  <a:gd name="connsiteY8" fmla="*/ 5046 h 10000"/>
                  <a:gd name="connsiteX9" fmla="*/ 8685 w 10153"/>
                  <a:gd name="connsiteY9" fmla="*/ 7338 h 10000"/>
                  <a:gd name="connsiteX10" fmla="*/ 8532 w 10153"/>
                  <a:gd name="connsiteY10" fmla="*/ 7616 h 10000"/>
                  <a:gd name="connsiteX11" fmla="*/ 8532 w 10153"/>
                  <a:gd name="connsiteY11" fmla="*/ 7893 h 10000"/>
                  <a:gd name="connsiteX12" fmla="*/ 8440 w 10153"/>
                  <a:gd name="connsiteY12" fmla="*/ 8189 h 10000"/>
                  <a:gd name="connsiteX13" fmla="*/ 8440 w 10153"/>
                  <a:gd name="connsiteY13" fmla="*/ 8706 h 10000"/>
                  <a:gd name="connsiteX14" fmla="*/ 8349 w 10153"/>
                  <a:gd name="connsiteY14" fmla="*/ 9445 h 10000"/>
                  <a:gd name="connsiteX15" fmla="*/ 8471 w 10153"/>
                  <a:gd name="connsiteY15" fmla="*/ 9815 h 10000"/>
                  <a:gd name="connsiteX16" fmla="*/ 6300 w 10153"/>
                  <a:gd name="connsiteY16" fmla="*/ 10000 h 10000"/>
                  <a:gd name="connsiteX17" fmla="*/ 6147 w 10153"/>
                  <a:gd name="connsiteY17" fmla="*/ 10000 h 10000"/>
                  <a:gd name="connsiteX18" fmla="*/ 612 w 10153"/>
                  <a:gd name="connsiteY18" fmla="*/ 8965 h 10000"/>
                  <a:gd name="connsiteX19" fmla="*/ 673 w 10153"/>
                  <a:gd name="connsiteY19" fmla="*/ 7357 h 10000"/>
                  <a:gd name="connsiteX20" fmla="*/ 489 w 10153"/>
                  <a:gd name="connsiteY20" fmla="*/ 6155 h 10000"/>
                  <a:gd name="connsiteX21" fmla="*/ 0 w 10153"/>
                  <a:gd name="connsiteY21" fmla="*/ 2458 h 10000"/>
                  <a:gd name="connsiteX22" fmla="*/ 0 w 10153"/>
                  <a:gd name="connsiteY22" fmla="*/ 1386 h 10000"/>
                  <a:gd name="connsiteX23" fmla="*/ 183 w 10153"/>
                  <a:gd name="connsiteY23" fmla="*/ 277 h 10000"/>
                  <a:gd name="connsiteX24" fmla="*/ 183 w 10153"/>
                  <a:gd name="connsiteY24" fmla="*/ 0 h 10000"/>
                  <a:gd name="connsiteX25" fmla="*/ 1284 w 10153"/>
                  <a:gd name="connsiteY25" fmla="*/ 166 h 10000"/>
                  <a:gd name="connsiteX26" fmla="*/ 1682 w 10153"/>
                  <a:gd name="connsiteY26" fmla="*/ 185 h 10000"/>
                  <a:gd name="connsiteX27" fmla="*/ 5260 w 10153"/>
                  <a:gd name="connsiteY27" fmla="*/ 628 h 10000"/>
                  <a:gd name="connsiteX28" fmla="*/ 5872 w 10153"/>
                  <a:gd name="connsiteY28" fmla="*/ 758 h 10000"/>
                  <a:gd name="connsiteX29" fmla="*/ 9541 w 10153"/>
                  <a:gd name="connsiteY29" fmla="*/ 684 h 10000"/>
                  <a:gd name="connsiteX30" fmla="*/ 9633 w 10153"/>
                  <a:gd name="connsiteY30" fmla="*/ 1072 h 10000"/>
                  <a:gd name="connsiteX31" fmla="*/ 10000 w 10153"/>
                  <a:gd name="connsiteY31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829 w 10153"/>
                  <a:gd name="connsiteY6" fmla="*/ 4609 h 10000"/>
                  <a:gd name="connsiteX7" fmla="*/ 8869 w 10153"/>
                  <a:gd name="connsiteY7" fmla="*/ 5046 h 10000"/>
                  <a:gd name="connsiteX8" fmla="*/ 9297 w 10153"/>
                  <a:gd name="connsiteY8" fmla="*/ 5046 h 10000"/>
                  <a:gd name="connsiteX9" fmla="*/ 8685 w 10153"/>
                  <a:gd name="connsiteY9" fmla="*/ 7338 h 10000"/>
                  <a:gd name="connsiteX10" fmla="*/ 8532 w 10153"/>
                  <a:gd name="connsiteY10" fmla="*/ 7616 h 10000"/>
                  <a:gd name="connsiteX11" fmla="*/ 8532 w 10153"/>
                  <a:gd name="connsiteY11" fmla="*/ 7893 h 10000"/>
                  <a:gd name="connsiteX12" fmla="*/ 8440 w 10153"/>
                  <a:gd name="connsiteY12" fmla="*/ 8189 h 10000"/>
                  <a:gd name="connsiteX13" fmla="*/ 8440 w 10153"/>
                  <a:gd name="connsiteY13" fmla="*/ 8706 h 10000"/>
                  <a:gd name="connsiteX14" fmla="*/ 8349 w 10153"/>
                  <a:gd name="connsiteY14" fmla="*/ 9445 h 10000"/>
                  <a:gd name="connsiteX15" fmla="*/ 8471 w 10153"/>
                  <a:gd name="connsiteY15" fmla="*/ 9815 h 10000"/>
                  <a:gd name="connsiteX16" fmla="*/ 6300 w 10153"/>
                  <a:gd name="connsiteY16" fmla="*/ 10000 h 10000"/>
                  <a:gd name="connsiteX17" fmla="*/ 6147 w 10153"/>
                  <a:gd name="connsiteY17" fmla="*/ 10000 h 10000"/>
                  <a:gd name="connsiteX18" fmla="*/ 612 w 10153"/>
                  <a:gd name="connsiteY18" fmla="*/ 8965 h 10000"/>
                  <a:gd name="connsiteX19" fmla="*/ 673 w 10153"/>
                  <a:gd name="connsiteY19" fmla="*/ 7357 h 10000"/>
                  <a:gd name="connsiteX20" fmla="*/ 489 w 10153"/>
                  <a:gd name="connsiteY20" fmla="*/ 6155 h 10000"/>
                  <a:gd name="connsiteX21" fmla="*/ 0 w 10153"/>
                  <a:gd name="connsiteY21" fmla="*/ 2458 h 10000"/>
                  <a:gd name="connsiteX22" fmla="*/ 0 w 10153"/>
                  <a:gd name="connsiteY22" fmla="*/ 1386 h 10000"/>
                  <a:gd name="connsiteX23" fmla="*/ 183 w 10153"/>
                  <a:gd name="connsiteY23" fmla="*/ 277 h 10000"/>
                  <a:gd name="connsiteX24" fmla="*/ 183 w 10153"/>
                  <a:gd name="connsiteY24" fmla="*/ 0 h 10000"/>
                  <a:gd name="connsiteX25" fmla="*/ 1284 w 10153"/>
                  <a:gd name="connsiteY25" fmla="*/ 166 h 10000"/>
                  <a:gd name="connsiteX26" fmla="*/ 1682 w 10153"/>
                  <a:gd name="connsiteY26" fmla="*/ 185 h 10000"/>
                  <a:gd name="connsiteX27" fmla="*/ 5260 w 10153"/>
                  <a:gd name="connsiteY27" fmla="*/ 628 h 10000"/>
                  <a:gd name="connsiteX28" fmla="*/ 5872 w 10153"/>
                  <a:gd name="connsiteY28" fmla="*/ 758 h 10000"/>
                  <a:gd name="connsiteX29" fmla="*/ 9541 w 10153"/>
                  <a:gd name="connsiteY29" fmla="*/ 684 h 10000"/>
                  <a:gd name="connsiteX30" fmla="*/ 9633 w 10153"/>
                  <a:gd name="connsiteY30" fmla="*/ 1072 h 10000"/>
                  <a:gd name="connsiteX31" fmla="*/ 10000 w 10153"/>
                  <a:gd name="connsiteY31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829 w 10153"/>
                  <a:gd name="connsiteY6" fmla="*/ 4609 h 10000"/>
                  <a:gd name="connsiteX7" fmla="*/ 9297 w 10153"/>
                  <a:gd name="connsiteY7" fmla="*/ 5046 h 10000"/>
                  <a:gd name="connsiteX8" fmla="*/ 8685 w 10153"/>
                  <a:gd name="connsiteY8" fmla="*/ 7338 h 10000"/>
                  <a:gd name="connsiteX9" fmla="*/ 8532 w 10153"/>
                  <a:gd name="connsiteY9" fmla="*/ 7616 h 10000"/>
                  <a:gd name="connsiteX10" fmla="*/ 8532 w 10153"/>
                  <a:gd name="connsiteY10" fmla="*/ 7893 h 10000"/>
                  <a:gd name="connsiteX11" fmla="*/ 8440 w 10153"/>
                  <a:gd name="connsiteY11" fmla="*/ 8189 h 10000"/>
                  <a:gd name="connsiteX12" fmla="*/ 8440 w 10153"/>
                  <a:gd name="connsiteY12" fmla="*/ 8706 h 10000"/>
                  <a:gd name="connsiteX13" fmla="*/ 8349 w 10153"/>
                  <a:gd name="connsiteY13" fmla="*/ 9445 h 10000"/>
                  <a:gd name="connsiteX14" fmla="*/ 8471 w 10153"/>
                  <a:gd name="connsiteY14" fmla="*/ 9815 h 10000"/>
                  <a:gd name="connsiteX15" fmla="*/ 6300 w 10153"/>
                  <a:gd name="connsiteY15" fmla="*/ 10000 h 10000"/>
                  <a:gd name="connsiteX16" fmla="*/ 6147 w 10153"/>
                  <a:gd name="connsiteY16" fmla="*/ 10000 h 10000"/>
                  <a:gd name="connsiteX17" fmla="*/ 612 w 10153"/>
                  <a:gd name="connsiteY17" fmla="*/ 8965 h 10000"/>
                  <a:gd name="connsiteX18" fmla="*/ 673 w 10153"/>
                  <a:gd name="connsiteY18" fmla="*/ 7357 h 10000"/>
                  <a:gd name="connsiteX19" fmla="*/ 489 w 10153"/>
                  <a:gd name="connsiteY19" fmla="*/ 6155 h 10000"/>
                  <a:gd name="connsiteX20" fmla="*/ 0 w 10153"/>
                  <a:gd name="connsiteY20" fmla="*/ 2458 h 10000"/>
                  <a:gd name="connsiteX21" fmla="*/ 0 w 10153"/>
                  <a:gd name="connsiteY21" fmla="*/ 1386 h 10000"/>
                  <a:gd name="connsiteX22" fmla="*/ 183 w 10153"/>
                  <a:gd name="connsiteY22" fmla="*/ 277 h 10000"/>
                  <a:gd name="connsiteX23" fmla="*/ 183 w 10153"/>
                  <a:gd name="connsiteY23" fmla="*/ 0 h 10000"/>
                  <a:gd name="connsiteX24" fmla="*/ 1284 w 10153"/>
                  <a:gd name="connsiteY24" fmla="*/ 166 h 10000"/>
                  <a:gd name="connsiteX25" fmla="*/ 1682 w 10153"/>
                  <a:gd name="connsiteY25" fmla="*/ 185 h 10000"/>
                  <a:gd name="connsiteX26" fmla="*/ 5260 w 10153"/>
                  <a:gd name="connsiteY26" fmla="*/ 628 h 10000"/>
                  <a:gd name="connsiteX27" fmla="*/ 5872 w 10153"/>
                  <a:gd name="connsiteY27" fmla="*/ 758 h 10000"/>
                  <a:gd name="connsiteX28" fmla="*/ 9541 w 10153"/>
                  <a:gd name="connsiteY28" fmla="*/ 684 h 10000"/>
                  <a:gd name="connsiteX29" fmla="*/ 9633 w 10153"/>
                  <a:gd name="connsiteY29" fmla="*/ 1072 h 10000"/>
                  <a:gd name="connsiteX30" fmla="*/ 10000 w 10153"/>
                  <a:gd name="connsiteY30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829 w 10153"/>
                  <a:gd name="connsiteY6" fmla="*/ 4609 h 10000"/>
                  <a:gd name="connsiteX7" fmla="*/ 9297 w 10153"/>
                  <a:gd name="connsiteY7" fmla="*/ 5046 h 10000"/>
                  <a:gd name="connsiteX8" fmla="*/ 8685 w 10153"/>
                  <a:gd name="connsiteY8" fmla="*/ 7338 h 10000"/>
                  <a:gd name="connsiteX9" fmla="*/ 8532 w 10153"/>
                  <a:gd name="connsiteY9" fmla="*/ 7616 h 10000"/>
                  <a:gd name="connsiteX10" fmla="*/ 8532 w 10153"/>
                  <a:gd name="connsiteY10" fmla="*/ 7893 h 10000"/>
                  <a:gd name="connsiteX11" fmla="*/ 8440 w 10153"/>
                  <a:gd name="connsiteY11" fmla="*/ 8189 h 10000"/>
                  <a:gd name="connsiteX12" fmla="*/ 8440 w 10153"/>
                  <a:gd name="connsiteY12" fmla="*/ 8706 h 10000"/>
                  <a:gd name="connsiteX13" fmla="*/ 8349 w 10153"/>
                  <a:gd name="connsiteY13" fmla="*/ 9445 h 10000"/>
                  <a:gd name="connsiteX14" fmla="*/ 8471 w 10153"/>
                  <a:gd name="connsiteY14" fmla="*/ 9815 h 10000"/>
                  <a:gd name="connsiteX15" fmla="*/ 6300 w 10153"/>
                  <a:gd name="connsiteY15" fmla="*/ 10000 h 10000"/>
                  <a:gd name="connsiteX16" fmla="*/ 6147 w 10153"/>
                  <a:gd name="connsiteY16" fmla="*/ 10000 h 10000"/>
                  <a:gd name="connsiteX17" fmla="*/ 612 w 10153"/>
                  <a:gd name="connsiteY17" fmla="*/ 8965 h 10000"/>
                  <a:gd name="connsiteX18" fmla="*/ 673 w 10153"/>
                  <a:gd name="connsiteY18" fmla="*/ 7357 h 10000"/>
                  <a:gd name="connsiteX19" fmla="*/ 489 w 10153"/>
                  <a:gd name="connsiteY19" fmla="*/ 6155 h 10000"/>
                  <a:gd name="connsiteX20" fmla="*/ 0 w 10153"/>
                  <a:gd name="connsiteY20" fmla="*/ 2458 h 10000"/>
                  <a:gd name="connsiteX21" fmla="*/ 0 w 10153"/>
                  <a:gd name="connsiteY21" fmla="*/ 1386 h 10000"/>
                  <a:gd name="connsiteX22" fmla="*/ 183 w 10153"/>
                  <a:gd name="connsiteY22" fmla="*/ 277 h 10000"/>
                  <a:gd name="connsiteX23" fmla="*/ 183 w 10153"/>
                  <a:gd name="connsiteY23" fmla="*/ 0 h 10000"/>
                  <a:gd name="connsiteX24" fmla="*/ 1284 w 10153"/>
                  <a:gd name="connsiteY24" fmla="*/ 166 h 10000"/>
                  <a:gd name="connsiteX25" fmla="*/ 1682 w 10153"/>
                  <a:gd name="connsiteY25" fmla="*/ 185 h 10000"/>
                  <a:gd name="connsiteX26" fmla="*/ 5260 w 10153"/>
                  <a:gd name="connsiteY26" fmla="*/ 628 h 10000"/>
                  <a:gd name="connsiteX27" fmla="*/ 5872 w 10153"/>
                  <a:gd name="connsiteY27" fmla="*/ 758 h 10000"/>
                  <a:gd name="connsiteX28" fmla="*/ 9541 w 10153"/>
                  <a:gd name="connsiteY28" fmla="*/ 684 h 10000"/>
                  <a:gd name="connsiteX29" fmla="*/ 9633 w 10153"/>
                  <a:gd name="connsiteY29" fmla="*/ 1072 h 10000"/>
                  <a:gd name="connsiteX30" fmla="*/ 10000 w 10153"/>
                  <a:gd name="connsiteY30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829 w 10153"/>
                  <a:gd name="connsiteY6" fmla="*/ 4609 h 10000"/>
                  <a:gd name="connsiteX7" fmla="*/ 9289 w 10153"/>
                  <a:gd name="connsiteY7" fmla="*/ 6186 h 10000"/>
                  <a:gd name="connsiteX8" fmla="*/ 8685 w 10153"/>
                  <a:gd name="connsiteY8" fmla="*/ 7338 h 10000"/>
                  <a:gd name="connsiteX9" fmla="*/ 8532 w 10153"/>
                  <a:gd name="connsiteY9" fmla="*/ 7616 h 10000"/>
                  <a:gd name="connsiteX10" fmla="*/ 8532 w 10153"/>
                  <a:gd name="connsiteY10" fmla="*/ 7893 h 10000"/>
                  <a:gd name="connsiteX11" fmla="*/ 8440 w 10153"/>
                  <a:gd name="connsiteY11" fmla="*/ 8189 h 10000"/>
                  <a:gd name="connsiteX12" fmla="*/ 8440 w 10153"/>
                  <a:gd name="connsiteY12" fmla="*/ 8706 h 10000"/>
                  <a:gd name="connsiteX13" fmla="*/ 8349 w 10153"/>
                  <a:gd name="connsiteY13" fmla="*/ 9445 h 10000"/>
                  <a:gd name="connsiteX14" fmla="*/ 8471 w 10153"/>
                  <a:gd name="connsiteY14" fmla="*/ 9815 h 10000"/>
                  <a:gd name="connsiteX15" fmla="*/ 6300 w 10153"/>
                  <a:gd name="connsiteY15" fmla="*/ 10000 h 10000"/>
                  <a:gd name="connsiteX16" fmla="*/ 6147 w 10153"/>
                  <a:gd name="connsiteY16" fmla="*/ 10000 h 10000"/>
                  <a:gd name="connsiteX17" fmla="*/ 612 w 10153"/>
                  <a:gd name="connsiteY17" fmla="*/ 8965 h 10000"/>
                  <a:gd name="connsiteX18" fmla="*/ 673 w 10153"/>
                  <a:gd name="connsiteY18" fmla="*/ 7357 h 10000"/>
                  <a:gd name="connsiteX19" fmla="*/ 489 w 10153"/>
                  <a:gd name="connsiteY19" fmla="*/ 6155 h 10000"/>
                  <a:gd name="connsiteX20" fmla="*/ 0 w 10153"/>
                  <a:gd name="connsiteY20" fmla="*/ 2458 h 10000"/>
                  <a:gd name="connsiteX21" fmla="*/ 0 w 10153"/>
                  <a:gd name="connsiteY21" fmla="*/ 1386 h 10000"/>
                  <a:gd name="connsiteX22" fmla="*/ 183 w 10153"/>
                  <a:gd name="connsiteY22" fmla="*/ 277 h 10000"/>
                  <a:gd name="connsiteX23" fmla="*/ 183 w 10153"/>
                  <a:gd name="connsiteY23" fmla="*/ 0 h 10000"/>
                  <a:gd name="connsiteX24" fmla="*/ 1284 w 10153"/>
                  <a:gd name="connsiteY24" fmla="*/ 166 h 10000"/>
                  <a:gd name="connsiteX25" fmla="*/ 1682 w 10153"/>
                  <a:gd name="connsiteY25" fmla="*/ 185 h 10000"/>
                  <a:gd name="connsiteX26" fmla="*/ 5260 w 10153"/>
                  <a:gd name="connsiteY26" fmla="*/ 628 h 10000"/>
                  <a:gd name="connsiteX27" fmla="*/ 5872 w 10153"/>
                  <a:gd name="connsiteY27" fmla="*/ 758 h 10000"/>
                  <a:gd name="connsiteX28" fmla="*/ 9541 w 10153"/>
                  <a:gd name="connsiteY28" fmla="*/ 684 h 10000"/>
                  <a:gd name="connsiteX29" fmla="*/ 9633 w 10153"/>
                  <a:gd name="connsiteY29" fmla="*/ 1072 h 10000"/>
                  <a:gd name="connsiteX30" fmla="*/ 10000 w 10153"/>
                  <a:gd name="connsiteY30" fmla="*/ 1664 h 10000"/>
                  <a:gd name="connsiteX0" fmla="*/ 10000 w 10153"/>
                  <a:gd name="connsiteY0" fmla="*/ 1664 h 10000"/>
                  <a:gd name="connsiteX1" fmla="*/ 10000 w 10153"/>
                  <a:gd name="connsiteY1" fmla="*/ 1793 h 10000"/>
                  <a:gd name="connsiteX2" fmla="*/ 9817 w 10153"/>
                  <a:gd name="connsiteY2" fmla="*/ 2015 h 10000"/>
                  <a:gd name="connsiteX3" fmla="*/ 9847 w 10153"/>
                  <a:gd name="connsiteY3" fmla="*/ 2532 h 10000"/>
                  <a:gd name="connsiteX4" fmla="*/ 10092 w 10153"/>
                  <a:gd name="connsiteY4" fmla="*/ 3465 h 10000"/>
                  <a:gd name="connsiteX5" fmla="*/ 10000 w 10153"/>
                  <a:gd name="connsiteY5" fmla="*/ 4271 h 10000"/>
                  <a:gd name="connsiteX6" fmla="*/ 9829 w 10153"/>
                  <a:gd name="connsiteY6" fmla="*/ 4609 h 10000"/>
                  <a:gd name="connsiteX7" fmla="*/ 9289 w 10153"/>
                  <a:gd name="connsiteY7" fmla="*/ 6186 h 10000"/>
                  <a:gd name="connsiteX8" fmla="*/ 8685 w 10153"/>
                  <a:gd name="connsiteY8" fmla="*/ 7338 h 10000"/>
                  <a:gd name="connsiteX9" fmla="*/ 8532 w 10153"/>
                  <a:gd name="connsiteY9" fmla="*/ 7616 h 10000"/>
                  <a:gd name="connsiteX10" fmla="*/ 8532 w 10153"/>
                  <a:gd name="connsiteY10" fmla="*/ 7893 h 10000"/>
                  <a:gd name="connsiteX11" fmla="*/ 8440 w 10153"/>
                  <a:gd name="connsiteY11" fmla="*/ 8189 h 10000"/>
                  <a:gd name="connsiteX12" fmla="*/ 8440 w 10153"/>
                  <a:gd name="connsiteY12" fmla="*/ 8706 h 10000"/>
                  <a:gd name="connsiteX13" fmla="*/ 8349 w 10153"/>
                  <a:gd name="connsiteY13" fmla="*/ 9445 h 10000"/>
                  <a:gd name="connsiteX14" fmla="*/ 8471 w 10153"/>
                  <a:gd name="connsiteY14" fmla="*/ 9815 h 10000"/>
                  <a:gd name="connsiteX15" fmla="*/ 6300 w 10153"/>
                  <a:gd name="connsiteY15" fmla="*/ 10000 h 10000"/>
                  <a:gd name="connsiteX16" fmla="*/ 6147 w 10153"/>
                  <a:gd name="connsiteY16" fmla="*/ 10000 h 10000"/>
                  <a:gd name="connsiteX17" fmla="*/ 612 w 10153"/>
                  <a:gd name="connsiteY17" fmla="*/ 8965 h 10000"/>
                  <a:gd name="connsiteX18" fmla="*/ 673 w 10153"/>
                  <a:gd name="connsiteY18" fmla="*/ 7357 h 10000"/>
                  <a:gd name="connsiteX19" fmla="*/ 489 w 10153"/>
                  <a:gd name="connsiteY19" fmla="*/ 6155 h 10000"/>
                  <a:gd name="connsiteX20" fmla="*/ 0 w 10153"/>
                  <a:gd name="connsiteY20" fmla="*/ 2458 h 10000"/>
                  <a:gd name="connsiteX21" fmla="*/ 0 w 10153"/>
                  <a:gd name="connsiteY21" fmla="*/ 1386 h 10000"/>
                  <a:gd name="connsiteX22" fmla="*/ 183 w 10153"/>
                  <a:gd name="connsiteY22" fmla="*/ 277 h 10000"/>
                  <a:gd name="connsiteX23" fmla="*/ 183 w 10153"/>
                  <a:gd name="connsiteY23" fmla="*/ 0 h 10000"/>
                  <a:gd name="connsiteX24" fmla="*/ 1284 w 10153"/>
                  <a:gd name="connsiteY24" fmla="*/ 166 h 10000"/>
                  <a:gd name="connsiteX25" fmla="*/ 1682 w 10153"/>
                  <a:gd name="connsiteY25" fmla="*/ 185 h 10000"/>
                  <a:gd name="connsiteX26" fmla="*/ 5260 w 10153"/>
                  <a:gd name="connsiteY26" fmla="*/ 628 h 10000"/>
                  <a:gd name="connsiteX27" fmla="*/ 5872 w 10153"/>
                  <a:gd name="connsiteY27" fmla="*/ 758 h 10000"/>
                  <a:gd name="connsiteX28" fmla="*/ 9541 w 10153"/>
                  <a:gd name="connsiteY28" fmla="*/ 684 h 10000"/>
                  <a:gd name="connsiteX29" fmla="*/ 9633 w 10153"/>
                  <a:gd name="connsiteY29" fmla="*/ 1072 h 10000"/>
                  <a:gd name="connsiteX30" fmla="*/ 10000 w 10153"/>
                  <a:gd name="connsiteY30" fmla="*/ 1664 h 10000"/>
                  <a:gd name="connsiteX0" fmla="*/ 10000 w 10153"/>
                  <a:gd name="connsiteY0" fmla="*/ 1664 h 10000"/>
                  <a:gd name="connsiteX1" fmla="*/ 9817 w 10153"/>
                  <a:gd name="connsiteY1" fmla="*/ 2015 h 10000"/>
                  <a:gd name="connsiteX2" fmla="*/ 9847 w 10153"/>
                  <a:gd name="connsiteY2" fmla="*/ 2532 h 10000"/>
                  <a:gd name="connsiteX3" fmla="*/ 10092 w 10153"/>
                  <a:gd name="connsiteY3" fmla="*/ 3465 h 10000"/>
                  <a:gd name="connsiteX4" fmla="*/ 10000 w 10153"/>
                  <a:gd name="connsiteY4" fmla="*/ 4271 h 10000"/>
                  <a:gd name="connsiteX5" fmla="*/ 9829 w 10153"/>
                  <a:gd name="connsiteY5" fmla="*/ 4609 h 10000"/>
                  <a:gd name="connsiteX6" fmla="*/ 9289 w 10153"/>
                  <a:gd name="connsiteY6" fmla="*/ 6186 h 10000"/>
                  <a:gd name="connsiteX7" fmla="*/ 8685 w 10153"/>
                  <a:gd name="connsiteY7" fmla="*/ 7338 h 10000"/>
                  <a:gd name="connsiteX8" fmla="*/ 8532 w 10153"/>
                  <a:gd name="connsiteY8" fmla="*/ 7616 h 10000"/>
                  <a:gd name="connsiteX9" fmla="*/ 8532 w 10153"/>
                  <a:gd name="connsiteY9" fmla="*/ 7893 h 10000"/>
                  <a:gd name="connsiteX10" fmla="*/ 8440 w 10153"/>
                  <a:gd name="connsiteY10" fmla="*/ 8189 h 10000"/>
                  <a:gd name="connsiteX11" fmla="*/ 8440 w 10153"/>
                  <a:gd name="connsiteY11" fmla="*/ 8706 h 10000"/>
                  <a:gd name="connsiteX12" fmla="*/ 8349 w 10153"/>
                  <a:gd name="connsiteY12" fmla="*/ 9445 h 10000"/>
                  <a:gd name="connsiteX13" fmla="*/ 8471 w 10153"/>
                  <a:gd name="connsiteY13" fmla="*/ 9815 h 10000"/>
                  <a:gd name="connsiteX14" fmla="*/ 6300 w 10153"/>
                  <a:gd name="connsiteY14" fmla="*/ 10000 h 10000"/>
                  <a:gd name="connsiteX15" fmla="*/ 6147 w 10153"/>
                  <a:gd name="connsiteY15" fmla="*/ 10000 h 10000"/>
                  <a:gd name="connsiteX16" fmla="*/ 612 w 10153"/>
                  <a:gd name="connsiteY16" fmla="*/ 8965 h 10000"/>
                  <a:gd name="connsiteX17" fmla="*/ 673 w 10153"/>
                  <a:gd name="connsiteY17" fmla="*/ 7357 h 10000"/>
                  <a:gd name="connsiteX18" fmla="*/ 489 w 10153"/>
                  <a:gd name="connsiteY18" fmla="*/ 6155 h 10000"/>
                  <a:gd name="connsiteX19" fmla="*/ 0 w 10153"/>
                  <a:gd name="connsiteY19" fmla="*/ 2458 h 10000"/>
                  <a:gd name="connsiteX20" fmla="*/ 0 w 10153"/>
                  <a:gd name="connsiteY20" fmla="*/ 1386 h 10000"/>
                  <a:gd name="connsiteX21" fmla="*/ 183 w 10153"/>
                  <a:gd name="connsiteY21" fmla="*/ 277 h 10000"/>
                  <a:gd name="connsiteX22" fmla="*/ 183 w 10153"/>
                  <a:gd name="connsiteY22" fmla="*/ 0 h 10000"/>
                  <a:gd name="connsiteX23" fmla="*/ 1284 w 10153"/>
                  <a:gd name="connsiteY23" fmla="*/ 166 h 10000"/>
                  <a:gd name="connsiteX24" fmla="*/ 1682 w 10153"/>
                  <a:gd name="connsiteY24" fmla="*/ 185 h 10000"/>
                  <a:gd name="connsiteX25" fmla="*/ 5260 w 10153"/>
                  <a:gd name="connsiteY25" fmla="*/ 628 h 10000"/>
                  <a:gd name="connsiteX26" fmla="*/ 5872 w 10153"/>
                  <a:gd name="connsiteY26" fmla="*/ 758 h 10000"/>
                  <a:gd name="connsiteX27" fmla="*/ 9541 w 10153"/>
                  <a:gd name="connsiteY27" fmla="*/ 684 h 10000"/>
                  <a:gd name="connsiteX28" fmla="*/ 9633 w 10153"/>
                  <a:gd name="connsiteY28" fmla="*/ 1072 h 10000"/>
                  <a:gd name="connsiteX29" fmla="*/ 10000 w 10153"/>
                  <a:gd name="connsiteY29" fmla="*/ 1664 h 10000"/>
                  <a:gd name="connsiteX0" fmla="*/ 9633 w 10153"/>
                  <a:gd name="connsiteY0" fmla="*/ 1072 h 10000"/>
                  <a:gd name="connsiteX1" fmla="*/ 9817 w 10153"/>
                  <a:gd name="connsiteY1" fmla="*/ 2015 h 10000"/>
                  <a:gd name="connsiteX2" fmla="*/ 9847 w 10153"/>
                  <a:gd name="connsiteY2" fmla="*/ 2532 h 10000"/>
                  <a:gd name="connsiteX3" fmla="*/ 10092 w 10153"/>
                  <a:gd name="connsiteY3" fmla="*/ 3465 h 10000"/>
                  <a:gd name="connsiteX4" fmla="*/ 10000 w 10153"/>
                  <a:gd name="connsiteY4" fmla="*/ 4271 h 10000"/>
                  <a:gd name="connsiteX5" fmla="*/ 9829 w 10153"/>
                  <a:gd name="connsiteY5" fmla="*/ 4609 h 10000"/>
                  <a:gd name="connsiteX6" fmla="*/ 9289 w 10153"/>
                  <a:gd name="connsiteY6" fmla="*/ 6186 h 10000"/>
                  <a:gd name="connsiteX7" fmla="*/ 8685 w 10153"/>
                  <a:gd name="connsiteY7" fmla="*/ 7338 h 10000"/>
                  <a:gd name="connsiteX8" fmla="*/ 8532 w 10153"/>
                  <a:gd name="connsiteY8" fmla="*/ 7616 h 10000"/>
                  <a:gd name="connsiteX9" fmla="*/ 8532 w 10153"/>
                  <a:gd name="connsiteY9" fmla="*/ 7893 h 10000"/>
                  <a:gd name="connsiteX10" fmla="*/ 8440 w 10153"/>
                  <a:gd name="connsiteY10" fmla="*/ 8189 h 10000"/>
                  <a:gd name="connsiteX11" fmla="*/ 8440 w 10153"/>
                  <a:gd name="connsiteY11" fmla="*/ 8706 h 10000"/>
                  <a:gd name="connsiteX12" fmla="*/ 8349 w 10153"/>
                  <a:gd name="connsiteY12" fmla="*/ 9445 h 10000"/>
                  <a:gd name="connsiteX13" fmla="*/ 8471 w 10153"/>
                  <a:gd name="connsiteY13" fmla="*/ 9815 h 10000"/>
                  <a:gd name="connsiteX14" fmla="*/ 6300 w 10153"/>
                  <a:gd name="connsiteY14" fmla="*/ 10000 h 10000"/>
                  <a:gd name="connsiteX15" fmla="*/ 6147 w 10153"/>
                  <a:gd name="connsiteY15" fmla="*/ 10000 h 10000"/>
                  <a:gd name="connsiteX16" fmla="*/ 612 w 10153"/>
                  <a:gd name="connsiteY16" fmla="*/ 8965 h 10000"/>
                  <a:gd name="connsiteX17" fmla="*/ 673 w 10153"/>
                  <a:gd name="connsiteY17" fmla="*/ 7357 h 10000"/>
                  <a:gd name="connsiteX18" fmla="*/ 489 w 10153"/>
                  <a:gd name="connsiteY18" fmla="*/ 6155 h 10000"/>
                  <a:gd name="connsiteX19" fmla="*/ 0 w 10153"/>
                  <a:gd name="connsiteY19" fmla="*/ 2458 h 10000"/>
                  <a:gd name="connsiteX20" fmla="*/ 0 w 10153"/>
                  <a:gd name="connsiteY20" fmla="*/ 1386 h 10000"/>
                  <a:gd name="connsiteX21" fmla="*/ 183 w 10153"/>
                  <a:gd name="connsiteY21" fmla="*/ 277 h 10000"/>
                  <a:gd name="connsiteX22" fmla="*/ 183 w 10153"/>
                  <a:gd name="connsiteY22" fmla="*/ 0 h 10000"/>
                  <a:gd name="connsiteX23" fmla="*/ 1284 w 10153"/>
                  <a:gd name="connsiteY23" fmla="*/ 166 h 10000"/>
                  <a:gd name="connsiteX24" fmla="*/ 1682 w 10153"/>
                  <a:gd name="connsiteY24" fmla="*/ 185 h 10000"/>
                  <a:gd name="connsiteX25" fmla="*/ 5260 w 10153"/>
                  <a:gd name="connsiteY25" fmla="*/ 628 h 10000"/>
                  <a:gd name="connsiteX26" fmla="*/ 5872 w 10153"/>
                  <a:gd name="connsiteY26" fmla="*/ 758 h 10000"/>
                  <a:gd name="connsiteX27" fmla="*/ 9541 w 10153"/>
                  <a:gd name="connsiteY27" fmla="*/ 684 h 10000"/>
                  <a:gd name="connsiteX28" fmla="*/ 9633 w 10153"/>
                  <a:gd name="connsiteY28" fmla="*/ 1072 h 10000"/>
                  <a:gd name="connsiteX0" fmla="*/ 9633 w 10153"/>
                  <a:gd name="connsiteY0" fmla="*/ 1072 h 10000"/>
                  <a:gd name="connsiteX1" fmla="*/ 9817 w 10153"/>
                  <a:gd name="connsiteY1" fmla="*/ 2015 h 10000"/>
                  <a:gd name="connsiteX2" fmla="*/ 9847 w 10153"/>
                  <a:gd name="connsiteY2" fmla="*/ 2532 h 10000"/>
                  <a:gd name="connsiteX3" fmla="*/ 10092 w 10153"/>
                  <a:gd name="connsiteY3" fmla="*/ 3465 h 10000"/>
                  <a:gd name="connsiteX4" fmla="*/ 9829 w 10153"/>
                  <a:gd name="connsiteY4" fmla="*/ 4609 h 10000"/>
                  <a:gd name="connsiteX5" fmla="*/ 9289 w 10153"/>
                  <a:gd name="connsiteY5" fmla="*/ 6186 h 10000"/>
                  <a:gd name="connsiteX6" fmla="*/ 8685 w 10153"/>
                  <a:gd name="connsiteY6" fmla="*/ 7338 h 10000"/>
                  <a:gd name="connsiteX7" fmla="*/ 8532 w 10153"/>
                  <a:gd name="connsiteY7" fmla="*/ 7616 h 10000"/>
                  <a:gd name="connsiteX8" fmla="*/ 8532 w 10153"/>
                  <a:gd name="connsiteY8" fmla="*/ 7893 h 10000"/>
                  <a:gd name="connsiteX9" fmla="*/ 8440 w 10153"/>
                  <a:gd name="connsiteY9" fmla="*/ 8189 h 10000"/>
                  <a:gd name="connsiteX10" fmla="*/ 8440 w 10153"/>
                  <a:gd name="connsiteY10" fmla="*/ 8706 h 10000"/>
                  <a:gd name="connsiteX11" fmla="*/ 8349 w 10153"/>
                  <a:gd name="connsiteY11" fmla="*/ 9445 h 10000"/>
                  <a:gd name="connsiteX12" fmla="*/ 8471 w 10153"/>
                  <a:gd name="connsiteY12" fmla="*/ 9815 h 10000"/>
                  <a:gd name="connsiteX13" fmla="*/ 6300 w 10153"/>
                  <a:gd name="connsiteY13" fmla="*/ 10000 h 10000"/>
                  <a:gd name="connsiteX14" fmla="*/ 6147 w 10153"/>
                  <a:gd name="connsiteY14" fmla="*/ 10000 h 10000"/>
                  <a:gd name="connsiteX15" fmla="*/ 612 w 10153"/>
                  <a:gd name="connsiteY15" fmla="*/ 8965 h 10000"/>
                  <a:gd name="connsiteX16" fmla="*/ 673 w 10153"/>
                  <a:gd name="connsiteY16" fmla="*/ 7357 h 10000"/>
                  <a:gd name="connsiteX17" fmla="*/ 489 w 10153"/>
                  <a:gd name="connsiteY17" fmla="*/ 6155 h 10000"/>
                  <a:gd name="connsiteX18" fmla="*/ 0 w 10153"/>
                  <a:gd name="connsiteY18" fmla="*/ 2458 h 10000"/>
                  <a:gd name="connsiteX19" fmla="*/ 0 w 10153"/>
                  <a:gd name="connsiteY19" fmla="*/ 1386 h 10000"/>
                  <a:gd name="connsiteX20" fmla="*/ 183 w 10153"/>
                  <a:gd name="connsiteY20" fmla="*/ 277 h 10000"/>
                  <a:gd name="connsiteX21" fmla="*/ 183 w 10153"/>
                  <a:gd name="connsiteY21" fmla="*/ 0 h 10000"/>
                  <a:gd name="connsiteX22" fmla="*/ 1284 w 10153"/>
                  <a:gd name="connsiteY22" fmla="*/ 166 h 10000"/>
                  <a:gd name="connsiteX23" fmla="*/ 1682 w 10153"/>
                  <a:gd name="connsiteY23" fmla="*/ 185 h 10000"/>
                  <a:gd name="connsiteX24" fmla="*/ 5260 w 10153"/>
                  <a:gd name="connsiteY24" fmla="*/ 628 h 10000"/>
                  <a:gd name="connsiteX25" fmla="*/ 5872 w 10153"/>
                  <a:gd name="connsiteY25" fmla="*/ 758 h 10000"/>
                  <a:gd name="connsiteX26" fmla="*/ 9541 w 10153"/>
                  <a:gd name="connsiteY26" fmla="*/ 684 h 10000"/>
                  <a:gd name="connsiteX27" fmla="*/ 9633 w 10153"/>
                  <a:gd name="connsiteY27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532 w 10000"/>
                  <a:gd name="connsiteY6" fmla="*/ 7616 h 10000"/>
                  <a:gd name="connsiteX7" fmla="*/ 8532 w 10000"/>
                  <a:gd name="connsiteY7" fmla="*/ 7893 h 10000"/>
                  <a:gd name="connsiteX8" fmla="*/ 8440 w 10000"/>
                  <a:gd name="connsiteY8" fmla="*/ 8189 h 10000"/>
                  <a:gd name="connsiteX9" fmla="*/ 8440 w 10000"/>
                  <a:gd name="connsiteY9" fmla="*/ 8706 h 10000"/>
                  <a:gd name="connsiteX10" fmla="*/ 8349 w 10000"/>
                  <a:gd name="connsiteY10" fmla="*/ 9445 h 10000"/>
                  <a:gd name="connsiteX11" fmla="*/ 8471 w 10000"/>
                  <a:gd name="connsiteY11" fmla="*/ 9815 h 10000"/>
                  <a:gd name="connsiteX12" fmla="*/ 6300 w 10000"/>
                  <a:gd name="connsiteY12" fmla="*/ 10000 h 10000"/>
                  <a:gd name="connsiteX13" fmla="*/ 6147 w 10000"/>
                  <a:gd name="connsiteY13" fmla="*/ 10000 h 10000"/>
                  <a:gd name="connsiteX14" fmla="*/ 612 w 10000"/>
                  <a:gd name="connsiteY14" fmla="*/ 8965 h 10000"/>
                  <a:gd name="connsiteX15" fmla="*/ 673 w 10000"/>
                  <a:gd name="connsiteY15" fmla="*/ 7357 h 10000"/>
                  <a:gd name="connsiteX16" fmla="*/ 489 w 10000"/>
                  <a:gd name="connsiteY16" fmla="*/ 6155 h 10000"/>
                  <a:gd name="connsiteX17" fmla="*/ 0 w 10000"/>
                  <a:gd name="connsiteY17" fmla="*/ 2458 h 10000"/>
                  <a:gd name="connsiteX18" fmla="*/ 0 w 10000"/>
                  <a:gd name="connsiteY18" fmla="*/ 1386 h 10000"/>
                  <a:gd name="connsiteX19" fmla="*/ 183 w 10000"/>
                  <a:gd name="connsiteY19" fmla="*/ 277 h 10000"/>
                  <a:gd name="connsiteX20" fmla="*/ 183 w 10000"/>
                  <a:gd name="connsiteY20" fmla="*/ 0 h 10000"/>
                  <a:gd name="connsiteX21" fmla="*/ 1284 w 10000"/>
                  <a:gd name="connsiteY21" fmla="*/ 166 h 10000"/>
                  <a:gd name="connsiteX22" fmla="*/ 1682 w 10000"/>
                  <a:gd name="connsiteY22" fmla="*/ 185 h 10000"/>
                  <a:gd name="connsiteX23" fmla="*/ 5260 w 10000"/>
                  <a:gd name="connsiteY23" fmla="*/ 628 h 10000"/>
                  <a:gd name="connsiteX24" fmla="*/ 5872 w 10000"/>
                  <a:gd name="connsiteY24" fmla="*/ 758 h 10000"/>
                  <a:gd name="connsiteX25" fmla="*/ 9541 w 10000"/>
                  <a:gd name="connsiteY25" fmla="*/ 684 h 10000"/>
                  <a:gd name="connsiteX26" fmla="*/ 9633 w 10000"/>
                  <a:gd name="connsiteY26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532 w 10000"/>
                  <a:gd name="connsiteY6" fmla="*/ 7893 h 10000"/>
                  <a:gd name="connsiteX7" fmla="*/ 8440 w 10000"/>
                  <a:gd name="connsiteY7" fmla="*/ 8189 h 10000"/>
                  <a:gd name="connsiteX8" fmla="*/ 8440 w 10000"/>
                  <a:gd name="connsiteY8" fmla="*/ 8706 h 10000"/>
                  <a:gd name="connsiteX9" fmla="*/ 8349 w 10000"/>
                  <a:gd name="connsiteY9" fmla="*/ 9445 h 10000"/>
                  <a:gd name="connsiteX10" fmla="*/ 8471 w 10000"/>
                  <a:gd name="connsiteY10" fmla="*/ 9815 h 10000"/>
                  <a:gd name="connsiteX11" fmla="*/ 6300 w 10000"/>
                  <a:gd name="connsiteY11" fmla="*/ 10000 h 10000"/>
                  <a:gd name="connsiteX12" fmla="*/ 6147 w 10000"/>
                  <a:gd name="connsiteY12" fmla="*/ 10000 h 10000"/>
                  <a:gd name="connsiteX13" fmla="*/ 612 w 10000"/>
                  <a:gd name="connsiteY13" fmla="*/ 8965 h 10000"/>
                  <a:gd name="connsiteX14" fmla="*/ 673 w 10000"/>
                  <a:gd name="connsiteY14" fmla="*/ 7357 h 10000"/>
                  <a:gd name="connsiteX15" fmla="*/ 489 w 10000"/>
                  <a:gd name="connsiteY15" fmla="*/ 6155 h 10000"/>
                  <a:gd name="connsiteX16" fmla="*/ 0 w 10000"/>
                  <a:gd name="connsiteY16" fmla="*/ 2458 h 10000"/>
                  <a:gd name="connsiteX17" fmla="*/ 0 w 10000"/>
                  <a:gd name="connsiteY17" fmla="*/ 1386 h 10000"/>
                  <a:gd name="connsiteX18" fmla="*/ 183 w 10000"/>
                  <a:gd name="connsiteY18" fmla="*/ 277 h 10000"/>
                  <a:gd name="connsiteX19" fmla="*/ 183 w 10000"/>
                  <a:gd name="connsiteY19" fmla="*/ 0 h 10000"/>
                  <a:gd name="connsiteX20" fmla="*/ 1284 w 10000"/>
                  <a:gd name="connsiteY20" fmla="*/ 166 h 10000"/>
                  <a:gd name="connsiteX21" fmla="*/ 1682 w 10000"/>
                  <a:gd name="connsiteY21" fmla="*/ 185 h 10000"/>
                  <a:gd name="connsiteX22" fmla="*/ 5260 w 10000"/>
                  <a:gd name="connsiteY22" fmla="*/ 628 h 10000"/>
                  <a:gd name="connsiteX23" fmla="*/ 5872 w 10000"/>
                  <a:gd name="connsiteY23" fmla="*/ 758 h 10000"/>
                  <a:gd name="connsiteX24" fmla="*/ 9541 w 10000"/>
                  <a:gd name="connsiteY24" fmla="*/ 684 h 10000"/>
                  <a:gd name="connsiteX25" fmla="*/ 9633 w 10000"/>
                  <a:gd name="connsiteY25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532 w 10000"/>
                  <a:gd name="connsiteY6" fmla="*/ 7893 h 10000"/>
                  <a:gd name="connsiteX7" fmla="*/ 8440 w 10000"/>
                  <a:gd name="connsiteY7" fmla="*/ 8706 h 10000"/>
                  <a:gd name="connsiteX8" fmla="*/ 8349 w 10000"/>
                  <a:gd name="connsiteY8" fmla="*/ 9445 h 10000"/>
                  <a:gd name="connsiteX9" fmla="*/ 8471 w 10000"/>
                  <a:gd name="connsiteY9" fmla="*/ 9815 h 10000"/>
                  <a:gd name="connsiteX10" fmla="*/ 6300 w 10000"/>
                  <a:gd name="connsiteY10" fmla="*/ 10000 h 10000"/>
                  <a:gd name="connsiteX11" fmla="*/ 6147 w 10000"/>
                  <a:gd name="connsiteY11" fmla="*/ 10000 h 10000"/>
                  <a:gd name="connsiteX12" fmla="*/ 612 w 10000"/>
                  <a:gd name="connsiteY12" fmla="*/ 8965 h 10000"/>
                  <a:gd name="connsiteX13" fmla="*/ 673 w 10000"/>
                  <a:gd name="connsiteY13" fmla="*/ 7357 h 10000"/>
                  <a:gd name="connsiteX14" fmla="*/ 489 w 10000"/>
                  <a:gd name="connsiteY14" fmla="*/ 6155 h 10000"/>
                  <a:gd name="connsiteX15" fmla="*/ 0 w 10000"/>
                  <a:gd name="connsiteY15" fmla="*/ 2458 h 10000"/>
                  <a:gd name="connsiteX16" fmla="*/ 0 w 10000"/>
                  <a:gd name="connsiteY16" fmla="*/ 1386 h 10000"/>
                  <a:gd name="connsiteX17" fmla="*/ 183 w 10000"/>
                  <a:gd name="connsiteY17" fmla="*/ 277 h 10000"/>
                  <a:gd name="connsiteX18" fmla="*/ 183 w 10000"/>
                  <a:gd name="connsiteY18" fmla="*/ 0 h 10000"/>
                  <a:gd name="connsiteX19" fmla="*/ 1284 w 10000"/>
                  <a:gd name="connsiteY19" fmla="*/ 166 h 10000"/>
                  <a:gd name="connsiteX20" fmla="*/ 1682 w 10000"/>
                  <a:gd name="connsiteY20" fmla="*/ 185 h 10000"/>
                  <a:gd name="connsiteX21" fmla="*/ 5260 w 10000"/>
                  <a:gd name="connsiteY21" fmla="*/ 628 h 10000"/>
                  <a:gd name="connsiteX22" fmla="*/ 5872 w 10000"/>
                  <a:gd name="connsiteY22" fmla="*/ 758 h 10000"/>
                  <a:gd name="connsiteX23" fmla="*/ 9541 w 10000"/>
                  <a:gd name="connsiteY23" fmla="*/ 684 h 10000"/>
                  <a:gd name="connsiteX24" fmla="*/ 9633 w 10000"/>
                  <a:gd name="connsiteY24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440 w 10000"/>
                  <a:gd name="connsiteY6" fmla="*/ 8706 h 10000"/>
                  <a:gd name="connsiteX7" fmla="*/ 8349 w 10000"/>
                  <a:gd name="connsiteY7" fmla="*/ 9445 h 10000"/>
                  <a:gd name="connsiteX8" fmla="*/ 8471 w 10000"/>
                  <a:gd name="connsiteY8" fmla="*/ 9815 h 10000"/>
                  <a:gd name="connsiteX9" fmla="*/ 6300 w 10000"/>
                  <a:gd name="connsiteY9" fmla="*/ 10000 h 10000"/>
                  <a:gd name="connsiteX10" fmla="*/ 6147 w 10000"/>
                  <a:gd name="connsiteY10" fmla="*/ 10000 h 10000"/>
                  <a:gd name="connsiteX11" fmla="*/ 612 w 10000"/>
                  <a:gd name="connsiteY11" fmla="*/ 8965 h 10000"/>
                  <a:gd name="connsiteX12" fmla="*/ 673 w 10000"/>
                  <a:gd name="connsiteY12" fmla="*/ 7357 h 10000"/>
                  <a:gd name="connsiteX13" fmla="*/ 489 w 10000"/>
                  <a:gd name="connsiteY13" fmla="*/ 6155 h 10000"/>
                  <a:gd name="connsiteX14" fmla="*/ 0 w 10000"/>
                  <a:gd name="connsiteY14" fmla="*/ 2458 h 10000"/>
                  <a:gd name="connsiteX15" fmla="*/ 0 w 10000"/>
                  <a:gd name="connsiteY15" fmla="*/ 1386 h 10000"/>
                  <a:gd name="connsiteX16" fmla="*/ 183 w 10000"/>
                  <a:gd name="connsiteY16" fmla="*/ 277 h 10000"/>
                  <a:gd name="connsiteX17" fmla="*/ 183 w 10000"/>
                  <a:gd name="connsiteY17" fmla="*/ 0 h 10000"/>
                  <a:gd name="connsiteX18" fmla="*/ 1284 w 10000"/>
                  <a:gd name="connsiteY18" fmla="*/ 166 h 10000"/>
                  <a:gd name="connsiteX19" fmla="*/ 1682 w 10000"/>
                  <a:gd name="connsiteY19" fmla="*/ 185 h 10000"/>
                  <a:gd name="connsiteX20" fmla="*/ 5260 w 10000"/>
                  <a:gd name="connsiteY20" fmla="*/ 628 h 10000"/>
                  <a:gd name="connsiteX21" fmla="*/ 5872 w 10000"/>
                  <a:gd name="connsiteY21" fmla="*/ 758 h 10000"/>
                  <a:gd name="connsiteX22" fmla="*/ 9541 w 10000"/>
                  <a:gd name="connsiteY22" fmla="*/ 684 h 10000"/>
                  <a:gd name="connsiteX23" fmla="*/ 9633 w 10000"/>
                  <a:gd name="connsiteY23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349 w 10000"/>
                  <a:gd name="connsiteY6" fmla="*/ 9445 h 10000"/>
                  <a:gd name="connsiteX7" fmla="*/ 8471 w 10000"/>
                  <a:gd name="connsiteY7" fmla="*/ 9815 h 10000"/>
                  <a:gd name="connsiteX8" fmla="*/ 6300 w 10000"/>
                  <a:gd name="connsiteY8" fmla="*/ 10000 h 10000"/>
                  <a:gd name="connsiteX9" fmla="*/ 6147 w 10000"/>
                  <a:gd name="connsiteY9" fmla="*/ 10000 h 10000"/>
                  <a:gd name="connsiteX10" fmla="*/ 612 w 10000"/>
                  <a:gd name="connsiteY10" fmla="*/ 8965 h 10000"/>
                  <a:gd name="connsiteX11" fmla="*/ 673 w 10000"/>
                  <a:gd name="connsiteY11" fmla="*/ 7357 h 10000"/>
                  <a:gd name="connsiteX12" fmla="*/ 489 w 10000"/>
                  <a:gd name="connsiteY12" fmla="*/ 6155 h 10000"/>
                  <a:gd name="connsiteX13" fmla="*/ 0 w 10000"/>
                  <a:gd name="connsiteY13" fmla="*/ 2458 h 10000"/>
                  <a:gd name="connsiteX14" fmla="*/ 0 w 10000"/>
                  <a:gd name="connsiteY14" fmla="*/ 1386 h 10000"/>
                  <a:gd name="connsiteX15" fmla="*/ 183 w 10000"/>
                  <a:gd name="connsiteY15" fmla="*/ 277 h 10000"/>
                  <a:gd name="connsiteX16" fmla="*/ 183 w 10000"/>
                  <a:gd name="connsiteY16" fmla="*/ 0 h 10000"/>
                  <a:gd name="connsiteX17" fmla="*/ 1284 w 10000"/>
                  <a:gd name="connsiteY17" fmla="*/ 166 h 10000"/>
                  <a:gd name="connsiteX18" fmla="*/ 1682 w 10000"/>
                  <a:gd name="connsiteY18" fmla="*/ 185 h 10000"/>
                  <a:gd name="connsiteX19" fmla="*/ 5260 w 10000"/>
                  <a:gd name="connsiteY19" fmla="*/ 628 h 10000"/>
                  <a:gd name="connsiteX20" fmla="*/ 5872 w 10000"/>
                  <a:gd name="connsiteY20" fmla="*/ 758 h 10000"/>
                  <a:gd name="connsiteX21" fmla="*/ 9541 w 10000"/>
                  <a:gd name="connsiteY21" fmla="*/ 684 h 10000"/>
                  <a:gd name="connsiteX22" fmla="*/ 9633 w 10000"/>
                  <a:gd name="connsiteY22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685 w 10000"/>
                  <a:gd name="connsiteY5" fmla="*/ 7338 h 10000"/>
                  <a:gd name="connsiteX6" fmla="*/ 8471 w 10000"/>
                  <a:gd name="connsiteY6" fmla="*/ 9815 h 10000"/>
                  <a:gd name="connsiteX7" fmla="*/ 6300 w 10000"/>
                  <a:gd name="connsiteY7" fmla="*/ 10000 h 10000"/>
                  <a:gd name="connsiteX8" fmla="*/ 6147 w 10000"/>
                  <a:gd name="connsiteY8" fmla="*/ 10000 h 10000"/>
                  <a:gd name="connsiteX9" fmla="*/ 612 w 10000"/>
                  <a:gd name="connsiteY9" fmla="*/ 8965 h 10000"/>
                  <a:gd name="connsiteX10" fmla="*/ 673 w 10000"/>
                  <a:gd name="connsiteY10" fmla="*/ 7357 h 10000"/>
                  <a:gd name="connsiteX11" fmla="*/ 489 w 10000"/>
                  <a:gd name="connsiteY11" fmla="*/ 6155 h 10000"/>
                  <a:gd name="connsiteX12" fmla="*/ 0 w 10000"/>
                  <a:gd name="connsiteY12" fmla="*/ 2458 h 10000"/>
                  <a:gd name="connsiteX13" fmla="*/ 0 w 10000"/>
                  <a:gd name="connsiteY13" fmla="*/ 1386 h 10000"/>
                  <a:gd name="connsiteX14" fmla="*/ 183 w 10000"/>
                  <a:gd name="connsiteY14" fmla="*/ 277 h 10000"/>
                  <a:gd name="connsiteX15" fmla="*/ 183 w 10000"/>
                  <a:gd name="connsiteY15" fmla="*/ 0 h 10000"/>
                  <a:gd name="connsiteX16" fmla="*/ 1284 w 10000"/>
                  <a:gd name="connsiteY16" fmla="*/ 166 h 10000"/>
                  <a:gd name="connsiteX17" fmla="*/ 1682 w 10000"/>
                  <a:gd name="connsiteY17" fmla="*/ 185 h 10000"/>
                  <a:gd name="connsiteX18" fmla="*/ 5260 w 10000"/>
                  <a:gd name="connsiteY18" fmla="*/ 628 h 10000"/>
                  <a:gd name="connsiteX19" fmla="*/ 5872 w 10000"/>
                  <a:gd name="connsiteY19" fmla="*/ 758 h 10000"/>
                  <a:gd name="connsiteX20" fmla="*/ 9541 w 10000"/>
                  <a:gd name="connsiteY20" fmla="*/ 684 h 10000"/>
                  <a:gd name="connsiteX21" fmla="*/ 9633 w 10000"/>
                  <a:gd name="connsiteY21" fmla="*/ 1072 h 10000"/>
                  <a:gd name="connsiteX0" fmla="*/ 9633 w 10000"/>
                  <a:gd name="connsiteY0" fmla="*/ 1072 h 10000"/>
                  <a:gd name="connsiteX1" fmla="*/ 9817 w 10000"/>
                  <a:gd name="connsiteY1" fmla="*/ 2015 h 10000"/>
                  <a:gd name="connsiteX2" fmla="*/ 9847 w 10000"/>
                  <a:gd name="connsiteY2" fmla="*/ 2532 h 10000"/>
                  <a:gd name="connsiteX3" fmla="*/ 9829 w 10000"/>
                  <a:gd name="connsiteY3" fmla="*/ 4609 h 10000"/>
                  <a:gd name="connsiteX4" fmla="*/ 9289 w 10000"/>
                  <a:gd name="connsiteY4" fmla="*/ 6186 h 10000"/>
                  <a:gd name="connsiteX5" fmla="*/ 8471 w 10000"/>
                  <a:gd name="connsiteY5" fmla="*/ 9815 h 10000"/>
                  <a:gd name="connsiteX6" fmla="*/ 6300 w 10000"/>
                  <a:gd name="connsiteY6" fmla="*/ 10000 h 10000"/>
                  <a:gd name="connsiteX7" fmla="*/ 6147 w 10000"/>
                  <a:gd name="connsiteY7" fmla="*/ 10000 h 10000"/>
                  <a:gd name="connsiteX8" fmla="*/ 612 w 10000"/>
                  <a:gd name="connsiteY8" fmla="*/ 8965 h 10000"/>
                  <a:gd name="connsiteX9" fmla="*/ 673 w 10000"/>
                  <a:gd name="connsiteY9" fmla="*/ 7357 h 10000"/>
                  <a:gd name="connsiteX10" fmla="*/ 489 w 10000"/>
                  <a:gd name="connsiteY10" fmla="*/ 6155 h 10000"/>
                  <a:gd name="connsiteX11" fmla="*/ 0 w 10000"/>
                  <a:gd name="connsiteY11" fmla="*/ 2458 h 10000"/>
                  <a:gd name="connsiteX12" fmla="*/ 0 w 10000"/>
                  <a:gd name="connsiteY12" fmla="*/ 1386 h 10000"/>
                  <a:gd name="connsiteX13" fmla="*/ 183 w 10000"/>
                  <a:gd name="connsiteY13" fmla="*/ 277 h 10000"/>
                  <a:gd name="connsiteX14" fmla="*/ 183 w 10000"/>
                  <a:gd name="connsiteY14" fmla="*/ 0 h 10000"/>
                  <a:gd name="connsiteX15" fmla="*/ 1284 w 10000"/>
                  <a:gd name="connsiteY15" fmla="*/ 166 h 10000"/>
                  <a:gd name="connsiteX16" fmla="*/ 1682 w 10000"/>
                  <a:gd name="connsiteY16" fmla="*/ 185 h 10000"/>
                  <a:gd name="connsiteX17" fmla="*/ 5260 w 10000"/>
                  <a:gd name="connsiteY17" fmla="*/ 628 h 10000"/>
                  <a:gd name="connsiteX18" fmla="*/ 5872 w 10000"/>
                  <a:gd name="connsiteY18" fmla="*/ 758 h 10000"/>
                  <a:gd name="connsiteX19" fmla="*/ 9541 w 10000"/>
                  <a:gd name="connsiteY19" fmla="*/ 684 h 10000"/>
                  <a:gd name="connsiteX20" fmla="*/ 9633 w 10000"/>
                  <a:gd name="connsiteY20" fmla="*/ 107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000" h="10000">
                    <a:moveTo>
                      <a:pt x="9633" y="1072"/>
                    </a:moveTo>
                    <a:cubicBezTo>
                      <a:pt x="9679" y="1294"/>
                      <a:pt x="9781" y="1772"/>
                      <a:pt x="9817" y="2015"/>
                    </a:cubicBezTo>
                    <a:cubicBezTo>
                      <a:pt x="10000" y="2181"/>
                      <a:pt x="9878" y="2348"/>
                      <a:pt x="9847" y="2532"/>
                    </a:cubicBezTo>
                    <a:cubicBezTo>
                      <a:pt x="9849" y="2964"/>
                      <a:pt x="9922" y="4000"/>
                      <a:pt x="9829" y="4609"/>
                    </a:cubicBezTo>
                    <a:cubicBezTo>
                      <a:pt x="9712" y="4738"/>
                      <a:pt x="9712" y="5444"/>
                      <a:pt x="9289" y="6186"/>
                    </a:cubicBezTo>
                    <a:cubicBezTo>
                      <a:pt x="9063" y="7054"/>
                      <a:pt x="8969" y="9179"/>
                      <a:pt x="8471" y="9815"/>
                    </a:cubicBezTo>
                    <a:cubicBezTo>
                      <a:pt x="7859" y="9926"/>
                      <a:pt x="7034" y="9945"/>
                      <a:pt x="6300" y="10000"/>
                    </a:cubicBezTo>
                    <a:lnTo>
                      <a:pt x="6147" y="10000"/>
                    </a:lnTo>
                    <a:cubicBezTo>
                      <a:pt x="3976" y="9871"/>
                      <a:pt x="1804" y="9519"/>
                      <a:pt x="612" y="8965"/>
                    </a:cubicBezTo>
                    <a:cubicBezTo>
                      <a:pt x="765" y="8447"/>
                      <a:pt x="673" y="7911"/>
                      <a:pt x="673" y="7357"/>
                    </a:cubicBezTo>
                    <a:cubicBezTo>
                      <a:pt x="673" y="6950"/>
                      <a:pt x="581" y="6543"/>
                      <a:pt x="489" y="6155"/>
                    </a:cubicBezTo>
                    <a:cubicBezTo>
                      <a:pt x="153" y="4436"/>
                      <a:pt x="153" y="3715"/>
                      <a:pt x="0" y="2458"/>
                    </a:cubicBezTo>
                    <a:lnTo>
                      <a:pt x="0" y="1386"/>
                    </a:lnTo>
                    <a:cubicBezTo>
                      <a:pt x="92" y="1072"/>
                      <a:pt x="122" y="610"/>
                      <a:pt x="183" y="277"/>
                    </a:cubicBezTo>
                    <a:cubicBezTo>
                      <a:pt x="183" y="166"/>
                      <a:pt x="31" y="55"/>
                      <a:pt x="183" y="0"/>
                    </a:cubicBezTo>
                    <a:cubicBezTo>
                      <a:pt x="520" y="0"/>
                      <a:pt x="948" y="111"/>
                      <a:pt x="1284" y="166"/>
                    </a:cubicBezTo>
                    <a:cubicBezTo>
                      <a:pt x="1407" y="185"/>
                      <a:pt x="1529" y="166"/>
                      <a:pt x="1682" y="185"/>
                    </a:cubicBezTo>
                    <a:cubicBezTo>
                      <a:pt x="2905" y="333"/>
                      <a:pt x="3884" y="721"/>
                      <a:pt x="5260" y="628"/>
                    </a:cubicBezTo>
                    <a:cubicBezTo>
                      <a:pt x="5413" y="684"/>
                      <a:pt x="5627" y="739"/>
                      <a:pt x="5872" y="758"/>
                    </a:cubicBezTo>
                    <a:cubicBezTo>
                      <a:pt x="6972" y="869"/>
                      <a:pt x="8685" y="813"/>
                      <a:pt x="9541" y="684"/>
                    </a:cubicBezTo>
                    <a:cubicBezTo>
                      <a:pt x="9602" y="813"/>
                      <a:pt x="9633" y="943"/>
                      <a:pt x="9633" y="1072"/>
                    </a:cubicBezTo>
                    <a:close/>
                  </a:path>
                </a:pathLst>
              </a:custGeom>
              <a:solidFill>
                <a:srgbClr val="3F3B3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5" name="Freeform 51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10270450" y="2364638"/>
                <a:ext cx="1039593" cy="1324121"/>
              </a:xfrm>
              <a:custGeom>
                <a:avLst/>
                <a:gdLst/>
                <a:ahLst/>
                <a:cxnLst>
                  <a:cxn ang="0">
                    <a:pos x="310" y="15"/>
                  </a:cxn>
                  <a:cxn ang="0">
                    <a:pos x="301" y="0"/>
                  </a:cxn>
                  <a:cxn ang="0">
                    <a:pos x="299" y="9"/>
                  </a:cxn>
                  <a:cxn ang="0">
                    <a:pos x="309" y="28"/>
                  </a:cxn>
                  <a:cxn ang="0">
                    <a:pos x="337" y="45"/>
                  </a:cxn>
                  <a:cxn ang="0">
                    <a:pos x="335" y="35"/>
                  </a:cxn>
                  <a:cxn ang="0">
                    <a:pos x="345" y="61"/>
                  </a:cxn>
                  <a:cxn ang="0">
                    <a:pos x="345" y="61"/>
                  </a:cxn>
                  <a:cxn ang="0">
                    <a:pos x="446" y="135"/>
                  </a:cxn>
                  <a:cxn ang="0">
                    <a:pos x="409" y="77"/>
                  </a:cxn>
                  <a:cxn ang="0">
                    <a:pos x="366" y="52"/>
                  </a:cxn>
                  <a:cxn ang="0">
                    <a:pos x="361" y="64"/>
                  </a:cxn>
                  <a:cxn ang="0">
                    <a:pos x="336" y="81"/>
                  </a:cxn>
                  <a:cxn ang="0">
                    <a:pos x="303" y="28"/>
                  </a:cxn>
                  <a:cxn ang="0">
                    <a:pos x="247" y="59"/>
                  </a:cxn>
                  <a:cxn ang="0">
                    <a:pos x="208" y="129"/>
                  </a:cxn>
                  <a:cxn ang="0">
                    <a:pos x="166" y="196"/>
                  </a:cxn>
                  <a:cxn ang="0">
                    <a:pos x="153" y="45"/>
                  </a:cxn>
                  <a:cxn ang="0">
                    <a:pos x="170" y="5"/>
                  </a:cxn>
                  <a:cxn ang="0">
                    <a:pos x="129" y="39"/>
                  </a:cxn>
                  <a:cxn ang="0">
                    <a:pos x="132" y="45"/>
                  </a:cxn>
                  <a:cxn ang="0">
                    <a:pos x="87" y="65"/>
                  </a:cxn>
                  <a:cxn ang="0">
                    <a:pos x="24" y="112"/>
                  </a:cxn>
                  <a:cxn ang="0">
                    <a:pos x="9" y="163"/>
                  </a:cxn>
                  <a:cxn ang="0">
                    <a:pos x="69" y="221"/>
                  </a:cxn>
                  <a:cxn ang="0">
                    <a:pos x="71" y="232"/>
                  </a:cxn>
                  <a:cxn ang="0">
                    <a:pos x="61" y="333"/>
                  </a:cxn>
                  <a:cxn ang="0">
                    <a:pos x="56" y="366"/>
                  </a:cxn>
                  <a:cxn ang="0">
                    <a:pos x="40" y="406"/>
                  </a:cxn>
                  <a:cxn ang="0">
                    <a:pos x="10" y="487"/>
                  </a:cxn>
                  <a:cxn ang="0">
                    <a:pos x="3" y="535"/>
                  </a:cxn>
                  <a:cxn ang="0">
                    <a:pos x="71" y="551"/>
                  </a:cxn>
                  <a:cxn ang="0">
                    <a:pos x="129" y="569"/>
                  </a:cxn>
                  <a:cxn ang="0">
                    <a:pos x="181" y="576"/>
                  </a:cxn>
                  <a:cxn ang="0">
                    <a:pos x="310" y="573"/>
                  </a:cxn>
                  <a:cxn ang="0">
                    <a:pos x="316" y="553"/>
                  </a:cxn>
                  <a:cxn ang="0">
                    <a:pos x="305" y="492"/>
                  </a:cxn>
                  <a:cxn ang="0">
                    <a:pos x="301" y="441"/>
                  </a:cxn>
                  <a:cxn ang="0">
                    <a:pos x="313" y="389"/>
                  </a:cxn>
                  <a:cxn ang="0">
                    <a:pos x="324" y="350"/>
                  </a:cxn>
                  <a:cxn ang="0">
                    <a:pos x="344" y="307"/>
                  </a:cxn>
                  <a:cxn ang="0">
                    <a:pos x="358" y="288"/>
                  </a:cxn>
                  <a:cxn ang="0">
                    <a:pos x="355" y="223"/>
                  </a:cxn>
                  <a:cxn ang="0">
                    <a:pos x="452" y="210"/>
                  </a:cxn>
                </a:cxnLst>
                <a:rect l="0" t="0" r="r" b="b"/>
                <a:pathLst>
                  <a:path w="457" h="582">
                    <a:moveTo>
                      <a:pt x="299" y="9"/>
                    </a:moveTo>
                    <a:cubicBezTo>
                      <a:pt x="304" y="10"/>
                      <a:pt x="306" y="13"/>
                      <a:pt x="310" y="15"/>
                    </a:cubicBezTo>
                    <a:cubicBezTo>
                      <a:pt x="310" y="7"/>
                      <a:pt x="306" y="4"/>
                      <a:pt x="304" y="0"/>
                    </a:cubicBezTo>
                    <a:cubicBezTo>
                      <a:pt x="301" y="0"/>
                      <a:pt x="301" y="0"/>
                      <a:pt x="301" y="0"/>
                    </a:cubicBezTo>
                    <a:cubicBezTo>
                      <a:pt x="302" y="3"/>
                      <a:pt x="298" y="2"/>
                      <a:pt x="298" y="4"/>
                    </a:cubicBezTo>
                    <a:cubicBezTo>
                      <a:pt x="300" y="4"/>
                      <a:pt x="299" y="7"/>
                      <a:pt x="299" y="9"/>
                    </a:cubicBezTo>
                    <a:close/>
                    <a:moveTo>
                      <a:pt x="323" y="46"/>
                    </a:moveTo>
                    <a:cubicBezTo>
                      <a:pt x="320" y="38"/>
                      <a:pt x="318" y="30"/>
                      <a:pt x="309" y="28"/>
                    </a:cubicBezTo>
                    <a:cubicBezTo>
                      <a:pt x="311" y="34"/>
                      <a:pt x="317" y="41"/>
                      <a:pt x="323" y="46"/>
                    </a:cubicBezTo>
                    <a:close/>
                    <a:moveTo>
                      <a:pt x="337" y="45"/>
                    </a:moveTo>
                    <a:cubicBezTo>
                      <a:pt x="340" y="49"/>
                      <a:pt x="352" y="60"/>
                      <a:pt x="358" y="51"/>
                    </a:cubicBezTo>
                    <a:cubicBezTo>
                      <a:pt x="345" y="51"/>
                      <a:pt x="344" y="34"/>
                      <a:pt x="335" y="35"/>
                    </a:cubicBezTo>
                    <a:cubicBezTo>
                      <a:pt x="334" y="40"/>
                      <a:pt x="344" y="41"/>
                      <a:pt x="337" y="45"/>
                    </a:cubicBezTo>
                    <a:close/>
                    <a:moveTo>
                      <a:pt x="345" y="61"/>
                    </a:moveTo>
                    <a:cubicBezTo>
                      <a:pt x="342" y="57"/>
                      <a:pt x="335" y="45"/>
                      <a:pt x="329" y="52"/>
                    </a:cubicBezTo>
                    <a:cubicBezTo>
                      <a:pt x="332" y="57"/>
                      <a:pt x="338" y="60"/>
                      <a:pt x="345" y="61"/>
                    </a:cubicBezTo>
                    <a:close/>
                    <a:moveTo>
                      <a:pt x="449" y="190"/>
                    </a:moveTo>
                    <a:cubicBezTo>
                      <a:pt x="454" y="174"/>
                      <a:pt x="447" y="156"/>
                      <a:pt x="446" y="135"/>
                    </a:cubicBezTo>
                    <a:cubicBezTo>
                      <a:pt x="445" y="123"/>
                      <a:pt x="447" y="107"/>
                      <a:pt x="443" y="99"/>
                    </a:cubicBezTo>
                    <a:cubicBezTo>
                      <a:pt x="439" y="88"/>
                      <a:pt x="420" y="82"/>
                      <a:pt x="409" y="77"/>
                    </a:cubicBezTo>
                    <a:cubicBezTo>
                      <a:pt x="396" y="71"/>
                      <a:pt x="386" y="65"/>
                      <a:pt x="373" y="60"/>
                    </a:cubicBezTo>
                    <a:cubicBezTo>
                      <a:pt x="371" y="58"/>
                      <a:pt x="369" y="53"/>
                      <a:pt x="366" y="52"/>
                    </a:cubicBezTo>
                    <a:cubicBezTo>
                      <a:pt x="363" y="57"/>
                      <a:pt x="354" y="56"/>
                      <a:pt x="347" y="58"/>
                    </a:cubicBezTo>
                    <a:cubicBezTo>
                      <a:pt x="346" y="66"/>
                      <a:pt x="358" y="60"/>
                      <a:pt x="361" y="64"/>
                    </a:cubicBezTo>
                    <a:cubicBezTo>
                      <a:pt x="350" y="64"/>
                      <a:pt x="339" y="64"/>
                      <a:pt x="333" y="59"/>
                    </a:cubicBezTo>
                    <a:cubicBezTo>
                      <a:pt x="331" y="69"/>
                      <a:pt x="336" y="72"/>
                      <a:pt x="336" y="81"/>
                    </a:cubicBezTo>
                    <a:cubicBezTo>
                      <a:pt x="330" y="75"/>
                      <a:pt x="328" y="66"/>
                      <a:pt x="327" y="55"/>
                    </a:cubicBezTo>
                    <a:cubicBezTo>
                      <a:pt x="318" y="47"/>
                      <a:pt x="308" y="40"/>
                      <a:pt x="303" y="28"/>
                    </a:cubicBezTo>
                    <a:cubicBezTo>
                      <a:pt x="300" y="21"/>
                      <a:pt x="299" y="13"/>
                      <a:pt x="293" y="7"/>
                    </a:cubicBezTo>
                    <a:cubicBezTo>
                      <a:pt x="282" y="28"/>
                      <a:pt x="274" y="53"/>
                      <a:pt x="247" y="59"/>
                    </a:cubicBezTo>
                    <a:cubicBezTo>
                      <a:pt x="237" y="68"/>
                      <a:pt x="234" y="82"/>
                      <a:pt x="228" y="94"/>
                    </a:cubicBezTo>
                    <a:cubicBezTo>
                      <a:pt x="222" y="106"/>
                      <a:pt x="214" y="117"/>
                      <a:pt x="208" y="129"/>
                    </a:cubicBezTo>
                    <a:cubicBezTo>
                      <a:pt x="198" y="147"/>
                      <a:pt x="187" y="163"/>
                      <a:pt x="177" y="179"/>
                    </a:cubicBezTo>
                    <a:cubicBezTo>
                      <a:pt x="173" y="184"/>
                      <a:pt x="172" y="192"/>
                      <a:pt x="166" y="196"/>
                    </a:cubicBezTo>
                    <a:cubicBezTo>
                      <a:pt x="179" y="155"/>
                      <a:pt x="172" y="104"/>
                      <a:pt x="175" y="55"/>
                    </a:cubicBezTo>
                    <a:cubicBezTo>
                      <a:pt x="164" y="59"/>
                      <a:pt x="158" y="51"/>
                      <a:pt x="153" y="45"/>
                    </a:cubicBezTo>
                    <a:cubicBezTo>
                      <a:pt x="159" y="46"/>
                      <a:pt x="161" y="52"/>
                      <a:pt x="170" y="51"/>
                    </a:cubicBezTo>
                    <a:cubicBezTo>
                      <a:pt x="182" y="45"/>
                      <a:pt x="185" y="8"/>
                      <a:pt x="170" y="5"/>
                    </a:cubicBezTo>
                    <a:cubicBezTo>
                      <a:pt x="160" y="3"/>
                      <a:pt x="160" y="12"/>
                      <a:pt x="151" y="15"/>
                    </a:cubicBezTo>
                    <a:cubicBezTo>
                      <a:pt x="144" y="25"/>
                      <a:pt x="131" y="37"/>
                      <a:pt x="129" y="39"/>
                    </a:cubicBezTo>
                    <a:cubicBezTo>
                      <a:pt x="126" y="40"/>
                      <a:pt x="124" y="41"/>
                      <a:pt x="123" y="43"/>
                    </a:cubicBezTo>
                    <a:cubicBezTo>
                      <a:pt x="124" y="47"/>
                      <a:pt x="129" y="41"/>
                      <a:pt x="132" y="45"/>
                    </a:cubicBezTo>
                    <a:cubicBezTo>
                      <a:pt x="127" y="51"/>
                      <a:pt x="118" y="53"/>
                      <a:pt x="111" y="57"/>
                    </a:cubicBezTo>
                    <a:cubicBezTo>
                      <a:pt x="103" y="60"/>
                      <a:pt x="94" y="63"/>
                      <a:pt x="87" y="65"/>
                    </a:cubicBezTo>
                    <a:cubicBezTo>
                      <a:pt x="80" y="67"/>
                      <a:pt x="73" y="66"/>
                      <a:pt x="67" y="67"/>
                    </a:cubicBezTo>
                    <a:cubicBezTo>
                      <a:pt x="41" y="71"/>
                      <a:pt x="36" y="90"/>
                      <a:pt x="24" y="112"/>
                    </a:cubicBezTo>
                    <a:cubicBezTo>
                      <a:pt x="14" y="131"/>
                      <a:pt x="7" y="145"/>
                      <a:pt x="0" y="164"/>
                    </a:cubicBezTo>
                    <a:cubicBezTo>
                      <a:pt x="5" y="165"/>
                      <a:pt x="5" y="163"/>
                      <a:pt x="9" y="163"/>
                    </a:cubicBezTo>
                    <a:cubicBezTo>
                      <a:pt x="25" y="169"/>
                      <a:pt x="39" y="178"/>
                      <a:pt x="49" y="190"/>
                    </a:cubicBezTo>
                    <a:cubicBezTo>
                      <a:pt x="52" y="204"/>
                      <a:pt x="64" y="209"/>
                      <a:pt x="69" y="221"/>
                    </a:cubicBezTo>
                    <a:cubicBezTo>
                      <a:pt x="68" y="224"/>
                      <a:pt x="67" y="228"/>
                      <a:pt x="66" y="230"/>
                    </a:cubicBezTo>
                    <a:cubicBezTo>
                      <a:pt x="69" y="230"/>
                      <a:pt x="71" y="230"/>
                      <a:pt x="71" y="232"/>
                    </a:cubicBezTo>
                    <a:cubicBezTo>
                      <a:pt x="62" y="251"/>
                      <a:pt x="64" y="271"/>
                      <a:pt x="64" y="297"/>
                    </a:cubicBezTo>
                    <a:cubicBezTo>
                      <a:pt x="64" y="307"/>
                      <a:pt x="60" y="323"/>
                      <a:pt x="61" y="333"/>
                    </a:cubicBezTo>
                    <a:cubicBezTo>
                      <a:pt x="62" y="336"/>
                      <a:pt x="64" y="340"/>
                      <a:pt x="64" y="343"/>
                    </a:cubicBezTo>
                    <a:cubicBezTo>
                      <a:pt x="64" y="351"/>
                      <a:pt x="59" y="359"/>
                      <a:pt x="56" y="366"/>
                    </a:cubicBezTo>
                    <a:cubicBezTo>
                      <a:pt x="53" y="373"/>
                      <a:pt x="48" y="378"/>
                      <a:pt x="46" y="385"/>
                    </a:cubicBezTo>
                    <a:cubicBezTo>
                      <a:pt x="44" y="392"/>
                      <a:pt x="42" y="399"/>
                      <a:pt x="40" y="406"/>
                    </a:cubicBezTo>
                    <a:cubicBezTo>
                      <a:pt x="36" y="416"/>
                      <a:pt x="28" y="429"/>
                      <a:pt x="23" y="438"/>
                    </a:cubicBezTo>
                    <a:cubicBezTo>
                      <a:pt x="16" y="452"/>
                      <a:pt x="15" y="469"/>
                      <a:pt x="10" y="487"/>
                    </a:cubicBezTo>
                    <a:cubicBezTo>
                      <a:pt x="7" y="499"/>
                      <a:pt x="0" y="510"/>
                      <a:pt x="1" y="529"/>
                    </a:cubicBezTo>
                    <a:cubicBezTo>
                      <a:pt x="2" y="532"/>
                      <a:pt x="1" y="531"/>
                      <a:pt x="3" y="535"/>
                    </a:cubicBezTo>
                    <a:cubicBezTo>
                      <a:pt x="15" y="535"/>
                      <a:pt x="26" y="542"/>
                      <a:pt x="39" y="544"/>
                    </a:cubicBezTo>
                    <a:cubicBezTo>
                      <a:pt x="51" y="546"/>
                      <a:pt x="59" y="548"/>
                      <a:pt x="71" y="551"/>
                    </a:cubicBezTo>
                    <a:cubicBezTo>
                      <a:pt x="79" y="553"/>
                      <a:pt x="89" y="554"/>
                      <a:pt x="96" y="557"/>
                    </a:cubicBezTo>
                    <a:cubicBezTo>
                      <a:pt x="107" y="561"/>
                      <a:pt x="117" y="567"/>
                      <a:pt x="129" y="569"/>
                    </a:cubicBezTo>
                    <a:cubicBezTo>
                      <a:pt x="141" y="571"/>
                      <a:pt x="155" y="568"/>
                      <a:pt x="168" y="570"/>
                    </a:cubicBezTo>
                    <a:cubicBezTo>
                      <a:pt x="173" y="571"/>
                      <a:pt x="177" y="575"/>
                      <a:pt x="181" y="576"/>
                    </a:cubicBezTo>
                    <a:cubicBezTo>
                      <a:pt x="190" y="579"/>
                      <a:pt x="201" y="579"/>
                      <a:pt x="210" y="580"/>
                    </a:cubicBezTo>
                    <a:cubicBezTo>
                      <a:pt x="247" y="582"/>
                      <a:pt x="279" y="582"/>
                      <a:pt x="310" y="573"/>
                    </a:cubicBezTo>
                    <a:cubicBezTo>
                      <a:pt x="309" y="567"/>
                      <a:pt x="313" y="568"/>
                      <a:pt x="315" y="566"/>
                    </a:cubicBezTo>
                    <a:cubicBezTo>
                      <a:pt x="312" y="561"/>
                      <a:pt x="316" y="557"/>
                      <a:pt x="316" y="553"/>
                    </a:cubicBezTo>
                    <a:cubicBezTo>
                      <a:pt x="315" y="539"/>
                      <a:pt x="306" y="526"/>
                      <a:pt x="305" y="511"/>
                    </a:cubicBezTo>
                    <a:cubicBezTo>
                      <a:pt x="304" y="505"/>
                      <a:pt x="306" y="499"/>
                      <a:pt x="305" y="492"/>
                    </a:cubicBezTo>
                    <a:cubicBezTo>
                      <a:pt x="305" y="489"/>
                      <a:pt x="302" y="485"/>
                      <a:pt x="301" y="481"/>
                    </a:cubicBezTo>
                    <a:cubicBezTo>
                      <a:pt x="300" y="468"/>
                      <a:pt x="303" y="455"/>
                      <a:pt x="301" y="441"/>
                    </a:cubicBezTo>
                    <a:cubicBezTo>
                      <a:pt x="306" y="435"/>
                      <a:pt x="312" y="432"/>
                      <a:pt x="315" y="425"/>
                    </a:cubicBezTo>
                    <a:cubicBezTo>
                      <a:pt x="318" y="410"/>
                      <a:pt x="312" y="400"/>
                      <a:pt x="313" y="389"/>
                    </a:cubicBezTo>
                    <a:cubicBezTo>
                      <a:pt x="314" y="381"/>
                      <a:pt x="319" y="376"/>
                      <a:pt x="322" y="367"/>
                    </a:cubicBezTo>
                    <a:cubicBezTo>
                      <a:pt x="324" y="362"/>
                      <a:pt x="323" y="357"/>
                      <a:pt x="324" y="350"/>
                    </a:cubicBezTo>
                    <a:cubicBezTo>
                      <a:pt x="326" y="346"/>
                      <a:pt x="330" y="343"/>
                      <a:pt x="333" y="335"/>
                    </a:cubicBezTo>
                    <a:cubicBezTo>
                      <a:pt x="337" y="322"/>
                      <a:pt x="341" y="314"/>
                      <a:pt x="344" y="307"/>
                    </a:cubicBezTo>
                    <a:cubicBezTo>
                      <a:pt x="346" y="304"/>
                      <a:pt x="346" y="304"/>
                      <a:pt x="347" y="301"/>
                    </a:cubicBezTo>
                    <a:cubicBezTo>
                      <a:pt x="349" y="295"/>
                      <a:pt x="354" y="293"/>
                      <a:pt x="358" y="288"/>
                    </a:cubicBezTo>
                    <a:cubicBezTo>
                      <a:pt x="361" y="283"/>
                      <a:pt x="360" y="281"/>
                      <a:pt x="362" y="278"/>
                    </a:cubicBezTo>
                    <a:cubicBezTo>
                      <a:pt x="361" y="260"/>
                      <a:pt x="355" y="243"/>
                      <a:pt x="355" y="223"/>
                    </a:cubicBezTo>
                    <a:cubicBezTo>
                      <a:pt x="373" y="206"/>
                      <a:pt x="419" y="217"/>
                      <a:pt x="443" y="207"/>
                    </a:cubicBezTo>
                    <a:cubicBezTo>
                      <a:pt x="448" y="206"/>
                      <a:pt x="446" y="212"/>
                      <a:pt x="452" y="210"/>
                    </a:cubicBezTo>
                    <a:cubicBezTo>
                      <a:pt x="450" y="203"/>
                      <a:pt x="457" y="195"/>
                      <a:pt x="449" y="19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noProof="1"/>
              </a:p>
            </p:txBody>
          </p:sp>
          <p:sp>
            <p:nvSpPr>
              <p:cNvPr id="36" name="Freeform 52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182155" y="5521171"/>
                <a:ext cx="548279" cy="363065"/>
              </a:xfrm>
              <a:custGeom>
                <a:avLst/>
                <a:gdLst/>
                <a:ahLst/>
                <a:cxnLst>
                  <a:cxn ang="0">
                    <a:pos x="216" y="0"/>
                  </a:cxn>
                  <a:cxn ang="0">
                    <a:pos x="236" y="52"/>
                  </a:cxn>
                  <a:cxn ang="0">
                    <a:pos x="198" y="94"/>
                  </a:cxn>
                  <a:cxn ang="0">
                    <a:pos x="192" y="127"/>
                  </a:cxn>
                  <a:cxn ang="0">
                    <a:pos x="185" y="127"/>
                  </a:cxn>
                  <a:cxn ang="0">
                    <a:pos x="184" y="107"/>
                  </a:cxn>
                  <a:cxn ang="0">
                    <a:pos x="184" y="90"/>
                  </a:cxn>
                  <a:cxn ang="0">
                    <a:pos x="167" y="100"/>
                  </a:cxn>
                  <a:cxn ang="0">
                    <a:pos x="153" y="116"/>
                  </a:cxn>
                  <a:cxn ang="0">
                    <a:pos x="128" y="153"/>
                  </a:cxn>
                  <a:cxn ang="0">
                    <a:pos x="73" y="159"/>
                  </a:cxn>
                  <a:cxn ang="0">
                    <a:pos x="0" y="149"/>
                  </a:cxn>
                  <a:cxn ang="0">
                    <a:pos x="17" y="139"/>
                  </a:cxn>
                  <a:cxn ang="0">
                    <a:pos x="76" y="102"/>
                  </a:cxn>
                  <a:cxn ang="0">
                    <a:pos x="132" y="117"/>
                  </a:cxn>
                  <a:cxn ang="0">
                    <a:pos x="152" y="104"/>
                  </a:cxn>
                  <a:cxn ang="0">
                    <a:pos x="216" y="0"/>
                  </a:cxn>
                </a:cxnLst>
                <a:rect l="0" t="0" r="r" b="b"/>
                <a:pathLst>
                  <a:path w="241" h="160">
                    <a:moveTo>
                      <a:pt x="216" y="0"/>
                    </a:moveTo>
                    <a:cubicBezTo>
                      <a:pt x="229" y="12"/>
                      <a:pt x="241" y="35"/>
                      <a:pt x="236" y="52"/>
                    </a:cubicBezTo>
                    <a:cubicBezTo>
                      <a:pt x="231" y="67"/>
                      <a:pt x="204" y="78"/>
                      <a:pt x="198" y="94"/>
                    </a:cubicBezTo>
                    <a:cubicBezTo>
                      <a:pt x="193" y="104"/>
                      <a:pt x="196" y="118"/>
                      <a:pt x="192" y="127"/>
                    </a:cubicBezTo>
                    <a:cubicBezTo>
                      <a:pt x="190" y="127"/>
                      <a:pt x="185" y="129"/>
                      <a:pt x="185" y="127"/>
                    </a:cubicBezTo>
                    <a:cubicBezTo>
                      <a:pt x="181" y="125"/>
                      <a:pt x="184" y="107"/>
                      <a:pt x="184" y="107"/>
                    </a:cubicBezTo>
                    <a:cubicBezTo>
                      <a:pt x="183" y="115"/>
                      <a:pt x="187" y="95"/>
                      <a:pt x="184" y="90"/>
                    </a:cubicBezTo>
                    <a:cubicBezTo>
                      <a:pt x="177" y="89"/>
                      <a:pt x="173" y="96"/>
                      <a:pt x="167" y="100"/>
                    </a:cubicBezTo>
                    <a:cubicBezTo>
                      <a:pt x="162" y="107"/>
                      <a:pt x="157" y="109"/>
                      <a:pt x="153" y="116"/>
                    </a:cubicBezTo>
                    <a:cubicBezTo>
                      <a:pt x="145" y="126"/>
                      <a:pt x="142" y="147"/>
                      <a:pt x="128" y="153"/>
                    </a:cubicBezTo>
                    <a:cubicBezTo>
                      <a:pt x="117" y="157"/>
                      <a:pt x="93" y="158"/>
                      <a:pt x="73" y="159"/>
                    </a:cubicBezTo>
                    <a:cubicBezTo>
                      <a:pt x="46" y="160"/>
                      <a:pt x="16" y="158"/>
                      <a:pt x="0" y="149"/>
                    </a:cubicBezTo>
                    <a:cubicBezTo>
                      <a:pt x="3" y="141"/>
                      <a:pt x="11" y="141"/>
                      <a:pt x="17" y="139"/>
                    </a:cubicBezTo>
                    <a:cubicBezTo>
                      <a:pt x="39" y="130"/>
                      <a:pt x="54" y="112"/>
                      <a:pt x="76" y="102"/>
                    </a:cubicBezTo>
                    <a:cubicBezTo>
                      <a:pt x="96" y="104"/>
                      <a:pt x="113" y="120"/>
                      <a:pt x="132" y="117"/>
                    </a:cubicBezTo>
                    <a:cubicBezTo>
                      <a:pt x="138" y="116"/>
                      <a:pt x="146" y="109"/>
                      <a:pt x="152" y="104"/>
                    </a:cubicBezTo>
                    <a:cubicBezTo>
                      <a:pt x="178" y="81"/>
                      <a:pt x="205" y="34"/>
                      <a:pt x="216" y="0"/>
                    </a:cubicBezTo>
                    <a:close/>
                  </a:path>
                </a:pathLst>
              </a:custGeom>
              <a:solidFill>
                <a:srgbClr val="2B2B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7" name="Freeform 5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642140" y="5593784"/>
                <a:ext cx="299061" cy="391541"/>
              </a:xfrm>
              <a:custGeom>
                <a:avLst/>
                <a:gdLst/>
                <a:ahLst/>
                <a:cxnLst>
                  <a:cxn ang="0">
                    <a:pos x="132" y="19"/>
                  </a:cxn>
                  <a:cxn ang="0">
                    <a:pos x="132" y="33"/>
                  </a:cxn>
                  <a:cxn ang="0">
                    <a:pos x="107" y="118"/>
                  </a:cxn>
                  <a:cxn ang="0">
                    <a:pos x="99" y="142"/>
                  </a:cxn>
                  <a:cxn ang="0">
                    <a:pos x="52" y="159"/>
                  </a:cxn>
                  <a:cxn ang="0">
                    <a:pos x="0" y="160"/>
                  </a:cxn>
                  <a:cxn ang="0">
                    <a:pos x="9" y="111"/>
                  </a:cxn>
                  <a:cxn ang="0">
                    <a:pos x="20" y="94"/>
                  </a:cxn>
                  <a:cxn ang="0">
                    <a:pos x="47" y="105"/>
                  </a:cxn>
                  <a:cxn ang="0">
                    <a:pos x="75" y="111"/>
                  </a:cxn>
                  <a:cxn ang="0">
                    <a:pos x="103" y="113"/>
                  </a:cxn>
                  <a:cxn ang="0">
                    <a:pos x="124" y="0"/>
                  </a:cxn>
                  <a:cxn ang="0">
                    <a:pos x="132" y="19"/>
                  </a:cxn>
                </a:cxnLst>
                <a:rect l="0" t="0" r="r" b="b"/>
                <a:pathLst>
                  <a:path w="132" h="172">
                    <a:moveTo>
                      <a:pt x="132" y="19"/>
                    </a:moveTo>
                    <a:cubicBezTo>
                      <a:pt x="132" y="24"/>
                      <a:pt x="132" y="28"/>
                      <a:pt x="132" y="33"/>
                    </a:cubicBezTo>
                    <a:cubicBezTo>
                      <a:pt x="125" y="59"/>
                      <a:pt x="113" y="89"/>
                      <a:pt x="107" y="118"/>
                    </a:cubicBezTo>
                    <a:cubicBezTo>
                      <a:pt x="105" y="126"/>
                      <a:pt x="104" y="134"/>
                      <a:pt x="99" y="142"/>
                    </a:cubicBezTo>
                    <a:cubicBezTo>
                      <a:pt x="86" y="148"/>
                      <a:pt x="69" y="153"/>
                      <a:pt x="52" y="159"/>
                    </a:cubicBezTo>
                    <a:cubicBezTo>
                      <a:pt x="36" y="164"/>
                      <a:pt x="16" y="172"/>
                      <a:pt x="0" y="160"/>
                    </a:cubicBezTo>
                    <a:cubicBezTo>
                      <a:pt x="1" y="139"/>
                      <a:pt x="3" y="124"/>
                      <a:pt x="9" y="111"/>
                    </a:cubicBezTo>
                    <a:cubicBezTo>
                      <a:pt x="12" y="105"/>
                      <a:pt x="15" y="98"/>
                      <a:pt x="20" y="94"/>
                    </a:cubicBezTo>
                    <a:cubicBezTo>
                      <a:pt x="30" y="95"/>
                      <a:pt x="37" y="102"/>
                      <a:pt x="47" y="105"/>
                    </a:cubicBezTo>
                    <a:cubicBezTo>
                      <a:pt x="55" y="108"/>
                      <a:pt x="66" y="110"/>
                      <a:pt x="75" y="111"/>
                    </a:cubicBezTo>
                    <a:cubicBezTo>
                      <a:pt x="84" y="113"/>
                      <a:pt x="94" y="116"/>
                      <a:pt x="103" y="113"/>
                    </a:cubicBezTo>
                    <a:cubicBezTo>
                      <a:pt x="117" y="81"/>
                      <a:pt x="117" y="38"/>
                      <a:pt x="124" y="0"/>
                    </a:cubicBezTo>
                    <a:cubicBezTo>
                      <a:pt x="128" y="5"/>
                      <a:pt x="129" y="13"/>
                      <a:pt x="132" y="19"/>
                    </a:cubicBezTo>
                    <a:close/>
                  </a:path>
                </a:pathLst>
              </a:custGeom>
              <a:solidFill>
                <a:srgbClr val="2B2B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38" name="Freeform 264"/>
              <p:cNvSpPr>
                <a:spLocks/>
              </p:cNvSpPr>
              <p:nvPr/>
            </p:nvSpPr>
            <p:spPr bwMode="gray">
              <a:xfrm>
                <a:off x="10786659" y="2986925"/>
                <a:ext cx="260944" cy="592965"/>
              </a:xfrm>
              <a:custGeom>
                <a:avLst/>
                <a:gdLst/>
                <a:ahLst/>
                <a:cxnLst>
                  <a:cxn ang="0">
                    <a:pos x="184" y="520"/>
                  </a:cxn>
                  <a:cxn ang="0">
                    <a:pos x="157" y="273"/>
                  </a:cxn>
                  <a:cxn ang="0">
                    <a:pos x="206" y="402"/>
                  </a:cxn>
                  <a:cxn ang="0">
                    <a:pos x="339" y="0"/>
                  </a:cxn>
                  <a:cxn ang="0">
                    <a:pos x="286" y="105"/>
                  </a:cxn>
                  <a:cxn ang="0">
                    <a:pos x="263" y="232"/>
                  </a:cxn>
                  <a:cxn ang="0">
                    <a:pos x="237" y="376"/>
                  </a:cxn>
                  <a:cxn ang="0">
                    <a:pos x="207" y="494"/>
                  </a:cxn>
                  <a:cxn ang="0">
                    <a:pos x="145" y="784"/>
                  </a:cxn>
                  <a:cxn ang="0">
                    <a:pos x="113" y="634"/>
                  </a:cxn>
                  <a:cxn ang="0">
                    <a:pos x="17" y="547"/>
                  </a:cxn>
                  <a:cxn ang="0">
                    <a:pos x="118" y="577"/>
                  </a:cxn>
                  <a:cxn ang="0">
                    <a:pos x="195" y="520"/>
                  </a:cxn>
                </a:cxnLst>
                <a:rect l="0" t="0" r="r" b="b"/>
                <a:pathLst>
                  <a:path w="345" h="784">
                    <a:moveTo>
                      <a:pt x="184" y="520"/>
                    </a:moveTo>
                    <a:cubicBezTo>
                      <a:pt x="263" y="493"/>
                      <a:pt x="98" y="327"/>
                      <a:pt x="157" y="273"/>
                    </a:cubicBezTo>
                    <a:cubicBezTo>
                      <a:pt x="186" y="305"/>
                      <a:pt x="160" y="371"/>
                      <a:pt x="206" y="402"/>
                    </a:cubicBezTo>
                    <a:cubicBezTo>
                      <a:pt x="263" y="268"/>
                      <a:pt x="280" y="128"/>
                      <a:pt x="339" y="0"/>
                    </a:cubicBezTo>
                    <a:cubicBezTo>
                      <a:pt x="345" y="33"/>
                      <a:pt x="302" y="74"/>
                      <a:pt x="286" y="105"/>
                    </a:cubicBezTo>
                    <a:cubicBezTo>
                      <a:pt x="266" y="143"/>
                      <a:pt x="273" y="188"/>
                      <a:pt x="263" y="232"/>
                    </a:cubicBezTo>
                    <a:cubicBezTo>
                      <a:pt x="253" y="280"/>
                      <a:pt x="241" y="326"/>
                      <a:pt x="237" y="376"/>
                    </a:cubicBezTo>
                    <a:cubicBezTo>
                      <a:pt x="234" y="414"/>
                      <a:pt x="237" y="469"/>
                      <a:pt x="207" y="494"/>
                    </a:cubicBezTo>
                    <a:cubicBezTo>
                      <a:pt x="177" y="598"/>
                      <a:pt x="90" y="673"/>
                      <a:pt x="145" y="784"/>
                    </a:cubicBezTo>
                    <a:cubicBezTo>
                      <a:pt x="81" y="763"/>
                      <a:pt x="95" y="678"/>
                      <a:pt x="113" y="634"/>
                    </a:cubicBezTo>
                    <a:cubicBezTo>
                      <a:pt x="151" y="540"/>
                      <a:pt x="0" y="636"/>
                      <a:pt x="17" y="547"/>
                    </a:cubicBezTo>
                    <a:cubicBezTo>
                      <a:pt x="74" y="535"/>
                      <a:pt x="74" y="564"/>
                      <a:pt x="118" y="577"/>
                    </a:cubicBezTo>
                    <a:cubicBezTo>
                      <a:pt x="155" y="588"/>
                      <a:pt x="177" y="544"/>
                      <a:pt x="195" y="520"/>
                    </a:cubicBez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grpSp>
            <p:nvGrpSpPr>
              <p:cNvPr id="7" name="Gruppieren 376"/>
              <p:cNvGrpSpPr/>
              <p:nvPr/>
            </p:nvGrpSpPr>
            <p:grpSpPr bwMode="gray">
              <a:xfrm>
                <a:off x="10441229" y="3965349"/>
                <a:ext cx="488579" cy="757189"/>
                <a:chOff x="5408570" y="3441008"/>
                <a:chExt cx="701029" cy="1086435"/>
              </a:xfrm>
            </p:grpSpPr>
            <p:sp>
              <p:nvSpPr>
                <p:cNvPr id="51" name="Freeform 15"/>
                <p:cNvSpPr>
                  <a:spLocks/>
                </p:cNvSpPr>
                <p:nvPr/>
              </p:nvSpPr>
              <p:spPr bwMode="gray">
                <a:xfrm>
                  <a:off x="5408570" y="3441008"/>
                  <a:ext cx="679372" cy="607985"/>
                </a:xfrm>
                <a:custGeom>
                  <a:avLst/>
                  <a:gdLst/>
                  <a:ahLst/>
                  <a:cxnLst>
                    <a:cxn ang="0">
                      <a:pos x="653" y="224"/>
                    </a:cxn>
                    <a:cxn ang="0">
                      <a:pos x="512" y="353"/>
                    </a:cxn>
                    <a:cxn ang="0">
                      <a:pos x="360" y="480"/>
                    </a:cxn>
                    <a:cxn ang="0">
                      <a:pos x="0" y="621"/>
                    </a:cxn>
                    <a:cxn ang="0">
                      <a:pos x="435" y="305"/>
                    </a:cxn>
                    <a:cxn ang="0">
                      <a:pos x="572" y="103"/>
                    </a:cxn>
                    <a:cxn ang="0">
                      <a:pos x="675" y="21"/>
                    </a:cxn>
                    <a:cxn ang="0">
                      <a:pos x="681" y="153"/>
                    </a:cxn>
                    <a:cxn ang="0">
                      <a:pos x="588" y="283"/>
                    </a:cxn>
                  </a:cxnLst>
                  <a:rect l="0" t="0" r="r" b="b"/>
                  <a:pathLst>
                    <a:path w="717" h="642">
                      <a:moveTo>
                        <a:pt x="653" y="224"/>
                      </a:moveTo>
                      <a:cubicBezTo>
                        <a:pt x="636" y="278"/>
                        <a:pt x="556" y="320"/>
                        <a:pt x="512" y="353"/>
                      </a:cubicBezTo>
                      <a:cubicBezTo>
                        <a:pt x="459" y="393"/>
                        <a:pt x="411" y="437"/>
                        <a:pt x="360" y="480"/>
                      </a:cubicBezTo>
                      <a:cubicBezTo>
                        <a:pt x="264" y="561"/>
                        <a:pt x="131" y="642"/>
                        <a:pt x="0" y="621"/>
                      </a:cubicBezTo>
                      <a:cubicBezTo>
                        <a:pt x="149" y="548"/>
                        <a:pt x="337" y="442"/>
                        <a:pt x="435" y="305"/>
                      </a:cubicBezTo>
                      <a:cubicBezTo>
                        <a:pt x="483" y="238"/>
                        <a:pt x="523" y="167"/>
                        <a:pt x="572" y="103"/>
                      </a:cubicBezTo>
                      <a:cubicBezTo>
                        <a:pt x="593" y="77"/>
                        <a:pt x="629" y="0"/>
                        <a:pt x="675" y="21"/>
                      </a:cubicBezTo>
                      <a:cubicBezTo>
                        <a:pt x="717" y="41"/>
                        <a:pt x="695" y="127"/>
                        <a:pt x="681" y="153"/>
                      </a:cubicBezTo>
                      <a:cubicBezTo>
                        <a:pt x="662" y="191"/>
                        <a:pt x="626" y="263"/>
                        <a:pt x="588" y="283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52" name="Freeform 16"/>
                <p:cNvSpPr>
                  <a:spLocks/>
                </p:cNvSpPr>
                <p:nvPr/>
              </p:nvSpPr>
              <p:spPr bwMode="gray">
                <a:xfrm>
                  <a:off x="5475146" y="3641529"/>
                  <a:ext cx="626834" cy="813722"/>
                </a:xfrm>
                <a:custGeom>
                  <a:avLst/>
                  <a:gdLst/>
                  <a:ahLst/>
                  <a:cxnLst>
                    <a:cxn ang="0">
                      <a:pos x="553" y="112"/>
                    </a:cxn>
                    <a:cxn ang="0">
                      <a:pos x="435" y="322"/>
                    </a:cxn>
                    <a:cxn ang="0">
                      <a:pos x="315" y="511"/>
                    </a:cxn>
                    <a:cxn ang="0">
                      <a:pos x="0" y="859"/>
                    </a:cxn>
                    <a:cxn ang="0">
                      <a:pos x="223" y="732"/>
                    </a:cxn>
                    <a:cxn ang="0">
                      <a:pos x="459" y="529"/>
                    </a:cxn>
                    <a:cxn ang="0">
                      <a:pos x="343" y="782"/>
                    </a:cxn>
                    <a:cxn ang="0">
                      <a:pos x="548" y="386"/>
                    </a:cxn>
                    <a:cxn ang="0">
                      <a:pos x="596" y="168"/>
                    </a:cxn>
                    <a:cxn ang="0">
                      <a:pos x="652" y="7"/>
                    </a:cxn>
                    <a:cxn ang="0">
                      <a:pos x="542" y="136"/>
                    </a:cxn>
                    <a:cxn ang="0">
                      <a:pos x="448" y="258"/>
                    </a:cxn>
                  </a:cxnLst>
                  <a:rect l="0" t="0" r="r" b="b"/>
                  <a:pathLst>
                    <a:path w="662" h="859">
                      <a:moveTo>
                        <a:pt x="553" y="112"/>
                      </a:moveTo>
                      <a:cubicBezTo>
                        <a:pt x="559" y="166"/>
                        <a:pt x="462" y="270"/>
                        <a:pt x="435" y="322"/>
                      </a:cubicBezTo>
                      <a:cubicBezTo>
                        <a:pt x="401" y="389"/>
                        <a:pt x="359" y="447"/>
                        <a:pt x="315" y="511"/>
                      </a:cubicBezTo>
                      <a:cubicBezTo>
                        <a:pt x="221" y="645"/>
                        <a:pt x="129" y="761"/>
                        <a:pt x="0" y="859"/>
                      </a:cubicBezTo>
                      <a:cubicBezTo>
                        <a:pt x="79" y="822"/>
                        <a:pt x="156" y="788"/>
                        <a:pt x="223" y="732"/>
                      </a:cubicBezTo>
                      <a:cubicBezTo>
                        <a:pt x="300" y="666"/>
                        <a:pt x="375" y="588"/>
                        <a:pt x="459" y="529"/>
                      </a:cubicBezTo>
                      <a:cubicBezTo>
                        <a:pt x="464" y="634"/>
                        <a:pt x="410" y="704"/>
                        <a:pt x="343" y="782"/>
                      </a:cubicBezTo>
                      <a:cubicBezTo>
                        <a:pt x="477" y="690"/>
                        <a:pt x="523" y="541"/>
                        <a:pt x="548" y="386"/>
                      </a:cubicBezTo>
                      <a:cubicBezTo>
                        <a:pt x="560" y="306"/>
                        <a:pt x="568" y="239"/>
                        <a:pt x="596" y="168"/>
                      </a:cubicBezTo>
                      <a:cubicBezTo>
                        <a:pt x="616" y="117"/>
                        <a:pt x="662" y="67"/>
                        <a:pt x="652" y="7"/>
                      </a:cubicBezTo>
                      <a:cubicBezTo>
                        <a:pt x="607" y="0"/>
                        <a:pt x="571" y="106"/>
                        <a:pt x="542" y="136"/>
                      </a:cubicBezTo>
                      <a:cubicBezTo>
                        <a:pt x="507" y="173"/>
                        <a:pt x="453" y="203"/>
                        <a:pt x="448" y="258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53" name="Freeform 20"/>
                <p:cNvSpPr>
                  <a:spLocks/>
                </p:cNvSpPr>
                <p:nvPr/>
              </p:nvSpPr>
              <p:spPr bwMode="gray">
                <a:xfrm>
                  <a:off x="5658021" y="3980015"/>
                  <a:ext cx="451578" cy="547428"/>
                </a:xfrm>
                <a:custGeom>
                  <a:avLst/>
                  <a:gdLst/>
                  <a:ahLst/>
                  <a:cxnLst>
                    <a:cxn ang="0">
                      <a:pos x="436" y="187"/>
                    </a:cxn>
                    <a:cxn ang="0">
                      <a:pos x="383" y="519"/>
                    </a:cxn>
                    <a:cxn ang="0">
                      <a:pos x="192" y="544"/>
                    </a:cxn>
                    <a:cxn ang="0">
                      <a:pos x="0" y="578"/>
                    </a:cxn>
                    <a:cxn ang="0">
                      <a:pos x="197" y="485"/>
                    </a:cxn>
                    <a:cxn ang="0">
                      <a:pos x="330" y="357"/>
                    </a:cxn>
                    <a:cxn ang="0">
                      <a:pos x="407" y="176"/>
                    </a:cxn>
                    <a:cxn ang="0">
                      <a:pos x="442" y="0"/>
                    </a:cxn>
                  </a:cxnLst>
                  <a:rect l="0" t="0" r="r" b="b"/>
                  <a:pathLst>
                    <a:path w="477" h="578">
                      <a:moveTo>
                        <a:pt x="436" y="187"/>
                      </a:moveTo>
                      <a:cubicBezTo>
                        <a:pt x="477" y="282"/>
                        <a:pt x="415" y="430"/>
                        <a:pt x="383" y="519"/>
                      </a:cubicBezTo>
                      <a:cubicBezTo>
                        <a:pt x="320" y="533"/>
                        <a:pt x="253" y="532"/>
                        <a:pt x="192" y="544"/>
                      </a:cubicBezTo>
                      <a:cubicBezTo>
                        <a:pt x="128" y="555"/>
                        <a:pt x="64" y="578"/>
                        <a:pt x="0" y="578"/>
                      </a:cubicBezTo>
                      <a:cubicBezTo>
                        <a:pt x="46" y="530"/>
                        <a:pt x="137" y="511"/>
                        <a:pt x="197" y="485"/>
                      </a:cubicBezTo>
                      <a:cubicBezTo>
                        <a:pt x="263" y="457"/>
                        <a:pt x="295" y="424"/>
                        <a:pt x="330" y="357"/>
                      </a:cubicBezTo>
                      <a:cubicBezTo>
                        <a:pt x="359" y="301"/>
                        <a:pt x="389" y="238"/>
                        <a:pt x="407" y="176"/>
                      </a:cubicBezTo>
                      <a:cubicBezTo>
                        <a:pt x="424" y="119"/>
                        <a:pt x="418" y="53"/>
                        <a:pt x="442" y="0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</p:grpSp>
          <p:sp>
            <p:nvSpPr>
              <p:cNvPr id="40" name="Freeform 19"/>
              <p:cNvSpPr>
                <a:spLocks/>
              </p:cNvSpPr>
              <p:nvPr/>
            </p:nvSpPr>
            <p:spPr bwMode="gray">
              <a:xfrm>
                <a:off x="10245901" y="3672496"/>
                <a:ext cx="326294" cy="171792"/>
              </a:xfrm>
              <a:custGeom>
                <a:avLst/>
                <a:gdLst/>
                <a:ahLst/>
                <a:cxnLst>
                  <a:cxn ang="0">
                    <a:pos x="103" y="47"/>
                  </a:cxn>
                  <a:cxn ang="0">
                    <a:pos x="179" y="82"/>
                  </a:cxn>
                  <a:cxn ang="0">
                    <a:pos x="290" y="88"/>
                  </a:cxn>
                  <a:cxn ang="0">
                    <a:pos x="499" y="42"/>
                  </a:cxn>
                  <a:cxn ang="0">
                    <a:pos x="353" y="146"/>
                  </a:cxn>
                  <a:cxn ang="0">
                    <a:pos x="91" y="90"/>
                  </a:cxn>
                  <a:cxn ang="0">
                    <a:pos x="202" y="239"/>
                  </a:cxn>
                  <a:cxn ang="0">
                    <a:pos x="85" y="0"/>
                  </a:cxn>
                </a:cxnLst>
                <a:rect l="0" t="0" r="r" b="b"/>
                <a:pathLst>
                  <a:path w="503" h="265">
                    <a:moveTo>
                      <a:pt x="103" y="47"/>
                    </a:moveTo>
                    <a:cubicBezTo>
                      <a:pt x="130" y="56"/>
                      <a:pt x="150" y="75"/>
                      <a:pt x="179" y="82"/>
                    </a:cubicBezTo>
                    <a:cubicBezTo>
                      <a:pt x="213" y="91"/>
                      <a:pt x="253" y="88"/>
                      <a:pt x="290" y="88"/>
                    </a:cubicBezTo>
                    <a:cubicBezTo>
                      <a:pt x="368" y="87"/>
                      <a:pt x="426" y="48"/>
                      <a:pt x="499" y="42"/>
                    </a:cubicBezTo>
                    <a:cubicBezTo>
                      <a:pt x="503" y="138"/>
                      <a:pt x="442" y="146"/>
                      <a:pt x="353" y="146"/>
                    </a:cubicBezTo>
                    <a:cubicBezTo>
                      <a:pt x="247" y="146"/>
                      <a:pt x="177" y="139"/>
                      <a:pt x="91" y="90"/>
                    </a:cubicBezTo>
                    <a:cubicBezTo>
                      <a:pt x="92" y="165"/>
                      <a:pt x="164" y="188"/>
                      <a:pt x="202" y="239"/>
                    </a:cubicBezTo>
                    <a:cubicBezTo>
                      <a:pt x="89" y="265"/>
                      <a:pt x="0" y="69"/>
                      <a:pt x="85" y="0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41" name="Freeform 374"/>
              <p:cNvSpPr>
                <a:spLocks/>
              </p:cNvSpPr>
              <p:nvPr/>
            </p:nvSpPr>
            <p:spPr bwMode="gray">
              <a:xfrm>
                <a:off x="10615092" y="2528705"/>
                <a:ext cx="431555" cy="340145"/>
              </a:xfrm>
              <a:custGeom>
                <a:avLst/>
                <a:gdLst/>
                <a:ahLst/>
                <a:cxnLst>
                  <a:cxn ang="0">
                    <a:pos x="588" y="8"/>
                  </a:cxn>
                  <a:cxn ang="0">
                    <a:pos x="460" y="28"/>
                  </a:cxn>
                  <a:cxn ang="0">
                    <a:pos x="352" y="80"/>
                  </a:cxn>
                  <a:cxn ang="0">
                    <a:pos x="272" y="178"/>
                  </a:cxn>
                  <a:cxn ang="0">
                    <a:pos x="242" y="220"/>
                  </a:cxn>
                  <a:cxn ang="0">
                    <a:pos x="199" y="263"/>
                  </a:cxn>
                  <a:cxn ang="0">
                    <a:pos x="83" y="370"/>
                  </a:cxn>
                  <a:cxn ang="0">
                    <a:pos x="43" y="427"/>
                  </a:cxn>
                  <a:cxn ang="0">
                    <a:pos x="0" y="463"/>
                  </a:cxn>
                  <a:cxn ang="0">
                    <a:pos x="97" y="385"/>
                  </a:cxn>
                  <a:cxn ang="0">
                    <a:pos x="188" y="296"/>
                  </a:cxn>
                  <a:cxn ang="0">
                    <a:pos x="230" y="250"/>
                  </a:cxn>
                  <a:cxn ang="0">
                    <a:pos x="277" y="215"/>
                  </a:cxn>
                  <a:cxn ang="0">
                    <a:pos x="302" y="162"/>
                  </a:cxn>
                  <a:cxn ang="0">
                    <a:pos x="349" y="116"/>
                  </a:cxn>
                  <a:cxn ang="0">
                    <a:pos x="452" y="49"/>
                  </a:cxn>
                  <a:cxn ang="0">
                    <a:pos x="521" y="21"/>
                  </a:cxn>
                  <a:cxn ang="0">
                    <a:pos x="583" y="3"/>
                  </a:cxn>
                </a:cxnLst>
                <a:rect l="0" t="0" r="r" b="b"/>
                <a:pathLst>
                  <a:path w="588" h="463">
                    <a:moveTo>
                      <a:pt x="588" y="8"/>
                    </a:moveTo>
                    <a:cubicBezTo>
                      <a:pt x="539" y="8"/>
                      <a:pt x="503" y="11"/>
                      <a:pt x="460" y="28"/>
                    </a:cubicBezTo>
                    <a:cubicBezTo>
                      <a:pt x="422" y="42"/>
                      <a:pt x="386" y="54"/>
                      <a:pt x="352" y="80"/>
                    </a:cubicBezTo>
                    <a:cubicBezTo>
                      <a:pt x="319" y="105"/>
                      <a:pt x="286" y="138"/>
                      <a:pt x="272" y="178"/>
                    </a:cubicBezTo>
                    <a:cubicBezTo>
                      <a:pt x="263" y="204"/>
                      <a:pt x="265" y="205"/>
                      <a:pt x="242" y="220"/>
                    </a:cubicBezTo>
                    <a:cubicBezTo>
                      <a:pt x="225" y="231"/>
                      <a:pt x="212" y="247"/>
                      <a:pt x="199" y="263"/>
                    </a:cubicBezTo>
                    <a:cubicBezTo>
                      <a:pt x="168" y="305"/>
                      <a:pt x="118" y="330"/>
                      <a:pt x="83" y="370"/>
                    </a:cubicBezTo>
                    <a:cubicBezTo>
                      <a:pt x="68" y="387"/>
                      <a:pt x="59" y="409"/>
                      <a:pt x="43" y="427"/>
                    </a:cubicBezTo>
                    <a:cubicBezTo>
                      <a:pt x="30" y="442"/>
                      <a:pt x="12" y="453"/>
                      <a:pt x="0" y="463"/>
                    </a:cubicBezTo>
                    <a:cubicBezTo>
                      <a:pt x="36" y="445"/>
                      <a:pt x="72" y="419"/>
                      <a:pt x="97" y="385"/>
                    </a:cubicBezTo>
                    <a:cubicBezTo>
                      <a:pt x="125" y="348"/>
                      <a:pt x="152" y="324"/>
                      <a:pt x="188" y="296"/>
                    </a:cubicBezTo>
                    <a:cubicBezTo>
                      <a:pt x="205" y="282"/>
                      <a:pt x="217" y="268"/>
                      <a:pt x="230" y="250"/>
                    </a:cubicBezTo>
                    <a:cubicBezTo>
                      <a:pt x="245" y="231"/>
                      <a:pt x="262" y="229"/>
                      <a:pt x="277" y="215"/>
                    </a:cubicBezTo>
                    <a:cubicBezTo>
                      <a:pt x="291" y="201"/>
                      <a:pt x="291" y="178"/>
                      <a:pt x="302" y="162"/>
                    </a:cubicBezTo>
                    <a:cubicBezTo>
                      <a:pt x="314" y="142"/>
                      <a:pt x="331" y="129"/>
                      <a:pt x="349" y="116"/>
                    </a:cubicBezTo>
                    <a:cubicBezTo>
                      <a:pt x="382" y="93"/>
                      <a:pt x="416" y="64"/>
                      <a:pt x="452" y="49"/>
                    </a:cubicBezTo>
                    <a:cubicBezTo>
                      <a:pt x="475" y="39"/>
                      <a:pt x="498" y="29"/>
                      <a:pt x="521" y="21"/>
                    </a:cubicBezTo>
                    <a:cubicBezTo>
                      <a:pt x="539" y="16"/>
                      <a:pt x="564" y="0"/>
                      <a:pt x="583" y="3"/>
                    </a:cubicBez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sp>
            <p:nvSpPr>
              <p:cNvPr id="42" name="Freeform 374"/>
              <p:cNvSpPr>
                <a:spLocks/>
              </p:cNvSpPr>
              <p:nvPr/>
            </p:nvSpPr>
            <p:spPr bwMode="gray">
              <a:xfrm rot="2639933" flipH="1">
                <a:off x="10415009" y="2564463"/>
                <a:ext cx="351173" cy="235484"/>
              </a:xfrm>
              <a:custGeom>
                <a:avLst/>
                <a:gdLst/>
                <a:ahLst/>
                <a:cxnLst>
                  <a:cxn ang="0">
                    <a:pos x="588" y="8"/>
                  </a:cxn>
                  <a:cxn ang="0">
                    <a:pos x="460" y="28"/>
                  </a:cxn>
                  <a:cxn ang="0">
                    <a:pos x="352" y="80"/>
                  </a:cxn>
                  <a:cxn ang="0">
                    <a:pos x="272" y="178"/>
                  </a:cxn>
                  <a:cxn ang="0">
                    <a:pos x="242" y="220"/>
                  </a:cxn>
                  <a:cxn ang="0">
                    <a:pos x="199" y="263"/>
                  </a:cxn>
                  <a:cxn ang="0">
                    <a:pos x="83" y="370"/>
                  </a:cxn>
                  <a:cxn ang="0">
                    <a:pos x="43" y="427"/>
                  </a:cxn>
                  <a:cxn ang="0">
                    <a:pos x="0" y="463"/>
                  </a:cxn>
                  <a:cxn ang="0">
                    <a:pos x="97" y="385"/>
                  </a:cxn>
                  <a:cxn ang="0">
                    <a:pos x="188" y="296"/>
                  </a:cxn>
                  <a:cxn ang="0">
                    <a:pos x="230" y="250"/>
                  </a:cxn>
                  <a:cxn ang="0">
                    <a:pos x="277" y="215"/>
                  </a:cxn>
                  <a:cxn ang="0">
                    <a:pos x="302" y="162"/>
                  </a:cxn>
                  <a:cxn ang="0">
                    <a:pos x="349" y="116"/>
                  </a:cxn>
                  <a:cxn ang="0">
                    <a:pos x="452" y="49"/>
                  </a:cxn>
                  <a:cxn ang="0">
                    <a:pos x="521" y="21"/>
                  </a:cxn>
                  <a:cxn ang="0">
                    <a:pos x="583" y="3"/>
                  </a:cxn>
                </a:cxnLst>
                <a:rect l="0" t="0" r="r" b="b"/>
                <a:pathLst>
                  <a:path w="588" h="463">
                    <a:moveTo>
                      <a:pt x="588" y="8"/>
                    </a:moveTo>
                    <a:cubicBezTo>
                      <a:pt x="539" y="8"/>
                      <a:pt x="503" y="11"/>
                      <a:pt x="460" y="28"/>
                    </a:cubicBezTo>
                    <a:cubicBezTo>
                      <a:pt x="422" y="42"/>
                      <a:pt x="386" y="54"/>
                      <a:pt x="352" y="80"/>
                    </a:cubicBezTo>
                    <a:cubicBezTo>
                      <a:pt x="319" y="105"/>
                      <a:pt x="286" y="138"/>
                      <a:pt x="272" y="178"/>
                    </a:cubicBezTo>
                    <a:cubicBezTo>
                      <a:pt x="263" y="204"/>
                      <a:pt x="265" y="205"/>
                      <a:pt x="242" y="220"/>
                    </a:cubicBezTo>
                    <a:cubicBezTo>
                      <a:pt x="225" y="231"/>
                      <a:pt x="212" y="247"/>
                      <a:pt x="199" y="263"/>
                    </a:cubicBezTo>
                    <a:cubicBezTo>
                      <a:pt x="168" y="305"/>
                      <a:pt x="118" y="330"/>
                      <a:pt x="83" y="370"/>
                    </a:cubicBezTo>
                    <a:cubicBezTo>
                      <a:pt x="68" y="387"/>
                      <a:pt x="59" y="409"/>
                      <a:pt x="43" y="427"/>
                    </a:cubicBezTo>
                    <a:cubicBezTo>
                      <a:pt x="30" y="442"/>
                      <a:pt x="12" y="453"/>
                      <a:pt x="0" y="463"/>
                    </a:cubicBezTo>
                    <a:cubicBezTo>
                      <a:pt x="36" y="445"/>
                      <a:pt x="72" y="419"/>
                      <a:pt x="97" y="385"/>
                    </a:cubicBezTo>
                    <a:cubicBezTo>
                      <a:pt x="125" y="348"/>
                      <a:pt x="152" y="324"/>
                      <a:pt x="188" y="296"/>
                    </a:cubicBezTo>
                    <a:cubicBezTo>
                      <a:pt x="205" y="282"/>
                      <a:pt x="217" y="268"/>
                      <a:pt x="230" y="250"/>
                    </a:cubicBezTo>
                    <a:cubicBezTo>
                      <a:pt x="245" y="231"/>
                      <a:pt x="262" y="229"/>
                      <a:pt x="277" y="215"/>
                    </a:cubicBezTo>
                    <a:cubicBezTo>
                      <a:pt x="291" y="201"/>
                      <a:pt x="291" y="178"/>
                      <a:pt x="302" y="162"/>
                    </a:cubicBezTo>
                    <a:cubicBezTo>
                      <a:pt x="314" y="142"/>
                      <a:pt x="331" y="129"/>
                      <a:pt x="349" y="116"/>
                    </a:cubicBezTo>
                    <a:cubicBezTo>
                      <a:pt x="382" y="93"/>
                      <a:pt x="416" y="64"/>
                      <a:pt x="452" y="49"/>
                    </a:cubicBezTo>
                    <a:cubicBezTo>
                      <a:pt x="475" y="39"/>
                      <a:pt x="498" y="29"/>
                      <a:pt x="521" y="21"/>
                    </a:cubicBezTo>
                    <a:cubicBezTo>
                      <a:pt x="539" y="16"/>
                      <a:pt x="564" y="0"/>
                      <a:pt x="583" y="3"/>
                    </a:cubicBez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  <p:grpSp>
            <p:nvGrpSpPr>
              <p:cNvPr id="8" name="Gruppieren 352"/>
              <p:cNvGrpSpPr/>
              <p:nvPr/>
            </p:nvGrpSpPr>
            <p:grpSpPr bwMode="gray">
              <a:xfrm>
                <a:off x="10483972" y="1688046"/>
                <a:ext cx="699169" cy="1039007"/>
                <a:chOff x="3833907" y="4008948"/>
                <a:chExt cx="349487" cy="519359"/>
              </a:xfrm>
            </p:grpSpPr>
            <p:sp>
              <p:nvSpPr>
                <p:cNvPr id="45" name="Freeform 358"/>
                <p:cNvSpPr>
                  <a:spLocks/>
                </p:cNvSpPr>
                <p:nvPr/>
              </p:nvSpPr>
              <p:spPr bwMode="gray">
                <a:xfrm>
                  <a:off x="3833907" y="4008948"/>
                  <a:ext cx="349487" cy="519359"/>
                </a:xfrm>
                <a:custGeom>
                  <a:avLst/>
                  <a:gdLst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99 w 10000"/>
                    <a:gd name="connsiteY21" fmla="*/ 664 h 10000"/>
                    <a:gd name="connsiteX22" fmla="*/ 5523 w 10000"/>
                    <a:gd name="connsiteY22" fmla="*/ 839 h 10000"/>
                    <a:gd name="connsiteX23" fmla="*/ 8061 w 10000"/>
                    <a:gd name="connsiteY23" fmla="*/ 1583 h 10000"/>
                    <a:gd name="connsiteX24" fmla="*/ 8801 w 10000"/>
                    <a:gd name="connsiteY24" fmla="*/ 312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99 w 10000"/>
                    <a:gd name="connsiteY21" fmla="*/ 664 h 10000"/>
                    <a:gd name="connsiteX22" fmla="*/ 5523 w 10000"/>
                    <a:gd name="connsiteY22" fmla="*/ 839 h 10000"/>
                    <a:gd name="connsiteX23" fmla="*/ 8061 w 10000"/>
                    <a:gd name="connsiteY23" fmla="*/ 1583 h 10000"/>
                    <a:gd name="connsiteX24" fmla="*/ 8801 w 10000"/>
                    <a:gd name="connsiteY24" fmla="*/ 312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99 w 10000"/>
                    <a:gd name="connsiteY21" fmla="*/ 664 h 10000"/>
                    <a:gd name="connsiteX22" fmla="*/ 5523 w 10000"/>
                    <a:gd name="connsiteY22" fmla="*/ 839 h 10000"/>
                    <a:gd name="connsiteX23" fmla="*/ 8061 w 10000"/>
                    <a:gd name="connsiteY23" fmla="*/ 1583 h 10000"/>
                    <a:gd name="connsiteX24" fmla="*/ 9141 w 10000"/>
                    <a:gd name="connsiteY24" fmla="*/ 261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99 w 10000"/>
                    <a:gd name="connsiteY21" fmla="*/ 664 h 10000"/>
                    <a:gd name="connsiteX22" fmla="*/ 5523 w 10000"/>
                    <a:gd name="connsiteY22" fmla="*/ 839 h 10000"/>
                    <a:gd name="connsiteX23" fmla="*/ 8061 w 10000"/>
                    <a:gd name="connsiteY23" fmla="*/ 1583 h 10000"/>
                    <a:gd name="connsiteX24" fmla="*/ 9141 w 10000"/>
                    <a:gd name="connsiteY24" fmla="*/ 261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99 w 10000"/>
                    <a:gd name="connsiteY21" fmla="*/ 664 h 10000"/>
                    <a:gd name="connsiteX22" fmla="*/ 5795 w 10000"/>
                    <a:gd name="connsiteY22" fmla="*/ 515 h 10000"/>
                    <a:gd name="connsiteX23" fmla="*/ 8061 w 10000"/>
                    <a:gd name="connsiteY23" fmla="*/ 1583 h 10000"/>
                    <a:gd name="connsiteX24" fmla="*/ 9141 w 10000"/>
                    <a:gd name="connsiteY24" fmla="*/ 261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944 h 10000"/>
                    <a:gd name="connsiteX1" fmla="*/ 2832 w 10000"/>
                    <a:gd name="connsiteY1" fmla="*/ 1783 h 10000"/>
                    <a:gd name="connsiteX2" fmla="*/ 1569 w 10000"/>
                    <a:gd name="connsiteY2" fmla="*/ 3094 h 10000"/>
                    <a:gd name="connsiteX3" fmla="*/ 2895 w 10000"/>
                    <a:gd name="connsiteY3" fmla="*/ 6302 h 10000"/>
                    <a:gd name="connsiteX4" fmla="*/ 3724 w 10000"/>
                    <a:gd name="connsiteY4" fmla="*/ 7509 h 10000"/>
                    <a:gd name="connsiteX5" fmla="*/ 3571 w 10000"/>
                    <a:gd name="connsiteY5" fmla="*/ 8811 h 10000"/>
                    <a:gd name="connsiteX6" fmla="*/ 2436 w 10000"/>
                    <a:gd name="connsiteY6" fmla="*/ 7579 h 10000"/>
                    <a:gd name="connsiteX7" fmla="*/ 2232 w 10000"/>
                    <a:gd name="connsiteY7" fmla="*/ 9467 h 10000"/>
                    <a:gd name="connsiteX8" fmla="*/ 2181 w 10000"/>
                    <a:gd name="connsiteY8" fmla="*/ 8925 h 10000"/>
                    <a:gd name="connsiteX9" fmla="*/ 1429 w 10000"/>
                    <a:gd name="connsiteY9" fmla="*/ 9441 h 10000"/>
                    <a:gd name="connsiteX10" fmla="*/ 1607 w 10000"/>
                    <a:gd name="connsiteY10" fmla="*/ 8628 h 10000"/>
                    <a:gd name="connsiteX11" fmla="*/ 1110 w 10000"/>
                    <a:gd name="connsiteY11" fmla="*/ 7858 h 10000"/>
                    <a:gd name="connsiteX12" fmla="*/ 995 w 10000"/>
                    <a:gd name="connsiteY12" fmla="*/ 6976 h 10000"/>
                    <a:gd name="connsiteX13" fmla="*/ 727 w 10000"/>
                    <a:gd name="connsiteY13" fmla="*/ 6171 h 10000"/>
                    <a:gd name="connsiteX14" fmla="*/ 115 w 10000"/>
                    <a:gd name="connsiteY14" fmla="*/ 4580 h 10000"/>
                    <a:gd name="connsiteX15" fmla="*/ 383 w 10000"/>
                    <a:gd name="connsiteY15" fmla="*/ 3767 h 10000"/>
                    <a:gd name="connsiteX16" fmla="*/ 64 w 10000"/>
                    <a:gd name="connsiteY16" fmla="*/ 2885 h 10000"/>
                    <a:gd name="connsiteX17" fmla="*/ 1862 w 10000"/>
                    <a:gd name="connsiteY17" fmla="*/ 839 h 10000"/>
                    <a:gd name="connsiteX18" fmla="*/ 4898 w 10000"/>
                    <a:gd name="connsiteY18" fmla="*/ 726 h 10000"/>
                    <a:gd name="connsiteX19" fmla="*/ 5204 w 10000"/>
                    <a:gd name="connsiteY19" fmla="*/ 498 h 10000"/>
                    <a:gd name="connsiteX20" fmla="*/ 5115 w 10000"/>
                    <a:gd name="connsiteY20" fmla="*/ 769 h 10000"/>
                    <a:gd name="connsiteX21" fmla="*/ 5565 w 10000"/>
                    <a:gd name="connsiteY21" fmla="*/ 544 h 10000"/>
                    <a:gd name="connsiteX22" fmla="*/ 5795 w 10000"/>
                    <a:gd name="connsiteY22" fmla="*/ 515 h 10000"/>
                    <a:gd name="connsiteX23" fmla="*/ 8061 w 10000"/>
                    <a:gd name="connsiteY23" fmla="*/ 1583 h 10000"/>
                    <a:gd name="connsiteX24" fmla="*/ 9141 w 10000"/>
                    <a:gd name="connsiteY24" fmla="*/ 2619 h 10000"/>
                    <a:gd name="connsiteX25" fmla="*/ 9617 w 10000"/>
                    <a:gd name="connsiteY25" fmla="*/ 4860 h 10000"/>
                    <a:gd name="connsiteX26" fmla="*/ 9719 w 10000"/>
                    <a:gd name="connsiteY26" fmla="*/ 6827 h 10000"/>
                    <a:gd name="connsiteX27" fmla="*/ 8699 w 10000"/>
                    <a:gd name="connsiteY27" fmla="*/ 8654 h 10000"/>
                    <a:gd name="connsiteX28" fmla="*/ 7679 w 10000"/>
                    <a:gd name="connsiteY28" fmla="*/ 9309 h 10000"/>
                    <a:gd name="connsiteX29" fmla="*/ 6607 w 10000"/>
                    <a:gd name="connsiteY29" fmla="*/ 10000 h 10000"/>
                    <a:gd name="connsiteX30" fmla="*/ 6594 w 10000"/>
                    <a:gd name="connsiteY30" fmla="*/ 9624 h 10000"/>
                    <a:gd name="connsiteX31" fmla="*/ 6352 w 10000"/>
                    <a:gd name="connsiteY31" fmla="*/ 9685 h 10000"/>
                    <a:gd name="connsiteX32" fmla="*/ 6441 w 10000"/>
                    <a:gd name="connsiteY32" fmla="*/ 9126 h 10000"/>
                    <a:gd name="connsiteX33" fmla="*/ 6135 w 10000"/>
                    <a:gd name="connsiteY33" fmla="*/ 9248 h 10000"/>
                    <a:gd name="connsiteX34" fmla="*/ 6237 w 10000"/>
                    <a:gd name="connsiteY34" fmla="*/ 8357 h 10000"/>
                    <a:gd name="connsiteX35" fmla="*/ 5893 w 10000"/>
                    <a:gd name="connsiteY35" fmla="*/ 8453 h 10000"/>
                    <a:gd name="connsiteX36" fmla="*/ 5995 w 10000"/>
                    <a:gd name="connsiteY36" fmla="*/ 7544 h 10000"/>
                    <a:gd name="connsiteX37" fmla="*/ 6492 w 10000"/>
                    <a:gd name="connsiteY37" fmla="*/ 6941 h 10000"/>
                    <a:gd name="connsiteX38" fmla="*/ 6505 w 10000"/>
                    <a:gd name="connsiteY38" fmla="*/ 5253 h 10000"/>
                    <a:gd name="connsiteX39" fmla="*/ 7181 w 10000"/>
                    <a:gd name="connsiteY39" fmla="*/ 3881 h 10000"/>
                    <a:gd name="connsiteX40" fmla="*/ 5944 w 10000"/>
                    <a:gd name="connsiteY40" fmla="*/ 3837 h 10000"/>
                    <a:gd name="connsiteX41" fmla="*/ 5217 w 10000"/>
                    <a:gd name="connsiteY41" fmla="*/ 2212 h 10000"/>
                    <a:gd name="connsiteX42" fmla="*/ 4477 w 10000"/>
                    <a:gd name="connsiteY42" fmla="*/ 988 h 10000"/>
                    <a:gd name="connsiteX43" fmla="*/ 4337 w 10000"/>
                    <a:gd name="connsiteY43" fmla="*/ 979 h 10000"/>
                    <a:gd name="connsiteX0" fmla="*/ 4439 w 10000"/>
                    <a:gd name="connsiteY0" fmla="*/ 1126 h 10182"/>
                    <a:gd name="connsiteX1" fmla="*/ 2832 w 10000"/>
                    <a:gd name="connsiteY1" fmla="*/ 1965 h 10182"/>
                    <a:gd name="connsiteX2" fmla="*/ 1569 w 10000"/>
                    <a:gd name="connsiteY2" fmla="*/ 3276 h 10182"/>
                    <a:gd name="connsiteX3" fmla="*/ 2895 w 10000"/>
                    <a:gd name="connsiteY3" fmla="*/ 6484 h 10182"/>
                    <a:gd name="connsiteX4" fmla="*/ 3724 w 10000"/>
                    <a:gd name="connsiteY4" fmla="*/ 7691 h 10182"/>
                    <a:gd name="connsiteX5" fmla="*/ 3571 w 10000"/>
                    <a:gd name="connsiteY5" fmla="*/ 8993 h 10182"/>
                    <a:gd name="connsiteX6" fmla="*/ 2436 w 10000"/>
                    <a:gd name="connsiteY6" fmla="*/ 7761 h 10182"/>
                    <a:gd name="connsiteX7" fmla="*/ 2232 w 10000"/>
                    <a:gd name="connsiteY7" fmla="*/ 9649 h 10182"/>
                    <a:gd name="connsiteX8" fmla="*/ 2181 w 10000"/>
                    <a:gd name="connsiteY8" fmla="*/ 9107 h 10182"/>
                    <a:gd name="connsiteX9" fmla="*/ 1429 w 10000"/>
                    <a:gd name="connsiteY9" fmla="*/ 9623 h 10182"/>
                    <a:gd name="connsiteX10" fmla="*/ 1607 w 10000"/>
                    <a:gd name="connsiteY10" fmla="*/ 8810 h 10182"/>
                    <a:gd name="connsiteX11" fmla="*/ 1110 w 10000"/>
                    <a:gd name="connsiteY11" fmla="*/ 8040 h 10182"/>
                    <a:gd name="connsiteX12" fmla="*/ 995 w 10000"/>
                    <a:gd name="connsiteY12" fmla="*/ 7158 h 10182"/>
                    <a:gd name="connsiteX13" fmla="*/ 727 w 10000"/>
                    <a:gd name="connsiteY13" fmla="*/ 6353 h 10182"/>
                    <a:gd name="connsiteX14" fmla="*/ 115 w 10000"/>
                    <a:gd name="connsiteY14" fmla="*/ 4762 h 10182"/>
                    <a:gd name="connsiteX15" fmla="*/ 383 w 10000"/>
                    <a:gd name="connsiteY15" fmla="*/ 3949 h 10182"/>
                    <a:gd name="connsiteX16" fmla="*/ 64 w 10000"/>
                    <a:gd name="connsiteY16" fmla="*/ 3067 h 10182"/>
                    <a:gd name="connsiteX17" fmla="*/ 1862 w 10000"/>
                    <a:gd name="connsiteY17" fmla="*/ 1021 h 10182"/>
                    <a:gd name="connsiteX18" fmla="*/ 5174 w 10000"/>
                    <a:gd name="connsiteY18" fmla="*/ 726 h 10182"/>
                    <a:gd name="connsiteX19" fmla="*/ 5204 w 10000"/>
                    <a:gd name="connsiteY19" fmla="*/ 680 h 10182"/>
                    <a:gd name="connsiteX20" fmla="*/ 5115 w 10000"/>
                    <a:gd name="connsiteY20" fmla="*/ 951 h 10182"/>
                    <a:gd name="connsiteX21" fmla="*/ 5565 w 10000"/>
                    <a:gd name="connsiteY21" fmla="*/ 726 h 10182"/>
                    <a:gd name="connsiteX22" fmla="*/ 5795 w 10000"/>
                    <a:gd name="connsiteY22" fmla="*/ 697 h 10182"/>
                    <a:gd name="connsiteX23" fmla="*/ 8061 w 10000"/>
                    <a:gd name="connsiteY23" fmla="*/ 1765 h 10182"/>
                    <a:gd name="connsiteX24" fmla="*/ 9141 w 10000"/>
                    <a:gd name="connsiteY24" fmla="*/ 2801 h 10182"/>
                    <a:gd name="connsiteX25" fmla="*/ 9617 w 10000"/>
                    <a:gd name="connsiteY25" fmla="*/ 5042 h 10182"/>
                    <a:gd name="connsiteX26" fmla="*/ 9719 w 10000"/>
                    <a:gd name="connsiteY26" fmla="*/ 7009 h 10182"/>
                    <a:gd name="connsiteX27" fmla="*/ 8699 w 10000"/>
                    <a:gd name="connsiteY27" fmla="*/ 8836 h 10182"/>
                    <a:gd name="connsiteX28" fmla="*/ 7679 w 10000"/>
                    <a:gd name="connsiteY28" fmla="*/ 9491 h 10182"/>
                    <a:gd name="connsiteX29" fmla="*/ 6607 w 10000"/>
                    <a:gd name="connsiteY29" fmla="*/ 10182 h 10182"/>
                    <a:gd name="connsiteX30" fmla="*/ 6594 w 10000"/>
                    <a:gd name="connsiteY30" fmla="*/ 9806 h 10182"/>
                    <a:gd name="connsiteX31" fmla="*/ 6352 w 10000"/>
                    <a:gd name="connsiteY31" fmla="*/ 9867 h 10182"/>
                    <a:gd name="connsiteX32" fmla="*/ 6441 w 10000"/>
                    <a:gd name="connsiteY32" fmla="*/ 9308 h 10182"/>
                    <a:gd name="connsiteX33" fmla="*/ 6135 w 10000"/>
                    <a:gd name="connsiteY33" fmla="*/ 9430 h 10182"/>
                    <a:gd name="connsiteX34" fmla="*/ 6237 w 10000"/>
                    <a:gd name="connsiteY34" fmla="*/ 8539 h 10182"/>
                    <a:gd name="connsiteX35" fmla="*/ 5893 w 10000"/>
                    <a:gd name="connsiteY35" fmla="*/ 8635 h 10182"/>
                    <a:gd name="connsiteX36" fmla="*/ 5995 w 10000"/>
                    <a:gd name="connsiteY36" fmla="*/ 7726 h 10182"/>
                    <a:gd name="connsiteX37" fmla="*/ 6492 w 10000"/>
                    <a:gd name="connsiteY37" fmla="*/ 7123 h 10182"/>
                    <a:gd name="connsiteX38" fmla="*/ 6505 w 10000"/>
                    <a:gd name="connsiteY38" fmla="*/ 5435 h 10182"/>
                    <a:gd name="connsiteX39" fmla="*/ 7181 w 10000"/>
                    <a:gd name="connsiteY39" fmla="*/ 4063 h 10182"/>
                    <a:gd name="connsiteX40" fmla="*/ 5944 w 10000"/>
                    <a:gd name="connsiteY40" fmla="*/ 4019 h 10182"/>
                    <a:gd name="connsiteX41" fmla="*/ 5217 w 10000"/>
                    <a:gd name="connsiteY41" fmla="*/ 2394 h 10182"/>
                    <a:gd name="connsiteX42" fmla="*/ 4477 w 10000"/>
                    <a:gd name="connsiteY42" fmla="*/ 1170 h 10182"/>
                    <a:gd name="connsiteX43" fmla="*/ 4337 w 10000"/>
                    <a:gd name="connsiteY43" fmla="*/ 1161 h 10182"/>
                    <a:gd name="connsiteX0" fmla="*/ 4439 w 10000"/>
                    <a:gd name="connsiteY0" fmla="*/ 1126 h 10182"/>
                    <a:gd name="connsiteX1" fmla="*/ 2832 w 10000"/>
                    <a:gd name="connsiteY1" fmla="*/ 1965 h 10182"/>
                    <a:gd name="connsiteX2" fmla="*/ 1569 w 10000"/>
                    <a:gd name="connsiteY2" fmla="*/ 3276 h 10182"/>
                    <a:gd name="connsiteX3" fmla="*/ 2895 w 10000"/>
                    <a:gd name="connsiteY3" fmla="*/ 6484 h 10182"/>
                    <a:gd name="connsiteX4" fmla="*/ 3724 w 10000"/>
                    <a:gd name="connsiteY4" fmla="*/ 7691 h 10182"/>
                    <a:gd name="connsiteX5" fmla="*/ 3571 w 10000"/>
                    <a:gd name="connsiteY5" fmla="*/ 8993 h 10182"/>
                    <a:gd name="connsiteX6" fmla="*/ 2436 w 10000"/>
                    <a:gd name="connsiteY6" fmla="*/ 7761 h 10182"/>
                    <a:gd name="connsiteX7" fmla="*/ 2232 w 10000"/>
                    <a:gd name="connsiteY7" fmla="*/ 9649 h 10182"/>
                    <a:gd name="connsiteX8" fmla="*/ 2181 w 10000"/>
                    <a:gd name="connsiteY8" fmla="*/ 9107 h 10182"/>
                    <a:gd name="connsiteX9" fmla="*/ 1429 w 10000"/>
                    <a:gd name="connsiteY9" fmla="*/ 9623 h 10182"/>
                    <a:gd name="connsiteX10" fmla="*/ 1607 w 10000"/>
                    <a:gd name="connsiteY10" fmla="*/ 8810 h 10182"/>
                    <a:gd name="connsiteX11" fmla="*/ 1110 w 10000"/>
                    <a:gd name="connsiteY11" fmla="*/ 8040 h 10182"/>
                    <a:gd name="connsiteX12" fmla="*/ 995 w 10000"/>
                    <a:gd name="connsiteY12" fmla="*/ 7158 h 10182"/>
                    <a:gd name="connsiteX13" fmla="*/ 727 w 10000"/>
                    <a:gd name="connsiteY13" fmla="*/ 6353 h 10182"/>
                    <a:gd name="connsiteX14" fmla="*/ 115 w 10000"/>
                    <a:gd name="connsiteY14" fmla="*/ 4762 h 10182"/>
                    <a:gd name="connsiteX15" fmla="*/ 383 w 10000"/>
                    <a:gd name="connsiteY15" fmla="*/ 3949 h 10182"/>
                    <a:gd name="connsiteX16" fmla="*/ 64 w 10000"/>
                    <a:gd name="connsiteY16" fmla="*/ 3067 h 10182"/>
                    <a:gd name="connsiteX17" fmla="*/ 1862 w 10000"/>
                    <a:gd name="connsiteY17" fmla="*/ 1021 h 10182"/>
                    <a:gd name="connsiteX18" fmla="*/ 5174 w 10000"/>
                    <a:gd name="connsiteY18" fmla="*/ 726 h 10182"/>
                    <a:gd name="connsiteX19" fmla="*/ 5204 w 10000"/>
                    <a:gd name="connsiteY19" fmla="*/ 680 h 10182"/>
                    <a:gd name="connsiteX20" fmla="*/ 5115 w 10000"/>
                    <a:gd name="connsiteY20" fmla="*/ 951 h 10182"/>
                    <a:gd name="connsiteX21" fmla="*/ 5327 w 10000"/>
                    <a:gd name="connsiteY21" fmla="*/ 716 h 10182"/>
                    <a:gd name="connsiteX22" fmla="*/ 5795 w 10000"/>
                    <a:gd name="connsiteY22" fmla="*/ 697 h 10182"/>
                    <a:gd name="connsiteX23" fmla="*/ 8061 w 10000"/>
                    <a:gd name="connsiteY23" fmla="*/ 1765 h 10182"/>
                    <a:gd name="connsiteX24" fmla="*/ 9141 w 10000"/>
                    <a:gd name="connsiteY24" fmla="*/ 2801 h 10182"/>
                    <a:gd name="connsiteX25" fmla="*/ 9617 w 10000"/>
                    <a:gd name="connsiteY25" fmla="*/ 5042 h 10182"/>
                    <a:gd name="connsiteX26" fmla="*/ 9719 w 10000"/>
                    <a:gd name="connsiteY26" fmla="*/ 7009 h 10182"/>
                    <a:gd name="connsiteX27" fmla="*/ 8699 w 10000"/>
                    <a:gd name="connsiteY27" fmla="*/ 8836 h 10182"/>
                    <a:gd name="connsiteX28" fmla="*/ 7679 w 10000"/>
                    <a:gd name="connsiteY28" fmla="*/ 9491 h 10182"/>
                    <a:gd name="connsiteX29" fmla="*/ 6607 w 10000"/>
                    <a:gd name="connsiteY29" fmla="*/ 10182 h 10182"/>
                    <a:gd name="connsiteX30" fmla="*/ 6594 w 10000"/>
                    <a:gd name="connsiteY30" fmla="*/ 9806 h 10182"/>
                    <a:gd name="connsiteX31" fmla="*/ 6352 w 10000"/>
                    <a:gd name="connsiteY31" fmla="*/ 9867 h 10182"/>
                    <a:gd name="connsiteX32" fmla="*/ 6441 w 10000"/>
                    <a:gd name="connsiteY32" fmla="*/ 9308 h 10182"/>
                    <a:gd name="connsiteX33" fmla="*/ 6135 w 10000"/>
                    <a:gd name="connsiteY33" fmla="*/ 9430 h 10182"/>
                    <a:gd name="connsiteX34" fmla="*/ 6237 w 10000"/>
                    <a:gd name="connsiteY34" fmla="*/ 8539 h 10182"/>
                    <a:gd name="connsiteX35" fmla="*/ 5893 w 10000"/>
                    <a:gd name="connsiteY35" fmla="*/ 8635 h 10182"/>
                    <a:gd name="connsiteX36" fmla="*/ 5995 w 10000"/>
                    <a:gd name="connsiteY36" fmla="*/ 7726 h 10182"/>
                    <a:gd name="connsiteX37" fmla="*/ 6492 w 10000"/>
                    <a:gd name="connsiteY37" fmla="*/ 7123 h 10182"/>
                    <a:gd name="connsiteX38" fmla="*/ 6505 w 10000"/>
                    <a:gd name="connsiteY38" fmla="*/ 5435 h 10182"/>
                    <a:gd name="connsiteX39" fmla="*/ 7181 w 10000"/>
                    <a:gd name="connsiteY39" fmla="*/ 4063 h 10182"/>
                    <a:gd name="connsiteX40" fmla="*/ 5944 w 10000"/>
                    <a:gd name="connsiteY40" fmla="*/ 4019 h 10182"/>
                    <a:gd name="connsiteX41" fmla="*/ 5217 w 10000"/>
                    <a:gd name="connsiteY41" fmla="*/ 2394 h 10182"/>
                    <a:gd name="connsiteX42" fmla="*/ 4477 w 10000"/>
                    <a:gd name="connsiteY42" fmla="*/ 1170 h 10182"/>
                    <a:gd name="connsiteX43" fmla="*/ 4337 w 10000"/>
                    <a:gd name="connsiteY43" fmla="*/ 1161 h 10182"/>
                    <a:gd name="connsiteX0" fmla="*/ 4439 w 10000"/>
                    <a:gd name="connsiteY0" fmla="*/ 1126 h 10182"/>
                    <a:gd name="connsiteX1" fmla="*/ 2832 w 10000"/>
                    <a:gd name="connsiteY1" fmla="*/ 1965 h 10182"/>
                    <a:gd name="connsiteX2" fmla="*/ 1569 w 10000"/>
                    <a:gd name="connsiteY2" fmla="*/ 3276 h 10182"/>
                    <a:gd name="connsiteX3" fmla="*/ 2895 w 10000"/>
                    <a:gd name="connsiteY3" fmla="*/ 6484 h 10182"/>
                    <a:gd name="connsiteX4" fmla="*/ 3724 w 10000"/>
                    <a:gd name="connsiteY4" fmla="*/ 7691 h 10182"/>
                    <a:gd name="connsiteX5" fmla="*/ 3571 w 10000"/>
                    <a:gd name="connsiteY5" fmla="*/ 8993 h 10182"/>
                    <a:gd name="connsiteX6" fmla="*/ 2436 w 10000"/>
                    <a:gd name="connsiteY6" fmla="*/ 7761 h 10182"/>
                    <a:gd name="connsiteX7" fmla="*/ 2232 w 10000"/>
                    <a:gd name="connsiteY7" fmla="*/ 9649 h 10182"/>
                    <a:gd name="connsiteX8" fmla="*/ 2181 w 10000"/>
                    <a:gd name="connsiteY8" fmla="*/ 9107 h 10182"/>
                    <a:gd name="connsiteX9" fmla="*/ 1429 w 10000"/>
                    <a:gd name="connsiteY9" fmla="*/ 9623 h 10182"/>
                    <a:gd name="connsiteX10" fmla="*/ 1607 w 10000"/>
                    <a:gd name="connsiteY10" fmla="*/ 8810 h 10182"/>
                    <a:gd name="connsiteX11" fmla="*/ 1110 w 10000"/>
                    <a:gd name="connsiteY11" fmla="*/ 8040 h 10182"/>
                    <a:gd name="connsiteX12" fmla="*/ 995 w 10000"/>
                    <a:gd name="connsiteY12" fmla="*/ 7158 h 10182"/>
                    <a:gd name="connsiteX13" fmla="*/ 727 w 10000"/>
                    <a:gd name="connsiteY13" fmla="*/ 6353 h 10182"/>
                    <a:gd name="connsiteX14" fmla="*/ 115 w 10000"/>
                    <a:gd name="connsiteY14" fmla="*/ 4762 h 10182"/>
                    <a:gd name="connsiteX15" fmla="*/ 383 w 10000"/>
                    <a:gd name="connsiteY15" fmla="*/ 3949 h 10182"/>
                    <a:gd name="connsiteX16" fmla="*/ 64 w 10000"/>
                    <a:gd name="connsiteY16" fmla="*/ 3067 h 10182"/>
                    <a:gd name="connsiteX17" fmla="*/ 1862 w 10000"/>
                    <a:gd name="connsiteY17" fmla="*/ 1021 h 10182"/>
                    <a:gd name="connsiteX18" fmla="*/ 5174 w 10000"/>
                    <a:gd name="connsiteY18" fmla="*/ 726 h 10182"/>
                    <a:gd name="connsiteX19" fmla="*/ 5204 w 10000"/>
                    <a:gd name="connsiteY19" fmla="*/ 680 h 10182"/>
                    <a:gd name="connsiteX20" fmla="*/ 5327 w 10000"/>
                    <a:gd name="connsiteY20" fmla="*/ 716 h 10182"/>
                    <a:gd name="connsiteX21" fmla="*/ 5795 w 10000"/>
                    <a:gd name="connsiteY21" fmla="*/ 697 h 10182"/>
                    <a:gd name="connsiteX22" fmla="*/ 8061 w 10000"/>
                    <a:gd name="connsiteY22" fmla="*/ 1765 h 10182"/>
                    <a:gd name="connsiteX23" fmla="*/ 9141 w 10000"/>
                    <a:gd name="connsiteY23" fmla="*/ 2801 h 10182"/>
                    <a:gd name="connsiteX24" fmla="*/ 9617 w 10000"/>
                    <a:gd name="connsiteY24" fmla="*/ 5042 h 10182"/>
                    <a:gd name="connsiteX25" fmla="*/ 9719 w 10000"/>
                    <a:gd name="connsiteY25" fmla="*/ 7009 h 10182"/>
                    <a:gd name="connsiteX26" fmla="*/ 8699 w 10000"/>
                    <a:gd name="connsiteY26" fmla="*/ 8836 h 10182"/>
                    <a:gd name="connsiteX27" fmla="*/ 7679 w 10000"/>
                    <a:gd name="connsiteY27" fmla="*/ 9491 h 10182"/>
                    <a:gd name="connsiteX28" fmla="*/ 6607 w 10000"/>
                    <a:gd name="connsiteY28" fmla="*/ 10182 h 10182"/>
                    <a:gd name="connsiteX29" fmla="*/ 6594 w 10000"/>
                    <a:gd name="connsiteY29" fmla="*/ 9806 h 10182"/>
                    <a:gd name="connsiteX30" fmla="*/ 6352 w 10000"/>
                    <a:gd name="connsiteY30" fmla="*/ 9867 h 10182"/>
                    <a:gd name="connsiteX31" fmla="*/ 6441 w 10000"/>
                    <a:gd name="connsiteY31" fmla="*/ 9308 h 10182"/>
                    <a:gd name="connsiteX32" fmla="*/ 6135 w 10000"/>
                    <a:gd name="connsiteY32" fmla="*/ 9430 h 10182"/>
                    <a:gd name="connsiteX33" fmla="*/ 6237 w 10000"/>
                    <a:gd name="connsiteY33" fmla="*/ 8539 h 10182"/>
                    <a:gd name="connsiteX34" fmla="*/ 5893 w 10000"/>
                    <a:gd name="connsiteY34" fmla="*/ 8635 h 10182"/>
                    <a:gd name="connsiteX35" fmla="*/ 5995 w 10000"/>
                    <a:gd name="connsiteY35" fmla="*/ 7726 h 10182"/>
                    <a:gd name="connsiteX36" fmla="*/ 6492 w 10000"/>
                    <a:gd name="connsiteY36" fmla="*/ 7123 h 10182"/>
                    <a:gd name="connsiteX37" fmla="*/ 6505 w 10000"/>
                    <a:gd name="connsiteY37" fmla="*/ 5435 h 10182"/>
                    <a:gd name="connsiteX38" fmla="*/ 7181 w 10000"/>
                    <a:gd name="connsiteY38" fmla="*/ 4063 h 10182"/>
                    <a:gd name="connsiteX39" fmla="*/ 5944 w 10000"/>
                    <a:gd name="connsiteY39" fmla="*/ 4019 h 10182"/>
                    <a:gd name="connsiteX40" fmla="*/ 5217 w 10000"/>
                    <a:gd name="connsiteY40" fmla="*/ 2394 h 10182"/>
                    <a:gd name="connsiteX41" fmla="*/ 4477 w 10000"/>
                    <a:gd name="connsiteY41" fmla="*/ 1170 h 10182"/>
                    <a:gd name="connsiteX42" fmla="*/ 4337 w 10000"/>
                    <a:gd name="connsiteY42" fmla="*/ 1161 h 10182"/>
                    <a:gd name="connsiteX0" fmla="*/ 4439 w 10000"/>
                    <a:gd name="connsiteY0" fmla="*/ 1126 h 10182"/>
                    <a:gd name="connsiteX1" fmla="*/ 2832 w 10000"/>
                    <a:gd name="connsiteY1" fmla="*/ 1965 h 10182"/>
                    <a:gd name="connsiteX2" fmla="*/ 1569 w 10000"/>
                    <a:gd name="connsiteY2" fmla="*/ 3276 h 10182"/>
                    <a:gd name="connsiteX3" fmla="*/ 2895 w 10000"/>
                    <a:gd name="connsiteY3" fmla="*/ 6484 h 10182"/>
                    <a:gd name="connsiteX4" fmla="*/ 3724 w 10000"/>
                    <a:gd name="connsiteY4" fmla="*/ 7691 h 10182"/>
                    <a:gd name="connsiteX5" fmla="*/ 3571 w 10000"/>
                    <a:gd name="connsiteY5" fmla="*/ 8993 h 10182"/>
                    <a:gd name="connsiteX6" fmla="*/ 2436 w 10000"/>
                    <a:gd name="connsiteY6" fmla="*/ 7761 h 10182"/>
                    <a:gd name="connsiteX7" fmla="*/ 2232 w 10000"/>
                    <a:gd name="connsiteY7" fmla="*/ 9649 h 10182"/>
                    <a:gd name="connsiteX8" fmla="*/ 2181 w 10000"/>
                    <a:gd name="connsiteY8" fmla="*/ 9107 h 10182"/>
                    <a:gd name="connsiteX9" fmla="*/ 1429 w 10000"/>
                    <a:gd name="connsiteY9" fmla="*/ 9623 h 10182"/>
                    <a:gd name="connsiteX10" fmla="*/ 1607 w 10000"/>
                    <a:gd name="connsiteY10" fmla="*/ 8810 h 10182"/>
                    <a:gd name="connsiteX11" fmla="*/ 1110 w 10000"/>
                    <a:gd name="connsiteY11" fmla="*/ 8040 h 10182"/>
                    <a:gd name="connsiteX12" fmla="*/ 995 w 10000"/>
                    <a:gd name="connsiteY12" fmla="*/ 7158 h 10182"/>
                    <a:gd name="connsiteX13" fmla="*/ 727 w 10000"/>
                    <a:gd name="connsiteY13" fmla="*/ 6353 h 10182"/>
                    <a:gd name="connsiteX14" fmla="*/ 115 w 10000"/>
                    <a:gd name="connsiteY14" fmla="*/ 4762 h 10182"/>
                    <a:gd name="connsiteX15" fmla="*/ 383 w 10000"/>
                    <a:gd name="connsiteY15" fmla="*/ 3949 h 10182"/>
                    <a:gd name="connsiteX16" fmla="*/ 64 w 10000"/>
                    <a:gd name="connsiteY16" fmla="*/ 3067 h 10182"/>
                    <a:gd name="connsiteX17" fmla="*/ 1862 w 10000"/>
                    <a:gd name="connsiteY17" fmla="*/ 1021 h 10182"/>
                    <a:gd name="connsiteX18" fmla="*/ 5174 w 10000"/>
                    <a:gd name="connsiteY18" fmla="*/ 726 h 10182"/>
                    <a:gd name="connsiteX19" fmla="*/ 5204 w 10000"/>
                    <a:gd name="connsiteY19" fmla="*/ 680 h 10182"/>
                    <a:gd name="connsiteX20" fmla="*/ 5191 w 10000"/>
                    <a:gd name="connsiteY20" fmla="*/ 623 h 10182"/>
                    <a:gd name="connsiteX21" fmla="*/ 5795 w 10000"/>
                    <a:gd name="connsiteY21" fmla="*/ 697 h 10182"/>
                    <a:gd name="connsiteX22" fmla="*/ 8061 w 10000"/>
                    <a:gd name="connsiteY22" fmla="*/ 1765 h 10182"/>
                    <a:gd name="connsiteX23" fmla="*/ 9141 w 10000"/>
                    <a:gd name="connsiteY23" fmla="*/ 2801 h 10182"/>
                    <a:gd name="connsiteX24" fmla="*/ 9617 w 10000"/>
                    <a:gd name="connsiteY24" fmla="*/ 5042 h 10182"/>
                    <a:gd name="connsiteX25" fmla="*/ 9719 w 10000"/>
                    <a:gd name="connsiteY25" fmla="*/ 7009 h 10182"/>
                    <a:gd name="connsiteX26" fmla="*/ 8699 w 10000"/>
                    <a:gd name="connsiteY26" fmla="*/ 8836 h 10182"/>
                    <a:gd name="connsiteX27" fmla="*/ 7679 w 10000"/>
                    <a:gd name="connsiteY27" fmla="*/ 9491 h 10182"/>
                    <a:gd name="connsiteX28" fmla="*/ 6607 w 10000"/>
                    <a:gd name="connsiteY28" fmla="*/ 10182 h 10182"/>
                    <a:gd name="connsiteX29" fmla="*/ 6594 w 10000"/>
                    <a:gd name="connsiteY29" fmla="*/ 9806 h 10182"/>
                    <a:gd name="connsiteX30" fmla="*/ 6352 w 10000"/>
                    <a:gd name="connsiteY30" fmla="*/ 9867 h 10182"/>
                    <a:gd name="connsiteX31" fmla="*/ 6441 w 10000"/>
                    <a:gd name="connsiteY31" fmla="*/ 9308 h 10182"/>
                    <a:gd name="connsiteX32" fmla="*/ 6135 w 10000"/>
                    <a:gd name="connsiteY32" fmla="*/ 9430 h 10182"/>
                    <a:gd name="connsiteX33" fmla="*/ 6237 w 10000"/>
                    <a:gd name="connsiteY33" fmla="*/ 8539 h 10182"/>
                    <a:gd name="connsiteX34" fmla="*/ 5893 w 10000"/>
                    <a:gd name="connsiteY34" fmla="*/ 8635 h 10182"/>
                    <a:gd name="connsiteX35" fmla="*/ 5995 w 10000"/>
                    <a:gd name="connsiteY35" fmla="*/ 7726 h 10182"/>
                    <a:gd name="connsiteX36" fmla="*/ 6492 w 10000"/>
                    <a:gd name="connsiteY36" fmla="*/ 7123 h 10182"/>
                    <a:gd name="connsiteX37" fmla="*/ 6505 w 10000"/>
                    <a:gd name="connsiteY37" fmla="*/ 5435 h 10182"/>
                    <a:gd name="connsiteX38" fmla="*/ 7181 w 10000"/>
                    <a:gd name="connsiteY38" fmla="*/ 4063 h 10182"/>
                    <a:gd name="connsiteX39" fmla="*/ 5944 w 10000"/>
                    <a:gd name="connsiteY39" fmla="*/ 4019 h 10182"/>
                    <a:gd name="connsiteX40" fmla="*/ 5217 w 10000"/>
                    <a:gd name="connsiteY40" fmla="*/ 2394 h 10182"/>
                    <a:gd name="connsiteX41" fmla="*/ 4477 w 10000"/>
                    <a:gd name="connsiteY41" fmla="*/ 1170 h 10182"/>
                    <a:gd name="connsiteX42" fmla="*/ 4337 w 10000"/>
                    <a:gd name="connsiteY42" fmla="*/ 1161 h 10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10000" h="10182">
                      <a:moveTo>
                        <a:pt x="4439" y="1126"/>
                      </a:moveTo>
                      <a:cubicBezTo>
                        <a:pt x="3584" y="1187"/>
                        <a:pt x="3367" y="1589"/>
                        <a:pt x="2832" y="1965"/>
                      </a:cubicBezTo>
                      <a:cubicBezTo>
                        <a:pt x="2232" y="2394"/>
                        <a:pt x="1837" y="2743"/>
                        <a:pt x="1569" y="3276"/>
                      </a:cubicBezTo>
                      <a:cubicBezTo>
                        <a:pt x="982" y="4422"/>
                        <a:pt x="1594" y="5610"/>
                        <a:pt x="2895" y="6484"/>
                      </a:cubicBezTo>
                      <a:cubicBezTo>
                        <a:pt x="3418" y="6834"/>
                        <a:pt x="3469" y="7192"/>
                        <a:pt x="3724" y="7691"/>
                      </a:cubicBezTo>
                      <a:cubicBezTo>
                        <a:pt x="3929" y="8102"/>
                        <a:pt x="4043" y="8696"/>
                        <a:pt x="3571" y="8993"/>
                      </a:cubicBezTo>
                      <a:cubicBezTo>
                        <a:pt x="3061" y="8792"/>
                        <a:pt x="3278" y="7769"/>
                        <a:pt x="2436" y="7761"/>
                      </a:cubicBezTo>
                      <a:cubicBezTo>
                        <a:pt x="2385" y="8504"/>
                        <a:pt x="3265" y="9028"/>
                        <a:pt x="2232" y="9649"/>
                      </a:cubicBezTo>
                      <a:cubicBezTo>
                        <a:pt x="2232" y="9448"/>
                        <a:pt x="2474" y="9177"/>
                        <a:pt x="2181" y="9107"/>
                      </a:cubicBezTo>
                      <a:cubicBezTo>
                        <a:pt x="2219" y="9413"/>
                        <a:pt x="1824" y="9553"/>
                        <a:pt x="1429" y="9623"/>
                      </a:cubicBezTo>
                      <a:cubicBezTo>
                        <a:pt x="1607" y="9387"/>
                        <a:pt x="1671" y="9089"/>
                        <a:pt x="1607" y="8810"/>
                      </a:cubicBezTo>
                      <a:cubicBezTo>
                        <a:pt x="1543" y="8504"/>
                        <a:pt x="1263" y="8329"/>
                        <a:pt x="1110" y="8040"/>
                      </a:cubicBezTo>
                      <a:cubicBezTo>
                        <a:pt x="957" y="7752"/>
                        <a:pt x="995" y="7463"/>
                        <a:pt x="995" y="7158"/>
                      </a:cubicBezTo>
                      <a:cubicBezTo>
                        <a:pt x="995" y="6808"/>
                        <a:pt x="880" y="6659"/>
                        <a:pt x="727" y="6353"/>
                      </a:cubicBezTo>
                      <a:cubicBezTo>
                        <a:pt x="472" y="5890"/>
                        <a:pt x="0" y="5287"/>
                        <a:pt x="115" y="4762"/>
                      </a:cubicBezTo>
                      <a:cubicBezTo>
                        <a:pt x="179" y="4483"/>
                        <a:pt x="408" y="4247"/>
                        <a:pt x="383" y="3949"/>
                      </a:cubicBezTo>
                      <a:cubicBezTo>
                        <a:pt x="344" y="3635"/>
                        <a:pt x="89" y="3390"/>
                        <a:pt x="64" y="3067"/>
                      </a:cubicBezTo>
                      <a:cubicBezTo>
                        <a:pt x="13" y="2254"/>
                        <a:pt x="969" y="1476"/>
                        <a:pt x="1862" y="1021"/>
                      </a:cubicBezTo>
                      <a:cubicBezTo>
                        <a:pt x="2653" y="619"/>
                        <a:pt x="4536" y="0"/>
                        <a:pt x="5174" y="726"/>
                      </a:cubicBezTo>
                      <a:cubicBezTo>
                        <a:pt x="5276" y="638"/>
                        <a:pt x="5089" y="750"/>
                        <a:pt x="5204" y="680"/>
                      </a:cubicBezTo>
                      <a:cubicBezTo>
                        <a:pt x="5229" y="678"/>
                        <a:pt x="5093" y="620"/>
                        <a:pt x="5191" y="623"/>
                      </a:cubicBezTo>
                      <a:cubicBezTo>
                        <a:pt x="5128" y="685"/>
                        <a:pt x="5833" y="636"/>
                        <a:pt x="5795" y="697"/>
                      </a:cubicBezTo>
                      <a:cubicBezTo>
                        <a:pt x="6905" y="732"/>
                        <a:pt x="7461" y="1171"/>
                        <a:pt x="8061" y="1765"/>
                      </a:cubicBezTo>
                      <a:cubicBezTo>
                        <a:pt x="8520" y="2228"/>
                        <a:pt x="8631" y="2073"/>
                        <a:pt x="9141" y="2801"/>
                      </a:cubicBezTo>
                      <a:cubicBezTo>
                        <a:pt x="9587" y="3317"/>
                        <a:pt x="9426" y="4474"/>
                        <a:pt x="9617" y="5042"/>
                      </a:cubicBezTo>
                      <a:cubicBezTo>
                        <a:pt x="9860" y="5706"/>
                        <a:pt x="10000" y="6345"/>
                        <a:pt x="9719" y="7009"/>
                      </a:cubicBezTo>
                      <a:cubicBezTo>
                        <a:pt x="9490" y="7568"/>
                        <a:pt x="9209" y="8346"/>
                        <a:pt x="8699" y="8836"/>
                      </a:cubicBezTo>
                      <a:cubicBezTo>
                        <a:pt x="8406" y="9116"/>
                        <a:pt x="8087" y="9317"/>
                        <a:pt x="7679" y="9491"/>
                      </a:cubicBezTo>
                      <a:cubicBezTo>
                        <a:pt x="7194" y="9701"/>
                        <a:pt x="6964" y="9937"/>
                        <a:pt x="6607" y="10182"/>
                      </a:cubicBezTo>
                      <a:cubicBezTo>
                        <a:pt x="6594" y="10060"/>
                        <a:pt x="6607" y="9929"/>
                        <a:pt x="6594" y="9806"/>
                      </a:cubicBezTo>
                      <a:cubicBezTo>
                        <a:pt x="6543" y="9824"/>
                        <a:pt x="6416" y="9832"/>
                        <a:pt x="6352" y="9867"/>
                      </a:cubicBezTo>
                      <a:cubicBezTo>
                        <a:pt x="6301" y="9675"/>
                        <a:pt x="6390" y="9483"/>
                        <a:pt x="6441" y="9308"/>
                      </a:cubicBezTo>
                      <a:cubicBezTo>
                        <a:pt x="6365" y="9352"/>
                        <a:pt x="6212" y="9387"/>
                        <a:pt x="6135" y="9430"/>
                      </a:cubicBezTo>
                      <a:cubicBezTo>
                        <a:pt x="6148" y="9133"/>
                        <a:pt x="6084" y="8810"/>
                        <a:pt x="6237" y="8539"/>
                      </a:cubicBezTo>
                      <a:cubicBezTo>
                        <a:pt x="6135" y="8600"/>
                        <a:pt x="5995" y="8600"/>
                        <a:pt x="5893" y="8635"/>
                      </a:cubicBezTo>
                      <a:cubicBezTo>
                        <a:pt x="5867" y="8320"/>
                        <a:pt x="5842" y="8005"/>
                        <a:pt x="5995" y="7726"/>
                      </a:cubicBezTo>
                      <a:cubicBezTo>
                        <a:pt x="6110" y="7516"/>
                        <a:pt x="6403" y="7341"/>
                        <a:pt x="6492" y="7123"/>
                      </a:cubicBezTo>
                      <a:cubicBezTo>
                        <a:pt x="6696" y="6651"/>
                        <a:pt x="6429" y="5951"/>
                        <a:pt x="6505" y="5435"/>
                      </a:cubicBezTo>
                      <a:cubicBezTo>
                        <a:pt x="7028" y="5348"/>
                        <a:pt x="7691" y="4658"/>
                        <a:pt x="7181" y="4063"/>
                      </a:cubicBezTo>
                      <a:cubicBezTo>
                        <a:pt x="6837" y="3652"/>
                        <a:pt x="6390" y="4413"/>
                        <a:pt x="5944" y="4019"/>
                      </a:cubicBezTo>
                      <a:cubicBezTo>
                        <a:pt x="5510" y="3626"/>
                        <a:pt x="5204" y="2883"/>
                        <a:pt x="5217" y="2394"/>
                      </a:cubicBezTo>
                      <a:cubicBezTo>
                        <a:pt x="5217" y="1799"/>
                        <a:pt x="4872" y="1642"/>
                        <a:pt x="4477" y="1170"/>
                      </a:cubicBezTo>
                      <a:cubicBezTo>
                        <a:pt x="4426" y="1161"/>
                        <a:pt x="4388" y="1170"/>
                        <a:pt x="4337" y="1161"/>
                      </a:cubicBezTo>
                    </a:path>
                  </a:pathLst>
                </a:custGeom>
                <a:solidFill>
                  <a:srgbClr val="C69C6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46" name="Freeform 359"/>
                <p:cNvSpPr>
                  <a:spLocks/>
                </p:cNvSpPr>
                <p:nvPr/>
              </p:nvSpPr>
              <p:spPr bwMode="gray">
                <a:xfrm>
                  <a:off x="4068846" y="4192597"/>
                  <a:ext cx="46799" cy="138134"/>
                </a:xfrm>
                <a:custGeom>
                  <a:avLst/>
                  <a:gdLst/>
                  <a:ahLst/>
                  <a:cxnLst>
                    <a:cxn ang="0">
                      <a:pos x="41" y="53"/>
                    </a:cxn>
                    <a:cxn ang="0">
                      <a:pos x="58" y="182"/>
                    </a:cxn>
                    <a:cxn ang="0">
                      <a:pos x="16" y="233"/>
                    </a:cxn>
                    <a:cxn ang="0">
                      <a:pos x="21" y="310"/>
                    </a:cxn>
                    <a:cxn ang="0">
                      <a:pos x="105" y="14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5" h="310">
                      <a:moveTo>
                        <a:pt x="41" y="53"/>
                      </a:moveTo>
                      <a:cubicBezTo>
                        <a:pt x="58" y="67"/>
                        <a:pt x="88" y="145"/>
                        <a:pt x="58" y="182"/>
                      </a:cubicBezTo>
                      <a:cubicBezTo>
                        <a:pt x="44" y="199"/>
                        <a:pt x="24" y="208"/>
                        <a:pt x="16" y="233"/>
                      </a:cubicBezTo>
                      <a:cubicBezTo>
                        <a:pt x="8" y="257"/>
                        <a:pt x="12" y="289"/>
                        <a:pt x="21" y="310"/>
                      </a:cubicBezTo>
                      <a:cubicBezTo>
                        <a:pt x="22" y="237"/>
                        <a:pt x="105" y="226"/>
                        <a:pt x="105" y="147"/>
                      </a:cubicBezTo>
                      <a:cubicBezTo>
                        <a:pt x="104" y="66"/>
                        <a:pt x="39" y="58"/>
                        <a:pt x="0" y="0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47" name="Freeform 386"/>
                <p:cNvSpPr>
                  <a:spLocks/>
                </p:cNvSpPr>
                <p:nvPr/>
              </p:nvSpPr>
              <p:spPr bwMode="gray">
                <a:xfrm>
                  <a:off x="3990344" y="4045971"/>
                  <a:ext cx="98505" cy="91334"/>
                </a:xfrm>
                <a:custGeom>
                  <a:avLst/>
                  <a:gdLst/>
                  <a:ahLst/>
                  <a:cxnLst>
                    <a:cxn ang="0">
                      <a:pos x="1" y="49"/>
                    </a:cxn>
                    <a:cxn ang="0">
                      <a:pos x="64" y="106"/>
                    </a:cxn>
                    <a:cxn ang="0">
                      <a:pos x="42" y="56"/>
                    </a:cxn>
                    <a:cxn ang="0">
                      <a:pos x="88" y="92"/>
                    </a:cxn>
                    <a:cxn ang="0">
                      <a:pos x="67" y="53"/>
                    </a:cxn>
                    <a:cxn ang="0">
                      <a:pos x="145" y="115"/>
                    </a:cxn>
                    <a:cxn ang="0">
                      <a:pos x="187" y="173"/>
                    </a:cxn>
                    <a:cxn ang="0">
                      <a:pos x="221" y="205"/>
                    </a:cxn>
                    <a:cxn ang="0">
                      <a:pos x="192" y="164"/>
                    </a:cxn>
                    <a:cxn ang="0">
                      <a:pos x="168" y="119"/>
                    </a:cxn>
                    <a:cxn ang="0">
                      <a:pos x="100" y="52"/>
                    </a:cxn>
                    <a:cxn ang="0">
                      <a:pos x="159" y="97"/>
                    </a:cxn>
                    <a:cxn ang="0">
                      <a:pos x="212" y="150"/>
                    </a:cxn>
                    <a:cxn ang="0">
                      <a:pos x="153" y="70"/>
                    </a:cxn>
                    <a:cxn ang="0">
                      <a:pos x="119" y="43"/>
                    </a:cxn>
                    <a:cxn ang="0">
                      <a:pos x="73" y="45"/>
                    </a:cxn>
                    <a:cxn ang="0">
                      <a:pos x="84" y="17"/>
                    </a:cxn>
                    <a:cxn ang="0">
                      <a:pos x="34" y="45"/>
                    </a:cxn>
                    <a:cxn ang="0">
                      <a:pos x="51" y="28"/>
                    </a:cxn>
                    <a:cxn ang="0">
                      <a:pos x="56" y="0"/>
                    </a:cxn>
                    <a:cxn ang="0">
                      <a:pos x="0" y="52"/>
                    </a:cxn>
                  </a:cxnLst>
                  <a:rect l="0" t="0" r="r" b="b"/>
                  <a:pathLst>
                    <a:path w="221" h="205">
                      <a:moveTo>
                        <a:pt x="1" y="49"/>
                      </a:moveTo>
                      <a:cubicBezTo>
                        <a:pt x="36" y="45"/>
                        <a:pt x="54" y="79"/>
                        <a:pt x="64" y="106"/>
                      </a:cubicBezTo>
                      <a:cubicBezTo>
                        <a:pt x="64" y="85"/>
                        <a:pt x="53" y="73"/>
                        <a:pt x="42" y="56"/>
                      </a:cubicBezTo>
                      <a:cubicBezTo>
                        <a:pt x="63" y="56"/>
                        <a:pt x="84" y="71"/>
                        <a:pt x="88" y="92"/>
                      </a:cubicBezTo>
                      <a:cubicBezTo>
                        <a:pt x="90" y="74"/>
                        <a:pt x="79" y="63"/>
                        <a:pt x="67" y="53"/>
                      </a:cubicBezTo>
                      <a:cubicBezTo>
                        <a:pt x="103" y="46"/>
                        <a:pt x="129" y="90"/>
                        <a:pt x="145" y="115"/>
                      </a:cubicBezTo>
                      <a:cubicBezTo>
                        <a:pt x="158" y="134"/>
                        <a:pt x="171" y="157"/>
                        <a:pt x="187" y="173"/>
                      </a:cubicBezTo>
                      <a:cubicBezTo>
                        <a:pt x="196" y="183"/>
                        <a:pt x="208" y="201"/>
                        <a:pt x="221" y="205"/>
                      </a:cubicBezTo>
                      <a:cubicBezTo>
                        <a:pt x="217" y="188"/>
                        <a:pt x="201" y="176"/>
                        <a:pt x="192" y="164"/>
                      </a:cubicBezTo>
                      <a:cubicBezTo>
                        <a:pt x="181" y="149"/>
                        <a:pt x="175" y="135"/>
                        <a:pt x="168" y="119"/>
                      </a:cubicBezTo>
                      <a:cubicBezTo>
                        <a:pt x="157" y="95"/>
                        <a:pt x="129" y="49"/>
                        <a:pt x="100" y="52"/>
                      </a:cubicBezTo>
                      <a:cubicBezTo>
                        <a:pt x="134" y="52"/>
                        <a:pt x="141" y="73"/>
                        <a:pt x="159" y="97"/>
                      </a:cubicBezTo>
                      <a:cubicBezTo>
                        <a:pt x="173" y="118"/>
                        <a:pt x="189" y="137"/>
                        <a:pt x="212" y="150"/>
                      </a:cubicBezTo>
                      <a:cubicBezTo>
                        <a:pt x="204" y="122"/>
                        <a:pt x="172" y="90"/>
                        <a:pt x="153" y="70"/>
                      </a:cubicBezTo>
                      <a:cubicBezTo>
                        <a:pt x="142" y="58"/>
                        <a:pt x="134" y="46"/>
                        <a:pt x="119" y="43"/>
                      </a:cubicBezTo>
                      <a:cubicBezTo>
                        <a:pt x="109" y="40"/>
                        <a:pt x="80" y="37"/>
                        <a:pt x="73" y="45"/>
                      </a:cubicBezTo>
                      <a:cubicBezTo>
                        <a:pt x="75" y="36"/>
                        <a:pt x="79" y="25"/>
                        <a:pt x="84" y="17"/>
                      </a:cubicBezTo>
                      <a:cubicBezTo>
                        <a:pt x="68" y="25"/>
                        <a:pt x="53" y="43"/>
                        <a:pt x="34" y="45"/>
                      </a:cubicBezTo>
                      <a:cubicBezTo>
                        <a:pt x="38" y="40"/>
                        <a:pt x="48" y="33"/>
                        <a:pt x="51" y="28"/>
                      </a:cubicBezTo>
                      <a:cubicBezTo>
                        <a:pt x="55" y="21"/>
                        <a:pt x="54" y="7"/>
                        <a:pt x="56" y="0"/>
                      </a:cubicBezTo>
                      <a:cubicBezTo>
                        <a:pt x="37" y="17"/>
                        <a:pt x="28" y="50"/>
                        <a:pt x="0" y="52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48" name="Freeform 388"/>
                <p:cNvSpPr>
                  <a:spLocks/>
                </p:cNvSpPr>
                <p:nvPr/>
              </p:nvSpPr>
              <p:spPr bwMode="gray">
                <a:xfrm>
                  <a:off x="3866360" y="4092771"/>
                  <a:ext cx="81522" cy="349864"/>
                </a:xfrm>
                <a:custGeom>
                  <a:avLst/>
                  <a:gdLst/>
                  <a:ahLst/>
                  <a:cxnLst>
                    <a:cxn ang="0">
                      <a:pos x="174" y="0"/>
                    </a:cxn>
                    <a:cxn ang="0">
                      <a:pos x="32" y="212"/>
                    </a:cxn>
                    <a:cxn ang="0">
                      <a:pos x="69" y="509"/>
                    </a:cxn>
                    <a:cxn ang="0">
                      <a:pos x="105" y="565"/>
                    </a:cxn>
                    <a:cxn ang="0">
                      <a:pos x="155" y="616"/>
                    </a:cxn>
                    <a:cxn ang="0">
                      <a:pos x="156" y="753"/>
                    </a:cxn>
                    <a:cxn ang="0">
                      <a:pos x="110" y="678"/>
                    </a:cxn>
                    <a:cxn ang="0">
                      <a:pos x="123" y="785"/>
                    </a:cxn>
                    <a:cxn ang="0">
                      <a:pos x="75" y="670"/>
                    </a:cxn>
                    <a:cxn ang="0">
                      <a:pos x="37" y="543"/>
                    </a:cxn>
                    <a:cxn ang="0">
                      <a:pos x="37" y="476"/>
                    </a:cxn>
                    <a:cxn ang="0">
                      <a:pos x="20" y="420"/>
                    </a:cxn>
                    <a:cxn ang="0">
                      <a:pos x="2" y="291"/>
                    </a:cxn>
                    <a:cxn ang="0">
                      <a:pos x="49" y="109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83" h="785">
                      <a:moveTo>
                        <a:pt x="174" y="0"/>
                      </a:moveTo>
                      <a:cubicBezTo>
                        <a:pt x="120" y="52"/>
                        <a:pt x="39" y="134"/>
                        <a:pt x="32" y="212"/>
                      </a:cubicBezTo>
                      <a:cubicBezTo>
                        <a:pt x="23" y="310"/>
                        <a:pt x="26" y="424"/>
                        <a:pt x="69" y="509"/>
                      </a:cubicBezTo>
                      <a:cubicBezTo>
                        <a:pt x="79" y="529"/>
                        <a:pt x="92" y="545"/>
                        <a:pt x="105" y="565"/>
                      </a:cubicBezTo>
                      <a:cubicBezTo>
                        <a:pt x="120" y="587"/>
                        <a:pt x="140" y="598"/>
                        <a:pt x="155" y="616"/>
                      </a:cubicBezTo>
                      <a:cubicBezTo>
                        <a:pt x="183" y="651"/>
                        <a:pt x="170" y="719"/>
                        <a:pt x="156" y="753"/>
                      </a:cubicBezTo>
                      <a:cubicBezTo>
                        <a:pt x="157" y="720"/>
                        <a:pt x="132" y="698"/>
                        <a:pt x="110" y="678"/>
                      </a:cubicBezTo>
                      <a:cubicBezTo>
                        <a:pt x="100" y="714"/>
                        <a:pt x="113" y="752"/>
                        <a:pt x="123" y="785"/>
                      </a:cubicBezTo>
                      <a:cubicBezTo>
                        <a:pt x="80" y="765"/>
                        <a:pt x="81" y="710"/>
                        <a:pt x="75" y="670"/>
                      </a:cubicBezTo>
                      <a:cubicBezTo>
                        <a:pt x="68" y="625"/>
                        <a:pt x="39" y="589"/>
                        <a:pt x="37" y="543"/>
                      </a:cubicBezTo>
                      <a:cubicBezTo>
                        <a:pt x="36" y="521"/>
                        <a:pt x="37" y="498"/>
                        <a:pt x="37" y="476"/>
                      </a:cubicBezTo>
                      <a:cubicBezTo>
                        <a:pt x="37" y="447"/>
                        <a:pt x="34" y="443"/>
                        <a:pt x="20" y="420"/>
                      </a:cubicBezTo>
                      <a:cubicBezTo>
                        <a:pt x="0" y="386"/>
                        <a:pt x="2" y="332"/>
                        <a:pt x="2" y="291"/>
                      </a:cubicBezTo>
                      <a:cubicBezTo>
                        <a:pt x="2" y="225"/>
                        <a:pt x="19" y="166"/>
                        <a:pt x="49" y="109"/>
                      </a:cubicBezTo>
                      <a:cubicBezTo>
                        <a:pt x="70" y="67"/>
                        <a:pt x="133" y="24"/>
                        <a:pt x="172" y="0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  <p:sp>
              <p:nvSpPr>
                <p:cNvPr id="50" name="Freeform 389"/>
                <p:cNvSpPr>
                  <a:spLocks/>
                </p:cNvSpPr>
                <p:nvPr/>
              </p:nvSpPr>
              <p:spPr bwMode="gray">
                <a:xfrm>
                  <a:off x="4056774" y="4110137"/>
                  <a:ext cx="112659" cy="278532"/>
                </a:xfrm>
                <a:custGeom>
                  <a:avLst/>
                  <a:gdLst/>
                  <a:ahLst/>
                  <a:cxnLst>
                    <a:cxn ang="0">
                      <a:pos x="13" y="26"/>
                    </a:cxn>
                    <a:cxn ang="0">
                      <a:pos x="150" y="220"/>
                    </a:cxn>
                    <a:cxn ang="0">
                      <a:pos x="253" y="450"/>
                    </a:cxn>
                    <a:cxn ang="0">
                      <a:pos x="208" y="572"/>
                    </a:cxn>
                    <a:cxn ang="0">
                      <a:pos x="97" y="625"/>
                    </a:cxn>
                    <a:cxn ang="0">
                      <a:pos x="63" y="566"/>
                    </a:cxn>
                    <a:cxn ang="0">
                      <a:pos x="194" y="391"/>
                    </a:cxn>
                    <a:cxn ang="0">
                      <a:pos x="85" y="177"/>
                    </a:cxn>
                    <a:cxn ang="0">
                      <a:pos x="0" y="0"/>
                    </a:cxn>
                    <a:cxn ang="0">
                      <a:pos x="16" y="26"/>
                    </a:cxn>
                  </a:cxnLst>
                  <a:rect l="0" t="0" r="r" b="b"/>
                  <a:pathLst>
                    <a:path w="253" h="625">
                      <a:moveTo>
                        <a:pt x="13" y="26"/>
                      </a:moveTo>
                      <a:cubicBezTo>
                        <a:pt x="43" y="104"/>
                        <a:pt x="86" y="166"/>
                        <a:pt x="150" y="220"/>
                      </a:cubicBezTo>
                      <a:cubicBezTo>
                        <a:pt x="217" y="278"/>
                        <a:pt x="253" y="360"/>
                        <a:pt x="253" y="450"/>
                      </a:cubicBezTo>
                      <a:cubicBezTo>
                        <a:pt x="252" y="504"/>
                        <a:pt x="249" y="541"/>
                        <a:pt x="208" y="572"/>
                      </a:cubicBezTo>
                      <a:cubicBezTo>
                        <a:pt x="173" y="598"/>
                        <a:pt x="138" y="610"/>
                        <a:pt x="97" y="625"/>
                      </a:cubicBezTo>
                      <a:cubicBezTo>
                        <a:pt x="90" y="601"/>
                        <a:pt x="76" y="583"/>
                        <a:pt x="63" y="566"/>
                      </a:cubicBezTo>
                      <a:cubicBezTo>
                        <a:pt x="129" y="543"/>
                        <a:pt x="185" y="456"/>
                        <a:pt x="194" y="391"/>
                      </a:cubicBezTo>
                      <a:cubicBezTo>
                        <a:pt x="205" y="302"/>
                        <a:pt x="132" y="238"/>
                        <a:pt x="85" y="177"/>
                      </a:cubicBezTo>
                      <a:cubicBezTo>
                        <a:pt x="43" y="122"/>
                        <a:pt x="8" y="68"/>
                        <a:pt x="0" y="0"/>
                      </a:cubicBezTo>
                      <a:cubicBezTo>
                        <a:pt x="1" y="11"/>
                        <a:pt x="8" y="20"/>
                        <a:pt x="16" y="26"/>
                      </a:cubicBezTo>
                    </a:path>
                  </a:pathLst>
                </a:custGeom>
                <a:solidFill>
                  <a:srgbClr val="A67C5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noProof="1"/>
                </a:p>
              </p:txBody>
            </p:sp>
          </p:grpSp>
          <p:sp>
            <p:nvSpPr>
              <p:cNvPr id="44" name="Freeform 369"/>
              <p:cNvSpPr>
                <a:spLocks/>
              </p:cNvSpPr>
              <p:nvPr/>
            </p:nvSpPr>
            <p:spPr bwMode="gray">
              <a:xfrm>
                <a:off x="11155110" y="2574133"/>
                <a:ext cx="132141" cy="101359"/>
              </a:xfrm>
              <a:custGeom>
                <a:avLst/>
                <a:gdLst/>
                <a:ahLst/>
                <a:cxnLst>
                  <a:cxn ang="0">
                    <a:pos x="0" y="90"/>
                  </a:cxn>
                  <a:cxn ang="0">
                    <a:pos x="155" y="29"/>
                  </a:cxn>
                  <a:cxn ang="0">
                    <a:pos x="155" y="39"/>
                  </a:cxn>
                  <a:cxn ang="0">
                    <a:pos x="19" y="82"/>
                  </a:cxn>
                  <a:cxn ang="0">
                    <a:pos x="180" y="130"/>
                  </a:cxn>
                  <a:cxn ang="0">
                    <a:pos x="5" y="93"/>
                  </a:cxn>
                </a:cxnLst>
                <a:rect l="0" t="0" r="r" b="b"/>
                <a:pathLst>
                  <a:path w="180" h="138">
                    <a:moveTo>
                      <a:pt x="0" y="90"/>
                    </a:moveTo>
                    <a:cubicBezTo>
                      <a:pt x="20" y="52"/>
                      <a:pt x="116" y="0"/>
                      <a:pt x="155" y="29"/>
                    </a:cubicBezTo>
                    <a:cubicBezTo>
                      <a:pt x="156" y="32"/>
                      <a:pt x="156" y="35"/>
                      <a:pt x="155" y="39"/>
                    </a:cubicBezTo>
                    <a:cubicBezTo>
                      <a:pt x="105" y="47"/>
                      <a:pt x="47" y="28"/>
                      <a:pt x="19" y="82"/>
                    </a:cubicBezTo>
                    <a:cubicBezTo>
                      <a:pt x="66" y="85"/>
                      <a:pt x="174" y="65"/>
                      <a:pt x="180" y="130"/>
                    </a:cubicBezTo>
                    <a:cubicBezTo>
                      <a:pt x="129" y="138"/>
                      <a:pt x="55" y="44"/>
                      <a:pt x="5" y="93"/>
                    </a:cubicBez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995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ustomer Satisfaction </a:t>
            </a:r>
            <a:r>
              <a:rPr lang="en-US" b="0" noProof="1" smtClean="0"/>
              <a:t>- Graphic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/>
              <a:t>Graphic of customer satisfaction as a result between expectation and perceived performance quality (Customer satisfaction = B / A)</a:t>
            </a:r>
          </a:p>
        </p:txBody>
      </p:sp>
      <p:grpSp>
        <p:nvGrpSpPr>
          <p:cNvPr id="5" name="Gruppieren 56"/>
          <p:cNvGrpSpPr/>
          <p:nvPr/>
        </p:nvGrpSpPr>
        <p:grpSpPr>
          <a:xfrm>
            <a:off x="1214803" y="2004512"/>
            <a:ext cx="6771545" cy="3797801"/>
            <a:chOff x="1214803" y="2004512"/>
            <a:chExt cx="6771545" cy="3797801"/>
          </a:xfrm>
        </p:grpSpPr>
        <p:pic>
          <p:nvPicPr>
            <p:cNvPr id="114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441526" y="4778663"/>
              <a:ext cx="2337148" cy="957815"/>
            </a:xfrm>
            <a:prstGeom prst="rect">
              <a:avLst/>
            </a:prstGeom>
            <a:noFill/>
          </p:spPr>
        </p:pic>
        <p:grpSp>
          <p:nvGrpSpPr>
            <p:cNvPr id="6" name="Gruppieren 324"/>
            <p:cNvGrpSpPr/>
            <p:nvPr/>
          </p:nvGrpSpPr>
          <p:grpSpPr bwMode="gray">
            <a:xfrm>
              <a:off x="3784221" y="2004512"/>
              <a:ext cx="1651759" cy="3426852"/>
              <a:chOff x="1908175" y="1847020"/>
              <a:chExt cx="1797050" cy="3728281"/>
            </a:xfrm>
          </p:grpSpPr>
          <p:sp>
            <p:nvSpPr>
              <p:cNvPr id="116" name="Rechteck 115"/>
              <p:cNvSpPr/>
              <p:nvPr/>
            </p:nvSpPr>
            <p:spPr bwMode="gray">
              <a:xfrm>
                <a:off x="2626519" y="3383756"/>
                <a:ext cx="335756" cy="92869"/>
              </a:xfrm>
              <a:prstGeom prst="rect">
                <a:avLst/>
              </a:prstGeom>
              <a:solidFill>
                <a:srgbClr val="C2D1E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17" name="Freeform 9"/>
              <p:cNvSpPr>
                <a:spLocks/>
              </p:cNvSpPr>
              <p:nvPr/>
            </p:nvSpPr>
            <p:spPr bwMode="gray">
              <a:xfrm>
                <a:off x="2400300" y="3458397"/>
                <a:ext cx="1016000" cy="1985141"/>
              </a:xfrm>
              <a:custGeom>
                <a:avLst/>
                <a:gdLst>
                  <a:gd name="connsiteX0" fmla="*/ 9431 w 10000"/>
                  <a:gd name="connsiteY0" fmla="*/ 8660 h 10000"/>
                  <a:gd name="connsiteX1" fmla="*/ 8663 w 10000"/>
                  <a:gd name="connsiteY1" fmla="*/ 5434 h 10000"/>
                  <a:gd name="connsiteX2" fmla="*/ 8515 w 10000"/>
                  <a:gd name="connsiteY2" fmla="*/ 2295 h 10000"/>
                  <a:gd name="connsiteX3" fmla="*/ 8465 w 10000"/>
                  <a:gd name="connsiteY3" fmla="*/ 2295 h 10000"/>
                  <a:gd name="connsiteX4" fmla="*/ 7847 w 10000"/>
                  <a:gd name="connsiteY4" fmla="*/ 2370 h 10000"/>
                  <a:gd name="connsiteX5" fmla="*/ 6213 w 10000"/>
                  <a:gd name="connsiteY5" fmla="*/ 2531 h 10000"/>
                  <a:gd name="connsiteX6" fmla="*/ 6040 w 10000"/>
                  <a:gd name="connsiteY6" fmla="*/ 2333 h 10000"/>
                  <a:gd name="connsiteX7" fmla="*/ 4901 w 10000"/>
                  <a:gd name="connsiteY7" fmla="*/ 87 h 10000"/>
                  <a:gd name="connsiteX8" fmla="*/ 2500 w 10000"/>
                  <a:gd name="connsiteY8" fmla="*/ 50 h 10000"/>
                  <a:gd name="connsiteX9" fmla="*/ 2129 w 10000"/>
                  <a:gd name="connsiteY9" fmla="*/ 2196 h 10000"/>
                  <a:gd name="connsiteX10" fmla="*/ 2153 w 10000"/>
                  <a:gd name="connsiteY10" fmla="*/ 2382 h 10000"/>
                  <a:gd name="connsiteX11" fmla="*/ 1881 w 10000"/>
                  <a:gd name="connsiteY11" fmla="*/ 2481 h 10000"/>
                  <a:gd name="connsiteX12" fmla="*/ 693 w 10000"/>
                  <a:gd name="connsiteY12" fmla="*/ 2395 h 10000"/>
                  <a:gd name="connsiteX13" fmla="*/ 248 w 10000"/>
                  <a:gd name="connsiteY13" fmla="*/ 2325 h 10000"/>
                  <a:gd name="connsiteX14" fmla="*/ 644 w 10000"/>
                  <a:gd name="connsiteY14" fmla="*/ 5012 h 10000"/>
                  <a:gd name="connsiteX15" fmla="*/ 396 w 10000"/>
                  <a:gd name="connsiteY15" fmla="*/ 7804 h 10000"/>
                  <a:gd name="connsiteX16" fmla="*/ 792 w 10000"/>
                  <a:gd name="connsiteY16" fmla="*/ 8486 h 10000"/>
                  <a:gd name="connsiteX17" fmla="*/ 347 w 10000"/>
                  <a:gd name="connsiteY17" fmla="*/ 8710 h 10000"/>
                  <a:gd name="connsiteX18" fmla="*/ 0 w 10000"/>
                  <a:gd name="connsiteY18" fmla="*/ 9467 h 10000"/>
                  <a:gd name="connsiteX19" fmla="*/ 74 w 10000"/>
                  <a:gd name="connsiteY19" fmla="*/ 9467 h 10000"/>
                  <a:gd name="connsiteX20" fmla="*/ 297 w 10000"/>
                  <a:gd name="connsiteY20" fmla="*/ 9479 h 10000"/>
                  <a:gd name="connsiteX21" fmla="*/ 866 w 10000"/>
                  <a:gd name="connsiteY21" fmla="*/ 9479 h 10000"/>
                  <a:gd name="connsiteX22" fmla="*/ 1510 w 10000"/>
                  <a:gd name="connsiteY22" fmla="*/ 9454 h 10000"/>
                  <a:gd name="connsiteX23" fmla="*/ 2277 w 10000"/>
                  <a:gd name="connsiteY23" fmla="*/ 9380 h 10000"/>
                  <a:gd name="connsiteX24" fmla="*/ 2599 w 10000"/>
                  <a:gd name="connsiteY24" fmla="*/ 9380 h 10000"/>
                  <a:gd name="connsiteX25" fmla="*/ 2797 w 10000"/>
                  <a:gd name="connsiteY25" fmla="*/ 9392 h 10000"/>
                  <a:gd name="connsiteX26" fmla="*/ 3119 w 10000"/>
                  <a:gd name="connsiteY26" fmla="*/ 8772 h 10000"/>
                  <a:gd name="connsiteX27" fmla="*/ 3342 w 10000"/>
                  <a:gd name="connsiteY27" fmla="*/ 6551 h 10000"/>
                  <a:gd name="connsiteX28" fmla="*/ 3589 w 10000"/>
                  <a:gd name="connsiteY28" fmla="*/ 3970 h 10000"/>
                  <a:gd name="connsiteX29" fmla="*/ 4109 w 10000"/>
                  <a:gd name="connsiteY29" fmla="*/ 3040 h 10000"/>
                  <a:gd name="connsiteX30" fmla="*/ 4431 w 10000"/>
                  <a:gd name="connsiteY30" fmla="*/ 2792 h 10000"/>
                  <a:gd name="connsiteX31" fmla="*/ 5817 w 10000"/>
                  <a:gd name="connsiteY31" fmla="*/ 6476 h 10000"/>
                  <a:gd name="connsiteX32" fmla="*/ 6559 w 10000"/>
                  <a:gd name="connsiteY32" fmla="*/ 8759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4 h 10000"/>
                  <a:gd name="connsiteX42" fmla="*/ 9431 w 10000"/>
                  <a:gd name="connsiteY42" fmla="*/ 8660 h 10000"/>
                  <a:gd name="connsiteX0" fmla="*/ 9431 w 10000"/>
                  <a:gd name="connsiteY0" fmla="*/ 8660 h 10000"/>
                  <a:gd name="connsiteX1" fmla="*/ 8663 w 10000"/>
                  <a:gd name="connsiteY1" fmla="*/ 5434 h 10000"/>
                  <a:gd name="connsiteX2" fmla="*/ 8515 w 10000"/>
                  <a:gd name="connsiteY2" fmla="*/ 2295 h 10000"/>
                  <a:gd name="connsiteX3" fmla="*/ 8465 w 10000"/>
                  <a:gd name="connsiteY3" fmla="*/ 2295 h 10000"/>
                  <a:gd name="connsiteX4" fmla="*/ 7847 w 10000"/>
                  <a:gd name="connsiteY4" fmla="*/ 2370 h 10000"/>
                  <a:gd name="connsiteX5" fmla="*/ 6213 w 10000"/>
                  <a:gd name="connsiteY5" fmla="*/ 2531 h 10000"/>
                  <a:gd name="connsiteX6" fmla="*/ 6040 w 10000"/>
                  <a:gd name="connsiteY6" fmla="*/ 2333 h 10000"/>
                  <a:gd name="connsiteX7" fmla="*/ 4901 w 10000"/>
                  <a:gd name="connsiteY7" fmla="*/ 87 h 10000"/>
                  <a:gd name="connsiteX8" fmla="*/ 2500 w 10000"/>
                  <a:gd name="connsiteY8" fmla="*/ 50 h 10000"/>
                  <a:gd name="connsiteX9" fmla="*/ 2129 w 10000"/>
                  <a:gd name="connsiteY9" fmla="*/ 2196 h 10000"/>
                  <a:gd name="connsiteX10" fmla="*/ 2153 w 10000"/>
                  <a:gd name="connsiteY10" fmla="*/ 2382 h 10000"/>
                  <a:gd name="connsiteX11" fmla="*/ 1881 w 10000"/>
                  <a:gd name="connsiteY11" fmla="*/ 2481 h 10000"/>
                  <a:gd name="connsiteX12" fmla="*/ 693 w 10000"/>
                  <a:gd name="connsiteY12" fmla="*/ 2324 h 10000"/>
                  <a:gd name="connsiteX13" fmla="*/ 248 w 10000"/>
                  <a:gd name="connsiteY13" fmla="*/ 2325 h 10000"/>
                  <a:gd name="connsiteX14" fmla="*/ 644 w 10000"/>
                  <a:gd name="connsiteY14" fmla="*/ 5012 h 10000"/>
                  <a:gd name="connsiteX15" fmla="*/ 396 w 10000"/>
                  <a:gd name="connsiteY15" fmla="*/ 7804 h 10000"/>
                  <a:gd name="connsiteX16" fmla="*/ 792 w 10000"/>
                  <a:gd name="connsiteY16" fmla="*/ 8486 h 10000"/>
                  <a:gd name="connsiteX17" fmla="*/ 347 w 10000"/>
                  <a:gd name="connsiteY17" fmla="*/ 8710 h 10000"/>
                  <a:gd name="connsiteX18" fmla="*/ 0 w 10000"/>
                  <a:gd name="connsiteY18" fmla="*/ 9467 h 10000"/>
                  <a:gd name="connsiteX19" fmla="*/ 74 w 10000"/>
                  <a:gd name="connsiteY19" fmla="*/ 9467 h 10000"/>
                  <a:gd name="connsiteX20" fmla="*/ 297 w 10000"/>
                  <a:gd name="connsiteY20" fmla="*/ 9479 h 10000"/>
                  <a:gd name="connsiteX21" fmla="*/ 866 w 10000"/>
                  <a:gd name="connsiteY21" fmla="*/ 9479 h 10000"/>
                  <a:gd name="connsiteX22" fmla="*/ 1510 w 10000"/>
                  <a:gd name="connsiteY22" fmla="*/ 9454 h 10000"/>
                  <a:gd name="connsiteX23" fmla="*/ 2277 w 10000"/>
                  <a:gd name="connsiteY23" fmla="*/ 9380 h 10000"/>
                  <a:gd name="connsiteX24" fmla="*/ 2599 w 10000"/>
                  <a:gd name="connsiteY24" fmla="*/ 9380 h 10000"/>
                  <a:gd name="connsiteX25" fmla="*/ 2797 w 10000"/>
                  <a:gd name="connsiteY25" fmla="*/ 9392 h 10000"/>
                  <a:gd name="connsiteX26" fmla="*/ 3119 w 10000"/>
                  <a:gd name="connsiteY26" fmla="*/ 8772 h 10000"/>
                  <a:gd name="connsiteX27" fmla="*/ 3342 w 10000"/>
                  <a:gd name="connsiteY27" fmla="*/ 6551 h 10000"/>
                  <a:gd name="connsiteX28" fmla="*/ 3589 w 10000"/>
                  <a:gd name="connsiteY28" fmla="*/ 3970 h 10000"/>
                  <a:gd name="connsiteX29" fmla="*/ 4109 w 10000"/>
                  <a:gd name="connsiteY29" fmla="*/ 3040 h 10000"/>
                  <a:gd name="connsiteX30" fmla="*/ 4431 w 10000"/>
                  <a:gd name="connsiteY30" fmla="*/ 2792 h 10000"/>
                  <a:gd name="connsiteX31" fmla="*/ 5817 w 10000"/>
                  <a:gd name="connsiteY31" fmla="*/ 6476 h 10000"/>
                  <a:gd name="connsiteX32" fmla="*/ 6559 w 10000"/>
                  <a:gd name="connsiteY32" fmla="*/ 8759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4 h 10000"/>
                  <a:gd name="connsiteX42" fmla="*/ 9431 w 10000"/>
                  <a:gd name="connsiteY42" fmla="*/ 8660 h 10000"/>
                  <a:gd name="connsiteX0" fmla="*/ 9431 w 10000"/>
                  <a:gd name="connsiteY0" fmla="*/ 8660 h 10000"/>
                  <a:gd name="connsiteX1" fmla="*/ 8663 w 10000"/>
                  <a:gd name="connsiteY1" fmla="*/ 5434 h 10000"/>
                  <a:gd name="connsiteX2" fmla="*/ 8515 w 10000"/>
                  <a:gd name="connsiteY2" fmla="*/ 2295 h 10000"/>
                  <a:gd name="connsiteX3" fmla="*/ 8465 w 10000"/>
                  <a:gd name="connsiteY3" fmla="*/ 2295 h 10000"/>
                  <a:gd name="connsiteX4" fmla="*/ 7847 w 10000"/>
                  <a:gd name="connsiteY4" fmla="*/ 2370 h 10000"/>
                  <a:gd name="connsiteX5" fmla="*/ 6213 w 10000"/>
                  <a:gd name="connsiteY5" fmla="*/ 2531 h 10000"/>
                  <a:gd name="connsiteX6" fmla="*/ 6040 w 10000"/>
                  <a:gd name="connsiteY6" fmla="*/ 2333 h 10000"/>
                  <a:gd name="connsiteX7" fmla="*/ 4901 w 10000"/>
                  <a:gd name="connsiteY7" fmla="*/ 87 h 10000"/>
                  <a:gd name="connsiteX8" fmla="*/ 2500 w 10000"/>
                  <a:gd name="connsiteY8" fmla="*/ 50 h 10000"/>
                  <a:gd name="connsiteX9" fmla="*/ 2129 w 10000"/>
                  <a:gd name="connsiteY9" fmla="*/ 2196 h 10000"/>
                  <a:gd name="connsiteX10" fmla="*/ 2153 w 10000"/>
                  <a:gd name="connsiteY10" fmla="*/ 2382 h 10000"/>
                  <a:gd name="connsiteX11" fmla="*/ 1740 w 10000"/>
                  <a:gd name="connsiteY11" fmla="*/ 2434 h 10000"/>
                  <a:gd name="connsiteX12" fmla="*/ 693 w 10000"/>
                  <a:gd name="connsiteY12" fmla="*/ 2324 h 10000"/>
                  <a:gd name="connsiteX13" fmla="*/ 248 w 10000"/>
                  <a:gd name="connsiteY13" fmla="*/ 2325 h 10000"/>
                  <a:gd name="connsiteX14" fmla="*/ 644 w 10000"/>
                  <a:gd name="connsiteY14" fmla="*/ 5012 h 10000"/>
                  <a:gd name="connsiteX15" fmla="*/ 396 w 10000"/>
                  <a:gd name="connsiteY15" fmla="*/ 7804 h 10000"/>
                  <a:gd name="connsiteX16" fmla="*/ 792 w 10000"/>
                  <a:gd name="connsiteY16" fmla="*/ 8486 h 10000"/>
                  <a:gd name="connsiteX17" fmla="*/ 347 w 10000"/>
                  <a:gd name="connsiteY17" fmla="*/ 8710 h 10000"/>
                  <a:gd name="connsiteX18" fmla="*/ 0 w 10000"/>
                  <a:gd name="connsiteY18" fmla="*/ 9467 h 10000"/>
                  <a:gd name="connsiteX19" fmla="*/ 74 w 10000"/>
                  <a:gd name="connsiteY19" fmla="*/ 9467 h 10000"/>
                  <a:gd name="connsiteX20" fmla="*/ 297 w 10000"/>
                  <a:gd name="connsiteY20" fmla="*/ 9479 h 10000"/>
                  <a:gd name="connsiteX21" fmla="*/ 866 w 10000"/>
                  <a:gd name="connsiteY21" fmla="*/ 9479 h 10000"/>
                  <a:gd name="connsiteX22" fmla="*/ 1510 w 10000"/>
                  <a:gd name="connsiteY22" fmla="*/ 9454 h 10000"/>
                  <a:gd name="connsiteX23" fmla="*/ 2277 w 10000"/>
                  <a:gd name="connsiteY23" fmla="*/ 9380 h 10000"/>
                  <a:gd name="connsiteX24" fmla="*/ 2599 w 10000"/>
                  <a:gd name="connsiteY24" fmla="*/ 9380 h 10000"/>
                  <a:gd name="connsiteX25" fmla="*/ 2797 w 10000"/>
                  <a:gd name="connsiteY25" fmla="*/ 9392 h 10000"/>
                  <a:gd name="connsiteX26" fmla="*/ 3119 w 10000"/>
                  <a:gd name="connsiteY26" fmla="*/ 8772 h 10000"/>
                  <a:gd name="connsiteX27" fmla="*/ 3342 w 10000"/>
                  <a:gd name="connsiteY27" fmla="*/ 6551 h 10000"/>
                  <a:gd name="connsiteX28" fmla="*/ 3589 w 10000"/>
                  <a:gd name="connsiteY28" fmla="*/ 3970 h 10000"/>
                  <a:gd name="connsiteX29" fmla="*/ 4109 w 10000"/>
                  <a:gd name="connsiteY29" fmla="*/ 3040 h 10000"/>
                  <a:gd name="connsiteX30" fmla="*/ 4431 w 10000"/>
                  <a:gd name="connsiteY30" fmla="*/ 2792 h 10000"/>
                  <a:gd name="connsiteX31" fmla="*/ 5817 w 10000"/>
                  <a:gd name="connsiteY31" fmla="*/ 6476 h 10000"/>
                  <a:gd name="connsiteX32" fmla="*/ 6559 w 10000"/>
                  <a:gd name="connsiteY32" fmla="*/ 8759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4 h 10000"/>
                  <a:gd name="connsiteX42" fmla="*/ 9431 w 10000"/>
                  <a:gd name="connsiteY42" fmla="*/ 8660 h 10000"/>
                  <a:gd name="connsiteX0" fmla="*/ 9431 w 10000"/>
                  <a:gd name="connsiteY0" fmla="*/ 8660 h 10000"/>
                  <a:gd name="connsiteX1" fmla="*/ 8663 w 10000"/>
                  <a:gd name="connsiteY1" fmla="*/ 5434 h 10000"/>
                  <a:gd name="connsiteX2" fmla="*/ 8515 w 10000"/>
                  <a:gd name="connsiteY2" fmla="*/ 2295 h 10000"/>
                  <a:gd name="connsiteX3" fmla="*/ 8465 w 10000"/>
                  <a:gd name="connsiteY3" fmla="*/ 2295 h 10000"/>
                  <a:gd name="connsiteX4" fmla="*/ 7847 w 10000"/>
                  <a:gd name="connsiteY4" fmla="*/ 2370 h 10000"/>
                  <a:gd name="connsiteX5" fmla="*/ 6213 w 10000"/>
                  <a:gd name="connsiteY5" fmla="*/ 2531 h 10000"/>
                  <a:gd name="connsiteX6" fmla="*/ 6040 w 10000"/>
                  <a:gd name="connsiteY6" fmla="*/ 2333 h 10000"/>
                  <a:gd name="connsiteX7" fmla="*/ 4901 w 10000"/>
                  <a:gd name="connsiteY7" fmla="*/ 87 h 10000"/>
                  <a:gd name="connsiteX8" fmla="*/ 2500 w 10000"/>
                  <a:gd name="connsiteY8" fmla="*/ 50 h 10000"/>
                  <a:gd name="connsiteX9" fmla="*/ 2129 w 10000"/>
                  <a:gd name="connsiteY9" fmla="*/ 2196 h 10000"/>
                  <a:gd name="connsiteX10" fmla="*/ 2036 w 10000"/>
                  <a:gd name="connsiteY10" fmla="*/ 2347 h 10000"/>
                  <a:gd name="connsiteX11" fmla="*/ 1740 w 10000"/>
                  <a:gd name="connsiteY11" fmla="*/ 2434 h 10000"/>
                  <a:gd name="connsiteX12" fmla="*/ 693 w 10000"/>
                  <a:gd name="connsiteY12" fmla="*/ 2324 h 10000"/>
                  <a:gd name="connsiteX13" fmla="*/ 248 w 10000"/>
                  <a:gd name="connsiteY13" fmla="*/ 2325 h 10000"/>
                  <a:gd name="connsiteX14" fmla="*/ 644 w 10000"/>
                  <a:gd name="connsiteY14" fmla="*/ 5012 h 10000"/>
                  <a:gd name="connsiteX15" fmla="*/ 396 w 10000"/>
                  <a:gd name="connsiteY15" fmla="*/ 7804 h 10000"/>
                  <a:gd name="connsiteX16" fmla="*/ 792 w 10000"/>
                  <a:gd name="connsiteY16" fmla="*/ 8486 h 10000"/>
                  <a:gd name="connsiteX17" fmla="*/ 347 w 10000"/>
                  <a:gd name="connsiteY17" fmla="*/ 8710 h 10000"/>
                  <a:gd name="connsiteX18" fmla="*/ 0 w 10000"/>
                  <a:gd name="connsiteY18" fmla="*/ 9467 h 10000"/>
                  <a:gd name="connsiteX19" fmla="*/ 74 w 10000"/>
                  <a:gd name="connsiteY19" fmla="*/ 9467 h 10000"/>
                  <a:gd name="connsiteX20" fmla="*/ 297 w 10000"/>
                  <a:gd name="connsiteY20" fmla="*/ 9479 h 10000"/>
                  <a:gd name="connsiteX21" fmla="*/ 866 w 10000"/>
                  <a:gd name="connsiteY21" fmla="*/ 9479 h 10000"/>
                  <a:gd name="connsiteX22" fmla="*/ 1510 w 10000"/>
                  <a:gd name="connsiteY22" fmla="*/ 9454 h 10000"/>
                  <a:gd name="connsiteX23" fmla="*/ 2277 w 10000"/>
                  <a:gd name="connsiteY23" fmla="*/ 9380 h 10000"/>
                  <a:gd name="connsiteX24" fmla="*/ 2599 w 10000"/>
                  <a:gd name="connsiteY24" fmla="*/ 9380 h 10000"/>
                  <a:gd name="connsiteX25" fmla="*/ 2797 w 10000"/>
                  <a:gd name="connsiteY25" fmla="*/ 9392 h 10000"/>
                  <a:gd name="connsiteX26" fmla="*/ 3119 w 10000"/>
                  <a:gd name="connsiteY26" fmla="*/ 8772 h 10000"/>
                  <a:gd name="connsiteX27" fmla="*/ 3342 w 10000"/>
                  <a:gd name="connsiteY27" fmla="*/ 6551 h 10000"/>
                  <a:gd name="connsiteX28" fmla="*/ 3589 w 10000"/>
                  <a:gd name="connsiteY28" fmla="*/ 3970 h 10000"/>
                  <a:gd name="connsiteX29" fmla="*/ 4109 w 10000"/>
                  <a:gd name="connsiteY29" fmla="*/ 3040 h 10000"/>
                  <a:gd name="connsiteX30" fmla="*/ 4431 w 10000"/>
                  <a:gd name="connsiteY30" fmla="*/ 2792 h 10000"/>
                  <a:gd name="connsiteX31" fmla="*/ 5817 w 10000"/>
                  <a:gd name="connsiteY31" fmla="*/ 6476 h 10000"/>
                  <a:gd name="connsiteX32" fmla="*/ 6559 w 10000"/>
                  <a:gd name="connsiteY32" fmla="*/ 8759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4 h 10000"/>
                  <a:gd name="connsiteX42" fmla="*/ 9431 w 10000"/>
                  <a:gd name="connsiteY42" fmla="*/ 8660 h 10000"/>
                  <a:gd name="connsiteX0" fmla="*/ 9431 w 10000"/>
                  <a:gd name="connsiteY0" fmla="*/ 8660 h 10000"/>
                  <a:gd name="connsiteX1" fmla="*/ 8663 w 10000"/>
                  <a:gd name="connsiteY1" fmla="*/ 5434 h 10000"/>
                  <a:gd name="connsiteX2" fmla="*/ 8515 w 10000"/>
                  <a:gd name="connsiteY2" fmla="*/ 2295 h 10000"/>
                  <a:gd name="connsiteX3" fmla="*/ 8465 w 10000"/>
                  <a:gd name="connsiteY3" fmla="*/ 2295 h 10000"/>
                  <a:gd name="connsiteX4" fmla="*/ 7847 w 10000"/>
                  <a:gd name="connsiteY4" fmla="*/ 2370 h 10000"/>
                  <a:gd name="connsiteX5" fmla="*/ 6213 w 10000"/>
                  <a:gd name="connsiteY5" fmla="*/ 2531 h 10000"/>
                  <a:gd name="connsiteX6" fmla="*/ 6040 w 10000"/>
                  <a:gd name="connsiteY6" fmla="*/ 2333 h 10000"/>
                  <a:gd name="connsiteX7" fmla="*/ 4901 w 10000"/>
                  <a:gd name="connsiteY7" fmla="*/ 87 h 10000"/>
                  <a:gd name="connsiteX8" fmla="*/ 2500 w 10000"/>
                  <a:gd name="connsiteY8" fmla="*/ 50 h 10000"/>
                  <a:gd name="connsiteX9" fmla="*/ 2012 w 10000"/>
                  <a:gd name="connsiteY9" fmla="*/ 2196 h 10000"/>
                  <a:gd name="connsiteX10" fmla="*/ 2036 w 10000"/>
                  <a:gd name="connsiteY10" fmla="*/ 2347 h 10000"/>
                  <a:gd name="connsiteX11" fmla="*/ 1740 w 10000"/>
                  <a:gd name="connsiteY11" fmla="*/ 2434 h 10000"/>
                  <a:gd name="connsiteX12" fmla="*/ 693 w 10000"/>
                  <a:gd name="connsiteY12" fmla="*/ 2324 h 10000"/>
                  <a:gd name="connsiteX13" fmla="*/ 248 w 10000"/>
                  <a:gd name="connsiteY13" fmla="*/ 2325 h 10000"/>
                  <a:gd name="connsiteX14" fmla="*/ 644 w 10000"/>
                  <a:gd name="connsiteY14" fmla="*/ 5012 h 10000"/>
                  <a:gd name="connsiteX15" fmla="*/ 396 w 10000"/>
                  <a:gd name="connsiteY15" fmla="*/ 7804 h 10000"/>
                  <a:gd name="connsiteX16" fmla="*/ 792 w 10000"/>
                  <a:gd name="connsiteY16" fmla="*/ 8486 h 10000"/>
                  <a:gd name="connsiteX17" fmla="*/ 347 w 10000"/>
                  <a:gd name="connsiteY17" fmla="*/ 8710 h 10000"/>
                  <a:gd name="connsiteX18" fmla="*/ 0 w 10000"/>
                  <a:gd name="connsiteY18" fmla="*/ 9467 h 10000"/>
                  <a:gd name="connsiteX19" fmla="*/ 74 w 10000"/>
                  <a:gd name="connsiteY19" fmla="*/ 9467 h 10000"/>
                  <a:gd name="connsiteX20" fmla="*/ 297 w 10000"/>
                  <a:gd name="connsiteY20" fmla="*/ 9479 h 10000"/>
                  <a:gd name="connsiteX21" fmla="*/ 866 w 10000"/>
                  <a:gd name="connsiteY21" fmla="*/ 9479 h 10000"/>
                  <a:gd name="connsiteX22" fmla="*/ 1510 w 10000"/>
                  <a:gd name="connsiteY22" fmla="*/ 9454 h 10000"/>
                  <a:gd name="connsiteX23" fmla="*/ 2277 w 10000"/>
                  <a:gd name="connsiteY23" fmla="*/ 9380 h 10000"/>
                  <a:gd name="connsiteX24" fmla="*/ 2599 w 10000"/>
                  <a:gd name="connsiteY24" fmla="*/ 9380 h 10000"/>
                  <a:gd name="connsiteX25" fmla="*/ 2797 w 10000"/>
                  <a:gd name="connsiteY25" fmla="*/ 9392 h 10000"/>
                  <a:gd name="connsiteX26" fmla="*/ 3119 w 10000"/>
                  <a:gd name="connsiteY26" fmla="*/ 8772 h 10000"/>
                  <a:gd name="connsiteX27" fmla="*/ 3342 w 10000"/>
                  <a:gd name="connsiteY27" fmla="*/ 6551 h 10000"/>
                  <a:gd name="connsiteX28" fmla="*/ 3589 w 10000"/>
                  <a:gd name="connsiteY28" fmla="*/ 3970 h 10000"/>
                  <a:gd name="connsiteX29" fmla="*/ 4109 w 10000"/>
                  <a:gd name="connsiteY29" fmla="*/ 3040 h 10000"/>
                  <a:gd name="connsiteX30" fmla="*/ 4431 w 10000"/>
                  <a:gd name="connsiteY30" fmla="*/ 2792 h 10000"/>
                  <a:gd name="connsiteX31" fmla="*/ 5817 w 10000"/>
                  <a:gd name="connsiteY31" fmla="*/ 6476 h 10000"/>
                  <a:gd name="connsiteX32" fmla="*/ 6559 w 10000"/>
                  <a:gd name="connsiteY32" fmla="*/ 8759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4 h 10000"/>
                  <a:gd name="connsiteX42" fmla="*/ 9431 w 10000"/>
                  <a:gd name="connsiteY42" fmla="*/ 8660 h 10000"/>
                  <a:gd name="connsiteX0" fmla="*/ 9431 w 10000"/>
                  <a:gd name="connsiteY0" fmla="*/ 8648 h 9988"/>
                  <a:gd name="connsiteX1" fmla="*/ 8663 w 10000"/>
                  <a:gd name="connsiteY1" fmla="*/ 5422 h 9988"/>
                  <a:gd name="connsiteX2" fmla="*/ 8515 w 10000"/>
                  <a:gd name="connsiteY2" fmla="*/ 2283 h 9988"/>
                  <a:gd name="connsiteX3" fmla="*/ 8465 w 10000"/>
                  <a:gd name="connsiteY3" fmla="*/ 2283 h 9988"/>
                  <a:gd name="connsiteX4" fmla="*/ 7847 w 10000"/>
                  <a:gd name="connsiteY4" fmla="*/ 2358 h 9988"/>
                  <a:gd name="connsiteX5" fmla="*/ 6213 w 10000"/>
                  <a:gd name="connsiteY5" fmla="*/ 2519 h 9988"/>
                  <a:gd name="connsiteX6" fmla="*/ 6040 w 10000"/>
                  <a:gd name="connsiteY6" fmla="*/ 2321 h 9988"/>
                  <a:gd name="connsiteX7" fmla="*/ 4901 w 10000"/>
                  <a:gd name="connsiteY7" fmla="*/ 75 h 9988"/>
                  <a:gd name="connsiteX8" fmla="*/ 2336 w 10000"/>
                  <a:gd name="connsiteY8" fmla="*/ 50 h 9988"/>
                  <a:gd name="connsiteX9" fmla="*/ 2012 w 10000"/>
                  <a:gd name="connsiteY9" fmla="*/ 2184 h 9988"/>
                  <a:gd name="connsiteX10" fmla="*/ 2036 w 10000"/>
                  <a:gd name="connsiteY10" fmla="*/ 2335 h 9988"/>
                  <a:gd name="connsiteX11" fmla="*/ 1740 w 10000"/>
                  <a:gd name="connsiteY11" fmla="*/ 2422 h 9988"/>
                  <a:gd name="connsiteX12" fmla="*/ 693 w 10000"/>
                  <a:gd name="connsiteY12" fmla="*/ 2312 h 9988"/>
                  <a:gd name="connsiteX13" fmla="*/ 248 w 10000"/>
                  <a:gd name="connsiteY13" fmla="*/ 2313 h 9988"/>
                  <a:gd name="connsiteX14" fmla="*/ 644 w 10000"/>
                  <a:gd name="connsiteY14" fmla="*/ 5000 h 9988"/>
                  <a:gd name="connsiteX15" fmla="*/ 396 w 10000"/>
                  <a:gd name="connsiteY15" fmla="*/ 7792 h 9988"/>
                  <a:gd name="connsiteX16" fmla="*/ 792 w 10000"/>
                  <a:gd name="connsiteY16" fmla="*/ 8474 h 9988"/>
                  <a:gd name="connsiteX17" fmla="*/ 347 w 10000"/>
                  <a:gd name="connsiteY17" fmla="*/ 8698 h 9988"/>
                  <a:gd name="connsiteX18" fmla="*/ 0 w 10000"/>
                  <a:gd name="connsiteY18" fmla="*/ 9455 h 9988"/>
                  <a:gd name="connsiteX19" fmla="*/ 74 w 10000"/>
                  <a:gd name="connsiteY19" fmla="*/ 9455 h 9988"/>
                  <a:gd name="connsiteX20" fmla="*/ 297 w 10000"/>
                  <a:gd name="connsiteY20" fmla="*/ 9467 h 9988"/>
                  <a:gd name="connsiteX21" fmla="*/ 866 w 10000"/>
                  <a:gd name="connsiteY21" fmla="*/ 9467 h 9988"/>
                  <a:gd name="connsiteX22" fmla="*/ 1510 w 10000"/>
                  <a:gd name="connsiteY22" fmla="*/ 9442 h 9988"/>
                  <a:gd name="connsiteX23" fmla="*/ 2277 w 10000"/>
                  <a:gd name="connsiteY23" fmla="*/ 9368 h 9988"/>
                  <a:gd name="connsiteX24" fmla="*/ 2599 w 10000"/>
                  <a:gd name="connsiteY24" fmla="*/ 9368 h 9988"/>
                  <a:gd name="connsiteX25" fmla="*/ 2797 w 10000"/>
                  <a:gd name="connsiteY25" fmla="*/ 9380 h 9988"/>
                  <a:gd name="connsiteX26" fmla="*/ 3119 w 10000"/>
                  <a:gd name="connsiteY26" fmla="*/ 8760 h 9988"/>
                  <a:gd name="connsiteX27" fmla="*/ 3342 w 10000"/>
                  <a:gd name="connsiteY27" fmla="*/ 6539 h 9988"/>
                  <a:gd name="connsiteX28" fmla="*/ 3589 w 10000"/>
                  <a:gd name="connsiteY28" fmla="*/ 3958 h 9988"/>
                  <a:gd name="connsiteX29" fmla="*/ 4109 w 10000"/>
                  <a:gd name="connsiteY29" fmla="*/ 3028 h 9988"/>
                  <a:gd name="connsiteX30" fmla="*/ 4431 w 10000"/>
                  <a:gd name="connsiteY30" fmla="*/ 2780 h 9988"/>
                  <a:gd name="connsiteX31" fmla="*/ 5817 w 10000"/>
                  <a:gd name="connsiteY31" fmla="*/ 6464 h 9988"/>
                  <a:gd name="connsiteX32" fmla="*/ 6559 w 10000"/>
                  <a:gd name="connsiteY32" fmla="*/ 8747 h 9988"/>
                  <a:gd name="connsiteX33" fmla="*/ 7624 w 10000"/>
                  <a:gd name="connsiteY33" fmla="*/ 9690 h 9988"/>
                  <a:gd name="connsiteX34" fmla="*/ 8144 w 10000"/>
                  <a:gd name="connsiteY34" fmla="*/ 9988 h 9988"/>
                  <a:gd name="connsiteX35" fmla="*/ 8416 w 10000"/>
                  <a:gd name="connsiteY35" fmla="*/ 9889 h 9988"/>
                  <a:gd name="connsiteX36" fmla="*/ 8936 w 10000"/>
                  <a:gd name="connsiteY36" fmla="*/ 9827 h 9988"/>
                  <a:gd name="connsiteX37" fmla="*/ 9381 w 10000"/>
                  <a:gd name="connsiteY37" fmla="*/ 9765 h 9988"/>
                  <a:gd name="connsiteX38" fmla="*/ 9777 w 10000"/>
                  <a:gd name="connsiteY38" fmla="*/ 9665 h 9988"/>
                  <a:gd name="connsiteX39" fmla="*/ 9926 w 10000"/>
                  <a:gd name="connsiteY39" fmla="*/ 9653 h 9988"/>
                  <a:gd name="connsiteX40" fmla="*/ 9901 w 10000"/>
                  <a:gd name="connsiteY40" fmla="*/ 9628 h 9988"/>
                  <a:gd name="connsiteX41" fmla="*/ 9950 w 10000"/>
                  <a:gd name="connsiteY41" fmla="*/ 9182 h 9988"/>
                  <a:gd name="connsiteX42" fmla="*/ 9431 w 10000"/>
                  <a:gd name="connsiteY42" fmla="*/ 8648 h 9988"/>
                  <a:gd name="connsiteX0" fmla="*/ 9431 w 10000"/>
                  <a:gd name="connsiteY0" fmla="*/ 8658 h 10000"/>
                  <a:gd name="connsiteX1" fmla="*/ 8663 w 10000"/>
                  <a:gd name="connsiteY1" fmla="*/ 5429 h 10000"/>
                  <a:gd name="connsiteX2" fmla="*/ 8515 w 10000"/>
                  <a:gd name="connsiteY2" fmla="*/ 2286 h 10000"/>
                  <a:gd name="connsiteX3" fmla="*/ 8465 w 10000"/>
                  <a:gd name="connsiteY3" fmla="*/ 2286 h 10000"/>
                  <a:gd name="connsiteX4" fmla="*/ 7847 w 10000"/>
                  <a:gd name="connsiteY4" fmla="*/ 2361 h 10000"/>
                  <a:gd name="connsiteX5" fmla="*/ 6213 w 10000"/>
                  <a:gd name="connsiteY5" fmla="*/ 2522 h 10000"/>
                  <a:gd name="connsiteX6" fmla="*/ 6040 w 10000"/>
                  <a:gd name="connsiteY6" fmla="*/ 2324 h 10000"/>
                  <a:gd name="connsiteX7" fmla="*/ 5018 w 10000"/>
                  <a:gd name="connsiteY7" fmla="*/ 63 h 10000"/>
                  <a:gd name="connsiteX8" fmla="*/ 2336 w 10000"/>
                  <a:gd name="connsiteY8" fmla="*/ 50 h 10000"/>
                  <a:gd name="connsiteX9" fmla="*/ 2012 w 10000"/>
                  <a:gd name="connsiteY9" fmla="*/ 2187 h 10000"/>
                  <a:gd name="connsiteX10" fmla="*/ 2036 w 10000"/>
                  <a:gd name="connsiteY10" fmla="*/ 2338 h 10000"/>
                  <a:gd name="connsiteX11" fmla="*/ 1740 w 10000"/>
                  <a:gd name="connsiteY11" fmla="*/ 2425 h 10000"/>
                  <a:gd name="connsiteX12" fmla="*/ 693 w 10000"/>
                  <a:gd name="connsiteY12" fmla="*/ 2315 h 10000"/>
                  <a:gd name="connsiteX13" fmla="*/ 248 w 10000"/>
                  <a:gd name="connsiteY13" fmla="*/ 2316 h 10000"/>
                  <a:gd name="connsiteX14" fmla="*/ 644 w 10000"/>
                  <a:gd name="connsiteY14" fmla="*/ 5006 h 10000"/>
                  <a:gd name="connsiteX15" fmla="*/ 396 w 10000"/>
                  <a:gd name="connsiteY15" fmla="*/ 7801 h 10000"/>
                  <a:gd name="connsiteX16" fmla="*/ 792 w 10000"/>
                  <a:gd name="connsiteY16" fmla="*/ 8484 h 10000"/>
                  <a:gd name="connsiteX17" fmla="*/ 347 w 10000"/>
                  <a:gd name="connsiteY17" fmla="*/ 8708 h 10000"/>
                  <a:gd name="connsiteX18" fmla="*/ 0 w 10000"/>
                  <a:gd name="connsiteY18" fmla="*/ 9466 h 10000"/>
                  <a:gd name="connsiteX19" fmla="*/ 74 w 10000"/>
                  <a:gd name="connsiteY19" fmla="*/ 9466 h 10000"/>
                  <a:gd name="connsiteX20" fmla="*/ 297 w 10000"/>
                  <a:gd name="connsiteY20" fmla="*/ 9478 h 10000"/>
                  <a:gd name="connsiteX21" fmla="*/ 866 w 10000"/>
                  <a:gd name="connsiteY21" fmla="*/ 9478 h 10000"/>
                  <a:gd name="connsiteX22" fmla="*/ 1510 w 10000"/>
                  <a:gd name="connsiteY22" fmla="*/ 9453 h 10000"/>
                  <a:gd name="connsiteX23" fmla="*/ 2277 w 10000"/>
                  <a:gd name="connsiteY23" fmla="*/ 9379 h 10000"/>
                  <a:gd name="connsiteX24" fmla="*/ 2599 w 10000"/>
                  <a:gd name="connsiteY24" fmla="*/ 9379 h 10000"/>
                  <a:gd name="connsiteX25" fmla="*/ 2797 w 10000"/>
                  <a:gd name="connsiteY25" fmla="*/ 9391 h 10000"/>
                  <a:gd name="connsiteX26" fmla="*/ 3119 w 10000"/>
                  <a:gd name="connsiteY26" fmla="*/ 8771 h 10000"/>
                  <a:gd name="connsiteX27" fmla="*/ 3342 w 10000"/>
                  <a:gd name="connsiteY27" fmla="*/ 6547 h 10000"/>
                  <a:gd name="connsiteX28" fmla="*/ 3589 w 10000"/>
                  <a:gd name="connsiteY28" fmla="*/ 3963 h 10000"/>
                  <a:gd name="connsiteX29" fmla="*/ 4109 w 10000"/>
                  <a:gd name="connsiteY29" fmla="*/ 3032 h 10000"/>
                  <a:gd name="connsiteX30" fmla="*/ 4431 w 10000"/>
                  <a:gd name="connsiteY30" fmla="*/ 2783 h 10000"/>
                  <a:gd name="connsiteX31" fmla="*/ 5817 w 10000"/>
                  <a:gd name="connsiteY31" fmla="*/ 6472 h 10000"/>
                  <a:gd name="connsiteX32" fmla="*/ 6559 w 10000"/>
                  <a:gd name="connsiteY32" fmla="*/ 8758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3 h 10000"/>
                  <a:gd name="connsiteX42" fmla="*/ 9431 w 10000"/>
                  <a:gd name="connsiteY42" fmla="*/ 8658 h 10000"/>
                  <a:gd name="connsiteX0" fmla="*/ 9431 w 10000"/>
                  <a:gd name="connsiteY0" fmla="*/ 8658 h 10000"/>
                  <a:gd name="connsiteX1" fmla="*/ 8663 w 10000"/>
                  <a:gd name="connsiteY1" fmla="*/ 5429 h 10000"/>
                  <a:gd name="connsiteX2" fmla="*/ 8515 w 10000"/>
                  <a:gd name="connsiteY2" fmla="*/ 2286 h 10000"/>
                  <a:gd name="connsiteX3" fmla="*/ 8465 w 10000"/>
                  <a:gd name="connsiteY3" fmla="*/ 2286 h 10000"/>
                  <a:gd name="connsiteX4" fmla="*/ 7847 w 10000"/>
                  <a:gd name="connsiteY4" fmla="*/ 2361 h 10000"/>
                  <a:gd name="connsiteX5" fmla="*/ 6213 w 10000"/>
                  <a:gd name="connsiteY5" fmla="*/ 2522 h 10000"/>
                  <a:gd name="connsiteX6" fmla="*/ 6134 w 10000"/>
                  <a:gd name="connsiteY6" fmla="*/ 2300 h 10000"/>
                  <a:gd name="connsiteX7" fmla="*/ 5018 w 10000"/>
                  <a:gd name="connsiteY7" fmla="*/ 63 h 10000"/>
                  <a:gd name="connsiteX8" fmla="*/ 2336 w 10000"/>
                  <a:gd name="connsiteY8" fmla="*/ 50 h 10000"/>
                  <a:gd name="connsiteX9" fmla="*/ 2012 w 10000"/>
                  <a:gd name="connsiteY9" fmla="*/ 2187 h 10000"/>
                  <a:gd name="connsiteX10" fmla="*/ 2036 w 10000"/>
                  <a:gd name="connsiteY10" fmla="*/ 2338 h 10000"/>
                  <a:gd name="connsiteX11" fmla="*/ 1740 w 10000"/>
                  <a:gd name="connsiteY11" fmla="*/ 2425 h 10000"/>
                  <a:gd name="connsiteX12" fmla="*/ 693 w 10000"/>
                  <a:gd name="connsiteY12" fmla="*/ 2315 h 10000"/>
                  <a:gd name="connsiteX13" fmla="*/ 248 w 10000"/>
                  <a:gd name="connsiteY13" fmla="*/ 2316 h 10000"/>
                  <a:gd name="connsiteX14" fmla="*/ 644 w 10000"/>
                  <a:gd name="connsiteY14" fmla="*/ 5006 h 10000"/>
                  <a:gd name="connsiteX15" fmla="*/ 396 w 10000"/>
                  <a:gd name="connsiteY15" fmla="*/ 7801 h 10000"/>
                  <a:gd name="connsiteX16" fmla="*/ 792 w 10000"/>
                  <a:gd name="connsiteY16" fmla="*/ 8484 h 10000"/>
                  <a:gd name="connsiteX17" fmla="*/ 347 w 10000"/>
                  <a:gd name="connsiteY17" fmla="*/ 8708 h 10000"/>
                  <a:gd name="connsiteX18" fmla="*/ 0 w 10000"/>
                  <a:gd name="connsiteY18" fmla="*/ 9466 h 10000"/>
                  <a:gd name="connsiteX19" fmla="*/ 74 w 10000"/>
                  <a:gd name="connsiteY19" fmla="*/ 9466 h 10000"/>
                  <a:gd name="connsiteX20" fmla="*/ 297 w 10000"/>
                  <a:gd name="connsiteY20" fmla="*/ 9478 h 10000"/>
                  <a:gd name="connsiteX21" fmla="*/ 866 w 10000"/>
                  <a:gd name="connsiteY21" fmla="*/ 9478 h 10000"/>
                  <a:gd name="connsiteX22" fmla="*/ 1510 w 10000"/>
                  <a:gd name="connsiteY22" fmla="*/ 9453 h 10000"/>
                  <a:gd name="connsiteX23" fmla="*/ 2277 w 10000"/>
                  <a:gd name="connsiteY23" fmla="*/ 9379 h 10000"/>
                  <a:gd name="connsiteX24" fmla="*/ 2599 w 10000"/>
                  <a:gd name="connsiteY24" fmla="*/ 9379 h 10000"/>
                  <a:gd name="connsiteX25" fmla="*/ 2797 w 10000"/>
                  <a:gd name="connsiteY25" fmla="*/ 9391 h 10000"/>
                  <a:gd name="connsiteX26" fmla="*/ 3119 w 10000"/>
                  <a:gd name="connsiteY26" fmla="*/ 8771 h 10000"/>
                  <a:gd name="connsiteX27" fmla="*/ 3342 w 10000"/>
                  <a:gd name="connsiteY27" fmla="*/ 6547 h 10000"/>
                  <a:gd name="connsiteX28" fmla="*/ 3589 w 10000"/>
                  <a:gd name="connsiteY28" fmla="*/ 3963 h 10000"/>
                  <a:gd name="connsiteX29" fmla="*/ 4109 w 10000"/>
                  <a:gd name="connsiteY29" fmla="*/ 3032 h 10000"/>
                  <a:gd name="connsiteX30" fmla="*/ 4431 w 10000"/>
                  <a:gd name="connsiteY30" fmla="*/ 2783 h 10000"/>
                  <a:gd name="connsiteX31" fmla="*/ 5817 w 10000"/>
                  <a:gd name="connsiteY31" fmla="*/ 6472 h 10000"/>
                  <a:gd name="connsiteX32" fmla="*/ 6559 w 10000"/>
                  <a:gd name="connsiteY32" fmla="*/ 8758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3 h 10000"/>
                  <a:gd name="connsiteX42" fmla="*/ 9431 w 10000"/>
                  <a:gd name="connsiteY42" fmla="*/ 8658 h 10000"/>
                  <a:gd name="connsiteX0" fmla="*/ 9431 w 10000"/>
                  <a:gd name="connsiteY0" fmla="*/ 8658 h 10000"/>
                  <a:gd name="connsiteX1" fmla="*/ 8663 w 10000"/>
                  <a:gd name="connsiteY1" fmla="*/ 5429 h 10000"/>
                  <a:gd name="connsiteX2" fmla="*/ 8515 w 10000"/>
                  <a:gd name="connsiteY2" fmla="*/ 2286 h 10000"/>
                  <a:gd name="connsiteX3" fmla="*/ 8465 w 10000"/>
                  <a:gd name="connsiteY3" fmla="*/ 2286 h 10000"/>
                  <a:gd name="connsiteX4" fmla="*/ 7847 w 10000"/>
                  <a:gd name="connsiteY4" fmla="*/ 2361 h 10000"/>
                  <a:gd name="connsiteX5" fmla="*/ 6330 w 10000"/>
                  <a:gd name="connsiteY5" fmla="*/ 2487 h 10000"/>
                  <a:gd name="connsiteX6" fmla="*/ 6134 w 10000"/>
                  <a:gd name="connsiteY6" fmla="*/ 2300 h 10000"/>
                  <a:gd name="connsiteX7" fmla="*/ 5018 w 10000"/>
                  <a:gd name="connsiteY7" fmla="*/ 63 h 10000"/>
                  <a:gd name="connsiteX8" fmla="*/ 2336 w 10000"/>
                  <a:gd name="connsiteY8" fmla="*/ 50 h 10000"/>
                  <a:gd name="connsiteX9" fmla="*/ 2012 w 10000"/>
                  <a:gd name="connsiteY9" fmla="*/ 2187 h 10000"/>
                  <a:gd name="connsiteX10" fmla="*/ 2036 w 10000"/>
                  <a:gd name="connsiteY10" fmla="*/ 2338 h 10000"/>
                  <a:gd name="connsiteX11" fmla="*/ 1740 w 10000"/>
                  <a:gd name="connsiteY11" fmla="*/ 2425 h 10000"/>
                  <a:gd name="connsiteX12" fmla="*/ 693 w 10000"/>
                  <a:gd name="connsiteY12" fmla="*/ 2315 h 10000"/>
                  <a:gd name="connsiteX13" fmla="*/ 248 w 10000"/>
                  <a:gd name="connsiteY13" fmla="*/ 2316 h 10000"/>
                  <a:gd name="connsiteX14" fmla="*/ 644 w 10000"/>
                  <a:gd name="connsiteY14" fmla="*/ 5006 h 10000"/>
                  <a:gd name="connsiteX15" fmla="*/ 396 w 10000"/>
                  <a:gd name="connsiteY15" fmla="*/ 7801 h 10000"/>
                  <a:gd name="connsiteX16" fmla="*/ 792 w 10000"/>
                  <a:gd name="connsiteY16" fmla="*/ 8484 h 10000"/>
                  <a:gd name="connsiteX17" fmla="*/ 347 w 10000"/>
                  <a:gd name="connsiteY17" fmla="*/ 8708 h 10000"/>
                  <a:gd name="connsiteX18" fmla="*/ 0 w 10000"/>
                  <a:gd name="connsiteY18" fmla="*/ 9466 h 10000"/>
                  <a:gd name="connsiteX19" fmla="*/ 74 w 10000"/>
                  <a:gd name="connsiteY19" fmla="*/ 9466 h 10000"/>
                  <a:gd name="connsiteX20" fmla="*/ 297 w 10000"/>
                  <a:gd name="connsiteY20" fmla="*/ 9478 h 10000"/>
                  <a:gd name="connsiteX21" fmla="*/ 866 w 10000"/>
                  <a:gd name="connsiteY21" fmla="*/ 9478 h 10000"/>
                  <a:gd name="connsiteX22" fmla="*/ 1510 w 10000"/>
                  <a:gd name="connsiteY22" fmla="*/ 9453 h 10000"/>
                  <a:gd name="connsiteX23" fmla="*/ 2277 w 10000"/>
                  <a:gd name="connsiteY23" fmla="*/ 9379 h 10000"/>
                  <a:gd name="connsiteX24" fmla="*/ 2599 w 10000"/>
                  <a:gd name="connsiteY24" fmla="*/ 9379 h 10000"/>
                  <a:gd name="connsiteX25" fmla="*/ 2797 w 10000"/>
                  <a:gd name="connsiteY25" fmla="*/ 9391 h 10000"/>
                  <a:gd name="connsiteX26" fmla="*/ 3119 w 10000"/>
                  <a:gd name="connsiteY26" fmla="*/ 8771 h 10000"/>
                  <a:gd name="connsiteX27" fmla="*/ 3342 w 10000"/>
                  <a:gd name="connsiteY27" fmla="*/ 6547 h 10000"/>
                  <a:gd name="connsiteX28" fmla="*/ 3589 w 10000"/>
                  <a:gd name="connsiteY28" fmla="*/ 3963 h 10000"/>
                  <a:gd name="connsiteX29" fmla="*/ 4109 w 10000"/>
                  <a:gd name="connsiteY29" fmla="*/ 3032 h 10000"/>
                  <a:gd name="connsiteX30" fmla="*/ 4431 w 10000"/>
                  <a:gd name="connsiteY30" fmla="*/ 2783 h 10000"/>
                  <a:gd name="connsiteX31" fmla="*/ 5817 w 10000"/>
                  <a:gd name="connsiteY31" fmla="*/ 6472 h 10000"/>
                  <a:gd name="connsiteX32" fmla="*/ 6559 w 10000"/>
                  <a:gd name="connsiteY32" fmla="*/ 8758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3 h 10000"/>
                  <a:gd name="connsiteX42" fmla="*/ 9431 w 10000"/>
                  <a:gd name="connsiteY42" fmla="*/ 8658 h 10000"/>
                  <a:gd name="connsiteX0" fmla="*/ 9431 w 10000"/>
                  <a:gd name="connsiteY0" fmla="*/ 8658 h 10000"/>
                  <a:gd name="connsiteX1" fmla="*/ 8663 w 10000"/>
                  <a:gd name="connsiteY1" fmla="*/ 5429 h 10000"/>
                  <a:gd name="connsiteX2" fmla="*/ 8515 w 10000"/>
                  <a:gd name="connsiteY2" fmla="*/ 2286 h 10000"/>
                  <a:gd name="connsiteX3" fmla="*/ 8371 w 10000"/>
                  <a:gd name="connsiteY3" fmla="*/ 2227 h 10000"/>
                  <a:gd name="connsiteX4" fmla="*/ 7847 w 10000"/>
                  <a:gd name="connsiteY4" fmla="*/ 2361 h 10000"/>
                  <a:gd name="connsiteX5" fmla="*/ 6330 w 10000"/>
                  <a:gd name="connsiteY5" fmla="*/ 2487 h 10000"/>
                  <a:gd name="connsiteX6" fmla="*/ 6134 w 10000"/>
                  <a:gd name="connsiteY6" fmla="*/ 2300 h 10000"/>
                  <a:gd name="connsiteX7" fmla="*/ 5018 w 10000"/>
                  <a:gd name="connsiteY7" fmla="*/ 63 h 10000"/>
                  <a:gd name="connsiteX8" fmla="*/ 2336 w 10000"/>
                  <a:gd name="connsiteY8" fmla="*/ 50 h 10000"/>
                  <a:gd name="connsiteX9" fmla="*/ 2012 w 10000"/>
                  <a:gd name="connsiteY9" fmla="*/ 2187 h 10000"/>
                  <a:gd name="connsiteX10" fmla="*/ 2036 w 10000"/>
                  <a:gd name="connsiteY10" fmla="*/ 2338 h 10000"/>
                  <a:gd name="connsiteX11" fmla="*/ 1740 w 10000"/>
                  <a:gd name="connsiteY11" fmla="*/ 2425 h 10000"/>
                  <a:gd name="connsiteX12" fmla="*/ 693 w 10000"/>
                  <a:gd name="connsiteY12" fmla="*/ 2315 h 10000"/>
                  <a:gd name="connsiteX13" fmla="*/ 248 w 10000"/>
                  <a:gd name="connsiteY13" fmla="*/ 2316 h 10000"/>
                  <a:gd name="connsiteX14" fmla="*/ 644 w 10000"/>
                  <a:gd name="connsiteY14" fmla="*/ 5006 h 10000"/>
                  <a:gd name="connsiteX15" fmla="*/ 396 w 10000"/>
                  <a:gd name="connsiteY15" fmla="*/ 7801 h 10000"/>
                  <a:gd name="connsiteX16" fmla="*/ 792 w 10000"/>
                  <a:gd name="connsiteY16" fmla="*/ 8484 h 10000"/>
                  <a:gd name="connsiteX17" fmla="*/ 347 w 10000"/>
                  <a:gd name="connsiteY17" fmla="*/ 8708 h 10000"/>
                  <a:gd name="connsiteX18" fmla="*/ 0 w 10000"/>
                  <a:gd name="connsiteY18" fmla="*/ 9466 h 10000"/>
                  <a:gd name="connsiteX19" fmla="*/ 74 w 10000"/>
                  <a:gd name="connsiteY19" fmla="*/ 9466 h 10000"/>
                  <a:gd name="connsiteX20" fmla="*/ 297 w 10000"/>
                  <a:gd name="connsiteY20" fmla="*/ 9478 h 10000"/>
                  <a:gd name="connsiteX21" fmla="*/ 866 w 10000"/>
                  <a:gd name="connsiteY21" fmla="*/ 9478 h 10000"/>
                  <a:gd name="connsiteX22" fmla="*/ 1510 w 10000"/>
                  <a:gd name="connsiteY22" fmla="*/ 9453 h 10000"/>
                  <a:gd name="connsiteX23" fmla="*/ 2277 w 10000"/>
                  <a:gd name="connsiteY23" fmla="*/ 9379 h 10000"/>
                  <a:gd name="connsiteX24" fmla="*/ 2599 w 10000"/>
                  <a:gd name="connsiteY24" fmla="*/ 9379 h 10000"/>
                  <a:gd name="connsiteX25" fmla="*/ 2797 w 10000"/>
                  <a:gd name="connsiteY25" fmla="*/ 9391 h 10000"/>
                  <a:gd name="connsiteX26" fmla="*/ 3119 w 10000"/>
                  <a:gd name="connsiteY26" fmla="*/ 8771 h 10000"/>
                  <a:gd name="connsiteX27" fmla="*/ 3342 w 10000"/>
                  <a:gd name="connsiteY27" fmla="*/ 6547 h 10000"/>
                  <a:gd name="connsiteX28" fmla="*/ 3589 w 10000"/>
                  <a:gd name="connsiteY28" fmla="*/ 3963 h 10000"/>
                  <a:gd name="connsiteX29" fmla="*/ 4109 w 10000"/>
                  <a:gd name="connsiteY29" fmla="*/ 3032 h 10000"/>
                  <a:gd name="connsiteX30" fmla="*/ 4431 w 10000"/>
                  <a:gd name="connsiteY30" fmla="*/ 2783 h 10000"/>
                  <a:gd name="connsiteX31" fmla="*/ 5817 w 10000"/>
                  <a:gd name="connsiteY31" fmla="*/ 6472 h 10000"/>
                  <a:gd name="connsiteX32" fmla="*/ 6559 w 10000"/>
                  <a:gd name="connsiteY32" fmla="*/ 8758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3 h 10000"/>
                  <a:gd name="connsiteX42" fmla="*/ 9431 w 10000"/>
                  <a:gd name="connsiteY42" fmla="*/ 8658 h 10000"/>
                  <a:gd name="connsiteX0" fmla="*/ 9431 w 10000"/>
                  <a:gd name="connsiteY0" fmla="*/ 8658 h 10000"/>
                  <a:gd name="connsiteX1" fmla="*/ 8663 w 10000"/>
                  <a:gd name="connsiteY1" fmla="*/ 5429 h 10000"/>
                  <a:gd name="connsiteX2" fmla="*/ 8515 w 10000"/>
                  <a:gd name="connsiteY2" fmla="*/ 2286 h 10000"/>
                  <a:gd name="connsiteX3" fmla="*/ 8371 w 10000"/>
                  <a:gd name="connsiteY3" fmla="*/ 2227 h 10000"/>
                  <a:gd name="connsiteX4" fmla="*/ 7753 w 10000"/>
                  <a:gd name="connsiteY4" fmla="*/ 2337 h 10000"/>
                  <a:gd name="connsiteX5" fmla="*/ 6330 w 10000"/>
                  <a:gd name="connsiteY5" fmla="*/ 2487 h 10000"/>
                  <a:gd name="connsiteX6" fmla="*/ 6134 w 10000"/>
                  <a:gd name="connsiteY6" fmla="*/ 2300 h 10000"/>
                  <a:gd name="connsiteX7" fmla="*/ 5018 w 10000"/>
                  <a:gd name="connsiteY7" fmla="*/ 63 h 10000"/>
                  <a:gd name="connsiteX8" fmla="*/ 2336 w 10000"/>
                  <a:gd name="connsiteY8" fmla="*/ 50 h 10000"/>
                  <a:gd name="connsiteX9" fmla="*/ 2012 w 10000"/>
                  <a:gd name="connsiteY9" fmla="*/ 2187 h 10000"/>
                  <a:gd name="connsiteX10" fmla="*/ 2036 w 10000"/>
                  <a:gd name="connsiteY10" fmla="*/ 2338 h 10000"/>
                  <a:gd name="connsiteX11" fmla="*/ 1740 w 10000"/>
                  <a:gd name="connsiteY11" fmla="*/ 2425 h 10000"/>
                  <a:gd name="connsiteX12" fmla="*/ 693 w 10000"/>
                  <a:gd name="connsiteY12" fmla="*/ 2315 h 10000"/>
                  <a:gd name="connsiteX13" fmla="*/ 248 w 10000"/>
                  <a:gd name="connsiteY13" fmla="*/ 2316 h 10000"/>
                  <a:gd name="connsiteX14" fmla="*/ 644 w 10000"/>
                  <a:gd name="connsiteY14" fmla="*/ 5006 h 10000"/>
                  <a:gd name="connsiteX15" fmla="*/ 396 w 10000"/>
                  <a:gd name="connsiteY15" fmla="*/ 7801 h 10000"/>
                  <a:gd name="connsiteX16" fmla="*/ 792 w 10000"/>
                  <a:gd name="connsiteY16" fmla="*/ 8484 h 10000"/>
                  <a:gd name="connsiteX17" fmla="*/ 347 w 10000"/>
                  <a:gd name="connsiteY17" fmla="*/ 8708 h 10000"/>
                  <a:gd name="connsiteX18" fmla="*/ 0 w 10000"/>
                  <a:gd name="connsiteY18" fmla="*/ 9466 h 10000"/>
                  <a:gd name="connsiteX19" fmla="*/ 74 w 10000"/>
                  <a:gd name="connsiteY19" fmla="*/ 9466 h 10000"/>
                  <a:gd name="connsiteX20" fmla="*/ 297 w 10000"/>
                  <a:gd name="connsiteY20" fmla="*/ 9478 h 10000"/>
                  <a:gd name="connsiteX21" fmla="*/ 866 w 10000"/>
                  <a:gd name="connsiteY21" fmla="*/ 9478 h 10000"/>
                  <a:gd name="connsiteX22" fmla="*/ 1510 w 10000"/>
                  <a:gd name="connsiteY22" fmla="*/ 9453 h 10000"/>
                  <a:gd name="connsiteX23" fmla="*/ 2277 w 10000"/>
                  <a:gd name="connsiteY23" fmla="*/ 9379 h 10000"/>
                  <a:gd name="connsiteX24" fmla="*/ 2599 w 10000"/>
                  <a:gd name="connsiteY24" fmla="*/ 9379 h 10000"/>
                  <a:gd name="connsiteX25" fmla="*/ 2797 w 10000"/>
                  <a:gd name="connsiteY25" fmla="*/ 9391 h 10000"/>
                  <a:gd name="connsiteX26" fmla="*/ 3119 w 10000"/>
                  <a:gd name="connsiteY26" fmla="*/ 8771 h 10000"/>
                  <a:gd name="connsiteX27" fmla="*/ 3342 w 10000"/>
                  <a:gd name="connsiteY27" fmla="*/ 6547 h 10000"/>
                  <a:gd name="connsiteX28" fmla="*/ 3589 w 10000"/>
                  <a:gd name="connsiteY28" fmla="*/ 3963 h 10000"/>
                  <a:gd name="connsiteX29" fmla="*/ 4109 w 10000"/>
                  <a:gd name="connsiteY29" fmla="*/ 3032 h 10000"/>
                  <a:gd name="connsiteX30" fmla="*/ 4431 w 10000"/>
                  <a:gd name="connsiteY30" fmla="*/ 2783 h 10000"/>
                  <a:gd name="connsiteX31" fmla="*/ 5817 w 10000"/>
                  <a:gd name="connsiteY31" fmla="*/ 6472 h 10000"/>
                  <a:gd name="connsiteX32" fmla="*/ 6559 w 10000"/>
                  <a:gd name="connsiteY32" fmla="*/ 8758 h 10000"/>
                  <a:gd name="connsiteX33" fmla="*/ 7624 w 10000"/>
                  <a:gd name="connsiteY33" fmla="*/ 9702 h 10000"/>
                  <a:gd name="connsiteX34" fmla="*/ 8144 w 10000"/>
                  <a:gd name="connsiteY34" fmla="*/ 10000 h 10000"/>
                  <a:gd name="connsiteX35" fmla="*/ 8416 w 10000"/>
                  <a:gd name="connsiteY35" fmla="*/ 9901 h 10000"/>
                  <a:gd name="connsiteX36" fmla="*/ 8936 w 10000"/>
                  <a:gd name="connsiteY36" fmla="*/ 9839 h 10000"/>
                  <a:gd name="connsiteX37" fmla="*/ 9381 w 10000"/>
                  <a:gd name="connsiteY37" fmla="*/ 9777 h 10000"/>
                  <a:gd name="connsiteX38" fmla="*/ 9777 w 10000"/>
                  <a:gd name="connsiteY38" fmla="*/ 9677 h 10000"/>
                  <a:gd name="connsiteX39" fmla="*/ 9926 w 10000"/>
                  <a:gd name="connsiteY39" fmla="*/ 9665 h 10000"/>
                  <a:gd name="connsiteX40" fmla="*/ 9901 w 10000"/>
                  <a:gd name="connsiteY40" fmla="*/ 9640 h 10000"/>
                  <a:gd name="connsiteX41" fmla="*/ 9950 w 10000"/>
                  <a:gd name="connsiteY41" fmla="*/ 9193 h 10000"/>
                  <a:gd name="connsiteX42" fmla="*/ 9431 w 10000"/>
                  <a:gd name="connsiteY42" fmla="*/ 8658 h 10000"/>
                  <a:gd name="connsiteX0" fmla="*/ 9431 w 10000"/>
                  <a:gd name="connsiteY0" fmla="*/ 8595 h 9937"/>
                  <a:gd name="connsiteX1" fmla="*/ 8663 w 10000"/>
                  <a:gd name="connsiteY1" fmla="*/ 5366 h 9937"/>
                  <a:gd name="connsiteX2" fmla="*/ 8515 w 10000"/>
                  <a:gd name="connsiteY2" fmla="*/ 2223 h 9937"/>
                  <a:gd name="connsiteX3" fmla="*/ 8371 w 10000"/>
                  <a:gd name="connsiteY3" fmla="*/ 2164 h 9937"/>
                  <a:gd name="connsiteX4" fmla="*/ 7753 w 10000"/>
                  <a:gd name="connsiteY4" fmla="*/ 2274 h 9937"/>
                  <a:gd name="connsiteX5" fmla="*/ 6330 w 10000"/>
                  <a:gd name="connsiteY5" fmla="*/ 2424 h 9937"/>
                  <a:gd name="connsiteX6" fmla="*/ 6134 w 10000"/>
                  <a:gd name="connsiteY6" fmla="*/ 2237 h 9937"/>
                  <a:gd name="connsiteX7" fmla="*/ 5018 w 10000"/>
                  <a:gd name="connsiteY7" fmla="*/ 0 h 9937"/>
                  <a:gd name="connsiteX8" fmla="*/ 2149 w 10000"/>
                  <a:gd name="connsiteY8" fmla="*/ 175 h 9937"/>
                  <a:gd name="connsiteX9" fmla="*/ 2012 w 10000"/>
                  <a:gd name="connsiteY9" fmla="*/ 2124 h 9937"/>
                  <a:gd name="connsiteX10" fmla="*/ 2036 w 10000"/>
                  <a:gd name="connsiteY10" fmla="*/ 2275 h 9937"/>
                  <a:gd name="connsiteX11" fmla="*/ 1740 w 10000"/>
                  <a:gd name="connsiteY11" fmla="*/ 2362 h 9937"/>
                  <a:gd name="connsiteX12" fmla="*/ 693 w 10000"/>
                  <a:gd name="connsiteY12" fmla="*/ 2252 h 9937"/>
                  <a:gd name="connsiteX13" fmla="*/ 248 w 10000"/>
                  <a:gd name="connsiteY13" fmla="*/ 2253 h 9937"/>
                  <a:gd name="connsiteX14" fmla="*/ 644 w 10000"/>
                  <a:gd name="connsiteY14" fmla="*/ 4943 h 9937"/>
                  <a:gd name="connsiteX15" fmla="*/ 396 w 10000"/>
                  <a:gd name="connsiteY15" fmla="*/ 7738 h 9937"/>
                  <a:gd name="connsiteX16" fmla="*/ 792 w 10000"/>
                  <a:gd name="connsiteY16" fmla="*/ 8421 h 9937"/>
                  <a:gd name="connsiteX17" fmla="*/ 347 w 10000"/>
                  <a:gd name="connsiteY17" fmla="*/ 8645 h 9937"/>
                  <a:gd name="connsiteX18" fmla="*/ 0 w 10000"/>
                  <a:gd name="connsiteY18" fmla="*/ 9403 h 9937"/>
                  <a:gd name="connsiteX19" fmla="*/ 74 w 10000"/>
                  <a:gd name="connsiteY19" fmla="*/ 9403 h 9937"/>
                  <a:gd name="connsiteX20" fmla="*/ 297 w 10000"/>
                  <a:gd name="connsiteY20" fmla="*/ 9415 h 9937"/>
                  <a:gd name="connsiteX21" fmla="*/ 866 w 10000"/>
                  <a:gd name="connsiteY21" fmla="*/ 9415 h 9937"/>
                  <a:gd name="connsiteX22" fmla="*/ 1510 w 10000"/>
                  <a:gd name="connsiteY22" fmla="*/ 9390 h 9937"/>
                  <a:gd name="connsiteX23" fmla="*/ 2277 w 10000"/>
                  <a:gd name="connsiteY23" fmla="*/ 9316 h 9937"/>
                  <a:gd name="connsiteX24" fmla="*/ 2599 w 10000"/>
                  <a:gd name="connsiteY24" fmla="*/ 9316 h 9937"/>
                  <a:gd name="connsiteX25" fmla="*/ 2797 w 10000"/>
                  <a:gd name="connsiteY25" fmla="*/ 9328 h 9937"/>
                  <a:gd name="connsiteX26" fmla="*/ 3119 w 10000"/>
                  <a:gd name="connsiteY26" fmla="*/ 8708 h 9937"/>
                  <a:gd name="connsiteX27" fmla="*/ 3342 w 10000"/>
                  <a:gd name="connsiteY27" fmla="*/ 6484 h 9937"/>
                  <a:gd name="connsiteX28" fmla="*/ 3589 w 10000"/>
                  <a:gd name="connsiteY28" fmla="*/ 3900 h 9937"/>
                  <a:gd name="connsiteX29" fmla="*/ 4109 w 10000"/>
                  <a:gd name="connsiteY29" fmla="*/ 2969 h 9937"/>
                  <a:gd name="connsiteX30" fmla="*/ 4431 w 10000"/>
                  <a:gd name="connsiteY30" fmla="*/ 2720 h 9937"/>
                  <a:gd name="connsiteX31" fmla="*/ 5817 w 10000"/>
                  <a:gd name="connsiteY31" fmla="*/ 6409 h 9937"/>
                  <a:gd name="connsiteX32" fmla="*/ 6559 w 10000"/>
                  <a:gd name="connsiteY32" fmla="*/ 8695 h 9937"/>
                  <a:gd name="connsiteX33" fmla="*/ 7624 w 10000"/>
                  <a:gd name="connsiteY33" fmla="*/ 9639 h 9937"/>
                  <a:gd name="connsiteX34" fmla="*/ 8144 w 10000"/>
                  <a:gd name="connsiteY34" fmla="*/ 9937 h 9937"/>
                  <a:gd name="connsiteX35" fmla="*/ 8416 w 10000"/>
                  <a:gd name="connsiteY35" fmla="*/ 9838 h 9937"/>
                  <a:gd name="connsiteX36" fmla="*/ 8936 w 10000"/>
                  <a:gd name="connsiteY36" fmla="*/ 9776 h 9937"/>
                  <a:gd name="connsiteX37" fmla="*/ 9381 w 10000"/>
                  <a:gd name="connsiteY37" fmla="*/ 9714 h 9937"/>
                  <a:gd name="connsiteX38" fmla="*/ 9777 w 10000"/>
                  <a:gd name="connsiteY38" fmla="*/ 9614 h 9937"/>
                  <a:gd name="connsiteX39" fmla="*/ 9926 w 10000"/>
                  <a:gd name="connsiteY39" fmla="*/ 9602 h 9937"/>
                  <a:gd name="connsiteX40" fmla="*/ 9901 w 10000"/>
                  <a:gd name="connsiteY40" fmla="*/ 9577 h 9937"/>
                  <a:gd name="connsiteX41" fmla="*/ 9950 w 10000"/>
                  <a:gd name="connsiteY41" fmla="*/ 9130 h 9937"/>
                  <a:gd name="connsiteX42" fmla="*/ 9431 w 10000"/>
                  <a:gd name="connsiteY42" fmla="*/ 8595 h 9937"/>
                  <a:gd name="connsiteX0" fmla="*/ 9431 w 10000"/>
                  <a:gd name="connsiteY0" fmla="*/ 8523 h 9874"/>
                  <a:gd name="connsiteX1" fmla="*/ 8663 w 10000"/>
                  <a:gd name="connsiteY1" fmla="*/ 5274 h 9874"/>
                  <a:gd name="connsiteX2" fmla="*/ 8515 w 10000"/>
                  <a:gd name="connsiteY2" fmla="*/ 2111 h 9874"/>
                  <a:gd name="connsiteX3" fmla="*/ 8371 w 10000"/>
                  <a:gd name="connsiteY3" fmla="*/ 2052 h 9874"/>
                  <a:gd name="connsiteX4" fmla="*/ 7753 w 10000"/>
                  <a:gd name="connsiteY4" fmla="*/ 2162 h 9874"/>
                  <a:gd name="connsiteX5" fmla="*/ 6330 w 10000"/>
                  <a:gd name="connsiteY5" fmla="*/ 2313 h 9874"/>
                  <a:gd name="connsiteX6" fmla="*/ 6134 w 10000"/>
                  <a:gd name="connsiteY6" fmla="*/ 2125 h 9874"/>
                  <a:gd name="connsiteX7" fmla="*/ 5182 w 10000"/>
                  <a:gd name="connsiteY7" fmla="*/ 87 h 9874"/>
                  <a:gd name="connsiteX8" fmla="*/ 2149 w 10000"/>
                  <a:gd name="connsiteY8" fmla="*/ 50 h 9874"/>
                  <a:gd name="connsiteX9" fmla="*/ 2012 w 10000"/>
                  <a:gd name="connsiteY9" fmla="*/ 2011 h 9874"/>
                  <a:gd name="connsiteX10" fmla="*/ 2036 w 10000"/>
                  <a:gd name="connsiteY10" fmla="*/ 2163 h 9874"/>
                  <a:gd name="connsiteX11" fmla="*/ 1740 w 10000"/>
                  <a:gd name="connsiteY11" fmla="*/ 2251 h 9874"/>
                  <a:gd name="connsiteX12" fmla="*/ 693 w 10000"/>
                  <a:gd name="connsiteY12" fmla="*/ 2140 h 9874"/>
                  <a:gd name="connsiteX13" fmla="*/ 248 w 10000"/>
                  <a:gd name="connsiteY13" fmla="*/ 2141 h 9874"/>
                  <a:gd name="connsiteX14" fmla="*/ 644 w 10000"/>
                  <a:gd name="connsiteY14" fmla="*/ 4848 h 9874"/>
                  <a:gd name="connsiteX15" fmla="*/ 396 w 10000"/>
                  <a:gd name="connsiteY15" fmla="*/ 7661 h 9874"/>
                  <a:gd name="connsiteX16" fmla="*/ 792 w 10000"/>
                  <a:gd name="connsiteY16" fmla="*/ 8348 h 9874"/>
                  <a:gd name="connsiteX17" fmla="*/ 347 w 10000"/>
                  <a:gd name="connsiteY17" fmla="*/ 8574 h 9874"/>
                  <a:gd name="connsiteX18" fmla="*/ 0 w 10000"/>
                  <a:gd name="connsiteY18" fmla="*/ 9337 h 9874"/>
                  <a:gd name="connsiteX19" fmla="*/ 74 w 10000"/>
                  <a:gd name="connsiteY19" fmla="*/ 9337 h 9874"/>
                  <a:gd name="connsiteX20" fmla="*/ 297 w 10000"/>
                  <a:gd name="connsiteY20" fmla="*/ 9349 h 9874"/>
                  <a:gd name="connsiteX21" fmla="*/ 866 w 10000"/>
                  <a:gd name="connsiteY21" fmla="*/ 9349 h 9874"/>
                  <a:gd name="connsiteX22" fmla="*/ 1510 w 10000"/>
                  <a:gd name="connsiteY22" fmla="*/ 9324 h 9874"/>
                  <a:gd name="connsiteX23" fmla="*/ 2277 w 10000"/>
                  <a:gd name="connsiteY23" fmla="*/ 9249 h 9874"/>
                  <a:gd name="connsiteX24" fmla="*/ 2599 w 10000"/>
                  <a:gd name="connsiteY24" fmla="*/ 9249 h 9874"/>
                  <a:gd name="connsiteX25" fmla="*/ 2797 w 10000"/>
                  <a:gd name="connsiteY25" fmla="*/ 9261 h 9874"/>
                  <a:gd name="connsiteX26" fmla="*/ 3119 w 10000"/>
                  <a:gd name="connsiteY26" fmla="*/ 8637 h 9874"/>
                  <a:gd name="connsiteX27" fmla="*/ 3342 w 10000"/>
                  <a:gd name="connsiteY27" fmla="*/ 6399 h 9874"/>
                  <a:gd name="connsiteX28" fmla="*/ 3589 w 10000"/>
                  <a:gd name="connsiteY28" fmla="*/ 3799 h 9874"/>
                  <a:gd name="connsiteX29" fmla="*/ 4109 w 10000"/>
                  <a:gd name="connsiteY29" fmla="*/ 2862 h 9874"/>
                  <a:gd name="connsiteX30" fmla="*/ 4431 w 10000"/>
                  <a:gd name="connsiteY30" fmla="*/ 2611 h 9874"/>
                  <a:gd name="connsiteX31" fmla="*/ 5817 w 10000"/>
                  <a:gd name="connsiteY31" fmla="*/ 6324 h 9874"/>
                  <a:gd name="connsiteX32" fmla="*/ 6559 w 10000"/>
                  <a:gd name="connsiteY32" fmla="*/ 8624 h 9874"/>
                  <a:gd name="connsiteX33" fmla="*/ 7624 w 10000"/>
                  <a:gd name="connsiteY33" fmla="*/ 9574 h 9874"/>
                  <a:gd name="connsiteX34" fmla="*/ 8144 w 10000"/>
                  <a:gd name="connsiteY34" fmla="*/ 9874 h 9874"/>
                  <a:gd name="connsiteX35" fmla="*/ 8416 w 10000"/>
                  <a:gd name="connsiteY35" fmla="*/ 9774 h 9874"/>
                  <a:gd name="connsiteX36" fmla="*/ 8936 w 10000"/>
                  <a:gd name="connsiteY36" fmla="*/ 9712 h 9874"/>
                  <a:gd name="connsiteX37" fmla="*/ 9381 w 10000"/>
                  <a:gd name="connsiteY37" fmla="*/ 9650 h 9874"/>
                  <a:gd name="connsiteX38" fmla="*/ 9777 w 10000"/>
                  <a:gd name="connsiteY38" fmla="*/ 9549 h 9874"/>
                  <a:gd name="connsiteX39" fmla="*/ 9926 w 10000"/>
                  <a:gd name="connsiteY39" fmla="*/ 9537 h 9874"/>
                  <a:gd name="connsiteX40" fmla="*/ 9901 w 10000"/>
                  <a:gd name="connsiteY40" fmla="*/ 9512 h 9874"/>
                  <a:gd name="connsiteX41" fmla="*/ 9950 w 10000"/>
                  <a:gd name="connsiteY41" fmla="*/ 9062 h 9874"/>
                  <a:gd name="connsiteX42" fmla="*/ 9431 w 10000"/>
                  <a:gd name="connsiteY42" fmla="*/ 8523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0000" h="9874">
                    <a:moveTo>
                      <a:pt x="9431" y="8523"/>
                    </a:moveTo>
                    <a:cubicBezTo>
                      <a:pt x="9431" y="8523"/>
                      <a:pt x="9109" y="5798"/>
                      <a:pt x="8663" y="5274"/>
                    </a:cubicBezTo>
                    <a:cubicBezTo>
                      <a:pt x="8663" y="5274"/>
                      <a:pt x="8391" y="2337"/>
                      <a:pt x="8515" y="2111"/>
                    </a:cubicBezTo>
                    <a:lnTo>
                      <a:pt x="8371" y="2052"/>
                    </a:lnTo>
                    <a:cubicBezTo>
                      <a:pt x="8248" y="2077"/>
                      <a:pt x="8050" y="2137"/>
                      <a:pt x="7753" y="2162"/>
                    </a:cubicBezTo>
                    <a:cubicBezTo>
                      <a:pt x="6465" y="2324"/>
                      <a:pt x="6528" y="2463"/>
                      <a:pt x="6330" y="2313"/>
                    </a:cubicBezTo>
                    <a:cubicBezTo>
                      <a:pt x="6280" y="2288"/>
                      <a:pt x="6208" y="2225"/>
                      <a:pt x="6134" y="2125"/>
                    </a:cubicBezTo>
                    <a:cubicBezTo>
                      <a:pt x="5787" y="1524"/>
                      <a:pt x="5182" y="87"/>
                      <a:pt x="5182" y="87"/>
                    </a:cubicBezTo>
                    <a:lnTo>
                      <a:pt x="2149" y="50"/>
                    </a:lnTo>
                    <a:cubicBezTo>
                      <a:pt x="1926" y="0"/>
                      <a:pt x="2031" y="1659"/>
                      <a:pt x="2012" y="2011"/>
                    </a:cubicBezTo>
                    <a:cubicBezTo>
                      <a:pt x="1993" y="2364"/>
                      <a:pt x="2061" y="2076"/>
                      <a:pt x="2036" y="2163"/>
                    </a:cubicBezTo>
                    <a:cubicBezTo>
                      <a:pt x="2012" y="2226"/>
                      <a:pt x="1913" y="2264"/>
                      <a:pt x="1740" y="2251"/>
                    </a:cubicBezTo>
                    <a:cubicBezTo>
                      <a:pt x="1740" y="2251"/>
                      <a:pt x="1337" y="2164"/>
                      <a:pt x="693" y="2140"/>
                    </a:cubicBezTo>
                    <a:lnTo>
                      <a:pt x="248" y="2141"/>
                    </a:lnTo>
                    <a:cubicBezTo>
                      <a:pt x="272" y="2316"/>
                      <a:pt x="644" y="4674"/>
                      <a:pt x="644" y="4848"/>
                    </a:cubicBezTo>
                    <a:cubicBezTo>
                      <a:pt x="644" y="4848"/>
                      <a:pt x="124" y="6950"/>
                      <a:pt x="396" y="7661"/>
                    </a:cubicBezTo>
                    <a:cubicBezTo>
                      <a:pt x="396" y="7661"/>
                      <a:pt x="792" y="8212"/>
                      <a:pt x="792" y="8348"/>
                    </a:cubicBezTo>
                    <a:cubicBezTo>
                      <a:pt x="792" y="8348"/>
                      <a:pt x="842" y="8549"/>
                      <a:pt x="347" y="8574"/>
                    </a:cubicBezTo>
                    <a:cubicBezTo>
                      <a:pt x="347" y="8574"/>
                      <a:pt x="50" y="8737"/>
                      <a:pt x="0" y="9337"/>
                    </a:cubicBezTo>
                    <a:lnTo>
                      <a:pt x="74" y="9337"/>
                    </a:lnTo>
                    <a:cubicBezTo>
                      <a:pt x="149" y="9337"/>
                      <a:pt x="223" y="9349"/>
                      <a:pt x="297" y="9349"/>
                    </a:cubicBezTo>
                    <a:lnTo>
                      <a:pt x="866" y="9349"/>
                    </a:lnTo>
                    <a:cubicBezTo>
                      <a:pt x="1089" y="9337"/>
                      <a:pt x="1287" y="9324"/>
                      <a:pt x="1510" y="9324"/>
                    </a:cubicBezTo>
                    <a:cubicBezTo>
                      <a:pt x="1782" y="9324"/>
                      <a:pt x="2030" y="9273"/>
                      <a:pt x="2277" y="9249"/>
                    </a:cubicBezTo>
                    <a:cubicBezTo>
                      <a:pt x="2401" y="9236"/>
                      <a:pt x="2500" y="9249"/>
                      <a:pt x="2599" y="9249"/>
                    </a:cubicBezTo>
                    <a:cubicBezTo>
                      <a:pt x="2673" y="9261"/>
                      <a:pt x="2723" y="9261"/>
                      <a:pt x="2797" y="9261"/>
                    </a:cubicBezTo>
                    <a:cubicBezTo>
                      <a:pt x="2822" y="9086"/>
                      <a:pt x="2896" y="8850"/>
                      <a:pt x="3119" y="8637"/>
                    </a:cubicBezTo>
                    <a:cubicBezTo>
                      <a:pt x="3119" y="8637"/>
                      <a:pt x="3614" y="7812"/>
                      <a:pt x="3342" y="6399"/>
                    </a:cubicBezTo>
                    <a:cubicBezTo>
                      <a:pt x="3342" y="6399"/>
                      <a:pt x="3267" y="4724"/>
                      <a:pt x="3589" y="3799"/>
                    </a:cubicBezTo>
                    <a:cubicBezTo>
                      <a:pt x="3589" y="3799"/>
                      <a:pt x="3960" y="3224"/>
                      <a:pt x="4109" y="2862"/>
                    </a:cubicBezTo>
                    <a:cubicBezTo>
                      <a:pt x="4109" y="2862"/>
                      <a:pt x="4183" y="2361"/>
                      <a:pt x="4431" y="2611"/>
                    </a:cubicBezTo>
                    <a:cubicBezTo>
                      <a:pt x="4431" y="2611"/>
                      <a:pt x="5594" y="4399"/>
                      <a:pt x="5817" y="6324"/>
                    </a:cubicBezTo>
                    <a:cubicBezTo>
                      <a:pt x="5817" y="6324"/>
                      <a:pt x="6361" y="8186"/>
                      <a:pt x="6559" y="8624"/>
                    </a:cubicBezTo>
                    <a:cubicBezTo>
                      <a:pt x="6559" y="8624"/>
                      <a:pt x="6708" y="9124"/>
                      <a:pt x="7624" y="9574"/>
                    </a:cubicBezTo>
                    <a:cubicBezTo>
                      <a:pt x="7624" y="9574"/>
                      <a:pt x="7673" y="9837"/>
                      <a:pt x="8144" y="9874"/>
                    </a:cubicBezTo>
                    <a:cubicBezTo>
                      <a:pt x="8218" y="9837"/>
                      <a:pt x="8292" y="9800"/>
                      <a:pt x="8416" y="9774"/>
                    </a:cubicBezTo>
                    <a:cubicBezTo>
                      <a:pt x="8589" y="9761"/>
                      <a:pt x="8762" y="9737"/>
                      <a:pt x="8936" y="9712"/>
                    </a:cubicBezTo>
                    <a:cubicBezTo>
                      <a:pt x="9084" y="9687"/>
                      <a:pt x="9257" y="9687"/>
                      <a:pt x="9381" y="9650"/>
                    </a:cubicBezTo>
                    <a:cubicBezTo>
                      <a:pt x="9530" y="9611"/>
                      <a:pt x="9629" y="9562"/>
                      <a:pt x="9777" y="9549"/>
                    </a:cubicBezTo>
                    <a:cubicBezTo>
                      <a:pt x="9827" y="9537"/>
                      <a:pt x="9876" y="9537"/>
                      <a:pt x="9926" y="9537"/>
                    </a:cubicBezTo>
                    <a:cubicBezTo>
                      <a:pt x="9901" y="9525"/>
                      <a:pt x="9901" y="9525"/>
                      <a:pt x="9901" y="9512"/>
                    </a:cubicBezTo>
                    <a:cubicBezTo>
                      <a:pt x="9901" y="9512"/>
                      <a:pt x="9926" y="9224"/>
                      <a:pt x="9950" y="9062"/>
                    </a:cubicBezTo>
                    <a:cubicBezTo>
                      <a:pt x="10000" y="8887"/>
                      <a:pt x="9554" y="8762"/>
                      <a:pt x="9431" y="8523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18" name="Freeform 10"/>
              <p:cNvSpPr>
                <a:spLocks/>
              </p:cNvSpPr>
              <p:nvPr/>
            </p:nvSpPr>
            <p:spPr bwMode="gray">
              <a:xfrm>
                <a:off x="3200400" y="5364163"/>
                <a:ext cx="266700" cy="211138"/>
              </a:xfrm>
              <a:custGeom>
                <a:avLst/>
                <a:gdLst/>
                <a:ahLst/>
                <a:cxnLst>
                  <a:cxn ang="0">
                    <a:pos x="61" y="9"/>
                  </a:cxn>
                  <a:cxn ang="0">
                    <a:pos x="43" y="14"/>
                  </a:cxn>
                  <a:cxn ang="0">
                    <a:pos x="22" y="19"/>
                  </a:cxn>
                  <a:cxn ang="0">
                    <a:pos x="11" y="27"/>
                  </a:cxn>
                  <a:cxn ang="0">
                    <a:pos x="15" y="28"/>
                  </a:cxn>
                  <a:cxn ang="0">
                    <a:pos x="16" y="37"/>
                  </a:cxn>
                  <a:cxn ang="0">
                    <a:pos x="49" y="75"/>
                  </a:cxn>
                  <a:cxn ang="0">
                    <a:pos x="103" y="61"/>
                  </a:cxn>
                  <a:cxn ang="0">
                    <a:pos x="83" y="0"/>
                  </a:cxn>
                  <a:cxn ang="0">
                    <a:pos x="77" y="1"/>
                  </a:cxn>
                  <a:cxn ang="0">
                    <a:pos x="61" y="9"/>
                  </a:cxn>
                </a:cxnLst>
                <a:rect l="0" t="0" r="r" b="b"/>
                <a:pathLst>
                  <a:path w="106" h="84">
                    <a:moveTo>
                      <a:pt x="61" y="9"/>
                    </a:moveTo>
                    <a:cubicBezTo>
                      <a:pt x="56" y="12"/>
                      <a:pt x="49" y="12"/>
                      <a:pt x="43" y="14"/>
                    </a:cubicBezTo>
                    <a:cubicBezTo>
                      <a:pt x="36" y="16"/>
                      <a:pt x="29" y="18"/>
                      <a:pt x="22" y="19"/>
                    </a:cubicBezTo>
                    <a:cubicBezTo>
                      <a:pt x="17" y="21"/>
                      <a:pt x="14" y="24"/>
                      <a:pt x="11" y="27"/>
                    </a:cubicBezTo>
                    <a:cubicBezTo>
                      <a:pt x="12" y="27"/>
                      <a:pt x="13" y="28"/>
                      <a:pt x="15" y="28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0" y="61"/>
                      <a:pt x="49" y="75"/>
                    </a:cubicBezTo>
                    <a:cubicBezTo>
                      <a:pt x="49" y="75"/>
                      <a:pt x="85" y="84"/>
                      <a:pt x="103" y="61"/>
                    </a:cubicBezTo>
                    <a:cubicBezTo>
                      <a:pt x="103" y="61"/>
                      <a:pt x="106" y="45"/>
                      <a:pt x="83" y="0"/>
                    </a:cubicBezTo>
                    <a:cubicBezTo>
                      <a:pt x="81" y="0"/>
                      <a:pt x="79" y="0"/>
                      <a:pt x="77" y="1"/>
                    </a:cubicBezTo>
                    <a:cubicBezTo>
                      <a:pt x="71" y="2"/>
                      <a:pt x="67" y="6"/>
                      <a:pt x="61" y="9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19" name="Freeform 11"/>
              <p:cNvSpPr>
                <a:spLocks/>
              </p:cNvSpPr>
              <p:nvPr/>
            </p:nvSpPr>
            <p:spPr bwMode="gray">
              <a:xfrm>
                <a:off x="2236788" y="5310188"/>
                <a:ext cx="450850" cy="212725"/>
              </a:xfrm>
              <a:custGeom>
                <a:avLst/>
                <a:gdLst/>
                <a:ahLst/>
                <a:cxnLst>
                  <a:cxn ang="0">
                    <a:pos x="170" y="1"/>
                  </a:cxn>
                  <a:cxn ang="0">
                    <a:pos x="157" y="1"/>
                  </a:cxn>
                  <a:cxn ang="0">
                    <a:pos x="126" y="7"/>
                  </a:cxn>
                  <a:cxn ang="0">
                    <a:pos x="100" y="9"/>
                  </a:cxn>
                  <a:cxn ang="0">
                    <a:pos x="77" y="9"/>
                  </a:cxn>
                  <a:cxn ang="0">
                    <a:pos x="68" y="8"/>
                  </a:cxn>
                  <a:cxn ang="0">
                    <a:pos x="65" y="8"/>
                  </a:cxn>
                  <a:cxn ang="0">
                    <a:pos x="14" y="70"/>
                  </a:cxn>
                  <a:cxn ang="0">
                    <a:pos x="45" y="82"/>
                  </a:cxn>
                  <a:cxn ang="0">
                    <a:pos x="122" y="53"/>
                  </a:cxn>
                  <a:cxn ang="0">
                    <a:pos x="146" y="38"/>
                  </a:cxn>
                  <a:cxn ang="0">
                    <a:pos x="177" y="19"/>
                  </a:cxn>
                  <a:cxn ang="0">
                    <a:pos x="178" y="2"/>
                  </a:cxn>
                  <a:cxn ang="0">
                    <a:pos x="170" y="1"/>
                  </a:cxn>
                </a:cxnLst>
                <a:rect l="0" t="0" r="r" b="b"/>
                <a:pathLst>
                  <a:path w="179" h="85">
                    <a:moveTo>
                      <a:pt x="170" y="1"/>
                    </a:moveTo>
                    <a:cubicBezTo>
                      <a:pt x="166" y="1"/>
                      <a:pt x="162" y="0"/>
                      <a:pt x="157" y="1"/>
                    </a:cubicBezTo>
                    <a:cubicBezTo>
                      <a:pt x="147" y="3"/>
                      <a:pt x="137" y="7"/>
                      <a:pt x="126" y="7"/>
                    </a:cubicBezTo>
                    <a:cubicBezTo>
                      <a:pt x="117" y="7"/>
                      <a:pt x="109" y="8"/>
                      <a:pt x="100" y="9"/>
                    </a:cubicBezTo>
                    <a:cubicBezTo>
                      <a:pt x="92" y="9"/>
                      <a:pt x="84" y="9"/>
                      <a:pt x="77" y="9"/>
                    </a:cubicBezTo>
                    <a:cubicBezTo>
                      <a:pt x="74" y="9"/>
                      <a:pt x="71" y="8"/>
                      <a:pt x="68" y="8"/>
                    </a:cubicBezTo>
                    <a:cubicBezTo>
                      <a:pt x="67" y="8"/>
                      <a:pt x="66" y="8"/>
                      <a:pt x="65" y="8"/>
                    </a:cubicBezTo>
                    <a:cubicBezTo>
                      <a:pt x="65" y="8"/>
                      <a:pt x="14" y="59"/>
                      <a:pt x="14" y="70"/>
                    </a:cubicBezTo>
                    <a:cubicBezTo>
                      <a:pt x="14" y="70"/>
                      <a:pt x="0" y="82"/>
                      <a:pt x="45" y="82"/>
                    </a:cubicBezTo>
                    <a:cubicBezTo>
                      <a:pt x="45" y="82"/>
                      <a:pt x="119" y="85"/>
                      <a:pt x="122" y="53"/>
                    </a:cubicBezTo>
                    <a:cubicBezTo>
                      <a:pt x="122" y="53"/>
                      <a:pt x="129" y="39"/>
                      <a:pt x="146" y="38"/>
                    </a:cubicBezTo>
                    <a:cubicBezTo>
                      <a:pt x="146" y="38"/>
                      <a:pt x="179" y="33"/>
                      <a:pt x="177" y="19"/>
                    </a:cubicBezTo>
                    <a:cubicBezTo>
                      <a:pt x="177" y="19"/>
                      <a:pt x="177" y="12"/>
                      <a:pt x="178" y="2"/>
                    </a:cubicBezTo>
                    <a:cubicBezTo>
                      <a:pt x="175" y="2"/>
                      <a:pt x="173" y="2"/>
                      <a:pt x="170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grpSp>
            <p:nvGrpSpPr>
              <p:cNvPr id="7" name="Gruppieren 277"/>
              <p:cNvGrpSpPr/>
              <p:nvPr/>
            </p:nvGrpSpPr>
            <p:grpSpPr bwMode="gray">
              <a:xfrm rot="21312537">
                <a:off x="2454735" y="3375799"/>
                <a:ext cx="627946" cy="221276"/>
                <a:chOff x="2435685" y="3355159"/>
                <a:chExt cx="627946" cy="221276"/>
              </a:xfrm>
            </p:grpSpPr>
            <p:sp>
              <p:nvSpPr>
                <p:cNvPr id="157" name="Freeform 197"/>
                <p:cNvSpPr>
                  <a:spLocks/>
                </p:cNvSpPr>
                <p:nvPr/>
              </p:nvSpPr>
              <p:spPr bwMode="gray">
                <a:xfrm>
                  <a:off x="2435685" y="3355159"/>
                  <a:ext cx="627946" cy="221276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91"/>
                    </a:cxn>
                    <a:cxn ang="0">
                      <a:pos x="1022" y="170"/>
                    </a:cxn>
                    <a:cxn ang="0">
                      <a:pos x="987" y="88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1022" h="360">
                      <a:moveTo>
                        <a:pt x="39" y="0"/>
                      </a:moveTo>
                      <a:cubicBezTo>
                        <a:pt x="0" y="91"/>
                        <a:pt x="0" y="91"/>
                        <a:pt x="0" y="91"/>
                      </a:cubicBezTo>
                      <a:cubicBezTo>
                        <a:pt x="645" y="360"/>
                        <a:pt x="989" y="188"/>
                        <a:pt x="1022" y="170"/>
                      </a:cubicBezTo>
                      <a:cubicBezTo>
                        <a:pt x="987" y="88"/>
                        <a:pt x="987" y="88"/>
                        <a:pt x="987" y="88"/>
                      </a:cubicBezTo>
                      <a:cubicBezTo>
                        <a:pt x="567" y="243"/>
                        <a:pt x="39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07070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" name="Freeform 204"/>
                <p:cNvSpPr>
                  <a:spLocks/>
                </p:cNvSpPr>
                <p:nvPr/>
              </p:nvSpPr>
              <p:spPr bwMode="gray">
                <a:xfrm>
                  <a:off x="2551134" y="3394682"/>
                  <a:ext cx="49144" cy="87626"/>
                </a:xfrm>
                <a:custGeom>
                  <a:avLst/>
                  <a:gdLst/>
                  <a:ahLst/>
                  <a:cxnLst>
                    <a:cxn ang="0">
                      <a:pos x="0" y="92"/>
                    </a:cxn>
                    <a:cxn ang="0">
                      <a:pos x="80" y="123"/>
                    </a:cxn>
                    <a:cxn ang="0">
                      <a:pos x="68" y="8"/>
                    </a:cxn>
                    <a:cxn ang="0">
                      <a:pos x="40" y="0"/>
                    </a:cxn>
                    <a:cxn ang="0">
                      <a:pos x="0" y="92"/>
                    </a:cxn>
                  </a:cxnLst>
                  <a:rect l="0" t="0" r="r" b="b"/>
                  <a:pathLst>
                    <a:path w="80" h="143">
                      <a:moveTo>
                        <a:pt x="0" y="92"/>
                      </a:moveTo>
                      <a:cubicBezTo>
                        <a:pt x="21" y="143"/>
                        <a:pt x="34" y="103"/>
                        <a:pt x="80" y="123"/>
                      </a:cubicBezTo>
                      <a:cubicBezTo>
                        <a:pt x="36" y="101"/>
                        <a:pt x="79" y="76"/>
                        <a:pt x="68" y="8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5" y="38"/>
                        <a:pt x="48" y="96"/>
                        <a:pt x="0" y="92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" name="Freeform 205"/>
                <p:cNvSpPr>
                  <a:spLocks/>
                </p:cNvSpPr>
                <p:nvPr/>
              </p:nvSpPr>
              <p:spPr bwMode="gray">
                <a:xfrm>
                  <a:off x="2892798" y="3437585"/>
                  <a:ext cx="44203" cy="77486"/>
                </a:xfrm>
                <a:custGeom>
                  <a:avLst/>
                  <a:gdLst/>
                  <a:ahLst/>
                  <a:cxnLst>
                    <a:cxn ang="0">
                      <a:pos x="17" y="116"/>
                    </a:cxn>
                    <a:cxn ang="0">
                      <a:pos x="72" y="112"/>
                    </a:cxn>
                    <a:cxn ang="0">
                      <a:pos x="30" y="1"/>
                    </a:cxn>
                    <a:cxn ang="0">
                      <a:pos x="0" y="0"/>
                    </a:cxn>
                    <a:cxn ang="0">
                      <a:pos x="17" y="116"/>
                    </a:cxn>
                  </a:cxnLst>
                  <a:rect l="0" t="0" r="r" b="b"/>
                  <a:pathLst>
                    <a:path w="72" h="126">
                      <a:moveTo>
                        <a:pt x="17" y="116"/>
                      </a:moveTo>
                      <a:cubicBezTo>
                        <a:pt x="27" y="126"/>
                        <a:pt x="57" y="109"/>
                        <a:pt x="72" y="112"/>
                      </a:cubicBezTo>
                      <a:cubicBezTo>
                        <a:pt x="22" y="101"/>
                        <a:pt x="58" y="66"/>
                        <a:pt x="3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28"/>
                        <a:pt x="7" y="92"/>
                        <a:pt x="17" y="116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" name="Freeform 232"/>
                <p:cNvSpPr>
                  <a:spLocks/>
                </p:cNvSpPr>
                <p:nvPr/>
              </p:nvSpPr>
              <p:spPr bwMode="gray">
                <a:xfrm>
                  <a:off x="2707145" y="3418604"/>
                  <a:ext cx="144571" cy="104268"/>
                </a:xfrm>
                <a:custGeom>
                  <a:avLst/>
                  <a:gdLst/>
                  <a:ahLst/>
                  <a:cxnLst>
                    <a:cxn ang="0">
                      <a:pos x="31" y="131"/>
                    </a:cxn>
                    <a:cxn ang="0">
                      <a:pos x="169" y="141"/>
                    </a:cxn>
                    <a:cxn ang="0">
                      <a:pos x="183" y="39"/>
                    </a:cxn>
                    <a:cxn ang="0">
                      <a:pos x="136" y="26"/>
                    </a:cxn>
                    <a:cxn ang="0">
                      <a:pos x="205" y="20"/>
                    </a:cxn>
                    <a:cxn ang="0">
                      <a:pos x="197" y="152"/>
                    </a:cxn>
                    <a:cxn ang="0">
                      <a:pos x="155" y="168"/>
                    </a:cxn>
                    <a:cxn ang="0">
                      <a:pos x="13" y="151"/>
                    </a:cxn>
                    <a:cxn ang="0">
                      <a:pos x="11" y="40"/>
                    </a:cxn>
                    <a:cxn ang="0">
                      <a:pos x="155" y="13"/>
                    </a:cxn>
                    <a:cxn ang="0">
                      <a:pos x="140" y="37"/>
                    </a:cxn>
                    <a:cxn ang="0">
                      <a:pos x="36" y="61"/>
                    </a:cxn>
                  </a:cxnLst>
                  <a:rect l="0" t="0" r="r" b="b"/>
                  <a:pathLst>
                    <a:path w="235" h="170">
                      <a:moveTo>
                        <a:pt x="31" y="131"/>
                      </a:moveTo>
                      <a:cubicBezTo>
                        <a:pt x="61" y="144"/>
                        <a:pt x="153" y="156"/>
                        <a:pt x="169" y="141"/>
                      </a:cubicBezTo>
                      <a:cubicBezTo>
                        <a:pt x="170" y="124"/>
                        <a:pt x="185" y="58"/>
                        <a:pt x="183" y="39"/>
                      </a:cubicBezTo>
                      <a:cubicBezTo>
                        <a:pt x="163" y="29"/>
                        <a:pt x="136" y="52"/>
                        <a:pt x="136" y="26"/>
                      </a:cubicBezTo>
                      <a:cubicBezTo>
                        <a:pt x="136" y="2"/>
                        <a:pt x="197" y="20"/>
                        <a:pt x="205" y="20"/>
                      </a:cubicBezTo>
                      <a:cubicBezTo>
                        <a:pt x="235" y="20"/>
                        <a:pt x="201" y="124"/>
                        <a:pt x="197" y="152"/>
                      </a:cubicBezTo>
                      <a:cubicBezTo>
                        <a:pt x="194" y="170"/>
                        <a:pt x="179" y="166"/>
                        <a:pt x="155" y="168"/>
                      </a:cubicBezTo>
                      <a:cubicBezTo>
                        <a:pt x="122" y="169"/>
                        <a:pt x="45" y="162"/>
                        <a:pt x="13" y="151"/>
                      </a:cubicBezTo>
                      <a:cubicBezTo>
                        <a:pt x="0" y="147"/>
                        <a:pt x="1" y="88"/>
                        <a:pt x="11" y="40"/>
                      </a:cubicBezTo>
                      <a:cubicBezTo>
                        <a:pt x="19" y="0"/>
                        <a:pt x="122" y="20"/>
                        <a:pt x="155" y="13"/>
                      </a:cubicBezTo>
                      <a:cubicBezTo>
                        <a:pt x="171" y="10"/>
                        <a:pt x="142" y="23"/>
                        <a:pt x="140" y="37"/>
                      </a:cubicBezTo>
                      <a:cubicBezTo>
                        <a:pt x="123" y="38"/>
                        <a:pt x="29" y="30"/>
                        <a:pt x="36" y="61"/>
                      </a:cubicBezTo>
                    </a:path>
                  </a:pathLst>
                </a:custGeom>
                <a:solidFill>
                  <a:srgbClr val="DBDCD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sp>
            <p:nvSpPr>
              <p:cNvPr id="121" name="Freeform 6"/>
              <p:cNvSpPr>
                <a:spLocks/>
              </p:cNvSpPr>
              <p:nvPr/>
            </p:nvSpPr>
            <p:spPr bwMode="gray">
              <a:xfrm>
                <a:off x="2084388" y="2352675"/>
                <a:ext cx="1490663" cy="1608138"/>
              </a:xfrm>
              <a:custGeom>
                <a:avLst/>
                <a:gdLst>
                  <a:gd name="connsiteX0" fmla="*/ 9966 w 10000"/>
                  <a:gd name="connsiteY0" fmla="*/ 3834 h 10000"/>
                  <a:gd name="connsiteX1" fmla="*/ 9933 w 10000"/>
                  <a:gd name="connsiteY1" fmla="*/ 3912 h 10000"/>
                  <a:gd name="connsiteX2" fmla="*/ 9916 w 10000"/>
                  <a:gd name="connsiteY2" fmla="*/ 4038 h 10000"/>
                  <a:gd name="connsiteX3" fmla="*/ 9798 w 10000"/>
                  <a:gd name="connsiteY3" fmla="*/ 4178 h 10000"/>
                  <a:gd name="connsiteX4" fmla="*/ 9713 w 10000"/>
                  <a:gd name="connsiteY4" fmla="*/ 4288 h 10000"/>
                  <a:gd name="connsiteX5" fmla="*/ 9444 w 10000"/>
                  <a:gd name="connsiteY5" fmla="*/ 4413 h 10000"/>
                  <a:gd name="connsiteX6" fmla="*/ 9157 w 10000"/>
                  <a:gd name="connsiteY6" fmla="*/ 4366 h 10000"/>
                  <a:gd name="connsiteX7" fmla="*/ 8954 w 10000"/>
                  <a:gd name="connsiteY7" fmla="*/ 4053 h 10000"/>
                  <a:gd name="connsiteX8" fmla="*/ 8938 w 10000"/>
                  <a:gd name="connsiteY8" fmla="*/ 3584 h 10000"/>
                  <a:gd name="connsiteX9" fmla="*/ 9073 w 10000"/>
                  <a:gd name="connsiteY9" fmla="*/ 3349 h 10000"/>
                  <a:gd name="connsiteX10" fmla="*/ 9089 w 10000"/>
                  <a:gd name="connsiteY10" fmla="*/ 3318 h 10000"/>
                  <a:gd name="connsiteX11" fmla="*/ 9039 w 10000"/>
                  <a:gd name="connsiteY11" fmla="*/ 3255 h 10000"/>
                  <a:gd name="connsiteX12" fmla="*/ 8617 w 10000"/>
                  <a:gd name="connsiteY12" fmla="*/ 2723 h 10000"/>
                  <a:gd name="connsiteX13" fmla="*/ 8145 w 10000"/>
                  <a:gd name="connsiteY13" fmla="*/ 1502 h 10000"/>
                  <a:gd name="connsiteX14" fmla="*/ 7673 w 10000"/>
                  <a:gd name="connsiteY14" fmla="*/ 861 h 10000"/>
                  <a:gd name="connsiteX15" fmla="*/ 5700 w 10000"/>
                  <a:gd name="connsiteY15" fmla="*/ 16 h 10000"/>
                  <a:gd name="connsiteX16" fmla="*/ 5683 w 10000"/>
                  <a:gd name="connsiteY16" fmla="*/ 0 h 10000"/>
                  <a:gd name="connsiteX17" fmla="*/ 5632 w 10000"/>
                  <a:gd name="connsiteY17" fmla="*/ 47 h 10000"/>
                  <a:gd name="connsiteX18" fmla="*/ 5497 w 10000"/>
                  <a:gd name="connsiteY18" fmla="*/ 297 h 10000"/>
                  <a:gd name="connsiteX19" fmla="*/ 5312 w 10000"/>
                  <a:gd name="connsiteY19" fmla="*/ 657 h 10000"/>
                  <a:gd name="connsiteX20" fmla="*/ 4705 w 10000"/>
                  <a:gd name="connsiteY20" fmla="*/ 1049 h 10000"/>
                  <a:gd name="connsiteX21" fmla="*/ 4132 w 10000"/>
                  <a:gd name="connsiteY21" fmla="*/ 736 h 10000"/>
                  <a:gd name="connsiteX22" fmla="*/ 3895 w 10000"/>
                  <a:gd name="connsiteY22" fmla="*/ 266 h 10000"/>
                  <a:gd name="connsiteX23" fmla="*/ 3811 w 10000"/>
                  <a:gd name="connsiteY23" fmla="*/ 47 h 10000"/>
                  <a:gd name="connsiteX24" fmla="*/ 3541 w 10000"/>
                  <a:gd name="connsiteY24" fmla="*/ 438 h 10000"/>
                  <a:gd name="connsiteX25" fmla="*/ 2142 w 10000"/>
                  <a:gd name="connsiteY25" fmla="*/ 1017 h 10000"/>
                  <a:gd name="connsiteX26" fmla="*/ 1518 w 10000"/>
                  <a:gd name="connsiteY26" fmla="*/ 1581 h 10000"/>
                  <a:gd name="connsiteX27" fmla="*/ 1450 w 10000"/>
                  <a:gd name="connsiteY27" fmla="*/ 1862 h 10000"/>
                  <a:gd name="connsiteX28" fmla="*/ 1433 w 10000"/>
                  <a:gd name="connsiteY28" fmla="*/ 2003 h 10000"/>
                  <a:gd name="connsiteX29" fmla="*/ 1383 w 10000"/>
                  <a:gd name="connsiteY29" fmla="*/ 2504 h 10000"/>
                  <a:gd name="connsiteX30" fmla="*/ 1180 w 10000"/>
                  <a:gd name="connsiteY30" fmla="*/ 3052 h 10000"/>
                  <a:gd name="connsiteX31" fmla="*/ 944 w 10000"/>
                  <a:gd name="connsiteY31" fmla="*/ 3427 h 10000"/>
                  <a:gd name="connsiteX32" fmla="*/ 894 w 10000"/>
                  <a:gd name="connsiteY32" fmla="*/ 3427 h 10000"/>
                  <a:gd name="connsiteX33" fmla="*/ 894 w 10000"/>
                  <a:gd name="connsiteY33" fmla="*/ 3427 h 10000"/>
                  <a:gd name="connsiteX34" fmla="*/ 1096 w 10000"/>
                  <a:gd name="connsiteY34" fmla="*/ 3912 h 10000"/>
                  <a:gd name="connsiteX35" fmla="*/ 1062 w 10000"/>
                  <a:gd name="connsiteY35" fmla="*/ 4210 h 10000"/>
                  <a:gd name="connsiteX36" fmla="*/ 894 w 10000"/>
                  <a:gd name="connsiteY36" fmla="*/ 4382 h 10000"/>
                  <a:gd name="connsiteX37" fmla="*/ 573 w 10000"/>
                  <a:gd name="connsiteY37" fmla="*/ 4429 h 10000"/>
                  <a:gd name="connsiteX38" fmla="*/ 185 w 10000"/>
                  <a:gd name="connsiteY38" fmla="*/ 4225 h 10000"/>
                  <a:gd name="connsiteX39" fmla="*/ 118 w 10000"/>
                  <a:gd name="connsiteY39" fmla="*/ 4038 h 10000"/>
                  <a:gd name="connsiteX40" fmla="*/ 34 w 10000"/>
                  <a:gd name="connsiteY40" fmla="*/ 4006 h 10000"/>
                  <a:gd name="connsiteX41" fmla="*/ 472 w 10000"/>
                  <a:gd name="connsiteY41" fmla="*/ 5070 h 10000"/>
                  <a:gd name="connsiteX42" fmla="*/ 1467 w 10000"/>
                  <a:gd name="connsiteY42" fmla="*/ 5164 h 10000"/>
                  <a:gd name="connsiteX43" fmla="*/ 2226 w 10000"/>
                  <a:gd name="connsiteY43" fmla="*/ 4476 h 10000"/>
                  <a:gd name="connsiteX44" fmla="*/ 2361 w 10000"/>
                  <a:gd name="connsiteY44" fmla="*/ 4476 h 10000"/>
                  <a:gd name="connsiteX45" fmla="*/ 1855 w 10000"/>
                  <a:gd name="connsiteY45" fmla="*/ 7058 h 10000"/>
                  <a:gd name="connsiteX46" fmla="*/ 1922 w 10000"/>
                  <a:gd name="connsiteY46" fmla="*/ 7183 h 10000"/>
                  <a:gd name="connsiteX47" fmla="*/ 1619 w 10000"/>
                  <a:gd name="connsiteY47" fmla="*/ 9202 h 10000"/>
                  <a:gd name="connsiteX48" fmla="*/ 2226 w 10000"/>
                  <a:gd name="connsiteY48" fmla="*/ 9624 h 10000"/>
                  <a:gd name="connsiteX49" fmla="*/ 2277 w 10000"/>
                  <a:gd name="connsiteY49" fmla="*/ 9640 h 10000"/>
                  <a:gd name="connsiteX50" fmla="*/ 2597 w 10000"/>
                  <a:gd name="connsiteY50" fmla="*/ 9640 h 10000"/>
                  <a:gd name="connsiteX51" fmla="*/ 3406 w 10000"/>
                  <a:gd name="connsiteY51" fmla="*/ 9750 h 10000"/>
                  <a:gd name="connsiteX52" fmla="*/ 3592 w 10000"/>
                  <a:gd name="connsiteY52" fmla="*/ 9624 h 10000"/>
                  <a:gd name="connsiteX53" fmla="*/ 3575 w 10000"/>
                  <a:gd name="connsiteY53" fmla="*/ 9390 h 10000"/>
                  <a:gd name="connsiteX54" fmla="*/ 3828 w 10000"/>
                  <a:gd name="connsiteY54" fmla="*/ 6682 h 10000"/>
                  <a:gd name="connsiteX55" fmla="*/ 5464 w 10000"/>
                  <a:gd name="connsiteY55" fmla="*/ 6729 h 10000"/>
                  <a:gd name="connsiteX56" fmla="*/ 6239 w 10000"/>
                  <a:gd name="connsiteY56" fmla="*/ 9562 h 10000"/>
                  <a:gd name="connsiteX57" fmla="*/ 6358 w 10000"/>
                  <a:gd name="connsiteY57" fmla="*/ 9812 h 10000"/>
                  <a:gd name="connsiteX58" fmla="*/ 7470 w 10000"/>
                  <a:gd name="connsiteY58" fmla="*/ 9609 h 10000"/>
                  <a:gd name="connsiteX59" fmla="*/ 7892 w 10000"/>
                  <a:gd name="connsiteY59" fmla="*/ 9515 h 10000"/>
                  <a:gd name="connsiteX60" fmla="*/ 7943 w 10000"/>
                  <a:gd name="connsiteY60" fmla="*/ 9515 h 10000"/>
                  <a:gd name="connsiteX61" fmla="*/ 7943 w 10000"/>
                  <a:gd name="connsiteY61" fmla="*/ 9499 h 10000"/>
                  <a:gd name="connsiteX62" fmla="*/ 8651 w 10000"/>
                  <a:gd name="connsiteY62" fmla="*/ 9264 h 10000"/>
                  <a:gd name="connsiteX63" fmla="*/ 8567 w 10000"/>
                  <a:gd name="connsiteY63" fmla="*/ 8638 h 10000"/>
                  <a:gd name="connsiteX64" fmla="*/ 8550 w 10000"/>
                  <a:gd name="connsiteY64" fmla="*/ 8560 h 10000"/>
                  <a:gd name="connsiteX65" fmla="*/ 8550 w 10000"/>
                  <a:gd name="connsiteY65" fmla="*/ 8712 h 10000"/>
                  <a:gd name="connsiteX66" fmla="*/ 8550 w 10000"/>
                  <a:gd name="connsiteY66" fmla="*/ 8560 h 10000"/>
                  <a:gd name="connsiteX67" fmla="*/ 8246 w 10000"/>
                  <a:gd name="connsiteY67" fmla="*/ 6964 h 10000"/>
                  <a:gd name="connsiteX68" fmla="*/ 7875 w 10000"/>
                  <a:gd name="connsiteY68" fmla="*/ 5743 h 10000"/>
                  <a:gd name="connsiteX69" fmla="*/ 7470 w 10000"/>
                  <a:gd name="connsiteY69" fmla="*/ 3772 h 10000"/>
                  <a:gd name="connsiteX70" fmla="*/ 7555 w 10000"/>
                  <a:gd name="connsiteY70" fmla="*/ 3756 h 10000"/>
                  <a:gd name="connsiteX71" fmla="*/ 8516 w 10000"/>
                  <a:gd name="connsiteY71" fmla="*/ 4804 h 10000"/>
                  <a:gd name="connsiteX72" fmla="*/ 9781 w 10000"/>
                  <a:gd name="connsiteY72" fmla="*/ 4382 h 10000"/>
                  <a:gd name="connsiteX73" fmla="*/ 9966 w 10000"/>
                  <a:gd name="connsiteY73" fmla="*/ 3834 h 10000"/>
                  <a:gd name="connsiteX0" fmla="*/ 9966 w 10000"/>
                  <a:gd name="connsiteY0" fmla="*/ 3834 h 10000"/>
                  <a:gd name="connsiteX1" fmla="*/ 9933 w 10000"/>
                  <a:gd name="connsiteY1" fmla="*/ 3912 h 10000"/>
                  <a:gd name="connsiteX2" fmla="*/ 9916 w 10000"/>
                  <a:gd name="connsiteY2" fmla="*/ 4038 h 10000"/>
                  <a:gd name="connsiteX3" fmla="*/ 9798 w 10000"/>
                  <a:gd name="connsiteY3" fmla="*/ 4178 h 10000"/>
                  <a:gd name="connsiteX4" fmla="*/ 9713 w 10000"/>
                  <a:gd name="connsiteY4" fmla="*/ 4288 h 10000"/>
                  <a:gd name="connsiteX5" fmla="*/ 9444 w 10000"/>
                  <a:gd name="connsiteY5" fmla="*/ 4413 h 10000"/>
                  <a:gd name="connsiteX6" fmla="*/ 9157 w 10000"/>
                  <a:gd name="connsiteY6" fmla="*/ 4366 h 10000"/>
                  <a:gd name="connsiteX7" fmla="*/ 8954 w 10000"/>
                  <a:gd name="connsiteY7" fmla="*/ 4053 h 10000"/>
                  <a:gd name="connsiteX8" fmla="*/ 8938 w 10000"/>
                  <a:gd name="connsiteY8" fmla="*/ 3584 h 10000"/>
                  <a:gd name="connsiteX9" fmla="*/ 9073 w 10000"/>
                  <a:gd name="connsiteY9" fmla="*/ 3349 h 10000"/>
                  <a:gd name="connsiteX10" fmla="*/ 9089 w 10000"/>
                  <a:gd name="connsiteY10" fmla="*/ 3318 h 10000"/>
                  <a:gd name="connsiteX11" fmla="*/ 9039 w 10000"/>
                  <a:gd name="connsiteY11" fmla="*/ 3255 h 10000"/>
                  <a:gd name="connsiteX12" fmla="*/ 8617 w 10000"/>
                  <a:gd name="connsiteY12" fmla="*/ 2723 h 10000"/>
                  <a:gd name="connsiteX13" fmla="*/ 8145 w 10000"/>
                  <a:gd name="connsiteY13" fmla="*/ 1502 h 10000"/>
                  <a:gd name="connsiteX14" fmla="*/ 7673 w 10000"/>
                  <a:gd name="connsiteY14" fmla="*/ 861 h 10000"/>
                  <a:gd name="connsiteX15" fmla="*/ 5700 w 10000"/>
                  <a:gd name="connsiteY15" fmla="*/ 16 h 10000"/>
                  <a:gd name="connsiteX16" fmla="*/ 5683 w 10000"/>
                  <a:gd name="connsiteY16" fmla="*/ 0 h 10000"/>
                  <a:gd name="connsiteX17" fmla="*/ 5632 w 10000"/>
                  <a:gd name="connsiteY17" fmla="*/ 47 h 10000"/>
                  <a:gd name="connsiteX18" fmla="*/ 5497 w 10000"/>
                  <a:gd name="connsiteY18" fmla="*/ 297 h 10000"/>
                  <a:gd name="connsiteX19" fmla="*/ 5312 w 10000"/>
                  <a:gd name="connsiteY19" fmla="*/ 657 h 10000"/>
                  <a:gd name="connsiteX20" fmla="*/ 4705 w 10000"/>
                  <a:gd name="connsiteY20" fmla="*/ 1049 h 10000"/>
                  <a:gd name="connsiteX21" fmla="*/ 4132 w 10000"/>
                  <a:gd name="connsiteY21" fmla="*/ 736 h 10000"/>
                  <a:gd name="connsiteX22" fmla="*/ 3895 w 10000"/>
                  <a:gd name="connsiteY22" fmla="*/ 266 h 10000"/>
                  <a:gd name="connsiteX23" fmla="*/ 3811 w 10000"/>
                  <a:gd name="connsiteY23" fmla="*/ 47 h 10000"/>
                  <a:gd name="connsiteX24" fmla="*/ 3541 w 10000"/>
                  <a:gd name="connsiteY24" fmla="*/ 438 h 10000"/>
                  <a:gd name="connsiteX25" fmla="*/ 2142 w 10000"/>
                  <a:gd name="connsiteY25" fmla="*/ 1017 h 10000"/>
                  <a:gd name="connsiteX26" fmla="*/ 1518 w 10000"/>
                  <a:gd name="connsiteY26" fmla="*/ 1581 h 10000"/>
                  <a:gd name="connsiteX27" fmla="*/ 1450 w 10000"/>
                  <a:gd name="connsiteY27" fmla="*/ 1862 h 10000"/>
                  <a:gd name="connsiteX28" fmla="*/ 1433 w 10000"/>
                  <a:gd name="connsiteY28" fmla="*/ 2003 h 10000"/>
                  <a:gd name="connsiteX29" fmla="*/ 1383 w 10000"/>
                  <a:gd name="connsiteY29" fmla="*/ 2504 h 10000"/>
                  <a:gd name="connsiteX30" fmla="*/ 1180 w 10000"/>
                  <a:gd name="connsiteY30" fmla="*/ 3052 h 10000"/>
                  <a:gd name="connsiteX31" fmla="*/ 944 w 10000"/>
                  <a:gd name="connsiteY31" fmla="*/ 3427 h 10000"/>
                  <a:gd name="connsiteX32" fmla="*/ 894 w 10000"/>
                  <a:gd name="connsiteY32" fmla="*/ 3427 h 10000"/>
                  <a:gd name="connsiteX33" fmla="*/ 894 w 10000"/>
                  <a:gd name="connsiteY33" fmla="*/ 3427 h 10000"/>
                  <a:gd name="connsiteX34" fmla="*/ 1096 w 10000"/>
                  <a:gd name="connsiteY34" fmla="*/ 3912 h 10000"/>
                  <a:gd name="connsiteX35" fmla="*/ 1062 w 10000"/>
                  <a:gd name="connsiteY35" fmla="*/ 4210 h 10000"/>
                  <a:gd name="connsiteX36" fmla="*/ 894 w 10000"/>
                  <a:gd name="connsiteY36" fmla="*/ 4382 h 10000"/>
                  <a:gd name="connsiteX37" fmla="*/ 573 w 10000"/>
                  <a:gd name="connsiteY37" fmla="*/ 4429 h 10000"/>
                  <a:gd name="connsiteX38" fmla="*/ 185 w 10000"/>
                  <a:gd name="connsiteY38" fmla="*/ 4225 h 10000"/>
                  <a:gd name="connsiteX39" fmla="*/ 118 w 10000"/>
                  <a:gd name="connsiteY39" fmla="*/ 4038 h 10000"/>
                  <a:gd name="connsiteX40" fmla="*/ 34 w 10000"/>
                  <a:gd name="connsiteY40" fmla="*/ 4006 h 10000"/>
                  <a:gd name="connsiteX41" fmla="*/ 472 w 10000"/>
                  <a:gd name="connsiteY41" fmla="*/ 5070 h 10000"/>
                  <a:gd name="connsiteX42" fmla="*/ 1467 w 10000"/>
                  <a:gd name="connsiteY42" fmla="*/ 5164 h 10000"/>
                  <a:gd name="connsiteX43" fmla="*/ 2226 w 10000"/>
                  <a:gd name="connsiteY43" fmla="*/ 4476 h 10000"/>
                  <a:gd name="connsiteX44" fmla="*/ 2361 w 10000"/>
                  <a:gd name="connsiteY44" fmla="*/ 4476 h 10000"/>
                  <a:gd name="connsiteX45" fmla="*/ 1855 w 10000"/>
                  <a:gd name="connsiteY45" fmla="*/ 7058 h 10000"/>
                  <a:gd name="connsiteX46" fmla="*/ 1922 w 10000"/>
                  <a:gd name="connsiteY46" fmla="*/ 7183 h 10000"/>
                  <a:gd name="connsiteX47" fmla="*/ 1619 w 10000"/>
                  <a:gd name="connsiteY47" fmla="*/ 9202 h 10000"/>
                  <a:gd name="connsiteX48" fmla="*/ 2226 w 10000"/>
                  <a:gd name="connsiteY48" fmla="*/ 9624 h 10000"/>
                  <a:gd name="connsiteX49" fmla="*/ 2277 w 10000"/>
                  <a:gd name="connsiteY49" fmla="*/ 9640 h 10000"/>
                  <a:gd name="connsiteX50" fmla="*/ 2597 w 10000"/>
                  <a:gd name="connsiteY50" fmla="*/ 9640 h 10000"/>
                  <a:gd name="connsiteX51" fmla="*/ 3406 w 10000"/>
                  <a:gd name="connsiteY51" fmla="*/ 9750 h 10000"/>
                  <a:gd name="connsiteX52" fmla="*/ 3592 w 10000"/>
                  <a:gd name="connsiteY52" fmla="*/ 9624 h 10000"/>
                  <a:gd name="connsiteX53" fmla="*/ 3575 w 10000"/>
                  <a:gd name="connsiteY53" fmla="*/ 9390 h 10000"/>
                  <a:gd name="connsiteX54" fmla="*/ 3828 w 10000"/>
                  <a:gd name="connsiteY54" fmla="*/ 6682 h 10000"/>
                  <a:gd name="connsiteX55" fmla="*/ 5464 w 10000"/>
                  <a:gd name="connsiteY55" fmla="*/ 6729 h 10000"/>
                  <a:gd name="connsiteX56" fmla="*/ 6239 w 10000"/>
                  <a:gd name="connsiteY56" fmla="*/ 9562 h 10000"/>
                  <a:gd name="connsiteX57" fmla="*/ 6358 w 10000"/>
                  <a:gd name="connsiteY57" fmla="*/ 9812 h 10000"/>
                  <a:gd name="connsiteX58" fmla="*/ 7470 w 10000"/>
                  <a:gd name="connsiteY58" fmla="*/ 9609 h 10000"/>
                  <a:gd name="connsiteX59" fmla="*/ 7892 w 10000"/>
                  <a:gd name="connsiteY59" fmla="*/ 9515 h 10000"/>
                  <a:gd name="connsiteX60" fmla="*/ 7943 w 10000"/>
                  <a:gd name="connsiteY60" fmla="*/ 9515 h 10000"/>
                  <a:gd name="connsiteX61" fmla="*/ 7943 w 10000"/>
                  <a:gd name="connsiteY61" fmla="*/ 9499 h 10000"/>
                  <a:gd name="connsiteX62" fmla="*/ 8651 w 10000"/>
                  <a:gd name="connsiteY62" fmla="*/ 9264 h 10000"/>
                  <a:gd name="connsiteX63" fmla="*/ 8567 w 10000"/>
                  <a:gd name="connsiteY63" fmla="*/ 8638 h 10000"/>
                  <a:gd name="connsiteX64" fmla="*/ 8550 w 10000"/>
                  <a:gd name="connsiteY64" fmla="*/ 8560 h 10000"/>
                  <a:gd name="connsiteX65" fmla="*/ 8550 w 10000"/>
                  <a:gd name="connsiteY65" fmla="*/ 8712 h 10000"/>
                  <a:gd name="connsiteX66" fmla="*/ 8454 w 10000"/>
                  <a:gd name="connsiteY66" fmla="*/ 8205 h 10000"/>
                  <a:gd name="connsiteX67" fmla="*/ 8246 w 10000"/>
                  <a:gd name="connsiteY67" fmla="*/ 6964 h 10000"/>
                  <a:gd name="connsiteX68" fmla="*/ 7875 w 10000"/>
                  <a:gd name="connsiteY68" fmla="*/ 5743 h 10000"/>
                  <a:gd name="connsiteX69" fmla="*/ 7470 w 10000"/>
                  <a:gd name="connsiteY69" fmla="*/ 3772 h 10000"/>
                  <a:gd name="connsiteX70" fmla="*/ 7555 w 10000"/>
                  <a:gd name="connsiteY70" fmla="*/ 3756 h 10000"/>
                  <a:gd name="connsiteX71" fmla="*/ 8516 w 10000"/>
                  <a:gd name="connsiteY71" fmla="*/ 4804 h 10000"/>
                  <a:gd name="connsiteX72" fmla="*/ 9781 w 10000"/>
                  <a:gd name="connsiteY72" fmla="*/ 4382 h 10000"/>
                  <a:gd name="connsiteX73" fmla="*/ 9966 w 10000"/>
                  <a:gd name="connsiteY73" fmla="*/ 3834 h 10000"/>
                  <a:gd name="connsiteX0" fmla="*/ 9966 w 10000"/>
                  <a:gd name="connsiteY0" fmla="*/ 3834 h 10000"/>
                  <a:gd name="connsiteX1" fmla="*/ 9933 w 10000"/>
                  <a:gd name="connsiteY1" fmla="*/ 3912 h 10000"/>
                  <a:gd name="connsiteX2" fmla="*/ 9916 w 10000"/>
                  <a:gd name="connsiteY2" fmla="*/ 4038 h 10000"/>
                  <a:gd name="connsiteX3" fmla="*/ 9798 w 10000"/>
                  <a:gd name="connsiteY3" fmla="*/ 4178 h 10000"/>
                  <a:gd name="connsiteX4" fmla="*/ 9713 w 10000"/>
                  <a:gd name="connsiteY4" fmla="*/ 4288 h 10000"/>
                  <a:gd name="connsiteX5" fmla="*/ 9444 w 10000"/>
                  <a:gd name="connsiteY5" fmla="*/ 4413 h 10000"/>
                  <a:gd name="connsiteX6" fmla="*/ 9157 w 10000"/>
                  <a:gd name="connsiteY6" fmla="*/ 4366 h 10000"/>
                  <a:gd name="connsiteX7" fmla="*/ 8954 w 10000"/>
                  <a:gd name="connsiteY7" fmla="*/ 4053 h 10000"/>
                  <a:gd name="connsiteX8" fmla="*/ 8938 w 10000"/>
                  <a:gd name="connsiteY8" fmla="*/ 3584 h 10000"/>
                  <a:gd name="connsiteX9" fmla="*/ 9073 w 10000"/>
                  <a:gd name="connsiteY9" fmla="*/ 3349 h 10000"/>
                  <a:gd name="connsiteX10" fmla="*/ 9089 w 10000"/>
                  <a:gd name="connsiteY10" fmla="*/ 3318 h 10000"/>
                  <a:gd name="connsiteX11" fmla="*/ 9039 w 10000"/>
                  <a:gd name="connsiteY11" fmla="*/ 3255 h 10000"/>
                  <a:gd name="connsiteX12" fmla="*/ 8617 w 10000"/>
                  <a:gd name="connsiteY12" fmla="*/ 2723 h 10000"/>
                  <a:gd name="connsiteX13" fmla="*/ 8145 w 10000"/>
                  <a:gd name="connsiteY13" fmla="*/ 1502 h 10000"/>
                  <a:gd name="connsiteX14" fmla="*/ 7673 w 10000"/>
                  <a:gd name="connsiteY14" fmla="*/ 861 h 10000"/>
                  <a:gd name="connsiteX15" fmla="*/ 5700 w 10000"/>
                  <a:gd name="connsiteY15" fmla="*/ 16 h 10000"/>
                  <a:gd name="connsiteX16" fmla="*/ 5683 w 10000"/>
                  <a:gd name="connsiteY16" fmla="*/ 0 h 10000"/>
                  <a:gd name="connsiteX17" fmla="*/ 5632 w 10000"/>
                  <a:gd name="connsiteY17" fmla="*/ 47 h 10000"/>
                  <a:gd name="connsiteX18" fmla="*/ 5497 w 10000"/>
                  <a:gd name="connsiteY18" fmla="*/ 297 h 10000"/>
                  <a:gd name="connsiteX19" fmla="*/ 5312 w 10000"/>
                  <a:gd name="connsiteY19" fmla="*/ 657 h 10000"/>
                  <a:gd name="connsiteX20" fmla="*/ 4705 w 10000"/>
                  <a:gd name="connsiteY20" fmla="*/ 1049 h 10000"/>
                  <a:gd name="connsiteX21" fmla="*/ 4132 w 10000"/>
                  <a:gd name="connsiteY21" fmla="*/ 736 h 10000"/>
                  <a:gd name="connsiteX22" fmla="*/ 3895 w 10000"/>
                  <a:gd name="connsiteY22" fmla="*/ 266 h 10000"/>
                  <a:gd name="connsiteX23" fmla="*/ 3811 w 10000"/>
                  <a:gd name="connsiteY23" fmla="*/ 47 h 10000"/>
                  <a:gd name="connsiteX24" fmla="*/ 3541 w 10000"/>
                  <a:gd name="connsiteY24" fmla="*/ 438 h 10000"/>
                  <a:gd name="connsiteX25" fmla="*/ 2142 w 10000"/>
                  <a:gd name="connsiteY25" fmla="*/ 1017 h 10000"/>
                  <a:gd name="connsiteX26" fmla="*/ 1518 w 10000"/>
                  <a:gd name="connsiteY26" fmla="*/ 1581 h 10000"/>
                  <a:gd name="connsiteX27" fmla="*/ 1450 w 10000"/>
                  <a:gd name="connsiteY27" fmla="*/ 1862 h 10000"/>
                  <a:gd name="connsiteX28" fmla="*/ 1433 w 10000"/>
                  <a:gd name="connsiteY28" fmla="*/ 2003 h 10000"/>
                  <a:gd name="connsiteX29" fmla="*/ 1383 w 10000"/>
                  <a:gd name="connsiteY29" fmla="*/ 2504 h 10000"/>
                  <a:gd name="connsiteX30" fmla="*/ 1180 w 10000"/>
                  <a:gd name="connsiteY30" fmla="*/ 3052 h 10000"/>
                  <a:gd name="connsiteX31" fmla="*/ 944 w 10000"/>
                  <a:gd name="connsiteY31" fmla="*/ 3427 h 10000"/>
                  <a:gd name="connsiteX32" fmla="*/ 894 w 10000"/>
                  <a:gd name="connsiteY32" fmla="*/ 3427 h 10000"/>
                  <a:gd name="connsiteX33" fmla="*/ 894 w 10000"/>
                  <a:gd name="connsiteY33" fmla="*/ 3427 h 10000"/>
                  <a:gd name="connsiteX34" fmla="*/ 1096 w 10000"/>
                  <a:gd name="connsiteY34" fmla="*/ 3912 h 10000"/>
                  <a:gd name="connsiteX35" fmla="*/ 1062 w 10000"/>
                  <a:gd name="connsiteY35" fmla="*/ 4210 h 10000"/>
                  <a:gd name="connsiteX36" fmla="*/ 894 w 10000"/>
                  <a:gd name="connsiteY36" fmla="*/ 4382 h 10000"/>
                  <a:gd name="connsiteX37" fmla="*/ 573 w 10000"/>
                  <a:gd name="connsiteY37" fmla="*/ 4429 h 10000"/>
                  <a:gd name="connsiteX38" fmla="*/ 185 w 10000"/>
                  <a:gd name="connsiteY38" fmla="*/ 4225 h 10000"/>
                  <a:gd name="connsiteX39" fmla="*/ 118 w 10000"/>
                  <a:gd name="connsiteY39" fmla="*/ 4038 h 10000"/>
                  <a:gd name="connsiteX40" fmla="*/ 34 w 10000"/>
                  <a:gd name="connsiteY40" fmla="*/ 4006 h 10000"/>
                  <a:gd name="connsiteX41" fmla="*/ 472 w 10000"/>
                  <a:gd name="connsiteY41" fmla="*/ 5070 h 10000"/>
                  <a:gd name="connsiteX42" fmla="*/ 1467 w 10000"/>
                  <a:gd name="connsiteY42" fmla="*/ 5164 h 10000"/>
                  <a:gd name="connsiteX43" fmla="*/ 2226 w 10000"/>
                  <a:gd name="connsiteY43" fmla="*/ 4476 h 10000"/>
                  <a:gd name="connsiteX44" fmla="*/ 2361 w 10000"/>
                  <a:gd name="connsiteY44" fmla="*/ 4476 h 10000"/>
                  <a:gd name="connsiteX45" fmla="*/ 1855 w 10000"/>
                  <a:gd name="connsiteY45" fmla="*/ 7058 h 10000"/>
                  <a:gd name="connsiteX46" fmla="*/ 1922 w 10000"/>
                  <a:gd name="connsiteY46" fmla="*/ 7183 h 10000"/>
                  <a:gd name="connsiteX47" fmla="*/ 1619 w 10000"/>
                  <a:gd name="connsiteY47" fmla="*/ 9202 h 10000"/>
                  <a:gd name="connsiteX48" fmla="*/ 2226 w 10000"/>
                  <a:gd name="connsiteY48" fmla="*/ 9624 h 10000"/>
                  <a:gd name="connsiteX49" fmla="*/ 2277 w 10000"/>
                  <a:gd name="connsiteY49" fmla="*/ 9640 h 10000"/>
                  <a:gd name="connsiteX50" fmla="*/ 2597 w 10000"/>
                  <a:gd name="connsiteY50" fmla="*/ 9640 h 10000"/>
                  <a:gd name="connsiteX51" fmla="*/ 3406 w 10000"/>
                  <a:gd name="connsiteY51" fmla="*/ 9750 h 10000"/>
                  <a:gd name="connsiteX52" fmla="*/ 3592 w 10000"/>
                  <a:gd name="connsiteY52" fmla="*/ 9624 h 10000"/>
                  <a:gd name="connsiteX53" fmla="*/ 3575 w 10000"/>
                  <a:gd name="connsiteY53" fmla="*/ 9390 h 10000"/>
                  <a:gd name="connsiteX54" fmla="*/ 3828 w 10000"/>
                  <a:gd name="connsiteY54" fmla="*/ 6682 h 10000"/>
                  <a:gd name="connsiteX55" fmla="*/ 5464 w 10000"/>
                  <a:gd name="connsiteY55" fmla="*/ 6729 h 10000"/>
                  <a:gd name="connsiteX56" fmla="*/ 6239 w 10000"/>
                  <a:gd name="connsiteY56" fmla="*/ 9562 h 10000"/>
                  <a:gd name="connsiteX57" fmla="*/ 6358 w 10000"/>
                  <a:gd name="connsiteY57" fmla="*/ 9812 h 10000"/>
                  <a:gd name="connsiteX58" fmla="*/ 7470 w 10000"/>
                  <a:gd name="connsiteY58" fmla="*/ 9609 h 10000"/>
                  <a:gd name="connsiteX59" fmla="*/ 7892 w 10000"/>
                  <a:gd name="connsiteY59" fmla="*/ 9515 h 10000"/>
                  <a:gd name="connsiteX60" fmla="*/ 7943 w 10000"/>
                  <a:gd name="connsiteY60" fmla="*/ 9515 h 10000"/>
                  <a:gd name="connsiteX61" fmla="*/ 7943 w 10000"/>
                  <a:gd name="connsiteY61" fmla="*/ 9499 h 10000"/>
                  <a:gd name="connsiteX62" fmla="*/ 8651 w 10000"/>
                  <a:gd name="connsiteY62" fmla="*/ 9264 h 10000"/>
                  <a:gd name="connsiteX63" fmla="*/ 8567 w 10000"/>
                  <a:gd name="connsiteY63" fmla="*/ 8638 h 10000"/>
                  <a:gd name="connsiteX64" fmla="*/ 8550 w 10000"/>
                  <a:gd name="connsiteY64" fmla="*/ 8560 h 10000"/>
                  <a:gd name="connsiteX65" fmla="*/ 8550 w 10000"/>
                  <a:gd name="connsiteY65" fmla="*/ 8712 h 10000"/>
                  <a:gd name="connsiteX66" fmla="*/ 8454 w 10000"/>
                  <a:gd name="connsiteY66" fmla="*/ 8205 h 10000"/>
                  <a:gd name="connsiteX67" fmla="*/ 8246 w 10000"/>
                  <a:gd name="connsiteY67" fmla="*/ 6964 h 10000"/>
                  <a:gd name="connsiteX68" fmla="*/ 7875 w 10000"/>
                  <a:gd name="connsiteY68" fmla="*/ 5743 h 10000"/>
                  <a:gd name="connsiteX69" fmla="*/ 7470 w 10000"/>
                  <a:gd name="connsiteY69" fmla="*/ 3772 h 10000"/>
                  <a:gd name="connsiteX70" fmla="*/ 7555 w 10000"/>
                  <a:gd name="connsiteY70" fmla="*/ 3756 h 10000"/>
                  <a:gd name="connsiteX71" fmla="*/ 8516 w 10000"/>
                  <a:gd name="connsiteY71" fmla="*/ 4804 h 10000"/>
                  <a:gd name="connsiteX72" fmla="*/ 9781 w 10000"/>
                  <a:gd name="connsiteY72" fmla="*/ 4382 h 10000"/>
                  <a:gd name="connsiteX73" fmla="*/ 9966 w 10000"/>
                  <a:gd name="connsiteY73" fmla="*/ 3834 h 10000"/>
                  <a:gd name="connsiteX0" fmla="*/ 9966 w 10000"/>
                  <a:gd name="connsiteY0" fmla="*/ 3834 h 10000"/>
                  <a:gd name="connsiteX1" fmla="*/ 9933 w 10000"/>
                  <a:gd name="connsiteY1" fmla="*/ 3912 h 10000"/>
                  <a:gd name="connsiteX2" fmla="*/ 9916 w 10000"/>
                  <a:gd name="connsiteY2" fmla="*/ 4038 h 10000"/>
                  <a:gd name="connsiteX3" fmla="*/ 9798 w 10000"/>
                  <a:gd name="connsiteY3" fmla="*/ 4178 h 10000"/>
                  <a:gd name="connsiteX4" fmla="*/ 9713 w 10000"/>
                  <a:gd name="connsiteY4" fmla="*/ 4288 h 10000"/>
                  <a:gd name="connsiteX5" fmla="*/ 9444 w 10000"/>
                  <a:gd name="connsiteY5" fmla="*/ 4413 h 10000"/>
                  <a:gd name="connsiteX6" fmla="*/ 9157 w 10000"/>
                  <a:gd name="connsiteY6" fmla="*/ 4366 h 10000"/>
                  <a:gd name="connsiteX7" fmla="*/ 8954 w 10000"/>
                  <a:gd name="connsiteY7" fmla="*/ 4053 h 10000"/>
                  <a:gd name="connsiteX8" fmla="*/ 8938 w 10000"/>
                  <a:gd name="connsiteY8" fmla="*/ 3584 h 10000"/>
                  <a:gd name="connsiteX9" fmla="*/ 9073 w 10000"/>
                  <a:gd name="connsiteY9" fmla="*/ 3349 h 10000"/>
                  <a:gd name="connsiteX10" fmla="*/ 9089 w 10000"/>
                  <a:gd name="connsiteY10" fmla="*/ 3318 h 10000"/>
                  <a:gd name="connsiteX11" fmla="*/ 9039 w 10000"/>
                  <a:gd name="connsiteY11" fmla="*/ 3255 h 10000"/>
                  <a:gd name="connsiteX12" fmla="*/ 8617 w 10000"/>
                  <a:gd name="connsiteY12" fmla="*/ 2723 h 10000"/>
                  <a:gd name="connsiteX13" fmla="*/ 8145 w 10000"/>
                  <a:gd name="connsiteY13" fmla="*/ 1502 h 10000"/>
                  <a:gd name="connsiteX14" fmla="*/ 7673 w 10000"/>
                  <a:gd name="connsiteY14" fmla="*/ 861 h 10000"/>
                  <a:gd name="connsiteX15" fmla="*/ 5700 w 10000"/>
                  <a:gd name="connsiteY15" fmla="*/ 16 h 10000"/>
                  <a:gd name="connsiteX16" fmla="*/ 5683 w 10000"/>
                  <a:gd name="connsiteY16" fmla="*/ 0 h 10000"/>
                  <a:gd name="connsiteX17" fmla="*/ 5632 w 10000"/>
                  <a:gd name="connsiteY17" fmla="*/ 47 h 10000"/>
                  <a:gd name="connsiteX18" fmla="*/ 5497 w 10000"/>
                  <a:gd name="connsiteY18" fmla="*/ 297 h 10000"/>
                  <a:gd name="connsiteX19" fmla="*/ 5312 w 10000"/>
                  <a:gd name="connsiteY19" fmla="*/ 657 h 10000"/>
                  <a:gd name="connsiteX20" fmla="*/ 4705 w 10000"/>
                  <a:gd name="connsiteY20" fmla="*/ 1049 h 10000"/>
                  <a:gd name="connsiteX21" fmla="*/ 4132 w 10000"/>
                  <a:gd name="connsiteY21" fmla="*/ 736 h 10000"/>
                  <a:gd name="connsiteX22" fmla="*/ 3895 w 10000"/>
                  <a:gd name="connsiteY22" fmla="*/ 266 h 10000"/>
                  <a:gd name="connsiteX23" fmla="*/ 3811 w 10000"/>
                  <a:gd name="connsiteY23" fmla="*/ 47 h 10000"/>
                  <a:gd name="connsiteX24" fmla="*/ 3541 w 10000"/>
                  <a:gd name="connsiteY24" fmla="*/ 438 h 10000"/>
                  <a:gd name="connsiteX25" fmla="*/ 2142 w 10000"/>
                  <a:gd name="connsiteY25" fmla="*/ 1017 h 10000"/>
                  <a:gd name="connsiteX26" fmla="*/ 1518 w 10000"/>
                  <a:gd name="connsiteY26" fmla="*/ 1581 h 10000"/>
                  <a:gd name="connsiteX27" fmla="*/ 1450 w 10000"/>
                  <a:gd name="connsiteY27" fmla="*/ 1862 h 10000"/>
                  <a:gd name="connsiteX28" fmla="*/ 1433 w 10000"/>
                  <a:gd name="connsiteY28" fmla="*/ 2003 h 10000"/>
                  <a:gd name="connsiteX29" fmla="*/ 1383 w 10000"/>
                  <a:gd name="connsiteY29" fmla="*/ 2504 h 10000"/>
                  <a:gd name="connsiteX30" fmla="*/ 1180 w 10000"/>
                  <a:gd name="connsiteY30" fmla="*/ 3052 h 10000"/>
                  <a:gd name="connsiteX31" fmla="*/ 944 w 10000"/>
                  <a:gd name="connsiteY31" fmla="*/ 3427 h 10000"/>
                  <a:gd name="connsiteX32" fmla="*/ 894 w 10000"/>
                  <a:gd name="connsiteY32" fmla="*/ 3427 h 10000"/>
                  <a:gd name="connsiteX33" fmla="*/ 894 w 10000"/>
                  <a:gd name="connsiteY33" fmla="*/ 3427 h 10000"/>
                  <a:gd name="connsiteX34" fmla="*/ 1096 w 10000"/>
                  <a:gd name="connsiteY34" fmla="*/ 3912 h 10000"/>
                  <a:gd name="connsiteX35" fmla="*/ 1062 w 10000"/>
                  <a:gd name="connsiteY35" fmla="*/ 4210 h 10000"/>
                  <a:gd name="connsiteX36" fmla="*/ 894 w 10000"/>
                  <a:gd name="connsiteY36" fmla="*/ 4382 h 10000"/>
                  <a:gd name="connsiteX37" fmla="*/ 573 w 10000"/>
                  <a:gd name="connsiteY37" fmla="*/ 4429 h 10000"/>
                  <a:gd name="connsiteX38" fmla="*/ 185 w 10000"/>
                  <a:gd name="connsiteY38" fmla="*/ 4225 h 10000"/>
                  <a:gd name="connsiteX39" fmla="*/ 118 w 10000"/>
                  <a:gd name="connsiteY39" fmla="*/ 4038 h 10000"/>
                  <a:gd name="connsiteX40" fmla="*/ 34 w 10000"/>
                  <a:gd name="connsiteY40" fmla="*/ 4006 h 10000"/>
                  <a:gd name="connsiteX41" fmla="*/ 472 w 10000"/>
                  <a:gd name="connsiteY41" fmla="*/ 5070 h 10000"/>
                  <a:gd name="connsiteX42" fmla="*/ 1467 w 10000"/>
                  <a:gd name="connsiteY42" fmla="*/ 5164 h 10000"/>
                  <a:gd name="connsiteX43" fmla="*/ 2226 w 10000"/>
                  <a:gd name="connsiteY43" fmla="*/ 4476 h 10000"/>
                  <a:gd name="connsiteX44" fmla="*/ 2361 w 10000"/>
                  <a:gd name="connsiteY44" fmla="*/ 4476 h 10000"/>
                  <a:gd name="connsiteX45" fmla="*/ 1855 w 10000"/>
                  <a:gd name="connsiteY45" fmla="*/ 7058 h 10000"/>
                  <a:gd name="connsiteX46" fmla="*/ 1922 w 10000"/>
                  <a:gd name="connsiteY46" fmla="*/ 7183 h 10000"/>
                  <a:gd name="connsiteX47" fmla="*/ 1619 w 10000"/>
                  <a:gd name="connsiteY47" fmla="*/ 9202 h 10000"/>
                  <a:gd name="connsiteX48" fmla="*/ 2226 w 10000"/>
                  <a:gd name="connsiteY48" fmla="*/ 9624 h 10000"/>
                  <a:gd name="connsiteX49" fmla="*/ 2277 w 10000"/>
                  <a:gd name="connsiteY49" fmla="*/ 9640 h 10000"/>
                  <a:gd name="connsiteX50" fmla="*/ 2597 w 10000"/>
                  <a:gd name="connsiteY50" fmla="*/ 9640 h 10000"/>
                  <a:gd name="connsiteX51" fmla="*/ 3406 w 10000"/>
                  <a:gd name="connsiteY51" fmla="*/ 9750 h 10000"/>
                  <a:gd name="connsiteX52" fmla="*/ 3592 w 10000"/>
                  <a:gd name="connsiteY52" fmla="*/ 9624 h 10000"/>
                  <a:gd name="connsiteX53" fmla="*/ 3575 w 10000"/>
                  <a:gd name="connsiteY53" fmla="*/ 9390 h 10000"/>
                  <a:gd name="connsiteX54" fmla="*/ 3828 w 10000"/>
                  <a:gd name="connsiteY54" fmla="*/ 6682 h 10000"/>
                  <a:gd name="connsiteX55" fmla="*/ 5464 w 10000"/>
                  <a:gd name="connsiteY55" fmla="*/ 6729 h 10000"/>
                  <a:gd name="connsiteX56" fmla="*/ 6239 w 10000"/>
                  <a:gd name="connsiteY56" fmla="*/ 9562 h 10000"/>
                  <a:gd name="connsiteX57" fmla="*/ 6358 w 10000"/>
                  <a:gd name="connsiteY57" fmla="*/ 9812 h 10000"/>
                  <a:gd name="connsiteX58" fmla="*/ 7470 w 10000"/>
                  <a:gd name="connsiteY58" fmla="*/ 9609 h 10000"/>
                  <a:gd name="connsiteX59" fmla="*/ 7892 w 10000"/>
                  <a:gd name="connsiteY59" fmla="*/ 9515 h 10000"/>
                  <a:gd name="connsiteX60" fmla="*/ 7943 w 10000"/>
                  <a:gd name="connsiteY60" fmla="*/ 9515 h 10000"/>
                  <a:gd name="connsiteX61" fmla="*/ 7943 w 10000"/>
                  <a:gd name="connsiteY61" fmla="*/ 9499 h 10000"/>
                  <a:gd name="connsiteX62" fmla="*/ 8651 w 10000"/>
                  <a:gd name="connsiteY62" fmla="*/ 9264 h 10000"/>
                  <a:gd name="connsiteX63" fmla="*/ 8567 w 10000"/>
                  <a:gd name="connsiteY63" fmla="*/ 8638 h 10000"/>
                  <a:gd name="connsiteX64" fmla="*/ 8550 w 10000"/>
                  <a:gd name="connsiteY64" fmla="*/ 8560 h 10000"/>
                  <a:gd name="connsiteX65" fmla="*/ 8486 w 10000"/>
                  <a:gd name="connsiteY65" fmla="*/ 8475 h 10000"/>
                  <a:gd name="connsiteX66" fmla="*/ 8454 w 10000"/>
                  <a:gd name="connsiteY66" fmla="*/ 8205 h 10000"/>
                  <a:gd name="connsiteX67" fmla="*/ 8246 w 10000"/>
                  <a:gd name="connsiteY67" fmla="*/ 6964 h 10000"/>
                  <a:gd name="connsiteX68" fmla="*/ 7875 w 10000"/>
                  <a:gd name="connsiteY68" fmla="*/ 5743 h 10000"/>
                  <a:gd name="connsiteX69" fmla="*/ 7470 w 10000"/>
                  <a:gd name="connsiteY69" fmla="*/ 3772 h 10000"/>
                  <a:gd name="connsiteX70" fmla="*/ 7555 w 10000"/>
                  <a:gd name="connsiteY70" fmla="*/ 3756 h 10000"/>
                  <a:gd name="connsiteX71" fmla="*/ 8516 w 10000"/>
                  <a:gd name="connsiteY71" fmla="*/ 4804 h 10000"/>
                  <a:gd name="connsiteX72" fmla="*/ 9781 w 10000"/>
                  <a:gd name="connsiteY72" fmla="*/ 4382 h 10000"/>
                  <a:gd name="connsiteX73" fmla="*/ 9966 w 10000"/>
                  <a:gd name="connsiteY73" fmla="*/ 3834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10000" h="10000">
                    <a:moveTo>
                      <a:pt x="9966" y="3834"/>
                    </a:moveTo>
                    <a:lnTo>
                      <a:pt x="9933" y="3912"/>
                    </a:lnTo>
                    <a:cubicBezTo>
                      <a:pt x="9927" y="3954"/>
                      <a:pt x="9922" y="3996"/>
                      <a:pt x="9916" y="4038"/>
                    </a:cubicBezTo>
                    <a:cubicBezTo>
                      <a:pt x="9877" y="4085"/>
                      <a:pt x="9837" y="4131"/>
                      <a:pt x="9798" y="4178"/>
                    </a:cubicBezTo>
                    <a:cubicBezTo>
                      <a:pt x="9770" y="4215"/>
                      <a:pt x="9741" y="4251"/>
                      <a:pt x="9713" y="4288"/>
                    </a:cubicBezTo>
                    <a:lnTo>
                      <a:pt x="9444" y="4413"/>
                    </a:lnTo>
                    <a:lnTo>
                      <a:pt x="9157" y="4366"/>
                    </a:lnTo>
                    <a:cubicBezTo>
                      <a:pt x="9089" y="4262"/>
                      <a:pt x="9022" y="4157"/>
                      <a:pt x="8954" y="4053"/>
                    </a:cubicBezTo>
                    <a:cubicBezTo>
                      <a:pt x="8949" y="3897"/>
                      <a:pt x="8943" y="3740"/>
                      <a:pt x="8938" y="3584"/>
                    </a:cubicBezTo>
                    <a:lnTo>
                      <a:pt x="9073" y="3349"/>
                    </a:lnTo>
                    <a:cubicBezTo>
                      <a:pt x="9078" y="3339"/>
                      <a:pt x="9084" y="3328"/>
                      <a:pt x="9089" y="3318"/>
                    </a:cubicBezTo>
                    <a:cubicBezTo>
                      <a:pt x="9073" y="3302"/>
                      <a:pt x="9056" y="3286"/>
                      <a:pt x="9039" y="3255"/>
                    </a:cubicBezTo>
                    <a:cubicBezTo>
                      <a:pt x="9039" y="3255"/>
                      <a:pt x="8904" y="2942"/>
                      <a:pt x="8617" y="2723"/>
                    </a:cubicBezTo>
                    <a:cubicBezTo>
                      <a:pt x="8617" y="2723"/>
                      <a:pt x="8347" y="1721"/>
                      <a:pt x="8145" y="1502"/>
                    </a:cubicBezTo>
                    <a:cubicBezTo>
                      <a:pt x="8145" y="1502"/>
                      <a:pt x="8246" y="908"/>
                      <a:pt x="7673" y="861"/>
                    </a:cubicBezTo>
                    <a:cubicBezTo>
                      <a:pt x="7673" y="861"/>
                      <a:pt x="5852" y="579"/>
                      <a:pt x="5700" y="16"/>
                    </a:cubicBezTo>
                    <a:cubicBezTo>
                      <a:pt x="5700" y="16"/>
                      <a:pt x="5700" y="0"/>
                      <a:pt x="5683" y="0"/>
                    </a:cubicBezTo>
                    <a:cubicBezTo>
                      <a:pt x="5666" y="16"/>
                      <a:pt x="5649" y="31"/>
                      <a:pt x="5632" y="47"/>
                    </a:cubicBezTo>
                    <a:lnTo>
                      <a:pt x="5497" y="297"/>
                    </a:lnTo>
                    <a:cubicBezTo>
                      <a:pt x="5435" y="417"/>
                      <a:pt x="5374" y="537"/>
                      <a:pt x="5312" y="657"/>
                    </a:cubicBezTo>
                    <a:lnTo>
                      <a:pt x="4705" y="1049"/>
                    </a:lnTo>
                    <a:lnTo>
                      <a:pt x="4132" y="736"/>
                    </a:lnTo>
                    <a:lnTo>
                      <a:pt x="3895" y="266"/>
                    </a:lnTo>
                    <a:lnTo>
                      <a:pt x="3811" y="47"/>
                    </a:lnTo>
                    <a:cubicBezTo>
                      <a:pt x="3761" y="172"/>
                      <a:pt x="3676" y="360"/>
                      <a:pt x="3541" y="438"/>
                    </a:cubicBezTo>
                    <a:cubicBezTo>
                      <a:pt x="3541" y="438"/>
                      <a:pt x="3153" y="798"/>
                      <a:pt x="2142" y="1017"/>
                    </a:cubicBezTo>
                    <a:cubicBezTo>
                      <a:pt x="2142" y="1017"/>
                      <a:pt x="1551" y="1158"/>
                      <a:pt x="1518" y="1581"/>
                    </a:cubicBezTo>
                    <a:cubicBezTo>
                      <a:pt x="1518" y="1581"/>
                      <a:pt x="1433" y="1737"/>
                      <a:pt x="1450" y="1862"/>
                    </a:cubicBezTo>
                    <a:cubicBezTo>
                      <a:pt x="1450" y="1862"/>
                      <a:pt x="1501" y="1987"/>
                      <a:pt x="1433" y="2003"/>
                    </a:cubicBezTo>
                    <a:cubicBezTo>
                      <a:pt x="1433" y="2003"/>
                      <a:pt x="1366" y="2128"/>
                      <a:pt x="1383" y="2504"/>
                    </a:cubicBezTo>
                    <a:cubicBezTo>
                      <a:pt x="1383" y="2504"/>
                      <a:pt x="1180" y="2613"/>
                      <a:pt x="1180" y="3052"/>
                    </a:cubicBezTo>
                    <a:cubicBezTo>
                      <a:pt x="1180" y="3052"/>
                      <a:pt x="1130" y="3427"/>
                      <a:pt x="944" y="3427"/>
                    </a:cubicBezTo>
                    <a:lnTo>
                      <a:pt x="894" y="3427"/>
                    </a:lnTo>
                    <a:lnTo>
                      <a:pt x="894" y="3427"/>
                    </a:lnTo>
                    <a:cubicBezTo>
                      <a:pt x="961" y="3589"/>
                      <a:pt x="1029" y="3750"/>
                      <a:pt x="1096" y="3912"/>
                    </a:cubicBezTo>
                    <a:cubicBezTo>
                      <a:pt x="1085" y="4011"/>
                      <a:pt x="1073" y="4111"/>
                      <a:pt x="1062" y="4210"/>
                    </a:cubicBezTo>
                    <a:lnTo>
                      <a:pt x="894" y="4382"/>
                    </a:lnTo>
                    <a:lnTo>
                      <a:pt x="573" y="4429"/>
                    </a:lnTo>
                    <a:lnTo>
                      <a:pt x="185" y="4225"/>
                    </a:lnTo>
                    <a:cubicBezTo>
                      <a:pt x="163" y="4163"/>
                      <a:pt x="140" y="4100"/>
                      <a:pt x="118" y="4038"/>
                    </a:cubicBezTo>
                    <a:cubicBezTo>
                      <a:pt x="90" y="4027"/>
                      <a:pt x="62" y="4017"/>
                      <a:pt x="34" y="4006"/>
                    </a:cubicBezTo>
                    <a:cubicBezTo>
                      <a:pt x="34" y="4006"/>
                      <a:pt x="0" y="4742"/>
                      <a:pt x="472" y="5070"/>
                    </a:cubicBezTo>
                    <a:cubicBezTo>
                      <a:pt x="472" y="5070"/>
                      <a:pt x="809" y="5556"/>
                      <a:pt x="1467" y="5164"/>
                    </a:cubicBezTo>
                    <a:cubicBezTo>
                      <a:pt x="1467" y="5164"/>
                      <a:pt x="1855" y="5149"/>
                      <a:pt x="2226" y="4476"/>
                    </a:cubicBezTo>
                    <a:lnTo>
                      <a:pt x="2361" y="4476"/>
                    </a:lnTo>
                    <a:cubicBezTo>
                      <a:pt x="2361" y="4476"/>
                      <a:pt x="2293" y="6088"/>
                      <a:pt x="1855" y="7058"/>
                    </a:cubicBezTo>
                    <a:cubicBezTo>
                      <a:pt x="1855" y="7058"/>
                      <a:pt x="1872" y="7183"/>
                      <a:pt x="1922" y="7183"/>
                    </a:cubicBezTo>
                    <a:cubicBezTo>
                      <a:pt x="1956" y="7183"/>
                      <a:pt x="1821" y="9108"/>
                      <a:pt x="1619" y="9202"/>
                    </a:cubicBezTo>
                    <a:cubicBezTo>
                      <a:pt x="1619" y="9202"/>
                      <a:pt x="1467" y="9452"/>
                      <a:pt x="2226" y="9624"/>
                    </a:cubicBezTo>
                    <a:cubicBezTo>
                      <a:pt x="2243" y="9624"/>
                      <a:pt x="2260" y="9624"/>
                      <a:pt x="2277" y="9640"/>
                    </a:cubicBezTo>
                    <a:cubicBezTo>
                      <a:pt x="2378" y="9624"/>
                      <a:pt x="2496" y="9640"/>
                      <a:pt x="2597" y="9640"/>
                    </a:cubicBezTo>
                    <a:cubicBezTo>
                      <a:pt x="3035" y="9671"/>
                      <a:pt x="3406" y="9750"/>
                      <a:pt x="3406" y="9750"/>
                    </a:cubicBezTo>
                    <a:cubicBezTo>
                      <a:pt x="3524" y="9765"/>
                      <a:pt x="3575" y="9703"/>
                      <a:pt x="3592" y="9624"/>
                    </a:cubicBezTo>
                    <a:cubicBezTo>
                      <a:pt x="3609" y="9515"/>
                      <a:pt x="3575" y="9390"/>
                      <a:pt x="3575" y="9390"/>
                    </a:cubicBezTo>
                    <a:cubicBezTo>
                      <a:pt x="3575" y="9390"/>
                      <a:pt x="3676" y="6620"/>
                      <a:pt x="3828" y="6682"/>
                    </a:cubicBezTo>
                    <a:cubicBezTo>
                      <a:pt x="3980" y="6761"/>
                      <a:pt x="5464" y="6729"/>
                      <a:pt x="5464" y="6729"/>
                    </a:cubicBezTo>
                    <a:cubicBezTo>
                      <a:pt x="5464" y="6729"/>
                      <a:pt x="6003" y="8811"/>
                      <a:pt x="6239" y="9562"/>
                    </a:cubicBezTo>
                    <a:cubicBezTo>
                      <a:pt x="6290" y="9687"/>
                      <a:pt x="6324" y="9781"/>
                      <a:pt x="6358" y="9812"/>
                    </a:cubicBezTo>
                    <a:cubicBezTo>
                      <a:pt x="6492" y="10000"/>
                      <a:pt x="6594" y="9812"/>
                      <a:pt x="7470" y="9609"/>
                    </a:cubicBezTo>
                    <a:cubicBezTo>
                      <a:pt x="7673" y="9577"/>
                      <a:pt x="7808" y="9546"/>
                      <a:pt x="7892" y="9515"/>
                    </a:cubicBezTo>
                    <a:lnTo>
                      <a:pt x="7943" y="9515"/>
                    </a:lnTo>
                    <a:lnTo>
                      <a:pt x="7943" y="9499"/>
                    </a:lnTo>
                    <a:lnTo>
                      <a:pt x="8651" y="9264"/>
                    </a:lnTo>
                    <a:cubicBezTo>
                      <a:pt x="8651" y="9264"/>
                      <a:pt x="8820" y="9233"/>
                      <a:pt x="8567" y="8638"/>
                    </a:cubicBezTo>
                    <a:cubicBezTo>
                      <a:pt x="8567" y="8607"/>
                      <a:pt x="8550" y="8576"/>
                      <a:pt x="8550" y="8560"/>
                    </a:cubicBezTo>
                    <a:lnTo>
                      <a:pt x="8486" y="8475"/>
                    </a:lnTo>
                    <a:cubicBezTo>
                      <a:pt x="8486" y="8475"/>
                      <a:pt x="8443" y="8284"/>
                      <a:pt x="8454" y="8205"/>
                    </a:cubicBezTo>
                    <a:cubicBezTo>
                      <a:pt x="8386" y="7924"/>
                      <a:pt x="8229" y="7199"/>
                      <a:pt x="8246" y="6964"/>
                    </a:cubicBezTo>
                    <a:cubicBezTo>
                      <a:pt x="8246" y="6964"/>
                      <a:pt x="8398" y="6854"/>
                      <a:pt x="7875" y="5743"/>
                    </a:cubicBezTo>
                    <a:cubicBezTo>
                      <a:pt x="7875" y="5743"/>
                      <a:pt x="7386" y="4523"/>
                      <a:pt x="7470" y="3772"/>
                    </a:cubicBezTo>
                    <a:lnTo>
                      <a:pt x="7555" y="3756"/>
                    </a:lnTo>
                    <a:cubicBezTo>
                      <a:pt x="7555" y="3756"/>
                      <a:pt x="7825" y="4413"/>
                      <a:pt x="8516" y="4804"/>
                    </a:cubicBezTo>
                    <a:cubicBezTo>
                      <a:pt x="8516" y="4804"/>
                      <a:pt x="9241" y="5352"/>
                      <a:pt x="9781" y="4382"/>
                    </a:cubicBezTo>
                    <a:cubicBezTo>
                      <a:pt x="9781" y="4382"/>
                      <a:pt x="10000" y="4116"/>
                      <a:pt x="9966" y="3834"/>
                    </a:cubicBezTo>
                    <a:close/>
                  </a:path>
                </a:pathLst>
              </a:custGeom>
              <a:solidFill>
                <a:srgbClr val="19191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2" name="Freeform 7"/>
              <p:cNvSpPr>
                <a:spLocks/>
              </p:cNvSpPr>
              <p:nvPr/>
            </p:nvSpPr>
            <p:spPr bwMode="gray">
              <a:xfrm>
                <a:off x="3260725" y="3883025"/>
                <a:ext cx="6350" cy="15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3">
                    <a:moveTo>
                      <a:pt x="2" y="0"/>
                    </a:moveTo>
                    <a:cubicBezTo>
                      <a:pt x="2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169E2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3" name="Freeform 12"/>
              <p:cNvSpPr>
                <a:spLocks/>
              </p:cNvSpPr>
              <p:nvPr/>
            </p:nvSpPr>
            <p:spPr bwMode="gray">
              <a:xfrm>
                <a:off x="2598738" y="1916113"/>
                <a:ext cx="447675" cy="606425"/>
              </a:xfrm>
              <a:custGeom>
                <a:avLst/>
                <a:gdLst/>
                <a:ahLst/>
                <a:cxnLst>
                  <a:cxn ang="0">
                    <a:pos x="158" y="92"/>
                  </a:cxn>
                  <a:cxn ang="0">
                    <a:pos x="159" y="90"/>
                  </a:cxn>
                  <a:cxn ang="0">
                    <a:pos x="158" y="89"/>
                  </a:cxn>
                  <a:cxn ang="0">
                    <a:pos x="155" y="82"/>
                  </a:cxn>
                  <a:cxn ang="0">
                    <a:pos x="150" y="58"/>
                  </a:cxn>
                  <a:cxn ang="0">
                    <a:pos x="147" y="48"/>
                  </a:cxn>
                  <a:cxn ang="0">
                    <a:pos x="145" y="38"/>
                  </a:cxn>
                  <a:cxn ang="0">
                    <a:pos x="140" y="29"/>
                  </a:cxn>
                  <a:cxn ang="0">
                    <a:pos x="135" y="22"/>
                  </a:cxn>
                  <a:cxn ang="0">
                    <a:pos x="130" y="15"/>
                  </a:cxn>
                  <a:cxn ang="0">
                    <a:pos x="126" y="13"/>
                  </a:cxn>
                  <a:cxn ang="0">
                    <a:pos x="124" y="11"/>
                  </a:cxn>
                  <a:cxn ang="0">
                    <a:pos x="119" y="10"/>
                  </a:cxn>
                  <a:cxn ang="0">
                    <a:pos x="97" y="3"/>
                  </a:cxn>
                  <a:cxn ang="0">
                    <a:pos x="82" y="2"/>
                  </a:cxn>
                  <a:cxn ang="0">
                    <a:pos x="61" y="3"/>
                  </a:cxn>
                  <a:cxn ang="0">
                    <a:pos x="52" y="7"/>
                  </a:cxn>
                  <a:cxn ang="0">
                    <a:pos x="43" y="10"/>
                  </a:cxn>
                  <a:cxn ang="0">
                    <a:pos x="31" y="23"/>
                  </a:cxn>
                  <a:cxn ang="0">
                    <a:pos x="18" y="51"/>
                  </a:cxn>
                  <a:cxn ang="0">
                    <a:pos x="18" y="57"/>
                  </a:cxn>
                  <a:cxn ang="0">
                    <a:pos x="12" y="64"/>
                  </a:cxn>
                  <a:cxn ang="0">
                    <a:pos x="11" y="65"/>
                  </a:cxn>
                  <a:cxn ang="0">
                    <a:pos x="11" y="68"/>
                  </a:cxn>
                  <a:cxn ang="0">
                    <a:pos x="6" y="99"/>
                  </a:cxn>
                  <a:cxn ang="0">
                    <a:pos x="19" y="121"/>
                  </a:cxn>
                  <a:cxn ang="0">
                    <a:pos x="27" y="157"/>
                  </a:cxn>
                  <a:cxn ang="0">
                    <a:pos x="24" y="169"/>
                  </a:cxn>
                  <a:cxn ang="0">
                    <a:pos x="21" y="177"/>
                  </a:cxn>
                  <a:cxn ang="0">
                    <a:pos x="26" y="191"/>
                  </a:cxn>
                  <a:cxn ang="0">
                    <a:pos x="40" y="221"/>
                  </a:cxn>
                  <a:cxn ang="0">
                    <a:pos x="74" y="241"/>
                  </a:cxn>
                  <a:cxn ang="0">
                    <a:pos x="110" y="216"/>
                  </a:cxn>
                  <a:cxn ang="0">
                    <a:pos x="121" y="193"/>
                  </a:cxn>
                  <a:cxn ang="0">
                    <a:pos x="129" y="177"/>
                  </a:cxn>
                  <a:cxn ang="0">
                    <a:pos x="132" y="174"/>
                  </a:cxn>
                  <a:cxn ang="0">
                    <a:pos x="134" y="142"/>
                  </a:cxn>
                  <a:cxn ang="0">
                    <a:pos x="151" y="127"/>
                  </a:cxn>
                  <a:cxn ang="0">
                    <a:pos x="158" y="92"/>
                  </a:cxn>
                </a:cxnLst>
                <a:rect l="0" t="0" r="r" b="b"/>
                <a:pathLst>
                  <a:path w="178" h="241">
                    <a:moveTo>
                      <a:pt x="158" y="92"/>
                    </a:moveTo>
                    <a:cubicBezTo>
                      <a:pt x="158" y="92"/>
                      <a:pt x="158" y="91"/>
                      <a:pt x="159" y="90"/>
                    </a:cubicBezTo>
                    <a:cubicBezTo>
                      <a:pt x="159" y="90"/>
                      <a:pt x="158" y="89"/>
                      <a:pt x="158" y="89"/>
                    </a:cubicBezTo>
                    <a:cubicBezTo>
                      <a:pt x="157" y="87"/>
                      <a:pt x="156" y="84"/>
                      <a:pt x="155" y="82"/>
                    </a:cubicBezTo>
                    <a:cubicBezTo>
                      <a:pt x="152" y="75"/>
                      <a:pt x="151" y="66"/>
                      <a:pt x="150" y="58"/>
                    </a:cubicBezTo>
                    <a:cubicBezTo>
                      <a:pt x="150" y="55"/>
                      <a:pt x="149" y="51"/>
                      <a:pt x="147" y="48"/>
                    </a:cubicBezTo>
                    <a:cubicBezTo>
                      <a:pt x="146" y="45"/>
                      <a:pt x="146" y="41"/>
                      <a:pt x="145" y="38"/>
                    </a:cubicBezTo>
                    <a:cubicBezTo>
                      <a:pt x="143" y="35"/>
                      <a:pt x="142" y="32"/>
                      <a:pt x="140" y="29"/>
                    </a:cubicBezTo>
                    <a:cubicBezTo>
                      <a:pt x="138" y="27"/>
                      <a:pt x="136" y="24"/>
                      <a:pt x="135" y="22"/>
                    </a:cubicBezTo>
                    <a:cubicBezTo>
                      <a:pt x="133" y="19"/>
                      <a:pt x="132" y="16"/>
                      <a:pt x="130" y="15"/>
                    </a:cubicBezTo>
                    <a:cubicBezTo>
                      <a:pt x="128" y="14"/>
                      <a:pt x="127" y="14"/>
                      <a:pt x="126" y="13"/>
                    </a:cubicBezTo>
                    <a:cubicBezTo>
                      <a:pt x="125" y="12"/>
                      <a:pt x="125" y="12"/>
                      <a:pt x="124" y="11"/>
                    </a:cubicBezTo>
                    <a:cubicBezTo>
                      <a:pt x="122" y="10"/>
                      <a:pt x="121" y="10"/>
                      <a:pt x="119" y="10"/>
                    </a:cubicBezTo>
                    <a:cubicBezTo>
                      <a:pt x="111" y="9"/>
                      <a:pt x="104" y="6"/>
                      <a:pt x="97" y="3"/>
                    </a:cubicBezTo>
                    <a:cubicBezTo>
                      <a:pt x="92" y="1"/>
                      <a:pt x="87" y="3"/>
                      <a:pt x="82" y="2"/>
                    </a:cubicBezTo>
                    <a:cubicBezTo>
                      <a:pt x="75" y="0"/>
                      <a:pt x="67" y="0"/>
                      <a:pt x="61" y="3"/>
                    </a:cubicBezTo>
                    <a:cubicBezTo>
                      <a:pt x="58" y="4"/>
                      <a:pt x="55" y="6"/>
                      <a:pt x="52" y="7"/>
                    </a:cubicBezTo>
                    <a:cubicBezTo>
                      <a:pt x="49" y="8"/>
                      <a:pt x="46" y="9"/>
                      <a:pt x="43" y="10"/>
                    </a:cubicBezTo>
                    <a:cubicBezTo>
                      <a:pt x="38" y="13"/>
                      <a:pt x="35" y="19"/>
                      <a:pt x="31" y="23"/>
                    </a:cubicBezTo>
                    <a:cubicBezTo>
                      <a:pt x="25" y="32"/>
                      <a:pt x="20" y="41"/>
                      <a:pt x="18" y="51"/>
                    </a:cubicBezTo>
                    <a:cubicBezTo>
                      <a:pt x="18" y="53"/>
                      <a:pt x="18" y="55"/>
                      <a:pt x="18" y="57"/>
                    </a:cubicBezTo>
                    <a:cubicBezTo>
                      <a:pt x="17" y="60"/>
                      <a:pt x="14" y="62"/>
                      <a:pt x="12" y="64"/>
                    </a:cubicBezTo>
                    <a:cubicBezTo>
                      <a:pt x="12" y="64"/>
                      <a:pt x="11" y="65"/>
                      <a:pt x="11" y="65"/>
                    </a:cubicBezTo>
                    <a:cubicBezTo>
                      <a:pt x="11" y="66"/>
                      <a:pt x="11" y="67"/>
                      <a:pt x="11" y="68"/>
                    </a:cubicBezTo>
                    <a:cubicBezTo>
                      <a:pt x="11" y="68"/>
                      <a:pt x="0" y="65"/>
                      <a:pt x="6" y="99"/>
                    </a:cubicBezTo>
                    <a:cubicBezTo>
                      <a:pt x="6" y="99"/>
                      <a:pt x="12" y="124"/>
                      <a:pt x="19" y="121"/>
                    </a:cubicBezTo>
                    <a:cubicBezTo>
                      <a:pt x="19" y="121"/>
                      <a:pt x="23" y="152"/>
                      <a:pt x="27" y="157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69"/>
                      <a:pt x="23" y="172"/>
                      <a:pt x="21" y="177"/>
                    </a:cubicBezTo>
                    <a:cubicBezTo>
                      <a:pt x="26" y="191"/>
                      <a:pt x="26" y="191"/>
                      <a:pt x="26" y="191"/>
                    </a:cubicBezTo>
                    <a:cubicBezTo>
                      <a:pt x="40" y="221"/>
                      <a:pt x="40" y="221"/>
                      <a:pt x="40" y="221"/>
                    </a:cubicBezTo>
                    <a:cubicBezTo>
                      <a:pt x="74" y="241"/>
                      <a:pt x="74" y="241"/>
                      <a:pt x="74" y="24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21" y="193"/>
                      <a:pt x="121" y="193"/>
                      <a:pt x="121" y="193"/>
                    </a:cubicBezTo>
                    <a:cubicBezTo>
                      <a:pt x="129" y="177"/>
                      <a:pt x="129" y="177"/>
                      <a:pt x="129" y="177"/>
                    </a:cubicBezTo>
                    <a:cubicBezTo>
                      <a:pt x="132" y="174"/>
                      <a:pt x="132" y="174"/>
                      <a:pt x="132" y="174"/>
                    </a:cubicBezTo>
                    <a:cubicBezTo>
                      <a:pt x="131" y="170"/>
                      <a:pt x="127" y="159"/>
                      <a:pt x="134" y="142"/>
                    </a:cubicBezTo>
                    <a:cubicBezTo>
                      <a:pt x="134" y="142"/>
                      <a:pt x="147" y="141"/>
                      <a:pt x="151" y="127"/>
                    </a:cubicBezTo>
                    <a:cubicBezTo>
                      <a:pt x="151" y="127"/>
                      <a:pt x="178" y="99"/>
                      <a:pt x="158" y="92"/>
                    </a:cubicBezTo>
                    <a:close/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4" name="Freeform 13"/>
              <p:cNvSpPr>
                <a:spLocks/>
              </p:cNvSpPr>
              <p:nvPr/>
            </p:nvSpPr>
            <p:spPr bwMode="gray">
              <a:xfrm>
                <a:off x="3416300" y="2692400"/>
                <a:ext cx="288925" cy="369888"/>
              </a:xfrm>
              <a:custGeom>
                <a:avLst/>
                <a:gdLst/>
                <a:ahLst/>
                <a:cxnLst>
                  <a:cxn ang="0">
                    <a:pos x="87" y="35"/>
                  </a:cxn>
                  <a:cxn ang="0">
                    <a:pos x="108" y="9"/>
                  </a:cxn>
                  <a:cxn ang="0">
                    <a:pos x="59" y="31"/>
                  </a:cxn>
                  <a:cxn ang="0">
                    <a:pos x="19" y="69"/>
                  </a:cxn>
                  <a:cxn ang="0">
                    <a:pos x="9" y="77"/>
                  </a:cxn>
                  <a:cxn ang="0">
                    <a:pos x="8" y="79"/>
                  </a:cxn>
                  <a:cxn ang="0">
                    <a:pos x="0" y="94"/>
                  </a:cxn>
                  <a:cxn ang="0">
                    <a:pos x="1" y="124"/>
                  </a:cxn>
                  <a:cxn ang="0">
                    <a:pos x="13" y="144"/>
                  </a:cxn>
                  <a:cxn ang="0">
                    <a:pos x="30" y="147"/>
                  </a:cxn>
                  <a:cxn ang="0">
                    <a:pos x="46" y="139"/>
                  </a:cxn>
                  <a:cxn ang="0">
                    <a:pos x="51" y="132"/>
                  </a:cxn>
                  <a:cxn ang="0">
                    <a:pos x="58" y="123"/>
                  </a:cxn>
                  <a:cxn ang="0">
                    <a:pos x="59" y="115"/>
                  </a:cxn>
                  <a:cxn ang="0">
                    <a:pos x="61" y="110"/>
                  </a:cxn>
                  <a:cxn ang="0">
                    <a:pos x="61" y="109"/>
                  </a:cxn>
                  <a:cxn ang="0">
                    <a:pos x="79" y="89"/>
                  </a:cxn>
                  <a:cxn ang="0">
                    <a:pos x="91" y="71"/>
                  </a:cxn>
                  <a:cxn ang="0">
                    <a:pos x="102" y="42"/>
                  </a:cxn>
                  <a:cxn ang="0">
                    <a:pos x="79" y="50"/>
                  </a:cxn>
                  <a:cxn ang="0">
                    <a:pos x="87" y="35"/>
                  </a:cxn>
                </a:cxnLst>
                <a:rect l="0" t="0" r="r" b="b"/>
                <a:pathLst>
                  <a:path w="115" h="147">
                    <a:moveTo>
                      <a:pt x="87" y="35"/>
                    </a:moveTo>
                    <a:cubicBezTo>
                      <a:pt x="87" y="35"/>
                      <a:pt x="115" y="19"/>
                      <a:pt x="108" y="9"/>
                    </a:cubicBezTo>
                    <a:cubicBezTo>
                      <a:pt x="108" y="9"/>
                      <a:pt x="99" y="0"/>
                      <a:pt x="59" y="31"/>
                    </a:cubicBezTo>
                    <a:cubicBezTo>
                      <a:pt x="59" y="31"/>
                      <a:pt x="23" y="55"/>
                      <a:pt x="19" y="69"/>
                    </a:cubicBezTo>
                    <a:cubicBezTo>
                      <a:pt x="19" y="69"/>
                      <a:pt x="14" y="80"/>
                      <a:pt x="9" y="77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1" y="124"/>
                      <a:pt x="1" y="124"/>
                      <a:pt x="1" y="124"/>
                    </a:cubicBezTo>
                    <a:cubicBezTo>
                      <a:pt x="13" y="144"/>
                      <a:pt x="13" y="144"/>
                      <a:pt x="13" y="144"/>
                    </a:cubicBezTo>
                    <a:cubicBezTo>
                      <a:pt x="30" y="147"/>
                      <a:pt x="30" y="147"/>
                      <a:pt x="30" y="147"/>
                    </a:cubicBezTo>
                    <a:cubicBezTo>
                      <a:pt x="46" y="139"/>
                      <a:pt x="46" y="139"/>
                      <a:pt x="46" y="139"/>
                    </a:cubicBezTo>
                    <a:cubicBezTo>
                      <a:pt x="51" y="132"/>
                      <a:pt x="51" y="132"/>
                      <a:pt x="51" y="132"/>
                    </a:cubicBezTo>
                    <a:cubicBezTo>
                      <a:pt x="58" y="123"/>
                      <a:pt x="58" y="123"/>
                      <a:pt x="58" y="123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0"/>
                      <a:pt x="61" y="110"/>
                      <a:pt x="61" y="110"/>
                    </a:cubicBezTo>
                    <a:cubicBezTo>
                      <a:pt x="61" y="110"/>
                      <a:pt x="61" y="109"/>
                      <a:pt x="61" y="109"/>
                    </a:cubicBezTo>
                    <a:cubicBezTo>
                      <a:pt x="61" y="109"/>
                      <a:pt x="77" y="96"/>
                      <a:pt x="79" y="89"/>
                    </a:cubicBezTo>
                    <a:cubicBezTo>
                      <a:pt x="79" y="89"/>
                      <a:pt x="92" y="80"/>
                      <a:pt x="91" y="71"/>
                    </a:cubicBezTo>
                    <a:cubicBezTo>
                      <a:pt x="91" y="71"/>
                      <a:pt x="104" y="73"/>
                      <a:pt x="102" y="42"/>
                    </a:cubicBezTo>
                    <a:cubicBezTo>
                      <a:pt x="102" y="42"/>
                      <a:pt x="98" y="36"/>
                      <a:pt x="79" y="50"/>
                    </a:cubicBezTo>
                    <a:cubicBezTo>
                      <a:pt x="79" y="50"/>
                      <a:pt x="69" y="47"/>
                      <a:pt x="87" y="35"/>
                    </a:cubicBezTo>
                    <a:close/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5" name="Freeform 14"/>
              <p:cNvSpPr>
                <a:spLocks/>
              </p:cNvSpPr>
              <p:nvPr/>
            </p:nvSpPr>
            <p:spPr bwMode="gray">
              <a:xfrm>
                <a:off x="1908175" y="2755900"/>
                <a:ext cx="338138" cy="309563"/>
              </a:xfrm>
              <a:custGeom>
                <a:avLst/>
                <a:gdLst/>
                <a:ahLst/>
                <a:cxnLst>
                  <a:cxn ang="0">
                    <a:pos x="123" y="59"/>
                  </a:cxn>
                  <a:cxn ang="0">
                    <a:pos x="123" y="59"/>
                  </a:cxn>
                  <a:cxn ang="0">
                    <a:pos x="121" y="59"/>
                  </a:cxn>
                  <a:cxn ang="0">
                    <a:pos x="117" y="54"/>
                  </a:cxn>
                  <a:cxn ang="0">
                    <a:pos x="76" y="25"/>
                  </a:cxn>
                  <a:cxn ang="0">
                    <a:pos x="42" y="14"/>
                  </a:cxn>
                  <a:cxn ang="0">
                    <a:pos x="12" y="7"/>
                  </a:cxn>
                  <a:cxn ang="0">
                    <a:pos x="34" y="30"/>
                  </a:cxn>
                  <a:cxn ang="0">
                    <a:pos x="50" y="43"/>
                  </a:cxn>
                  <a:cxn ang="0">
                    <a:pos x="19" y="50"/>
                  </a:cxn>
                  <a:cxn ang="0">
                    <a:pos x="33" y="68"/>
                  </a:cxn>
                  <a:cxn ang="0">
                    <a:pos x="47" y="82"/>
                  </a:cxn>
                  <a:cxn ang="0">
                    <a:pos x="72" y="96"/>
                  </a:cxn>
                  <a:cxn ang="0">
                    <a:pos x="77" y="98"/>
                  </a:cxn>
                  <a:cxn ang="0">
                    <a:pos x="81" y="110"/>
                  </a:cxn>
                  <a:cxn ang="0">
                    <a:pos x="104" y="123"/>
                  </a:cxn>
                  <a:cxn ang="0">
                    <a:pos x="123" y="120"/>
                  </a:cxn>
                  <a:cxn ang="0">
                    <a:pos x="133" y="109"/>
                  </a:cxn>
                  <a:cxn ang="0">
                    <a:pos x="135" y="90"/>
                  </a:cxn>
                  <a:cxn ang="0">
                    <a:pos x="123" y="59"/>
                  </a:cxn>
                </a:cxnLst>
                <a:rect l="0" t="0" r="r" b="b"/>
                <a:pathLst>
                  <a:path w="135" h="123">
                    <a:moveTo>
                      <a:pt x="123" y="59"/>
                    </a:moveTo>
                    <a:cubicBezTo>
                      <a:pt x="123" y="59"/>
                      <a:pt x="123" y="59"/>
                      <a:pt x="123" y="59"/>
                    </a:cubicBezTo>
                    <a:cubicBezTo>
                      <a:pt x="121" y="59"/>
                      <a:pt x="121" y="59"/>
                      <a:pt x="121" y="59"/>
                    </a:cubicBezTo>
                    <a:cubicBezTo>
                      <a:pt x="121" y="59"/>
                      <a:pt x="119" y="57"/>
                      <a:pt x="117" y="54"/>
                    </a:cubicBezTo>
                    <a:cubicBezTo>
                      <a:pt x="108" y="45"/>
                      <a:pt x="88" y="25"/>
                      <a:pt x="76" y="25"/>
                    </a:cubicBezTo>
                    <a:cubicBezTo>
                      <a:pt x="76" y="25"/>
                      <a:pt x="46" y="18"/>
                      <a:pt x="42" y="14"/>
                    </a:cubicBezTo>
                    <a:cubicBezTo>
                      <a:pt x="42" y="14"/>
                      <a:pt x="15" y="0"/>
                      <a:pt x="12" y="7"/>
                    </a:cubicBezTo>
                    <a:cubicBezTo>
                      <a:pt x="12" y="7"/>
                      <a:pt x="0" y="20"/>
                      <a:pt x="34" y="30"/>
                    </a:cubicBezTo>
                    <a:cubicBezTo>
                      <a:pt x="34" y="30"/>
                      <a:pt x="53" y="43"/>
                      <a:pt x="50" y="43"/>
                    </a:cubicBezTo>
                    <a:cubicBezTo>
                      <a:pt x="50" y="43"/>
                      <a:pt x="16" y="43"/>
                      <a:pt x="19" y="50"/>
                    </a:cubicBezTo>
                    <a:cubicBezTo>
                      <a:pt x="19" y="50"/>
                      <a:pt x="29" y="65"/>
                      <a:pt x="33" y="68"/>
                    </a:cubicBezTo>
                    <a:cubicBezTo>
                      <a:pt x="33" y="68"/>
                      <a:pt x="37" y="79"/>
                      <a:pt x="47" y="82"/>
                    </a:cubicBezTo>
                    <a:cubicBezTo>
                      <a:pt x="47" y="82"/>
                      <a:pt x="56" y="90"/>
                      <a:pt x="72" y="96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81" y="110"/>
                      <a:pt x="81" y="110"/>
                      <a:pt x="81" y="110"/>
                    </a:cubicBezTo>
                    <a:cubicBezTo>
                      <a:pt x="104" y="123"/>
                      <a:pt x="104" y="123"/>
                      <a:pt x="104" y="123"/>
                    </a:cubicBezTo>
                    <a:cubicBezTo>
                      <a:pt x="123" y="120"/>
                      <a:pt x="123" y="120"/>
                      <a:pt x="123" y="120"/>
                    </a:cubicBezTo>
                    <a:cubicBezTo>
                      <a:pt x="133" y="109"/>
                      <a:pt x="133" y="109"/>
                      <a:pt x="133" y="109"/>
                    </a:cubicBezTo>
                    <a:cubicBezTo>
                      <a:pt x="135" y="90"/>
                      <a:pt x="135" y="90"/>
                      <a:pt x="135" y="90"/>
                    </a:cubicBezTo>
                    <a:lnTo>
                      <a:pt x="123" y="59"/>
                    </a:lnTo>
                    <a:close/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6" name="Freeform 15"/>
              <p:cNvSpPr>
                <a:spLocks/>
              </p:cNvSpPr>
              <p:nvPr/>
            </p:nvSpPr>
            <p:spPr bwMode="gray">
              <a:xfrm>
                <a:off x="2651125" y="2346325"/>
                <a:ext cx="282575" cy="10953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9" y="56"/>
                  </a:cxn>
                  <a:cxn ang="0">
                    <a:pos x="63" y="54"/>
                  </a:cxn>
                  <a:cxn ang="0">
                    <a:pos x="108" y="2"/>
                  </a:cxn>
                  <a:cxn ang="0">
                    <a:pos x="112" y="10"/>
                  </a:cxn>
                  <a:cxn ang="0">
                    <a:pos x="74" y="285"/>
                  </a:cxn>
                  <a:cxn ang="0">
                    <a:pos x="98" y="435"/>
                  </a:cxn>
                  <a:cxn ang="0">
                    <a:pos x="1" y="432"/>
                  </a:cxn>
                  <a:cxn ang="0">
                    <a:pos x="17" y="260"/>
                  </a:cxn>
                  <a:cxn ang="0">
                    <a:pos x="0" y="9"/>
                  </a:cxn>
                  <a:cxn ang="0">
                    <a:pos x="2" y="0"/>
                  </a:cxn>
                </a:cxnLst>
                <a:rect l="0" t="0" r="r" b="b"/>
                <a:pathLst>
                  <a:path w="112" h="436">
                    <a:moveTo>
                      <a:pt x="2" y="0"/>
                    </a:moveTo>
                    <a:cubicBezTo>
                      <a:pt x="2" y="0"/>
                      <a:pt x="6" y="41"/>
                      <a:pt x="39" y="56"/>
                    </a:cubicBezTo>
                    <a:cubicBezTo>
                      <a:pt x="39" y="56"/>
                      <a:pt x="56" y="58"/>
                      <a:pt x="63" y="54"/>
                    </a:cubicBezTo>
                    <a:cubicBezTo>
                      <a:pt x="63" y="54"/>
                      <a:pt x="106" y="19"/>
                      <a:pt x="108" y="2"/>
                    </a:cubicBezTo>
                    <a:cubicBezTo>
                      <a:pt x="112" y="10"/>
                      <a:pt x="112" y="10"/>
                      <a:pt x="112" y="10"/>
                    </a:cubicBezTo>
                    <a:cubicBezTo>
                      <a:pt x="112" y="10"/>
                      <a:pt x="63" y="220"/>
                      <a:pt x="74" y="285"/>
                    </a:cubicBezTo>
                    <a:cubicBezTo>
                      <a:pt x="98" y="435"/>
                      <a:pt x="98" y="435"/>
                      <a:pt x="98" y="435"/>
                    </a:cubicBezTo>
                    <a:cubicBezTo>
                      <a:pt x="98" y="435"/>
                      <a:pt x="19" y="436"/>
                      <a:pt x="1" y="432"/>
                    </a:cubicBezTo>
                    <a:cubicBezTo>
                      <a:pt x="1" y="432"/>
                      <a:pt x="20" y="284"/>
                      <a:pt x="17" y="260"/>
                    </a:cubicBezTo>
                    <a:cubicBezTo>
                      <a:pt x="17" y="260"/>
                      <a:pt x="13" y="58"/>
                      <a:pt x="0" y="9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C2D1E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7" name="Freeform 16"/>
              <p:cNvSpPr>
                <a:spLocks/>
              </p:cNvSpPr>
              <p:nvPr/>
            </p:nvSpPr>
            <p:spPr bwMode="gray">
              <a:xfrm>
                <a:off x="3363913" y="2884488"/>
                <a:ext cx="200025" cy="271463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26" y="73"/>
                  </a:cxn>
                  <a:cxn ang="0">
                    <a:pos x="69" y="64"/>
                  </a:cxn>
                  <a:cxn ang="0">
                    <a:pos x="80" y="37"/>
                  </a:cxn>
                  <a:cxn ang="0">
                    <a:pos x="40" y="62"/>
                  </a:cxn>
                  <a:cxn ang="0">
                    <a:pos x="31" y="2"/>
                  </a:cxn>
                  <a:cxn ang="0">
                    <a:pos x="29" y="0"/>
                  </a:cxn>
                </a:cxnLst>
                <a:rect l="0" t="0" r="r" b="b"/>
                <a:pathLst>
                  <a:path w="80" h="108">
                    <a:moveTo>
                      <a:pt x="29" y="0"/>
                    </a:moveTo>
                    <a:cubicBezTo>
                      <a:pt x="29" y="0"/>
                      <a:pt x="0" y="24"/>
                      <a:pt x="26" y="73"/>
                    </a:cubicBezTo>
                    <a:cubicBezTo>
                      <a:pt x="26" y="73"/>
                      <a:pt x="48" y="108"/>
                      <a:pt x="69" y="64"/>
                    </a:cubicBezTo>
                    <a:cubicBezTo>
                      <a:pt x="69" y="64"/>
                      <a:pt x="80" y="53"/>
                      <a:pt x="80" y="37"/>
                    </a:cubicBezTo>
                    <a:cubicBezTo>
                      <a:pt x="80" y="37"/>
                      <a:pt x="68" y="78"/>
                      <a:pt x="40" y="62"/>
                    </a:cubicBezTo>
                    <a:cubicBezTo>
                      <a:pt x="40" y="62"/>
                      <a:pt x="4" y="41"/>
                      <a:pt x="31" y="2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C2D1E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8" name="Freeform 17"/>
              <p:cNvSpPr>
                <a:spLocks/>
              </p:cNvSpPr>
              <p:nvPr/>
            </p:nvSpPr>
            <p:spPr bwMode="gray">
              <a:xfrm>
                <a:off x="2098675" y="2903538"/>
                <a:ext cx="201613" cy="201613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41" y="73"/>
                  </a:cxn>
                  <a:cxn ang="0">
                    <a:pos x="53" y="1"/>
                  </a:cxn>
                  <a:cxn ang="0">
                    <a:pos x="44" y="0"/>
                  </a:cxn>
                  <a:cxn ang="0">
                    <a:pos x="37" y="58"/>
                  </a:cxn>
                  <a:cxn ang="0">
                    <a:pos x="3" y="38"/>
                  </a:cxn>
                  <a:cxn ang="0">
                    <a:pos x="0" y="39"/>
                  </a:cxn>
                </a:cxnLst>
                <a:rect l="0" t="0" r="r" b="b"/>
                <a:pathLst>
                  <a:path w="80" h="80">
                    <a:moveTo>
                      <a:pt x="0" y="39"/>
                    </a:moveTo>
                    <a:cubicBezTo>
                      <a:pt x="0" y="39"/>
                      <a:pt x="4" y="80"/>
                      <a:pt x="41" y="73"/>
                    </a:cubicBezTo>
                    <a:cubicBezTo>
                      <a:pt x="41" y="73"/>
                      <a:pt x="80" y="64"/>
                      <a:pt x="53" y="1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74" y="54"/>
                      <a:pt x="37" y="58"/>
                    </a:cubicBezTo>
                    <a:cubicBezTo>
                      <a:pt x="37" y="58"/>
                      <a:pt x="4" y="61"/>
                      <a:pt x="3" y="38"/>
                    </a:cubicBezTo>
                    <a:cubicBezTo>
                      <a:pt x="0" y="39"/>
                      <a:pt x="0" y="39"/>
                      <a:pt x="0" y="39"/>
                    </a:cubicBezTo>
                    <a:close/>
                  </a:path>
                </a:pathLst>
              </a:custGeom>
              <a:solidFill>
                <a:srgbClr val="C2D1E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29" name="Freeform 27"/>
              <p:cNvSpPr>
                <a:spLocks/>
              </p:cNvSpPr>
              <p:nvPr/>
            </p:nvSpPr>
            <p:spPr bwMode="gray">
              <a:xfrm rot="355555">
                <a:off x="2616304" y="1847020"/>
                <a:ext cx="404126" cy="342646"/>
              </a:xfrm>
              <a:custGeom>
                <a:avLst/>
                <a:gdLst/>
                <a:ahLst/>
                <a:cxnLst>
                  <a:cxn ang="0">
                    <a:pos x="103" y="251"/>
                  </a:cxn>
                  <a:cxn ang="0">
                    <a:pos x="91" y="393"/>
                  </a:cxn>
                  <a:cxn ang="0">
                    <a:pos x="75" y="531"/>
                  </a:cxn>
                  <a:cxn ang="0">
                    <a:pos x="69" y="531"/>
                  </a:cxn>
                  <a:cxn ang="0">
                    <a:pos x="54" y="504"/>
                  </a:cxn>
                  <a:cxn ang="0">
                    <a:pos x="53" y="445"/>
                  </a:cxn>
                  <a:cxn ang="0">
                    <a:pos x="14" y="405"/>
                  </a:cxn>
                  <a:cxn ang="0">
                    <a:pos x="14" y="343"/>
                  </a:cxn>
                  <a:cxn ang="0">
                    <a:pos x="1" y="288"/>
                  </a:cxn>
                  <a:cxn ang="0">
                    <a:pos x="75" y="92"/>
                  </a:cxn>
                  <a:cxn ang="0">
                    <a:pos x="282" y="8"/>
                  </a:cxn>
                  <a:cxn ang="0">
                    <a:pos x="423" y="32"/>
                  </a:cxn>
                  <a:cxn ang="0">
                    <a:pos x="530" y="92"/>
                  </a:cxn>
                  <a:cxn ang="0">
                    <a:pos x="587" y="175"/>
                  </a:cxn>
                  <a:cxn ang="0">
                    <a:pos x="612" y="221"/>
                  </a:cxn>
                  <a:cxn ang="0">
                    <a:pos x="599" y="271"/>
                  </a:cxn>
                  <a:cxn ang="0">
                    <a:pos x="621" y="377"/>
                  </a:cxn>
                  <a:cxn ang="0">
                    <a:pos x="602" y="380"/>
                  </a:cxn>
                  <a:cxn ang="0">
                    <a:pos x="606" y="394"/>
                  </a:cxn>
                  <a:cxn ang="0">
                    <a:pos x="584" y="440"/>
                  </a:cxn>
                  <a:cxn ang="0">
                    <a:pos x="571" y="494"/>
                  </a:cxn>
                  <a:cxn ang="0">
                    <a:pos x="535" y="269"/>
                  </a:cxn>
                  <a:cxn ang="0">
                    <a:pos x="514" y="217"/>
                  </a:cxn>
                  <a:cxn ang="0">
                    <a:pos x="480" y="192"/>
                  </a:cxn>
                  <a:cxn ang="0">
                    <a:pos x="436" y="211"/>
                  </a:cxn>
                  <a:cxn ang="0">
                    <a:pos x="383" y="224"/>
                  </a:cxn>
                  <a:cxn ang="0">
                    <a:pos x="227" y="216"/>
                  </a:cxn>
                  <a:cxn ang="0">
                    <a:pos x="98" y="254"/>
                  </a:cxn>
                </a:cxnLst>
                <a:rect l="0" t="0" r="r" b="b"/>
                <a:pathLst>
                  <a:path w="626" h="531">
                    <a:moveTo>
                      <a:pt x="103" y="251"/>
                    </a:moveTo>
                    <a:cubicBezTo>
                      <a:pt x="99" y="293"/>
                      <a:pt x="93" y="347"/>
                      <a:pt x="91" y="393"/>
                    </a:cubicBezTo>
                    <a:cubicBezTo>
                      <a:pt x="89" y="442"/>
                      <a:pt x="78" y="483"/>
                      <a:pt x="75" y="531"/>
                    </a:cubicBezTo>
                    <a:cubicBezTo>
                      <a:pt x="74" y="531"/>
                      <a:pt x="70" y="531"/>
                      <a:pt x="69" y="531"/>
                    </a:cubicBezTo>
                    <a:cubicBezTo>
                      <a:pt x="63" y="521"/>
                      <a:pt x="62" y="511"/>
                      <a:pt x="54" y="504"/>
                    </a:cubicBezTo>
                    <a:cubicBezTo>
                      <a:pt x="48" y="486"/>
                      <a:pt x="60" y="462"/>
                      <a:pt x="53" y="445"/>
                    </a:cubicBezTo>
                    <a:cubicBezTo>
                      <a:pt x="45" y="428"/>
                      <a:pt x="20" y="423"/>
                      <a:pt x="14" y="405"/>
                    </a:cubicBezTo>
                    <a:cubicBezTo>
                      <a:pt x="7" y="386"/>
                      <a:pt x="19" y="362"/>
                      <a:pt x="14" y="343"/>
                    </a:cubicBezTo>
                    <a:cubicBezTo>
                      <a:pt x="8" y="323"/>
                      <a:pt x="0" y="313"/>
                      <a:pt x="1" y="288"/>
                    </a:cubicBezTo>
                    <a:cubicBezTo>
                      <a:pt x="4" y="215"/>
                      <a:pt x="23" y="141"/>
                      <a:pt x="75" y="92"/>
                    </a:cubicBezTo>
                    <a:cubicBezTo>
                      <a:pt x="134" y="35"/>
                      <a:pt x="205" y="20"/>
                      <a:pt x="282" y="8"/>
                    </a:cubicBezTo>
                    <a:cubicBezTo>
                      <a:pt x="335" y="0"/>
                      <a:pt x="374" y="21"/>
                      <a:pt x="423" y="32"/>
                    </a:cubicBezTo>
                    <a:cubicBezTo>
                      <a:pt x="470" y="42"/>
                      <a:pt x="496" y="56"/>
                      <a:pt x="530" y="92"/>
                    </a:cubicBezTo>
                    <a:cubicBezTo>
                      <a:pt x="539" y="101"/>
                      <a:pt x="626" y="174"/>
                      <a:pt x="587" y="175"/>
                    </a:cubicBezTo>
                    <a:cubicBezTo>
                      <a:pt x="595" y="190"/>
                      <a:pt x="609" y="201"/>
                      <a:pt x="612" y="221"/>
                    </a:cubicBezTo>
                    <a:cubicBezTo>
                      <a:pt x="615" y="246"/>
                      <a:pt x="603" y="252"/>
                      <a:pt x="599" y="271"/>
                    </a:cubicBezTo>
                    <a:cubicBezTo>
                      <a:pt x="592" y="309"/>
                      <a:pt x="615" y="346"/>
                      <a:pt x="621" y="377"/>
                    </a:cubicBezTo>
                    <a:cubicBezTo>
                      <a:pt x="614" y="377"/>
                      <a:pt x="609" y="381"/>
                      <a:pt x="602" y="380"/>
                    </a:cubicBezTo>
                    <a:cubicBezTo>
                      <a:pt x="604" y="383"/>
                      <a:pt x="604" y="391"/>
                      <a:pt x="606" y="394"/>
                    </a:cubicBezTo>
                    <a:cubicBezTo>
                      <a:pt x="574" y="404"/>
                      <a:pt x="586" y="416"/>
                      <a:pt x="584" y="440"/>
                    </a:cubicBezTo>
                    <a:cubicBezTo>
                      <a:pt x="583" y="458"/>
                      <a:pt x="573" y="473"/>
                      <a:pt x="571" y="494"/>
                    </a:cubicBezTo>
                    <a:cubicBezTo>
                      <a:pt x="546" y="423"/>
                      <a:pt x="553" y="342"/>
                      <a:pt x="535" y="269"/>
                    </a:cubicBezTo>
                    <a:cubicBezTo>
                      <a:pt x="530" y="250"/>
                      <a:pt x="525" y="233"/>
                      <a:pt x="514" y="217"/>
                    </a:cubicBezTo>
                    <a:cubicBezTo>
                      <a:pt x="503" y="200"/>
                      <a:pt x="497" y="189"/>
                      <a:pt x="480" y="192"/>
                    </a:cubicBezTo>
                    <a:cubicBezTo>
                      <a:pt x="466" y="194"/>
                      <a:pt x="449" y="207"/>
                      <a:pt x="436" y="211"/>
                    </a:cubicBezTo>
                    <a:cubicBezTo>
                      <a:pt x="419" y="217"/>
                      <a:pt x="401" y="221"/>
                      <a:pt x="383" y="224"/>
                    </a:cubicBezTo>
                    <a:cubicBezTo>
                      <a:pt x="329" y="232"/>
                      <a:pt x="278" y="219"/>
                      <a:pt x="227" y="216"/>
                    </a:cubicBezTo>
                    <a:cubicBezTo>
                      <a:pt x="192" y="215"/>
                      <a:pt x="123" y="229"/>
                      <a:pt x="98" y="254"/>
                    </a:cubicBezTo>
                  </a:path>
                </a:pathLst>
              </a:custGeom>
              <a:solidFill>
                <a:srgbClr val="7C5D5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0" name="Freeform 28"/>
              <p:cNvSpPr>
                <a:spLocks/>
              </p:cNvSpPr>
              <p:nvPr/>
            </p:nvSpPr>
            <p:spPr bwMode="gray">
              <a:xfrm>
                <a:off x="2722779" y="1915074"/>
                <a:ext cx="195046" cy="76426"/>
              </a:xfrm>
              <a:custGeom>
                <a:avLst/>
                <a:gdLst/>
                <a:ahLst/>
                <a:cxnLst>
                  <a:cxn ang="0">
                    <a:pos x="209" y="112"/>
                  </a:cxn>
                  <a:cxn ang="0">
                    <a:pos x="120" y="62"/>
                  </a:cxn>
                  <a:cxn ang="0">
                    <a:pos x="0" y="57"/>
                  </a:cxn>
                  <a:cxn ang="0">
                    <a:pos x="110" y="46"/>
                  </a:cxn>
                  <a:cxn ang="0">
                    <a:pos x="233" y="81"/>
                  </a:cxn>
                  <a:cxn ang="0">
                    <a:pos x="105" y="14"/>
                  </a:cxn>
                  <a:cxn ang="0">
                    <a:pos x="258" y="37"/>
                  </a:cxn>
                  <a:cxn ang="0">
                    <a:pos x="241" y="7"/>
                  </a:cxn>
                  <a:cxn ang="0">
                    <a:pos x="304" y="87"/>
                  </a:cxn>
                  <a:cxn ang="0">
                    <a:pos x="209" y="122"/>
                  </a:cxn>
                </a:cxnLst>
                <a:rect l="0" t="0" r="r" b="b"/>
                <a:pathLst>
                  <a:path w="311" h="122">
                    <a:moveTo>
                      <a:pt x="209" y="112"/>
                    </a:moveTo>
                    <a:cubicBezTo>
                      <a:pt x="179" y="97"/>
                      <a:pt x="152" y="71"/>
                      <a:pt x="120" y="62"/>
                    </a:cubicBezTo>
                    <a:cubicBezTo>
                      <a:pt x="84" y="52"/>
                      <a:pt x="39" y="57"/>
                      <a:pt x="0" y="57"/>
                    </a:cubicBezTo>
                    <a:cubicBezTo>
                      <a:pt x="23" y="42"/>
                      <a:pt x="73" y="39"/>
                      <a:pt x="110" y="46"/>
                    </a:cubicBezTo>
                    <a:cubicBezTo>
                      <a:pt x="154" y="56"/>
                      <a:pt x="185" y="90"/>
                      <a:pt x="233" y="81"/>
                    </a:cubicBezTo>
                    <a:cubicBezTo>
                      <a:pt x="254" y="4"/>
                      <a:pt x="139" y="25"/>
                      <a:pt x="105" y="14"/>
                    </a:cubicBezTo>
                    <a:cubicBezTo>
                      <a:pt x="163" y="0"/>
                      <a:pt x="211" y="11"/>
                      <a:pt x="258" y="37"/>
                    </a:cubicBezTo>
                    <a:cubicBezTo>
                      <a:pt x="253" y="29"/>
                      <a:pt x="250" y="17"/>
                      <a:pt x="241" y="7"/>
                    </a:cubicBezTo>
                    <a:cubicBezTo>
                      <a:pt x="263" y="12"/>
                      <a:pt x="311" y="63"/>
                      <a:pt x="304" y="87"/>
                    </a:cubicBezTo>
                    <a:cubicBezTo>
                      <a:pt x="297" y="109"/>
                      <a:pt x="232" y="119"/>
                      <a:pt x="209" y="122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1" name="Freeform 80"/>
              <p:cNvSpPr>
                <a:spLocks/>
              </p:cNvSpPr>
              <p:nvPr/>
            </p:nvSpPr>
            <p:spPr bwMode="gray">
              <a:xfrm>
                <a:off x="2927931" y="1950076"/>
                <a:ext cx="55727" cy="139319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88" y="79"/>
                  </a:cxn>
                  <a:cxn ang="0">
                    <a:pos x="69" y="75"/>
                  </a:cxn>
                  <a:cxn ang="0">
                    <a:pos x="77" y="138"/>
                  </a:cxn>
                  <a:cxn ang="0">
                    <a:pos x="79" y="222"/>
                  </a:cxn>
                  <a:cxn ang="0">
                    <a:pos x="59" y="109"/>
                  </a:cxn>
                  <a:cxn ang="0">
                    <a:pos x="0" y="6"/>
                  </a:cxn>
                  <a:cxn ang="0">
                    <a:pos x="24" y="0"/>
                  </a:cxn>
                </a:cxnLst>
                <a:rect l="0" t="0" r="r" b="b"/>
                <a:pathLst>
                  <a:path w="89" h="222">
                    <a:moveTo>
                      <a:pt x="24" y="5"/>
                    </a:moveTo>
                    <a:cubicBezTo>
                      <a:pt x="56" y="5"/>
                      <a:pt x="89" y="49"/>
                      <a:pt x="88" y="79"/>
                    </a:cubicBezTo>
                    <a:cubicBezTo>
                      <a:pt x="82" y="77"/>
                      <a:pt x="75" y="77"/>
                      <a:pt x="69" y="75"/>
                    </a:cubicBezTo>
                    <a:cubicBezTo>
                      <a:pt x="69" y="97"/>
                      <a:pt x="73" y="116"/>
                      <a:pt x="77" y="138"/>
                    </a:cubicBezTo>
                    <a:cubicBezTo>
                      <a:pt x="63" y="156"/>
                      <a:pt x="79" y="193"/>
                      <a:pt x="79" y="222"/>
                    </a:cubicBezTo>
                    <a:cubicBezTo>
                      <a:pt x="60" y="187"/>
                      <a:pt x="68" y="148"/>
                      <a:pt x="59" y="109"/>
                    </a:cubicBezTo>
                    <a:cubicBezTo>
                      <a:pt x="49" y="66"/>
                      <a:pt x="8" y="42"/>
                      <a:pt x="0" y="6"/>
                    </a:cubicBezTo>
                    <a:cubicBezTo>
                      <a:pt x="8" y="0"/>
                      <a:pt x="15" y="0"/>
                      <a:pt x="24" y="0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pic>
            <p:nvPicPr>
              <p:cNvPr id="132" name="Picture 20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2659593" y="2268208"/>
                <a:ext cx="264582" cy="1712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33" name="Freeform 211"/>
              <p:cNvSpPr>
                <a:spLocks/>
              </p:cNvSpPr>
              <p:nvPr/>
            </p:nvSpPr>
            <p:spPr bwMode="gray">
              <a:xfrm>
                <a:off x="2860720" y="2421897"/>
                <a:ext cx="53564" cy="141190"/>
              </a:xfrm>
              <a:custGeom>
                <a:avLst/>
                <a:gdLst/>
                <a:ahLst/>
                <a:cxnLst>
                  <a:cxn ang="0">
                    <a:pos x="9" y="200"/>
                  </a:cxn>
                  <a:cxn ang="0">
                    <a:pos x="81" y="0"/>
                  </a:cxn>
                  <a:cxn ang="0">
                    <a:pos x="80" y="77"/>
                  </a:cxn>
                  <a:cxn ang="0">
                    <a:pos x="59" y="134"/>
                  </a:cxn>
                  <a:cxn ang="0">
                    <a:pos x="0" y="230"/>
                  </a:cxn>
                  <a:cxn ang="0">
                    <a:pos x="15" y="202"/>
                  </a:cxn>
                </a:cxnLst>
                <a:rect l="0" t="0" r="r" b="b"/>
                <a:pathLst>
                  <a:path w="87" h="230">
                    <a:moveTo>
                      <a:pt x="9" y="200"/>
                    </a:moveTo>
                    <a:cubicBezTo>
                      <a:pt x="51" y="144"/>
                      <a:pt x="44" y="58"/>
                      <a:pt x="81" y="0"/>
                    </a:cubicBezTo>
                    <a:cubicBezTo>
                      <a:pt x="87" y="17"/>
                      <a:pt x="84" y="59"/>
                      <a:pt x="80" y="77"/>
                    </a:cubicBezTo>
                    <a:cubicBezTo>
                      <a:pt x="75" y="96"/>
                      <a:pt x="68" y="117"/>
                      <a:pt x="59" y="134"/>
                    </a:cubicBezTo>
                    <a:cubicBezTo>
                      <a:pt x="45" y="159"/>
                      <a:pt x="27" y="220"/>
                      <a:pt x="0" y="230"/>
                    </a:cubicBezTo>
                    <a:cubicBezTo>
                      <a:pt x="0" y="218"/>
                      <a:pt x="9" y="211"/>
                      <a:pt x="15" y="202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4" name="Freeform 254"/>
              <p:cNvSpPr>
                <a:spLocks/>
              </p:cNvSpPr>
              <p:nvPr/>
            </p:nvSpPr>
            <p:spPr bwMode="gray">
              <a:xfrm rot="20760000">
                <a:off x="2669454" y="2422525"/>
                <a:ext cx="43683" cy="155231"/>
              </a:xfrm>
              <a:custGeom>
                <a:avLst/>
                <a:gdLst/>
                <a:ahLst/>
                <a:cxnLst>
                  <a:cxn ang="0">
                    <a:pos x="34" y="7"/>
                  </a:cxn>
                  <a:cxn ang="0">
                    <a:pos x="26" y="78"/>
                  </a:cxn>
                  <a:cxn ang="0">
                    <a:pos x="28" y="140"/>
                  </a:cxn>
                  <a:cxn ang="0">
                    <a:pos x="52" y="191"/>
                  </a:cxn>
                  <a:cxn ang="0">
                    <a:pos x="71" y="253"/>
                  </a:cxn>
                  <a:cxn ang="0">
                    <a:pos x="14" y="126"/>
                  </a:cxn>
                  <a:cxn ang="0">
                    <a:pos x="11" y="56"/>
                  </a:cxn>
                  <a:cxn ang="0">
                    <a:pos x="44" y="0"/>
                  </a:cxn>
                </a:cxnLst>
                <a:rect l="0" t="0" r="r" b="b"/>
                <a:pathLst>
                  <a:path w="71" h="253">
                    <a:moveTo>
                      <a:pt x="34" y="7"/>
                    </a:moveTo>
                    <a:cubicBezTo>
                      <a:pt x="34" y="38"/>
                      <a:pt x="33" y="52"/>
                      <a:pt x="26" y="78"/>
                    </a:cubicBezTo>
                    <a:cubicBezTo>
                      <a:pt x="21" y="99"/>
                      <a:pt x="17" y="118"/>
                      <a:pt x="28" y="140"/>
                    </a:cubicBezTo>
                    <a:cubicBezTo>
                      <a:pt x="37" y="158"/>
                      <a:pt x="47" y="166"/>
                      <a:pt x="52" y="191"/>
                    </a:cubicBezTo>
                    <a:cubicBezTo>
                      <a:pt x="56" y="212"/>
                      <a:pt x="60" y="237"/>
                      <a:pt x="71" y="253"/>
                    </a:cubicBezTo>
                    <a:cubicBezTo>
                      <a:pt x="45" y="215"/>
                      <a:pt x="34" y="168"/>
                      <a:pt x="14" y="126"/>
                    </a:cubicBezTo>
                    <a:cubicBezTo>
                      <a:pt x="0" y="94"/>
                      <a:pt x="1" y="87"/>
                      <a:pt x="11" y="56"/>
                    </a:cubicBezTo>
                    <a:cubicBezTo>
                      <a:pt x="17" y="37"/>
                      <a:pt x="21" y="2"/>
                      <a:pt x="44" y="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5" name="Freeform 222"/>
              <p:cNvSpPr>
                <a:spLocks/>
              </p:cNvSpPr>
              <p:nvPr/>
            </p:nvSpPr>
            <p:spPr bwMode="gray">
              <a:xfrm>
                <a:off x="2726662" y="2582020"/>
                <a:ext cx="154711" cy="148211"/>
              </a:xfrm>
              <a:custGeom>
                <a:avLst/>
                <a:gdLst/>
                <a:ahLst/>
                <a:cxnLst>
                  <a:cxn ang="0">
                    <a:pos x="247" y="0"/>
                  </a:cxn>
                  <a:cxn ang="0">
                    <a:pos x="232" y="17"/>
                  </a:cxn>
                  <a:cxn ang="0">
                    <a:pos x="181" y="65"/>
                  </a:cxn>
                  <a:cxn ang="0">
                    <a:pos x="106" y="105"/>
                  </a:cxn>
                  <a:cxn ang="0">
                    <a:pos x="72" y="241"/>
                  </a:cxn>
                  <a:cxn ang="0">
                    <a:pos x="148" y="125"/>
                  </a:cxn>
                  <a:cxn ang="0">
                    <a:pos x="242" y="14"/>
                  </a:cxn>
                </a:cxnLst>
                <a:rect l="0" t="0" r="r" b="b"/>
                <a:pathLst>
                  <a:path w="252" h="241">
                    <a:moveTo>
                      <a:pt x="247" y="0"/>
                    </a:moveTo>
                    <a:cubicBezTo>
                      <a:pt x="241" y="2"/>
                      <a:pt x="235" y="12"/>
                      <a:pt x="232" y="17"/>
                    </a:cubicBezTo>
                    <a:cubicBezTo>
                      <a:pt x="182" y="8"/>
                      <a:pt x="207" y="46"/>
                      <a:pt x="181" y="65"/>
                    </a:cubicBezTo>
                    <a:cubicBezTo>
                      <a:pt x="159" y="81"/>
                      <a:pt x="128" y="89"/>
                      <a:pt x="106" y="105"/>
                    </a:cubicBezTo>
                    <a:cubicBezTo>
                      <a:pt x="75" y="126"/>
                      <a:pt x="0" y="232"/>
                      <a:pt x="72" y="241"/>
                    </a:cubicBezTo>
                    <a:cubicBezTo>
                      <a:pt x="98" y="197"/>
                      <a:pt x="108" y="159"/>
                      <a:pt x="148" y="125"/>
                    </a:cubicBezTo>
                    <a:cubicBezTo>
                      <a:pt x="188" y="93"/>
                      <a:pt x="252" y="83"/>
                      <a:pt x="242" y="14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6" name="Freeform 222"/>
              <p:cNvSpPr>
                <a:spLocks/>
              </p:cNvSpPr>
              <p:nvPr/>
            </p:nvSpPr>
            <p:spPr bwMode="gray">
              <a:xfrm rot="20826764">
                <a:off x="2640937" y="3239245"/>
                <a:ext cx="154711" cy="148211"/>
              </a:xfrm>
              <a:custGeom>
                <a:avLst/>
                <a:gdLst/>
                <a:ahLst/>
                <a:cxnLst>
                  <a:cxn ang="0">
                    <a:pos x="247" y="0"/>
                  </a:cxn>
                  <a:cxn ang="0">
                    <a:pos x="232" y="17"/>
                  </a:cxn>
                  <a:cxn ang="0">
                    <a:pos x="181" y="65"/>
                  </a:cxn>
                  <a:cxn ang="0">
                    <a:pos x="106" y="105"/>
                  </a:cxn>
                  <a:cxn ang="0">
                    <a:pos x="72" y="241"/>
                  </a:cxn>
                  <a:cxn ang="0">
                    <a:pos x="148" y="125"/>
                  </a:cxn>
                  <a:cxn ang="0">
                    <a:pos x="242" y="14"/>
                  </a:cxn>
                </a:cxnLst>
                <a:rect l="0" t="0" r="r" b="b"/>
                <a:pathLst>
                  <a:path w="252" h="241">
                    <a:moveTo>
                      <a:pt x="247" y="0"/>
                    </a:moveTo>
                    <a:cubicBezTo>
                      <a:pt x="241" y="2"/>
                      <a:pt x="235" y="12"/>
                      <a:pt x="232" y="17"/>
                    </a:cubicBezTo>
                    <a:cubicBezTo>
                      <a:pt x="182" y="8"/>
                      <a:pt x="207" y="46"/>
                      <a:pt x="181" y="65"/>
                    </a:cubicBezTo>
                    <a:cubicBezTo>
                      <a:pt x="159" y="81"/>
                      <a:pt x="128" y="89"/>
                      <a:pt x="106" y="105"/>
                    </a:cubicBezTo>
                    <a:cubicBezTo>
                      <a:pt x="75" y="126"/>
                      <a:pt x="0" y="232"/>
                      <a:pt x="72" y="241"/>
                    </a:cubicBezTo>
                    <a:cubicBezTo>
                      <a:pt x="98" y="197"/>
                      <a:pt x="108" y="159"/>
                      <a:pt x="148" y="125"/>
                    </a:cubicBezTo>
                    <a:cubicBezTo>
                      <a:pt x="188" y="93"/>
                      <a:pt x="252" y="83"/>
                      <a:pt x="242" y="14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7" name="Freeform 18"/>
              <p:cNvSpPr>
                <a:spLocks/>
              </p:cNvSpPr>
              <p:nvPr/>
            </p:nvSpPr>
            <p:spPr bwMode="gray">
              <a:xfrm>
                <a:off x="2711450" y="2471738"/>
                <a:ext cx="131763" cy="925513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38" y="0"/>
                  </a:cxn>
                  <a:cxn ang="0">
                    <a:pos x="46" y="11"/>
                  </a:cxn>
                  <a:cxn ang="0">
                    <a:pos x="36" y="27"/>
                  </a:cxn>
                  <a:cxn ang="0">
                    <a:pos x="52" y="358"/>
                  </a:cxn>
                  <a:cxn ang="0">
                    <a:pos x="29" y="368"/>
                  </a:cxn>
                  <a:cxn ang="0">
                    <a:pos x="3" y="351"/>
                  </a:cxn>
                  <a:cxn ang="0">
                    <a:pos x="16" y="28"/>
                  </a:cxn>
                  <a:cxn ang="0">
                    <a:pos x="7" y="15"/>
                  </a:cxn>
                  <a:cxn ang="0">
                    <a:pos x="17" y="1"/>
                  </a:cxn>
                </a:cxnLst>
                <a:rect l="0" t="0" r="r" b="b"/>
                <a:pathLst>
                  <a:path w="52" h="368">
                    <a:moveTo>
                      <a:pt x="17" y="1"/>
                    </a:moveTo>
                    <a:cubicBezTo>
                      <a:pt x="17" y="1"/>
                      <a:pt x="33" y="2"/>
                      <a:pt x="38" y="0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4" y="24"/>
                      <a:pt x="36" y="27"/>
                    </a:cubicBezTo>
                    <a:cubicBezTo>
                      <a:pt x="36" y="27"/>
                      <a:pt x="48" y="65"/>
                      <a:pt x="52" y="358"/>
                    </a:cubicBezTo>
                    <a:cubicBezTo>
                      <a:pt x="29" y="368"/>
                      <a:pt x="29" y="368"/>
                      <a:pt x="29" y="368"/>
                    </a:cubicBezTo>
                    <a:cubicBezTo>
                      <a:pt x="3" y="351"/>
                      <a:pt x="3" y="351"/>
                      <a:pt x="3" y="351"/>
                    </a:cubicBezTo>
                    <a:cubicBezTo>
                      <a:pt x="3" y="351"/>
                      <a:pt x="0" y="112"/>
                      <a:pt x="16" y="28"/>
                    </a:cubicBezTo>
                    <a:cubicBezTo>
                      <a:pt x="16" y="28"/>
                      <a:pt x="9" y="22"/>
                      <a:pt x="7" y="15"/>
                    </a:cubicBezTo>
                    <a:cubicBezTo>
                      <a:pt x="17" y="1"/>
                      <a:pt x="17" y="1"/>
                      <a:pt x="17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38" name="Freeform 141"/>
              <p:cNvSpPr>
                <a:spLocks/>
              </p:cNvSpPr>
              <p:nvPr/>
            </p:nvSpPr>
            <p:spPr bwMode="gray">
              <a:xfrm>
                <a:off x="2752028" y="2530902"/>
                <a:ext cx="53828" cy="21975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113" y="0"/>
                  </a:cxn>
                  <a:cxn ang="0">
                    <a:pos x="92" y="32"/>
                  </a:cxn>
                  <a:cxn ang="0">
                    <a:pos x="56" y="45"/>
                  </a:cxn>
                  <a:cxn ang="0">
                    <a:pos x="42" y="40"/>
                  </a:cxn>
                  <a:cxn ang="0">
                    <a:pos x="20" y="37"/>
                  </a:cxn>
                  <a:cxn ang="0">
                    <a:pos x="0" y="12"/>
                  </a:cxn>
                </a:cxnLst>
                <a:rect l="0" t="0" r="r" b="b"/>
                <a:pathLst>
                  <a:path w="113" h="46">
                    <a:moveTo>
                      <a:pt x="5" y="13"/>
                    </a:moveTo>
                    <a:cubicBezTo>
                      <a:pt x="41" y="29"/>
                      <a:pt x="80" y="18"/>
                      <a:pt x="113" y="0"/>
                    </a:cubicBezTo>
                    <a:cubicBezTo>
                      <a:pt x="107" y="10"/>
                      <a:pt x="102" y="26"/>
                      <a:pt x="92" y="32"/>
                    </a:cubicBezTo>
                    <a:cubicBezTo>
                      <a:pt x="84" y="37"/>
                      <a:pt x="66" y="46"/>
                      <a:pt x="56" y="45"/>
                    </a:cubicBezTo>
                    <a:cubicBezTo>
                      <a:pt x="50" y="45"/>
                      <a:pt x="47" y="42"/>
                      <a:pt x="42" y="40"/>
                    </a:cubicBezTo>
                    <a:cubicBezTo>
                      <a:pt x="35" y="38"/>
                      <a:pt x="27" y="39"/>
                      <a:pt x="20" y="37"/>
                    </a:cubicBezTo>
                    <a:cubicBezTo>
                      <a:pt x="11" y="34"/>
                      <a:pt x="3" y="21"/>
                      <a:pt x="0" y="12"/>
                    </a:cubicBez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grpSp>
            <p:nvGrpSpPr>
              <p:cNvPr id="8" name="Gruppieren 272"/>
              <p:cNvGrpSpPr/>
              <p:nvPr/>
            </p:nvGrpSpPr>
            <p:grpSpPr bwMode="gray">
              <a:xfrm>
                <a:off x="2720348" y="3055144"/>
                <a:ext cx="123560" cy="354673"/>
                <a:chOff x="2717966" y="2949174"/>
                <a:chExt cx="162137" cy="465405"/>
              </a:xfrm>
            </p:grpSpPr>
            <p:sp>
              <p:nvSpPr>
                <p:cNvPr id="155" name="Freeform 192"/>
                <p:cNvSpPr>
                  <a:spLocks/>
                </p:cNvSpPr>
                <p:nvPr/>
              </p:nvSpPr>
              <p:spPr bwMode="gray">
                <a:xfrm>
                  <a:off x="2717966" y="3158651"/>
                  <a:ext cx="162137" cy="255928"/>
                </a:xfrm>
                <a:custGeom>
                  <a:avLst/>
                  <a:gdLst/>
                  <a:ahLst/>
                  <a:cxnLst>
                    <a:cxn ang="0">
                      <a:pos x="40" y="283"/>
                    </a:cxn>
                    <a:cxn ang="0">
                      <a:pos x="85" y="296"/>
                    </a:cxn>
                    <a:cxn ang="0">
                      <a:pos x="209" y="214"/>
                    </a:cxn>
                    <a:cxn ang="0">
                      <a:pos x="213" y="0"/>
                    </a:cxn>
                    <a:cxn ang="0">
                      <a:pos x="229" y="156"/>
                    </a:cxn>
                    <a:cxn ang="0">
                      <a:pos x="229" y="244"/>
                    </a:cxn>
                    <a:cxn ang="0">
                      <a:pos x="187" y="300"/>
                    </a:cxn>
                    <a:cxn ang="0">
                      <a:pos x="75" y="333"/>
                    </a:cxn>
                    <a:cxn ang="0">
                      <a:pos x="0" y="245"/>
                    </a:cxn>
                    <a:cxn ang="0">
                      <a:pos x="43" y="289"/>
                    </a:cxn>
                  </a:cxnLst>
                  <a:rect l="0" t="0" r="r" b="b"/>
                  <a:pathLst>
                    <a:path w="232" h="366">
                      <a:moveTo>
                        <a:pt x="40" y="283"/>
                      </a:moveTo>
                      <a:cubicBezTo>
                        <a:pt x="55" y="286"/>
                        <a:pt x="69" y="293"/>
                        <a:pt x="85" y="296"/>
                      </a:cubicBezTo>
                      <a:cubicBezTo>
                        <a:pt x="128" y="362"/>
                        <a:pt x="202" y="258"/>
                        <a:pt x="209" y="214"/>
                      </a:cubicBezTo>
                      <a:cubicBezTo>
                        <a:pt x="221" y="144"/>
                        <a:pt x="223" y="70"/>
                        <a:pt x="213" y="0"/>
                      </a:cubicBezTo>
                      <a:cubicBezTo>
                        <a:pt x="213" y="56"/>
                        <a:pt x="229" y="99"/>
                        <a:pt x="229" y="156"/>
                      </a:cubicBezTo>
                      <a:cubicBezTo>
                        <a:pt x="229" y="184"/>
                        <a:pt x="232" y="215"/>
                        <a:pt x="229" y="244"/>
                      </a:cubicBezTo>
                      <a:cubicBezTo>
                        <a:pt x="226" y="279"/>
                        <a:pt x="214" y="284"/>
                        <a:pt x="187" y="300"/>
                      </a:cubicBezTo>
                      <a:cubicBezTo>
                        <a:pt x="144" y="326"/>
                        <a:pt x="123" y="366"/>
                        <a:pt x="75" y="333"/>
                      </a:cubicBezTo>
                      <a:cubicBezTo>
                        <a:pt x="53" y="317"/>
                        <a:pt x="1" y="270"/>
                        <a:pt x="0" y="245"/>
                      </a:cubicBezTo>
                      <a:cubicBezTo>
                        <a:pt x="12" y="262"/>
                        <a:pt x="35" y="272"/>
                        <a:pt x="43" y="289"/>
                      </a:cubicBezTo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6" name="Freeform 199"/>
                <p:cNvSpPr>
                  <a:spLocks/>
                </p:cNvSpPr>
                <p:nvPr/>
              </p:nvSpPr>
              <p:spPr bwMode="gray">
                <a:xfrm>
                  <a:off x="2750808" y="2949174"/>
                  <a:ext cx="109768" cy="310072"/>
                </a:xfrm>
                <a:custGeom>
                  <a:avLst/>
                  <a:gdLst/>
                  <a:ahLst/>
                  <a:cxnLst>
                    <a:cxn ang="0">
                      <a:pos x="126" y="272"/>
                    </a:cxn>
                    <a:cxn ang="0">
                      <a:pos x="40" y="423"/>
                    </a:cxn>
                    <a:cxn ang="0">
                      <a:pos x="50" y="415"/>
                    </a:cxn>
                    <a:cxn ang="0">
                      <a:pos x="8" y="444"/>
                    </a:cxn>
                    <a:cxn ang="0">
                      <a:pos x="44" y="384"/>
                    </a:cxn>
                    <a:cxn ang="0">
                      <a:pos x="87" y="251"/>
                    </a:cxn>
                    <a:cxn ang="0">
                      <a:pos x="114" y="158"/>
                    </a:cxn>
                    <a:cxn ang="0">
                      <a:pos x="127" y="64"/>
                    </a:cxn>
                    <a:cxn ang="0">
                      <a:pos x="138" y="0"/>
                    </a:cxn>
                    <a:cxn ang="0">
                      <a:pos x="126" y="272"/>
                    </a:cxn>
                  </a:cxnLst>
                  <a:rect l="0" t="0" r="r" b="b"/>
                  <a:pathLst>
                    <a:path w="157" h="444">
                      <a:moveTo>
                        <a:pt x="126" y="272"/>
                      </a:moveTo>
                      <a:cubicBezTo>
                        <a:pt x="109" y="320"/>
                        <a:pt x="78" y="388"/>
                        <a:pt x="40" y="423"/>
                      </a:cubicBezTo>
                      <a:cubicBezTo>
                        <a:pt x="44" y="419"/>
                        <a:pt x="47" y="417"/>
                        <a:pt x="50" y="415"/>
                      </a:cubicBezTo>
                      <a:cubicBezTo>
                        <a:pt x="43" y="431"/>
                        <a:pt x="25" y="442"/>
                        <a:pt x="8" y="444"/>
                      </a:cubicBezTo>
                      <a:cubicBezTo>
                        <a:pt x="0" y="412"/>
                        <a:pt x="26" y="402"/>
                        <a:pt x="44" y="384"/>
                      </a:cubicBezTo>
                      <a:cubicBezTo>
                        <a:pt x="80" y="348"/>
                        <a:pt x="83" y="304"/>
                        <a:pt x="87" y="251"/>
                      </a:cubicBezTo>
                      <a:cubicBezTo>
                        <a:pt x="90" y="213"/>
                        <a:pt x="103" y="192"/>
                        <a:pt x="114" y="158"/>
                      </a:cubicBezTo>
                      <a:cubicBezTo>
                        <a:pt x="124" y="128"/>
                        <a:pt x="120" y="95"/>
                        <a:pt x="127" y="64"/>
                      </a:cubicBezTo>
                      <a:cubicBezTo>
                        <a:pt x="131" y="41"/>
                        <a:pt x="139" y="24"/>
                        <a:pt x="138" y="0"/>
                      </a:cubicBezTo>
                      <a:cubicBezTo>
                        <a:pt x="138" y="88"/>
                        <a:pt x="157" y="187"/>
                        <a:pt x="126" y="272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sp>
            <p:nvSpPr>
              <p:cNvPr id="140" name="Freeform 445"/>
              <p:cNvSpPr>
                <a:spLocks/>
              </p:cNvSpPr>
              <p:nvPr/>
            </p:nvSpPr>
            <p:spPr bwMode="gray">
              <a:xfrm rot="152818">
                <a:off x="2890753" y="2585512"/>
                <a:ext cx="139416" cy="839008"/>
              </a:xfrm>
              <a:custGeom>
                <a:avLst/>
                <a:gdLst/>
                <a:ahLst/>
                <a:cxnLst>
                  <a:cxn ang="0">
                    <a:pos x="182" y="6"/>
                  </a:cxn>
                  <a:cxn ang="0">
                    <a:pos x="153" y="153"/>
                  </a:cxn>
                  <a:cxn ang="0">
                    <a:pos x="113" y="319"/>
                  </a:cxn>
                  <a:cxn ang="0">
                    <a:pos x="12" y="625"/>
                  </a:cxn>
                  <a:cxn ang="0">
                    <a:pos x="13" y="772"/>
                  </a:cxn>
                  <a:cxn ang="0">
                    <a:pos x="61" y="907"/>
                  </a:cxn>
                  <a:cxn ang="0">
                    <a:pos x="159" y="1190"/>
                  </a:cxn>
                  <a:cxn ang="0">
                    <a:pos x="172" y="1414"/>
                  </a:cxn>
                  <a:cxn ang="0">
                    <a:pos x="221" y="1268"/>
                  </a:cxn>
                  <a:cxn ang="0">
                    <a:pos x="215" y="1104"/>
                  </a:cxn>
                  <a:cxn ang="0">
                    <a:pos x="186" y="1037"/>
                  </a:cxn>
                  <a:cxn ang="0">
                    <a:pos x="171" y="962"/>
                  </a:cxn>
                  <a:cxn ang="0">
                    <a:pos x="109" y="812"/>
                  </a:cxn>
                  <a:cxn ang="0">
                    <a:pos x="58" y="678"/>
                  </a:cxn>
                  <a:cxn ang="0">
                    <a:pos x="74" y="514"/>
                  </a:cxn>
                  <a:cxn ang="0">
                    <a:pos x="140" y="392"/>
                  </a:cxn>
                  <a:cxn ang="0">
                    <a:pos x="182" y="231"/>
                  </a:cxn>
                  <a:cxn ang="0">
                    <a:pos x="179" y="0"/>
                  </a:cxn>
                </a:cxnLst>
                <a:rect l="0" t="0" r="r" b="b"/>
                <a:pathLst>
                  <a:path w="235" h="1414">
                    <a:moveTo>
                      <a:pt x="182" y="6"/>
                    </a:moveTo>
                    <a:cubicBezTo>
                      <a:pt x="187" y="55"/>
                      <a:pt x="160" y="106"/>
                      <a:pt x="153" y="153"/>
                    </a:cubicBezTo>
                    <a:cubicBezTo>
                      <a:pt x="143" y="209"/>
                      <a:pt x="124" y="263"/>
                      <a:pt x="113" y="319"/>
                    </a:cubicBezTo>
                    <a:cubicBezTo>
                      <a:pt x="94" y="425"/>
                      <a:pt x="35" y="523"/>
                      <a:pt x="12" y="625"/>
                    </a:cubicBezTo>
                    <a:cubicBezTo>
                      <a:pt x="0" y="678"/>
                      <a:pt x="0" y="720"/>
                      <a:pt x="13" y="772"/>
                    </a:cubicBezTo>
                    <a:cubicBezTo>
                      <a:pt x="24" y="821"/>
                      <a:pt x="44" y="860"/>
                      <a:pt x="61" y="907"/>
                    </a:cubicBezTo>
                    <a:cubicBezTo>
                      <a:pt x="92" y="1001"/>
                      <a:pt x="129" y="1095"/>
                      <a:pt x="159" y="1190"/>
                    </a:cubicBezTo>
                    <a:cubicBezTo>
                      <a:pt x="180" y="1256"/>
                      <a:pt x="174" y="1340"/>
                      <a:pt x="172" y="1414"/>
                    </a:cubicBezTo>
                    <a:cubicBezTo>
                      <a:pt x="227" y="1400"/>
                      <a:pt x="221" y="1312"/>
                      <a:pt x="221" y="1268"/>
                    </a:cubicBezTo>
                    <a:cubicBezTo>
                      <a:pt x="221" y="1215"/>
                      <a:pt x="235" y="1154"/>
                      <a:pt x="215" y="1104"/>
                    </a:cubicBezTo>
                    <a:cubicBezTo>
                      <a:pt x="207" y="1083"/>
                      <a:pt x="193" y="1060"/>
                      <a:pt x="186" y="1037"/>
                    </a:cubicBezTo>
                    <a:cubicBezTo>
                      <a:pt x="178" y="1012"/>
                      <a:pt x="179" y="986"/>
                      <a:pt x="171" y="962"/>
                    </a:cubicBezTo>
                    <a:cubicBezTo>
                      <a:pt x="154" y="910"/>
                      <a:pt x="129" y="862"/>
                      <a:pt x="109" y="812"/>
                    </a:cubicBezTo>
                    <a:cubicBezTo>
                      <a:pt x="92" y="767"/>
                      <a:pt x="67" y="724"/>
                      <a:pt x="58" y="678"/>
                    </a:cubicBezTo>
                    <a:cubicBezTo>
                      <a:pt x="47" y="622"/>
                      <a:pt x="65" y="567"/>
                      <a:pt x="74" y="514"/>
                    </a:cubicBezTo>
                    <a:cubicBezTo>
                      <a:pt x="82" y="461"/>
                      <a:pt x="109" y="435"/>
                      <a:pt x="140" y="392"/>
                    </a:cubicBezTo>
                    <a:cubicBezTo>
                      <a:pt x="173" y="346"/>
                      <a:pt x="182" y="291"/>
                      <a:pt x="182" y="231"/>
                    </a:cubicBezTo>
                    <a:cubicBezTo>
                      <a:pt x="182" y="161"/>
                      <a:pt x="203" y="66"/>
                      <a:pt x="179" y="0"/>
                    </a:cubicBezTo>
                  </a:path>
                </a:pathLst>
              </a:custGeom>
              <a:solidFill>
                <a:srgbClr val="3030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1" name="Freeform 446"/>
              <p:cNvSpPr>
                <a:spLocks/>
              </p:cNvSpPr>
              <p:nvPr/>
            </p:nvSpPr>
            <p:spPr bwMode="gray">
              <a:xfrm rot="152818">
                <a:off x="2957308" y="2477697"/>
                <a:ext cx="70587" cy="95707"/>
              </a:xfrm>
              <a:custGeom>
                <a:avLst/>
                <a:gdLst/>
                <a:ahLst/>
                <a:cxnLst>
                  <a:cxn ang="0">
                    <a:pos x="2" y="150"/>
                  </a:cxn>
                  <a:cxn ang="0">
                    <a:pos x="74" y="85"/>
                  </a:cxn>
                  <a:cxn ang="0">
                    <a:pos x="0" y="0"/>
                  </a:cxn>
                  <a:cxn ang="0">
                    <a:pos x="58" y="46"/>
                  </a:cxn>
                  <a:cxn ang="0">
                    <a:pos x="119" y="97"/>
                  </a:cxn>
                  <a:cxn ang="0">
                    <a:pos x="5" y="156"/>
                  </a:cxn>
                </a:cxnLst>
                <a:rect l="0" t="0" r="r" b="b"/>
                <a:pathLst>
                  <a:path w="119" h="161">
                    <a:moveTo>
                      <a:pt x="2" y="150"/>
                    </a:moveTo>
                    <a:cubicBezTo>
                      <a:pt x="25" y="129"/>
                      <a:pt x="51" y="107"/>
                      <a:pt x="74" y="85"/>
                    </a:cubicBezTo>
                    <a:cubicBezTo>
                      <a:pt x="44" y="60"/>
                      <a:pt x="26" y="28"/>
                      <a:pt x="0" y="0"/>
                    </a:cubicBezTo>
                    <a:cubicBezTo>
                      <a:pt x="23" y="7"/>
                      <a:pt x="42" y="29"/>
                      <a:pt x="58" y="46"/>
                    </a:cubicBezTo>
                    <a:cubicBezTo>
                      <a:pt x="77" y="65"/>
                      <a:pt x="99" y="78"/>
                      <a:pt x="119" y="97"/>
                    </a:cubicBezTo>
                    <a:cubicBezTo>
                      <a:pt x="84" y="117"/>
                      <a:pt x="50" y="161"/>
                      <a:pt x="5" y="156"/>
                    </a:cubicBezTo>
                  </a:path>
                </a:pathLst>
              </a:custGeom>
              <a:solidFill>
                <a:srgbClr val="3030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2" name="Freeform 455"/>
              <p:cNvSpPr>
                <a:spLocks/>
              </p:cNvSpPr>
              <p:nvPr/>
            </p:nvSpPr>
            <p:spPr bwMode="gray">
              <a:xfrm rot="152818">
                <a:off x="2530719" y="2464355"/>
                <a:ext cx="142933" cy="545356"/>
              </a:xfrm>
              <a:custGeom>
                <a:avLst/>
                <a:gdLst/>
                <a:ahLst/>
                <a:cxnLst>
                  <a:cxn ang="0">
                    <a:pos x="113" y="15"/>
                  </a:cxn>
                  <a:cxn ang="0">
                    <a:pos x="54" y="101"/>
                  </a:cxn>
                  <a:cxn ang="0">
                    <a:pos x="94" y="129"/>
                  </a:cxn>
                  <a:cxn ang="0">
                    <a:pos x="129" y="171"/>
                  </a:cxn>
                  <a:cxn ang="0">
                    <a:pos x="22" y="186"/>
                  </a:cxn>
                  <a:cxn ang="0">
                    <a:pos x="54" y="374"/>
                  </a:cxn>
                  <a:cxn ang="0">
                    <a:pos x="106" y="540"/>
                  </a:cxn>
                  <a:cxn ang="0">
                    <a:pos x="187" y="685"/>
                  </a:cxn>
                  <a:cxn ang="0">
                    <a:pos x="236" y="831"/>
                  </a:cxn>
                  <a:cxn ang="0">
                    <a:pos x="211" y="919"/>
                  </a:cxn>
                  <a:cxn ang="0">
                    <a:pos x="193" y="763"/>
                  </a:cxn>
                  <a:cxn ang="0">
                    <a:pos x="136" y="634"/>
                  </a:cxn>
                  <a:cxn ang="0">
                    <a:pos x="41" y="355"/>
                  </a:cxn>
                  <a:cxn ang="0">
                    <a:pos x="9" y="166"/>
                  </a:cxn>
                  <a:cxn ang="0">
                    <a:pos x="106" y="175"/>
                  </a:cxn>
                  <a:cxn ang="0">
                    <a:pos x="24" y="100"/>
                  </a:cxn>
                  <a:cxn ang="0">
                    <a:pos x="112" y="0"/>
                  </a:cxn>
                  <a:cxn ang="0">
                    <a:pos x="54" y="110"/>
                  </a:cxn>
                </a:cxnLst>
                <a:rect l="0" t="0" r="r" b="b"/>
                <a:pathLst>
                  <a:path w="241" h="919">
                    <a:moveTo>
                      <a:pt x="113" y="15"/>
                    </a:moveTo>
                    <a:cubicBezTo>
                      <a:pt x="116" y="41"/>
                      <a:pt x="76" y="89"/>
                      <a:pt x="54" y="101"/>
                    </a:cubicBezTo>
                    <a:cubicBezTo>
                      <a:pt x="60" y="116"/>
                      <a:pt x="81" y="117"/>
                      <a:pt x="94" y="129"/>
                    </a:cubicBezTo>
                    <a:cubicBezTo>
                      <a:pt x="108" y="141"/>
                      <a:pt x="113" y="162"/>
                      <a:pt x="129" y="171"/>
                    </a:cubicBezTo>
                    <a:cubicBezTo>
                      <a:pt x="96" y="186"/>
                      <a:pt x="58" y="182"/>
                      <a:pt x="22" y="186"/>
                    </a:cubicBezTo>
                    <a:cubicBezTo>
                      <a:pt x="18" y="259"/>
                      <a:pt x="37" y="306"/>
                      <a:pt x="54" y="374"/>
                    </a:cubicBezTo>
                    <a:cubicBezTo>
                      <a:pt x="68" y="431"/>
                      <a:pt x="81" y="488"/>
                      <a:pt x="106" y="540"/>
                    </a:cubicBezTo>
                    <a:cubicBezTo>
                      <a:pt x="130" y="590"/>
                      <a:pt x="166" y="632"/>
                      <a:pt x="187" y="685"/>
                    </a:cubicBezTo>
                    <a:cubicBezTo>
                      <a:pt x="205" y="732"/>
                      <a:pt x="228" y="780"/>
                      <a:pt x="236" y="831"/>
                    </a:cubicBezTo>
                    <a:cubicBezTo>
                      <a:pt x="241" y="862"/>
                      <a:pt x="237" y="899"/>
                      <a:pt x="211" y="919"/>
                    </a:cubicBezTo>
                    <a:cubicBezTo>
                      <a:pt x="207" y="860"/>
                      <a:pt x="214" y="817"/>
                      <a:pt x="193" y="763"/>
                    </a:cubicBezTo>
                    <a:cubicBezTo>
                      <a:pt x="177" y="721"/>
                      <a:pt x="155" y="678"/>
                      <a:pt x="136" y="634"/>
                    </a:cubicBezTo>
                    <a:cubicBezTo>
                      <a:pt x="98" y="543"/>
                      <a:pt x="56" y="451"/>
                      <a:pt x="41" y="355"/>
                    </a:cubicBezTo>
                    <a:cubicBezTo>
                      <a:pt x="31" y="297"/>
                      <a:pt x="0" y="226"/>
                      <a:pt x="9" y="166"/>
                    </a:cubicBezTo>
                    <a:cubicBezTo>
                      <a:pt x="42" y="164"/>
                      <a:pt x="75" y="180"/>
                      <a:pt x="106" y="175"/>
                    </a:cubicBezTo>
                    <a:cubicBezTo>
                      <a:pt x="99" y="141"/>
                      <a:pt x="25" y="130"/>
                      <a:pt x="24" y="100"/>
                    </a:cubicBezTo>
                    <a:cubicBezTo>
                      <a:pt x="24" y="77"/>
                      <a:pt x="91" y="6"/>
                      <a:pt x="112" y="0"/>
                    </a:cubicBezTo>
                    <a:cubicBezTo>
                      <a:pt x="98" y="36"/>
                      <a:pt x="69" y="74"/>
                      <a:pt x="54" y="110"/>
                    </a:cubicBezTo>
                  </a:path>
                </a:pathLst>
              </a:custGeom>
              <a:solidFill>
                <a:srgbClr val="3030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3" name="Freeform 247"/>
              <p:cNvSpPr>
                <a:spLocks/>
              </p:cNvSpPr>
              <p:nvPr/>
            </p:nvSpPr>
            <p:spPr bwMode="gray">
              <a:xfrm>
                <a:off x="2747667" y="3646505"/>
                <a:ext cx="143010" cy="362986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22" y="235"/>
                  </a:cxn>
                  <a:cxn ang="0">
                    <a:pos x="68" y="437"/>
                  </a:cxn>
                  <a:cxn ang="0">
                    <a:pos x="205" y="126"/>
                  </a:cxn>
                  <a:cxn ang="0">
                    <a:pos x="159" y="503"/>
                  </a:cxn>
                  <a:cxn ang="0">
                    <a:pos x="29" y="91"/>
                  </a:cxn>
                </a:cxnLst>
                <a:rect l="0" t="0" r="r" b="b"/>
                <a:pathLst>
                  <a:path w="233" h="591">
                    <a:moveTo>
                      <a:pt x="9" y="0"/>
                    </a:moveTo>
                    <a:cubicBezTo>
                      <a:pt x="0" y="68"/>
                      <a:pt x="15" y="163"/>
                      <a:pt x="22" y="235"/>
                    </a:cubicBezTo>
                    <a:cubicBezTo>
                      <a:pt x="26" y="285"/>
                      <a:pt x="35" y="399"/>
                      <a:pt x="68" y="437"/>
                    </a:cubicBezTo>
                    <a:cubicBezTo>
                      <a:pt x="200" y="591"/>
                      <a:pt x="192" y="172"/>
                      <a:pt x="205" y="126"/>
                    </a:cubicBezTo>
                    <a:cubicBezTo>
                      <a:pt x="233" y="194"/>
                      <a:pt x="233" y="459"/>
                      <a:pt x="159" y="503"/>
                    </a:cubicBezTo>
                    <a:cubicBezTo>
                      <a:pt x="11" y="590"/>
                      <a:pt x="29" y="149"/>
                      <a:pt x="29" y="91"/>
                    </a:cubicBezTo>
                  </a:path>
                </a:pathLst>
              </a:custGeom>
              <a:solidFill>
                <a:srgbClr val="28272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4" name="Freeform 217"/>
              <p:cNvSpPr>
                <a:spLocks/>
              </p:cNvSpPr>
              <p:nvPr/>
            </p:nvSpPr>
            <p:spPr bwMode="gray">
              <a:xfrm>
                <a:off x="2565256" y="4647565"/>
                <a:ext cx="170052" cy="333604"/>
              </a:xfrm>
              <a:custGeom>
                <a:avLst/>
                <a:gdLst/>
                <a:ahLst/>
                <a:cxnLst>
                  <a:cxn ang="0">
                    <a:pos x="226" y="42"/>
                  </a:cxn>
                  <a:cxn ang="0">
                    <a:pos x="172" y="183"/>
                  </a:cxn>
                  <a:cxn ang="0">
                    <a:pos x="135" y="306"/>
                  </a:cxn>
                  <a:cxn ang="0">
                    <a:pos x="0" y="510"/>
                  </a:cxn>
                  <a:cxn ang="0">
                    <a:pos x="101" y="433"/>
                  </a:cxn>
                  <a:cxn ang="0">
                    <a:pos x="127" y="543"/>
                  </a:cxn>
                  <a:cxn ang="0">
                    <a:pos x="211" y="281"/>
                  </a:cxn>
                  <a:cxn ang="0">
                    <a:pos x="230" y="7"/>
                  </a:cxn>
                  <a:cxn ang="0">
                    <a:pos x="227" y="52"/>
                  </a:cxn>
                </a:cxnLst>
                <a:rect l="0" t="0" r="r" b="b"/>
                <a:pathLst>
                  <a:path w="277" h="543">
                    <a:moveTo>
                      <a:pt x="226" y="42"/>
                    </a:moveTo>
                    <a:cubicBezTo>
                      <a:pt x="238" y="87"/>
                      <a:pt x="184" y="143"/>
                      <a:pt x="172" y="183"/>
                    </a:cubicBezTo>
                    <a:cubicBezTo>
                      <a:pt x="161" y="224"/>
                      <a:pt x="154" y="265"/>
                      <a:pt x="135" y="306"/>
                    </a:cubicBezTo>
                    <a:cubicBezTo>
                      <a:pt x="97" y="385"/>
                      <a:pt x="50" y="448"/>
                      <a:pt x="0" y="510"/>
                    </a:cubicBezTo>
                    <a:cubicBezTo>
                      <a:pt x="29" y="491"/>
                      <a:pt x="64" y="433"/>
                      <a:pt x="101" y="433"/>
                    </a:cubicBezTo>
                    <a:cubicBezTo>
                      <a:pt x="160" y="433"/>
                      <a:pt x="151" y="507"/>
                      <a:pt x="127" y="543"/>
                    </a:cubicBezTo>
                    <a:cubicBezTo>
                      <a:pt x="171" y="456"/>
                      <a:pt x="188" y="375"/>
                      <a:pt x="211" y="281"/>
                    </a:cubicBezTo>
                    <a:cubicBezTo>
                      <a:pt x="220" y="241"/>
                      <a:pt x="277" y="0"/>
                      <a:pt x="230" y="7"/>
                    </a:cubicBezTo>
                    <a:cubicBezTo>
                      <a:pt x="229" y="21"/>
                      <a:pt x="226" y="38"/>
                      <a:pt x="227" y="52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5" name="Freeform 248"/>
              <p:cNvSpPr>
                <a:spLocks/>
              </p:cNvSpPr>
              <p:nvPr/>
            </p:nvSpPr>
            <p:spPr bwMode="gray">
              <a:xfrm>
                <a:off x="2846118" y="3947004"/>
                <a:ext cx="132870" cy="40433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4" y="127"/>
                  </a:cxn>
                  <a:cxn ang="0">
                    <a:pos x="99" y="124"/>
                  </a:cxn>
                  <a:cxn ang="0">
                    <a:pos x="96" y="137"/>
                  </a:cxn>
                  <a:cxn ang="0">
                    <a:pos x="216" y="319"/>
                  </a:cxn>
                  <a:cxn ang="0">
                    <a:pos x="172" y="658"/>
                  </a:cxn>
                  <a:cxn ang="0">
                    <a:pos x="147" y="487"/>
                  </a:cxn>
                  <a:cxn ang="0">
                    <a:pos x="106" y="320"/>
                  </a:cxn>
                  <a:cxn ang="0">
                    <a:pos x="0" y="7"/>
                  </a:cxn>
                </a:cxnLst>
                <a:rect l="0" t="0" r="r" b="b"/>
                <a:pathLst>
                  <a:path w="216" h="658">
                    <a:moveTo>
                      <a:pt x="0" y="0"/>
                    </a:moveTo>
                    <a:cubicBezTo>
                      <a:pt x="71" y="33"/>
                      <a:pt x="110" y="61"/>
                      <a:pt x="154" y="127"/>
                    </a:cubicBezTo>
                    <a:cubicBezTo>
                      <a:pt x="137" y="122"/>
                      <a:pt x="116" y="127"/>
                      <a:pt x="99" y="124"/>
                    </a:cubicBezTo>
                    <a:cubicBezTo>
                      <a:pt x="97" y="128"/>
                      <a:pt x="96" y="132"/>
                      <a:pt x="96" y="137"/>
                    </a:cubicBezTo>
                    <a:cubicBezTo>
                      <a:pt x="144" y="156"/>
                      <a:pt x="211" y="271"/>
                      <a:pt x="216" y="319"/>
                    </a:cubicBezTo>
                    <a:cubicBezTo>
                      <a:pt x="95" y="286"/>
                      <a:pt x="180" y="610"/>
                      <a:pt x="172" y="658"/>
                    </a:cubicBezTo>
                    <a:cubicBezTo>
                      <a:pt x="147" y="626"/>
                      <a:pt x="157" y="529"/>
                      <a:pt x="147" y="487"/>
                    </a:cubicBezTo>
                    <a:cubicBezTo>
                      <a:pt x="134" y="434"/>
                      <a:pt x="116" y="376"/>
                      <a:pt x="106" y="320"/>
                    </a:cubicBezTo>
                    <a:cubicBezTo>
                      <a:pt x="85" y="212"/>
                      <a:pt x="120" y="56"/>
                      <a:pt x="0" y="7"/>
                    </a:cubicBezTo>
                  </a:path>
                </a:pathLst>
              </a:custGeom>
              <a:solidFill>
                <a:srgbClr val="28272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6" name="Freeform 193"/>
              <p:cNvSpPr>
                <a:spLocks/>
              </p:cNvSpPr>
              <p:nvPr/>
            </p:nvSpPr>
            <p:spPr bwMode="gray">
              <a:xfrm>
                <a:off x="3269733" y="5487363"/>
                <a:ext cx="115968" cy="60844"/>
              </a:xfrm>
              <a:custGeom>
                <a:avLst/>
                <a:gdLst/>
                <a:ahLst/>
                <a:cxnLst>
                  <a:cxn ang="0">
                    <a:pos x="16" y="10"/>
                  </a:cxn>
                  <a:cxn ang="0">
                    <a:pos x="49" y="27"/>
                  </a:cxn>
                  <a:cxn ang="0">
                    <a:pos x="91" y="35"/>
                  </a:cxn>
                  <a:cxn ang="0">
                    <a:pos x="173" y="51"/>
                  </a:cxn>
                  <a:cxn ang="0">
                    <a:pos x="80" y="73"/>
                  </a:cxn>
                  <a:cxn ang="0">
                    <a:pos x="0" y="17"/>
                  </a:cxn>
                  <a:cxn ang="0">
                    <a:pos x="6" y="12"/>
                  </a:cxn>
                </a:cxnLst>
                <a:rect l="0" t="0" r="r" b="b"/>
                <a:pathLst>
                  <a:path w="189" h="99">
                    <a:moveTo>
                      <a:pt x="16" y="10"/>
                    </a:moveTo>
                    <a:cubicBezTo>
                      <a:pt x="42" y="0"/>
                      <a:pt x="34" y="22"/>
                      <a:pt x="49" y="27"/>
                    </a:cubicBezTo>
                    <a:cubicBezTo>
                      <a:pt x="63" y="32"/>
                      <a:pt x="79" y="32"/>
                      <a:pt x="91" y="35"/>
                    </a:cubicBezTo>
                    <a:cubicBezTo>
                      <a:pt x="123" y="44"/>
                      <a:pt x="135" y="55"/>
                      <a:pt x="173" y="51"/>
                    </a:cubicBezTo>
                    <a:cubicBezTo>
                      <a:pt x="189" y="99"/>
                      <a:pt x="99" y="84"/>
                      <a:pt x="80" y="73"/>
                    </a:cubicBezTo>
                    <a:cubicBezTo>
                      <a:pt x="57" y="59"/>
                      <a:pt x="9" y="39"/>
                      <a:pt x="0" y="17"/>
                    </a:cubicBezTo>
                    <a:cubicBezTo>
                      <a:pt x="5" y="16"/>
                      <a:pt x="4" y="14"/>
                      <a:pt x="6" y="12"/>
                    </a:cubicBezTo>
                  </a:path>
                </a:pathLst>
              </a:custGeom>
              <a:solidFill>
                <a:srgbClr val="B3B3B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47" name="Freeform 194"/>
              <p:cNvSpPr>
                <a:spLocks/>
              </p:cNvSpPr>
              <p:nvPr/>
            </p:nvSpPr>
            <p:spPr bwMode="gray">
              <a:xfrm>
                <a:off x="3418984" y="5473322"/>
                <a:ext cx="27042" cy="39263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1" y="40"/>
                  </a:cxn>
                  <a:cxn ang="0">
                    <a:pos x="0" y="54"/>
                  </a:cxn>
                  <a:cxn ang="0">
                    <a:pos x="0" y="61"/>
                  </a:cxn>
                  <a:cxn ang="0">
                    <a:pos x="31" y="59"/>
                  </a:cxn>
                  <a:cxn ang="0">
                    <a:pos x="37" y="1"/>
                  </a:cxn>
                  <a:cxn ang="0">
                    <a:pos x="17" y="7"/>
                  </a:cxn>
                </a:cxnLst>
                <a:rect l="0" t="0" r="r" b="b"/>
                <a:pathLst>
                  <a:path w="44" h="64">
                    <a:moveTo>
                      <a:pt x="20" y="3"/>
                    </a:moveTo>
                    <a:cubicBezTo>
                      <a:pt x="23" y="16"/>
                      <a:pt x="24" y="28"/>
                      <a:pt x="21" y="40"/>
                    </a:cubicBezTo>
                    <a:cubicBezTo>
                      <a:pt x="11" y="45"/>
                      <a:pt x="10" y="51"/>
                      <a:pt x="0" y="54"/>
                    </a:cubicBezTo>
                    <a:cubicBezTo>
                      <a:pt x="0" y="56"/>
                      <a:pt x="0" y="59"/>
                      <a:pt x="0" y="61"/>
                    </a:cubicBezTo>
                    <a:cubicBezTo>
                      <a:pt x="8" y="64"/>
                      <a:pt x="22" y="63"/>
                      <a:pt x="31" y="59"/>
                    </a:cubicBezTo>
                    <a:cubicBezTo>
                      <a:pt x="37" y="39"/>
                      <a:pt x="44" y="22"/>
                      <a:pt x="37" y="1"/>
                    </a:cubicBezTo>
                    <a:cubicBezTo>
                      <a:pt x="28" y="0"/>
                      <a:pt x="22" y="3"/>
                      <a:pt x="17" y="7"/>
                    </a:cubicBezTo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grpSp>
            <p:nvGrpSpPr>
              <p:cNvPr id="9" name="Gruppieren 292"/>
              <p:cNvGrpSpPr/>
              <p:nvPr/>
            </p:nvGrpSpPr>
            <p:grpSpPr bwMode="gray">
              <a:xfrm flipH="1">
                <a:off x="2294328" y="5366616"/>
                <a:ext cx="160548" cy="143034"/>
                <a:chOff x="1213673" y="5283489"/>
                <a:chExt cx="160548" cy="143034"/>
              </a:xfrm>
            </p:grpSpPr>
            <p:sp>
              <p:nvSpPr>
                <p:cNvPr id="153" name="Freeform 76"/>
                <p:cNvSpPr>
                  <a:spLocks/>
                </p:cNvSpPr>
                <p:nvPr/>
              </p:nvSpPr>
              <p:spPr bwMode="gray">
                <a:xfrm>
                  <a:off x="1283996" y="5395740"/>
                  <a:ext cx="90225" cy="30783"/>
                </a:xfrm>
                <a:custGeom>
                  <a:avLst/>
                  <a:gdLst/>
                  <a:ahLst/>
                  <a:cxnLst>
                    <a:cxn ang="0">
                      <a:pos x="133" y="3"/>
                    </a:cxn>
                    <a:cxn ang="0">
                      <a:pos x="108" y="4"/>
                    </a:cxn>
                    <a:cxn ang="0">
                      <a:pos x="0" y="23"/>
                    </a:cxn>
                    <a:cxn ang="0">
                      <a:pos x="140" y="18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144" h="49">
                      <a:moveTo>
                        <a:pt x="133" y="3"/>
                      </a:moveTo>
                      <a:cubicBezTo>
                        <a:pt x="126" y="2"/>
                        <a:pt x="116" y="3"/>
                        <a:pt x="108" y="4"/>
                      </a:cubicBezTo>
                      <a:cubicBezTo>
                        <a:pt x="95" y="33"/>
                        <a:pt x="28" y="21"/>
                        <a:pt x="0" y="23"/>
                      </a:cubicBezTo>
                      <a:cubicBezTo>
                        <a:pt x="35" y="49"/>
                        <a:pt x="106" y="41"/>
                        <a:pt x="140" y="18"/>
                      </a:cubicBezTo>
                      <a:cubicBezTo>
                        <a:pt x="144" y="2"/>
                        <a:pt x="138" y="2"/>
                        <a:pt x="126" y="0"/>
                      </a:cubicBezTo>
                    </a:path>
                  </a:pathLst>
                </a:custGeom>
                <a:solidFill>
                  <a:srgbClr val="B3B3B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4" name="Freeform 78"/>
                <p:cNvSpPr>
                  <a:spLocks/>
                </p:cNvSpPr>
                <p:nvPr/>
              </p:nvSpPr>
              <p:spPr bwMode="gray">
                <a:xfrm>
                  <a:off x="1213673" y="5283489"/>
                  <a:ext cx="44051" cy="42724"/>
                </a:xfrm>
                <a:custGeom>
                  <a:avLst/>
                  <a:gdLst/>
                  <a:ahLst/>
                  <a:cxnLst>
                    <a:cxn ang="0">
                      <a:pos x="15" y="4"/>
                    </a:cxn>
                    <a:cxn ang="0">
                      <a:pos x="70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0" h="68">
                      <a:moveTo>
                        <a:pt x="15" y="4"/>
                      </a:moveTo>
                      <a:cubicBezTo>
                        <a:pt x="35" y="22"/>
                        <a:pt x="70" y="35"/>
                        <a:pt x="70" y="66"/>
                      </a:cubicBezTo>
                      <a:cubicBezTo>
                        <a:pt x="38" y="68"/>
                        <a:pt x="15" y="22"/>
                        <a:pt x="0" y="0"/>
                      </a:cubicBezTo>
                    </a:path>
                  </a:pathLst>
                </a:custGeom>
                <a:solidFill>
                  <a:srgbClr val="CC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sp>
            <p:nvSpPr>
              <p:cNvPr id="149" name="Freeform 59"/>
              <p:cNvSpPr>
                <a:spLocks/>
              </p:cNvSpPr>
              <p:nvPr/>
            </p:nvSpPr>
            <p:spPr bwMode="gray">
              <a:xfrm rot="19736726">
                <a:off x="2929295" y="4422542"/>
                <a:ext cx="134188" cy="217047"/>
              </a:xfrm>
              <a:custGeom>
                <a:avLst/>
                <a:gdLst/>
                <a:ahLst/>
                <a:cxnLst>
                  <a:cxn ang="0">
                    <a:pos x="0" y="501"/>
                  </a:cxn>
                  <a:cxn ang="0">
                    <a:pos x="45" y="398"/>
                  </a:cxn>
                  <a:cxn ang="0">
                    <a:pos x="99" y="304"/>
                  </a:cxn>
                  <a:cxn ang="0">
                    <a:pos x="163" y="229"/>
                  </a:cxn>
                  <a:cxn ang="0">
                    <a:pos x="208" y="144"/>
                  </a:cxn>
                  <a:cxn ang="0">
                    <a:pos x="254" y="46"/>
                  </a:cxn>
                  <a:cxn ang="0">
                    <a:pos x="302" y="94"/>
                  </a:cxn>
                  <a:cxn ang="0">
                    <a:pos x="189" y="269"/>
                  </a:cxn>
                  <a:cxn ang="0">
                    <a:pos x="5" y="501"/>
                  </a:cxn>
                </a:cxnLst>
                <a:rect l="0" t="0" r="r" b="b"/>
                <a:pathLst>
                  <a:path w="310" h="501">
                    <a:moveTo>
                      <a:pt x="0" y="501"/>
                    </a:moveTo>
                    <a:cubicBezTo>
                      <a:pt x="44" y="466"/>
                      <a:pt x="32" y="446"/>
                      <a:pt x="45" y="398"/>
                    </a:cubicBezTo>
                    <a:cubicBezTo>
                      <a:pt x="53" y="368"/>
                      <a:pt x="81" y="328"/>
                      <a:pt x="99" y="304"/>
                    </a:cubicBezTo>
                    <a:cubicBezTo>
                      <a:pt x="118" y="278"/>
                      <a:pt x="142" y="254"/>
                      <a:pt x="163" y="229"/>
                    </a:cubicBezTo>
                    <a:cubicBezTo>
                      <a:pt x="187" y="201"/>
                      <a:pt x="194" y="180"/>
                      <a:pt x="208" y="144"/>
                    </a:cubicBezTo>
                    <a:cubicBezTo>
                      <a:pt x="220" y="112"/>
                      <a:pt x="231" y="71"/>
                      <a:pt x="254" y="46"/>
                    </a:cubicBezTo>
                    <a:cubicBezTo>
                      <a:pt x="295" y="0"/>
                      <a:pt x="310" y="43"/>
                      <a:pt x="302" y="94"/>
                    </a:cubicBezTo>
                    <a:cubicBezTo>
                      <a:pt x="292" y="166"/>
                      <a:pt x="244" y="224"/>
                      <a:pt x="189" y="269"/>
                    </a:cubicBezTo>
                    <a:cubicBezTo>
                      <a:pt x="107" y="336"/>
                      <a:pt x="99" y="445"/>
                      <a:pt x="5" y="501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50" name="Freeform 60"/>
              <p:cNvSpPr>
                <a:spLocks/>
              </p:cNvSpPr>
              <p:nvPr/>
            </p:nvSpPr>
            <p:spPr bwMode="gray">
              <a:xfrm rot="19536040">
                <a:off x="3231034" y="4917180"/>
                <a:ext cx="175801" cy="307056"/>
              </a:xfrm>
              <a:custGeom>
                <a:avLst/>
                <a:gdLst/>
                <a:ahLst/>
                <a:cxnLst>
                  <a:cxn ang="0">
                    <a:pos x="183" y="273"/>
                  </a:cxn>
                  <a:cxn ang="0">
                    <a:pos x="287" y="144"/>
                  </a:cxn>
                  <a:cxn ang="0">
                    <a:pos x="372" y="0"/>
                  </a:cxn>
                  <a:cxn ang="0">
                    <a:pos x="333" y="194"/>
                  </a:cxn>
                  <a:cxn ang="0">
                    <a:pos x="254" y="399"/>
                  </a:cxn>
                  <a:cxn ang="0">
                    <a:pos x="139" y="581"/>
                  </a:cxn>
                  <a:cxn ang="0">
                    <a:pos x="0" y="709"/>
                  </a:cxn>
                  <a:cxn ang="0">
                    <a:pos x="150" y="506"/>
                  </a:cxn>
                  <a:cxn ang="0">
                    <a:pos x="183" y="273"/>
                  </a:cxn>
                </a:cxnLst>
                <a:rect l="0" t="0" r="r" b="b"/>
                <a:pathLst>
                  <a:path w="406" h="709">
                    <a:moveTo>
                      <a:pt x="183" y="273"/>
                    </a:moveTo>
                    <a:cubicBezTo>
                      <a:pt x="212" y="228"/>
                      <a:pt x="261" y="193"/>
                      <a:pt x="287" y="144"/>
                    </a:cubicBezTo>
                    <a:cubicBezTo>
                      <a:pt x="314" y="95"/>
                      <a:pt x="328" y="39"/>
                      <a:pt x="372" y="0"/>
                    </a:cubicBezTo>
                    <a:cubicBezTo>
                      <a:pt x="406" y="34"/>
                      <a:pt x="347" y="155"/>
                      <a:pt x="333" y="194"/>
                    </a:cubicBezTo>
                    <a:cubicBezTo>
                      <a:pt x="310" y="260"/>
                      <a:pt x="289" y="336"/>
                      <a:pt x="254" y="399"/>
                    </a:cubicBezTo>
                    <a:cubicBezTo>
                      <a:pt x="218" y="462"/>
                      <a:pt x="173" y="515"/>
                      <a:pt x="139" y="581"/>
                    </a:cubicBezTo>
                    <a:cubicBezTo>
                      <a:pt x="107" y="643"/>
                      <a:pt x="56" y="674"/>
                      <a:pt x="0" y="709"/>
                    </a:cubicBezTo>
                    <a:cubicBezTo>
                      <a:pt x="43" y="636"/>
                      <a:pt x="120" y="585"/>
                      <a:pt x="150" y="506"/>
                    </a:cubicBezTo>
                    <a:cubicBezTo>
                      <a:pt x="176" y="437"/>
                      <a:pt x="241" y="331"/>
                      <a:pt x="183" y="273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51" name="Freeform 73"/>
              <p:cNvSpPr>
                <a:spLocks/>
              </p:cNvSpPr>
              <p:nvPr/>
            </p:nvSpPr>
            <p:spPr bwMode="gray">
              <a:xfrm rot="20602079">
                <a:off x="2380497" y="3661828"/>
                <a:ext cx="199608" cy="162908"/>
              </a:xfrm>
              <a:custGeom>
                <a:avLst/>
                <a:gdLst/>
                <a:ahLst/>
                <a:cxnLst>
                  <a:cxn ang="0">
                    <a:pos x="95" y="5"/>
                  </a:cxn>
                  <a:cxn ang="0">
                    <a:pos x="199" y="53"/>
                  </a:cxn>
                  <a:cxn ang="0">
                    <a:pos x="320" y="102"/>
                  </a:cxn>
                  <a:cxn ang="0">
                    <a:pos x="221" y="101"/>
                  </a:cxn>
                  <a:cxn ang="0">
                    <a:pos x="140" y="69"/>
                  </a:cxn>
                  <a:cxn ang="0">
                    <a:pos x="158" y="105"/>
                  </a:cxn>
                  <a:cxn ang="0">
                    <a:pos x="107" y="102"/>
                  </a:cxn>
                  <a:cxn ang="0">
                    <a:pos x="88" y="128"/>
                  </a:cxn>
                  <a:cxn ang="0">
                    <a:pos x="64" y="143"/>
                  </a:cxn>
                  <a:cxn ang="0">
                    <a:pos x="49" y="261"/>
                  </a:cxn>
                  <a:cxn ang="0">
                    <a:pos x="2" y="191"/>
                  </a:cxn>
                  <a:cxn ang="0">
                    <a:pos x="38" y="134"/>
                  </a:cxn>
                  <a:cxn ang="0">
                    <a:pos x="72" y="71"/>
                  </a:cxn>
                  <a:cxn ang="0">
                    <a:pos x="91" y="9"/>
                  </a:cxn>
                </a:cxnLst>
                <a:rect l="0" t="0" r="r" b="b"/>
                <a:pathLst>
                  <a:path w="320" h="261">
                    <a:moveTo>
                      <a:pt x="95" y="5"/>
                    </a:moveTo>
                    <a:cubicBezTo>
                      <a:pt x="137" y="0"/>
                      <a:pt x="167" y="33"/>
                      <a:pt x="199" y="53"/>
                    </a:cubicBezTo>
                    <a:cubicBezTo>
                      <a:pt x="235" y="76"/>
                      <a:pt x="288" y="77"/>
                      <a:pt x="320" y="102"/>
                    </a:cubicBezTo>
                    <a:cubicBezTo>
                      <a:pt x="288" y="103"/>
                      <a:pt x="254" y="111"/>
                      <a:pt x="221" y="101"/>
                    </a:cubicBezTo>
                    <a:cubicBezTo>
                      <a:pt x="192" y="91"/>
                      <a:pt x="172" y="69"/>
                      <a:pt x="140" y="69"/>
                    </a:cubicBezTo>
                    <a:cubicBezTo>
                      <a:pt x="144" y="82"/>
                      <a:pt x="153" y="93"/>
                      <a:pt x="158" y="105"/>
                    </a:cubicBezTo>
                    <a:cubicBezTo>
                      <a:pt x="138" y="106"/>
                      <a:pt x="124" y="95"/>
                      <a:pt x="107" y="102"/>
                    </a:cubicBezTo>
                    <a:cubicBezTo>
                      <a:pt x="111" y="100"/>
                      <a:pt x="89" y="127"/>
                      <a:pt x="88" y="128"/>
                    </a:cubicBezTo>
                    <a:cubicBezTo>
                      <a:pt x="80" y="136"/>
                      <a:pt x="72" y="133"/>
                      <a:pt x="64" y="143"/>
                    </a:cubicBezTo>
                    <a:cubicBezTo>
                      <a:pt x="43" y="168"/>
                      <a:pt x="36" y="229"/>
                      <a:pt x="49" y="261"/>
                    </a:cubicBezTo>
                    <a:cubicBezTo>
                      <a:pt x="27" y="247"/>
                      <a:pt x="0" y="219"/>
                      <a:pt x="2" y="191"/>
                    </a:cubicBezTo>
                    <a:cubicBezTo>
                      <a:pt x="3" y="164"/>
                      <a:pt x="25" y="154"/>
                      <a:pt x="38" y="134"/>
                    </a:cubicBezTo>
                    <a:cubicBezTo>
                      <a:pt x="49" y="119"/>
                      <a:pt x="68" y="88"/>
                      <a:pt x="72" y="71"/>
                    </a:cubicBezTo>
                    <a:cubicBezTo>
                      <a:pt x="78" y="51"/>
                      <a:pt x="61" y="12"/>
                      <a:pt x="91" y="9"/>
                    </a:cubicBezTo>
                  </a:path>
                </a:pathLst>
              </a:custGeom>
              <a:solidFill>
                <a:srgbClr val="3030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52" name="Freeform 73"/>
              <p:cNvSpPr>
                <a:spLocks/>
              </p:cNvSpPr>
              <p:nvPr/>
            </p:nvSpPr>
            <p:spPr bwMode="gray">
              <a:xfrm rot="2785026">
                <a:off x="3072647" y="3649127"/>
                <a:ext cx="199608" cy="162908"/>
              </a:xfrm>
              <a:custGeom>
                <a:avLst/>
                <a:gdLst/>
                <a:ahLst/>
                <a:cxnLst>
                  <a:cxn ang="0">
                    <a:pos x="95" y="5"/>
                  </a:cxn>
                  <a:cxn ang="0">
                    <a:pos x="199" y="53"/>
                  </a:cxn>
                  <a:cxn ang="0">
                    <a:pos x="320" y="102"/>
                  </a:cxn>
                  <a:cxn ang="0">
                    <a:pos x="221" y="101"/>
                  </a:cxn>
                  <a:cxn ang="0">
                    <a:pos x="140" y="69"/>
                  </a:cxn>
                  <a:cxn ang="0">
                    <a:pos x="158" y="105"/>
                  </a:cxn>
                  <a:cxn ang="0">
                    <a:pos x="107" y="102"/>
                  </a:cxn>
                  <a:cxn ang="0">
                    <a:pos x="88" y="128"/>
                  </a:cxn>
                  <a:cxn ang="0">
                    <a:pos x="64" y="143"/>
                  </a:cxn>
                  <a:cxn ang="0">
                    <a:pos x="49" y="261"/>
                  </a:cxn>
                  <a:cxn ang="0">
                    <a:pos x="2" y="191"/>
                  </a:cxn>
                  <a:cxn ang="0">
                    <a:pos x="38" y="134"/>
                  </a:cxn>
                  <a:cxn ang="0">
                    <a:pos x="72" y="71"/>
                  </a:cxn>
                  <a:cxn ang="0">
                    <a:pos x="91" y="9"/>
                  </a:cxn>
                </a:cxnLst>
                <a:rect l="0" t="0" r="r" b="b"/>
                <a:pathLst>
                  <a:path w="320" h="261">
                    <a:moveTo>
                      <a:pt x="95" y="5"/>
                    </a:moveTo>
                    <a:cubicBezTo>
                      <a:pt x="137" y="0"/>
                      <a:pt x="167" y="33"/>
                      <a:pt x="199" y="53"/>
                    </a:cubicBezTo>
                    <a:cubicBezTo>
                      <a:pt x="235" y="76"/>
                      <a:pt x="288" y="77"/>
                      <a:pt x="320" y="102"/>
                    </a:cubicBezTo>
                    <a:cubicBezTo>
                      <a:pt x="288" y="103"/>
                      <a:pt x="254" y="111"/>
                      <a:pt x="221" y="101"/>
                    </a:cubicBezTo>
                    <a:cubicBezTo>
                      <a:pt x="192" y="91"/>
                      <a:pt x="172" y="69"/>
                      <a:pt x="140" y="69"/>
                    </a:cubicBezTo>
                    <a:cubicBezTo>
                      <a:pt x="144" y="82"/>
                      <a:pt x="153" y="93"/>
                      <a:pt x="158" y="105"/>
                    </a:cubicBezTo>
                    <a:cubicBezTo>
                      <a:pt x="138" y="106"/>
                      <a:pt x="124" y="95"/>
                      <a:pt x="107" y="102"/>
                    </a:cubicBezTo>
                    <a:cubicBezTo>
                      <a:pt x="111" y="100"/>
                      <a:pt x="89" y="127"/>
                      <a:pt x="88" y="128"/>
                    </a:cubicBezTo>
                    <a:cubicBezTo>
                      <a:pt x="80" y="136"/>
                      <a:pt x="72" y="133"/>
                      <a:pt x="64" y="143"/>
                    </a:cubicBezTo>
                    <a:cubicBezTo>
                      <a:pt x="43" y="168"/>
                      <a:pt x="36" y="229"/>
                      <a:pt x="49" y="261"/>
                    </a:cubicBezTo>
                    <a:cubicBezTo>
                      <a:pt x="27" y="247"/>
                      <a:pt x="0" y="219"/>
                      <a:pt x="2" y="191"/>
                    </a:cubicBezTo>
                    <a:cubicBezTo>
                      <a:pt x="3" y="164"/>
                      <a:pt x="25" y="154"/>
                      <a:pt x="38" y="134"/>
                    </a:cubicBezTo>
                    <a:cubicBezTo>
                      <a:pt x="49" y="119"/>
                      <a:pt x="68" y="88"/>
                      <a:pt x="72" y="71"/>
                    </a:cubicBezTo>
                    <a:cubicBezTo>
                      <a:pt x="78" y="51"/>
                      <a:pt x="61" y="12"/>
                      <a:pt x="91" y="9"/>
                    </a:cubicBezTo>
                  </a:path>
                </a:pathLst>
              </a:custGeom>
              <a:solidFill>
                <a:srgbClr val="3030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sp>
          <p:nvSpPr>
            <p:cNvPr id="16" name="Textfeld 15"/>
            <p:cNvSpPr txBox="1"/>
            <p:nvPr/>
          </p:nvSpPr>
          <p:spPr bwMode="gray">
            <a:xfrm>
              <a:off x="3556373" y="5432981"/>
              <a:ext cx="23271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/>
                <a:t>Process of comparison</a:t>
              </a:r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1993612" y="2093396"/>
              <a:ext cx="1622612" cy="9911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>
                  <a:solidFill>
                    <a:srgbClr val="000000"/>
                  </a:solidFill>
                  <a:cs typeface="Arial" charset="0"/>
                </a:rPr>
                <a:t>Individual</a:t>
              </a:r>
              <a:br>
                <a:rPr lang="en-US" sz="1200" noProof="1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>
                  <a:solidFill>
                    <a:srgbClr val="000000"/>
                  </a:solidFill>
                  <a:cs typeface="Arial" charset="0"/>
                </a:rPr>
                <a:t>(subjective) expectation of Customer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5642075" y="2715181"/>
              <a:ext cx="1622612" cy="99118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>
                  <a:solidFill>
                    <a:srgbClr val="000000"/>
                  </a:solidFill>
                  <a:cs typeface="Arial" charset="0"/>
                </a:rPr>
                <a:t>Perceived product- / service quality</a:t>
              </a:r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1214803" y="2034988"/>
              <a:ext cx="675185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6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E6E6E6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A</a:t>
              </a:r>
              <a:endParaRPr lang="en-US" sz="66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E6E6E6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7341620" y="2656773"/>
              <a:ext cx="644728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6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E6E6E6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B</a:t>
              </a:r>
              <a:endParaRPr lang="en-US" sz="66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E6E6E6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6575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 product leads to customer satisfaction if it is capable to satisfy customer‘s requirements (Expectations-Experience)</a:t>
            </a:r>
          </a:p>
        </p:txBody>
      </p:sp>
      <p:grpSp>
        <p:nvGrpSpPr>
          <p:cNvPr id="2" name="Gruppieren 19"/>
          <p:cNvGrpSpPr/>
          <p:nvPr/>
        </p:nvGrpSpPr>
        <p:grpSpPr>
          <a:xfrm>
            <a:off x="323850" y="1990260"/>
            <a:ext cx="8574068" cy="4018654"/>
            <a:chOff x="323850" y="1990260"/>
            <a:chExt cx="8574068" cy="4018654"/>
          </a:xfrm>
        </p:grpSpPr>
        <p:sp>
          <p:nvSpPr>
            <p:cNvPr id="6148" name="AutoShape 4"/>
            <p:cNvSpPr>
              <a:spLocks/>
            </p:cNvSpPr>
            <p:nvPr/>
          </p:nvSpPr>
          <p:spPr bwMode="gray">
            <a:xfrm>
              <a:off x="2466720" y="2914869"/>
              <a:ext cx="4024800" cy="519894"/>
            </a:xfrm>
            <a:prstGeom prst="rightArrow">
              <a:avLst>
                <a:gd name="adj1" fmla="val 44896"/>
                <a:gd name="adj2" fmla="val 55388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>
                <a:tabLst>
                  <a:tab pos="656650" algn="l"/>
                  <a:tab pos="1313299" algn="l"/>
                </a:tabLst>
              </a:pP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6151" name="Text Box 7"/>
            <p:cNvSpPr txBox="1">
              <a:spLocks noChangeArrowheads="1"/>
            </p:cNvSpPr>
            <p:nvPr/>
          </p:nvSpPr>
          <p:spPr bwMode="gray">
            <a:xfrm>
              <a:off x="3735360" y="4189403"/>
              <a:ext cx="1549440" cy="313953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noProof="1" smtClean="0"/>
                <a:t>Comparison</a:t>
              </a:r>
              <a:endParaRPr lang="en-US" noProof="1"/>
            </a:p>
          </p:txBody>
        </p:sp>
        <p:sp>
          <p:nvSpPr>
            <p:cNvPr id="6152" name="Text Box 8"/>
            <p:cNvSpPr txBox="1">
              <a:spLocks noChangeArrowheads="1"/>
            </p:cNvSpPr>
            <p:nvPr/>
          </p:nvSpPr>
          <p:spPr bwMode="gray">
            <a:xfrm>
              <a:off x="2952646" y="5245034"/>
              <a:ext cx="3114868" cy="56314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 algn="ct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2000" b="1" noProof="1" smtClean="0"/>
                <a:t>Customer Satisfaction</a:t>
              </a:r>
              <a:endParaRPr lang="en-US" sz="2000" b="1" noProof="1"/>
            </a:p>
          </p:txBody>
        </p:sp>
        <p:sp>
          <p:nvSpPr>
            <p:cNvPr id="6153" name="AutoShape 9"/>
            <p:cNvSpPr>
              <a:spLocks/>
            </p:cNvSpPr>
            <p:nvPr/>
          </p:nvSpPr>
          <p:spPr bwMode="gray">
            <a:xfrm>
              <a:off x="3978672" y="4660333"/>
              <a:ext cx="1025376" cy="584701"/>
            </a:xfrm>
            <a:prstGeom prst="downArrow">
              <a:avLst>
                <a:gd name="adj1" fmla="val 50000"/>
                <a:gd name="adj2" fmla="val 5180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>
                <a:tabLst>
                  <a:tab pos="656650" algn="l"/>
                  <a:tab pos="1313299" algn="l"/>
                </a:tabLst>
              </a:pP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14" name="Text Box 8"/>
            <p:cNvSpPr txBox="1">
              <a:spLocks noChangeArrowheads="1"/>
            </p:cNvSpPr>
            <p:nvPr/>
          </p:nvSpPr>
          <p:spPr bwMode="gray">
            <a:xfrm>
              <a:off x="323850" y="1990260"/>
              <a:ext cx="2669734" cy="25655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 algn="ct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2400" b="1" noProof="1" smtClean="0"/>
                <a:t>On Purchase</a:t>
              </a:r>
              <a:endParaRPr lang="en-US" sz="2400" b="1" noProof="1"/>
            </a:p>
          </p:txBody>
        </p:sp>
        <p:sp>
          <p:nvSpPr>
            <p:cNvPr id="15" name="Text Box 8"/>
            <p:cNvSpPr txBox="1">
              <a:spLocks noChangeArrowheads="1"/>
            </p:cNvSpPr>
            <p:nvPr/>
          </p:nvSpPr>
          <p:spPr bwMode="gray">
            <a:xfrm>
              <a:off x="6228184" y="1990260"/>
              <a:ext cx="2669734" cy="25655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 algn="ct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2400" b="1" noProof="1" smtClean="0"/>
                <a:t>Usage</a:t>
              </a:r>
              <a:endParaRPr lang="en-US" sz="2400" b="1" noProof="1"/>
            </a:p>
          </p:txBody>
        </p:sp>
        <p:sp>
          <p:nvSpPr>
            <p:cNvPr id="16" name="Text Box 7"/>
            <p:cNvSpPr txBox="1">
              <a:spLocks noChangeArrowheads="1"/>
            </p:cNvSpPr>
            <p:nvPr/>
          </p:nvSpPr>
          <p:spPr bwMode="gray">
            <a:xfrm>
              <a:off x="650440" y="4660333"/>
              <a:ext cx="2177104" cy="1147845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600" noProof="1" smtClean="0"/>
                <a:t>Accord with the expectations that a customer has on the purchase of the product</a:t>
              </a:r>
              <a:endParaRPr lang="en-US" sz="1600" noProof="1"/>
            </a:p>
          </p:txBody>
        </p:sp>
        <p:sp>
          <p:nvSpPr>
            <p:cNvPr id="17" name="Text Box 7"/>
            <p:cNvSpPr txBox="1">
              <a:spLocks noChangeArrowheads="1"/>
            </p:cNvSpPr>
            <p:nvPr/>
          </p:nvSpPr>
          <p:spPr bwMode="gray">
            <a:xfrm>
              <a:off x="6516216" y="4660333"/>
              <a:ext cx="2177104" cy="134858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/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600" noProof="1" smtClean="0"/>
                <a:t>Expecrations that are made during the use of the product.</a:t>
              </a:r>
              <a:endParaRPr lang="en-US" sz="1600" noProof="1"/>
            </a:p>
          </p:txBody>
        </p:sp>
        <p:sp>
          <p:nvSpPr>
            <p:cNvPr id="6146" name="Oval 2"/>
            <p:cNvSpPr>
              <a:spLocks/>
            </p:cNvSpPr>
            <p:nvPr/>
          </p:nvSpPr>
          <p:spPr bwMode="gray">
            <a:xfrm>
              <a:off x="650440" y="2419016"/>
              <a:ext cx="2031280" cy="2031494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xpectation of the product</a:t>
              </a:r>
            </a:p>
          </p:txBody>
        </p:sp>
        <p:sp>
          <p:nvSpPr>
            <p:cNvPr id="18" name="AutoShape 5"/>
            <p:cNvSpPr>
              <a:spLocks/>
            </p:cNvSpPr>
            <p:nvPr/>
          </p:nvSpPr>
          <p:spPr bwMode="gray">
            <a:xfrm flipH="1">
              <a:off x="2681719" y="3525494"/>
              <a:ext cx="4024800" cy="519894"/>
            </a:xfrm>
            <a:prstGeom prst="rightArrow">
              <a:avLst>
                <a:gd name="adj1" fmla="val 44896"/>
                <a:gd name="adj2" fmla="val 5598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 anchor="ctr"/>
            <a:lstStyle/>
            <a:p>
              <a:pPr algn="ctr">
                <a:tabLst>
                  <a:tab pos="656650" algn="l"/>
                  <a:tab pos="1313299" algn="l"/>
                </a:tabLst>
              </a:pPr>
              <a:endParaRPr lang="en-US" b="1" noProof="1">
                <a:solidFill>
                  <a:srgbClr val="FFFFFF"/>
                </a:solidFill>
              </a:endParaRPr>
            </a:p>
          </p:txBody>
        </p:sp>
        <p:sp>
          <p:nvSpPr>
            <p:cNvPr id="6147" name="Oval 3"/>
            <p:cNvSpPr>
              <a:spLocks/>
            </p:cNvSpPr>
            <p:nvPr/>
          </p:nvSpPr>
          <p:spPr bwMode="gray">
            <a:xfrm>
              <a:off x="6501160" y="2419016"/>
              <a:ext cx="2031280" cy="2031494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xperience with the product</a:t>
              </a:r>
            </a:p>
          </p:txBody>
        </p:sp>
        <p:sp>
          <p:nvSpPr>
            <p:cNvPr id="6150" name="AutoShape 6"/>
            <p:cNvSpPr>
              <a:spLocks/>
            </p:cNvSpPr>
            <p:nvPr/>
          </p:nvSpPr>
          <p:spPr bwMode="gray">
            <a:xfrm>
              <a:off x="3735360" y="2924949"/>
              <a:ext cx="1549440" cy="1182365"/>
            </a:xfrm>
            <a:prstGeom prst="roundRect">
              <a:avLst>
                <a:gd name="adj" fmla="val 120"/>
              </a:avLst>
            </a:prstGeom>
            <a:gradFill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3500000" scaled="1"/>
            </a:gradFill>
            <a:ln w="9525">
              <a:solidFill>
                <a:srgbClr val="C0C0C0"/>
              </a:solidFill>
              <a:round/>
              <a:headEnd type="triangle" w="med" len="med"/>
              <a:tailEnd type="triangle" w="med" len="med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Product</a:t>
              </a:r>
              <a:endParaRPr lang="en-US" b="1" noProof="1">
                <a:solidFill>
                  <a:srgbClr val="000000"/>
                </a:solidFill>
              </a:endParaRPr>
            </a:p>
          </p:txBody>
        </p:sp>
      </p:grp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ustomer Satisfaction</a:t>
            </a:r>
            <a:endParaRPr lang="en-US" noProof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uppieren 32"/>
          <p:cNvGrpSpPr/>
          <p:nvPr/>
        </p:nvGrpSpPr>
        <p:grpSpPr bwMode="gray">
          <a:xfrm>
            <a:off x="0" y="4395093"/>
            <a:ext cx="9144000" cy="1163782"/>
            <a:chOff x="0" y="4534215"/>
            <a:chExt cx="9144000" cy="1163782"/>
          </a:xfrm>
        </p:grpSpPr>
        <p:sp>
          <p:nvSpPr>
            <p:cNvPr id="35" name="Rechteck 34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6" name="Rechteck 35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urchase Decision and Influencing Variables 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the factors that can influence a buying decision</a:t>
            </a:r>
            <a:endParaRPr lang="en-US" noProof="1"/>
          </a:p>
        </p:txBody>
      </p:sp>
      <p:grpSp>
        <p:nvGrpSpPr>
          <p:cNvPr id="38" name="Gruppieren 37"/>
          <p:cNvGrpSpPr/>
          <p:nvPr/>
        </p:nvGrpSpPr>
        <p:grpSpPr>
          <a:xfrm>
            <a:off x="1579893" y="1486942"/>
            <a:ext cx="5716524" cy="4376926"/>
            <a:chOff x="1579893" y="1486942"/>
            <a:chExt cx="5716524" cy="4376926"/>
          </a:xfrm>
        </p:grpSpPr>
        <p:pic>
          <p:nvPicPr>
            <p:cNvPr id="37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111328" y="4891392"/>
              <a:ext cx="2922932" cy="34070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15" name="Achteck 14"/>
            <p:cNvSpPr/>
            <p:nvPr/>
          </p:nvSpPr>
          <p:spPr bwMode="gray">
            <a:xfrm rot="1335094">
              <a:off x="3235086" y="2341324"/>
              <a:ext cx="2674620" cy="2674620"/>
            </a:xfrm>
            <a:prstGeom prst="octagon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3600000" scaled="0"/>
            </a:gra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h="101600" prst="relaxedInset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3721466" y="3138041"/>
              <a:ext cx="1725730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 noProof="1" smtClean="0">
                  <a:ln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Purchase</a:t>
              </a:r>
            </a:p>
            <a:p>
              <a:pPr algn="ctr"/>
              <a:r>
                <a:rPr lang="en-US" sz="3200" b="1" noProof="1" smtClean="0">
                  <a:ln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Decision</a:t>
              </a:r>
              <a:endParaRPr lang="en-US" sz="3200" b="1" noProof="1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3723561" y="1486942"/>
              <a:ext cx="167167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noProof="1" smtClean="0"/>
                <a:t>„Bundle“ of</a:t>
              </a:r>
              <a:br>
                <a:rPr lang="en-US" sz="1400" b="1" noProof="1" smtClean="0"/>
              </a:br>
              <a:r>
                <a:rPr lang="en-US" sz="1400" b="1" noProof="1" smtClean="0"/>
                <a:t>(Product-) functions</a:t>
              </a:r>
              <a:endParaRPr lang="en-US" sz="1400" b="1" noProof="1"/>
            </a:p>
          </p:txBody>
        </p:sp>
        <p:sp>
          <p:nvSpPr>
            <p:cNvPr id="18" name="Textfeld 17"/>
            <p:cNvSpPr txBox="1"/>
            <p:nvPr/>
          </p:nvSpPr>
          <p:spPr bwMode="gray">
            <a:xfrm>
              <a:off x="3277885" y="5340648"/>
              <a:ext cx="259327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noProof="1" smtClean="0"/>
                <a:t>Other factors (i.e.</a:t>
              </a:r>
              <a:br>
                <a:rPr lang="en-US" sz="1400" b="1" noProof="1" smtClean="0"/>
              </a:br>
              <a:r>
                <a:rPr lang="en-US" sz="1400" b="1" noProof="1" smtClean="0"/>
                <a:t>maintenance costs, service, etc.)</a:t>
              </a:r>
              <a:endParaRPr lang="en-US" sz="1400" b="1" noProof="1"/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6316522" y="3540135"/>
              <a:ext cx="68640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Design</a:t>
              </a:r>
              <a:endParaRPr lang="en-US" sz="1400" b="1" noProof="1"/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2130333" y="3540135"/>
              <a:ext cx="7296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Quality</a:t>
              </a:r>
              <a:endParaRPr lang="en-US" sz="1400" b="1" noProof="1"/>
            </a:p>
          </p:txBody>
        </p:sp>
        <p:sp>
          <p:nvSpPr>
            <p:cNvPr id="21" name="Textfeld 20"/>
            <p:cNvSpPr txBox="1"/>
            <p:nvPr/>
          </p:nvSpPr>
          <p:spPr bwMode="gray">
            <a:xfrm>
              <a:off x="2825298" y="2241550"/>
              <a:ext cx="55496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Price</a:t>
              </a:r>
              <a:endParaRPr lang="en-US" sz="1400" b="1" noProof="1"/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1579893" y="4851400"/>
              <a:ext cx="180036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Time relevant </a:t>
              </a:r>
              <a:br>
                <a:rPr lang="en-US" sz="1400" b="1" noProof="1" smtClean="0"/>
              </a:br>
              <a:r>
                <a:rPr lang="en-US" sz="1400" b="1" noProof="1" smtClean="0"/>
                <a:t>availability on market</a:t>
              </a:r>
              <a:endParaRPr lang="en-US" sz="1400" b="1" noProof="1"/>
            </a:p>
          </p:txBody>
        </p:sp>
        <p:sp>
          <p:nvSpPr>
            <p:cNvPr id="23" name="Textfeld 22"/>
            <p:cNvSpPr txBox="1"/>
            <p:nvPr/>
          </p:nvSpPr>
          <p:spPr bwMode="gray">
            <a:xfrm>
              <a:off x="5770422" y="2241550"/>
              <a:ext cx="139410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Type of function</a:t>
              </a:r>
              <a:endParaRPr lang="en-US" sz="1400" b="1" noProof="1"/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5770422" y="4851400"/>
              <a:ext cx="15259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noProof="1" smtClean="0"/>
                <a:t>Physical features</a:t>
              </a:r>
              <a:br>
                <a:rPr lang="en-US" sz="1400" b="1" noProof="1" smtClean="0"/>
              </a:br>
              <a:r>
                <a:rPr lang="en-US" sz="1400" b="1" noProof="1" smtClean="0"/>
                <a:t>(size, weight, etc.)</a:t>
              </a:r>
              <a:endParaRPr lang="en-US" sz="1400" b="1" noProof="1"/>
            </a:p>
          </p:txBody>
        </p:sp>
        <p:cxnSp>
          <p:nvCxnSpPr>
            <p:cNvPr id="26" name="Gerade Verbindung mit Pfeil 25"/>
            <p:cNvCxnSpPr/>
            <p:nvPr/>
          </p:nvCxnSpPr>
          <p:spPr bwMode="gray">
            <a:xfrm flipH="1">
              <a:off x="4572000" y="2003920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mit Pfeil 26"/>
            <p:cNvCxnSpPr/>
            <p:nvPr/>
          </p:nvCxnSpPr>
          <p:spPr bwMode="gray">
            <a:xfrm flipH="1" flipV="1">
              <a:off x="4572000" y="5128418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 bwMode="gray">
            <a:xfrm rot="16200000" flipH="1" flipV="1">
              <a:off x="6134100" y="3564186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/>
          </p:nvCxnSpPr>
          <p:spPr bwMode="gray">
            <a:xfrm rot="5400000" flipV="1">
              <a:off x="3010585" y="3564186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/>
          </p:nvCxnSpPr>
          <p:spPr bwMode="gray">
            <a:xfrm rot="2700000" flipV="1">
              <a:off x="3460362" y="4675436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mit Pfeil 30"/>
            <p:cNvCxnSpPr/>
            <p:nvPr/>
          </p:nvCxnSpPr>
          <p:spPr bwMode="gray">
            <a:xfrm rot="18900000" flipH="1" flipV="1">
              <a:off x="5688683" y="4675436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mit Pfeil 31"/>
            <p:cNvCxnSpPr/>
            <p:nvPr/>
          </p:nvCxnSpPr>
          <p:spPr bwMode="gray">
            <a:xfrm rot="18900000">
              <a:off x="3460361" y="2459908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mit Pfeil 32"/>
            <p:cNvCxnSpPr/>
            <p:nvPr/>
          </p:nvCxnSpPr>
          <p:spPr bwMode="gray">
            <a:xfrm rot="2700000" flipH="1">
              <a:off x="5688682" y="2459908"/>
              <a:ext cx="0" cy="22493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4199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Experience of Customer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for own Subheadline</a:t>
            </a:r>
          </a:p>
          <a:p>
            <a:endParaRPr lang="en-US" noProof="1"/>
          </a:p>
        </p:txBody>
      </p:sp>
      <p:grpSp>
        <p:nvGrpSpPr>
          <p:cNvPr id="4" name="Gruppieren 32"/>
          <p:cNvGrpSpPr/>
          <p:nvPr/>
        </p:nvGrpSpPr>
        <p:grpSpPr bwMode="gray">
          <a:xfrm>
            <a:off x="0" y="4395093"/>
            <a:ext cx="9144000" cy="1163782"/>
            <a:chOff x="0" y="4534215"/>
            <a:chExt cx="9144000" cy="1163782"/>
          </a:xfrm>
        </p:grpSpPr>
        <p:sp>
          <p:nvSpPr>
            <p:cNvPr id="8" name="Rechteck 7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" name="Rechteck 8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grpSp>
        <p:nvGrpSpPr>
          <p:cNvPr id="125" name="Gruppieren 124"/>
          <p:cNvGrpSpPr/>
          <p:nvPr/>
        </p:nvGrpSpPr>
        <p:grpSpPr>
          <a:xfrm>
            <a:off x="512893" y="1569469"/>
            <a:ext cx="8642451" cy="4215148"/>
            <a:chOff x="836255" y="1729873"/>
            <a:chExt cx="7984687" cy="3894340"/>
          </a:xfrm>
        </p:grpSpPr>
        <p:pic>
          <p:nvPicPr>
            <p:cNvPr id="104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111328" y="4982385"/>
              <a:ext cx="2922932" cy="34070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6" name="Gruppieren 37"/>
            <p:cNvGrpSpPr/>
            <p:nvPr/>
          </p:nvGrpSpPr>
          <p:grpSpPr bwMode="gray">
            <a:xfrm>
              <a:off x="3093242" y="2219723"/>
              <a:ext cx="2958308" cy="2958306"/>
              <a:chOff x="2807096" y="1914526"/>
              <a:chExt cx="3530600" cy="3530599"/>
            </a:xfrm>
            <a:scene3d>
              <a:camera prst="orthographicFront"/>
              <a:lightRig rig="balanced" dir="t"/>
            </a:scene3d>
          </p:grpSpPr>
          <p:sp>
            <p:nvSpPr>
              <p:cNvPr id="3078" name="Freeform 6"/>
              <p:cNvSpPr>
                <a:spLocks/>
              </p:cNvSpPr>
              <p:nvPr/>
            </p:nvSpPr>
            <p:spPr bwMode="gray">
              <a:xfrm>
                <a:off x="3342084" y="2057400"/>
                <a:ext cx="992188" cy="1201737"/>
              </a:xfrm>
              <a:custGeom>
                <a:avLst/>
                <a:gdLst/>
                <a:ahLst/>
                <a:cxnLst>
                  <a:cxn ang="0">
                    <a:pos x="215" y="0"/>
                  </a:cxn>
                  <a:cxn ang="0">
                    <a:pos x="0" y="144"/>
                  </a:cxn>
                  <a:cxn ang="0">
                    <a:pos x="342" y="486"/>
                  </a:cxn>
                  <a:cxn ang="0">
                    <a:pos x="401" y="447"/>
                  </a:cxn>
                  <a:cxn ang="0">
                    <a:pos x="215" y="0"/>
                  </a:cxn>
                </a:cxnLst>
                <a:rect l="0" t="0" r="r" b="b"/>
                <a:pathLst>
                  <a:path w="401" h="486">
                    <a:moveTo>
                      <a:pt x="215" y="0"/>
                    </a:moveTo>
                    <a:cubicBezTo>
                      <a:pt x="135" y="35"/>
                      <a:pt x="62" y="84"/>
                      <a:pt x="0" y="144"/>
                    </a:cubicBezTo>
                    <a:cubicBezTo>
                      <a:pt x="342" y="486"/>
                      <a:pt x="342" y="486"/>
                      <a:pt x="342" y="486"/>
                    </a:cubicBezTo>
                    <a:cubicBezTo>
                      <a:pt x="360" y="470"/>
                      <a:pt x="379" y="457"/>
                      <a:pt x="401" y="447"/>
                    </a:cubicBezTo>
                    <a:lnTo>
                      <a:pt x="21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0" name="Freeform 8"/>
              <p:cNvSpPr>
                <a:spLocks/>
              </p:cNvSpPr>
              <p:nvPr/>
            </p:nvSpPr>
            <p:spPr bwMode="gray">
              <a:xfrm>
                <a:off x="2949971" y="2447925"/>
                <a:ext cx="1203325" cy="990600"/>
              </a:xfrm>
              <a:custGeom>
                <a:avLst/>
                <a:gdLst/>
                <a:ahLst/>
                <a:cxnLst>
                  <a:cxn ang="0">
                    <a:pos x="144" y="0"/>
                  </a:cxn>
                  <a:cxn ang="0">
                    <a:pos x="0" y="215"/>
                  </a:cxn>
                  <a:cxn ang="0">
                    <a:pos x="447" y="400"/>
                  </a:cxn>
                  <a:cxn ang="0">
                    <a:pos x="486" y="342"/>
                  </a:cxn>
                  <a:cxn ang="0">
                    <a:pos x="144" y="0"/>
                  </a:cxn>
                </a:cxnLst>
                <a:rect l="0" t="0" r="r" b="b"/>
                <a:pathLst>
                  <a:path w="486" h="400">
                    <a:moveTo>
                      <a:pt x="144" y="0"/>
                    </a:moveTo>
                    <a:cubicBezTo>
                      <a:pt x="84" y="62"/>
                      <a:pt x="35" y="135"/>
                      <a:pt x="0" y="215"/>
                    </a:cubicBezTo>
                    <a:cubicBezTo>
                      <a:pt x="447" y="400"/>
                      <a:pt x="447" y="400"/>
                      <a:pt x="447" y="400"/>
                    </a:cubicBezTo>
                    <a:cubicBezTo>
                      <a:pt x="457" y="379"/>
                      <a:pt x="470" y="359"/>
                      <a:pt x="486" y="342"/>
                    </a:cubicBezTo>
                    <a:lnTo>
                      <a:pt x="14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1" name="Freeform 9"/>
              <p:cNvSpPr>
                <a:spLocks/>
              </p:cNvSpPr>
              <p:nvPr/>
            </p:nvSpPr>
            <p:spPr bwMode="gray">
              <a:xfrm>
                <a:off x="2807096" y="3027363"/>
                <a:ext cx="1231900" cy="628650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0" y="254"/>
                  </a:cxn>
                  <a:cxn ang="0">
                    <a:pos x="484" y="254"/>
                  </a:cxn>
                  <a:cxn ang="0">
                    <a:pos x="498" y="185"/>
                  </a:cxn>
                  <a:cxn ang="0">
                    <a:pos x="51" y="0"/>
                  </a:cxn>
                </a:cxnLst>
                <a:rect l="0" t="0" r="r" b="b"/>
                <a:pathLst>
                  <a:path w="498" h="254">
                    <a:moveTo>
                      <a:pt x="51" y="0"/>
                    </a:moveTo>
                    <a:cubicBezTo>
                      <a:pt x="19" y="78"/>
                      <a:pt x="2" y="164"/>
                      <a:pt x="0" y="254"/>
                    </a:cubicBezTo>
                    <a:cubicBezTo>
                      <a:pt x="484" y="254"/>
                      <a:pt x="484" y="254"/>
                      <a:pt x="484" y="254"/>
                    </a:cubicBezTo>
                    <a:cubicBezTo>
                      <a:pt x="485" y="230"/>
                      <a:pt x="490" y="206"/>
                      <a:pt x="498" y="185"/>
                    </a:cubicBezTo>
                    <a:lnTo>
                      <a:pt x="51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2" name="Freeform 10"/>
              <p:cNvSpPr>
                <a:spLocks/>
              </p:cNvSpPr>
              <p:nvPr/>
            </p:nvSpPr>
            <p:spPr bwMode="gray">
              <a:xfrm>
                <a:off x="2807096" y="3705225"/>
                <a:ext cx="1231900" cy="625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1" y="253"/>
                  </a:cxn>
                  <a:cxn ang="0">
                    <a:pos x="498" y="68"/>
                  </a:cxn>
                  <a:cxn ang="0">
                    <a:pos x="484" y="0"/>
                  </a:cxn>
                  <a:cxn ang="0">
                    <a:pos x="0" y="0"/>
                  </a:cxn>
                </a:cxnLst>
                <a:rect l="0" t="0" r="r" b="b"/>
                <a:pathLst>
                  <a:path w="498" h="253">
                    <a:moveTo>
                      <a:pt x="0" y="0"/>
                    </a:moveTo>
                    <a:cubicBezTo>
                      <a:pt x="2" y="89"/>
                      <a:pt x="19" y="175"/>
                      <a:pt x="51" y="253"/>
                    </a:cubicBezTo>
                    <a:cubicBezTo>
                      <a:pt x="498" y="68"/>
                      <a:pt x="498" y="68"/>
                      <a:pt x="498" y="68"/>
                    </a:cubicBezTo>
                    <a:cubicBezTo>
                      <a:pt x="490" y="47"/>
                      <a:pt x="485" y="24"/>
                      <a:pt x="48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8" name="Freeform 16"/>
              <p:cNvSpPr>
                <a:spLocks/>
              </p:cNvSpPr>
              <p:nvPr/>
            </p:nvSpPr>
            <p:spPr bwMode="gray">
              <a:xfrm>
                <a:off x="3919934" y="1914526"/>
                <a:ext cx="628650" cy="1228725"/>
              </a:xfrm>
              <a:custGeom>
                <a:avLst/>
                <a:gdLst/>
                <a:ahLst/>
                <a:cxnLst>
                  <a:cxn ang="0">
                    <a:pos x="254" y="0"/>
                  </a:cxn>
                  <a:cxn ang="0">
                    <a:pos x="0" y="51"/>
                  </a:cxn>
                  <a:cxn ang="0">
                    <a:pos x="185" y="497"/>
                  </a:cxn>
                  <a:cxn ang="0">
                    <a:pos x="254" y="484"/>
                  </a:cxn>
                  <a:cxn ang="0">
                    <a:pos x="254" y="0"/>
                  </a:cxn>
                </a:cxnLst>
                <a:rect l="0" t="0" r="r" b="b"/>
                <a:pathLst>
                  <a:path w="254" h="497">
                    <a:moveTo>
                      <a:pt x="254" y="0"/>
                    </a:moveTo>
                    <a:cubicBezTo>
                      <a:pt x="164" y="2"/>
                      <a:pt x="79" y="19"/>
                      <a:pt x="0" y="51"/>
                    </a:cubicBezTo>
                    <a:cubicBezTo>
                      <a:pt x="185" y="497"/>
                      <a:pt x="185" y="497"/>
                      <a:pt x="185" y="497"/>
                    </a:cubicBezTo>
                    <a:cubicBezTo>
                      <a:pt x="207" y="490"/>
                      <a:pt x="230" y="485"/>
                      <a:pt x="254" y="484"/>
                    </a:cubicBezTo>
                    <a:lnTo>
                      <a:pt x="25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4" name="Freeform 22"/>
              <p:cNvSpPr>
                <a:spLocks/>
              </p:cNvSpPr>
              <p:nvPr/>
            </p:nvSpPr>
            <p:spPr bwMode="gray">
              <a:xfrm>
                <a:off x="4054871" y="3160713"/>
                <a:ext cx="1038225" cy="1039812"/>
              </a:xfrm>
              <a:custGeom>
                <a:avLst/>
                <a:gdLst/>
                <a:ahLst/>
                <a:cxnLst>
                  <a:cxn ang="0">
                    <a:pos x="419" y="200"/>
                  </a:cxn>
                  <a:cxn ang="0">
                    <a:pos x="407" y="139"/>
                  </a:cxn>
                  <a:cxn ang="0">
                    <a:pos x="400" y="120"/>
                  </a:cxn>
                  <a:cxn ang="0">
                    <a:pos x="365" y="68"/>
                  </a:cxn>
                  <a:cxn ang="0">
                    <a:pos x="351" y="54"/>
                  </a:cxn>
                  <a:cxn ang="0">
                    <a:pos x="299" y="20"/>
                  </a:cxn>
                  <a:cxn ang="0">
                    <a:pos x="281" y="12"/>
                  </a:cxn>
                  <a:cxn ang="0">
                    <a:pos x="220" y="0"/>
                  </a:cxn>
                  <a:cxn ang="0">
                    <a:pos x="210" y="0"/>
                  </a:cxn>
                  <a:cxn ang="0">
                    <a:pos x="200" y="0"/>
                  </a:cxn>
                  <a:cxn ang="0">
                    <a:pos x="139" y="12"/>
                  </a:cxn>
                  <a:cxn ang="0">
                    <a:pos x="120" y="20"/>
                  </a:cxn>
                  <a:cxn ang="0">
                    <a:pos x="68" y="54"/>
                  </a:cxn>
                  <a:cxn ang="0">
                    <a:pos x="54" y="68"/>
                  </a:cxn>
                  <a:cxn ang="0">
                    <a:pos x="20" y="120"/>
                  </a:cxn>
                  <a:cxn ang="0">
                    <a:pos x="12" y="139"/>
                  </a:cxn>
                  <a:cxn ang="0">
                    <a:pos x="0" y="200"/>
                  </a:cxn>
                  <a:cxn ang="0">
                    <a:pos x="0" y="210"/>
                  </a:cxn>
                  <a:cxn ang="0">
                    <a:pos x="0" y="220"/>
                  </a:cxn>
                  <a:cxn ang="0">
                    <a:pos x="12" y="281"/>
                  </a:cxn>
                  <a:cxn ang="0">
                    <a:pos x="20" y="299"/>
                  </a:cxn>
                  <a:cxn ang="0">
                    <a:pos x="54" y="351"/>
                  </a:cxn>
                  <a:cxn ang="0">
                    <a:pos x="68" y="365"/>
                  </a:cxn>
                  <a:cxn ang="0">
                    <a:pos x="120" y="400"/>
                  </a:cxn>
                  <a:cxn ang="0">
                    <a:pos x="139" y="407"/>
                  </a:cxn>
                  <a:cxn ang="0">
                    <a:pos x="200" y="419"/>
                  </a:cxn>
                  <a:cxn ang="0">
                    <a:pos x="210" y="420"/>
                  </a:cxn>
                  <a:cxn ang="0">
                    <a:pos x="220" y="419"/>
                  </a:cxn>
                  <a:cxn ang="0">
                    <a:pos x="281" y="407"/>
                  </a:cxn>
                  <a:cxn ang="0">
                    <a:pos x="299" y="400"/>
                  </a:cxn>
                  <a:cxn ang="0">
                    <a:pos x="351" y="365"/>
                  </a:cxn>
                  <a:cxn ang="0">
                    <a:pos x="365" y="351"/>
                  </a:cxn>
                  <a:cxn ang="0">
                    <a:pos x="400" y="299"/>
                  </a:cxn>
                  <a:cxn ang="0">
                    <a:pos x="407" y="281"/>
                  </a:cxn>
                  <a:cxn ang="0">
                    <a:pos x="419" y="220"/>
                  </a:cxn>
                  <a:cxn ang="0">
                    <a:pos x="420" y="210"/>
                  </a:cxn>
                  <a:cxn ang="0">
                    <a:pos x="419" y="200"/>
                  </a:cxn>
                </a:cxnLst>
                <a:rect l="0" t="0" r="r" b="b"/>
                <a:pathLst>
                  <a:path w="420" h="420">
                    <a:moveTo>
                      <a:pt x="419" y="200"/>
                    </a:moveTo>
                    <a:cubicBezTo>
                      <a:pt x="418" y="178"/>
                      <a:pt x="414" y="158"/>
                      <a:pt x="407" y="139"/>
                    </a:cubicBezTo>
                    <a:cubicBezTo>
                      <a:pt x="405" y="132"/>
                      <a:pt x="402" y="126"/>
                      <a:pt x="400" y="120"/>
                    </a:cubicBezTo>
                    <a:cubicBezTo>
                      <a:pt x="391" y="101"/>
                      <a:pt x="379" y="84"/>
                      <a:pt x="365" y="68"/>
                    </a:cubicBezTo>
                    <a:cubicBezTo>
                      <a:pt x="361" y="63"/>
                      <a:pt x="356" y="59"/>
                      <a:pt x="351" y="54"/>
                    </a:cubicBezTo>
                    <a:cubicBezTo>
                      <a:pt x="336" y="40"/>
                      <a:pt x="318" y="29"/>
                      <a:pt x="299" y="20"/>
                    </a:cubicBezTo>
                    <a:cubicBezTo>
                      <a:pt x="293" y="17"/>
                      <a:pt x="287" y="14"/>
                      <a:pt x="281" y="12"/>
                    </a:cubicBezTo>
                    <a:cubicBezTo>
                      <a:pt x="262" y="5"/>
                      <a:pt x="241" y="1"/>
                      <a:pt x="220" y="0"/>
                    </a:cubicBezTo>
                    <a:cubicBezTo>
                      <a:pt x="216" y="0"/>
                      <a:pt x="213" y="0"/>
                      <a:pt x="210" y="0"/>
                    </a:cubicBezTo>
                    <a:cubicBezTo>
                      <a:pt x="206" y="0"/>
                      <a:pt x="203" y="0"/>
                      <a:pt x="200" y="0"/>
                    </a:cubicBezTo>
                    <a:cubicBezTo>
                      <a:pt x="178" y="1"/>
                      <a:pt x="158" y="5"/>
                      <a:pt x="139" y="12"/>
                    </a:cubicBezTo>
                    <a:cubicBezTo>
                      <a:pt x="132" y="14"/>
                      <a:pt x="126" y="17"/>
                      <a:pt x="120" y="20"/>
                    </a:cubicBezTo>
                    <a:cubicBezTo>
                      <a:pt x="101" y="29"/>
                      <a:pt x="84" y="40"/>
                      <a:pt x="68" y="54"/>
                    </a:cubicBezTo>
                    <a:cubicBezTo>
                      <a:pt x="64" y="59"/>
                      <a:pt x="59" y="63"/>
                      <a:pt x="54" y="68"/>
                    </a:cubicBezTo>
                    <a:cubicBezTo>
                      <a:pt x="40" y="84"/>
                      <a:pt x="29" y="101"/>
                      <a:pt x="20" y="120"/>
                    </a:cubicBezTo>
                    <a:cubicBezTo>
                      <a:pt x="17" y="126"/>
                      <a:pt x="14" y="132"/>
                      <a:pt x="12" y="139"/>
                    </a:cubicBezTo>
                    <a:cubicBezTo>
                      <a:pt x="5" y="158"/>
                      <a:pt x="1" y="178"/>
                      <a:pt x="0" y="200"/>
                    </a:cubicBezTo>
                    <a:cubicBezTo>
                      <a:pt x="0" y="203"/>
                      <a:pt x="0" y="206"/>
                      <a:pt x="0" y="210"/>
                    </a:cubicBezTo>
                    <a:cubicBezTo>
                      <a:pt x="0" y="213"/>
                      <a:pt x="0" y="216"/>
                      <a:pt x="0" y="220"/>
                    </a:cubicBezTo>
                    <a:cubicBezTo>
                      <a:pt x="1" y="241"/>
                      <a:pt x="5" y="261"/>
                      <a:pt x="12" y="281"/>
                    </a:cubicBezTo>
                    <a:cubicBezTo>
                      <a:pt x="14" y="287"/>
                      <a:pt x="17" y="293"/>
                      <a:pt x="20" y="299"/>
                    </a:cubicBezTo>
                    <a:cubicBezTo>
                      <a:pt x="29" y="318"/>
                      <a:pt x="40" y="335"/>
                      <a:pt x="54" y="351"/>
                    </a:cubicBezTo>
                    <a:cubicBezTo>
                      <a:pt x="59" y="356"/>
                      <a:pt x="64" y="360"/>
                      <a:pt x="68" y="365"/>
                    </a:cubicBezTo>
                    <a:cubicBezTo>
                      <a:pt x="84" y="379"/>
                      <a:pt x="101" y="391"/>
                      <a:pt x="120" y="400"/>
                    </a:cubicBezTo>
                    <a:cubicBezTo>
                      <a:pt x="126" y="402"/>
                      <a:pt x="132" y="405"/>
                      <a:pt x="139" y="407"/>
                    </a:cubicBezTo>
                    <a:cubicBezTo>
                      <a:pt x="158" y="414"/>
                      <a:pt x="178" y="418"/>
                      <a:pt x="200" y="419"/>
                    </a:cubicBezTo>
                    <a:cubicBezTo>
                      <a:pt x="203" y="419"/>
                      <a:pt x="206" y="420"/>
                      <a:pt x="210" y="420"/>
                    </a:cubicBezTo>
                    <a:cubicBezTo>
                      <a:pt x="213" y="420"/>
                      <a:pt x="216" y="419"/>
                      <a:pt x="220" y="419"/>
                    </a:cubicBezTo>
                    <a:cubicBezTo>
                      <a:pt x="241" y="418"/>
                      <a:pt x="262" y="414"/>
                      <a:pt x="281" y="407"/>
                    </a:cubicBezTo>
                    <a:cubicBezTo>
                      <a:pt x="287" y="405"/>
                      <a:pt x="293" y="402"/>
                      <a:pt x="299" y="400"/>
                    </a:cubicBezTo>
                    <a:cubicBezTo>
                      <a:pt x="318" y="391"/>
                      <a:pt x="336" y="379"/>
                      <a:pt x="351" y="365"/>
                    </a:cubicBezTo>
                    <a:cubicBezTo>
                      <a:pt x="356" y="360"/>
                      <a:pt x="361" y="356"/>
                      <a:pt x="365" y="351"/>
                    </a:cubicBezTo>
                    <a:cubicBezTo>
                      <a:pt x="379" y="335"/>
                      <a:pt x="391" y="318"/>
                      <a:pt x="400" y="299"/>
                    </a:cubicBezTo>
                    <a:cubicBezTo>
                      <a:pt x="402" y="293"/>
                      <a:pt x="405" y="287"/>
                      <a:pt x="407" y="281"/>
                    </a:cubicBezTo>
                    <a:cubicBezTo>
                      <a:pt x="414" y="261"/>
                      <a:pt x="418" y="241"/>
                      <a:pt x="419" y="220"/>
                    </a:cubicBezTo>
                    <a:cubicBezTo>
                      <a:pt x="420" y="216"/>
                      <a:pt x="420" y="213"/>
                      <a:pt x="420" y="210"/>
                    </a:cubicBezTo>
                    <a:cubicBezTo>
                      <a:pt x="420" y="206"/>
                      <a:pt x="420" y="203"/>
                      <a:pt x="419" y="20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Customer</a:t>
                </a:r>
              </a:p>
            </p:txBody>
          </p:sp>
          <p:sp>
            <p:nvSpPr>
              <p:cNvPr id="3086" name="Freeform 14"/>
              <p:cNvSpPr>
                <a:spLocks/>
              </p:cNvSpPr>
              <p:nvPr/>
            </p:nvSpPr>
            <p:spPr bwMode="gray">
              <a:xfrm>
                <a:off x="4599384" y="1914526"/>
                <a:ext cx="625475" cy="1228725"/>
              </a:xfrm>
              <a:custGeom>
                <a:avLst/>
                <a:gdLst/>
                <a:ahLst/>
                <a:cxnLst>
                  <a:cxn ang="0">
                    <a:pos x="253" y="51"/>
                  </a:cxn>
                  <a:cxn ang="0">
                    <a:pos x="0" y="0"/>
                  </a:cxn>
                  <a:cxn ang="0">
                    <a:pos x="0" y="484"/>
                  </a:cxn>
                  <a:cxn ang="0">
                    <a:pos x="68" y="497"/>
                  </a:cxn>
                  <a:cxn ang="0">
                    <a:pos x="253" y="51"/>
                  </a:cxn>
                </a:cxnLst>
                <a:rect l="0" t="0" r="r" b="b"/>
                <a:pathLst>
                  <a:path w="253" h="497">
                    <a:moveTo>
                      <a:pt x="253" y="51"/>
                    </a:moveTo>
                    <a:cubicBezTo>
                      <a:pt x="175" y="19"/>
                      <a:pt x="89" y="2"/>
                      <a:pt x="0" y="0"/>
                    </a:cubicBezTo>
                    <a:cubicBezTo>
                      <a:pt x="0" y="484"/>
                      <a:pt x="0" y="484"/>
                      <a:pt x="0" y="484"/>
                    </a:cubicBezTo>
                    <a:cubicBezTo>
                      <a:pt x="24" y="485"/>
                      <a:pt x="47" y="490"/>
                      <a:pt x="68" y="497"/>
                    </a:cubicBezTo>
                    <a:lnTo>
                      <a:pt x="253" y="5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7" name="Freeform 15"/>
              <p:cNvSpPr>
                <a:spLocks/>
              </p:cNvSpPr>
              <p:nvPr/>
            </p:nvSpPr>
            <p:spPr bwMode="gray">
              <a:xfrm>
                <a:off x="4813696" y="2057400"/>
                <a:ext cx="990600" cy="1201737"/>
              </a:xfrm>
              <a:custGeom>
                <a:avLst/>
                <a:gdLst/>
                <a:ahLst/>
                <a:cxnLst>
                  <a:cxn ang="0">
                    <a:pos x="400" y="144"/>
                  </a:cxn>
                  <a:cxn ang="0">
                    <a:pos x="185" y="0"/>
                  </a:cxn>
                  <a:cxn ang="0">
                    <a:pos x="0" y="447"/>
                  </a:cxn>
                  <a:cxn ang="0">
                    <a:pos x="58" y="486"/>
                  </a:cxn>
                  <a:cxn ang="0">
                    <a:pos x="400" y="144"/>
                  </a:cxn>
                </a:cxnLst>
                <a:rect l="0" t="0" r="r" b="b"/>
                <a:pathLst>
                  <a:path w="400" h="486">
                    <a:moveTo>
                      <a:pt x="400" y="144"/>
                    </a:moveTo>
                    <a:cubicBezTo>
                      <a:pt x="338" y="84"/>
                      <a:pt x="265" y="35"/>
                      <a:pt x="185" y="0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21" y="457"/>
                      <a:pt x="41" y="470"/>
                      <a:pt x="58" y="486"/>
                    </a:cubicBezTo>
                    <a:lnTo>
                      <a:pt x="400" y="14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5" name="Freeform 13"/>
              <p:cNvSpPr>
                <a:spLocks/>
              </p:cNvSpPr>
              <p:nvPr/>
            </p:nvSpPr>
            <p:spPr bwMode="gray">
              <a:xfrm>
                <a:off x="4991496" y="2447925"/>
                <a:ext cx="1203325" cy="990600"/>
              </a:xfrm>
              <a:custGeom>
                <a:avLst/>
                <a:gdLst/>
                <a:ahLst/>
                <a:cxnLst>
                  <a:cxn ang="0">
                    <a:pos x="486" y="215"/>
                  </a:cxn>
                  <a:cxn ang="0">
                    <a:pos x="342" y="0"/>
                  </a:cxn>
                  <a:cxn ang="0">
                    <a:pos x="0" y="342"/>
                  </a:cxn>
                  <a:cxn ang="0">
                    <a:pos x="39" y="400"/>
                  </a:cxn>
                  <a:cxn ang="0">
                    <a:pos x="486" y="215"/>
                  </a:cxn>
                </a:cxnLst>
                <a:rect l="0" t="0" r="r" b="b"/>
                <a:pathLst>
                  <a:path w="486" h="400">
                    <a:moveTo>
                      <a:pt x="486" y="215"/>
                    </a:moveTo>
                    <a:cubicBezTo>
                      <a:pt x="451" y="135"/>
                      <a:pt x="402" y="62"/>
                      <a:pt x="342" y="0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16" y="359"/>
                      <a:pt x="29" y="379"/>
                      <a:pt x="39" y="400"/>
                    </a:cubicBezTo>
                    <a:lnTo>
                      <a:pt x="486" y="21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4" name="Freeform 12"/>
              <p:cNvSpPr>
                <a:spLocks/>
              </p:cNvSpPr>
              <p:nvPr/>
            </p:nvSpPr>
            <p:spPr bwMode="gray">
              <a:xfrm>
                <a:off x="5108971" y="3027363"/>
                <a:ext cx="1228725" cy="628650"/>
              </a:xfrm>
              <a:custGeom>
                <a:avLst/>
                <a:gdLst/>
                <a:ahLst/>
                <a:cxnLst>
                  <a:cxn ang="0">
                    <a:pos x="497" y="254"/>
                  </a:cxn>
                  <a:cxn ang="0">
                    <a:pos x="447" y="0"/>
                  </a:cxn>
                  <a:cxn ang="0">
                    <a:pos x="0" y="185"/>
                  </a:cxn>
                  <a:cxn ang="0">
                    <a:pos x="13" y="254"/>
                  </a:cxn>
                  <a:cxn ang="0">
                    <a:pos x="497" y="254"/>
                  </a:cxn>
                </a:cxnLst>
                <a:rect l="0" t="0" r="r" b="b"/>
                <a:pathLst>
                  <a:path w="497" h="254">
                    <a:moveTo>
                      <a:pt x="497" y="254"/>
                    </a:moveTo>
                    <a:cubicBezTo>
                      <a:pt x="496" y="164"/>
                      <a:pt x="478" y="78"/>
                      <a:pt x="447" y="0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8" y="206"/>
                      <a:pt x="12" y="230"/>
                      <a:pt x="13" y="254"/>
                    </a:cubicBezTo>
                    <a:lnTo>
                      <a:pt x="497" y="25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2" name="Freeform 20"/>
              <p:cNvSpPr>
                <a:spLocks/>
              </p:cNvSpPr>
              <p:nvPr/>
            </p:nvSpPr>
            <p:spPr bwMode="gray">
              <a:xfrm>
                <a:off x="5108971" y="3705225"/>
                <a:ext cx="1228725" cy="625475"/>
              </a:xfrm>
              <a:custGeom>
                <a:avLst/>
                <a:gdLst/>
                <a:ahLst/>
                <a:cxnLst>
                  <a:cxn ang="0">
                    <a:pos x="0" y="68"/>
                  </a:cxn>
                  <a:cxn ang="0">
                    <a:pos x="447" y="253"/>
                  </a:cxn>
                  <a:cxn ang="0">
                    <a:pos x="497" y="0"/>
                  </a:cxn>
                  <a:cxn ang="0">
                    <a:pos x="13" y="0"/>
                  </a:cxn>
                  <a:cxn ang="0">
                    <a:pos x="0" y="68"/>
                  </a:cxn>
                </a:cxnLst>
                <a:rect l="0" t="0" r="r" b="b"/>
                <a:pathLst>
                  <a:path w="497" h="253">
                    <a:moveTo>
                      <a:pt x="0" y="68"/>
                    </a:moveTo>
                    <a:cubicBezTo>
                      <a:pt x="447" y="253"/>
                      <a:pt x="447" y="253"/>
                      <a:pt x="447" y="253"/>
                    </a:cubicBezTo>
                    <a:cubicBezTo>
                      <a:pt x="478" y="175"/>
                      <a:pt x="496" y="89"/>
                      <a:pt x="49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24"/>
                      <a:pt x="8" y="47"/>
                      <a:pt x="0" y="6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3" name="Freeform 21"/>
              <p:cNvSpPr>
                <a:spLocks/>
              </p:cNvSpPr>
              <p:nvPr/>
            </p:nvSpPr>
            <p:spPr bwMode="gray">
              <a:xfrm>
                <a:off x="4991496" y="3921125"/>
                <a:ext cx="1203325" cy="989012"/>
              </a:xfrm>
              <a:custGeom>
                <a:avLst/>
                <a:gdLst/>
                <a:ahLst/>
                <a:cxnLst>
                  <a:cxn ang="0">
                    <a:pos x="342" y="400"/>
                  </a:cxn>
                  <a:cxn ang="0">
                    <a:pos x="486" y="185"/>
                  </a:cxn>
                  <a:cxn ang="0">
                    <a:pos x="39" y="0"/>
                  </a:cxn>
                  <a:cxn ang="0">
                    <a:pos x="0" y="58"/>
                  </a:cxn>
                  <a:cxn ang="0">
                    <a:pos x="342" y="400"/>
                  </a:cxn>
                </a:cxnLst>
                <a:rect l="0" t="0" r="r" b="b"/>
                <a:pathLst>
                  <a:path w="486" h="400">
                    <a:moveTo>
                      <a:pt x="342" y="400"/>
                    </a:moveTo>
                    <a:cubicBezTo>
                      <a:pt x="402" y="338"/>
                      <a:pt x="451" y="265"/>
                      <a:pt x="486" y="185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29" y="21"/>
                      <a:pt x="16" y="41"/>
                      <a:pt x="0" y="58"/>
                    </a:cubicBezTo>
                    <a:lnTo>
                      <a:pt x="342" y="4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79" name="Freeform 7"/>
              <p:cNvSpPr>
                <a:spLocks/>
              </p:cNvSpPr>
              <p:nvPr/>
            </p:nvSpPr>
            <p:spPr bwMode="gray">
              <a:xfrm>
                <a:off x="2949971" y="3921125"/>
                <a:ext cx="1203325" cy="989012"/>
              </a:xfrm>
              <a:custGeom>
                <a:avLst/>
                <a:gdLst/>
                <a:ahLst/>
                <a:cxnLst>
                  <a:cxn ang="0">
                    <a:pos x="0" y="185"/>
                  </a:cxn>
                  <a:cxn ang="0">
                    <a:pos x="144" y="400"/>
                  </a:cxn>
                  <a:cxn ang="0">
                    <a:pos x="486" y="58"/>
                  </a:cxn>
                  <a:cxn ang="0">
                    <a:pos x="447" y="0"/>
                  </a:cxn>
                  <a:cxn ang="0">
                    <a:pos x="0" y="185"/>
                  </a:cxn>
                </a:cxnLst>
                <a:rect l="0" t="0" r="r" b="b"/>
                <a:pathLst>
                  <a:path w="486" h="400">
                    <a:moveTo>
                      <a:pt x="0" y="185"/>
                    </a:moveTo>
                    <a:cubicBezTo>
                      <a:pt x="35" y="265"/>
                      <a:pt x="84" y="338"/>
                      <a:pt x="144" y="400"/>
                    </a:cubicBezTo>
                    <a:cubicBezTo>
                      <a:pt x="486" y="58"/>
                      <a:pt x="486" y="58"/>
                      <a:pt x="486" y="58"/>
                    </a:cubicBezTo>
                    <a:cubicBezTo>
                      <a:pt x="470" y="41"/>
                      <a:pt x="457" y="21"/>
                      <a:pt x="447" y="0"/>
                    </a:cubicBezTo>
                    <a:lnTo>
                      <a:pt x="0" y="185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3" name="Freeform 11"/>
              <p:cNvSpPr>
                <a:spLocks/>
              </p:cNvSpPr>
              <p:nvPr/>
            </p:nvSpPr>
            <p:spPr bwMode="gray">
              <a:xfrm>
                <a:off x="3342084" y="4098925"/>
                <a:ext cx="992188" cy="1201737"/>
              </a:xfrm>
              <a:custGeom>
                <a:avLst/>
                <a:gdLst/>
                <a:ahLst/>
                <a:cxnLst>
                  <a:cxn ang="0">
                    <a:pos x="0" y="342"/>
                  </a:cxn>
                  <a:cxn ang="0">
                    <a:pos x="215" y="486"/>
                  </a:cxn>
                  <a:cxn ang="0">
                    <a:pos x="401" y="39"/>
                  </a:cxn>
                  <a:cxn ang="0">
                    <a:pos x="342" y="0"/>
                  </a:cxn>
                  <a:cxn ang="0">
                    <a:pos x="0" y="342"/>
                  </a:cxn>
                </a:cxnLst>
                <a:rect l="0" t="0" r="r" b="b"/>
                <a:pathLst>
                  <a:path w="401" h="486">
                    <a:moveTo>
                      <a:pt x="0" y="342"/>
                    </a:moveTo>
                    <a:cubicBezTo>
                      <a:pt x="62" y="402"/>
                      <a:pt x="135" y="451"/>
                      <a:pt x="215" y="486"/>
                    </a:cubicBezTo>
                    <a:cubicBezTo>
                      <a:pt x="401" y="39"/>
                      <a:pt x="401" y="39"/>
                      <a:pt x="401" y="39"/>
                    </a:cubicBezTo>
                    <a:cubicBezTo>
                      <a:pt x="379" y="29"/>
                      <a:pt x="360" y="16"/>
                      <a:pt x="342" y="0"/>
                    </a:cubicBezTo>
                    <a:lnTo>
                      <a:pt x="0" y="34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0" name="Freeform 18"/>
              <p:cNvSpPr>
                <a:spLocks/>
              </p:cNvSpPr>
              <p:nvPr/>
            </p:nvSpPr>
            <p:spPr bwMode="gray">
              <a:xfrm>
                <a:off x="3919934" y="4214813"/>
                <a:ext cx="628650" cy="1230312"/>
              </a:xfrm>
              <a:custGeom>
                <a:avLst/>
                <a:gdLst/>
                <a:ahLst/>
                <a:cxnLst>
                  <a:cxn ang="0">
                    <a:pos x="0" y="447"/>
                  </a:cxn>
                  <a:cxn ang="0">
                    <a:pos x="254" y="497"/>
                  </a:cxn>
                  <a:cxn ang="0">
                    <a:pos x="254" y="13"/>
                  </a:cxn>
                  <a:cxn ang="0">
                    <a:pos x="185" y="0"/>
                  </a:cxn>
                  <a:cxn ang="0">
                    <a:pos x="0" y="447"/>
                  </a:cxn>
                </a:cxnLst>
                <a:rect l="0" t="0" r="r" b="b"/>
                <a:pathLst>
                  <a:path w="254" h="497">
                    <a:moveTo>
                      <a:pt x="0" y="447"/>
                    </a:moveTo>
                    <a:cubicBezTo>
                      <a:pt x="79" y="478"/>
                      <a:pt x="164" y="496"/>
                      <a:pt x="254" y="497"/>
                    </a:cubicBezTo>
                    <a:cubicBezTo>
                      <a:pt x="254" y="13"/>
                      <a:pt x="254" y="13"/>
                      <a:pt x="254" y="13"/>
                    </a:cubicBezTo>
                    <a:cubicBezTo>
                      <a:pt x="230" y="12"/>
                      <a:pt x="207" y="8"/>
                      <a:pt x="185" y="0"/>
                    </a:cubicBezTo>
                    <a:lnTo>
                      <a:pt x="0" y="44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91" name="Freeform 19"/>
              <p:cNvSpPr>
                <a:spLocks/>
              </p:cNvSpPr>
              <p:nvPr/>
            </p:nvSpPr>
            <p:spPr bwMode="gray">
              <a:xfrm>
                <a:off x="4599384" y="4214813"/>
                <a:ext cx="625475" cy="1230312"/>
              </a:xfrm>
              <a:custGeom>
                <a:avLst/>
                <a:gdLst/>
                <a:ahLst/>
                <a:cxnLst>
                  <a:cxn ang="0">
                    <a:pos x="0" y="497"/>
                  </a:cxn>
                  <a:cxn ang="0">
                    <a:pos x="253" y="447"/>
                  </a:cxn>
                  <a:cxn ang="0">
                    <a:pos x="68" y="0"/>
                  </a:cxn>
                  <a:cxn ang="0">
                    <a:pos x="0" y="13"/>
                  </a:cxn>
                  <a:cxn ang="0">
                    <a:pos x="0" y="497"/>
                  </a:cxn>
                </a:cxnLst>
                <a:rect l="0" t="0" r="r" b="b"/>
                <a:pathLst>
                  <a:path w="253" h="497">
                    <a:moveTo>
                      <a:pt x="0" y="497"/>
                    </a:moveTo>
                    <a:cubicBezTo>
                      <a:pt x="89" y="496"/>
                      <a:pt x="175" y="478"/>
                      <a:pt x="253" y="447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47" y="8"/>
                      <a:pt x="24" y="12"/>
                      <a:pt x="0" y="13"/>
                    </a:cubicBezTo>
                    <a:lnTo>
                      <a:pt x="0" y="49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89" name="Freeform 17"/>
              <p:cNvSpPr>
                <a:spLocks/>
              </p:cNvSpPr>
              <p:nvPr/>
            </p:nvSpPr>
            <p:spPr bwMode="gray">
              <a:xfrm>
                <a:off x="4813696" y="4098925"/>
                <a:ext cx="990600" cy="1201737"/>
              </a:xfrm>
              <a:custGeom>
                <a:avLst/>
                <a:gdLst/>
                <a:ahLst/>
                <a:cxnLst>
                  <a:cxn ang="0">
                    <a:pos x="185" y="486"/>
                  </a:cxn>
                  <a:cxn ang="0">
                    <a:pos x="400" y="342"/>
                  </a:cxn>
                  <a:cxn ang="0">
                    <a:pos x="58" y="0"/>
                  </a:cxn>
                  <a:cxn ang="0">
                    <a:pos x="0" y="39"/>
                  </a:cxn>
                  <a:cxn ang="0">
                    <a:pos x="185" y="486"/>
                  </a:cxn>
                </a:cxnLst>
                <a:rect l="0" t="0" r="r" b="b"/>
                <a:pathLst>
                  <a:path w="400" h="486">
                    <a:moveTo>
                      <a:pt x="185" y="486"/>
                    </a:moveTo>
                    <a:cubicBezTo>
                      <a:pt x="265" y="451"/>
                      <a:pt x="338" y="402"/>
                      <a:pt x="400" y="342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41" y="16"/>
                      <a:pt x="21" y="29"/>
                      <a:pt x="0" y="39"/>
                    </a:cubicBezTo>
                    <a:lnTo>
                      <a:pt x="185" y="48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p3d/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3200" b="1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39" name="Textfeld 38"/>
            <p:cNvSpPr txBox="1"/>
            <p:nvPr/>
          </p:nvSpPr>
          <p:spPr bwMode="gray">
            <a:xfrm>
              <a:off x="6662687" y="1729873"/>
              <a:ext cx="661356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Invoice</a:t>
              </a:r>
              <a:endParaRPr lang="en-US" sz="1400" b="1" noProof="1"/>
            </a:p>
          </p:txBody>
        </p:sp>
        <p:sp>
          <p:nvSpPr>
            <p:cNvPr id="40" name="Textfeld 39"/>
            <p:cNvSpPr txBox="1"/>
            <p:nvPr/>
          </p:nvSpPr>
          <p:spPr bwMode="gray">
            <a:xfrm>
              <a:off x="6662687" y="2060862"/>
              <a:ext cx="891030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Packaging </a:t>
              </a:r>
              <a:endParaRPr lang="en-US" sz="1400" b="1" noProof="1"/>
            </a:p>
          </p:txBody>
        </p:sp>
        <p:sp>
          <p:nvSpPr>
            <p:cNvPr id="43" name="Textfeld 42"/>
            <p:cNvSpPr txBox="1"/>
            <p:nvPr/>
          </p:nvSpPr>
          <p:spPr bwMode="gray">
            <a:xfrm>
              <a:off x="6662687" y="2550339"/>
              <a:ext cx="739968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Delivery</a:t>
              </a:r>
              <a:endParaRPr lang="en-US" sz="1400" b="1" noProof="1"/>
            </a:p>
          </p:txBody>
        </p:sp>
        <p:sp>
          <p:nvSpPr>
            <p:cNvPr id="44" name="Textfeld 43"/>
            <p:cNvSpPr txBox="1"/>
            <p:nvPr/>
          </p:nvSpPr>
          <p:spPr bwMode="gray">
            <a:xfrm>
              <a:off x="6662687" y="3220724"/>
              <a:ext cx="2158255" cy="284353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400" b="1" noProof="1" smtClean="0"/>
                <a:t>Other communication</a:t>
              </a:r>
              <a:endParaRPr lang="en-US" sz="1400" b="1" noProof="1"/>
            </a:p>
          </p:txBody>
        </p:sp>
        <p:sp>
          <p:nvSpPr>
            <p:cNvPr id="45" name="Textfeld 44"/>
            <p:cNvSpPr txBox="1"/>
            <p:nvPr/>
          </p:nvSpPr>
          <p:spPr bwMode="gray">
            <a:xfrm>
              <a:off x="6662687" y="3907865"/>
              <a:ext cx="918339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Fax, E-Mail</a:t>
              </a:r>
              <a:endParaRPr lang="en-US" sz="1400" b="1" noProof="1"/>
            </a:p>
          </p:txBody>
        </p:sp>
        <p:sp>
          <p:nvSpPr>
            <p:cNvPr id="46" name="Textfeld 45"/>
            <p:cNvSpPr txBox="1"/>
            <p:nvPr/>
          </p:nvSpPr>
          <p:spPr bwMode="gray">
            <a:xfrm>
              <a:off x="6662687" y="4552736"/>
              <a:ext cx="1530763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Phone conversation</a:t>
              </a:r>
              <a:endParaRPr lang="en-US" sz="1400" b="1" noProof="1"/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6662687" y="4909636"/>
              <a:ext cx="563136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Offer </a:t>
              </a:r>
              <a:endParaRPr lang="en-US" sz="1400" b="1" noProof="1"/>
            </a:p>
          </p:txBody>
        </p:sp>
        <p:sp>
          <p:nvSpPr>
            <p:cNvPr id="48" name="Textfeld 47"/>
            <p:cNvSpPr txBox="1"/>
            <p:nvPr/>
          </p:nvSpPr>
          <p:spPr bwMode="gray">
            <a:xfrm>
              <a:off x="6662687" y="5337480"/>
              <a:ext cx="755252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r>
                <a:rPr lang="en-US" sz="1400" b="1" noProof="1" smtClean="0"/>
                <a:t>Price list</a:t>
              </a:r>
              <a:endParaRPr lang="en-US" sz="1400" b="1" noProof="1"/>
            </a:p>
          </p:txBody>
        </p:sp>
        <p:sp>
          <p:nvSpPr>
            <p:cNvPr id="49" name="Textfeld 48"/>
            <p:cNvSpPr txBox="1"/>
            <p:nvPr/>
          </p:nvSpPr>
          <p:spPr bwMode="gray">
            <a:xfrm>
              <a:off x="1475277" y="1741778"/>
              <a:ext cx="987768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Instructions</a:t>
              </a:r>
              <a:endParaRPr lang="en-US" sz="1400" b="1" noProof="1"/>
            </a:p>
          </p:txBody>
        </p:sp>
        <p:sp>
          <p:nvSpPr>
            <p:cNvPr id="50" name="Textfeld 49"/>
            <p:cNvSpPr txBox="1"/>
            <p:nvPr/>
          </p:nvSpPr>
          <p:spPr bwMode="gray">
            <a:xfrm>
              <a:off x="1251704" y="2058762"/>
              <a:ext cx="1211340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Usage of goods</a:t>
              </a:r>
              <a:endParaRPr lang="en-US" sz="1400" b="1" noProof="1"/>
            </a:p>
          </p:txBody>
        </p:sp>
        <p:sp>
          <p:nvSpPr>
            <p:cNvPr id="51" name="Textfeld 50"/>
            <p:cNvSpPr txBox="1"/>
            <p:nvPr/>
          </p:nvSpPr>
          <p:spPr bwMode="gray">
            <a:xfrm>
              <a:off x="869058" y="2563020"/>
              <a:ext cx="1593987" cy="284353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 Service visit</a:t>
              </a:r>
              <a:endParaRPr lang="en-US" sz="1400" b="1" noProof="1"/>
            </a:p>
          </p:txBody>
        </p:sp>
        <p:sp>
          <p:nvSpPr>
            <p:cNvPr id="52" name="Textfeld 51"/>
            <p:cNvSpPr txBox="1"/>
            <p:nvPr/>
          </p:nvSpPr>
          <p:spPr bwMode="gray">
            <a:xfrm>
              <a:off x="2102866" y="3218488"/>
              <a:ext cx="360179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Ad</a:t>
              </a:r>
              <a:endParaRPr lang="en-US" sz="1400" b="1" noProof="1"/>
            </a:p>
          </p:txBody>
        </p:sp>
        <p:sp>
          <p:nvSpPr>
            <p:cNvPr id="53" name="Textfeld 52"/>
            <p:cNvSpPr txBox="1"/>
            <p:nvPr/>
          </p:nvSpPr>
          <p:spPr bwMode="gray">
            <a:xfrm>
              <a:off x="1665379" y="3905484"/>
              <a:ext cx="797667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Brochure</a:t>
              </a:r>
              <a:endParaRPr lang="en-US" sz="1400" b="1" noProof="1"/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1554718" y="4555833"/>
              <a:ext cx="908327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Data sheet</a:t>
              </a:r>
              <a:endParaRPr lang="en-US" sz="1400" b="1" noProof="1"/>
            </a:p>
          </p:txBody>
        </p:sp>
        <p:sp>
          <p:nvSpPr>
            <p:cNvPr id="55" name="Textfeld 54"/>
            <p:cNvSpPr txBox="1"/>
            <p:nvPr/>
          </p:nvSpPr>
          <p:spPr bwMode="gray">
            <a:xfrm>
              <a:off x="1247499" y="4915986"/>
              <a:ext cx="1215546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Vendor contact</a:t>
              </a:r>
              <a:endParaRPr lang="en-US" sz="1400" b="1" noProof="1"/>
            </a:p>
          </p:txBody>
        </p:sp>
        <p:sp>
          <p:nvSpPr>
            <p:cNvPr id="56" name="Textfeld 55"/>
            <p:cNvSpPr txBox="1"/>
            <p:nvPr/>
          </p:nvSpPr>
          <p:spPr bwMode="gray">
            <a:xfrm>
              <a:off x="836255" y="5339860"/>
              <a:ext cx="1626790" cy="284353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r"/>
              <a:r>
                <a:rPr lang="en-US" sz="1400" b="1" noProof="1" smtClean="0"/>
                <a:t>Product presentation</a:t>
              </a:r>
              <a:endParaRPr lang="en-US" sz="1400" b="1" noProof="1"/>
            </a:p>
          </p:txBody>
        </p:sp>
        <p:grpSp>
          <p:nvGrpSpPr>
            <p:cNvPr id="7" name="Gruppieren 62"/>
            <p:cNvGrpSpPr/>
            <p:nvPr/>
          </p:nvGrpSpPr>
          <p:grpSpPr bwMode="gray">
            <a:xfrm>
              <a:off x="2495550" y="1877605"/>
              <a:ext cx="1771650" cy="368708"/>
              <a:chOff x="2495550" y="1883955"/>
              <a:chExt cx="1771650" cy="368708"/>
            </a:xfrm>
          </p:grpSpPr>
          <p:cxnSp>
            <p:nvCxnSpPr>
              <p:cNvPr id="59" name="Gerade Verbindung 58"/>
              <p:cNvCxnSpPr/>
              <p:nvPr/>
            </p:nvCxnSpPr>
            <p:spPr bwMode="gray">
              <a:xfrm>
                <a:off x="2495550" y="1883955"/>
                <a:ext cx="1643209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/>
            </p:nvCxnSpPr>
            <p:spPr bwMode="gray">
              <a:xfrm>
                <a:off x="4138759" y="1883955"/>
                <a:ext cx="128441" cy="368708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63"/>
            <p:cNvGrpSpPr/>
            <p:nvPr/>
          </p:nvGrpSpPr>
          <p:grpSpPr bwMode="gray">
            <a:xfrm flipH="1">
              <a:off x="4855673" y="1877605"/>
              <a:ext cx="1803890" cy="368708"/>
              <a:chOff x="2463310" y="1883955"/>
              <a:chExt cx="1803890" cy="368708"/>
            </a:xfrm>
          </p:grpSpPr>
          <p:cxnSp>
            <p:nvCxnSpPr>
              <p:cNvPr id="65" name="Gerade Verbindung 64"/>
              <p:cNvCxnSpPr/>
              <p:nvPr/>
            </p:nvCxnSpPr>
            <p:spPr bwMode="gray">
              <a:xfrm>
                <a:off x="2463310" y="1883955"/>
                <a:ext cx="1675449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/>
            </p:nvCxnSpPr>
            <p:spPr bwMode="gray">
              <a:xfrm>
                <a:off x="4138759" y="1883955"/>
                <a:ext cx="128441" cy="368708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66"/>
            <p:cNvGrpSpPr/>
            <p:nvPr/>
          </p:nvGrpSpPr>
          <p:grpSpPr bwMode="gray">
            <a:xfrm flipH="1">
              <a:off x="5405437" y="2204483"/>
              <a:ext cx="1254127" cy="270160"/>
              <a:chOff x="3133921" y="1883955"/>
              <a:chExt cx="1201732" cy="270160"/>
            </a:xfrm>
          </p:grpSpPr>
          <p:cxnSp>
            <p:nvCxnSpPr>
              <p:cNvPr id="68" name="Gerade Verbindung 67"/>
              <p:cNvCxnSpPr/>
              <p:nvPr/>
            </p:nvCxnSpPr>
            <p:spPr bwMode="gray">
              <a:xfrm>
                <a:off x="3133921" y="1883955"/>
                <a:ext cx="1004836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 Verbindung 68"/>
              <p:cNvCxnSpPr/>
              <p:nvPr/>
            </p:nvCxnSpPr>
            <p:spPr bwMode="gray">
              <a:xfrm>
                <a:off x="4138758" y="1883955"/>
                <a:ext cx="196895" cy="27016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uppieren 71"/>
            <p:cNvGrpSpPr/>
            <p:nvPr/>
          </p:nvGrpSpPr>
          <p:grpSpPr bwMode="gray">
            <a:xfrm>
              <a:off x="2495551" y="2204483"/>
              <a:ext cx="1221969" cy="270160"/>
              <a:chOff x="3164736" y="1883955"/>
              <a:chExt cx="1170917" cy="270160"/>
            </a:xfrm>
          </p:grpSpPr>
          <p:cxnSp>
            <p:nvCxnSpPr>
              <p:cNvPr id="73" name="Gerade Verbindung 72"/>
              <p:cNvCxnSpPr/>
              <p:nvPr/>
            </p:nvCxnSpPr>
            <p:spPr bwMode="gray">
              <a:xfrm>
                <a:off x="3164736" y="1883955"/>
                <a:ext cx="974023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73"/>
              <p:cNvCxnSpPr/>
              <p:nvPr/>
            </p:nvCxnSpPr>
            <p:spPr bwMode="gray">
              <a:xfrm>
                <a:off x="4138758" y="1883955"/>
                <a:ext cx="196895" cy="27016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74"/>
            <p:cNvGrpSpPr/>
            <p:nvPr/>
          </p:nvGrpSpPr>
          <p:grpSpPr bwMode="gray">
            <a:xfrm flipH="1">
              <a:off x="5803105" y="2695934"/>
              <a:ext cx="856456" cy="178235"/>
              <a:chOff x="3618785" y="1883955"/>
              <a:chExt cx="799072" cy="178235"/>
            </a:xfrm>
          </p:grpSpPr>
          <p:cxnSp>
            <p:nvCxnSpPr>
              <p:cNvPr id="76" name="Gerade Verbindung 75"/>
              <p:cNvCxnSpPr/>
              <p:nvPr/>
            </p:nvCxnSpPr>
            <p:spPr bwMode="gray">
              <a:xfrm>
                <a:off x="3618785" y="1883955"/>
                <a:ext cx="519973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76"/>
              <p:cNvCxnSpPr/>
              <p:nvPr/>
            </p:nvCxnSpPr>
            <p:spPr bwMode="gray">
              <a:xfrm>
                <a:off x="4138757" y="1883955"/>
                <a:ext cx="279100" cy="178235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pieren 78"/>
            <p:cNvGrpSpPr/>
            <p:nvPr/>
          </p:nvGrpSpPr>
          <p:grpSpPr bwMode="gray">
            <a:xfrm>
              <a:off x="2495549" y="2695934"/>
              <a:ext cx="834883" cy="178235"/>
              <a:chOff x="3638912" y="1883955"/>
              <a:chExt cx="778945" cy="178235"/>
            </a:xfrm>
          </p:grpSpPr>
          <p:cxnSp>
            <p:nvCxnSpPr>
              <p:cNvPr id="80" name="Gerade Verbindung 79"/>
              <p:cNvCxnSpPr/>
              <p:nvPr/>
            </p:nvCxnSpPr>
            <p:spPr bwMode="gray">
              <a:xfrm>
                <a:off x="3638912" y="1883955"/>
                <a:ext cx="49984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80"/>
              <p:cNvCxnSpPr/>
              <p:nvPr/>
            </p:nvCxnSpPr>
            <p:spPr bwMode="gray">
              <a:xfrm>
                <a:off x="4138757" y="1883955"/>
                <a:ext cx="279100" cy="178235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uppieren 81"/>
            <p:cNvGrpSpPr/>
            <p:nvPr/>
          </p:nvGrpSpPr>
          <p:grpSpPr bwMode="gray">
            <a:xfrm flipH="1">
              <a:off x="6051547" y="3362900"/>
              <a:ext cx="608013" cy="44669"/>
              <a:chOff x="3865988" y="1883955"/>
              <a:chExt cx="567275" cy="44669"/>
            </a:xfrm>
          </p:grpSpPr>
          <p:cxnSp>
            <p:nvCxnSpPr>
              <p:cNvPr id="83" name="Gerade Verbindung 82"/>
              <p:cNvCxnSpPr/>
              <p:nvPr/>
            </p:nvCxnSpPr>
            <p:spPr bwMode="gray">
              <a:xfrm>
                <a:off x="3865988" y="1883955"/>
                <a:ext cx="272770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 Verbindung 83"/>
              <p:cNvCxnSpPr/>
              <p:nvPr/>
            </p:nvCxnSpPr>
            <p:spPr bwMode="gray">
              <a:xfrm>
                <a:off x="4138756" y="1883955"/>
                <a:ext cx="294507" cy="44669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uppieren 85"/>
            <p:cNvGrpSpPr/>
            <p:nvPr/>
          </p:nvGrpSpPr>
          <p:grpSpPr bwMode="gray">
            <a:xfrm>
              <a:off x="2495549" y="3362900"/>
              <a:ext cx="622306" cy="44669"/>
              <a:chOff x="3852652" y="1883955"/>
              <a:chExt cx="580611" cy="44669"/>
            </a:xfrm>
          </p:grpSpPr>
          <p:cxnSp>
            <p:nvCxnSpPr>
              <p:cNvPr id="87" name="Gerade Verbindung 86"/>
              <p:cNvCxnSpPr/>
              <p:nvPr/>
            </p:nvCxnSpPr>
            <p:spPr bwMode="gray">
              <a:xfrm>
                <a:off x="3852652" y="1883955"/>
                <a:ext cx="28610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 Verbindung 87"/>
              <p:cNvCxnSpPr/>
              <p:nvPr/>
            </p:nvCxnSpPr>
            <p:spPr bwMode="gray">
              <a:xfrm>
                <a:off x="4138756" y="1883955"/>
                <a:ext cx="294507" cy="44669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pieren 88"/>
            <p:cNvGrpSpPr/>
            <p:nvPr/>
          </p:nvGrpSpPr>
          <p:grpSpPr bwMode="gray">
            <a:xfrm flipH="1" flipV="1">
              <a:off x="6020364" y="4002992"/>
              <a:ext cx="639199" cy="44669"/>
              <a:chOff x="3836891" y="1883955"/>
              <a:chExt cx="596372" cy="44669"/>
            </a:xfrm>
          </p:grpSpPr>
          <p:cxnSp>
            <p:nvCxnSpPr>
              <p:cNvPr id="90" name="Gerade Verbindung 89"/>
              <p:cNvCxnSpPr/>
              <p:nvPr/>
            </p:nvCxnSpPr>
            <p:spPr bwMode="gray">
              <a:xfrm flipV="1">
                <a:off x="3836891" y="1883955"/>
                <a:ext cx="30186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90"/>
              <p:cNvCxnSpPr/>
              <p:nvPr/>
            </p:nvCxnSpPr>
            <p:spPr bwMode="gray">
              <a:xfrm>
                <a:off x="4138756" y="1883955"/>
                <a:ext cx="294507" cy="44669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uppieren 91"/>
            <p:cNvGrpSpPr/>
            <p:nvPr/>
          </p:nvGrpSpPr>
          <p:grpSpPr bwMode="gray">
            <a:xfrm flipV="1">
              <a:off x="2495549" y="4002992"/>
              <a:ext cx="622306" cy="44669"/>
              <a:chOff x="3852652" y="1883955"/>
              <a:chExt cx="580611" cy="44669"/>
            </a:xfrm>
          </p:grpSpPr>
          <p:cxnSp>
            <p:nvCxnSpPr>
              <p:cNvPr id="93" name="Gerade Verbindung 92"/>
              <p:cNvCxnSpPr/>
              <p:nvPr/>
            </p:nvCxnSpPr>
            <p:spPr bwMode="gray">
              <a:xfrm flipV="1">
                <a:off x="3852652" y="1883955"/>
                <a:ext cx="28610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 Verbindung 93"/>
              <p:cNvCxnSpPr/>
              <p:nvPr/>
            </p:nvCxnSpPr>
            <p:spPr bwMode="gray">
              <a:xfrm>
                <a:off x="4138756" y="1883955"/>
                <a:ext cx="294507" cy="44669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uppieren 94"/>
            <p:cNvGrpSpPr/>
            <p:nvPr/>
          </p:nvGrpSpPr>
          <p:grpSpPr bwMode="gray">
            <a:xfrm flipH="1" flipV="1">
              <a:off x="5803105" y="4519775"/>
              <a:ext cx="856456" cy="178235"/>
              <a:chOff x="3618785" y="1883955"/>
              <a:chExt cx="799072" cy="178235"/>
            </a:xfrm>
          </p:grpSpPr>
          <p:cxnSp>
            <p:nvCxnSpPr>
              <p:cNvPr id="96" name="Gerade Verbindung 95"/>
              <p:cNvCxnSpPr/>
              <p:nvPr/>
            </p:nvCxnSpPr>
            <p:spPr bwMode="gray">
              <a:xfrm flipV="1">
                <a:off x="3618785" y="1883955"/>
                <a:ext cx="519973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 Verbindung 96"/>
              <p:cNvCxnSpPr/>
              <p:nvPr/>
            </p:nvCxnSpPr>
            <p:spPr bwMode="gray">
              <a:xfrm>
                <a:off x="4138757" y="1883955"/>
                <a:ext cx="279100" cy="178235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uppieren 97"/>
            <p:cNvGrpSpPr/>
            <p:nvPr/>
          </p:nvGrpSpPr>
          <p:grpSpPr bwMode="gray">
            <a:xfrm flipV="1">
              <a:off x="2495549" y="4519775"/>
              <a:ext cx="834883" cy="178235"/>
              <a:chOff x="3638912" y="1883955"/>
              <a:chExt cx="778945" cy="178235"/>
            </a:xfrm>
          </p:grpSpPr>
          <p:cxnSp>
            <p:nvCxnSpPr>
              <p:cNvPr id="99" name="Gerade Verbindung 98"/>
              <p:cNvCxnSpPr/>
              <p:nvPr/>
            </p:nvCxnSpPr>
            <p:spPr bwMode="gray">
              <a:xfrm flipV="1">
                <a:off x="3638912" y="1883955"/>
                <a:ext cx="49984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 Verbindung 99"/>
              <p:cNvCxnSpPr/>
              <p:nvPr/>
            </p:nvCxnSpPr>
            <p:spPr bwMode="gray">
              <a:xfrm>
                <a:off x="4138757" y="1883955"/>
                <a:ext cx="279100" cy="178235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uppieren 100"/>
            <p:cNvGrpSpPr/>
            <p:nvPr/>
          </p:nvGrpSpPr>
          <p:grpSpPr bwMode="gray">
            <a:xfrm flipV="1">
              <a:off x="2495551" y="4919663"/>
              <a:ext cx="1252539" cy="137320"/>
              <a:chOff x="3157658" y="1883953"/>
              <a:chExt cx="1168617" cy="272642"/>
            </a:xfrm>
          </p:grpSpPr>
          <p:cxnSp>
            <p:nvCxnSpPr>
              <p:cNvPr id="102" name="Gerade Verbindung 101"/>
              <p:cNvCxnSpPr/>
              <p:nvPr/>
            </p:nvCxnSpPr>
            <p:spPr bwMode="gray">
              <a:xfrm flipV="1">
                <a:off x="3157658" y="1883955"/>
                <a:ext cx="981101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 bwMode="gray">
              <a:xfrm>
                <a:off x="4138757" y="1883953"/>
                <a:ext cx="187518" cy="272642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uppieren 105"/>
            <p:cNvGrpSpPr/>
            <p:nvPr/>
          </p:nvGrpSpPr>
          <p:grpSpPr bwMode="gray">
            <a:xfrm flipH="1" flipV="1">
              <a:off x="5411700" y="4919663"/>
              <a:ext cx="1247864" cy="137320"/>
              <a:chOff x="3162019" y="1883953"/>
              <a:chExt cx="1164256" cy="272642"/>
            </a:xfrm>
          </p:grpSpPr>
          <p:cxnSp>
            <p:nvCxnSpPr>
              <p:cNvPr id="107" name="Gerade Verbindung 106"/>
              <p:cNvCxnSpPr/>
              <p:nvPr/>
            </p:nvCxnSpPr>
            <p:spPr bwMode="gray">
              <a:xfrm flipV="1">
                <a:off x="3162019" y="1883955"/>
                <a:ext cx="976739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107"/>
              <p:cNvCxnSpPr/>
              <p:nvPr/>
            </p:nvCxnSpPr>
            <p:spPr bwMode="gray">
              <a:xfrm>
                <a:off x="4138757" y="1883953"/>
                <a:ext cx="187518" cy="272642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uppieren 108"/>
            <p:cNvGrpSpPr/>
            <p:nvPr/>
          </p:nvGrpSpPr>
          <p:grpSpPr bwMode="gray">
            <a:xfrm flipV="1">
              <a:off x="2495549" y="5143500"/>
              <a:ext cx="1771650" cy="338538"/>
              <a:chOff x="2537922" y="1883953"/>
              <a:chExt cx="1652948" cy="672150"/>
            </a:xfrm>
          </p:grpSpPr>
          <p:cxnSp>
            <p:nvCxnSpPr>
              <p:cNvPr id="110" name="Gerade Verbindung 109"/>
              <p:cNvCxnSpPr/>
              <p:nvPr/>
            </p:nvCxnSpPr>
            <p:spPr bwMode="gray">
              <a:xfrm flipV="1">
                <a:off x="2537922" y="1883955"/>
                <a:ext cx="1600837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110"/>
              <p:cNvCxnSpPr/>
              <p:nvPr/>
            </p:nvCxnSpPr>
            <p:spPr bwMode="gray">
              <a:xfrm>
                <a:off x="4138757" y="1883953"/>
                <a:ext cx="52113" cy="67215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ieren 112"/>
            <p:cNvGrpSpPr/>
            <p:nvPr/>
          </p:nvGrpSpPr>
          <p:grpSpPr bwMode="gray">
            <a:xfrm flipH="1" flipV="1">
              <a:off x="4862816" y="5143500"/>
              <a:ext cx="1796747" cy="338538"/>
              <a:chOff x="2514507" y="1883953"/>
              <a:chExt cx="1676363" cy="672150"/>
            </a:xfrm>
          </p:grpSpPr>
          <p:cxnSp>
            <p:nvCxnSpPr>
              <p:cNvPr id="114" name="Gerade Verbindung 113"/>
              <p:cNvCxnSpPr/>
              <p:nvPr/>
            </p:nvCxnSpPr>
            <p:spPr bwMode="gray">
              <a:xfrm flipV="1">
                <a:off x="2514507" y="1883955"/>
                <a:ext cx="1624251" cy="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 Verbindung 114"/>
              <p:cNvCxnSpPr/>
              <p:nvPr/>
            </p:nvCxnSpPr>
            <p:spPr bwMode="gray">
              <a:xfrm>
                <a:off x="4138757" y="1883953"/>
                <a:ext cx="52113" cy="672150"/>
              </a:xfrm>
              <a:prstGeom prst="line">
                <a:avLst/>
              </a:prstGeom>
              <a:ln w="19050">
                <a:solidFill>
                  <a:srgbClr val="7D7D7D"/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9795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32"/>
          <p:cNvGrpSpPr/>
          <p:nvPr/>
        </p:nvGrpSpPr>
        <p:grpSpPr bwMode="gray">
          <a:xfrm>
            <a:off x="0" y="4395093"/>
            <a:ext cx="9144000" cy="1163782"/>
            <a:chOff x="0" y="4534215"/>
            <a:chExt cx="9144000" cy="1163782"/>
          </a:xfrm>
        </p:grpSpPr>
        <p:sp>
          <p:nvSpPr>
            <p:cNvPr id="27" name="Rechteck 26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8" name="Rechteck 27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pic>
        <p:nvPicPr>
          <p:cNvPr id="25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2975382" y="5274300"/>
            <a:ext cx="3163718" cy="368768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urchase Decision Process </a:t>
            </a:r>
            <a:r>
              <a:rPr lang="en-US" b="0" noProof="1" smtClean="0"/>
              <a:t>- Circl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teraction cycle and phases of the purchase decision processes</a:t>
            </a:r>
            <a:endParaRPr lang="en-US" noProof="1"/>
          </a:p>
        </p:txBody>
      </p:sp>
      <p:grpSp>
        <p:nvGrpSpPr>
          <p:cNvPr id="19" name="Gruppieren 18"/>
          <p:cNvGrpSpPr/>
          <p:nvPr/>
        </p:nvGrpSpPr>
        <p:grpSpPr>
          <a:xfrm>
            <a:off x="2033899" y="1793193"/>
            <a:ext cx="4986701" cy="3766121"/>
            <a:chOff x="2033899" y="1793193"/>
            <a:chExt cx="4986701" cy="3766121"/>
          </a:xfrm>
        </p:grpSpPr>
        <p:sp>
          <p:nvSpPr>
            <p:cNvPr id="24" name="Gebogener Pfeil 23"/>
            <p:cNvSpPr/>
            <p:nvPr/>
          </p:nvSpPr>
          <p:spPr bwMode="gray">
            <a:xfrm rot="16200000">
              <a:off x="2691718" y="1798749"/>
              <a:ext cx="3760565" cy="3760565"/>
            </a:xfrm>
            <a:prstGeom prst="circularArrow">
              <a:avLst>
                <a:gd name="adj1" fmla="val 5175"/>
                <a:gd name="adj2" fmla="val 672977"/>
                <a:gd name="adj3" fmla="val 1675136"/>
                <a:gd name="adj4" fmla="val 223034"/>
                <a:gd name="adj5" fmla="val 552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3405186" y="3257826"/>
              <a:ext cx="2368982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noProof="1" smtClean="0"/>
                <a:t>Purchase </a:t>
              </a:r>
              <a:br>
                <a:rPr lang="en-US" sz="2400" b="1" noProof="1" smtClean="0"/>
              </a:br>
              <a:r>
                <a:rPr lang="en-US" sz="2400" b="1" noProof="1" smtClean="0"/>
                <a:t>Decision Process </a:t>
              </a:r>
              <a:endParaRPr lang="en-US" sz="2400" b="1" noProof="1"/>
            </a:p>
          </p:txBody>
        </p:sp>
        <p:sp>
          <p:nvSpPr>
            <p:cNvPr id="7" name="Gebogener Pfeil 6"/>
            <p:cNvSpPr/>
            <p:nvPr/>
          </p:nvSpPr>
          <p:spPr bwMode="gray">
            <a:xfrm rot="16200000">
              <a:off x="2691718" y="1798748"/>
              <a:ext cx="3760565" cy="3760565"/>
            </a:xfrm>
            <a:prstGeom prst="circularArrow">
              <a:avLst>
                <a:gd name="adj1" fmla="val 5045"/>
                <a:gd name="adj2" fmla="val 672977"/>
                <a:gd name="adj3" fmla="val 20785809"/>
                <a:gd name="adj4" fmla="val 3368483"/>
                <a:gd name="adj5" fmla="val 552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2033899" y="2455263"/>
              <a:ext cx="1737761" cy="45885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Order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5196228" y="2455263"/>
              <a:ext cx="1737761" cy="45885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Inquiry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2033899" y="4634440"/>
              <a:ext cx="1737761" cy="45885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Submit tender to customer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5196228" y="4634440"/>
              <a:ext cx="1737761" cy="45885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Offer preparation with cooperation partner</a:t>
              </a: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2254094" y="1793193"/>
              <a:ext cx="1066319" cy="2531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cs typeface="Arial" charset="0"/>
                </a:rPr>
                <a:t>Order handling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5882902" y="1798748"/>
              <a:ext cx="1096775" cy="2531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cs typeface="Arial" charset="0"/>
                </a:rPr>
                <a:t>Pre- acquisition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 rot="16200000">
              <a:off x="6391325" y="3720529"/>
              <a:ext cx="1005403" cy="2531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cs typeface="Arial" charset="0"/>
                </a:rPr>
                <a:t>Bidding phase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 rot="16200000">
              <a:off x="1623082" y="3602023"/>
              <a:ext cx="1266693" cy="4139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b="1" noProof="1" smtClean="0">
                  <a:cs typeface="Arial" charset="0"/>
                </a:rPr>
                <a:t>Negotiations with </a:t>
              </a:r>
              <a:br>
                <a:rPr lang="en-US" sz="1100" b="1" noProof="1" smtClean="0">
                  <a:cs typeface="Arial" charset="0"/>
                </a:rPr>
              </a:br>
              <a:r>
                <a:rPr lang="en-US" sz="1100" b="1" noProof="1" smtClean="0">
                  <a:cs typeface="Arial" charset="0"/>
                </a:rPr>
                <a:t>customers ph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50690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evelopment Stages of Customer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the different stages of customers with increased customer satisfaction and customer loyalty</a:t>
            </a:r>
            <a:endParaRPr lang="en-US" noProof="1"/>
          </a:p>
        </p:txBody>
      </p:sp>
      <p:grpSp>
        <p:nvGrpSpPr>
          <p:cNvPr id="4" name="Gruppieren 18"/>
          <p:cNvGrpSpPr/>
          <p:nvPr/>
        </p:nvGrpSpPr>
        <p:grpSpPr>
          <a:xfrm>
            <a:off x="311452" y="1555749"/>
            <a:ext cx="8508698" cy="4246564"/>
            <a:chOff x="311452" y="1555749"/>
            <a:chExt cx="8508698" cy="4246564"/>
          </a:xfrm>
        </p:grpSpPr>
        <p:sp>
          <p:nvSpPr>
            <p:cNvPr id="9" name="Rechteck 8"/>
            <p:cNvSpPr/>
            <p:nvPr/>
          </p:nvSpPr>
          <p:spPr bwMode="gray">
            <a:xfrm>
              <a:off x="1056676" y="1555749"/>
              <a:ext cx="3083276" cy="66877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Suspected / Promising</a:t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New customer (prospective)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1056676" y="2305477"/>
              <a:ext cx="3083276" cy="619467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First-time customern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0" name="Rechteck 39"/>
            <p:cNvSpPr/>
            <p:nvPr/>
          </p:nvSpPr>
          <p:spPr bwMode="gray">
            <a:xfrm>
              <a:off x="1056676" y="2924944"/>
              <a:ext cx="3083276" cy="637754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Repeated customer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1056676" y="3635644"/>
              <a:ext cx="3083276" cy="66877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xclusive customer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4" name="Rechteck 43"/>
            <p:cNvSpPr/>
            <p:nvPr/>
          </p:nvSpPr>
          <p:spPr bwMode="gray">
            <a:xfrm>
              <a:off x="1056676" y="4378273"/>
              <a:ext cx="3083276" cy="66877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Active intercessory customer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6" name="Rechteck 45"/>
            <p:cNvSpPr/>
            <p:nvPr/>
          </p:nvSpPr>
          <p:spPr bwMode="gray">
            <a:xfrm>
              <a:off x="1056676" y="5133540"/>
              <a:ext cx="3083276" cy="66877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0" bIns="0" anchor="ctr"/>
            <a:lstStyle/>
            <a:p>
              <a:pPr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Integrated partners</a:t>
              </a:r>
            </a:p>
          </p:txBody>
        </p:sp>
        <p:grpSp>
          <p:nvGrpSpPr>
            <p:cNvPr id="5" name="Gruppieren 15"/>
            <p:cNvGrpSpPr/>
            <p:nvPr/>
          </p:nvGrpSpPr>
          <p:grpSpPr bwMode="gray">
            <a:xfrm>
              <a:off x="4233672" y="1555749"/>
              <a:ext cx="4586478" cy="4246564"/>
              <a:chOff x="3563888" y="1811818"/>
              <a:chExt cx="5256262" cy="4316926"/>
            </a:xfrm>
          </p:grpSpPr>
          <p:sp>
            <p:nvSpPr>
              <p:cNvPr id="38" name="Rechteck 37"/>
              <p:cNvSpPr/>
              <p:nvPr/>
            </p:nvSpPr>
            <p:spPr bwMode="gray">
              <a:xfrm>
                <a:off x="3563888" y="1811818"/>
                <a:ext cx="5256262" cy="67985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108000" rIns="72000" bIns="7200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Qualified new customer with  potentially strong interest in the product or service. Existing financial resources.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" name="Rechteck 40"/>
              <p:cNvSpPr/>
              <p:nvPr/>
            </p:nvSpPr>
            <p:spPr bwMode="gray">
              <a:xfrm>
                <a:off x="3563888" y="2573968"/>
                <a:ext cx="5256262" cy="127805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108000" rIns="72000" bIns="7200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If necessary procurement from suppliers or competitors.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ustomer loyalty strategies to make him repeated purchases.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Rechteck 42"/>
              <p:cNvSpPr/>
              <p:nvPr/>
            </p:nvSpPr>
            <p:spPr bwMode="gray">
              <a:xfrm>
                <a:off x="3563888" y="3926175"/>
                <a:ext cx="5256262" cy="67985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108000" rIns="72000" bIns="7200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urchase only from a provider / your company and don’t accept competitive products.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3563888" y="4681109"/>
                <a:ext cx="5256262" cy="67985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108000" rIns="72000" bIns="7200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Use of CRM tools e.g. membership in the customer club. Transfer positive aspects about the company / product to other potential customers.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Rechteck 46"/>
              <p:cNvSpPr/>
              <p:nvPr/>
            </p:nvSpPr>
            <p:spPr bwMode="gray">
              <a:xfrm>
                <a:off x="3563888" y="5448890"/>
                <a:ext cx="5256262" cy="67985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108000" rIns="72000" bIns="7200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Active cooperation between customer and 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mpany. (especially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B-to-B)</a:t>
                </a:r>
              </a:p>
            </p:txBody>
          </p:sp>
        </p:grpSp>
        <p:sp>
          <p:nvSpPr>
            <p:cNvPr id="2048" name="Freihandform 2047"/>
            <p:cNvSpPr/>
            <p:nvPr/>
          </p:nvSpPr>
          <p:spPr bwMode="gray">
            <a:xfrm>
              <a:off x="401935" y="1555751"/>
              <a:ext cx="582803" cy="4226345"/>
            </a:xfrm>
            <a:custGeom>
              <a:avLst/>
              <a:gdLst>
                <a:gd name="connsiteX0" fmla="*/ 411480 w 658368"/>
                <a:gd name="connsiteY0" fmla="*/ 0 h 4306824"/>
                <a:gd name="connsiteX1" fmla="*/ 411480 w 658368"/>
                <a:gd name="connsiteY1" fmla="*/ 3968496 h 4306824"/>
                <a:gd name="connsiteX2" fmla="*/ 658368 w 658368"/>
                <a:gd name="connsiteY2" fmla="*/ 3968496 h 4306824"/>
                <a:gd name="connsiteX3" fmla="*/ 320040 w 658368"/>
                <a:gd name="connsiteY3" fmla="*/ 4306824 h 4306824"/>
                <a:gd name="connsiteX4" fmla="*/ 0 w 658368"/>
                <a:gd name="connsiteY4" fmla="*/ 3986784 h 4306824"/>
                <a:gd name="connsiteX5" fmla="*/ 201168 w 658368"/>
                <a:gd name="connsiteY5" fmla="*/ 3986784 h 4306824"/>
                <a:gd name="connsiteX6" fmla="*/ 411480 w 658368"/>
                <a:gd name="connsiteY6" fmla="*/ 0 h 4306824"/>
                <a:gd name="connsiteX0" fmla="*/ 411480 w 658368"/>
                <a:gd name="connsiteY0" fmla="*/ 0 h 4306824"/>
                <a:gd name="connsiteX1" fmla="*/ 411480 w 658368"/>
                <a:gd name="connsiteY1" fmla="*/ 3968496 h 4306824"/>
                <a:gd name="connsiteX2" fmla="*/ 658368 w 658368"/>
                <a:gd name="connsiteY2" fmla="*/ 3968496 h 4306824"/>
                <a:gd name="connsiteX3" fmla="*/ 320040 w 658368"/>
                <a:gd name="connsiteY3" fmla="*/ 4306824 h 4306824"/>
                <a:gd name="connsiteX4" fmla="*/ 0 w 658368"/>
                <a:gd name="connsiteY4" fmla="*/ 3986784 h 4306824"/>
                <a:gd name="connsiteX5" fmla="*/ 204897 w 658368"/>
                <a:gd name="connsiteY5" fmla="*/ 3958504 h 4306824"/>
                <a:gd name="connsiteX6" fmla="*/ 411480 w 658368"/>
                <a:gd name="connsiteY6" fmla="*/ 0 h 4306824"/>
                <a:gd name="connsiteX0" fmla="*/ 445044 w 691932"/>
                <a:gd name="connsiteY0" fmla="*/ 0 h 4306824"/>
                <a:gd name="connsiteX1" fmla="*/ 445044 w 691932"/>
                <a:gd name="connsiteY1" fmla="*/ 3968496 h 4306824"/>
                <a:gd name="connsiteX2" fmla="*/ 691932 w 691932"/>
                <a:gd name="connsiteY2" fmla="*/ 3968496 h 4306824"/>
                <a:gd name="connsiteX3" fmla="*/ 353604 w 691932"/>
                <a:gd name="connsiteY3" fmla="*/ 4306824 h 4306824"/>
                <a:gd name="connsiteX4" fmla="*/ 0 w 691932"/>
                <a:gd name="connsiteY4" fmla="*/ 3977357 h 4306824"/>
                <a:gd name="connsiteX5" fmla="*/ 238461 w 691932"/>
                <a:gd name="connsiteY5" fmla="*/ 3958504 h 4306824"/>
                <a:gd name="connsiteX6" fmla="*/ 445044 w 691932"/>
                <a:gd name="connsiteY6" fmla="*/ 0 h 4306824"/>
                <a:gd name="connsiteX0" fmla="*/ 459961 w 706849"/>
                <a:gd name="connsiteY0" fmla="*/ 0 h 4306824"/>
                <a:gd name="connsiteX1" fmla="*/ 459961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253378 w 706849"/>
                <a:gd name="connsiteY5" fmla="*/ 3958504 h 4306824"/>
                <a:gd name="connsiteX6" fmla="*/ 459961 w 706849"/>
                <a:gd name="connsiteY6" fmla="*/ 0 h 4306824"/>
                <a:gd name="connsiteX0" fmla="*/ 459961 w 706849"/>
                <a:gd name="connsiteY0" fmla="*/ 0 h 4306824"/>
                <a:gd name="connsiteX1" fmla="*/ 459961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141499 w 706849"/>
                <a:gd name="connsiteY5" fmla="*/ 3967931 h 4306824"/>
                <a:gd name="connsiteX6" fmla="*/ 459961 w 706849"/>
                <a:gd name="connsiteY6" fmla="*/ 0 h 4306824"/>
                <a:gd name="connsiteX0" fmla="*/ 459961 w 706849"/>
                <a:gd name="connsiteY0" fmla="*/ 0 h 4306824"/>
                <a:gd name="connsiteX1" fmla="*/ 586757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141499 w 706849"/>
                <a:gd name="connsiteY5" fmla="*/ 3967931 h 4306824"/>
                <a:gd name="connsiteX6" fmla="*/ 459961 w 706849"/>
                <a:gd name="connsiteY6" fmla="*/ 0 h 4306824"/>
                <a:gd name="connsiteX0" fmla="*/ 571266 w 706849"/>
                <a:gd name="connsiteY0" fmla="*/ 0 h 4286727"/>
                <a:gd name="connsiteX1" fmla="*/ 586757 w 706849"/>
                <a:gd name="connsiteY1" fmla="*/ 3948399 h 4286727"/>
                <a:gd name="connsiteX2" fmla="*/ 706849 w 706849"/>
                <a:gd name="connsiteY2" fmla="*/ 3948399 h 4286727"/>
                <a:gd name="connsiteX3" fmla="*/ 368521 w 706849"/>
                <a:gd name="connsiteY3" fmla="*/ 4286727 h 4286727"/>
                <a:gd name="connsiteX4" fmla="*/ 0 w 706849"/>
                <a:gd name="connsiteY4" fmla="*/ 3952546 h 4286727"/>
                <a:gd name="connsiteX5" fmla="*/ 141499 w 706849"/>
                <a:gd name="connsiteY5" fmla="*/ 3947834 h 4286727"/>
                <a:gd name="connsiteX6" fmla="*/ 571266 w 706849"/>
                <a:gd name="connsiteY6" fmla="*/ 0 h 4286727"/>
                <a:gd name="connsiteX0" fmla="*/ 571266 w 706849"/>
                <a:gd name="connsiteY0" fmla="*/ 0 h 3494680"/>
                <a:gd name="connsiteX1" fmla="*/ 586757 w 706849"/>
                <a:gd name="connsiteY1" fmla="*/ 3156352 h 3494680"/>
                <a:gd name="connsiteX2" fmla="*/ 706849 w 706849"/>
                <a:gd name="connsiteY2" fmla="*/ 3156352 h 3494680"/>
                <a:gd name="connsiteX3" fmla="*/ 368521 w 706849"/>
                <a:gd name="connsiteY3" fmla="*/ 3494680 h 3494680"/>
                <a:gd name="connsiteX4" fmla="*/ 0 w 706849"/>
                <a:gd name="connsiteY4" fmla="*/ 3160499 h 3494680"/>
                <a:gd name="connsiteX5" fmla="*/ 141499 w 706849"/>
                <a:gd name="connsiteY5" fmla="*/ 3155787 h 3494680"/>
                <a:gd name="connsiteX6" fmla="*/ 571266 w 706849"/>
                <a:gd name="connsiteY6" fmla="*/ 0 h 3494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849" h="3494680">
                  <a:moveTo>
                    <a:pt x="571266" y="0"/>
                  </a:moveTo>
                  <a:cubicBezTo>
                    <a:pt x="576430" y="1316133"/>
                    <a:pt x="581593" y="1840219"/>
                    <a:pt x="586757" y="3156352"/>
                  </a:cubicBezTo>
                  <a:lnTo>
                    <a:pt x="706849" y="3156352"/>
                  </a:lnTo>
                  <a:lnTo>
                    <a:pt x="368521" y="3494680"/>
                  </a:lnTo>
                  <a:lnTo>
                    <a:pt x="0" y="3160499"/>
                  </a:lnTo>
                  <a:lnTo>
                    <a:pt x="141499" y="3155787"/>
                  </a:lnTo>
                  <a:lnTo>
                    <a:pt x="57126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" name="Textfeld 49"/>
            <p:cNvSpPr txBox="1"/>
            <p:nvPr/>
          </p:nvSpPr>
          <p:spPr bwMode="gray">
            <a:xfrm rot="16500000">
              <a:off x="-628677" y="3405110"/>
              <a:ext cx="22495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Customer satisfaction</a:t>
              </a:r>
              <a:endParaRPr lang="en-US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6256202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evelopment Stages of Customer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the different stages of customers with increased customer satisfaction and customer loyalty</a:t>
            </a:r>
            <a:endParaRPr lang="en-US" noProof="1"/>
          </a:p>
        </p:txBody>
      </p:sp>
      <p:grpSp>
        <p:nvGrpSpPr>
          <p:cNvPr id="4" name="Gruppieren 987"/>
          <p:cNvGrpSpPr/>
          <p:nvPr/>
        </p:nvGrpSpPr>
        <p:grpSpPr>
          <a:xfrm>
            <a:off x="233536" y="1506517"/>
            <a:ext cx="8628243" cy="4397398"/>
            <a:chOff x="233536" y="1506517"/>
            <a:chExt cx="8628243" cy="4397398"/>
          </a:xfrm>
        </p:grpSpPr>
        <p:sp>
          <p:nvSpPr>
            <p:cNvPr id="9" name="Rechteck 8"/>
            <p:cNvSpPr/>
            <p:nvPr/>
          </p:nvSpPr>
          <p:spPr bwMode="gray">
            <a:xfrm>
              <a:off x="233536" y="4093531"/>
              <a:ext cx="1523404" cy="107721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t" anchorCtr="0">
              <a:spAutoFit/>
            </a:bodyPr>
            <a:lstStyle/>
            <a:p>
              <a:r>
                <a:rPr lang="en-US" sz="1600" b="1" noProof="1"/>
                <a:t>Suspected / Promising</a:t>
              </a:r>
              <a:br>
                <a:rPr lang="en-US" sz="1600" b="1" noProof="1"/>
              </a:br>
              <a:r>
                <a:rPr lang="en-US" sz="1600" b="1" noProof="1"/>
                <a:t>New customer (prospective)</a:t>
              </a:r>
            </a:p>
          </p:txBody>
        </p:sp>
        <p:grpSp>
          <p:nvGrpSpPr>
            <p:cNvPr id="5" name="Gruppieren 4"/>
            <p:cNvGrpSpPr/>
            <p:nvPr/>
          </p:nvGrpSpPr>
          <p:grpSpPr bwMode="gray">
            <a:xfrm>
              <a:off x="1813385" y="4093531"/>
              <a:ext cx="7048394" cy="679854"/>
              <a:chOff x="1846106" y="4093531"/>
              <a:chExt cx="7191258" cy="679854"/>
            </a:xfrm>
          </p:grpSpPr>
          <p:sp>
            <p:nvSpPr>
              <p:cNvPr id="39" name="Rechteck 38"/>
              <p:cNvSpPr/>
              <p:nvPr/>
            </p:nvSpPr>
            <p:spPr bwMode="gray">
              <a:xfrm>
                <a:off x="1846106" y="4093531"/>
                <a:ext cx="1523404" cy="679854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t" anchorCtr="0"/>
              <a:lstStyle/>
              <a:p>
                <a:r>
                  <a:rPr lang="en-US" sz="1600" b="1" noProof="1" smtClean="0"/>
                  <a:t>First-time customern</a:t>
                </a:r>
                <a:endParaRPr lang="en-US" sz="1600" b="1" noProof="1"/>
              </a:p>
            </p:txBody>
          </p:sp>
          <p:sp>
            <p:nvSpPr>
              <p:cNvPr id="40" name="Rechteck 39"/>
              <p:cNvSpPr/>
              <p:nvPr/>
            </p:nvSpPr>
            <p:spPr bwMode="gray">
              <a:xfrm>
                <a:off x="3231297" y="4093531"/>
                <a:ext cx="1523404" cy="679854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t" anchorCtr="0"/>
              <a:lstStyle/>
              <a:p>
                <a:r>
                  <a:rPr lang="en-US" sz="1600" b="1" noProof="1" smtClean="0"/>
                  <a:t>Repeated customer</a:t>
                </a:r>
                <a:endParaRPr lang="en-US" sz="1600" b="1" noProof="1"/>
              </a:p>
            </p:txBody>
          </p:sp>
          <p:sp>
            <p:nvSpPr>
              <p:cNvPr id="42" name="Rechteck 41"/>
              <p:cNvSpPr/>
              <p:nvPr/>
            </p:nvSpPr>
            <p:spPr bwMode="gray">
              <a:xfrm>
                <a:off x="4766217" y="4093531"/>
                <a:ext cx="1523404" cy="679854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t" anchorCtr="0"/>
              <a:lstStyle/>
              <a:p>
                <a:r>
                  <a:rPr lang="en-US" sz="1600" b="1" noProof="1" smtClean="0"/>
                  <a:t>Exclusive customer</a:t>
                </a:r>
                <a:endParaRPr lang="en-US" sz="1600" b="1" noProof="1"/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6197479" y="4093531"/>
                <a:ext cx="1523404" cy="679854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t" anchorCtr="0"/>
              <a:lstStyle/>
              <a:p>
                <a:r>
                  <a:rPr lang="en-US" sz="1600" b="1" noProof="1" smtClean="0"/>
                  <a:t>Active intercessory customer</a:t>
                </a:r>
                <a:endParaRPr lang="en-US" sz="1600" b="1" noProof="1"/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7743918" y="4093531"/>
                <a:ext cx="1293446" cy="679854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t" anchorCtr="0"/>
              <a:lstStyle/>
              <a:p>
                <a:r>
                  <a:rPr lang="en-US" sz="1600" b="1" noProof="1" smtClean="0"/>
                  <a:t>Integrated partners</a:t>
                </a:r>
                <a:endParaRPr lang="en-US" sz="1600" b="1" noProof="1"/>
              </a:p>
            </p:txBody>
          </p:sp>
        </p:grpSp>
        <p:sp>
          <p:nvSpPr>
            <p:cNvPr id="2048" name="Freihandform 2047"/>
            <p:cNvSpPr/>
            <p:nvPr/>
          </p:nvSpPr>
          <p:spPr bwMode="gray">
            <a:xfrm rot="16200000" flipH="1">
              <a:off x="4161495" y="1038702"/>
              <a:ext cx="821802" cy="8497092"/>
            </a:xfrm>
            <a:custGeom>
              <a:avLst/>
              <a:gdLst>
                <a:gd name="connsiteX0" fmla="*/ 411480 w 658368"/>
                <a:gd name="connsiteY0" fmla="*/ 0 h 4306824"/>
                <a:gd name="connsiteX1" fmla="*/ 411480 w 658368"/>
                <a:gd name="connsiteY1" fmla="*/ 3968496 h 4306824"/>
                <a:gd name="connsiteX2" fmla="*/ 658368 w 658368"/>
                <a:gd name="connsiteY2" fmla="*/ 3968496 h 4306824"/>
                <a:gd name="connsiteX3" fmla="*/ 320040 w 658368"/>
                <a:gd name="connsiteY3" fmla="*/ 4306824 h 4306824"/>
                <a:gd name="connsiteX4" fmla="*/ 0 w 658368"/>
                <a:gd name="connsiteY4" fmla="*/ 3986784 h 4306824"/>
                <a:gd name="connsiteX5" fmla="*/ 201168 w 658368"/>
                <a:gd name="connsiteY5" fmla="*/ 3986784 h 4306824"/>
                <a:gd name="connsiteX6" fmla="*/ 411480 w 658368"/>
                <a:gd name="connsiteY6" fmla="*/ 0 h 4306824"/>
                <a:gd name="connsiteX0" fmla="*/ 411480 w 658368"/>
                <a:gd name="connsiteY0" fmla="*/ 0 h 4306824"/>
                <a:gd name="connsiteX1" fmla="*/ 411480 w 658368"/>
                <a:gd name="connsiteY1" fmla="*/ 3968496 h 4306824"/>
                <a:gd name="connsiteX2" fmla="*/ 658368 w 658368"/>
                <a:gd name="connsiteY2" fmla="*/ 3968496 h 4306824"/>
                <a:gd name="connsiteX3" fmla="*/ 320040 w 658368"/>
                <a:gd name="connsiteY3" fmla="*/ 4306824 h 4306824"/>
                <a:gd name="connsiteX4" fmla="*/ 0 w 658368"/>
                <a:gd name="connsiteY4" fmla="*/ 3986784 h 4306824"/>
                <a:gd name="connsiteX5" fmla="*/ 204897 w 658368"/>
                <a:gd name="connsiteY5" fmla="*/ 3958504 h 4306824"/>
                <a:gd name="connsiteX6" fmla="*/ 411480 w 658368"/>
                <a:gd name="connsiteY6" fmla="*/ 0 h 4306824"/>
                <a:gd name="connsiteX0" fmla="*/ 445044 w 691932"/>
                <a:gd name="connsiteY0" fmla="*/ 0 h 4306824"/>
                <a:gd name="connsiteX1" fmla="*/ 445044 w 691932"/>
                <a:gd name="connsiteY1" fmla="*/ 3968496 h 4306824"/>
                <a:gd name="connsiteX2" fmla="*/ 691932 w 691932"/>
                <a:gd name="connsiteY2" fmla="*/ 3968496 h 4306824"/>
                <a:gd name="connsiteX3" fmla="*/ 353604 w 691932"/>
                <a:gd name="connsiteY3" fmla="*/ 4306824 h 4306824"/>
                <a:gd name="connsiteX4" fmla="*/ 0 w 691932"/>
                <a:gd name="connsiteY4" fmla="*/ 3977357 h 4306824"/>
                <a:gd name="connsiteX5" fmla="*/ 238461 w 691932"/>
                <a:gd name="connsiteY5" fmla="*/ 3958504 h 4306824"/>
                <a:gd name="connsiteX6" fmla="*/ 445044 w 691932"/>
                <a:gd name="connsiteY6" fmla="*/ 0 h 4306824"/>
                <a:gd name="connsiteX0" fmla="*/ 459961 w 706849"/>
                <a:gd name="connsiteY0" fmla="*/ 0 h 4306824"/>
                <a:gd name="connsiteX1" fmla="*/ 459961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253378 w 706849"/>
                <a:gd name="connsiteY5" fmla="*/ 3958504 h 4306824"/>
                <a:gd name="connsiteX6" fmla="*/ 459961 w 706849"/>
                <a:gd name="connsiteY6" fmla="*/ 0 h 4306824"/>
                <a:gd name="connsiteX0" fmla="*/ 459961 w 706849"/>
                <a:gd name="connsiteY0" fmla="*/ 0 h 4306824"/>
                <a:gd name="connsiteX1" fmla="*/ 459961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141499 w 706849"/>
                <a:gd name="connsiteY5" fmla="*/ 3967931 h 4306824"/>
                <a:gd name="connsiteX6" fmla="*/ 459961 w 706849"/>
                <a:gd name="connsiteY6" fmla="*/ 0 h 4306824"/>
                <a:gd name="connsiteX0" fmla="*/ 459961 w 706849"/>
                <a:gd name="connsiteY0" fmla="*/ 0 h 4306824"/>
                <a:gd name="connsiteX1" fmla="*/ 586757 w 706849"/>
                <a:gd name="connsiteY1" fmla="*/ 3968496 h 4306824"/>
                <a:gd name="connsiteX2" fmla="*/ 706849 w 706849"/>
                <a:gd name="connsiteY2" fmla="*/ 3968496 h 4306824"/>
                <a:gd name="connsiteX3" fmla="*/ 368521 w 706849"/>
                <a:gd name="connsiteY3" fmla="*/ 4306824 h 4306824"/>
                <a:gd name="connsiteX4" fmla="*/ 0 w 706849"/>
                <a:gd name="connsiteY4" fmla="*/ 3972643 h 4306824"/>
                <a:gd name="connsiteX5" fmla="*/ 141499 w 706849"/>
                <a:gd name="connsiteY5" fmla="*/ 3967931 h 4306824"/>
                <a:gd name="connsiteX6" fmla="*/ 459961 w 706849"/>
                <a:gd name="connsiteY6" fmla="*/ 0 h 4306824"/>
                <a:gd name="connsiteX0" fmla="*/ 571266 w 706849"/>
                <a:gd name="connsiteY0" fmla="*/ 0 h 4286727"/>
                <a:gd name="connsiteX1" fmla="*/ 586757 w 706849"/>
                <a:gd name="connsiteY1" fmla="*/ 3948399 h 4286727"/>
                <a:gd name="connsiteX2" fmla="*/ 706849 w 706849"/>
                <a:gd name="connsiteY2" fmla="*/ 3948399 h 4286727"/>
                <a:gd name="connsiteX3" fmla="*/ 368521 w 706849"/>
                <a:gd name="connsiteY3" fmla="*/ 4286727 h 4286727"/>
                <a:gd name="connsiteX4" fmla="*/ 0 w 706849"/>
                <a:gd name="connsiteY4" fmla="*/ 3952546 h 4286727"/>
                <a:gd name="connsiteX5" fmla="*/ 141499 w 706849"/>
                <a:gd name="connsiteY5" fmla="*/ 3947834 h 4286727"/>
                <a:gd name="connsiteX6" fmla="*/ 571266 w 706849"/>
                <a:gd name="connsiteY6" fmla="*/ 0 h 428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849" h="4286727">
                  <a:moveTo>
                    <a:pt x="571266" y="0"/>
                  </a:moveTo>
                  <a:cubicBezTo>
                    <a:pt x="576430" y="1316133"/>
                    <a:pt x="581593" y="2632266"/>
                    <a:pt x="586757" y="3948399"/>
                  </a:cubicBezTo>
                  <a:lnTo>
                    <a:pt x="706849" y="3948399"/>
                  </a:lnTo>
                  <a:lnTo>
                    <a:pt x="368521" y="4286727"/>
                  </a:lnTo>
                  <a:lnTo>
                    <a:pt x="0" y="3952546"/>
                  </a:lnTo>
                  <a:lnTo>
                    <a:pt x="141499" y="3947834"/>
                  </a:lnTo>
                  <a:lnTo>
                    <a:pt x="571266" y="0"/>
                  </a:lnTo>
                  <a:close/>
                </a:path>
              </a:pathLst>
            </a:custGeom>
            <a:solidFill>
              <a:schemeClr val="accent1"/>
            </a:soli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50" name="Textfeld 49"/>
            <p:cNvSpPr txBox="1"/>
            <p:nvPr/>
          </p:nvSpPr>
          <p:spPr bwMode="gray">
            <a:xfrm>
              <a:off x="2807486" y="5534583"/>
              <a:ext cx="32456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Increasing customer satisfaction</a:t>
              </a:r>
              <a:endParaRPr lang="en-US" b="1" noProof="1"/>
            </a:p>
          </p:txBody>
        </p:sp>
        <p:grpSp>
          <p:nvGrpSpPr>
            <p:cNvPr id="6" name="Gruppieren 981"/>
            <p:cNvGrpSpPr/>
            <p:nvPr/>
          </p:nvGrpSpPr>
          <p:grpSpPr>
            <a:xfrm>
              <a:off x="1755022" y="1971688"/>
              <a:ext cx="1410832" cy="2162378"/>
              <a:chOff x="1755022" y="1971688"/>
              <a:chExt cx="1410832" cy="2162378"/>
            </a:xfrm>
          </p:grpSpPr>
          <p:sp>
            <p:nvSpPr>
              <p:cNvPr id="30" name="Ellipse 29" descr="© INSCALE GmbH, 26.05.2010&#10;http://www.presentationload.com/"/>
              <p:cNvSpPr/>
              <p:nvPr/>
            </p:nvSpPr>
            <p:spPr bwMode="gray">
              <a:xfrm>
                <a:off x="1755022" y="3169192"/>
                <a:ext cx="1410832" cy="96487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190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7" name="Gruppieren 500"/>
              <p:cNvGrpSpPr/>
              <p:nvPr/>
            </p:nvGrpSpPr>
            <p:grpSpPr bwMode="gray">
              <a:xfrm>
                <a:off x="2003233" y="1971688"/>
                <a:ext cx="840919" cy="1759686"/>
                <a:chOff x="456277" y="1575807"/>
                <a:chExt cx="1095328" cy="2292056"/>
              </a:xfrm>
            </p:grpSpPr>
            <p:grpSp>
              <p:nvGrpSpPr>
                <p:cNvPr id="11" name="Gruppieren 28"/>
                <p:cNvGrpSpPr/>
                <p:nvPr/>
              </p:nvGrpSpPr>
              <p:grpSpPr bwMode="gray">
                <a:xfrm>
                  <a:off x="456277" y="1681612"/>
                  <a:ext cx="716518" cy="2169986"/>
                  <a:chOff x="-4095750" y="5688013"/>
                  <a:chExt cx="6791325" cy="20567650"/>
                </a:xfrm>
                <a:solidFill>
                  <a:srgbClr val="C8C8C8"/>
                </a:solidFill>
              </p:grpSpPr>
              <p:sp>
                <p:nvSpPr>
                  <p:cNvPr id="573" name="Freeform 267"/>
                  <p:cNvSpPr>
                    <a:spLocks/>
                  </p:cNvSpPr>
                  <p:nvPr/>
                </p:nvSpPr>
                <p:spPr bwMode="gray">
                  <a:xfrm>
                    <a:off x="1247775" y="10442576"/>
                    <a:ext cx="641350" cy="3325813"/>
                  </a:xfrm>
                  <a:custGeom>
                    <a:avLst/>
                    <a:gdLst/>
                    <a:ahLst/>
                    <a:cxnLst>
                      <a:cxn ang="0">
                        <a:pos x="12" y="41"/>
                      </a:cxn>
                      <a:cxn ang="0">
                        <a:pos x="0" y="275"/>
                      </a:cxn>
                      <a:cxn ang="0">
                        <a:pos x="34" y="498"/>
                      </a:cxn>
                      <a:cxn ang="0">
                        <a:pos x="1" y="887"/>
                      </a:cxn>
                      <a:cxn ang="0">
                        <a:pos x="35" y="736"/>
                      </a:cxn>
                      <a:cxn ang="0">
                        <a:pos x="18" y="415"/>
                      </a:cxn>
                      <a:cxn ang="0">
                        <a:pos x="24" y="211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171" h="887">
                        <a:moveTo>
                          <a:pt x="12" y="41"/>
                        </a:moveTo>
                        <a:cubicBezTo>
                          <a:pt x="37" y="97"/>
                          <a:pt x="0" y="207"/>
                          <a:pt x="0" y="275"/>
                        </a:cubicBezTo>
                        <a:cubicBezTo>
                          <a:pt x="0" y="361"/>
                          <a:pt x="6" y="422"/>
                          <a:pt x="34" y="498"/>
                        </a:cubicBezTo>
                        <a:cubicBezTo>
                          <a:pt x="80" y="621"/>
                          <a:pt x="171" y="811"/>
                          <a:pt x="1" y="887"/>
                        </a:cubicBezTo>
                        <a:cubicBezTo>
                          <a:pt x="13" y="832"/>
                          <a:pt x="35" y="802"/>
                          <a:pt x="35" y="736"/>
                        </a:cubicBezTo>
                        <a:cubicBezTo>
                          <a:pt x="35" y="631"/>
                          <a:pt x="28" y="520"/>
                          <a:pt x="18" y="415"/>
                        </a:cubicBezTo>
                        <a:cubicBezTo>
                          <a:pt x="11" y="345"/>
                          <a:pt x="18" y="278"/>
                          <a:pt x="24" y="211"/>
                        </a:cubicBezTo>
                        <a:cubicBezTo>
                          <a:pt x="30" y="144"/>
                          <a:pt x="7" y="62"/>
                          <a:pt x="2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4" name="Freeform 268"/>
                  <p:cNvSpPr>
                    <a:spLocks/>
                  </p:cNvSpPr>
                  <p:nvPr/>
                </p:nvSpPr>
                <p:spPr bwMode="gray">
                  <a:xfrm>
                    <a:off x="-3135313" y="23976013"/>
                    <a:ext cx="1889125" cy="2017713"/>
                  </a:xfrm>
                  <a:custGeom>
                    <a:avLst/>
                    <a:gdLst/>
                    <a:ahLst/>
                    <a:cxnLst>
                      <a:cxn ang="0">
                        <a:pos x="453" y="0"/>
                      </a:cxn>
                      <a:cxn ang="0">
                        <a:pos x="491" y="43"/>
                      </a:cxn>
                      <a:cxn ang="0">
                        <a:pos x="503" y="116"/>
                      </a:cxn>
                      <a:cxn ang="0">
                        <a:pos x="451" y="228"/>
                      </a:cxn>
                      <a:cxn ang="0">
                        <a:pos x="385" y="327"/>
                      </a:cxn>
                      <a:cxn ang="0">
                        <a:pos x="343" y="382"/>
                      </a:cxn>
                      <a:cxn ang="0">
                        <a:pos x="324" y="452"/>
                      </a:cxn>
                      <a:cxn ang="0">
                        <a:pos x="196" y="515"/>
                      </a:cxn>
                      <a:cxn ang="0">
                        <a:pos x="56" y="537"/>
                      </a:cxn>
                      <a:cxn ang="0">
                        <a:pos x="4" y="531"/>
                      </a:cxn>
                      <a:cxn ang="0">
                        <a:pos x="44" y="415"/>
                      </a:cxn>
                      <a:cxn ang="0">
                        <a:pos x="94" y="301"/>
                      </a:cxn>
                      <a:cxn ang="0">
                        <a:pos x="205" y="239"/>
                      </a:cxn>
                      <a:cxn ang="0">
                        <a:pos x="318" y="133"/>
                      </a:cxn>
                      <a:cxn ang="0">
                        <a:pos x="372" y="26"/>
                      </a:cxn>
                      <a:cxn ang="0">
                        <a:pos x="471" y="11"/>
                      </a:cxn>
                    </a:cxnLst>
                    <a:rect l="0" t="0" r="r" b="b"/>
                    <a:pathLst>
                      <a:path w="504" h="538">
                        <a:moveTo>
                          <a:pt x="453" y="0"/>
                        </a:moveTo>
                        <a:cubicBezTo>
                          <a:pt x="468" y="18"/>
                          <a:pt x="482" y="20"/>
                          <a:pt x="491" y="43"/>
                        </a:cubicBezTo>
                        <a:cubicBezTo>
                          <a:pt x="500" y="66"/>
                          <a:pt x="502" y="91"/>
                          <a:pt x="503" y="116"/>
                        </a:cubicBezTo>
                        <a:cubicBezTo>
                          <a:pt x="504" y="156"/>
                          <a:pt x="497" y="220"/>
                          <a:pt x="451" y="228"/>
                        </a:cubicBezTo>
                        <a:cubicBezTo>
                          <a:pt x="427" y="259"/>
                          <a:pt x="408" y="295"/>
                          <a:pt x="385" y="327"/>
                        </a:cubicBezTo>
                        <a:cubicBezTo>
                          <a:pt x="373" y="344"/>
                          <a:pt x="349" y="362"/>
                          <a:pt x="343" y="382"/>
                        </a:cubicBezTo>
                        <a:cubicBezTo>
                          <a:pt x="334" y="411"/>
                          <a:pt x="345" y="427"/>
                          <a:pt x="324" y="452"/>
                        </a:cubicBezTo>
                        <a:cubicBezTo>
                          <a:pt x="289" y="493"/>
                          <a:pt x="242" y="495"/>
                          <a:pt x="196" y="515"/>
                        </a:cubicBezTo>
                        <a:cubicBezTo>
                          <a:pt x="151" y="535"/>
                          <a:pt x="109" y="535"/>
                          <a:pt x="56" y="537"/>
                        </a:cubicBezTo>
                        <a:cubicBezTo>
                          <a:pt x="42" y="538"/>
                          <a:pt x="19" y="532"/>
                          <a:pt x="4" y="531"/>
                        </a:cubicBezTo>
                        <a:cubicBezTo>
                          <a:pt x="0" y="499"/>
                          <a:pt x="30" y="441"/>
                          <a:pt x="44" y="415"/>
                        </a:cubicBezTo>
                        <a:cubicBezTo>
                          <a:pt x="62" y="381"/>
                          <a:pt x="70" y="333"/>
                          <a:pt x="94" y="301"/>
                        </a:cubicBezTo>
                        <a:cubicBezTo>
                          <a:pt x="120" y="267"/>
                          <a:pt x="170" y="258"/>
                          <a:pt x="205" y="239"/>
                        </a:cubicBezTo>
                        <a:cubicBezTo>
                          <a:pt x="250" y="213"/>
                          <a:pt x="288" y="178"/>
                          <a:pt x="318" y="133"/>
                        </a:cubicBezTo>
                        <a:cubicBezTo>
                          <a:pt x="340" y="101"/>
                          <a:pt x="341" y="52"/>
                          <a:pt x="372" y="26"/>
                        </a:cubicBezTo>
                        <a:cubicBezTo>
                          <a:pt x="398" y="5"/>
                          <a:pt x="439" y="6"/>
                          <a:pt x="471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5" name="Freeform 269"/>
                  <p:cNvSpPr>
                    <a:spLocks/>
                  </p:cNvSpPr>
                  <p:nvPr/>
                </p:nvSpPr>
                <p:spPr bwMode="gray">
                  <a:xfrm>
                    <a:off x="-2787650" y="15524163"/>
                    <a:ext cx="2917825" cy="9955213"/>
                  </a:xfrm>
                  <a:custGeom>
                    <a:avLst/>
                    <a:gdLst/>
                    <a:ahLst/>
                    <a:cxnLst>
                      <a:cxn ang="0">
                        <a:pos x="751" y="46"/>
                      </a:cxn>
                      <a:cxn ang="0">
                        <a:pos x="715" y="302"/>
                      </a:cxn>
                      <a:cxn ang="0">
                        <a:pos x="696" y="587"/>
                      </a:cxn>
                      <a:cxn ang="0">
                        <a:pos x="681" y="884"/>
                      </a:cxn>
                      <a:cxn ang="0">
                        <a:pos x="689" y="1016"/>
                      </a:cxn>
                      <a:cxn ang="0">
                        <a:pos x="651" y="1113"/>
                      </a:cxn>
                      <a:cxn ang="0">
                        <a:pos x="622" y="1298"/>
                      </a:cxn>
                      <a:cxn ang="0">
                        <a:pos x="568" y="1465"/>
                      </a:cxn>
                      <a:cxn ang="0">
                        <a:pos x="547" y="1679"/>
                      </a:cxn>
                      <a:cxn ang="0">
                        <a:pos x="424" y="2026"/>
                      </a:cxn>
                      <a:cxn ang="0">
                        <a:pos x="377" y="2201"/>
                      </a:cxn>
                      <a:cxn ang="0">
                        <a:pos x="377" y="2291"/>
                      </a:cxn>
                      <a:cxn ang="0">
                        <a:pos x="374" y="2408"/>
                      </a:cxn>
                      <a:cxn ang="0">
                        <a:pos x="286" y="2521"/>
                      </a:cxn>
                      <a:cxn ang="0">
                        <a:pos x="211" y="2655"/>
                      </a:cxn>
                      <a:cxn ang="0">
                        <a:pos x="12" y="2581"/>
                      </a:cxn>
                      <a:cxn ang="0">
                        <a:pos x="113" y="2475"/>
                      </a:cxn>
                      <a:cxn ang="0">
                        <a:pos x="210" y="2354"/>
                      </a:cxn>
                      <a:cxn ang="0">
                        <a:pos x="252" y="1741"/>
                      </a:cxn>
                      <a:cxn ang="0">
                        <a:pos x="270" y="1473"/>
                      </a:cxn>
                      <a:cxn ang="0">
                        <a:pos x="283" y="1380"/>
                      </a:cxn>
                      <a:cxn ang="0">
                        <a:pos x="345" y="1184"/>
                      </a:cxn>
                      <a:cxn ang="0">
                        <a:pos x="354" y="1079"/>
                      </a:cxn>
                      <a:cxn ang="0">
                        <a:pos x="372" y="967"/>
                      </a:cxn>
                      <a:cxn ang="0">
                        <a:pos x="357" y="676"/>
                      </a:cxn>
                      <a:cxn ang="0">
                        <a:pos x="358" y="8"/>
                      </a:cxn>
                      <a:cxn ang="0">
                        <a:pos x="778" y="50"/>
                      </a:cxn>
                    </a:cxnLst>
                    <a:rect l="0" t="0" r="r" b="b"/>
                    <a:pathLst>
                      <a:path w="778" h="2655">
                        <a:moveTo>
                          <a:pt x="751" y="46"/>
                        </a:moveTo>
                        <a:cubicBezTo>
                          <a:pt x="750" y="133"/>
                          <a:pt x="733" y="218"/>
                          <a:pt x="715" y="302"/>
                        </a:cubicBezTo>
                        <a:cubicBezTo>
                          <a:pt x="694" y="393"/>
                          <a:pt x="701" y="495"/>
                          <a:pt x="696" y="587"/>
                        </a:cubicBezTo>
                        <a:cubicBezTo>
                          <a:pt x="692" y="687"/>
                          <a:pt x="680" y="784"/>
                          <a:pt x="681" y="884"/>
                        </a:cubicBezTo>
                        <a:cubicBezTo>
                          <a:pt x="681" y="929"/>
                          <a:pt x="689" y="970"/>
                          <a:pt x="689" y="1016"/>
                        </a:cubicBezTo>
                        <a:cubicBezTo>
                          <a:pt x="688" y="1062"/>
                          <a:pt x="669" y="1075"/>
                          <a:pt x="651" y="1113"/>
                        </a:cubicBezTo>
                        <a:cubicBezTo>
                          <a:pt x="634" y="1151"/>
                          <a:pt x="641" y="1272"/>
                          <a:pt x="622" y="1298"/>
                        </a:cubicBezTo>
                        <a:cubicBezTo>
                          <a:pt x="592" y="1340"/>
                          <a:pt x="568" y="1404"/>
                          <a:pt x="568" y="1465"/>
                        </a:cubicBezTo>
                        <a:cubicBezTo>
                          <a:pt x="568" y="1538"/>
                          <a:pt x="568" y="1609"/>
                          <a:pt x="547" y="1679"/>
                        </a:cubicBezTo>
                        <a:cubicBezTo>
                          <a:pt x="529" y="1741"/>
                          <a:pt x="445" y="1972"/>
                          <a:pt x="424" y="2026"/>
                        </a:cubicBezTo>
                        <a:cubicBezTo>
                          <a:pt x="402" y="2084"/>
                          <a:pt x="382" y="2137"/>
                          <a:pt x="377" y="2201"/>
                        </a:cubicBezTo>
                        <a:cubicBezTo>
                          <a:pt x="374" y="2231"/>
                          <a:pt x="370" y="2262"/>
                          <a:pt x="377" y="2291"/>
                        </a:cubicBezTo>
                        <a:cubicBezTo>
                          <a:pt x="384" y="2320"/>
                          <a:pt x="384" y="2374"/>
                          <a:pt x="374" y="2408"/>
                        </a:cubicBezTo>
                        <a:cubicBezTo>
                          <a:pt x="358" y="2461"/>
                          <a:pt x="327" y="2480"/>
                          <a:pt x="286" y="2521"/>
                        </a:cubicBezTo>
                        <a:cubicBezTo>
                          <a:pt x="255" y="2552"/>
                          <a:pt x="255" y="2616"/>
                          <a:pt x="211" y="2655"/>
                        </a:cubicBezTo>
                        <a:cubicBezTo>
                          <a:pt x="211" y="2655"/>
                          <a:pt x="0" y="2611"/>
                          <a:pt x="12" y="2581"/>
                        </a:cubicBezTo>
                        <a:cubicBezTo>
                          <a:pt x="29" y="2541"/>
                          <a:pt x="79" y="2502"/>
                          <a:pt x="113" y="2475"/>
                        </a:cubicBezTo>
                        <a:cubicBezTo>
                          <a:pt x="148" y="2445"/>
                          <a:pt x="189" y="2396"/>
                          <a:pt x="210" y="2354"/>
                        </a:cubicBezTo>
                        <a:cubicBezTo>
                          <a:pt x="236" y="2303"/>
                          <a:pt x="255" y="1803"/>
                          <a:pt x="252" y="1741"/>
                        </a:cubicBezTo>
                        <a:cubicBezTo>
                          <a:pt x="251" y="1710"/>
                          <a:pt x="264" y="1503"/>
                          <a:pt x="270" y="1473"/>
                        </a:cubicBezTo>
                        <a:cubicBezTo>
                          <a:pt x="277" y="1436"/>
                          <a:pt x="286" y="1414"/>
                          <a:pt x="283" y="1380"/>
                        </a:cubicBezTo>
                        <a:cubicBezTo>
                          <a:pt x="278" y="1310"/>
                          <a:pt x="329" y="1249"/>
                          <a:pt x="345" y="1184"/>
                        </a:cubicBezTo>
                        <a:cubicBezTo>
                          <a:pt x="354" y="1152"/>
                          <a:pt x="350" y="1112"/>
                          <a:pt x="354" y="1079"/>
                        </a:cubicBezTo>
                        <a:cubicBezTo>
                          <a:pt x="357" y="1041"/>
                          <a:pt x="368" y="1005"/>
                          <a:pt x="372" y="967"/>
                        </a:cubicBezTo>
                        <a:cubicBezTo>
                          <a:pt x="382" y="870"/>
                          <a:pt x="373" y="768"/>
                          <a:pt x="357" y="676"/>
                        </a:cubicBezTo>
                        <a:cubicBezTo>
                          <a:pt x="321" y="456"/>
                          <a:pt x="347" y="227"/>
                          <a:pt x="358" y="8"/>
                        </a:cubicBezTo>
                        <a:cubicBezTo>
                          <a:pt x="506" y="0"/>
                          <a:pt x="644" y="5"/>
                          <a:pt x="778" y="5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6" name="Freeform 270"/>
                  <p:cNvSpPr>
                    <a:spLocks/>
                  </p:cNvSpPr>
                  <p:nvPr/>
                </p:nvSpPr>
                <p:spPr bwMode="gray">
                  <a:xfrm>
                    <a:off x="-1133475" y="7926388"/>
                    <a:ext cx="2122488" cy="3573463"/>
                  </a:xfrm>
                  <a:custGeom>
                    <a:avLst/>
                    <a:gdLst/>
                    <a:ahLst/>
                    <a:cxnLst>
                      <a:cxn ang="0">
                        <a:pos x="136" y="59"/>
                      </a:cxn>
                      <a:cxn ang="0">
                        <a:pos x="84" y="133"/>
                      </a:cxn>
                      <a:cxn ang="0">
                        <a:pos x="53" y="222"/>
                      </a:cxn>
                      <a:cxn ang="0">
                        <a:pos x="12" y="339"/>
                      </a:cxn>
                      <a:cxn ang="0">
                        <a:pos x="3" y="386"/>
                      </a:cxn>
                      <a:cxn ang="0">
                        <a:pos x="46" y="494"/>
                      </a:cxn>
                      <a:cxn ang="0">
                        <a:pos x="96" y="654"/>
                      </a:cxn>
                      <a:cxn ang="0">
                        <a:pos x="136" y="714"/>
                      </a:cxn>
                      <a:cxn ang="0">
                        <a:pos x="142" y="820"/>
                      </a:cxn>
                      <a:cxn ang="0">
                        <a:pos x="260" y="931"/>
                      </a:cxn>
                      <a:cxn ang="0">
                        <a:pos x="377" y="829"/>
                      </a:cxn>
                      <a:cxn ang="0">
                        <a:pos x="429" y="674"/>
                      </a:cxn>
                      <a:cxn ang="0">
                        <a:pos x="471" y="538"/>
                      </a:cxn>
                      <a:cxn ang="0">
                        <a:pos x="534" y="445"/>
                      </a:cxn>
                      <a:cxn ang="0">
                        <a:pos x="560" y="355"/>
                      </a:cxn>
                      <a:cxn ang="0">
                        <a:pos x="514" y="238"/>
                      </a:cxn>
                      <a:cxn ang="0">
                        <a:pos x="436" y="124"/>
                      </a:cxn>
                      <a:cxn ang="0">
                        <a:pos x="322" y="4"/>
                      </a:cxn>
                      <a:cxn ang="0">
                        <a:pos x="179" y="36"/>
                      </a:cxn>
                    </a:cxnLst>
                    <a:rect l="0" t="0" r="r" b="b"/>
                    <a:pathLst>
                      <a:path w="566" h="953">
                        <a:moveTo>
                          <a:pt x="136" y="59"/>
                        </a:moveTo>
                        <a:cubicBezTo>
                          <a:pt x="136" y="88"/>
                          <a:pt x="99" y="110"/>
                          <a:pt x="84" y="133"/>
                        </a:cubicBezTo>
                        <a:cubicBezTo>
                          <a:pt x="65" y="163"/>
                          <a:pt x="62" y="189"/>
                          <a:pt x="53" y="222"/>
                        </a:cubicBezTo>
                        <a:cubicBezTo>
                          <a:pt x="43" y="258"/>
                          <a:pt x="23" y="300"/>
                          <a:pt x="12" y="339"/>
                        </a:cubicBezTo>
                        <a:cubicBezTo>
                          <a:pt x="7" y="356"/>
                          <a:pt x="4" y="368"/>
                          <a:pt x="3" y="386"/>
                        </a:cubicBezTo>
                        <a:cubicBezTo>
                          <a:pt x="0" y="439"/>
                          <a:pt x="30" y="452"/>
                          <a:pt x="46" y="494"/>
                        </a:cubicBezTo>
                        <a:cubicBezTo>
                          <a:pt x="66" y="547"/>
                          <a:pt x="69" y="601"/>
                          <a:pt x="96" y="654"/>
                        </a:cubicBezTo>
                        <a:cubicBezTo>
                          <a:pt x="106" y="675"/>
                          <a:pt x="127" y="692"/>
                          <a:pt x="136" y="714"/>
                        </a:cubicBezTo>
                        <a:cubicBezTo>
                          <a:pt x="148" y="744"/>
                          <a:pt x="137" y="786"/>
                          <a:pt x="142" y="820"/>
                        </a:cubicBezTo>
                        <a:cubicBezTo>
                          <a:pt x="153" y="889"/>
                          <a:pt x="176" y="953"/>
                          <a:pt x="260" y="931"/>
                        </a:cubicBezTo>
                        <a:cubicBezTo>
                          <a:pt x="282" y="880"/>
                          <a:pt x="342" y="868"/>
                          <a:pt x="377" y="829"/>
                        </a:cubicBezTo>
                        <a:cubicBezTo>
                          <a:pt x="417" y="784"/>
                          <a:pt x="421" y="730"/>
                          <a:pt x="429" y="674"/>
                        </a:cubicBezTo>
                        <a:cubicBezTo>
                          <a:pt x="435" y="631"/>
                          <a:pt x="447" y="575"/>
                          <a:pt x="471" y="538"/>
                        </a:cubicBezTo>
                        <a:cubicBezTo>
                          <a:pt x="494" y="502"/>
                          <a:pt x="520" y="487"/>
                          <a:pt x="534" y="445"/>
                        </a:cubicBezTo>
                        <a:cubicBezTo>
                          <a:pt x="544" y="414"/>
                          <a:pt x="557" y="388"/>
                          <a:pt x="560" y="355"/>
                        </a:cubicBezTo>
                        <a:cubicBezTo>
                          <a:pt x="566" y="305"/>
                          <a:pt x="541" y="281"/>
                          <a:pt x="514" y="238"/>
                        </a:cubicBezTo>
                        <a:cubicBezTo>
                          <a:pt x="487" y="197"/>
                          <a:pt x="453" y="170"/>
                          <a:pt x="436" y="124"/>
                        </a:cubicBezTo>
                        <a:cubicBezTo>
                          <a:pt x="413" y="64"/>
                          <a:pt x="396" y="10"/>
                          <a:pt x="322" y="4"/>
                        </a:cubicBezTo>
                        <a:cubicBezTo>
                          <a:pt x="271" y="0"/>
                          <a:pt x="227" y="27"/>
                          <a:pt x="179" y="3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7" name="Freeform 271"/>
                  <p:cNvSpPr>
                    <a:spLocks/>
                  </p:cNvSpPr>
                  <p:nvPr/>
                </p:nvSpPr>
                <p:spPr bwMode="gray">
                  <a:xfrm>
                    <a:off x="-304800" y="23855363"/>
                    <a:ext cx="1431925" cy="2400300"/>
                  </a:xfrm>
                  <a:custGeom>
                    <a:avLst/>
                    <a:gdLst/>
                    <a:ahLst/>
                    <a:cxnLst>
                      <a:cxn ang="0">
                        <a:pos x="99" y="26"/>
                      </a:cxn>
                      <a:cxn ang="0">
                        <a:pos x="29" y="111"/>
                      </a:cxn>
                      <a:cxn ang="0">
                        <a:pos x="8" y="172"/>
                      </a:cxn>
                      <a:cxn ang="0">
                        <a:pos x="31" y="239"/>
                      </a:cxn>
                      <a:cxn ang="0">
                        <a:pos x="78" y="368"/>
                      </a:cxn>
                      <a:cxn ang="0">
                        <a:pos x="93" y="429"/>
                      </a:cxn>
                      <a:cxn ang="0">
                        <a:pos x="99" y="508"/>
                      </a:cxn>
                      <a:cxn ang="0">
                        <a:pos x="209" y="588"/>
                      </a:cxn>
                      <a:cxn ang="0">
                        <a:pos x="370" y="639"/>
                      </a:cxn>
                      <a:cxn ang="0">
                        <a:pos x="377" y="496"/>
                      </a:cxn>
                      <a:cxn ang="0">
                        <a:pos x="362" y="438"/>
                      </a:cxn>
                      <a:cxn ang="0">
                        <a:pos x="327" y="390"/>
                      </a:cxn>
                      <a:cxn ang="0">
                        <a:pos x="279" y="275"/>
                      </a:cxn>
                      <a:cxn ang="0">
                        <a:pos x="238" y="146"/>
                      </a:cxn>
                      <a:cxn ang="0">
                        <a:pos x="186" y="38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382" h="640">
                        <a:moveTo>
                          <a:pt x="99" y="26"/>
                        </a:moveTo>
                        <a:cubicBezTo>
                          <a:pt x="49" y="19"/>
                          <a:pt x="36" y="75"/>
                          <a:pt x="29" y="111"/>
                        </a:cubicBezTo>
                        <a:cubicBezTo>
                          <a:pt x="25" y="132"/>
                          <a:pt x="13" y="152"/>
                          <a:pt x="8" y="172"/>
                        </a:cubicBezTo>
                        <a:cubicBezTo>
                          <a:pt x="0" y="203"/>
                          <a:pt x="19" y="212"/>
                          <a:pt x="31" y="239"/>
                        </a:cubicBezTo>
                        <a:cubicBezTo>
                          <a:pt x="49" y="281"/>
                          <a:pt x="70" y="324"/>
                          <a:pt x="78" y="368"/>
                        </a:cubicBezTo>
                        <a:cubicBezTo>
                          <a:pt x="82" y="389"/>
                          <a:pt x="89" y="408"/>
                          <a:pt x="93" y="429"/>
                        </a:cubicBezTo>
                        <a:cubicBezTo>
                          <a:pt x="98" y="453"/>
                          <a:pt x="91" y="484"/>
                          <a:pt x="99" y="508"/>
                        </a:cubicBezTo>
                        <a:cubicBezTo>
                          <a:pt x="113" y="556"/>
                          <a:pt x="168" y="570"/>
                          <a:pt x="209" y="588"/>
                        </a:cubicBezTo>
                        <a:cubicBezTo>
                          <a:pt x="259" y="609"/>
                          <a:pt x="315" y="640"/>
                          <a:pt x="370" y="639"/>
                        </a:cubicBezTo>
                        <a:cubicBezTo>
                          <a:pt x="376" y="592"/>
                          <a:pt x="382" y="545"/>
                          <a:pt x="377" y="496"/>
                        </a:cubicBezTo>
                        <a:cubicBezTo>
                          <a:pt x="375" y="474"/>
                          <a:pt x="372" y="457"/>
                          <a:pt x="362" y="438"/>
                        </a:cubicBezTo>
                        <a:cubicBezTo>
                          <a:pt x="352" y="421"/>
                          <a:pt x="338" y="407"/>
                          <a:pt x="327" y="390"/>
                        </a:cubicBezTo>
                        <a:cubicBezTo>
                          <a:pt x="306" y="355"/>
                          <a:pt x="294" y="313"/>
                          <a:pt x="279" y="275"/>
                        </a:cubicBezTo>
                        <a:cubicBezTo>
                          <a:pt x="263" y="233"/>
                          <a:pt x="245" y="189"/>
                          <a:pt x="238" y="146"/>
                        </a:cubicBezTo>
                        <a:cubicBezTo>
                          <a:pt x="232" y="107"/>
                          <a:pt x="215" y="66"/>
                          <a:pt x="186" y="38"/>
                        </a:cubicBezTo>
                        <a:cubicBezTo>
                          <a:pt x="162" y="15"/>
                          <a:pt x="107" y="0"/>
                          <a:pt x="81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8" name="Freeform 272"/>
                  <p:cNvSpPr>
                    <a:spLocks/>
                  </p:cNvSpPr>
                  <p:nvPr/>
                </p:nvSpPr>
                <p:spPr bwMode="gray">
                  <a:xfrm>
                    <a:off x="-117475" y="15621001"/>
                    <a:ext cx="1766888" cy="10001250"/>
                  </a:xfrm>
                  <a:custGeom>
                    <a:avLst/>
                    <a:gdLst/>
                    <a:ahLst/>
                    <a:cxnLst>
                      <a:cxn ang="0">
                        <a:pos x="66" y="16"/>
                      </a:cxn>
                      <a:cxn ang="0">
                        <a:pos x="48" y="498"/>
                      </a:cxn>
                      <a:cxn ang="0">
                        <a:pos x="84" y="980"/>
                      </a:cxn>
                      <a:cxn ang="0">
                        <a:pos x="89" y="1181"/>
                      </a:cxn>
                      <a:cxn ang="0">
                        <a:pos x="62" y="1388"/>
                      </a:cxn>
                      <a:cxn ang="0">
                        <a:pos x="66" y="1789"/>
                      </a:cxn>
                      <a:cxn ang="0">
                        <a:pos x="20" y="2297"/>
                      </a:cxn>
                      <a:cxn ang="0">
                        <a:pos x="4" y="2358"/>
                      </a:cxn>
                      <a:cxn ang="0">
                        <a:pos x="48" y="2479"/>
                      </a:cxn>
                      <a:cxn ang="0">
                        <a:pos x="91" y="2636"/>
                      </a:cxn>
                      <a:cxn ang="0">
                        <a:pos x="273" y="2631"/>
                      </a:cxn>
                      <a:cxn ang="0">
                        <a:pos x="201" y="2214"/>
                      </a:cxn>
                      <a:cxn ang="0">
                        <a:pos x="364" y="1357"/>
                      </a:cxn>
                      <a:cxn ang="0">
                        <a:pos x="353" y="1118"/>
                      </a:cxn>
                      <a:cxn ang="0">
                        <a:pos x="407" y="761"/>
                      </a:cxn>
                      <a:cxn ang="0">
                        <a:pos x="434" y="515"/>
                      </a:cxn>
                      <a:cxn ang="0">
                        <a:pos x="407" y="8"/>
                      </a:cxn>
                      <a:cxn ang="0">
                        <a:pos x="66" y="7"/>
                      </a:cxn>
                    </a:cxnLst>
                    <a:rect l="0" t="0" r="r" b="b"/>
                    <a:pathLst>
                      <a:path w="471" h="2667">
                        <a:moveTo>
                          <a:pt x="66" y="16"/>
                        </a:moveTo>
                        <a:cubicBezTo>
                          <a:pt x="97" y="171"/>
                          <a:pt x="48" y="335"/>
                          <a:pt x="48" y="498"/>
                        </a:cubicBezTo>
                        <a:cubicBezTo>
                          <a:pt x="48" y="668"/>
                          <a:pt x="53" y="823"/>
                          <a:pt x="84" y="980"/>
                        </a:cubicBezTo>
                        <a:cubicBezTo>
                          <a:pt x="97" y="1046"/>
                          <a:pt x="92" y="1111"/>
                          <a:pt x="89" y="1181"/>
                        </a:cubicBezTo>
                        <a:cubicBezTo>
                          <a:pt x="85" y="1254"/>
                          <a:pt x="89" y="1324"/>
                          <a:pt x="62" y="1388"/>
                        </a:cubicBezTo>
                        <a:cubicBezTo>
                          <a:pt x="0" y="1540"/>
                          <a:pt x="59" y="1653"/>
                          <a:pt x="66" y="1789"/>
                        </a:cubicBezTo>
                        <a:cubicBezTo>
                          <a:pt x="72" y="1893"/>
                          <a:pt x="35" y="2179"/>
                          <a:pt x="20" y="2297"/>
                        </a:cubicBezTo>
                        <a:cubicBezTo>
                          <a:pt x="19" y="2307"/>
                          <a:pt x="1" y="2333"/>
                          <a:pt x="4" y="2358"/>
                        </a:cubicBezTo>
                        <a:cubicBezTo>
                          <a:pt x="8" y="2405"/>
                          <a:pt x="36" y="2460"/>
                          <a:pt x="48" y="2479"/>
                        </a:cubicBezTo>
                        <a:cubicBezTo>
                          <a:pt x="75" y="2521"/>
                          <a:pt x="52" y="2613"/>
                          <a:pt x="91" y="2636"/>
                        </a:cubicBezTo>
                        <a:cubicBezTo>
                          <a:pt x="144" y="2667"/>
                          <a:pt x="273" y="2631"/>
                          <a:pt x="273" y="2631"/>
                        </a:cubicBezTo>
                        <a:cubicBezTo>
                          <a:pt x="232" y="2565"/>
                          <a:pt x="185" y="2354"/>
                          <a:pt x="201" y="2214"/>
                        </a:cubicBezTo>
                        <a:cubicBezTo>
                          <a:pt x="216" y="2078"/>
                          <a:pt x="371" y="1520"/>
                          <a:pt x="364" y="1357"/>
                        </a:cubicBezTo>
                        <a:cubicBezTo>
                          <a:pt x="359" y="1232"/>
                          <a:pt x="343" y="1241"/>
                          <a:pt x="353" y="1118"/>
                        </a:cubicBezTo>
                        <a:cubicBezTo>
                          <a:pt x="359" y="1043"/>
                          <a:pt x="391" y="831"/>
                          <a:pt x="407" y="761"/>
                        </a:cubicBezTo>
                        <a:cubicBezTo>
                          <a:pt x="426" y="679"/>
                          <a:pt x="434" y="601"/>
                          <a:pt x="434" y="515"/>
                        </a:cubicBezTo>
                        <a:cubicBezTo>
                          <a:pt x="434" y="360"/>
                          <a:pt x="471" y="144"/>
                          <a:pt x="407" y="8"/>
                        </a:cubicBezTo>
                        <a:cubicBezTo>
                          <a:pt x="295" y="0"/>
                          <a:pt x="179" y="7"/>
                          <a:pt x="66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9" name="Freeform 273"/>
                  <p:cNvSpPr>
                    <a:spLocks/>
                  </p:cNvSpPr>
                  <p:nvPr/>
                </p:nvSpPr>
                <p:spPr bwMode="gray">
                  <a:xfrm>
                    <a:off x="-71438" y="19408776"/>
                    <a:ext cx="1577975" cy="2628900"/>
                  </a:xfrm>
                  <a:custGeom>
                    <a:avLst/>
                    <a:gdLst/>
                    <a:ahLst/>
                    <a:cxnLst>
                      <a:cxn ang="0">
                        <a:pos x="54" y="701"/>
                      </a:cxn>
                      <a:cxn ang="0">
                        <a:pos x="71" y="427"/>
                      </a:cxn>
                      <a:cxn ang="0">
                        <a:pos x="195" y="194"/>
                      </a:cxn>
                      <a:cxn ang="0">
                        <a:pos x="329" y="35"/>
                      </a:cxn>
                      <a:cxn ang="0">
                        <a:pos x="88" y="121"/>
                      </a:cxn>
                      <a:cxn ang="0">
                        <a:pos x="72" y="275"/>
                      </a:cxn>
                      <a:cxn ang="0">
                        <a:pos x="24" y="409"/>
                      </a:cxn>
                      <a:cxn ang="0">
                        <a:pos x="54" y="701"/>
                      </a:cxn>
                    </a:cxnLst>
                    <a:rect l="0" t="0" r="r" b="b"/>
                    <a:pathLst>
                      <a:path w="421" h="701">
                        <a:moveTo>
                          <a:pt x="54" y="701"/>
                        </a:moveTo>
                        <a:cubicBezTo>
                          <a:pt x="64" y="608"/>
                          <a:pt x="46" y="519"/>
                          <a:pt x="71" y="427"/>
                        </a:cubicBezTo>
                        <a:cubicBezTo>
                          <a:pt x="89" y="362"/>
                          <a:pt x="145" y="234"/>
                          <a:pt x="195" y="194"/>
                        </a:cubicBezTo>
                        <a:cubicBezTo>
                          <a:pt x="230" y="166"/>
                          <a:pt x="421" y="104"/>
                          <a:pt x="329" y="35"/>
                        </a:cubicBezTo>
                        <a:cubicBezTo>
                          <a:pt x="283" y="0"/>
                          <a:pt x="115" y="77"/>
                          <a:pt x="88" y="121"/>
                        </a:cubicBezTo>
                        <a:cubicBezTo>
                          <a:pt x="65" y="159"/>
                          <a:pt x="78" y="232"/>
                          <a:pt x="72" y="275"/>
                        </a:cubicBezTo>
                        <a:cubicBezTo>
                          <a:pt x="64" y="323"/>
                          <a:pt x="34" y="361"/>
                          <a:pt x="24" y="409"/>
                        </a:cubicBezTo>
                        <a:cubicBezTo>
                          <a:pt x="0" y="523"/>
                          <a:pt x="41" y="601"/>
                          <a:pt x="54" y="7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0" name="Freeform 274"/>
                  <p:cNvSpPr>
                    <a:spLocks/>
                  </p:cNvSpPr>
                  <p:nvPr/>
                </p:nvSpPr>
                <p:spPr bwMode="gray">
                  <a:xfrm>
                    <a:off x="-1557338" y="19745326"/>
                    <a:ext cx="1219200" cy="1957388"/>
                  </a:xfrm>
                  <a:custGeom>
                    <a:avLst/>
                    <a:gdLst/>
                    <a:ahLst/>
                    <a:cxnLst>
                      <a:cxn ang="0">
                        <a:pos x="23" y="109"/>
                      </a:cxn>
                      <a:cxn ang="0">
                        <a:pos x="107" y="178"/>
                      </a:cxn>
                      <a:cxn ang="0">
                        <a:pos x="205" y="237"/>
                      </a:cxn>
                      <a:cxn ang="0">
                        <a:pos x="210" y="390"/>
                      </a:cxn>
                      <a:cxn ang="0">
                        <a:pos x="216" y="522"/>
                      </a:cxn>
                      <a:cxn ang="0">
                        <a:pos x="246" y="337"/>
                      </a:cxn>
                      <a:cxn ang="0">
                        <a:pos x="300" y="163"/>
                      </a:cxn>
                      <a:cxn ang="0">
                        <a:pos x="199" y="43"/>
                      </a:cxn>
                      <a:cxn ang="0">
                        <a:pos x="0" y="62"/>
                      </a:cxn>
                    </a:cxnLst>
                    <a:rect l="0" t="0" r="r" b="b"/>
                    <a:pathLst>
                      <a:path w="325" h="522">
                        <a:moveTo>
                          <a:pt x="23" y="109"/>
                        </a:moveTo>
                        <a:cubicBezTo>
                          <a:pt x="61" y="126"/>
                          <a:pt x="76" y="155"/>
                          <a:pt x="107" y="178"/>
                        </a:cubicBezTo>
                        <a:cubicBezTo>
                          <a:pt x="135" y="199"/>
                          <a:pt x="186" y="202"/>
                          <a:pt x="205" y="237"/>
                        </a:cubicBezTo>
                        <a:cubicBezTo>
                          <a:pt x="226" y="276"/>
                          <a:pt x="204" y="345"/>
                          <a:pt x="210" y="390"/>
                        </a:cubicBezTo>
                        <a:cubicBezTo>
                          <a:pt x="217" y="436"/>
                          <a:pt x="241" y="473"/>
                          <a:pt x="216" y="522"/>
                        </a:cubicBezTo>
                        <a:cubicBezTo>
                          <a:pt x="263" y="493"/>
                          <a:pt x="243" y="387"/>
                          <a:pt x="246" y="337"/>
                        </a:cubicBezTo>
                        <a:cubicBezTo>
                          <a:pt x="249" y="268"/>
                          <a:pt x="280" y="226"/>
                          <a:pt x="300" y="163"/>
                        </a:cubicBezTo>
                        <a:cubicBezTo>
                          <a:pt x="325" y="84"/>
                          <a:pt x="269" y="64"/>
                          <a:pt x="199" y="43"/>
                        </a:cubicBezTo>
                        <a:cubicBezTo>
                          <a:pt x="152" y="29"/>
                          <a:pt x="25" y="0"/>
                          <a:pt x="0" y="6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1" name="Freeform 275"/>
                  <p:cNvSpPr>
                    <a:spLocks/>
                  </p:cNvSpPr>
                  <p:nvPr/>
                </p:nvSpPr>
                <p:spPr bwMode="gray">
                  <a:xfrm>
                    <a:off x="-1920875" y="9531351"/>
                    <a:ext cx="4233863" cy="5718175"/>
                  </a:xfrm>
                  <a:custGeom>
                    <a:avLst/>
                    <a:gdLst/>
                    <a:ahLst/>
                    <a:cxnLst>
                      <a:cxn ang="0">
                        <a:pos x="22" y="1482"/>
                      </a:cxn>
                      <a:cxn ang="0">
                        <a:pos x="50" y="1171"/>
                      </a:cxn>
                      <a:cxn ang="0">
                        <a:pos x="103" y="1012"/>
                      </a:cxn>
                      <a:cxn ang="0">
                        <a:pos x="220" y="880"/>
                      </a:cxn>
                      <a:cxn ang="0">
                        <a:pos x="268" y="712"/>
                      </a:cxn>
                      <a:cxn ang="0">
                        <a:pos x="237" y="502"/>
                      </a:cxn>
                      <a:cxn ang="0">
                        <a:pos x="190" y="437"/>
                      </a:cxn>
                      <a:cxn ang="0">
                        <a:pos x="227" y="56"/>
                      </a:cxn>
                      <a:cxn ang="0">
                        <a:pos x="390" y="296"/>
                      </a:cxn>
                      <a:cxn ang="0">
                        <a:pos x="507" y="220"/>
                      </a:cxn>
                      <a:cxn ang="0">
                        <a:pos x="642" y="179"/>
                      </a:cxn>
                      <a:cxn ang="0">
                        <a:pos x="792" y="489"/>
                      </a:cxn>
                      <a:cxn ang="0">
                        <a:pos x="954" y="897"/>
                      </a:cxn>
                      <a:cxn ang="0">
                        <a:pos x="1032" y="950"/>
                      </a:cxn>
                      <a:cxn ang="0">
                        <a:pos x="1051" y="1086"/>
                      </a:cxn>
                      <a:cxn ang="0">
                        <a:pos x="1111" y="1312"/>
                      </a:cxn>
                      <a:cxn ang="0">
                        <a:pos x="1126" y="1481"/>
                      </a:cxn>
                      <a:cxn ang="0">
                        <a:pos x="870" y="1517"/>
                      </a:cxn>
                      <a:cxn ang="0">
                        <a:pos x="624" y="1499"/>
                      </a:cxn>
                      <a:cxn ang="0">
                        <a:pos x="344" y="1505"/>
                      </a:cxn>
                      <a:cxn ang="0">
                        <a:pos x="222" y="1504"/>
                      </a:cxn>
                      <a:cxn ang="0">
                        <a:pos x="122" y="1395"/>
                      </a:cxn>
                      <a:cxn ang="0">
                        <a:pos x="22" y="1476"/>
                      </a:cxn>
                    </a:cxnLst>
                    <a:rect l="0" t="0" r="r" b="b"/>
                    <a:pathLst>
                      <a:path w="1129" h="1525">
                        <a:moveTo>
                          <a:pt x="22" y="1482"/>
                        </a:moveTo>
                        <a:cubicBezTo>
                          <a:pt x="57" y="1380"/>
                          <a:pt x="0" y="1268"/>
                          <a:pt x="50" y="1171"/>
                        </a:cubicBezTo>
                        <a:cubicBezTo>
                          <a:pt x="78" y="1116"/>
                          <a:pt x="86" y="1070"/>
                          <a:pt x="103" y="1012"/>
                        </a:cubicBezTo>
                        <a:cubicBezTo>
                          <a:pt x="127" y="930"/>
                          <a:pt x="156" y="924"/>
                          <a:pt x="220" y="880"/>
                        </a:cubicBezTo>
                        <a:cubicBezTo>
                          <a:pt x="287" y="833"/>
                          <a:pt x="283" y="799"/>
                          <a:pt x="268" y="712"/>
                        </a:cubicBezTo>
                        <a:cubicBezTo>
                          <a:pt x="256" y="646"/>
                          <a:pt x="263" y="566"/>
                          <a:pt x="237" y="502"/>
                        </a:cubicBezTo>
                        <a:cubicBezTo>
                          <a:pt x="226" y="474"/>
                          <a:pt x="204" y="462"/>
                          <a:pt x="190" y="437"/>
                        </a:cubicBezTo>
                        <a:cubicBezTo>
                          <a:pt x="147" y="359"/>
                          <a:pt x="119" y="106"/>
                          <a:pt x="227" y="56"/>
                        </a:cubicBezTo>
                        <a:cubicBezTo>
                          <a:pt x="346" y="0"/>
                          <a:pt x="336" y="256"/>
                          <a:pt x="390" y="296"/>
                        </a:cubicBezTo>
                        <a:cubicBezTo>
                          <a:pt x="455" y="344"/>
                          <a:pt x="484" y="256"/>
                          <a:pt x="507" y="220"/>
                        </a:cubicBezTo>
                        <a:cubicBezTo>
                          <a:pt x="534" y="178"/>
                          <a:pt x="590" y="161"/>
                          <a:pt x="642" y="179"/>
                        </a:cubicBezTo>
                        <a:cubicBezTo>
                          <a:pt x="769" y="223"/>
                          <a:pt x="784" y="376"/>
                          <a:pt x="792" y="489"/>
                        </a:cubicBezTo>
                        <a:cubicBezTo>
                          <a:pt x="804" y="649"/>
                          <a:pt x="825" y="792"/>
                          <a:pt x="954" y="897"/>
                        </a:cubicBezTo>
                        <a:cubicBezTo>
                          <a:pt x="976" y="915"/>
                          <a:pt x="1018" y="925"/>
                          <a:pt x="1032" y="950"/>
                        </a:cubicBezTo>
                        <a:cubicBezTo>
                          <a:pt x="1050" y="982"/>
                          <a:pt x="1046" y="1048"/>
                          <a:pt x="1051" y="1086"/>
                        </a:cubicBezTo>
                        <a:cubicBezTo>
                          <a:pt x="1060" y="1168"/>
                          <a:pt x="1091" y="1231"/>
                          <a:pt x="1111" y="1312"/>
                        </a:cubicBezTo>
                        <a:cubicBezTo>
                          <a:pt x="1125" y="1367"/>
                          <a:pt x="1129" y="1423"/>
                          <a:pt x="1126" y="1481"/>
                        </a:cubicBezTo>
                        <a:cubicBezTo>
                          <a:pt x="1041" y="1476"/>
                          <a:pt x="952" y="1509"/>
                          <a:pt x="870" y="1517"/>
                        </a:cubicBezTo>
                        <a:cubicBezTo>
                          <a:pt x="789" y="1525"/>
                          <a:pt x="705" y="1503"/>
                          <a:pt x="624" y="1499"/>
                        </a:cubicBezTo>
                        <a:cubicBezTo>
                          <a:pt x="530" y="1496"/>
                          <a:pt x="437" y="1506"/>
                          <a:pt x="344" y="1505"/>
                        </a:cubicBezTo>
                        <a:cubicBezTo>
                          <a:pt x="316" y="1505"/>
                          <a:pt x="244" y="1518"/>
                          <a:pt x="222" y="1504"/>
                        </a:cubicBezTo>
                        <a:cubicBezTo>
                          <a:pt x="164" y="1467"/>
                          <a:pt x="229" y="1376"/>
                          <a:pt x="122" y="1395"/>
                        </a:cubicBezTo>
                        <a:cubicBezTo>
                          <a:pt x="130" y="1436"/>
                          <a:pt x="58" y="1476"/>
                          <a:pt x="22" y="14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2" name="Freeform 276"/>
                  <p:cNvSpPr>
                    <a:spLocks/>
                  </p:cNvSpPr>
                  <p:nvPr/>
                </p:nvSpPr>
                <p:spPr bwMode="gray">
                  <a:xfrm>
                    <a:off x="-1741488" y="14217651"/>
                    <a:ext cx="4021138" cy="6184900"/>
                  </a:xfrm>
                  <a:custGeom>
                    <a:avLst/>
                    <a:gdLst/>
                    <a:ahLst/>
                    <a:cxnLst>
                      <a:cxn ang="0">
                        <a:pos x="49" y="197"/>
                      </a:cxn>
                      <a:cxn ang="0">
                        <a:pos x="5" y="390"/>
                      </a:cxn>
                      <a:cxn ang="0">
                        <a:pos x="15" y="591"/>
                      </a:cxn>
                      <a:cxn ang="0">
                        <a:pos x="40" y="1036"/>
                      </a:cxn>
                      <a:cxn ang="0">
                        <a:pos x="40" y="1450"/>
                      </a:cxn>
                      <a:cxn ang="0">
                        <a:pos x="93" y="1609"/>
                      </a:cxn>
                      <a:cxn ang="0">
                        <a:pos x="338" y="1617"/>
                      </a:cxn>
                      <a:cxn ang="0">
                        <a:pos x="522" y="1555"/>
                      </a:cxn>
                      <a:cxn ang="0">
                        <a:pos x="741" y="1503"/>
                      </a:cxn>
                      <a:cxn ang="0">
                        <a:pos x="917" y="1442"/>
                      </a:cxn>
                      <a:cxn ang="0">
                        <a:pos x="932" y="1343"/>
                      </a:cxn>
                      <a:cxn ang="0">
                        <a:pos x="972" y="1249"/>
                      </a:cxn>
                      <a:cxn ang="0">
                        <a:pos x="1014" y="820"/>
                      </a:cxn>
                      <a:cxn ang="0">
                        <a:pos x="1039" y="379"/>
                      </a:cxn>
                      <a:cxn ang="0">
                        <a:pos x="987" y="100"/>
                      </a:cxn>
                      <a:cxn ang="0">
                        <a:pos x="680" y="21"/>
                      </a:cxn>
                      <a:cxn ang="0">
                        <a:pos x="338" y="30"/>
                      </a:cxn>
                      <a:cxn ang="0">
                        <a:pos x="40" y="109"/>
                      </a:cxn>
                    </a:cxnLst>
                    <a:rect l="0" t="0" r="r" b="b"/>
                    <a:pathLst>
                      <a:path w="1072" h="1649">
                        <a:moveTo>
                          <a:pt x="49" y="197"/>
                        </a:moveTo>
                        <a:cubicBezTo>
                          <a:pt x="49" y="268"/>
                          <a:pt x="9" y="321"/>
                          <a:pt x="5" y="390"/>
                        </a:cubicBezTo>
                        <a:cubicBezTo>
                          <a:pt x="1" y="463"/>
                          <a:pt x="23" y="516"/>
                          <a:pt x="15" y="591"/>
                        </a:cubicBezTo>
                        <a:cubicBezTo>
                          <a:pt x="0" y="742"/>
                          <a:pt x="40" y="880"/>
                          <a:pt x="40" y="1036"/>
                        </a:cubicBezTo>
                        <a:cubicBezTo>
                          <a:pt x="40" y="1175"/>
                          <a:pt x="58" y="1322"/>
                          <a:pt x="40" y="1450"/>
                        </a:cubicBezTo>
                        <a:cubicBezTo>
                          <a:pt x="30" y="1526"/>
                          <a:pt x="4" y="1558"/>
                          <a:pt x="93" y="1609"/>
                        </a:cubicBezTo>
                        <a:cubicBezTo>
                          <a:pt x="163" y="1649"/>
                          <a:pt x="272" y="1628"/>
                          <a:pt x="338" y="1617"/>
                        </a:cubicBezTo>
                        <a:cubicBezTo>
                          <a:pt x="401" y="1607"/>
                          <a:pt x="459" y="1564"/>
                          <a:pt x="522" y="1555"/>
                        </a:cubicBezTo>
                        <a:cubicBezTo>
                          <a:pt x="611" y="1543"/>
                          <a:pt x="669" y="1531"/>
                          <a:pt x="741" y="1503"/>
                        </a:cubicBezTo>
                        <a:cubicBezTo>
                          <a:pt x="801" y="1480"/>
                          <a:pt x="887" y="1491"/>
                          <a:pt x="917" y="1442"/>
                        </a:cubicBezTo>
                        <a:cubicBezTo>
                          <a:pt x="926" y="1426"/>
                          <a:pt x="927" y="1364"/>
                          <a:pt x="932" y="1343"/>
                        </a:cubicBezTo>
                        <a:cubicBezTo>
                          <a:pt x="942" y="1309"/>
                          <a:pt x="962" y="1280"/>
                          <a:pt x="972" y="1249"/>
                        </a:cubicBezTo>
                        <a:cubicBezTo>
                          <a:pt x="1013" y="1120"/>
                          <a:pt x="986" y="953"/>
                          <a:pt x="1014" y="820"/>
                        </a:cubicBezTo>
                        <a:cubicBezTo>
                          <a:pt x="1044" y="674"/>
                          <a:pt x="1047" y="525"/>
                          <a:pt x="1039" y="379"/>
                        </a:cubicBezTo>
                        <a:cubicBezTo>
                          <a:pt x="1035" y="279"/>
                          <a:pt x="1072" y="163"/>
                          <a:pt x="987" y="100"/>
                        </a:cubicBezTo>
                        <a:cubicBezTo>
                          <a:pt x="918" y="49"/>
                          <a:pt x="767" y="37"/>
                          <a:pt x="680" y="21"/>
                        </a:cubicBezTo>
                        <a:cubicBezTo>
                          <a:pt x="564" y="0"/>
                          <a:pt x="454" y="26"/>
                          <a:pt x="338" y="30"/>
                        </a:cubicBezTo>
                        <a:cubicBezTo>
                          <a:pt x="253" y="34"/>
                          <a:pt x="102" y="49"/>
                          <a:pt x="40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3" name="Freeform 277"/>
                  <p:cNvSpPr>
                    <a:spLocks/>
                  </p:cNvSpPr>
                  <p:nvPr/>
                </p:nvSpPr>
                <p:spPr bwMode="gray">
                  <a:xfrm>
                    <a:off x="-1141413" y="14004926"/>
                    <a:ext cx="1987550" cy="806450"/>
                  </a:xfrm>
                  <a:custGeom>
                    <a:avLst/>
                    <a:gdLst/>
                    <a:ahLst/>
                    <a:cxnLst>
                      <a:cxn ang="0">
                        <a:pos x="35" y="132"/>
                      </a:cxn>
                      <a:cxn ang="0">
                        <a:pos x="251" y="195"/>
                      </a:cxn>
                      <a:cxn ang="0">
                        <a:pos x="252" y="168"/>
                      </a:cxn>
                      <a:cxn ang="0">
                        <a:pos x="345" y="208"/>
                      </a:cxn>
                      <a:cxn ang="0">
                        <a:pos x="462" y="196"/>
                      </a:cxn>
                      <a:cxn ang="0">
                        <a:pos x="526" y="132"/>
                      </a:cxn>
                      <a:cxn ang="0">
                        <a:pos x="440" y="60"/>
                      </a:cxn>
                      <a:cxn ang="0">
                        <a:pos x="221" y="9"/>
                      </a:cxn>
                      <a:cxn ang="0">
                        <a:pos x="0" y="108"/>
                      </a:cxn>
                    </a:cxnLst>
                    <a:rect l="0" t="0" r="r" b="b"/>
                    <a:pathLst>
                      <a:path w="530" h="215">
                        <a:moveTo>
                          <a:pt x="35" y="132"/>
                        </a:moveTo>
                        <a:cubicBezTo>
                          <a:pt x="56" y="196"/>
                          <a:pt x="194" y="198"/>
                          <a:pt x="251" y="195"/>
                        </a:cubicBezTo>
                        <a:cubicBezTo>
                          <a:pt x="250" y="187"/>
                          <a:pt x="253" y="176"/>
                          <a:pt x="252" y="168"/>
                        </a:cubicBezTo>
                        <a:cubicBezTo>
                          <a:pt x="306" y="141"/>
                          <a:pt x="309" y="199"/>
                          <a:pt x="345" y="208"/>
                        </a:cubicBezTo>
                        <a:cubicBezTo>
                          <a:pt x="371" y="215"/>
                          <a:pt x="434" y="201"/>
                          <a:pt x="462" y="196"/>
                        </a:cubicBezTo>
                        <a:cubicBezTo>
                          <a:pt x="500" y="189"/>
                          <a:pt x="530" y="182"/>
                          <a:pt x="526" y="132"/>
                        </a:cubicBezTo>
                        <a:cubicBezTo>
                          <a:pt x="522" y="79"/>
                          <a:pt x="479" y="76"/>
                          <a:pt x="440" y="60"/>
                        </a:cubicBezTo>
                        <a:cubicBezTo>
                          <a:pt x="364" y="31"/>
                          <a:pt x="304" y="16"/>
                          <a:pt x="221" y="9"/>
                        </a:cubicBezTo>
                        <a:cubicBezTo>
                          <a:pt x="115" y="0"/>
                          <a:pt x="78" y="59"/>
                          <a:pt x="0" y="1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4" name="Freeform 278"/>
                  <p:cNvSpPr>
                    <a:spLocks/>
                  </p:cNvSpPr>
                  <p:nvPr/>
                </p:nvSpPr>
                <p:spPr bwMode="gray">
                  <a:xfrm>
                    <a:off x="-1774825" y="8439151"/>
                    <a:ext cx="3055938" cy="6232525"/>
                  </a:xfrm>
                  <a:custGeom>
                    <a:avLst/>
                    <a:gdLst/>
                    <a:ahLst/>
                    <a:cxnLst>
                      <a:cxn ang="0">
                        <a:pos x="256" y="0"/>
                      </a:cxn>
                      <a:cxn ang="0">
                        <a:pos x="124" y="102"/>
                      </a:cxn>
                      <a:cxn ang="0">
                        <a:pos x="0" y="191"/>
                      </a:cxn>
                      <a:cxn ang="0">
                        <a:pos x="169" y="149"/>
                      </a:cxn>
                      <a:cxn ang="0">
                        <a:pos x="238" y="254"/>
                      </a:cxn>
                      <a:cxn ang="0">
                        <a:pos x="205" y="535"/>
                      </a:cxn>
                      <a:cxn ang="0">
                        <a:pos x="194" y="880"/>
                      </a:cxn>
                      <a:cxn ang="0">
                        <a:pos x="209" y="1027"/>
                      </a:cxn>
                      <a:cxn ang="0">
                        <a:pos x="213" y="1130"/>
                      </a:cxn>
                      <a:cxn ang="0">
                        <a:pos x="232" y="1246"/>
                      </a:cxn>
                      <a:cxn ang="0">
                        <a:pos x="178" y="1344"/>
                      </a:cxn>
                      <a:cxn ang="0">
                        <a:pos x="198" y="1395"/>
                      </a:cxn>
                      <a:cxn ang="0">
                        <a:pos x="198" y="1467"/>
                      </a:cxn>
                      <a:cxn ang="0">
                        <a:pos x="251" y="1638"/>
                      </a:cxn>
                      <a:cxn ang="0">
                        <a:pos x="338" y="1660"/>
                      </a:cxn>
                      <a:cxn ang="0">
                        <a:pos x="411" y="1585"/>
                      </a:cxn>
                      <a:cxn ang="0">
                        <a:pos x="434" y="1403"/>
                      </a:cxn>
                      <a:cxn ang="0">
                        <a:pos x="454" y="1613"/>
                      </a:cxn>
                      <a:cxn ang="0">
                        <a:pos x="514" y="1660"/>
                      </a:cxn>
                      <a:cxn ang="0">
                        <a:pos x="626" y="1655"/>
                      </a:cxn>
                      <a:cxn ang="0">
                        <a:pos x="615" y="1451"/>
                      </a:cxn>
                      <a:cxn ang="0">
                        <a:pos x="639" y="1083"/>
                      </a:cxn>
                      <a:cxn ang="0">
                        <a:pos x="623" y="546"/>
                      </a:cxn>
                      <a:cxn ang="0">
                        <a:pos x="630" y="346"/>
                      </a:cxn>
                      <a:cxn ang="0">
                        <a:pos x="600" y="215"/>
                      </a:cxn>
                      <a:cxn ang="0">
                        <a:pos x="654" y="176"/>
                      </a:cxn>
                      <a:cxn ang="0">
                        <a:pos x="705" y="202"/>
                      </a:cxn>
                      <a:cxn ang="0">
                        <a:pos x="760" y="225"/>
                      </a:cxn>
                      <a:cxn ang="0">
                        <a:pos x="813" y="265"/>
                      </a:cxn>
                      <a:cxn ang="0">
                        <a:pos x="779" y="202"/>
                      </a:cxn>
                      <a:cxn ang="0">
                        <a:pos x="746" y="129"/>
                      </a:cxn>
                      <a:cxn ang="0">
                        <a:pos x="607" y="23"/>
                      </a:cxn>
                      <a:cxn ang="0">
                        <a:pos x="576" y="191"/>
                      </a:cxn>
                      <a:cxn ang="0">
                        <a:pos x="483" y="316"/>
                      </a:cxn>
                      <a:cxn ang="0">
                        <a:pos x="427" y="480"/>
                      </a:cxn>
                      <a:cxn ang="0">
                        <a:pos x="393" y="654"/>
                      </a:cxn>
                      <a:cxn ang="0">
                        <a:pos x="381" y="479"/>
                      </a:cxn>
                      <a:cxn ang="0">
                        <a:pos x="350" y="331"/>
                      </a:cxn>
                      <a:cxn ang="0">
                        <a:pos x="272" y="187"/>
                      </a:cxn>
                      <a:cxn ang="0">
                        <a:pos x="182" y="78"/>
                      </a:cxn>
                    </a:cxnLst>
                    <a:rect l="0" t="0" r="r" b="b"/>
                    <a:pathLst>
                      <a:path w="815" h="1662">
                        <a:moveTo>
                          <a:pt x="256" y="0"/>
                        </a:moveTo>
                        <a:cubicBezTo>
                          <a:pt x="211" y="40"/>
                          <a:pt x="171" y="69"/>
                          <a:pt x="124" y="102"/>
                        </a:cubicBezTo>
                        <a:cubicBezTo>
                          <a:pt x="87" y="129"/>
                          <a:pt x="50" y="196"/>
                          <a:pt x="0" y="191"/>
                        </a:cubicBezTo>
                        <a:cubicBezTo>
                          <a:pt x="63" y="237"/>
                          <a:pt x="121" y="165"/>
                          <a:pt x="169" y="149"/>
                        </a:cubicBezTo>
                        <a:cubicBezTo>
                          <a:pt x="204" y="186"/>
                          <a:pt x="255" y="201"/>
                          <a:pt x="238" y="254"/>
                        </a:cubicBezTo>
                        <a:cubicBezTo>
                          <a:pt x="209" y="343"/>
                          <a:pt x="205" y="438"/>
                          <a:pt x="205" y="535"/>
                        </a:cubicBezTo>
                        <a:cubicBezTo>
                          <a:pt x="206" y="650"/>
                          <a:pt x="189" y="764"/>
                          <a:pt x="194" y="880"/>
                        </a:cubicBezTo>
                        <a:cubicBezTo>
                          <a:pt x="196" y="931"/>
                          <a:pt x="209" y="976"/>
                          <a:pt x="209" y="1027"/>
                        </a:cubicBezTo>
                        <a:cubicBezTo>
                          <a:pt x="209" y="1062"/>
                          <a:pt x="209" y="1096"/>
                          <a:pt x="213" y="1130"/>
                        </a:cubicBezTo>
                        <a:cubicBezTo>
                          <a:pt x="217" y="1168"/>
                          <a:pt x="234" y="1209"/>
                          <a:pt x="232" y="1246"/>
                        </a:cubicBezTo>
                        <a:cubicBezTo>
                          <a:pt x="212" y="1257"/>
                          <a:pt x="178" y="1320"/>
                          <a:pt x="178" y="1344"/>
                        </a:cubicBezTo>
                        <a:cubicBezTo>
                          <a:pt x="178" y="1362"/>
                          <a:pt x="194" y="1378"/>
                          <a:pt x="198" y="1395"/>
                        </a:cubicBezTo>
                        <a:cubicBezTo>
                          <a:pt x="203" y="1417"/>
                          <a:pt x="196" y="1444"/>
                          <a:pt x="198" y="1467"/>
                        </a:cubicBezTo>
                        <a:cubicBezTo>
                          <a:pt x="200" y="1524"/>
                          <a:pt x="198" y="1610"/>
                          <a:pt x="251" y="1638"/>
                        </a:cubicBezTo>
                        <a:cubicBezTo>
                          <a:pt x="278" y="1652"/>
                          <a:pt x="306" y="1660"/>
                          <a:pt x="338" y="1660"/>
                        </a:cubicBezTo>
                        <a:cubicBezTo>
                          <a:pt x="391" y="1660"/>
                          <a:pt x="400" y="1638"/>
                          <a:pt x="411" y="1585"/>
                        </a:cubicBezTo>
                        <a:cubicBezTo>
                          <a:pt x="423" y="1528"/>
                          <a:pt x="392" y="1448"/>
                          <a:pt x="434" y="1403"/>
                        </a:cubicBezTo>
                        <a:cubicBezTo>
                          <a:pt x="458" y="1464"/>
                          <a:pt x="436" y="1549"/>
                          <a:pt x="454" y="1613"/>
                        </a:cubicBezTo>
                        <a:cubicBezTo>
                          <a:pt x="467" y="1658"/>
                          <a:pt x="471" y="1662"/>
                          <a:pt x="514" y="1660"/>
                        </a:cubicBezTo>
                        <a:cubicBezTo>
                          <a:pt x="550" y="1658"/>
                          <a:pt x="590" y="1654"/>
                          <a:pt x="626" y="1655"/>
                        </a:cubicBezTo>
                        <a:cubicBezTo>
                          <a:pt x="633" y="1591"/>
                          <a:pt x="612" y="1518"/>
                          <a:pt x="615" y="1451"/>
                        </a:cubicBezTo>
                        <a:cubicBezTo>
                          <a:pt x="621" y="1327"/>
                          <a:pt x="650" y="1208"/>
                          <a:pt x="639" y="1083"/>
                        </a:cubicBezTo>
                        <a:cubicBezTo>
                          <a:pt x="623" y="910"/>
                          <a:pt x="596" y="718"/>
                          <a:pt x="623" y="546"/>
                        </a:cubicBezTo>
                        <a:cubicBezTo>
                          <a:pt x="680" y="550"/>
                          <a:pt x="641" y="384"/>
                          <a:pt x="630" y="346"/>
                        </a:cubicBezTo>
                        <a:cubicBezTo>
                          <a:pt x="618" y="305"/>
                          <a:pt x="571" y="247"/>
                          <a:pt x="600" y="215"/>
                        </a:cubicBezTo>
                        <a:cubicBezTo>
                          <a:pt x="608" y="206"/>
                          <a:pt x="646" y="179"/>
                          <a:pt x="654" y="176"/>
                        </a:cubicBezTo>
                        <a:cubicBezTo>
                          <a:pt x="695" y="163"/>
                          <a:pt x="682" y="184"/>
                          <a:pt x="705" y="202"/>
                        </a:cubicBezTo>
                        <a:cubicBezTo>
                          <a:pt x="723" y="216"/>
                          <a:pt x="741" y="215"/>
                          <a:pt x="760" y="225"/>
                        </a:cubicBezTo>
                        <a:cubicBezTo>
                          <a:pt x="779" y="235"/>
                          <a:pt x="792" y="256"/>
                          <a:pt x="813" y="265"/>
                        </a:cubicBezTo>
                        <a:cubicBezTo>
                          <a:pt x="815" y="238"/>
                          <a:pt x="791" y="223"/>
                          <a:pt x="779" y="202"/>
                        </a:cubicBezTo>
                        <a:cubicBezTo>
                          <a:pt x="767" y="180"/>
                          <a:pt x="764" y="150"/>
                          <a:pt x="746" y="129"/>
                        </a:cubicBezTo>
                        <a:cubicBezTo>
                          <a:pt x="708" y="85"/>
                          <a:pt x="641" y="69"/>
                          <a:pt x="607" y="23"/>
                        </a:cubicBezTo>
                        <a:cubicBezTo>
                          <a:pt x="592" y="80"/>
                          <a:pt x="607" y="139"/>
                          <a:pt x="576" y="191"/>
                        </a:cubicBezTo>
                        <a:cubicBezTo>
                          <a:pt x="548" y="236"/>
                          <a:pt x="505" y="268"/>
                          <a:pt x="483" y="316"/>
                        </a:cubicBezTo>
                        <a:cubicBezTo>
                          <a:pt x="459" y="368"/>
                          <a:pt x="446" y="424"/>
                          <a:pt x="427" y="480"/>
                        </a:cubicBezTo>
                        <a:cubicBezTo>
                          <a:pt x="411" y="527"/>
                          <a:pt x="428" y="620"/>
                          <a:pt x="393" y="654"/>
                        </a:cubicBezTo>
                        <a:cubicBezTo>
                          <a:pt x="376" y="608"/>
                          <a:pt x="381" y="529"/>
                          <a:pt x="381" y="479"/>
                        </a:cubicBezTo>
                        <a:cubicBezTo>
                          <a:pt x="380" y="421"/>
                          <a:pt x="381" y="374"/>
                          <a:pt x="350" y="331"/>
                        </a:cubicBezTo>
                        <a:cubicBezTo>
                          <a:pt x="317" y="282"/>
                          <a:pt x="287" y="242"/>
                          <a:pt x="272" y="187"/>
                        </a:cubicBezTo>
                        <a:cubicBezTo>
                          <a:pt x="262" y="153"/>
                          <a:pt x="229" y="68"/>
                          <a:pt x="182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5" name="Freeform 279"/>
                  <p:cNvSpPr>
                    <a:spLocks/>
                  </p:cNvSpPr>
                  <p:nvPr/>
                </p:nvSpPr>
                <p:spPr bwMode="gray">
                  <a:xfrm>
                    <a:off x="-2914650" y="13449301"/>
                    <a:ext cx="1031875" cy="720725"/>
                  </a:xfrm>
                  <a:custGeom>
                    <a:avLst/>
                    <a:gdLst/>
                    <a:ahLst/>
                    <a:cxnLst>
                      <a:cxn ang="0">
                        <a:pos x="135" y="191"/>
                      </a:cxn>
                      <a:cxn ang="0">
                        <a:pos x="188" y="4"/>
                      </a:cxn>
                      <a:cxn ang="0">
                        <a:pos x="234" y="116"/>
                      </a:cxn>
                      <a:cxn ang="0">
                        <a:pos x="129" y="191"/>
                      </a:cxn>
                    </a:cxnLst>
                    <a:rect l="0" t="0" r="r" b="b"/>
                    <a:pathLst>
                      <a:path w="275" h="192">
                        <a:moveTo>
                          <a:pt x="135" y="191"/>
                        </a:moveTo>
                        <a:cubicBezTo>
                          <a:pt x="0" y="192"/>
                          <a:pt x="88" y="10"/>
                          <a:pt x="188" y="4"/>
                        </a:cubicBezTo>
                        <a:cubicBezTo>
                          <a:pt x="259" y="0"/>
                          <a:pt x="275" y="74"/>
                          <a:pt x="234" y="116"/>
                        </a:cubicBezTo>
                        <a:cubicBezTo>
                          <a:pt x="207" y="143"/>
                          <a:pt x="162" y="165"/>
                          <a:pt x="129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6" name="Freeform 280"/>
                  <p:cNvSpPr>
                    <a:spLocks/>
                  </p:cNvSpPr>
                  <p:nvPr/>
                </p:nvSpPr>
                <p:spPr bwMode="gray">
                  <a:xfrm>
                    <a:off x="400050" y="14341476"/>
                    <a:ext cx="1808163" cy="1276350"/>
                  </a:xfrm>
                  <a:custGeom>
                    <a:avLst/>
                    <a:gdLst/>
                    <a:ahLst/>
                    <a:cxnLst>
                      <a:cxn ang="0">
                        <a:pos x="460" y="287"/>
                      </a:cxn>
                      <a:cxn ang="0">
                        <a:pos x="232" y="257"/>
                      </a:cxn>
                      <a:cxn ang="0">
                        <a:pos x="11" y="327"/>
                      </a:cxn>
                      <a:cxn ang="0">
                        <a:pos x="15" y="236"/>
                      </a:cxn>
                      <a:cxn ang="0">
                        <a:pos x="0" y="235"/>
                      </a:cxn>
                      <a:cxn ang="0">
                        <a:pos x="482" y="228"/>
                      </a:cxn>
                      <a:cxn ang="0">
                        <a:pos x="466" y="235"/>
                      </a:cxn>
                    </a:cxnLst>
                    <a:rect l="0" t="0" r="r" b="b"/>
                    <a:pathLst>
                      <a:path w="482" h="340">
                        <a:moveTo>
                          <a:pt x="460" y="287"/>
                        </a:moveTo>
                        <a:cubicBezTo>
                          <a:pt x="386" y="340"/>
                          <a:pt x="304" y="274"/>
                          <a:pt x="232" y="257"/>
                        </a:cubicBezTo>
                        <a:cubicBezTo>
                          <a:pt x="132" y="232"/>
                          <a:pt x="95" y="302"/>
                          <a:pt x="11" y="327"/>
                        </a:cubicBezTo>
                        <a:cubicBezTo>
                          <a:pt x="11" y="297"/>
                          <a:pt x="20" y="267"/>
                          <a:pt x="15" y="236"/>
                        </a:cubicBezTo>
                        <a:cubicBezTo>
                          <a:pt x="11" y="235"/>
                          <a:pt x="4" y="236"/>
                          <a:pt x="0" y="235"/>
                        </a:cubicBezTo>
                        <a:cubicBezTo>
                          <a:pt x="109" y="206"/>
                          <a:pt x="473" y="0"/>
                          <a:pt x="482" y="228"/>
                        </a:cubicBezTo>
                        <a:cubicBezTo>
                          <a:pt x="476" y="229"/>
                          <a:pt x="472" y="232"/>
                          <a:pt x="466" y="23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7" name="Freeform 281"/>
                  <p:cNvSpPr>
                    <a:spLocks/>
                  </p:cNvSpPr>
                  <p:nvPr/>
                </p:nvSpPr>
                <p:spPr bwMode="gray">
                  <a:xfrm>
                    <a:off x="-1665288" y="14825663"/>
                    <a:ext cx="1098550" cy="919163"/>
                  </a:xfrm>
                  <a:custGeom>
                    <a:avLst/>
                    <a:gdLst/>
                    <a:ahLst/>
                    <a:cxnLst>
                      <a:cxn ang="0">
                        <a:pos x="0" y="59"/>
                      </a:cxn>
                      <a:cxn ang="0">
                        <a:pos x="98" y="182"/>
                      </a:cxn>
                      <a:cxn ang="0">
                        <a:pos x="293" y="240"/>
                      </a:cxn>
                      <a:cxn ang="0">
                        <a:pos x="227" y="19"/>
                      </a:cxn>
                      <a:cxn ang="0">
                        <a:pos x="75" y="6"/>
                      </a:cxn>
                      <a:cxn ang="0">
                        <a:pos x="0" y="76"/>
                      </a:cxn>
                    </a:cxnLst>
                    <a:rect l="0" t="0" r="r" b="b"/>
                    <a:pathLst>
                      <a:path w="293" h="245">
                        <a:moveTo>
                          <a:pt x="0" y="59"/>
                        </a:moveTo>
                        <a:cubicBezTo>
                          <a:pt x="40" y="113"/>
                          <a:pt x="22" y="156"/>
                          <a:pt x="98" y="182"/>
                        </a:cubicBezTo>
                        <a:cubicBezTo>
                          <a:pt x="149" y="199"/>
                          <a:pt x="239" y="245"/>
                          <a:pt x="293" y="240"/>
                        </a:cubicBezTo>
                        <a:cubicBezTo>
                          <a:pt x="214" y="196"/>
                          <a:pt x="232" y="106"/>
                          <a:pt x="227" y="19"/>
                        </a:cubicBezTo>
                        <a:cubicBezTo>
                          <a:pt x="177" y="14"/>
                          <a:pt x="128" y="0"/>
                          <a:pt x="75" y="6"/>
                        </a:cubicBezTo>
                        <a:cubicBezTo>
                          <a:pt x="11" y="14"/>
                          <a:pt x="36" y="33"/>
                          <a:pt x="0" y="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8" name="Freeform 282"/>
                  <p:cNvSpPr>
                    <a:spLocks/>
                  </p:cNvSpPr>
                  <p:nvPr/>
                </p:nvSpPr>
                <p:spPr bwMode="gray">
                  <a:xfrm>
                    <a:off x="-739775" y="15628938"/>
                    <a:ext cx="2692400" cy="2411413"/>
                  </a:xfrm>
                  <a:custGeom>
                    <a:avLst/>
                    <a:gdLst/>
                    <a:ahLst/>
                    <a:cxnLst>
                      <a:cxn ang="0">
                        <a:pos x="653" y="225"/>
                      </a:cxn>
                      <a:cxn ang="0">
                        <a:pos x="513" y="353"/>
                      </a:cxn>
                      <a:cxn ang="0">
                        <a:pos x="361" y="480"/>
                      </a:cxn>
                      <a:cxn ang="0">
                        <a:pos x="0" y="621"/>
                      </a:cxn>
                      <a:cxn ang="0">
                        <a:pos x="435" y="305"/>
                      </a:cxn>
                      <a:cxn ang="0">
                        <a:pos x="573" y="104"/>
                      </a:cxn>
                      <a:cxn ang="0">
                        <a:pos x="675" y="21"/>
                      </a:cxn>
                      <a:cxn ang="0">
                        <a:pos x="682" y="153"/>
                      </a:cxn>
                      <a:cxn ang="0">
                        <a:pos x="589" y="283"/>
                      </a:cxn>
                    </a:cxnLst>
                    <a:rect l="0" t="0" r="r" b="b"/>
                    <a:pathLst>
                      <a:path w="718" h="643">
                        <a:moveTo>
                          <a:pt x="653" y="225"/>
                        </a:moveTo>
                        <a:cubicBezTo>
                          <a:pt x="637" y="279"/>
                          <a:pt x="556" y="321"/>
                          <a:pt x="513" y="353"/>
                        </a:cubicBezTo>
                        <a:cubicBezTo>
                          <a:pt x="459" y="393"/>
                          <a:pt x="411" y="438"/>
                          <a:pt x="361" y="480"/>
                        </a:cubicBezTo>
                        <a:cubicBezTo>
                          <a:pt x="264" y="561"/>
                          <a:pt x="132" y="643"/>
                          <a:pt x="0" y="621"/>
                        </a:cubicBezTo>
                        <a:cubicBezTo>
                          <a:pt x="150" y="549"/>
                          <a:pt x="337" y="442"/>
                          <a:pt x="435" y="305"/>
                        </a:cubicBezTo>
                        <a:cubicBezTo>
                          <a:pt x="483" y="238"/>
                          <a:pt x="524" y="167"/>
                          <a:pt x="573" y="104"/>
                        </a:cubicBezTo>
                        <a:cubicBezTo>
                          <a:pt x="593" y="77"/>
                          <a:pt x="630" y="0"/>
                          <a:pt x="675" y="21"/>
                        </a:cubicBezTo>
                        <a:cubicBezTo>
                          <a:pt x="718" y="41"/>
                          <a:pt x="695" y="127"/>
                          <a:pt x="682" y="153"/>
                        </a:cubicBezTo>
                        <a:cubicBezTo>
                          <a:pt x="663" y="191"/>
                          <a:pt x="626" y="263"/>
                          <a:pt x="589" y="28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89" name="Freeform 283"/>
                  <p:cNvSpPr>
                    <a:spLocks/>
                  </p:cNvSpPr>
                  <p:nvPr/>
                </p:nvSpPr>
                <p:spPr bwMode="gray">
                  <a:xfrm>
                    <a:off x="-477838" y="16422688"/>
                    <a:ext cx="2482850" cy="3222625"/>
                  </a:xfrm>
                  <a:custGeom>
                    <a:avLst/>
                    <a:gdLst/>
                    <a:ahLst/>
                    <a:cxnLst>
                      <a:cxn ang="0">
                        <a:pos x="554" y="112"/>
                      </a:cxn>
                      <a:cxn ang="0">
                        <a:pos x="436" y="323"/>
                      </a:cxn>
                      <a:cxn ang="0">
                        <a:pos x="315" y="511"/>
                      </a:cxn>
                      <a:cxn ang="0">
                        <a:pos x="0" y="859"/>
                      </a:cxn>
                      <a:cxn ang="0">
                        <a:pos x="223" y="732"/>
                      </a:cxn>
                      <a:cxn ang="0">
                        <a:pos x="459" y="529"/>
                      </a:cxn>
                      <a:cxn ang="0">
                        <a:pos x="344" y="782"/>
                      </a:cxn>
                      <a:cxn ang="0">
                        <a:pos x="548" y="387"/>
                      </a:cxn>
                      <a:cxn ang="0">
                        <a:pos x="596" y="169"/>
                      </a:cxn>
                      <a:cxn ang="0">
                        <a:pos x="652" y="8"/>
                      </a:cxn>
                      <a:cxn ang="0">
                        <a:pos x="542" y="137"/>
                      </a:cxn>
                      <a:cxn ang="0">
                        <a:pos x="449" y="258"/>
                      </a:cxn>
                    </a:cxnLst>
                    <a:rect l="0" t="0" r="r" b="b"/>
                    <a:pathLst>
                      <a:path w="662" h="859">
                        <a:moveTo>
                          <a:pt x="554" y="112"/>
                        </a:moveTo>
                        <a:cubicBezTo>
                          <a:pt x="559" y="166"/>
                          <a:pt x="462" y="270"/>
                          <a:pt x="436" y="323"/>
                        </a:cubicBezTo>
                        <a:cubicBezTo>
                          <a:pt x="401" y="390"/>
                          <a:pt x="359" y="448"/>
                          <a:pt x="315" y="511"/>
                        </a:cubicBezTo>
                        <a:cubicBezTo>
                          <a:pt x="222" y="646"/>
                          <a:pt x="129" y="762"/>
                          <a:pt x="0" y="859"/>
                        </a:cubicBezTo>
                        <a:cubicBezTo>
                          <a:pt x="79" y="822"/>
                          <a:pt x="156" y="788"/>
                          <a:pt x="223" y="732"/>
                        </a:cubicBezTo>
                        <a:cubicBezTo>
                          <a:pt x="301" y="667"/>
                          <a:pt x="376" y="588"/>
                          <a:pt x="459" y="529"/>
                        </a:cubicBezTo>
                        <a:cubicBezTo>
                          <a:pt x="464" y="635"/>
                          <a:pt x="411" y="705"/>
                          <a:pt x="344" y="782"/>
                        </a:cubicBezTo>
                        <a:cubicBezTo>
                          <a:pt x="477" y="691"/>
                          <a:pt x="524" y="541"/>
                          <a:pt x="548" y="387"/>
                        </a:cubicBezTo>
                        <a:cubicBezTo>
                          <a:pt x="561" y="307"/>
                          <a:pt x="569" y="239"/>
                          <a:pt x="596" y="169"/>
                        </a:cubicBezTo>
                        <a:cubicBezTo>
                          <a:pt x="616" y="117"/>
                          <a:pt x="662" y="68"/>
                          <a:pt x="652" y="8"/>
                        </a:cubicBezTo>
                        <a:cubicBezTo>
                          <a:pt x="607" y="0"/>
                          <a:pt x="572" y="106"/>
                          <a:pt x="542" y="137"/>
                        </a:cubicBezTo>
                        <a:cubicBezTo>
                          <a:pt x="507" y="173"/>
                          <a:pt x="454" y="204"/>
                          <a:pt x="449" y="25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0" name="Freeform 284"/>
                  <p:cNvSpPr>
                    <a:spLocks/>
                  </p:cNvSpPr>
                  <p:nvPr/>
                </p:nvSpPr>
                <p:spPr bwMode="gray">
                  <a:xfrm>
                    <a:off x="1765300" y="14338301"/>
                    <a:ext cx="817563" cy="2287588"/>
                  </a:xfrm>
                  <a:custGeom>
                    <a:avLst/>
                    <a:gdLst/>
                    <a:ahLst/>
                    <a:cxnLst>
                      <a:cxn ang="0">
                        <a:pos x="99" y="1"/>
                      </a:cxn>
                      <a:cxn ang="0">
                        <a:pos x="61" y="160"/>
                      </a:cxn>
                      <a:cxn ang="0">
                        <a:pos x="40" y="273"/>
                      </a:cxn>
                      <a:cxn ang="0">
                        <a:pos x="23" y="348"/>
                      </a:cxn>
                      <a:cxn ang="0">
                        <a:pos x="7" y="447"/>
                      </a:cxn>
                      <a:cxn ang="0">
                        <a:pos x="79" y="361"/>
                      </a:cxn>
                      <a:cxn ang="0">
                        <a:pos x="56" y="501"/>
                      </a:cxn>
                      <a:cxn ang="0">
                        <a:pos x="48" y="556"/>
                      </a:cxn>
                      <a:cxn ang="0">
                        <a:pos x="58" y="610"/>
                      </a:cxn>
                      <a:cxn ang="0">
                        <a:pos x="109" y="467"/>
                      </a:cxn>
                      <a:cxn ang="0">
                        <a:pos x="109" y="594"/>
                      </a:cxn>
                      <a:cxn ang="0">
                        <a:pos x="147" y="493"/>
                      </a:cxn>
                      <a:cxn ang="0">
                        <a:pos x="155" y="570"/>
                      </a:cxn>
                      <a:cxn ang="0">
                        <a:pos x="211" y="327"/>
                      </a:cxn>
                      <a:cxn ang="0">
                        <a:pos x="206" y="178"/>
                      </a:cxn>
                      <a:cxn ang="0">
                        <a:pos x="208" y="124"/>
                      </a:cxn>
                      <a:cxn ang="0">
                        <a:pos x="201" y="89"/>
                      </a:cxn>
                      <a:cxn ang="0">
                        <a:pos x="191" y="35"/>
                      </a:cxn>
                      <a:cxn ang="0">
                        <a:pos x="100" y="1"/>
                      </a:cxn>
                    </a:cxnLst>
                    <a:rect l="0" t="0" r="r" b="b"/>
                    <a:pathLst>
                      <a:path w="218" h="610">
                        <a:moveTo>
                          <a:pt x="99" y="1"/>
                        </a:moveTo>
                        <a:cubicBezTo>
                          <a:pt x="91" y="55"/>
                          <a:pt x="75" y="107"/>
                          <a:pt x="61" y="160"/>
                        </a:cubicBezTo>
                        <a:cubicBezTo>
                          <a:pt x="51" y="197"/>
                          <a:pt x="46" y="235"/>
                          <a:pt x="40" y="273"/>
                        </a:cubicBezTo>
                        <a:cubicBezTo>
                          <a:pt x="36" y="298"/>
                          <a:pt x="27" y="323"/>
                          <a:pt x="23" y="348"/>
                        </a:cubicBezTo>
                        <a:cubicBezTo>
                          <a:pt x="21" y="356"/>
                          <a:pt x="0" y="440"/>
                          <a:pt x="7" y="447"/>
                        </a:cubicBezTo>
                        <a:cubicBezTo>
                          <a:pt x="37" y="449"/>
                          <a:pt x="71" y="360"/>
                          <a:pt x="79" y="361"/>
                        </a:cubicBezTo>
                        <a:cubicBezTo>
                          <a:pt x="83" y="379"/>
                          <a:pt x="59" y="484"/>
                          <a:pt x="56" y="501"/>
                        </a:cubicBezTo>
                        <a:cubicBezTo>
                          <a:pt x="53" y="519"/>
                          <a:pt x="50" y="538"/>
                          <a:pt x="48" y="556"/>
                        </a:cubicBezTo>
                        <a:cubicBezTo>
                          <a:pt x="46" y="571"/>
                          <a:pt x="36" y="609"/>
                          <a:pt x="58" y="610"/>
                        </a:cubicBezTo>
                        <a:cubicBezTo>
                          <a:pt x="69" y="610"/>
                          <a:pt x="101" y="480"/>
                          <a:pt x="109" y="467"/>
                        </a:cubicBezTo>
                        <a:cubicBezTo>
                          <a:pt x="115" y="476"/>
                          <a:pt x="96" y="592"/>
                          <a:pt x="109" y="594"/>
                        </a:cubicBezTo>
                        <a:cubicBezTo>
                          <a:pt x="130" y="596"/>
                          <a:pt x="143" y="502"/>
                          <a:pt x="147" y="493"/>
                        </a:cubicBezTo>
                        <a:cubicBezTo>
                          <a:pt x="147" y="495"/>
                          <a:pt x="141" y="559"/>
                          <a:pt x="155" y="570"/>
                        </a:cubicBezTo>
                        <a:cubicBezTo>
                          <a:pt x="172" y="569"/>
                          <a:pt x="218" y="396"/>
                          <a:pt x="211" y="327"/>
                        </a:cubicBezTo>
                        <a:cubicBezTo>
                          <a:pt x="205" y="276"/>
                          <a:pt x="204" y="228"/>
                          <a:pt x="206" y="178"/>
                        </a:cubicBezTo>
                        <a:cubicBezTo>
                          <a:pt x="207" y="161"/>
                          <a:pt x="209" y="142"/>
                          <a:pt x="208" y="124"/>
                        </a:cubicBezTo>
                        <a:cubicBezTo>
                          <a:pt x="207" y="112"/>
                          <a:pt x="202" y="101"/>
                          <a:pt x="201" y="89"/>
                        </a:cubicBezTo>
                        <a:cubicBezTo>
                          <a:pt x="199" y="74"/>
                          <a:pt x="200" y="49"/>
                          <a:pt x="191" y="35"/>
                        </a:cubicBezTo>
                        <a:cubicBezTo>
                          <a:pt x="173" y="9"/>
                          <a:pt x="130" y="0"/>
                          <a:pt x="100" y="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1" name="Freeform 285"/>
                  <p:cNvSpPr>
                    <a:spLocks/>
                  </p:cNvSpPr>
                  <p:nvPr/>
                </p:nvSpPr>
                <p:spPr bwMode="gray">
                  <a:xfrm>
                    <a:off x="-863600" y="6575426"/>
                    <a:ext cx="1585913" cy="2251075"/>
                  </a:xfrm>
                  <a:custGeom>
                    <a:avLst/>
                    <a:gdLst/>
                    <a:ahLst/>
                    <a:cxnLst>
                      <a:cxn ang="0">
                        <a:pos x="6" y="213"/>
                      </a:cxn>
                      <a:cxn ang="0">
                        <a:pos x="35" y="379"/>
                      </a:cxn>
                      <a:cxn ang="0">
                        <a:pos x="76" y="526"/>
                      </a:cxn>
                      <a:cxn ang="0">
                        <a:pos x="199" y="599"/>
                      </a:cxn>
                      <a:cxn ang="0">
                        <a:pos x="330" y="527"/>
                      </a:cxn>
                      <a:cxn ang="0">
                        <a:pos x="374" y="392"/>
                      </a:cxn>
                      <a:cxn ang="0">
                        <a:pos x="329" y="70"/>
                      </a:cxn>
                      <a:cxn ang="0">
                        <a:pos x="158" y="0"/>
                      </a:cxn>
                      <a:cxn ang="0">
                        <a:pos x="0" y="85"/>
                      </a:cxn>
                    </a:cxnLst>
                    <a:rect l="0" t="0" r="r" b="b"/>
                    <a:pathLst>
                      <a:path w="423" h="600">
                        <a:moveTo>
                          <a:pt x="6" y="213"/>
                        </a:moveTo>
                        <a:cubicBezTo>
                          <a:pt x="0" y="277"/>
                          <a:pt x="15" y="323"/>
                          <a:pt x="35" y="379"/>
                        </a:cubicBezTo>
                        <a:cubicBezTo>
                          <a:pt x="53" y="428"/>
                          <a:pt x="42" y="480"/>
                          <a:pt x="76" y="526"/>
                        </a:cubicBezTo>
                        <a:cubicBezTo>
                          <a:pt x="102" y="561"/>
                          <a:pt x="152" y="597"/>
                          <a:pt x="199" y="599"/>
                        </a:cubicBezTo>
                        <a:cubicBezTo>
                          <a:pt x="244" y="600"/>
                          <a:pt x="305" y="565"/>
                          <a:pt x="330" y="527"/>
                        </a:cubicBezTo>
                        <a:cubicBezTo>
                          <a:pt x="356" y="487"/>
                          <a:pt x="352" y="434"/>
                          <a:pt x="374" y="392"/>
                        </a:cubicBezTo>
                        <a:cubicBezTo>
                          <a:pt x="423" y="295"/>
                          <a:pt x="402" y="146"/>
                          <a:pt x="329" y="70"/>
                        </a:cubicBezTo>
                        <a:cubicBezTo>
                          <a:pt x="281" y="20"/>
                          <a:pt x="227" y="0"/>
                          <a:pt x="158" y="0"/>
                        </a:cubicBezTo>
                        <a:cubicBezTo>
                          <a:pt x="115" y="0"/>
                          <a:pt x="3" y="73"/>
                          <a:pt x="0" y="8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2" name="Freeform 286"/>
                  <p:cNvSpPr>
                    <a:spLocks/>
                  </p:cNvSpPr>
                  <p:nvPr/>
                </p:nvSpPr>
                <p:spPr bwMode="gray">
                  <a:xfrm>
                    <a:off x="-971550" y="5983288"/>
                    <a:ext cx="1795463" cy="2549525"/>
                  </a:xfrm>
                  <a:custGeom>
                    <a:avLst/>
                    <a:gdLst/>
                    <a:ahLst/>
                    <a:cxnLst>
                      <a:cxn ang="0">
                        <a:pos x="7" y="242"/>
                      </a:cxn>
                      <a:cxn ang="0">
                        <a:pos x="39" y="429"/>
                      </a:cxn>
                      <a:cxn ang="0">
                        <a:pos x="86" y="596"/>
                      </a:cxn>
                      <a:cxn ang="0">
                        <a:pos x="225" y="678"/>
                      </a:cxn>
                      <a:cxn ang="0">
                        <a:pos x="373" y="597"/>
                      </a:cxn>
                      <a:cxn ang="0">
                        <a:pos x="423" y="444"/>
                      </a:cxn>
                      <a:cxn ang="0">
                        <a:pos x="372" y="79"/>
                      </a:cxn>
                      <a:cxn ang="0">
                        <a:pos x="178" y="0"/>
                      </a:cxn>
                      <a:cxn ang="0">
                        <a:pos x="0" y="97"/>
                      </a:cxn>
                    </a:cxnLst>
                    <a:rect l="0" t="0" r="r" b="b"/>
                    <a:pathLst>
                      <a:path w="479" h="680">
                        <a:moveTo>
                          <a:pt x="7" y="242"/>
                        </a:moveTo>
                        <a:cubicBezTo>
                          <a:pt x="0" y="314"/>
                          <a:pt x="16" y="366"/>
                          <a:pt x="39" y="429"/>
                        </a:cubicBezTo>
                        <a:cubicBezTo>
                          <a:pt x="59" y="485"/>
                          <a:pt x="47" y="544"/>
                          <a:pt x="86" y="596"/>
                        </a:cubicBezTo>
                        <a:cubicBezTo>
                          <a:pt x="115" y="635"/>
                          <a:pt x="172" y="677"/>
                          <a:pt x="225" y="678"/>
                        </a:cubicBezTo>
                        <a:cubicBezTo>
                          <a:pt x="276" y="680"/>
                          <a:pt x="346" y="640"/>
                          <a:pt x="373" y="597"/>
                        </a:cubicBezTo>
                        <a:cubicBezTo>
                          <a:pt x="403" y="552"/>
                          <a:pt x="398" y="492"/>
                          <a:pt x="423" y="444"/>
                        </a:cubicBezTo>
                        <a:cubicBezTo>
                          <a:pt x="479" y="334"/>
                          <a:pt x="455" y="166"/>
                          <a:pt x="372" y="79"/>
                        </a:cubicBezTo>
                        <a:cubicBezTo>
                          <a:pt x="318" y="23"/>
                          <a:pt x="257" y="0"/>
                          <a:pt x="178" y="0"/>
                        </a:cubicBezTo>
                        <a:cubicBezTo>
                          <a:pt x="130" y="0"/>
                          <a:pt x="3" y="83"/>
                          <a:pt x="0" y="9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3" name="Freeform 287"/>
                  <p:cNvSpPr>
                    <a:spLocks/>
                  </p:cNvSpPr>
                  <p:nvPr/>
                </p:nvSpPr>
                <p:spPr bwMode="gray">
                  <a:xfrm>
                    <a:off x="-117475" y="11623676"/>
                    <a:ext cx="1038225" cy="2324100"/>
                  </a:xfrm>
                  <a:custGeom>
                    <a:avLst/>
                    <a:gdLst/>
                    <a:ahLst/>
                    <a:cxnLst>
                      <a:cxn ang="0">
                        <a:pos x="200" y="59"/>
                      </a:cxn>
                      <a:cxn ang="0">
                        <a:pos x="101" y="65"/>
                      </a:cxn>
                      <a:cxn ang="0">
                        <a:pos x="38" y="19"/>
                      </a:cxn>
                      <a:cxn ang="0">
                        <a:pos x="61" y="201"/>
                      </a:cxn>
                      <a:cxn ang="0">
                        <a:pos x="95" y="293"/>
                      </a:cxn>
                      <a:cxn ang="0">
                        <a:pos x="54" y="404"/>
                      </a:cxn>
                      <a:cxn ang="0">
                        <a:pos x="78" y="522"/>
                      </a:cxn>
                      <a:cxn ang="0">
                        <a:pos x="176" y="615"/>
                      </a:cxn>
                      <a:cxn ang="0">
                        <a:pos x="253" y="464"/>
                      </a:cxn>
                      <a:cxn ang="0">
                        <a:pos x="276" y="286"/>
                      </a:cxn>
                      <a:cxn ang="0">
                        <a:pos x="203" y="78"/>
                      </a:cxn>
                      <a:cxn ang="0">
                        <a:pos x="85" y="57"/>
                      </a:cxn>
                      <a:cxn ang="0">
                        <a:pos x="25" y="48"/>
                      </a:cxn>
                    </a:cxnLst>
                    <a:rect l="0" t="0" r="r" b="b"/>
                    <a:pathLst>
                      <a:path w="277" h="620">
                        <a:moveTo>
                          <a:pt x="200" y="59"/>
                        </a:moveTo>
                        <a:cubicBezTo>
                          <a:pt x="175" y="76"/>
                          <a:pt x="127" y="78"/>
                          <a:pt x="101" y="65"/>
                        </a:cubicBezTo>
                        <a:cubicBezTo>
                          <a:pt x="75" y="52"/>
                          <a:pt x="68" y="17"/>
                          <a:pt x="38" y="19"/>
                        </a:cubicBezTo>
                        <a:cubicBezTo>
                          <a:pt x="26" y="65"/>
                          <a:pt x="135" y="171"/>
                          <a:pt x="61" y="201"/>
                        </a:cubicBezTo>
                        <a:cubicBezTo>
                          <a:pt x="46" y="250"/>
                          <a:pt x="96" y="253"/>
                          <a:pt x="95" y="293"/>
                        </a:cubicBezTo>
                        <a:cubicBezTo>
                          <a:pt x="95" y="334"/>
                          <a:pt x="49" y="349"/>
                          <a:pt x="54" y="404"/>
                        </a:cubicBezTo>
                        <a:cubicBezTo>
                          <a:pt x="57" y="438"/>
                          <a:pt x="68" y="488"/>
                          <a:pt x="78" y="522"/>
                        </a:cubicBezTo>
                        <a:cubicBezTo>
                          <a:pt x="89" y="562"/>
                          <a:pt x="124" y="620"/>
                          <a:pt x="176" y="615"/>
                        </a:cubicBezTo>
                        <a:cubicBezTo>
                          <a:pt x="249" y="607"/>
                          <a:pt x="253" y="521"/>
                          <a:pt x="253" y="464"/>
                        </a:cubicBezTo>
                        <a:cubicBezTo>
                          <a:pt x="253" y="398"/>
                          <a:pt x="276" y="352"/>
                          <a:pt x="276" y="286"/>
                        </a:cubicBezTo>
                        <a:cubicBezTo>
                          <a:pt x="276" y="197"/>
                          <a:pt x="277" y="138"/>
                          <a:pt x="203" y="78"/>
                        </a:cubicBezTo>
                        <a:cubicBezTo>
                          <a:pt x="173" y="54"/>
                          <a:pt x="115" y="6"/>
                          <a:pt x="85" y="57"/>
                        </a:cubicBezTo>
                        <a:cubicBezTo>
                          <a:pt x="70" y="18"/>
                          <a:pt x="0" y="0"/>
                          <a:pt x="25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4" name="Freeform 288"/>
                  <p:cNvSpPr>
                    <a:spLocks/>
                  </p:cNvSpPr>
                  <p:nvPr/>
                </p:nvSpPr>
                <p:spPr bwMode="gray">
                  <a:xfrm>
                    <a:off x="-219075" y="10855326"/>
                    <a:ext cx="657225" cy="704850"/>
                  </a:xfrm>
                  <a:custGeom>
                    <a:avLst/>
                    <a:gdLst/>
                    <a:ahLst/>
                    <a:cxnLst>
                      <a:cxn ang="0">
                        <a:pos x="157" y="183"/>
                      </a:cxn>
                      <a:cxn ang="0">
                        <a:pos x="75" y="20"/>
                      </a:cxn>
                      <a:cxn ang="0">
                        <a:pos x="87" y="118"/>
                      </a:cxn>
                      <a:cxn ang="0">
                        <a:pos x="175" y="188"/>
                      </a:cxn>
                    </a:cxnLst>
                    <a:rect l="0" t="0" r="r" b="b"/>
                    <a:pathLst>
                      <a:path w="175" h="188">
                        <a:moveTo>
                          <a:pt x="157" y="183"/>
                        </a:moveTo>
                        <a:cubicBezTo>
                          <a:pt x="117" y="174"/>
                          <a:pt x="0" y="57"/>
                          <a:pt x="75" y="20"/>
                        </a:cubicBezTo>
                        <a:cubicBezTo>
                          <a:pt x="116" y="0"/>
                          <a:pt x="82" y="106"/>
                          <a:pt x="87" y="118"/>
                        </a:cubicBezTo>
                        <a:cubicBezTo>
                          <a:pt x="99" y="149"/>
                          <a:pt x="147" y="167"/>
                          <a:pt x="175" y="18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5" name="Freeform 289"/>
                  <p:cNvSpPr>
                    <a:spLocks/>
                  </p:cNvSpPr>
                  <p:nvPr/>
                </p:nvSpPr>
                <p:spPr bwMode="gray">
                  <a:xfrm>
                    <a:off x="-1287463" y="11717338"/>
                    <a:ext cx="1196975" cy="3367088"/>
                  </a:xfrm>
                  <a:custGeom>
                    <a:avLst/>
                    <a:gdLst/>
                    <a:ahLst/>
                    <a:cxnLst>
                      <a:cxn ang="0">
                        <a:pos x="127" y="122"/>
                      </a:cxn>
                      <a:cxn ang="0">
                        <a:pos x="144" y="227"/>
                      </a:cxn>
                      <a:cxn ang="0">
                        <a:pos x="198" y="308"/>
                      </a:cxn>
                      <a:cxn ang="0">
                        <a:pos x="319" y="472"/>
                      </a:cxn>
                      <a:cxn ang="0">
                        <a:pos x="157" y="339"/>
                      </a:cxn>
                      <a:cxn ang="0">
                        <a:pos x="169" y="594"/>
                      </a:cxn>
                      <a:cxn ang="0">
                        <a:pos x="238" y="695"/>
                      </a:cxn>
                      <a:cxn ang="0">
                        <a:pos x="259" y="829"/>
                      </a:cxn>
                      <a:cxn ang="0">
                        <a:pos x="74" y="397"/>
                      </a:cxn>
                      <a:cxn ang="0">
                        <a:pos x="4" y="128"/>
                      </a:cxn>
                      <a:cxn ang="0">
                        <a:pos x="161" y="35"/>
                      </a:cxn>
                      <a:cxn ang="0">
                        <a:pos x="92" y="134"/>
                      </a:cxn>
                      <a:cxn ang="0">
                        <a:pos x="156" y="210"/>
                      </a:cxn>
                    </a:cxnLst>
                    <a:rect l="0" t="0" r="r" b="b"/>
                    <a:pathLst>
                      <a:path w="319" h="898">
                        <a:moveTo>
                          <a:pt x="127" y="122"/>
                        </a:moveTo>
                        <a:cubicBezTo>
                          <a:pt x="148" y="154"/>
                          <a:pt x="133" y="189"/>
                          <a:pt x="144" y="227"/>
                        </a:cubicBezTo>
                        <a:cubicBezTo>
                          <a:pt x="152" y="254"/>
                          <a:pt x="181" y="284"/>
                          <a:pt x="198" y="308"/>
                        </a:cubicBezTo>
                        <a:cubicBezTo>
                          <a:pt x="238" y="364"/>
                          <a:pt x="288" y="410"/>
                          <a:pt x="319" y="472"/>
                        </a:cubicBezTo>
                        <a:cubicBezTo>
                          <a:pt x="273" y="430"/>
                          <a:pt x="238" y="326"/>
                          <a:pt x="157" y="339"/>
                        </a:cubicBezTo>
                        <a:cubicBezTo>
                          <a:pt x="137" y="420"/>
                          <a:pt x="112" y="529"/>
                          <a:pt x="169" y="594"/>
                        </a:cubicBezTo>
                        <a:cubicBezTo>
                          <a:pt x="198" y="626"/>
                          <a:pt x="227" y="651"/>
                          <a:pt x="238" y="695"/>
                        </a:cubicBezTo>
                        <a:cubicBezTo>
                          <a:pt x="249" y="737"/>
                          <a:pt x="209" y="810"/>
                          <a:pt x="259" y="829"/>
                        </a:cubicBezTo>
                        <a:cubicBezTo>
                          <a:pt x="43" y="898"/>
                          <a:pt x="109" y="499"/>
                          <a:pt x="74" y="397"/>
                        </a:cubicBezTo>
                        <a:cubicBezTo>
                          <a:pt x="43" y="305"/>
                          <a:pt x="0" y="232"/>
                          <a:pt x="4" y="128"/>
                        </a:cubicBezTo>
                        <a:cubicBezTo>
                          <a:pt x="9" y="0"/>
                          <a:pt x="83" y="57"/>
                          <a:pt x="161" y="35"/>
                        </a:cubicBezTo>
                        <a:cubicBezTo>
                          <a:pt x="179" y="98"/>
                          <a:pt x="85" y="76"/>
                          <a:pt x="92" y="134"/>
                        </a:cubicBezTo>
                        <a:cubicBezTo>
                          <a:pt x="93" y="151"/>
                          <a:pt x="147" y="202"/>
                          <a:pt x="156" y="21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6" name="Freeform 290"/>
                  <p:cNvSpPr>
                    <a:spLocks/>
                  </p:cNvSpPr>
                  <p:nvPr/>
                </p:nvSpPr>
                <p:spPr bwMode="gray">
                  <a:xfrm>
                    <a:off x="193675" y="8870951"/>
                    <a:ext cx="919163" cy="884238"/>
                  </a:xfrm>
                  <a:custGeom>
                    <a:avLst/>
                    <a:gdLst/>
                    <a:ahLst/>
                    <a:cxnLst>
                      <a:cxn ang="0">
                        <a:pos x="123" y="39"/>
                      </a:cxn>
                      <a:cxn ang="0">
                        <a:pos x="6" y="236"/>
                      </a:cxn>
                      <a:cxn ang="0">
                        <a:pos x="166" y="139"/>
                      </a:cxn>
                      <a:cxn ang="0">
                        <a:pos x="77" y="69"/>
                      </a:cxn>
                    </a:cxnLst>
                    <a:rect l="0" t="0" r="r" b="b"/>
                    <a:pathLst>
                      <a:path w="245" h="236">
                        <a:moveTo>
                          <a:pt x="123" y="39"/>
                        </a:moveTo>
                        <a:cubicBezTo>
                          <a:pt x="55" y="75"/>
                          <a:pt x="0" y="158"/>
                          <a:pt x="6" y="236"/>
                        </a:cubicBezTo>
                        <a:cubicBezTo>
                          <a:pt x="33" y="141"/>
                          <a:pt x="109" y="197"/>
                          <a:pt x="166" y="139"/>
                        </a:cubicBezTo>
                        <a:cubicBezTo>
                          <a:pt x="245" y="58"/>
                          <a:pt x="100" y="0"/>
                          <a:pt x="77" y="6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7" name="Freeform 291"/>
                  <p:cNvSpPr>
                    <a:spLocks/>
                  </p:cNvSpPr>
                  <p:nvPr/>
                </p:nvSpPr>
                <p:spPr bwMode="gray">
                  <a:xfrm>
                    <a:off x="1919287" y="14533563"/>
                    <a:ext cx="655638" cy="809625"/>
                  </a:xfrm>
                  <a:custGeom>
                    <a:avLst/>
                    <a:gdLst/>
                    <a:ahLst/>
                    <a:cxnLst>
                      <a:cxn ang="0">
                        <a:pos x="172" y="35"/>
                      </a:cxn>
                      <a:cxn ang="0">
                        <a:pos x="143" y="88"/>
                      </a:cxn>
                      <a:cxn ang="0">
                        <a:pos x="87" y="125"/>
                      </a:cxn>
                      <a:cxn ang="0">
                        <a:pos x="43" y="172"/>
                      </a:cxn>
                      <a:cxn ang="0">
                        <a:pos x="1" y="216"/>
                      </a:cxn>
                      <a:cxn ang="0">
                        <a:pos x="9" y="154"/>
                      </a:cxn>
                      <a:cxn ang="0">
                        <a:pos x="39" y="100"/>
                      </a:cxn>
                      <a:cxn ang="0">
                        <a:pos x="55" y="65"/>
                      </a:cxn>
                      <a:cxn ang="0">
                        <a:pos x="119" y="20"/>
                      </a:cxn>
                      <a:cxn ang="0">
                        <a:pos x="158" y="13"/>
                      </a:cxn>
                      <a:cxn ang="0">
                        <a:pos x="175" y="33"/>
                      </a:cxn>
                      <a:cxn ang="0">
                        <a:pos x="169" y="33"/>
                      </a:cxn>
                    </a:cxnLst>
                    <a:rect l="0" t="0" r="r" b="b"/>
                    <a:pathLst>
                      <a:path w="175" h="216">
                        <a:moveTo>
                          <a:pt x="172" y="35"/>
                        </a:moveTo>
                        <a:cubicBezTo>
                          <a:pt x="174" y="49"/>
                          <a:pt x="152" y="77"/>
                          <a:pt x="143" y="88"/>
                        </a:cubicBezTo>
                        <a:cubicBezTo>
                          <a:pt x="128" y="106"/>
                          <a:pt x="103" y="110"/>
                          <a:pt x="87" y="125"/>
                        </a:cubicBezTo>
                        <a:cubicBezTo>
                          <a:pt x="70" y="141"/>
                          <a:pt x="57" y="153"/>
                          <a:pt x="43" y="172"/>
                        </a:cubicBezTo>
                        <a:cubicBezTo>
                          <a:pt x="30" y="188"/>
                          <a:pt x="19" y="207"/>
                          <a:pt x="1" y="216"/>
                        </a:cubicBezTo>
                        <a:cubicBezTo>
                          <a:pt x="0" y="196"/>
                          <a:pt x="6" y="174"/>
                          <a:pt x="9" y="154"/>
                        </a:cubicBezTo>
                        <a:cubicBezTo>
                          <a:pt x="12" y="132"/>
                          <a:pt x="30" y="120"/>
                          <a:pt x="39" y="100"/>
                        </a:cubicBezTo>
                        <a:cubicBezTo>
                          <a:pt x="45" y="88"/>
                          <a:pt x="48" y="76"/>
                          <a:pt x="55" y="65"/>
                        </a:cubicBezTo>
                        <a:cubicBezTo>
                          <a:pt x="71" y="41"/>
                          <a:pt x="95" y="34"/>
                          <a:pt x="119" y="20"/>
                        </a:cubicBezTo>
                        <a:cubicBezTo>
                          <a:pt x="135" y="10"/>
                          <a:pt x="141" y="0"/>
                          <a:pt x="158" y="13"/>
                        </a:cubicBezTo>
                        <a:cubicBezTo>
                          <a:pt x="164" y="18"/>
                          <a:pt x="168" y="29"/>
                          <a:pt x="175" y="33"/>
                        </a:cubicBezTo>
                        <a:cubicBezTo>
                          <a:pt x="173" y="33"/>
                          <a:pt x="171" y="33"/>
                          <a:pt x="169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8" name="Freeform 292"/>
                  <p:cNvSpPr>
                    <a:spLocks/>
                  </p:cNvSpPr>
                  <p:nvPr/>
                </p:nvSpPr>
                <p:spPr bwMode="gray">
                  <a:xfrm>
                    <a:off x="-4095750" y="8386763"/>
                    <a:ext cx="6791325" cy="7204075"/>
                  </a:xfrm>
                  <a:custGeom>
                    <a:avLst/>
                    <a:gdLst/>
                    <a:ahLst/>
                    <a:cxnLst>
                      <a:cxn ang="0">
                        <a:pos x="1156" y="1557"/>
                      </a:cxn>
                      <a:cxn ang="0">
                        <a:pos x="1157" y="1117"/>
                      </a:cxn>
                      <a:cxn ang="0">
                        <a:pos x="1207" y="345"/>
                      </a:cxn>
                      <a:cxn ang="0">
                        <a:pos x="1346" y="124"/>
                      </a:cxn>
                      <a:cxn ang="0">
                        <a:pos x="1642" y="268"/>
                      </a:cxn>
                      <a:cxn ang="0">
                        <a:pos x="1689" y="578"/>
                      </a:cxn>
                      <a:cxn ang="0">
                        <a:pos x="1731" y="1101"/>
                      </a:cxn>
                      <a:cxn ang="0">
                        <a:pos x="1767" y="1289"/>
                      </a:cxn>
                      <a:cxn ang="0">
                        <a:pos x="1788" y="1685"/>
                      </a:cxn>
                      <a:cxn ang="0">
                        <a:pos x="1359" y="1806"/>
                      </a:cxn>
                      <a:cxn ang="0">
                        <a:pos x="993" y="1908"/>
                      </a:cxn>
                      <a:cxn ang="0">
                        <a:pos x="575" y="1568"/>
                      </a:cxn>
                      <a:cxn ang="0">
                        <a:pos x="611" y="1378"/>
                      </a:cxn>
                      <a:cxn ang="0">
                        <a:pos x="603" y="1284"/>
                      </a:cxn>
                      <a:cxn ang="0">
                        <a:pos x="618" y="1144"/>
                      </a:cxn>
                      <a:cxn ang="0">
                        <a:pos x="559" y="922"/>
                      </a:cxn>
                      <a:cxn ang="0">
                        <a:pos x="493" y="703"/>
                      </a:cxn>
                      <a:cxn ang="0">
                        <a:pos x="412" y="759"/>
                      </a:cxn>
                      <a:cxn ang="0">
                        <a:pos x="330" y="915"/>
                      </a:cxn>
                      <a:cxn ang="0">
                        <a:pos x="345" y="1062"/>
                      </a:cxn>
                      <a:cxn ang="0">
                        <a:pos x="472" y="1291"/>
                      </a:cxn>
                      <a:cxn ang="0">
                        <a:pos x="571" y="1381"/>
                      </a:cxn>
                      <a:cxn ang="0">
                        <a:pos x="487" y="1410"/>
                      </a:cxn>
                      <a:cxn ang="0">
                        <a:pos x="480" y="1558"/>
                      </a:cxn>
                      <a:cxn ang="0">
                        <a:pos x="282" y="1383"/>
                      </a:cxn>
                      <a:cxn ang="0">
                        <a:pos x="143" y="1207"/>
                      </a:cxn>
                      <a:cxn ang="0">
                        <a:pos x="79" y="1097"/>
                      </a:cxn>
                      <a:cxn ang="0">
                        <a:pos x="100" y="755"/>
                      </a:cxn>
                      <a:cxn ang="0">
                        <a:pos x="276" y="475"/>
                      </a:cxn>
                      <a:cxn ang="0">
                        <a:pos x="384" y="353"/>
                      </a:cxn>
                      <a:cxn ang="0">
                        <a:pos x="477" y="185"/>
                      </a:cxn>
                      <a:cxn ang="0">
                        <a:pos x="741" y="87"/>
                      </a:cxn>
                      <a:cxn ang="0">
                        <a:pos x="851" y="189"/>
                      </a:cxn>
                      <a:cxn ang="0">
                        <a:pos x="817" y="548"/>
                      </a:cxn>
                      <a:cxn ang="0">
                        <a:pos x="848" y="856"/>
                      </a:cxn>
                      <a:cxn ang="0">
                        <a:pos x="898" y="1421"/>
                      </a:cxn>
                      <a:cxn ang="0">
                        <a:pos x="993" y="1908"/>
                      </a:cxn>
                    </a:cxnLst>
                    <a:rect l="0" t="0" r="r" b="b"/>
                    <a:pathLst>
                      <a:path w="1811" h="1921">
                        <a:moveTo>
                          <a:pt x="1143" y="1908"/>
                        </a:moveTo>
                        <a:cubicBezTo>
                          <a:pt x="1187" y="1827"/>
                          <a:pt x="1155" y="1642"/>
                          <a:pt x="1156" y="1557"/>
                        </a:cubicBezTo>
                        <a:cubicBezTo>
                          <a:pt x="1156" y="1504"/>
                          <a:pt x="1169" y="1457"/>
                          <a:pt x="1171" y="1405"/>
                        </a:cubicBezTo>
                        <a:cubicBezTo>
                          <a:pt x="1176" y="1314"/>
                          <a:pt x="1164" y="1210"/>
                          <a:pt x="1157" y="1117"/>
                        </a:cubicBezTo>
                        <a:cubicBezTo>
                          <a:pt x="1144" y="955"/>
                          <a:pt x="1127" y="801"/>
                          <a:pt x="1151" y="642"/>
                        </a:cubicBezTo>
                        <a:cubicBezTo>
                          <a:pt x="1166" y="540"/>
                          <a:pt x="1176" y="444"/>
                          <a:pt x="1207" y="345"/>
                        </a:cubicBezTo>
                        <a:cubicBezTo>
                          <a:pt x="1231" y="269"/>
                          <a:pt x="1215" y="188"/>
                          <a:pt x="1232" y="111"/>
                        </a:cubicBezTo>
                        <a:cubicBezTo>
                          <a:pt x="1251" y="26"/>
                          <a:pt x="1303" y="94"/>
                          <a:pt x="1346" y="124"/>
                        </a:cubicBezTo>
                        <a:cubicBezTo>
                          <a:pt x="1380" y="148"/>
                          <a:pt x="1405" y="164"/>
                          <a:pt x="1444" y="185"/>
                        </a:cubicBezTo>
                        <a:cubicBezTo>
                          <a:pt x="1510" y="219"/>
                          <a:pt x="1571" y="248"/>
                          <a:pt x="1642" y="268"/>
                        </a:cubicBezTo>
                        <a:cubicBezTo>
                          <a:pt x="1655" y="321"/>
                          <a:pt x="1645" y="379"/>
                          <a:pt x="1667" y="430"/>
                        </a:cubicBezTo>
                        <a:cubicBezTo>
                          <a:pt x="1689" y="480"/>
                          <a:pt x="1686" y="520"/>
                          <a:pt x="1689" y="578"/>
                        </a:cubicBezTo>
                        <a:cubicBezTo>
                          <a:pt x="1693" y="635"/>
                          <a:pt x="1709" y="688"/>
                          <a:pt x="1709" y="749"/>
                        </a:cubicBezTo>
                        <a:cubicBezTo>
                          <a:pt x="1709" y="805"/>
                          <a:pt x="1723" y="1043"/>
                          <a:pt x="1731" y="1101"/>
                        </a:cubicBezTo>
                        <a:cubicBezTo>
                          <a:pt x="1735" y="1130"/>
                          <a:pt x="1723" y="1157"/>
                          <a:pt x="1737" y="1184"/>
                        </a:cubicBezTo>
                        <a:cubicBezTo>
                          <a:pt x="1755" y="1221"/>
                          <a:pt x="1763" y="1248"/>
                          <a:pt x="1767" y="1289"/>
                        </a:cubicBezTo>
                        <a:cubicBezTo>
                          <a:pt x="1773" y="1343"/>
                          <a:pt x="1758" y="1392"/>
                          <a:pt x="1780" y="1443"/>
                        </a:cubicBezTo>
                        <a:cubicBezTo>
                          <a:pt x="1811" y="1510"/>
                          <a:pt x="1788" y="1606"/>
                          <a:pt x="1788" y="1685"/>
                        </a:cubicBezTo>
                        <a:cubicBezTo>
                          <a:pt x="1788" y="1712"/>
                          <a:pt x="1603" y="1756"/>
                          <a:pt x="1605" y="1823"/>
                        </a:cubicBezTo>
                        <a:cubicBezTo>
                          <a:pt x="1457" y="1829"/>
                          <a:pt x="1505" y="1792"/>
                          <a:pt x="1359" y="1806"/>
                        </a:cubicBezTo>
                        <a:cubicBezTo>
                          <a:pt x="1319" y="1810"/>
                          <a:pt x="1240" y="1879"/>
                          <a:pt x="1143" y="1908"/>
                        </a:cubicBezTo>
                        <a:cubicBezTo>
                          <a:pt x="1097" y="1921"/>
                          <a:pt x="1043" y="1908"/>
                          <a:pt x="993" y="1908"/>
                        </a:cubicBezTo>
                        <a:cubicBezTo>
                          <a:pt x="820" y="1907"/>
                          <a:pt x="643" y="1809"/>
                          <a:pt x="572" y="1806"/>
                        </a:cubicBezTo>
                        <a:cubicBezTo>
                          <a:pt x="567" y="1725"/>
                          <a:pt x="575" y="1645"/>
                          <a:pt x="575" y="1568"/>
                        </a:cubicBezTo>
                        <a:cubicBezTo>
                          <a:pt x="575" y="1529"/>
                          <a:pt x="555" y="1500"/>
                          <a:pt x="559" y="1460"/>
                        </a:cubicBezTo>
                        <a:cubicBezTo>
                          <a:pt x="564" y="1421"/>
                          <a:pt x="591" y="1408"/>
                          <a:pt x="611" y="1378"/>
                        </a:cubicBezTo>
                        <a:cubicBezTo>
                          <a:pt x="620" y="1364"/>
                          <a:pt x="650" y="1313"/>
                          <a:pt x="641" y="1297"/>
                        </a:cubicBezTo>
                        <a:cubicBezTo>
                          <a:pt x="631" y="1281"/>
                          <a:pt x="612" y="1296"/>
                          <a:pt x="603" y="1284"/>
                        </a:cubicBezTo>
                        <a:cubicBezTo>
                          <a:pt x="597" y="1275"/>
                          <a:pt x="602" y="1244"/>
                          <a:pt x="602" y="1234"/>
                        </a:cubicBezTo>
                        <a:cubicBezTo>
                          <a:pt x="604" y="1202"/>
                          <a:pt x="620" y="1177"/>
                          <a:pt x="618" y="1144"/>
                        </a:cubicBezTo>
                        <a:cubicBezTo>
                          <a:pt x="615" y="1108"/>
                          <a:pt x="597" y="1065"/>
                          <a:pt x="586" y="1031"/>
                        </a:cubicBezTo>
                        <a:cubicBezTo>
                          <a:pt x="575" y="996"/>
                          <a:pt x="561" y="963"/>
                          <a:pt x="559" y="922"/>
                        </a:cubicBezTo>
                        <a:cubicBezTo>
                          <a:pt x="557" y="867"/>
                          <a:pt x="557" y="827"/>
                          <a:pt x="539" y="775"/>
                        </a:cubicBezTo>
                        <a:cubicBezTo>
                          <a:pt x="533" y="757"/>
                          <a:pt x="522" y="701"/>
                          <a:pt x="493" y="703"/>
                        </a:cubicBezTo>
                        <a:cubicBezTo>
                          <a:pt x="480" y="704"/>
                          <a:pt x="468" y="733"/>
                          <a:pt x="459" y="740"/>
                        </a:cubicBezTo>
                        <a:cubicBezTo>
                          <a:pt x="446" y="749"/>
                          <a:pt x="427" y="752"/>
                          <a:pt x="412" y="759"/>
                        </a:cubicBezTo>
                        <a:cubicBezTo>
                          <a:pt x="409" y="783"/>
                          <a:pt x="385" y="811"/>
                          <a:pt x="369" y="832"/>
                        </a:cubicBezTo>
                        <a:cubicBezTo>
                          <a:pt x="349" y="860"/>
                          <a:pt x="347" y="887"/>
                          <a:pt x="330" y="915"/>
                        </a:cubicBezTo>
                        <a:cubicBezTo>
                          <a:pt x="314" y="943"/>
                          <a:pt x="284" y="944"/>
                          <a:pt x="297" y="985"/>
                        </a:cubicBezTo>
                        <a:cubicBezTo>
                          <a:pt x="306" y="1013"/>
                          <a:pt x="331" y="1037"/>
                          <a:pt x="345" y="1062"/>
                        </a:cubicBezTo>
                        <a:cubicBezTo>
                          <a:pt x="376" y="1117"/>
                          <a:pt x="387" y="1181"/>
                          <a:pt x="426" y="1230"/>
                        </a:cubicBezTo>
                        <a:cubicBezTo>
                          <a:pt x="442" y="1250"/>
                          <a:pt x="454" y="1272"/>
                          <a:pt x="472" y="1291"/>
                        </a:cubicBezTo>
                        <a:cubicBezTo>
                          <a:pt x="492" y="1314"/>
                          <a:pt x="514" y="1324"/>
                          <a:pt x="537" y="1347"/>
                        </a:cubicBezTo>
                        <a:cubicBezTo>
                          <a:pt x="548" y="1358"/>
                          <a:pt x="562" y="1368"/>
                          <a:pt x="571" y="1381"/>
                        </a:cubicBezTo>
                        <a:cubicBezTo>
                          <a:pt x="546" y="1382"/>
                          <a:pt x="522" y="1371"/>
                          <a:pt x="500" y="1385"/>
                        </a:cubicBezTo>
                        <a:cubicBezTo>
                          <a:pt x="496" y="1387"/>
                          <a:pt x="490" y="1406"/>
                          <a:pt x="487" y="1410"/>
                        </a:cubicBezTo>
                        <a:cubicBezTo>
                          <a:pt x="478" y="1420"/>
                          <a:pt x="460" y="1431"/>
                          <a:pt x="455" y="1445"/>
                        </a:cubicBezTo>
                        <a:cubicBezTo>
                          <a:pt x="445" y="1471"/>
                          <a:pt x="445" y="1555"/>
                          <a:pt x="480" y="1558"/>
                        </a:cubicBezTo>
                        <a:cubicBezTo>
                          <a:pt x="413" y="1576"/>
                          <a:pt x="366" y="1524"/>
                          <a:pt x="330" y="1475"/>
                        </a:cubicBezTo>
                        <a:cubicBezTo>
                          <a:pt x="308" y="1444"/>
                          <a:pt x="298" y="1414"/>
                          <a:pt x="282" y="1383"/>
                        </a:cubicBezTo>
                        <a:cubicBezTo>
                          <a:pt x="266" y="1354"/>
                          <a:pt x="236" y="1333"/>
                          <a:pt x="217" y="1308"/>
                        </a:cubicBezTo>
                        <a:cubicBezTo>
                          <a:pt x="192" y="1273"/>
                          <a:pt x="170" y="1239"/>
                          <a:pt x="143" y="1207"/>
                        </a:cubicBezTo>
                        <a:cubicBezTo>
                          <a:pt x="124" y="1186"/>
                          <a:pt x="113" y="1183"/>
                          <a:pt x="100" y="1158"/>
                        </a:cubicBezTo>
                        <a:cubicBezTo>
                          <a:pt x="91" y="1138"/>
                          <a:pt x="90" y="1117"/>
                          <a:pt x="79" y="1097"/>
                        </a:cubicBezTo>
                        <a:cubicBezTo>
                          <a:pt x="50" y="1043"/>
                          <a:pt x="0" y="1002"/>
                          <a:pt x="6" y="934"/>
                        </a:cubicBezTo>
                        <a:cubicBezTo>
                          <a:pt x="12" y="858"/>
                          <a:pt x="60" y="813"/>
                          <a:pt x="100" y="755"/>
                        </a:cubicBezTo>
                        <a:cubicBezTo>
                          <a:pt x="146" y="688"/>
                          <a:pt x="165" y="616"/>
                          <a:pt x="232" y="564"/>
                        </a:cubicBezTo>
                        <a:cubicBezTo>
                          <a:pt x="271" y="535"/>
                          <a:pt x="257" y="517"/>
                          <a:pt x="276" y="475"/>
                        </a:cubicBezTo>
                        <a:cubicBezTo>
                          <a:pt x="288" y="448"/>
                          <a:pt x="310" y="432"/>
                          <a:pt x="333" y="411"/>
                        </a:cubicBezTo>
                        <a:cubicBezTo>
                          <a:pt x="354" y="391"/>
                          <a:pt x="372" y="386"/>
                          <a:pt x="384" y="353"/>
                        </a:cubicBezTo>
                        <a:cubicBezTo>
                          <a:pt x="395" y="323"/>
                          <a:pt x="404" y="294"/>
                          <a:pt x="418" y="264"/>
                        </a:cubicBezTo>
                        <a:cubicBezTo>
                          <a:pt x="430" y="237"/>
                          <a:pt x="453" y="198"/>
                          <a:pt x="477" y="185"/>
                        </a:cubicBezTo>
                        <a:cubicBezTo>
                          <a:pt x="506" y="171"/>
                          <a:pt x="536" y="183"/>
                          <a:pt x="567" y="178"/>
                        </a:cubicBezTo>
                        <a:cubicBezTo>
                          <a:pt x="633" y="166"/>
                          <a:pt x="686" y="122"/>
                          <a:pt x="741" y="87"/>
                        </a:cubicBezTo>
                        <a:cubicBezTo>
                          <a:pt x="777" y="64"/>
                          <a:pt x="893" y="0"/>
                          <a:pt x="887" y="85"/>
                        </a:cubicBezTo>
                        <a:cubicBezTo>
                          <a:pt x="884" y="118"/>
                          <a:pt x="859" y="155"/>
                          <a:pt x="851" y="189"/>
                        </a:cubicBezTo>
                        <a:cubicBezTo>
                          <a:pt x="842" y="225"/>
                          <a:pt x="840" y="262"/>
                          <a:pt x="836" y="299"/>
                        </a:cubicBezTo>
                        <a:cubicBezTo>
                          <a:pt x="827" y="383"/>
                          <a:pt x="813" y="461"/>
                          <a:pt x="817" y="548"/>
                        </a:cubicBezTo>
                        <a:cubicBezTo>
                          <a:pt x="819" y="607"/>
                          <a:pt x="824" y="667"/>
                          <a:pt x="824" y="728"/>
                        </a:cubicBezTo>
                        <a:cubicBezTo>
                          <a:pt x="825" y="777"/>
                          <a:pt x="840" y="808"/>
                          <a:pt x="848" y="856"/>
                        </a:cubicBezTo>
                        <a:cubicBezTo>
                          <a:pt x="870" y="995"/>
                          <a:pt x="855" y="1139"/>
                          <a:pt x="876" y="1280"/>
                        </a:cubicBezTo>
                        <a:cubicBezTo>
                          <a:pt x="882" y="1324"/>
                          <a:pt x="896" y="1372"/>
                          <a:pt x="898" y="1421"/>
                        </a:cubicBezTo>
                        <a:cubicBezTo>
                          <a:pt x="901" y="1479"/>
                          <a:pt x="897" y="1538"/>
                          <a:pt x="902" y="1596"/>
                        </a:cubicBezTo>
                        <a:cubicBezTo>
                          <a:pt x="910" y="1675"/>
                          <a:pt x="896" y="1821"/>
                          <a:pt x="993" y="19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99" name="Freeform 293"/>
                  <p:cNvSpPr>
                    <a:spLocks/>
                  </p:cNvSpPr>
                  <p:nvPr/>
                </p:nvSpPr>
                <p:spPr bwMode="gray">
                  <a:xfrm>
                    <a:off x="490537" y="8915401"/>
                    <a:ext cx="633413" cy="593725"/>
                  </a:xfrm>
                  <a:custGeom>
                    <a:avLst/>
                    <a:gdLst/>
                    <a:ahLst/>
                    <a:cxnLst>
                      <a:cxn ang="0">
                        <a:pos x="4" y="103"/>
                      </a:cxn>
                      <a:cxn ang="0">
                        <a:pos x="86" y="106"/>
                      </a:cxn>
                      <a:cxn ang="0">
                        <a:pos x="163" y="158"/>
                      </a:cxn>
                      <a:cxn ang="0">
                        <a:pos x="109" y="28"/>
                      </a:cxn>
                      <a:cxn ang="0">
                        <a:pos x="35" y="6"/>
                      </a:cxn>
                      <a:cxn ang="0">
                        <a:pos x="0" y="68"/>
                      </a:cxn>
                    </a:cxnLst>
                    <a:rect l="0" t="0" r="r" b="b"/>
                    <a:pathLst>
                      <a:path w="169" h="158">
                        <a:moveTo>
                          <a:pt x="4" y="103"/>
                        </a:moveTo>
                        <a:cubicBezTo>
                          <a:pt x="49" y="98"/>
                          <a:pt x="42" y="81"/>
                          <a:pt x="86" y="106"/>
                        </a:cubicBezTo>
                        <a:cubicBezTo>
                          <a:pt x="114" y="122"/>
                          <a:pt x="137" y="140"/>
                          <a:pt x="163" y="158"/>
                        </a:cubicBezTo>
                        <a:cubicBezTo>
                          <a:pt x="169" y="119"/>
                          <a:pt x="141" y="50"/>
                          <a:pt x="109" y="28"/>
                        </a:cubicBezTo>
                        <a:cubicBezTo>
                          <a:pt x="98" y="21"/>
                          <a:pt x="47" y="0"/>
                          <a:pt x="35" y="6"/>
                        </a:cubicBezTo>
                        <a:cubicBezTo>
                          <a:pt x="15" y="14"/>
                          <a:pt x="17" y="56"/>
                          <a:pt x="0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0" name="Freeform 294"/>
                  <p:cNvSpPr>
                    <a:spLocks/>
                  </p:cNvSpPr>
                  <p:nvPr/>
                </p:nvSpPr>
                <p:spPr bwMode="gray">
                  <a:xfrm>
                    <a:off x="-1816100" y="8859838"/>
                    <a:ext cx="866775" cy="465138"/>
                  </a:xfrm>
                  <a:custGeom>
                    <a:avLst/>
                    <a:gdLst/>
                    <a:ahLst/>
                    <a:cxnLst>
                      <a:cxn ang="0">
                        <a:pos x="65" y="64"/>
                      </a:cxn>
                      <a:cxn ang="0">
                        <a:pos x="0" y="114"/>
                      </a:cxn>
                      <a:cxn ang="0">
                        <a:pos x="108" y="103"/>
                      </a:cxn>
                      <a:cxn ang="0">
                        <a:pos x="191" y="71"/>
                      </a:cxn>
                      <a:cxn ang="0">
                        <a:pos x="225" y="60"/>
                      </a:cxn>
                      <a:cxn ang="0">
                        <a:pos x="209" y="18"/>
                      </a:cxn>
                      <a:cxn ang="0">
                        <a:pos x="112" y="25"/>
                      </a:cxn>
                    </a:cxnLst>
                    <a:rect l="0" t="0" r="r" b="b"/>
                    <a:pathLst>
                      <a:path w="231" h="124">
                        <a:moveTo>
                          <a:pt x="65" y="64"/>
                        </a:moveTo>
                        <a:cubicBezTo>
                          <a:pt x="50" y="98"/>
                          <a:pt x="31" y="101"/>
                          <a:pt x="0" y="114"/>
                        </a:cubicBezTo>
                        <a:cubicBezTo>
                          <a:pt x="37" y="124"/>
                          <a:pt x="75" y="121"/>
                          <a:pt x="108" y="103"/>
                        </a:cubicBezTo>
                        <a:cubicBezTo>
                          <a:pt x="145" y="82"/>
                          <a:pt x="149" y="74"/>
                          <a:pt x="191" y="71"/>
                        </a:cubicBezTo>
                        <a:cubicBezTo>
                          <a:pt x="208" y="69"/>
                          <a:pt x="216" y="84"/>
                          <a:pt x="225" y="60"/>
                        </a:cubicBezTo>
                        <a:cubicBezTo>
                          <a:pt x="231" y="44"/>
                          <a:pt x="219" y="25"/>
                          <a:pt x="209" y="18"/>
                        </a:cubicBezTo>
                        <a:cubicBezTo>
                          <a:pt x="185" y="0"/>
                          <a:pt x="132" y="6"/>
                          <a:pt x="112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1" name="Freeform 295"/>
                  <p:cNvSpPr>
                    <a:spLocks/>
                  </p:cNvSpPr>
                  <p:nvPr/>
                </p:nvSpPr>
                <p:spPr bwMode="gray">
                  <a:xfrm>
                    <a:off x="823912" y="8807451"/>
                    <a:ext cx="1225550" cy="828675"/>
                  </a:xfrm>
                  <a:custGeom>
                    <a:avLst/>
                    <a:gdLst/>
                    <a:ahLst/>
                    <a:cxnLst>
                      <a:cxn ang="0">
                        <a:pos x="55" y="74"/>
                      </a:cxn>
                      <a:cxn ang="0">
                        <a:pos x="128" y="114"/>
                      </a:cxn>
                      <a:cxn ang="0">
                        <a:pos x="183" y="167"/>
                      </a:cxn>
                      <a:cxn ang="0">
                        <a:pos x="164" y="125"/>
                      </a:cxn>
                      <a:cxn ang="0">
                        <a:pos x="327" y="15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27" h="221">
                        <a:moveTo>
                          <a:pt x="55" y="74"/>
                        </a:moveTo>
                        <a:cubicBezTo>
                          <a:pt x="78" y="91"/>
                          <a:pt x="106" y="95"/>
                          <a:pt x="128" y="114"/>
                        </a:cubicBezTo>
                        <a:cubicBezTo>
                          <a:pt x="146" y="131"/>
                          <a:pt x="159" y="161"/>
                          <a:pt x="183" y="167"/>
                        </a:cubicBezTo>
                        <a:cubicBezTo>
                          <a:pt x="178" y="152"/>
                          <a:pt x="167" y="141"/>
                          <a:pt x="164" y="125"/>
                        </a:cubicBezTo>
                        <a:cubicBezTo>
                          <a:pt x="209" y="117"/>
                          <a:pt x="280" y="221"/>
                          <a:pt x="327" y="153"/>
                        </a:cubicBezTo>
                        <a:cubicBezTo>
                          <a:pt x="209" y="137"/>
                          <a:pt x="122" y="16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2" name="Freeform 296"/>
                  <p:cNvSpPr>
                    <a:spLocks/>
                  </p:cNvSpPr>
                  <p:nvPr/>
                </p:nvSpPr>
                <p:spPr bwMode="gray">
                  <a:xfrm>
                    <a:off x="-1804988" y="8394701"/>
                    <a:ext cx="3055938" cy="2590800"/>
                  </a:xfrm>
                  <a:custGeom>
                    <a:avLst/>
                    <a:gdLst/>
                    <a:ahLst/>
                    <a:cxnLst>
                      <a:cxn ang="0">
                        <a:pos x="130" y="73"/>
                      </a:cxn>
                      <a:cxn ang="0">
                        <a:pos x="0" y="192"/>
                      </a:cxn>
                      <a:cxn ang="0">
                        <a:pos x="170" y="150"/>
                      </a:cxn>
                      <a:cxn ang="0">
                        <a:pos x="238" y="256"/>
                      </a:cxn>
                      <a:cxn ang="0">
                        <a:pos x="213" y="547"/>
                      </a:cxn>
                      <a:cxn ang="0">
                        <a:pos x="580" y="403"/>
                      </a:cxn>
                      <a:cxn ang="0">
                        <a:pos x="600" y="217"/>
                      </a:cxn>
                      <a:cxn ang="0">
                        <a:pos x="655" y="177"/>
                      </a:cxn>
                      <a:cxn ang="0">
                        <a:pos x="705" y="203"/>
                      </a:cxn>
                      <a:cxn ang="0">
                        <a:pos x="760" y="226"/>
                      </a:cxn>
                      <a:cxn ang="0">
                        <a:pos x="813" y="266"/>
                      </a:cxn>
                      <a:cxn ang="0">
                        <a:pos x="779" y="203"/>
                      </a:cxn>
                      <a:cxn ang="0">
                        <a:pos x="746" y="131"/>
                      </a:cxn>
                      <a:cxn ang="0">
                        <a:pos x="619" y="7"/>
                      </a:cxn>
                      <a:cxn ang="0">
                        <a:pos x="576" y="192"/>
                      </a:cxn>
                      <a:cxn ang="0">
                        <a:pos x="483" y="318"/>
                      </a:cxn>
                      <a:cxn ang="0">
                        <a:pos x="407" y="480"/>
                      </a:cxn>
                      <a:cxn ang="0">
                        <a:pos x="407" y="691"/>
                      </a:cxn>
                      <a:cxn ang="0">
                        <a:pos x="381" y="481"/>
                      </a:cxn>
                      <a:cxn ang="0">
                        <a:pos x="350" y="332"/>
                      </a:cxn>
                      <a:cxn ang="0">
                        <a:pos x="272" y="188"/>
                      </a:cxn>
                      <a:cxn ang="0">
                        <a:pos x="260" y="0"/>
                      </a:cxn>
                    </a:cxnLst>
                    <a:rect l="0" t="0" r="r" b="b"/>
                    <a:pathLst>
                      <a:path w="815" h="691">
                        <a:moveTo>
                          <a:pt x="130" y="73"/>
                        </a:moveTo>
                        <a:cubicBezTo>
                          <a:pt x="93" y="100"/>
                          <a:pt x="50" y="197"/>
                          <a:pt x="0" y="192"/>
                        </a:cubicBezTo>
                        <a:cubicBezTo>
                          <a:pt x="64" y="238"/>
                          <a:pt x="121" y="166"/>
                          <a:pt x="170" y="150"/>
                        </a:cubicBezTo>
                        <a:cubicBezTo>
                          <a:pt x="204" y="188"/>
                          <a:pt x="255" y="202"/>
                          <a:pt x="238" y="256"/>
                        </a:cubicBezTo>
                        <a:cubicBezTo>
                          <a:pt x="209" y="344"/>
                          <a:pt x="213" y="450"/>
                          <a:pt x="213" y="547"/>
                        </a:cubicBezTo>
                        <a:cubicBezTo>
                          <a:pt x="214" y="662"/>
                          <a:pt x="591" y="441"/>
                          <a:pt x="580" y="403"/>
                        </a:cubicBezTo>
                        <a:cubicBezTo>
                          <a:pt x="567" y="362"/>
                          <a:pt x="571" y="248"/>
                          <a:pt x="600" y="217"/>
                        </a:cubicBezTo>
                        <a:cubicBezTo>
                          <a:pt x="609" y="207"/>
                          <a:pt x="646" y="180"/>
                          <a:pt x="655" y="177"/>
                        </a:cubicBezTo>
                        <a:cubicBezTo>
                          <a:pt x="695" y="164"/>
                          <a:pt x="682" y="185"/>
                          <a:pt x="705" y="203"/>
                        </a:cubicBezTo>
                        <a:cubicBezTo>
                          <a:pt x="723" y="217"/>
                          <a:pt x="741" y="217"/>
                          <a:pt x="760" y="226"/>
                        </a:cubicBezTo>
                        <a:cubicBezTo>
                          <a:pt x="779" y="236"/>
                          <a:pt x="792" y="257"/>
                          <a:pt x="813" y="266"/>
                        </a:cubicBezTo>
                        <a:cubicBezTo>
                          <a:pt x="815" y="239"/>
                          <a:pt x="791" y="224"/>
                          <a:pt x="779" y="203"/>
                        </a:cubicBezTo>
                        <a:cubicBezTo>
                          <a:pt x="767" y="182"/>
                          <a:pt x="764" y="151"/>
                          <a:pt x="746" y="131"/>
                        </a:cubicBezTo>
                        <a:cubicBezTo>
                          <a:pt x="708" y="87"/>
                          <a:pt x="652" y="52"/>
                          <a:pt x="619" y="7"/>
                        </a:cubicBezTo>
                        <a:cubicBezTo>
                          <a:pt x="603" y="63"/>
                          <a:pt x="607" y="140"/>
                          <a:pt x="576" y="192"/>
                        </a:cubicBezTo>
                        <a:cubicBezTo>
                          <a:pt x="549" y="237"/>
                          <a:pt x="505" y="270"/>
                          <a:pt x="483" y="318"/>
                        </a:cubicBezTo>
                        <a:cubicBezTo>
                          <a:pt x="459" y="369"/>
                          <a:pt x="425" y="424"/>
                          <a:pt x="407" y="480"/>
                        </a:cubicBezTo>
                        <a:cubicBezTo>
                          <a:pt x="390" y="527"/>
                          <a:pt x="571" y="551"/>
                          <a:pt x="407" y="691"/>
                        </a:cubicBezTo>
                        <a:cubicBezTo>
                          <a:pt x="389" y="645"/>
                          <a:pt x="381" y="530"/>
                          <a:pt x="381" y="481"/>
                        </a:cubicBezTo>
                        <a:cubicBezTo>
                          <a:pt x="380" y="423"/>
                          <a:pt x="381" y="376"/>
                          <a:pt x="350" y="332"/>
                        </a:cubicBezTo>
                        <a:cubicBezTo>
                          <a:pt x="317" y="283"/>
                          <a:pt x="287" y="244"/>
                          <a:pt x="272" y="188"/>
                        </a:cubicBezTo>
                        <a:cubicBezTo>
                          <a:pt x="262" y="154"/>
                          <a:pt x="292" y="7"/>
                          <a:pt x="2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3" name="Freeform 297"/>
                  <p:cNvSpPr>
                    <a:spLocks/>
                  </p:cNvSpPr>
                  <p:nvPr/>
                </p:nvSpPr>
                <p:spPr bwMode="gray">
                  <a:xfrm>
                    <a:off x="-1519238" y="8405813"/>
                    <a:ext cx="812800" cy="487363"/>
                  </a:xfrm>
                  <a:custGeom>
                    <a:avLst/>
                    <a:gdLst/>
                    <a:ahLst/>
                    <a:cxnLst>
                      <a:cxn ang="0">
                        <a:pos x="0" y="130"/>
                      </a:cxn>
                      <a:cxn ang="0">
                        <a:pos x="86" y="76"/>
                      </a:cxn>
                      <a:cxn ang="0">
                        <a:pos x="74" y="103"/>
                      </a:cxn>
                      <a:cxn ang="0">
                        <a:pos x="124" y="62"/>
                      </a:cxn>
                      <a:cxn ang="0">
                        <a:pos x="127" y="91"/>
                      </a:cxn>
                      <a:cxn ang="0">
                        <a:pos x="163" y="64"/>
                      </a:cxn>
                      <a:cxn ang="0">
                        <a:pos x="173" y="91"/>
                      </a:cxn>
                      <a:cxn ang="0">
                        <a:pos x="187" y="71"/>
                      </a:cxn>
                      <a:cxn ang="0">
                        <a:pos x="208" y="93"/>
                      </a:cxn>
                      <a:cxn ang="0">
                        <a:pos x="176" y="22"/>
                      </a:cxn>
                      <a:cxn ang="0">
                        <a:pos x="107" y="26"/>
                      </a:cxn>
                      <a:cxn ang="0">
                        <a:pos x="15" y="101"/>
                      </a:cxn>
                    </a:cxnLst>
                    <a:rect l="0" t="0" r="r" b="b"/>
                    <a:pathLst>
                      <a:path w="217" h="130">
                        <a:moveTo>
                          <a:pt x="0" y="130"/>
                        </a:moveTo>
                        <a:cubicBezTo>
                          <a:pt x="23" y="129"/>
                          <a:pt x="76" y="97"/>
                          <a:pt x="86" y="76"/>
                        </a:cubicBezTo>
                        <a:cubicBezTo>
                          <a:pt x="87" y="87"/>
                          <a:pt x="82" y="97"/>
                          <a:pt x="74" y="103"/>
                        </a:cubicBezTo>
                        <a:cubicBezTo>
                          <a:pt x="105" y="108"/>
                          <a:pt x="94" y="54"/>
                          <a:pt x="124" y="62"/>
                        </a:cubicBezTo>
                        <a:cubicBezTo>
                          <a:pt x="128" y="71"/>
                          <a:pt x="126" y="81"/>
                          <a:pt x="127" y="91"/>
                        </a:cubicBezTo>
                        <a:cubicBezTo>
                          <a:pt x="143" y="91"/>
                          <a:pt x="150" y="71"/>
                          <a:pt x="163" y="64"/>
                        </a:cubicBezTo>
                        <a:cubicBezTo>
                          <a:pt x="162" y="74"/>
                          <a:pt x="166" y="85"/>
                          <a:pt x="173" y="91"/>
                        </a:cubicBezTo>
                        <a:cubicBezTo>
                          <a:pt x="176" y="84"/>
                          <a:pt x="180" y="76"/>
                          <a:pt x="187" y="71"/>
                        </a:cubicBezTo>
                        <a:cubicBezTo>
                          <a:pt x="187" y="85"/>
                          <a:pt x="190" y="97"/>
                          <a:pt x="208" y="93"/>
                        </a:cubicBezTo>
                        <a:cubicBezTo>
                          <a:pt x="217" y="68"/>
                          <a:pt x="196" y="37"/>
                          <a:pt x="176" y="22"/>
                        </a:cubicBezTo>
                        <a:cubicBezTo>
                          <a:pt x="149" y="0"/>
                          <a:pt x="132" y="11"/>
                          <a:pt x="107" y="26"/>
                        </a:cubicBezTo>
                        <a:cubicBezTo>
                          <a:pt x="69" y="50"/>
                          <a:pt x="40" y="62"/>
                          <a:pt x="15" y="1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4" name="Freeform 298"/>
                  <p:cNvSpPr>
                    <a:spLocks/>
                  </p:cNvSpPr>
                  <p:nvPr/>
                </p:nvSpPr>
                <p:spPr bwMode="gray">
                  <a:xfrm>
                    <a:off x="411162" y="8405813"/>
                    <a:ext cx="735013" cy="803275"/>
                  </a:xfrm>
                  <a:custGeom>
                    <a:avLst/>
                    <a:gdLst/>
                    <a:ahLst/>
                    <a:cxnLst>
                      <a:cxn ang="0">
                        <a:pos x="11" y="66"/>
                      </a:cxn>
                      <a:cxn ang="0">
                        <a:pos x="9" y="126"/>
                      </a:cxn>
                      <a:cxn ang="0">
                        <a:pos x="40" y="105"/>
                      </a:cxn>
                      <a:cxn ang="0">
                        <a:pos x="69" y="78"/>
                      </a:cxn>
                      <a:cxn ang="0">
                        <a:pos x="142" y="142"/>
                      </a:cxn>
                      <a:cxn ang="0">
                        <a:pos x="196" y="212"/>
                      </a:cxn>
                      <a:cxn ang="0">
                        <a:pos x="165" y="144"/>
                      </a:cxn>
                      <a:cxn ang="0">
                        <a:pos x="124" y="71"/>
                      </a:cxn>
                      <a:cxn ang="0">
                        <a:pos x="54" y="7"/>
                      </a:cxn>
                      <a:cxn ang="0">
                        <a:pos x="3" y="72"/>
                      </a:cxn>
                      <a:cxn ang="0">
                        <a:pos x="13" y="78"/>
                      </a:cxn>
                    </a:cxnLst>
                    <a:rect l="0" t="0" r="r" b="b"/>
                    <a:pathLst>
                      <a:path w="196" h="214">
                        <a:moveTo>
                          <a:pt x="11" y="66"/>
                        </a:moveTo>
                        <a:cubicBezTo>
                          <a:pt x="20" y="73"/>
                          <a:pt x="13" y="114"/>
                          <a:pt x="9" y="126"/>
                        </a:cubicBezTo>
                        <a:cubicBezTo>
                          <a:pt x="20" y="122"/>
                          <a:pt x="31" y="112"/>
                          <a:pt x="40" y="105"/>
                        </a:cubicBezTo>
                        <a:cubicBezTo>
                          <a:pt x="49" y="98"/>
                          <a:pt x="60" y="81"/>
                          <a:pt x="69" y="78"/>
                        </a:cubicBezTo>
                        <a:cubicBezTo>
                          <a:pt x="86" y="109"/>
                          <a:pt x="122" y="118"/>
                          <a:pt x="142" y="142"/>
                        </a:cubicBezTo>
                        <a:cubicBezTo>
                          <a:pt x="155" y="158"/>
                          <a:pt x="171" y="214"/>
                          <a:pt x="196" y="212"/>
                        </a:cubicBezTo>
                        <a:cubicBezTo>
                          <a:pt x="189" y="191"/>
                          <a:pt x="175" y="165"/>
                          <a:pt x="165" y="144"/>
                        </a:cubicBezTo>
                        <a:cubicBezTo>
                          <a:pt x="153" y="120"/>
                          <a:pt x="138" y="95"/>
                          <a:pt x="124" y="71"/>
                        </a:cubicBezTo>
                        <a:cubicBezTo>
                          <a:pt x="108" y="45"/>
                          <a:pt x="85" y="13"/>
                          <a:pt x="54" y="7"/>
                        </a:cubicBezTo>
                        <a:cubicBezTo>
                          <a:pt x="17" y="0"/>
                          <a:pt x="0" y="40"/>
                          <a:pt x="3" y="72"/>
                        </a:cubicBezTo>
                        <a:cubicBezTo>
                          <a:pt x="7" y="73"/>
                          <a:pt x="10" y="77"/>
                          <a:pt x="13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5" name="Freeform 299"/>
                  <p:cNvSpPr>
                    <a:spLocks/>
                  </p:cNvSpPr>
                  <p:nvPr/>
                </p:nvSpPr>
                <p:spPr bwMode="gray">
                  <a:xfrm>
                    <a:off x="-1095375" y="9036051"/>
                    <a:ext cx="547688" cy="80962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46" y="216"/>
                      </a:cxn>
                      <a:cxn ang="0">
                        <a:pos x="53" y="131"/>
                      </a:cxn>
                      <a:cxn ang="0">
                        <a:pos x="28" y="193"/>
                      </a:cxn>
                    </a:cxnLst>
                    <a:rect l="0" t="0" r="r" b="b"/>
                    <a:pathLst>
                      <a:path w="146" h="216">
                        <a:moveTo>
                          <a:pt x="0" y="0"/>
                        </a:moveTo>
                        <a:cubicBezTo>
                          <a:pt x="40" y="3"/>
                          <a:pt x="144" y="168"/>
                          <a:pt x="146" y="216"/>
                        </a:cubicBezTo>
                        <a:cubicBezTo>
                          <a:pt x="134" y="178"/>
                          <a:pt x="97" y="126"/>
                          <a:pt x="53" y="131"/>
                        </a:cubicBezTo>
                        <a:cubicBezTo>
                          <a:pt x="54" y="153"/>
                          <a:pt x="29" y="170"/>
                          <a:pt x="28" y="19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6" name="Freeform 300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7" name="Freeform 301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8" name="Freeform 302"/>
                  <p:cNvSpPr>
                    <a:spLocks/>
                  </p:cNvSpPr>
                  <p:nvPr/>
                </p:nvSpPr>
                <p:spPr bwMode="gray">
                  <a:xfrm>
                    <a:off x="-1965325" y="13963651"/>
                    <a:ext cx="746125" cy="757238"/>
                  </a:xfrm>
                  <a:custGeom>
                    <a:avLst/>
                    <a:gdLst/>
                    <a:ahLst/>
                    <a:cxnLst>
                      <a:cxn ang="0">
                        <a:pos x="4" y="47"/>
                      </a:cxn>
                      <a:cxn ang="0">
                        <a:pos x="16" y="105"/>
                      </a:cxn>
                      <a:cxn ang="0">
                        <a:pos x="128" y="168"/>
                      </a:cxn>
                      <a:cxn ang="0">
                        <a:pos x="176" y="188"/>
                      </a:cxn>
                      <a:cxn ang="0">
                        <a:pos x="171" y="138"/>
                      </a:cxn>
                      <a:cxn ang="0">
                        <a:pos x="86" y="71"/>
                      </a:cxn>
                      <a:cxn ang="0">
                        <a:pos x="186" y="58"/>
                      </a:cxn>
                      <a:cxn ang="0">
                        <a:pos x="97" y="16"/>
                      </a:cxn>
                      <a:cxn ang="0">
                        <a:pos x="39" y="4"/>
                      </a:cxn>
                      <a:cxn ang="0">
                        <a:pos x="0" y="43"/>
                      </a:cxn>
                    </a:cxnLst>
                    <a:rect l="0" t="0" r="r" b="b"/>
                    <a:pathLst>
                      <a:path w="199" h="202">
                        <a:moveTo>
                          <a:pt x="4" y="47"/>
                        </a:moveTo>
                        <a:cubicBezTo>
                          <a:pt x="14" y="65"/>
                          <a:pt x="16" y="85"/>
                          <a:pt x="16" y="105"/>
                        </a:cubicBezTo>
                        <a:cubicBezTo>
                          <a:pt x="64" y="87"/>
                          <a:pt x="95" y="139"/>
                          <a:pt x="128" y="168"/>
                        </a:cubicBezTo>
                        <a:cubicBezTo>
                          <a:pt x="142" y="181"/>
                          <a:pt x="157" y="202"/>
                          <a:pt x="176" y="188"/>
                        </a:cubicBezTo>
                        <a:cubicBezTo>
                          <a:pt x="193" y="176"/>
                          <a:pt x="181" y="151"/>
                          <a:pt x="171" y="138"/>
                        </a:cubicBezTo>
                        <a:cubicBezTo>
                          <a:pt x="154" y="117"/>
                          <a:pt x="88" y="99"/>
                          <a:pt x="86" y="71"/>
                        </a:cubicBezTo>
                        <a:cubicBezTo>
                          <a:pt x="83" y="30"/>
                          <a:pt x="159" y="61"/>
                          <a:pt x="186" y="58"/>
                        </a:cubicBezTo>
                        <a:cubicBezTo>
                          <a:pt x="199" y="12"/>
                          <a:pt x="125" y="20"/>
                          <a:pt x="97" y="16"/>
                        </a:cubicBezTo>
                        <a:cubicBezTo>
                          <a:pt x="82" y="14"/>
                          <a:pt x="53" y="0"/>
                          <a:pt x="39" y="4"/>
                        </a:cubicBezTo>
                        <a:cubicBezTo>
                          <a:pt x="22" y="9"/>
                          <a:pt x="12" y="35"/>
                          <a:pt x="0" y="4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09" name="Freeform 303"/>
                  <p:cNvSpPr>
                    <a:spLocks/>
                  </p:cNvSpPr>
                  <p:nvPr/>
                </p:nvSpPr>
                <p:spPr bwMode="gray">
                  <a:xfrm>
                    <a:off x="-2424113" y="13239751"/>
                    <a:ext cx="1387475" cy="993775"/>
                  </a:xfrm>
                  <a:custGeom>
                    <a:avLst/>
                    <a:gdLst/>
                    <a:ahLst/>
                    <a:cxnLst>
                      <a:cxn ang="0">
                        <a:pos x="4" y="216"/>
                      </a:cxn>
                      <a:cxn ang="0">
                        <a:pos x="1" y="259"/>
                      </a:cxn>
                      <a:cxn ang="0">
                        <a:pos x="78" y="255"/>
                      </a:cxn>
                      <a:cxn ang="0">
                        <a:pos x="144" y="224"/>
                      </a:cxn>
                      <a:cxn ang="0">
                        <a:pos x="185" y="214"/>
                      </a:cxn>
                      <a:cxn ang="0">
                        <a:pos x="299" y="219"/>
                      </a:cxn>
                      <a:cxn ang="0">
                        <a:pos x="193" y="179"/>
                      </a:cxn>
                      <a:cxn ang="0">
                        <a:pos x="180" y="165"/>
                      </a:cxn>
                      <a:cxn ang="0">
                        <a:pos x="335" y="197"/>
                      </a:cxn>
                      <a:cxn ang="0">
                        <a:pos x="265" y="146"/>
                      </a:cxn>
                      <a:cxn ang="0">
                        <a:pos x="184" y="122"/>
                      </a:cxn>
                      <a:cxn ang="0">
                        <a:pos x="284" y="114"/>
                      </a:cxn>
                      <a:cxn ang="0">
                        <a:pos x="370" y="142"/>
                      </a:cxn>
                      <a:cxn ang="0">
                        <a:pos x="285" y="82"/>
                      </a:cxn>
                      <a:cxn ang="0">
                        <a:pos x="191" y="66"/>
                      </a:cxn>
                      <a:cxn ang="0">
                        <a:pos x="339" y="34"/>
                      </a:cxn>
                      <a:cxn ang="0">
                        <a:pos x="241" y="3"/>
                      </a:cxn>
                      <a:cxn ang="0">
                        <a:pos x="143" y="48"/>
                      </a:cxn>
                      <a:cxn ang="0">
                        <a:pos x="4" y="216"/>
                      </a:cxn>
                    </a:cxnLst>
                    <a:rect l="0" t="0" r="r" b="b"/>
                    <a:pathLst>
                      <a:path w="370" h="265">
                        <a:moveTo>
                          <a:pt x="4" y="216"/>
                        </a:moveTo>
                        <a:cubicBezTo>
                          <a:pt x="2" y="231"/>
                          <a:pt x="0" y="243"/>
                          <a:pt x="1" y="259"/>
                        </a:cubicBezTo>
                        <a:cubicBezTo>
                          <a:pt x="28" y="265"/>
                          <a:pt x="53" y="263"/>
                          <a:pt x="78" y="255"/>
                        </a:cubicBezTo>
                        <a:cubicBezTo>
                          <a:pt x="98" y="250"/>
                          <a:pt x="133" y="240"/>
                          <a:pt x="144" y="224"/>
                        </a:cubicBezTo>
                        <a:cubicBezTo>
                          <a:pt x="147" y="219"/>
                          <a:pt x="175" y="214"/>
                          <a:pt x="185" y="214"/>
                        </a:cubicBezTo>
                        <a:cubicBezTo>
                          <a:pt x="229" y="214"/>
                          <a:pt x="302" y="248"/>
                          <a:pt x="299" y="219"/>
                        </a:cubicBezTo>
                        <a:cubicBezTo>
                          <a:pt x="296" y="213"/>
                          <a:pt x="226" y="193"/>
                          <a:pt x="193" y="179"/>
                        </a:cubicBezTo>
                        <a:cubicBezTo>
                          <a:pt x="181" y="173"/>
                          <a:pt x="178" y="167"/>
                          <a:pt x="180" y="165"/>
                        </a:cubicBezTo>
                        <a:cubicBezTo>
                          <a:pt x="200" y="139"/>
                          <a:pt x="329" y="219"/>
                          <a:pt x="335" y="197"/>
                        </a:cubicBezTo>
                        <a:cubicBezTo>
                          <a:pt x="334" y="181"/>
                          <a:pt x="293" y="161"/>
                          <a:pt x="265" y="146"/>
                        </a:cubicBezTo>
                        <a:cubicBezTo>
                          <a:pt x="241" y="133"/>
                          <a:pt x="214" y="125"/>
                          <a:pt x="184" y="122"/>
                        </a:cubicBezTo>
                        <a:cubicBezTo>
                          <a:pt x="186" y="93"/>
                          <a:pt x="237" y="103"/>
                          <a:pt x="284" y="114"/>
                        </a:cubicBezTo>
                        <a:cubicBezTo>
                          <a:pt x="326" y="127"/>
                          <a:pt x="367" y="149"/>
                          <a:pt x="370" y="142"/>
                        </a:cubicBezTo>
                        <a:cubicBezTo>
                          <a:pt x="370" y="119"/>
                          <a:pt x="306" y="92"/>
                          <a:pt x="285" y="82"/>
                        </a:cubicBezTo>
                        <a:cubicBezTo>
                          <a:pt x="262" y="72"/>
                          <a:pt x="204" y="81"/>
                          <a:pt x="191" y="66"/>
                        </a:cubicBezTo>
                        <a:cubicBezTo>
                          <a:pt x="212" y="5"/>
                          <a:pt x="338" y="49"/>
                          <a:pt x="339" y="34"/>
                        </a:cubicBezTo>
                        <a:cubicBezTo>
                          <a:pt x="336" y="15"/>
                          <a:pt x="265" y="4"/>
                          <a:pt x="241" y="3"/>
                        </a:cubicBezTo>
                        <a:cubicBezTo>
                          <a:pt x="191" y="0"/>
                          <a:pt x="179" y="20"/>
                          <a:pt x="143" y="48"/>
                        </a:cubicBezTo>
                        <a:cubicBezTo>
                          <a:pt x="89" y="90"/>
                          <a:pt x="0" y="130"/>
                          <a:pt x="4" y="21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0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-417513" y="15395576"/>
                    <a:ext cx="668338" cy="671513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1" name="Freeform 305"/>
                  <p:cNvSpPr>
                    <a:spLocks/>
                  </p:cNvSpPr>
                  <p:nvPr/>
                </p:nvSpPr>
                <p:spPr bwMode="gray">
                  <a:xfrm>
                    <a:off x="-533400" y="15692438"/>
                    <a:ext cx="2347913" cy="1858963"/>
                  </a:xfrm>
                  <a:custGeom>
                    <a:avLst/>
                    <a:gdLst/>
                    <a:ahLst/>
                    <a:cxnLst>
                      <a:cxn ang="0">
                        <a:pos x="24" y="461"/>
                      </a:cxn>
                      <a:cxn ang="0">
                        <a:pos x="189" y="375"/>
                      </a:cxn>
                      <a:cxn ang="0">
                        <a:pos x="347" y="276"/>
                      </a:cxn>
                      <a:cxn ang="0">
                        <a:pos x="497" y="157"/>
                      </a:cxn>
                      <a:cxn ang="0">
                        <a:pos x="625" y="12"/>
                      </a:cxn>
                      <a:cxn ang="0">
                        <a:pos x="452" y="111"/>
                      </a:cxn>
                      <a:cxn ang="0">
                        <a:pos x="268" y="240"/>
                      </a:cxn>
                      <a:cxn ang="0">
                        <a:pos x="0" y="496"/>
                      </a:cxn>
                    </a:cxnLst>
                    <a:rect l="0" t="0" r="r" b="b"/>
                    <a:pathLst>
                      <a:path w="626" h="496">
                        <a:moveTo>
                          <a:pt x="24" y="461"/>
                        </a:moveTo>
                        <a:cubicBezTo>
                          <a:pt x="83" y="466"/>
                          <a:pt x="144" y="404"/>
                          <a:pt x="189" y="375"/>
                        </a:cubicBezTo>
                        <a:cubicBezTo>
                          <a:pt x="240" y="343"/>
                          <a:pt x="297" y="313"/>
                          <a:pt x="347" y="276"/>
                        </a:cubicBezTo>
                        <a:cubicBezTo>
                          <a:pt x="397" y="237"/>
                          <a:pt x="450" y="200"/>
                          <a:pt x="497" y="157"/>
                        </a:cubicBezTo>
                        <a:cubicBezTo>
                          <a:pt x="535" y="123"/>
                          <a:pt x="626" y="64"/>
                          <a:pt x="625" y="12"/>
                        </a:cubicBezTo>
                        <a:cubicBezTo>
                          <a:pt x="557" y="0"/>
                          <a:pt x="498" y="71"/>
                          <a:pt x="452" y="111"/>
                        </a:cubicBezTo>
                        <a:cubicBezTo>
                          <a:pt x="395" y="159"/>
                          <a:pt x="326" y="191"/>
                          <a:pt x="268" y="240"/>
                        </a:cubicBezTo>
                        <a:cubicBezTo>
                          <a:pt x="172" y="320"/>
                          <a:pt x="62" y="387"/>
                          <a:pt x="0" y="49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2" name="Freeform 306"/>
                  <p:cNvSpPr>
                    <a:spLocks/>
                  </p:cNvSpPr>
                  <p:nvPr/>
                </p:nvSpPr>
                <p:spPr bwMode="gray">
                  <a:xfrm>
                    <a:off x="-1835150" y="15640051"/>
                    <a:ext cx="1890713" cy="989013"/>
                  </a:xfrm>
                  <a:custGeom>
                    <a:avLst/>
                    <a:gdLst/>
                    <a:ahLst/>
                    <a:cxnLst>
                      <a:cxn ang="0">
                        <a:pos x="103" y="46"/>
                      </a:cxn>
                      <a:cxn ang="0">
                        <a:pos x="179" y="82"/>
                      </a:cxn>
                      <a:cxn ang="0">
                        <a:pos x="290" y="87"/>
                      </a:cxn>
                      <a:cxn ang="0">
                        <a:pos x="500" y="41"/>
                      </a:cxn>
                      <a:cxn ang="0">
                        <a:pos x="354" y="146"/>
                      </a:cxn>
                      <a:cxn ang="0">
                        <a:pos x="91" y="90"/>
                      </a:cxn>
                      <a:cxn ang="0">
                        <a:pos x="202" y="238"/>
                      </a:cxn>
                      <a:cxn ang="0">
                        <a:pos x="86" y="0"/>
                      </a:cxn>
                    </a:cxnLst>
                    <a:rect l="0" t="0" r="r" b="b"/>
                    <a:pathLst>
                      <a:path w="504" h="264">
                        <a:moveTo>
                          <a:pt x="103" y="46"/>
                        </a:moveTo>
                        <a:cubicBezTo>
                          <a:pt x="131" y="56"/>
                          <a:pt x="151" y="74"/>
                          <a:pt x="179" y="82"/>
                        </a:cubicBezTo>
                        <a:cubicBezTo>
                          <a:pt x="213" y="90"/>
                          <a:pt x="253" y="88"/>
                          <a:pt x="290" y="87"/>
                        </a:cubicBezTo>
                        <a:cubicBezTo>
                          <a:pt x="369" y="86"/>
                          <a:pt x="426" y="47"/>
                          <a:pt x="500" y="41"/>
                        </a:cubicBezTo>
                        <a:cubicBezTo>
                          <a:pt x="504" y="138"/>
                          <a:pt x="442" y="146"/>
                          <a:pt x="354" y="146"/>
                        </a:cubicBezTo>
                        <a:cubicBezTo>
                          <a:pt x="248" y="146"/>
                          <a:pt x="177" y="138"/>
                          <a:pt x="91" y="90"/>
                        </a:cubicBezTo>
                        <a:cubicBezTo>
                          <a:pt x="93" y="164"/>
                          <a:pt x="164" y="188"/>
                          <a:pt x="202" y="238"/>
                        </a:cubicBezTo>
                        <a:cubicBezTo>
                          <a:pt x="89" y="264"/>
                          <a:pt x="0" y="69"/>
                          <a:pt x="8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3" name="Freeform 307"/>
                  <p:cNvSpPr>
                    <a:spLocks/>
                  </p:cNvSpPr>
                  <p:nvPr/>
                </p:nvSpPr>
                <p:spPr bwMode="gray">
                  <a:xfrm>
                    <a:off x="246062" y="17765713"/>
                    <a:ext cx="1792288" cy="2166938"/>
                  </a:xfrm>
                  <a:custGeom>
                    <a:avLst/>
                    <a:gdLst/>
                    <a:ahLst/>
                    <a:cxnLst>
                      <a:cxn ang="0">
                        <a:pos x="437" y="187"/>
                      </a:cxn>
                      <a:cxn ang="0">
                        <a:pos x="383" y="519"/>
                      </a:cxn>
                      <a:cxn ang="0">
                        <a:pos x="192" y="543"/>
                      </a:cxn>
                      <a:cxn ang="0">
                        <a:pos x="0" y="577"/>
                      </a:cxn>
                      <a:cxn ang="0">
                        <a:pos x="197" y="484"/>
                      </a:cxn>
                      <a:cxn ang="0">
                        <a:pos x="330" y="356"/>
                      </a:cxn>
                      <a:cxn ang="0">
                        <a:pos x="408" y="175"/>
                      </a:cxn>
                      <a:cxn ang="0">
                        <a:pos x="443" y="0"/>
                      </a:cxn>
                    </a:cxnLst>
                    <a:rect l="0" t="0" r="r" b="b"/>
                    <a:pathLst>
                      <a:path w="478" h="578">
                        <a:moveTo>
                          <a:pt x="437" y="187"/>
                        </a:moveTo>
                        <a:cubicBezTo>
                          <a:pt x="478" y="282"/>
                          <a:pt x="415" y="429"/>
                          <a:pt x="383" y="519"/>
                        </a:cubicBezTo>
                        <a:cubicBezTo>
                          <a:pt x="320" y="532"/>
                          <a:pt x="254" y="532"/>
                          <a:pt x="192" y="543"/>
                        </a:cubicBezTo>
                        <a:cubicBezTo>
                          <a:pt x="129" y="555"/>
                          <a:pt x="64" y="578"/>
                          <a:pt x="0" y="577"/>
                        </a:cubicBezTo>
                        <a:cubicBezTo>
                          <a:pt x="46" y="530"/>
                          <a:pt x="137" y="510"/>
                          <a:pt x="197" y="484"/>
                        </a:cubicBezTo>
                        <a:cubicBezTo>
                          <a:pt x="264" y="456"/>
                          <a:pt x="295" y="423"/>
                          <a:pt x="330" y="356"/>
                        </a:cubicBezTo>
                        <a:cubicBezTo>
                          <a:pt x="359" y="301"/>
                          <a:pt x="389" y="237"/>
                          <a:pt x="408" y="175"/>
                        </a:cubicBezTo>
                        <a:cubicBezTo>
                          <a:pt x="425" y="118"/>
                          <a:pt x="419" y="53"/>
                          <a:pt x="44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4" name="Freeform 308"/>
                  <p:cNvSpPr>
                    <a:spLocks/>
                  </p:cNvSpPr>
                  <p:nvPr/>
                </p:nvSpPr>
                <p:spPr bwMode="gray">
                  <a:xfrm>
                    <a:off x="1371600" y="10360026"/>
                    <a:ext cx="363538" cy="3490913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12" y="235"/>
                      </a:cxn>
                      <a:cxn ang="0">
                        <a:pos x="30" y="450"/>
                      </a:cxn>
                      <a:cxn ang="0">
                        <a:pos x="18" y="666"/>
                      </a:cxn>
                      <a:cxn ang="0">
                        <a:pos x="12" y="771"/>
                      </a:cxn>
                      <a:cxn ang="0">
                        <a:pos x="94" y="931"/>
                      </a:cxn>
                      <a:cxn ang="0">
                        <a:pos x="94" y="666"/>
                      </a:cxn>
                      <a:cxn ang="0">
                        <a:pos x="83" y="399"/>
                      </a:cxn>
                      <a:cxn ang="0">
                        <a:pos x="29" y="15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97" h="931">
                        <a:moveTo>
                          <a:pt x="0" y="29"/>
                        </a:moveTo>
                        <a:cubicBezTo>
                          <a:pt x="33" y="79"/>
                          <a:pt x="3" y="174"/>
                          <a:pt x="12" y="235"/>
                        </a:cubicBezTo>
                        <a:cubicBezTo>
                          <a:pt x="23" y="307"/>
                          <a:pt x="19" y="379"/>
                          <a:pt x="30" y="450"/>
                        </a:cubicBezTo>
                        <a:cubicBezTo>
                          <a:pt x="41" y="525"/>
                          <a:pt x="24" y="593"/>
                          <a:pt x="18" y="666"/>
                        </a:cubicBezTo>
                        <a:cubicBezTo>
                          <a:pt x="15" y="694"/>
                          <a:pt x="7" y="748"/>
                          <a:pt x="12" y="771"/>
                        </a:cubicBezTo>
                        <a:cubicBezTo>
                          <a:pt x="20" y="804"/>
                          <a:pt x="76" y="906"/>
                          <a:pt x="94" y="931"/>
                        </a:cubicBezTo>
                        <a:cubicBezTo>
                          <a:pt x="97" y="875"/>
                          <a:pt x="93" y="728"/>
                          <a:pt x="94" y="666"/>
                        </a:cubicBezTo>
                        <a:cubicBezTo>
                          <a:pt x="95" y="576"/>
                          <a:pt x="90" y="487"/>
                          <a:pt x="83" y="399"/>
                        </a:cubicBezTo>
                        <a:cubicBezTo>
                          <a:pt x="75" y="317"/>
                          <a:pt x="42" y="239"/>
                          <a:pt x="29" y="158"/>
                        </a:cubicBezTo>
                        <a:cubicBezTo>
                          <a:pt x="20" y="97"/>
                          <a:pt x="25" y="55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5" name="Freeform 309"/>
                  <p:cNvSpPr>
                    <a:spLocks/>
                  </p:cNvSpPr>
                  <p:nvPr/>
                </p:nvSpPr>
                <p:spPr bwMode="gray">
                  <a:xfrm>
                    <a:off x="479425" y="13655676"/>
                    <a:ext cx="1484313" cy="1492250"/>
                  </a:xfrm>
                  <a:custGeom>
                    <a:avLst/>
                    <a:gdLst/>
                    <a:ahLst/>
                    <a:cxnLst>
                      <a:cxn ang="0">
                        <a:pos x="330" y="55"/>
                      </a:cxn>
                      <a:cxn ang="0">
                        <a:pos x="318" y="109"/>
                      </a:cxn>
                      <a:cxn ang="0">
                        <a:pos x="108" y="33"/>
                      </a:cxn>
                      <a:cxn ang="0">
                        <a:pos x="209" y="113"/>
                      </a:cxn>
                      <a:cxn ang="0">
                        <a:pos x="243" y="164"/>
                      </a:cxn>
                      <a:cxn ang="0">
                        <a:pos x="287" y="214"/>
                      </a:cxn>
                      <a:cxn ang="0">
                        <a:pos x="221" y="219"/>
                      </a:cxn>
                      <a:cxn ang="0">
                        <a:pos x="256" y="289"/>
                      </a:cxn>
                      <a:cxn ang="0">
                        <a:pos x="170" y="329"/>
                      </a:cxn>
                      <a:cxn ang="0">
                        <a:pos x="0" y="398"/>
                      </a:cxn>
                      <a:cxn ang="0">
                        <a:pos x="194" y="344"/>
                      </a:cxn>
                      <a:cxn ang="0">
                        <a:pos x="314" y="351"/>
                      </a:cxn>
                      <a:cxn ang="0">
                        <a:pos x="396" y="370"/>
                      </a:cxn>
                      <a:cxn ang="0">
                        <a:pos x="357" y="238"/>
                      </a:cxn>
                      <a:cxn ang="0">
                        <a:pos x="330" y="98"/>
                      </a:cxn>
                    </a:cxnLst>
                    <a:rect l="0" t="0" r="r" b="b"/>
                    <a:pathLst>
                      <a:path w="396" h="398">
                        <a:moveTo>
                          <a:pt x="330" y="55"/>
                        </a:moveTo>
                        <a:cubicBezTo>
                          <a:pt x="319" y="72"/>
                          <a:pt x="324" y="91"/>
                          <a:pt x="318" y="109"/>
                        </a:cubicBezTo>
                        <a:cubicBezTo>
                          <a:pt x="238" y="165"/>
                          <a:pt x="183" y="0"/>
                          <a:pt x="108" y="33"/>
                        </a:cubicBezTo>
                        <a:cubicBezTo>
                          <a:pt x="96" y="79"/>
                          <a:pt x="186" y="88"/>
                          <a:pt x="209" y="113"/>
                        </a:cubicBezTo>
                        <a:cubicBezTo>
                          <a:pt x="222" y="129"/>
                          <a:pt x="223" y="147"/>
                          <a:pt x="243" y="164"/>
                        </a:cubicBezTo>
                        <a:cubicBezTo>
                          <a:pt x="262" y="180"/>
                          <a:pt x="285" y="188"/>
                          <a:pt x="287" y="214"/>
                        </a:cubicBezTo>
                        <a:cubicBezTo>
                          <a:pt x="266" y="222"/>
                          <a:pt x="243" y="218"/>
                          <a:pt x="221" y="219"/>
                        </a:cubicBezTo>
                        <a:cubicBezTo>
                          <a:pt x="210" y="261"/>
                          <a:pt x="255" y="250"/>
                          <a:pt x="256" y="289"/>
                        </a:cubicBezTo>
                        <a:cubicBezTo>
                          <a:pt x="257" y="338"/>
                          <a:pt x="204" y="331"/>
                          <a:pt x="170" y="329"/>
                        </a:cubicBezTo>
                        <a:cubicBezTo>
                          <a:pt x="94" y="325"/>
                          <a:pt x="33" y="326"/>
                          <a:pt x="0" y="398"/>
                        </a:cubicBezTo>
                        <a:cubicBezTo>
                          <a:pt x="21" y="350"/>
                          <a:pt x="148" y="348"/>
                          <a:pt x="194" y="344"/>
                        </a:cubicBezTo>
                        <a:cubicBezTo>
                          <a:pt x="237" y="339"/>
                          <a:pt x="273" y="340"/>
                          <a:pt x="314" y="351"/>
                        </a:cubicBezTo>
                        <a:cubicBezTo>
                          <a:pt x="341" y="357"/>
                          <a:pt x="369" y="383"/>
                          <a:pt x="396" y="370"/>
                        </a:cubicBezTo>
                        <a:cubicBezTo>
                          <a:pt x="384" y="326"/>
                          <a:pt x="364" y="287"/>
                          <a:pt x="357" y="238"/>
                        </a:cubicBezTo>
                        <a:cubicBezTo>
                          <a:pt x="351" y="193"/>
                          <a:pt x="326" y="145"/>
                          <a:pt x="330" y="9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6" name="Freeform 310"/>
                  <p:cNvSpPr>
                    <a:spLocks/>
                  </p:cNvSpPr>
                  <p:nvPr/>
                </p:nvSpPr>
                <p:spPr bwMode="gray">
                  <a:xfrm>
                    <a:off x="-3533775" y="11672888"/>
                    <a:ext cx="1027113" cy="1357313"/>
                  </a:xfrm>
                  <a:custGeom>
                    <a:avLst/>
                    <a:gdLst/>
                    <a:ahLst/>
                    <a:cxnLst>
                      <a:cxn ang="0">
                        <a:pos x="173" y="43"/>
                      </a:cxn>
                      <a:cxn ang="0">
                        <a:pos x="47" y="57"/>
                      </a:cxn>
                      <a:cxn ang="0">
                        <a:pos x="133" y="133"/>
                      </a:cxn>
                      <a:cxn ang="0">
                        <a:pos x="181" y="236"/>
                      </a:cxn>
                      <a:cxn ang="0">
                        <a:pos x="122" y="311"/>
                      </a:cxn>
                      <a:cxn ang="0">
                        <a:pos x="211" y="320"/>
                      </a:cxn>
                      <a:cxn ang="0">
                        <a:pos x="274" y="362"/>
                      </a:cxn>
                      <a:cxn ang="0">
                        <a:pos x="197" y="182"/>
                      </a:cxn>
                      <a:cxn ang="0">
                        <a:pos x="144" y="94"/>
                      </a:cxn>
                      <a:cxn ang="0">
                        <a:pos x="192" y="0"/>
                      </a:cxn>
                    </a:cxnLst>
                    <a:rect l="0" t="0" r="r" b="b"/>
                    <a:pathLst>
                      <a:path w="274" h="362">
                        <a:moveTo>
                          <a:pt x="173" y="43"/>
                        </a:moveTo>
                        <a:cubicBezTo>
                          <a:pt x="131" y="91"/>
                          <a:pt x="76" y="24"/>
                          <a:pt x="47" y="57"/>
                        </a:cubicBezTo>
                        <a:cubicBezTo>
                          <a:pt x="0" y="111"/>
                          <a:pt x="107" y="119"/>
                          <a:pt x="133" y="133"/>
                        </a:cubicBezTo>
                        <a:cubicBezTo>
                          <a:pt x="142" y="171"/>
                          <a:pt x="169" y="200"/>
                          <a:pt x="181" y="236"/>
                        </a:cubicBezTo>
                        <a:cubicBezTo>
                          <a:pt x="206" y="307"/>
                          <a:pt x="107" y="248"/>
                          <a:pt x="122" y="311"/>
                        </a:cubicBezTo>
                        <a:cubicBezTo>
                          <a:pt x="156" y="316"/>
                          <a:pt x="179" y="302"/>
                          <a:pt x="211" y="320"/>
                        </a:cubicBezTo>
                        <a:cubicBezTo>
                          <a:pt x="235" y="334"/>
                          <a:pt x="245" y="354"/>
                          <a:pt x="274" y="362"/>
                        </a:cubicBezTo>
                        <a:cubicBezTo>
                          <a:pt x="232" y="335"/>
                          <a:pt x="223" y="229"/>
                          <a:pt x="197" y="182"/>
                        </a:cubicBezTo>
                        <a:cubicBezTo>
                          <a:pt x="181" y="153"/>
                          <a:pt x="150" y="128"/>
                          <a:pt x="144" y="94"/>
                        </a:cubicBezTo>
                        <a:cubicBezTo>
                          <a:pt x="136" y="43"/>
                          <a:pt x="186" y="43"/>
                          <a:pt x="19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7" name="Freeform 311"/>
                  <p:cNvSpPr>
                    <a:spLocks/>
                  </p:cNvSpPr>
                  <p:nvPr/>
                </p:nvSpPr>
                <p:spPr bwMode="gray">
                  <a:xfrm>
                    <a:off x="-2686050" y="10748963"/>
                    <a:ext cx="685800" cy="747713"/>
                  </a:xfrm>
                  <a:custGeom>
                    <a:avLst/>
                    <a:gdLst/>
                    <a:ahLst/>
                    <a:cxnLst>
                      <a:cxn ang="0">
                        <a:pos x="180" y="199"/>
                      </a:cxn>
                      <a:cxn ang="0">
                        <a:pos x="162" y="77"/>
                      </a:cxn>
                      <a:cxn ang="0">
                        <a:pos x="76" y="28"/>
                      </a:cxn>
                      <a:cxn ang="0">
                        <a:pos x="28" y="94"/>
                      </a:cxn>
                      <a:cxn ang="0">
                        <a:pos x="2" y="175"/>
                      </a:cxn>
                      <a:cxn ang="0">
                        <a:pos x="20" y="148"/>
                      </a:cxn>
                      <a:cxn ang="0">
                        <a:pos x="52" y="125"/>
                      </a:cxn>
                      <a:cxn ang="0">
                        <a:pos x="114" y="78"/>
                      </a:cxn>
                      <a:cxn ang="0">
                        <a:pos x="180" y="191"/>
                      </a:cxn>
                    </a:cxnLst>
                    <a:rect l="0" t="0" r="r" b="b"/>
                    <a:pathLst>
                      <a:path w="183" h="199">
                        <a:moveTo>
                          <a:pt x="180" y="199"/>
                        </a:moveTo>
                        <a:cubicBezTo>
                          <a:pt x="180" y="154"/>
                          <a:pt x="183" y="115"/>
                          <a:pt x="162" y="77"/>
                        </a:cubicBezTo>
                        <a:cubicBezTo>
                          <a:pt x="145" y="47"/>
                          <a:pt x="112" y="0"/>
                          <a:pt x="76" y="28"/>
                        </a:cubicBezTo>
                        <a:cubicBezTo>
                          <a:pt x="72" y="76"/>
                          <a:pt x="57" y="67"/>
                          <a:pt x="28" y="94"/>
                        </a:cubicBezTo>
                        <a:cubicBezTo>
                          <a:pt x="0" y="120"/>
                          <a:pt x="25" y="147"/>
                          <a:pt x="2" y="175"/>
                        </a:cubicBezTo>
                        <a:cubicBezTo>
                          <a:pt x="12" y="169"/>
                          <a:pt x="14" y="155"/>
                          <a:pt x="20" y="148"/>
                        </a:cubicBezTo>
                        <a:cubicBezTo>
                          <a:pt x="34" y="135"/>
                          <a:pt x="36" y="135"/>
                          <a:pt x="52" y="125"/>
                        </a:cubicBezTo>
                        <a:cubicBezTo>
                          <a:pt x="66" y="117"/>
                          <a:pt x="101" y="80"/>
                          <a:pt x="114" y="78"/>
                        </a:cubicBezTo>
                        <a:cubicBezTo>
                          <a:pt x="164" y="70"/>
                          <a:pt x="158" y="165"/>
                          <a:pt x="180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8" name="Freeform 312"/>
                  <p:cNvSpPr>
                    <a:spLocks/>
                  </p:cNvSpPr>
                  <p:nvPr/>
                </p:nvSpPr>
                <p:spPr bwMode="gray">
                  <a:xfrm>
                    <a:off x="-3184525" y="10048876"/>
                    <a:ext cx="209550" cy="603250"/>
                  </a:xfrm>
                  <a:custGeom>
                    <a:avLst/>
                    <a:gdLst/>
                    <a:ahLst/>
                    <a:cxnLst>
                      <a:cxn ang="0">
                        <a:pos x="56" y="0"/>
                      </a:cxn>
                      <a:cxn ang="0">
                        <a:pos x="34" y="89"/>
                      </a:cxn>
                      <a:cxn ang="0">
                        <a:pos x="10" y="155"/>
                      </a:cxn>
                      <a:cxn ang="0">
                        <a:pos x="21" y="78"/>
                      </a:cxn>
                    </a:cxnLst>
                    <a:rect l="0" t="0" r="r" b="b"/>
                    <a:pathLst>
                      <a:path w="56" h="161">
                        <a:moveTo>
                          <a:pt x="56" y="0"/>
                        </a:moveTo>
                        <a:cubicBezTo>
                          <a:pt x="49" y="35"/>
                          <a:pt x="30" y="47"/>
                          <a:pt x="34" y="89"/>
                        </a:cubicBezTo>
                        <a:cubicBezTo>
                          <a:pt x="36" y="112"/>
                          <a:pt x="55" y="161"/>
                          <a:pt x="10" y="155"/>
                        </a:cubicBezTo>
                        <a:cubicBezTo>
                          <a:pt x="0" y="123"/>
                          <a:pt x="14" y="107"/>
                          <a:pt x="21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19" name="Freeform 313"/>
                  <p:cNvSpPr>
                    <a:spLocks/>
                  </p:cNvSpPr>
                  <p:nvPr/>
                </p:nvSpPr>
                <p:spPr bwMode="gray">
                  <a:xfrm>
                    <a:off x="2098675" y="12576176"/>
                    <a:ext cx="338138" cy="584200"/>
                  </a:xfrm>
                  <a:custGeom>
                    <a:avLst/>
                    <a:gdLst/>
                    <a:ahLst/>
                    <a:cxnLst>
                      <a:cxn ang="0">
                        <a:pos x="77" y="0"/>
                      </a:cxn>
                      <a:cxn ang="0">
                        <a:pos x="12" y="144"/>
                      </a:cxn>
                      <a:cxn ang="0">
                        <a:pos x="73" y="20"/>
                      </a:cxn>
                    </a:cxnLst>
                    <a:rect l="0" t="0" r="r" b="b"/>
                    <a:pathLst>
                      <a:path w="90" h="156">
                        <a:moveTo>
                          <a:pt x="77" y="0"/>
                        </a:moveTo>
                        <a:cubicBezTo>
                          <a:pt x="90" y="55"/>
                          <a:pt x="0" y="75"/>
                          <a:pt x="12" y="144"/>
                        </a:cubicBezTo>
                        <a:cubicBezTo>
                          <a:pt x="69" y="156"/>
                          <a:pt x="57" y="50"/>
                          <a:pt x="73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0" name="Freeform 314"/>
                  <p:cNvSpPr>
                    <a:spLocks/>
                  </p:cNvSpPr>
                  <p:nvPr/>
                </p:nvSpPr>
                <p:spPr bwMode="gray">
                  <a:xfrm>
                    <a:off x="-2006600" y="11877676"/>
                    <a:ext cx="688975" cy="1328738"/>
                  </a:xfrm>
                  <a:custGeom>
                    <a:avLst/>
                    <a:gdLst/>
                    <a:ahLst/>
                    <a:cxnLst>
                      <a:cxn ang="0">
                        <a:pos x="46" y="323"/>
                      </a:cxn>
                      <a:cxn ang="0">
                        <a:pos x="81" y="249"/>
                      </a:cxn>
                      <a:cxn ang="0">
                        <a:pos x="166" y="244"/>
                      </a:cxn>
                      <a:cxn ang="0">
                        <a:pos x="74" y="139"/>
                      </a:cxn>
                      <a:cxn ang="0">
                        <a:pos x="0" y="0"/>
                      </a:cxn>
                      <a:cxn ang="0">
                        <a:pos x="30" y="85"/>
                      </a:cxn>
                      <a:cxn ang="0">
                        <a:pos x="49" y="179"/>
                      </a:cxn>
                      <a:cxn ang="0">
                        <a:pos x="50" y="272"/>
                      </a:cxn>
                      <a:cxn ang="0">
                        <a:pos x="50" y="354"/>
                      </a:cxn>
                    </a:cxnLst>
                    <a:rect l="0" t="0" r="r" b="b"/>
                    <a:pathLst>
                      <a:path w="184" h="354">
                        <a:moveTo>
                          <a:pt x="46" y="323"/>
                        </a:moveTo>
                        <a:cubicBezTo>
                          <a:pt x="53" y="297"/>
                          <a:pt x="55" y="264"/>
                          <a:pt x="81" y="249"/>
                        </a:cubicBezTo>
                        <a:cubicBezTo>
                          <a:pt x="108" y="232"/>
                          <a:pt x="137" y="249"/>
                          <a:pt x="166" y="244"/>
                        </a:cubicBezTo>
                        <a:cubicBezTo>
                          <a:pt x="184" y="213"/>
                          <a:pt x="93" y="159"/>
                          <a:pt x="74" y="139"/>
                        </a:cubicBezTo>
                        <a:cubicBezTo>
                          <a:pt x="48" y="109"/>
                          <a:pt x="33" y="11"/>
                          <a:pt x="0" y="0"/>
                        </a:cubicBezTo>
                        <a:cubicBezTo>
                          <a:pt x="1" y="28"/>
                          <a:pt x="21" y="59"/>
                          <a:pt x="30" y="85"/>
                        </a:cubicBezTo>
                        <a:cubicBezTo>
                          <a:pt x="41" y="115"/>
                          <a:pt x="43" y="150"/>
                          <a:pt x="49" y="179"/>
                        </a:cubicBezTo>
                        <a:cubicBezTo>
                          <a:pt x="56" y="213"/>
                          <a:pt x="59" y="237"/>
                          <a:pt x="50" y="272"/>
                        </a:cubicBezTo>
                        <a:cubicBezTo>
                          <a:pt x="44" y="296"/>
                          <a:pt x="23" y="334"/>
                          <a:pt x="50" y="35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1" name="Freeform 315"/>
                  <p:cNvSpPr>
                    <a:spLocks/>
                  </p:cNvSpPr>
                  <p:nvPr/>
                </p:nvSpPr>
                <p:spPr bwMode="gray">
                  <a:xfrm>
                    <a:off x="1614487" y="9932988"/>
                    <a:ext cx="654050" cy="1104900"/>
                  </a:xfrm>
                  <a:custGeom>
                    <a:avLst/>
                    <a:gdLst/>
                    <a:ahLst/>
                    <a:cxnLst>
                      <a:cxn ang="0">
                        <a:pos x="128" y="0"/>
                      </a:cxn>
                      <a:cxn ang="0">
                        <a:pos x="79" y="98"/>
                      </a:cxn>
                      <a:cxn ang="0">
                        <a:pos x="20" y="175"/>
                      </a:cxn>
                      <a:cxn ang="0">
                        <a:pos x="109" y="179"/>
                      </a:cxn>
                      <a:cxn ang="0">
                        <a:pos x="74" y="238"/>
                      </a:cxn>
                      <a:cxn ang="0">
                        <a:pos x="82" y="288"/>
                      </a:cxn>
                      <a:cxn ang="0">
                        <a:pos x="136" y="8"/>
                      </a:cxn>
                    </a:cxnLst>
                    <a:rect l="0" t="0" r="r" b="b"/>
                    <a:pathLst>
                      <a:path w="174" h="295">
                        <a:moveTo>
                          <a:pt x="128" y="0"/>
                        </a:moveTo>
                        <a:cubicBezTo>
                          <a:pt x="134" y="41"/>
                          <a:pt x="105" y="72"/>
                          <a:pt x="79" y="98"/>
                        </a:cubicBezTo>
                        <a:cubicBezTo>
                          <a:pt x="60" y="117"/>
                          <a:pt x="0" y="144"/>
                          <a:pt x="20" y="175"/>
                        </a:cubicBezTo>
                        <a:cubicBezTo>
                          <a:pt x="45" y="214"/>
                          <a:pt x="99" y="149"/>
                          <a:pt x="109" y="179"/>
                        </a:cubicBezTo>
                        <a:cubicBezTo>
                          <a:pt x="115" y="197"/>
                          <a:pt x="77" y="221"/>
                          <a:pt x="74" y="238"/>
                        </a:cubicBezTo>
                        <a:cubicBezTo>
                          <a:pt x="72" y="248"/>
                          <a:pt x="83" y="273"/>
                          <a:pt x="82" y="288"/>
                        </a:cubicBezTo>
                        <a:cubicBezTo>
                          <a:pt x="174" y="295"/>
                          <a:pt x="147" y="64"/>
                          <a:pt x="136" y="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2" name="Freeform 316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3" name="Freeform 317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4" name="Freeform 318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5" name="Freeform 319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6" name="Freeform 320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7" name="Freeform 321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8" name="Freeform 322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29" name="Freeform 323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0" name="Freeform 324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1" name="Freeform 325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2" name="Freeform 326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3" name="Freeform 327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4" name="Freeform 328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5" name="Freeform 329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6" name="Freeform 330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7" name="Freeform 331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8" name="Freeform 332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39" name="Freeform 333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0" name="Freeform 334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1" name="Freeform 335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2" name="Freeform 336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3" name="Freeform 337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4" name="Freeform 338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5" name="Freeform 339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6" name="Freeform 340"/>
                  <p:cNvSpPr>
                    <a:spLocks/>
                  </p:cNvSpPr>
                  <p:nvPr/>
                </p:nvSpPr>
                <p:spPr bwMode="gray">
                  <a:xfrm>
                    <a:off x="-1662113" y="24028401"/>
                    <a:ext cx="319088" cy="892175"/>
                  </a:xfrm>
                  <a:custGeom>
                    <a:avLst/>
                    <a:gdLst/>
                    <a:ahLst/>
                    <a:cxnLst>
                      <a:cxn ang="0">
                        <a:pos x="72" y="9"/>
                      </a:cxn>
                      <a:cxn ang="0">
                        <a:pos x="65" y="71"/>
                      </a:cxn>
                      <a:cxn ang="0">
                        <a:pos x="66" y="137"/>
                      </a:cxn>
                      <a:cxn ang="0">
                        <a:pos x="33" y="187"/>
                      </a:cxn>
                      <a:cxn ang="0">
                        <a:pos x="0" y="238"/>
                      </a:cxn>
                      <a:cxn ang="0">
                        <a:pos x="82" y="134"/>
                      </a:cxn>
                      <a:cxn ang="0">
                        <a:pos x="84" y="61"/>
                      </a:cxn>
                      <a:cxn ang="0">
                        <a:pos x="78" y="31"/>
                      </a:cxn>
                      <a:cxn ang="0">
                        <a:pos x="69" y="0"/>
                      </a:cxn>
                    </a:cxnLst>
                    <a:rect l="0" t="0" r="r" b="b"/>
                    <a:pathLst>
                      <a:path w="85" h="238">
                        <a:moveTo>
                          <a:pt x="72" y="9"/>
                        </a:moveTo>
                        <a:cubicBezTo>
                          <a:pt x="72" y="31"/>
                          <a:pt x="66" y="50"/>
                          <a:pt x="65" y="71"/>
                        </a:cubicBezTo>
                        <a:cubicBezTo>
                          <a:pt x="64" y="93"/>
                          <a:pt x="73" y="117"/>
                          <a:pt x="66" y="137"/>
                        </a:cubicBezTo>
                        <a:cubicBezTo>
                          <a:pt x="60" y="157"/>
                          <a:pt x="42" y="170"/>
                          <a:pt x="33" y="187"/>
                        </a:cubicBezTo>
                        <a:cubicBezTo>
                          <a:pt x="23" y="206"/>
                          <a:pt x="13" y="224"/>
                          <a:pt x="0" y="238"/>
                        </a:cubicBezTo>
                        <a:cubicBezTo>
                          <a:pt x="38" y="219"/>
                          <a:pt x="77" y="177"/>
                          <a:pt x="82" y="134"/>
                        </a:cubicBezTo>
                        <a:cubicBezTo>
                          <a:pt x="85" y="111"/>
                          <a:pt x="84" y="86"/>
                          <a:pt x="84" y="61"/>
                        </a:cubicBezTo>
                        <a:cubicBezTo>
                          <a:pt x="84" y="49"/>
                          <a:pt x="83" y="41"/>
                          <a:pt x="78" y="31"/>
                        </a:cubicBezTo>
                        <a:cubicBezTo>
                          <a:pt x="73" y="21"/>
                          <a:pt x="68" y="13"/>
                          <a:pt x="6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7" name="Freeform 341"/>
                  <p:cNvSpPr>
                    <a:spLocks/>
                  </p:cNvSpPr>
                  <p:nvPr/>
                </p:nvSpPr>
                <p:spPr bwMode="gray">
                  <a:xfrm>
                    <a:off x="-2741613" y="25190451"/>
                    <a:ext cx="911225" cy="300038"/>
                  </a:xfrm>
                  <a:custGeom>
                    <a:avLst/>
                    <a:gdLst/>
                    <a:ahLst/>
                    <a:cxnLst>
                      <a:cxn ang="0">
                        <a:pos x="0" y="4"/>
                      </a:cxn>
                      <a:cxn ang="0">
                        <a:pos x="66" y="26"/>
                      </a:cxn>
                      <a:cxn ang="0">
                        <a:pos x="129" y="42"/>
                      </a:cxn>
                      <a:cxn ang="0">
                        <a:pos x="243" y="0"/>
                      </a:cxn>
                      <a:cxn ang="0">
                        <a:pos x="208" y="61"/>
                      </a:cxn>
                      <a:cxn ang="0">
                        <a:pos x="180" y="75"/>
                      </a:cxn>
                      <a:cxn ang="0">
                        <a:pos x="145" y="66"/>
                      </a:cxn>
                      <a:cxn ang="0">
                        <a:pos x="82" y="50"/>
                      </a:cxn>
                      <a:cxn ang="0">
                        <a:pos x="19" y="2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243" h="80">
                        <a:moveTo>
                          <a:pt x="0" y="4"/>
                        </a:moveTo>
                        <a:cubicBezTo>
                          <a:pt x="17" y="19"/>
                          <a:pt x="44" y="21"/>
                          <a:pt x="66" y="26"/>
                        </a:cubicBezTo>
                        <a:cubicBezTo>
                          <a:pt x="87" y="31"/>
                          <a:pt x="108" y="40"/>
                          <a:pt x="129" y="42"/>
                        </a:cubicBezTo>
                        <a:cubicBezTo>
                          <a:pt x="173" y="46"/>
                          <a:pt x="214" y="35"/>
                          <a:pt x="243" y="0"/>
                        </a:cubicBezTo>
                        <a:cubicBezTo>
                          <a:pt x="235" y="23"/>
                          <a:pt x="222" y="41"/>
                          <a:pt x="208" y="61"/>
                        </a:cubicBezTo>
                        <a:cubicBezTo>
                          <a:pt x="198" y="75"/>
                          <a:pt x="198" y="80"/>
                          <a:pt x="180" y="75"/>
                        </a:cubicBezTo>
                        <a:cubicBezTo>
                          <a:pt x="168" y="71"/>
                          <a:pt x="157" y="69"/>
                          <a:pt x="145" y="66"/>
                        </a:cubicBezTo>
                        <a:cubicBezTo>
                          <a:pt x="125" y="61"/>
                          <a:pt x="102" y="57"/>
                          <a:pt x="82" y="50"/>
                        </a:cubicBezTo>
                        <a:cubicBezTo>
                          <a:pt x="62" y="43"/>
                          <a:pt x="38" y="38"/>
                          <a:pt x="19" y="27"/>
                        </a:cubicBezTo>
                        <a:cubicBezTo>
                          <a:pt x="12" y="23"/>
                          <a:pt x="4" y="16"/>
                          <a:pt x="0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8" name="Freeform 342"/>
                  <p:cNvSpPr>
                    <a:spLocks/>
                  </p:cNvSpPr>
                  <p:nvPr/>
                </p:nvSpPr>
                <p:spPr bwMode="gray">
                  <a:xfrm>
                    <a:off x="-98425" y="24039513"/>
                    <a:ext cx="203200" cy="941388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12" y="60"/>
                      </a:cxn>
                      <a:cxn ang="0">
                        <a:pos x="1" y="127"/>
                      </a:cxn>
                      <a:cxn ang="0">
                        <a:pos x="13" y="158"/>
                      </a:cxn>
                      <a:cxn ang="0">
                        <a:pos x="26" y="194"/>
                      </a:cxn>
                      <a:cxn ang="0">
                        <a:pos x="43" y="218"/>
                      </a:cxn>
                      <a:cxn ang="0">
                        <a:pos x="54" y="251"/>
                      </a:cxn>
                      <a:cxn ang="0">
                        <a:pos x="21" y="125"/>
                      </a:cxn>
                      <a:cxn ang="0">
                        <a:pos x="27" y="61"/>
                      </a:cxn>
                      <a:cxn ang="0">
                        <a:pos x="26" y="6"/>
                      </a:cxn>
                      <a:cxn ang="0">
                        <a:pos x="20" y="33"/>
                      </a:cxn>
                    </a:cxnLst>
                    <a:rect l="0" t="0" r="r" b="b"/>
                    <a:pathLst>
                      <a:path w="54" h="251">
                        <a:moveTo>
                          <a:pt x="28" y="0"/>
                        </a:moveTo>
                        <a:cubicBezTo>
                          <a:pt x="28" y="26"/>
                          <a:pt x="24" y="39"/>
                          <a:pt x="12" y="60"/>
                        </a:cubicBezTo>
                        <a:cubicBezTo>
                          <a:pt x="0" y="81"/>
                          <a:pt x="0" y="102"/>
                          <a:pt x="1" y="127"/>
                        </a:cubicBezTo>
                        <a:cubicBezTo>
                          <a:pt x="2" y="141"/>
                          <a:pt x="6" y="146"/>
                          <a:pt x="13" y="158"/>
                        </a:cubicBezTo>
                        <a:cubicBezTo>
                          <a:pt x="19" y="169"/>
                          <a:pt x="19" y="183"/>
                          <a:pt x="26" y="194"/>
                        </a:cubicBezTo>
                        <a:cubicBezTo>
                          <a:pt x="31" y="203"/>
                          <a:pt x="39" y="209"/>
                          <a:pt x="43" y="218"/>
                        </a:cubicBezTo>
                        <a:cubicBezTo>
                          <a:pt x="49" y="228"/>
                          <a:pt x="51" y="240"/>
                          <a:pt x="54" y="251"/>
                        </a:cubicBezTo>
                        <a:cubicBezTo>
                          <a:pt x="53" y="206"/>
                          <a:pt x="29" y="167"/>
                          <a:pt x="21" y="125"/>
                        </a:cubicBezTo>
                        <a:cubicBezTo>
                          <a:pt x="16" y="102"/>
                          <a:pt x="19" y="82"/>
                          <a:pt x="27" y="61"/>
                        </a:cubicBezTo>
                        <a:cubicBezTo>
                          <a:pt x="34" y="43"/>
                          <a:pt x="37" y="24"/>
                          <a:pt x="26" y="6"/>
                        </a:cubicBezTo>
                        <a:cubicBezTo>
                          <a:pt x="22" y="15"/>
                          <a:pt x="22" y="24"/>
                          <a:pt x="20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49" name="Freeform 343"/>
                  <p:cNvSpPr>
                    <a:spLocks/>
                  </p:cNvSpPr>
                  <p:nvPr/>
                </p:nvSpPr>
                <p:spPr bwMode="gray">
                  <a:xfrm>
                    <a:off x="231775" y="25336501"/>
                    <a:ext cx="655638" cy="195263"/>
                  </a:xfrm>
                  <a:custGeom>
                    <a:avLst/>
                    <a:gdLst/>
                    <a:ahLst/>
                    <a:cxnLst>
                      <a:cxn ang="0">
                        <a:pos x="159" y="0"/>
                      </a:cxn>
                      <a:cxn ang="0">
                        <a:pos x="145" y="35"/>
                      </a:cxn>
                      <a:cxn ang="0">
                        <a:pos x="93" y="45"/>
                      </a:cxn>
                      <a:cxn ang="0">
                        <a:pos x="0" y="25"/>
                      </a:cxn>
                      <a:cxn ang="0">
                        <a:pos x="35" y="45"/>
                      </a:cxn>
                      <a:cxn ang="0">
                        <a:pos x="87" y="51"/>
                      </a:cxn>
                      <a:cxn ang="0">
                        <a:pos x="134" y="50"/>
                      </a:cxn>
                      <a:cxn ang="0">
                        <a:pos x="175" y="38"/>
                      </a:cxn>
                      <a:cxn ang="0">
                        <a:pos x="168" y="26"/>
                      </a:cxn>
                    </a:cxnLst>
                    <a:rect l="0" t="0" r="r" b="b"/>
                    <a:pathLst>
                      <a:path w="175" h="52">
                        <a:moveTo>
                          <a:pt x="159" y="0"/>
                        </a:moveTo>
                        <a:cubicBezTo>
                          <a:pt x="161" y="18"/>
                          <a:pt x="162" y="27"/>
                          <a:pt x="145" y="35"/>
                        </a:cubicBezTo>
                        <a:cubicBezTo>
                          <a:pt x="130" y="43"/>
                          <a:pt x="111" y="45"/>
                          <a:pt x="93" y="45"/>
                        </a:cubicBezTo>
                        <a:cubicBezTo>
                          <a:pt x="60" y="47"/>
                          <a:pt x="28" y="37"/>
                          <a:pt x="0" y="25"/>
                        </a:cubicBezTo>
                        <a:cubicBezTo>
                          <a:pt x="13" y="32"/>
                          <a:pt x="20" y="42"/>
                          <a:pt x="35" y="45"/>
                        </a:cubicBezTo>
                        <a:cubicBezTo>
                          <a:pt x="51" y="49"/>
                          <a:pt x="70" y="50"/>
                          <a:pt x="87" y="51"/>
                        </a:cubicBezTo>
                        <a:cubicBezTo>
                          <a:pt x="102" y="52"/>
                          <a:pt x="120" y="52"/>
                          <a:pt x="134" y="50"/>
                        </a:cubicBezTo>
                        <a:cubicBezTo>
                          <a:pt x="148" y="48"/>
                          <a:pt x="161" y="41"/>
                          <a:pt x="175" y="38"/>
                        </a:cubicBezTo>
                        <a:cubicBezTo>
                          <a:pt x="174" y="33"/>
                          <a:pt x="171" y="29"/>
                          <a:pt x="168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50" name="Freeform 344"/>
                  <p:cNvSpPr>
                    <a:spLocks/>
                  </p:cNvSpPr>
                  <p:nvPr/>
                </p:nvSpPr>
                <p:spPr bwMode="gray">
                  <a:xfrm>
                    <a:off x="104775" y="25633363"/>
                    <a:ext cx="430213" cy="407988"/>
                  </a:xfrm>
                  <a:custGeom>
                    <a:avLst/>
                    <a:gdLst/>
                    <a:ahLst/>
                    <a:cxnLst>
                      <a:cxn ang="0">
                        <a:pos x="15" y="15"/>
                      </a:cxn>
                      <a:cxn ang="0">
                        <a:pos x="53" y="38"/>
                      </a:cxn>
                      <a:cxn ang="0">
                        <a:pos x="114" y="60"/>
                      </a:cxn>
                      <a:cxn ang="0">
                        <a:pos x="114" y="64"/>
                      </a:cxn>
                      <a:cxn ang="0">
                        <a:pos x="67" y="69"/>
                      </a:cxn>
                      <a:cxn ang="0">
                        <a:pos x="115" y="92"/>
                      </a:cxn>
                      <a:cxn ang="0">
                        <a:pos x="35" y="6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5" h="109">
                        <a:moveTo>
                          <a:pt x="15" y="15"/>
                        </a:moveTo>
                        <a:cubicBezTo>
                          <a:pt x="28" y="21"/>
                          <a:pt x="40" y="30"/>
                          <a:pt x="53" y="38"/>
                        </a:cubicBezTo>
                        <a:cubicBezTo>
                          <a:pt x="73" y="51"/>
                          <a:pt x="91" y="53"/>
                          <a:pt x="114" y="60"/>
                        </a:cubicBezTo>
                        <a:cubicBezTo>
                          <a:pt x="114" y="61"/>
                          <a:pt x="114" y="63"/>
                          <a:pt x="114" y="64"/>
                        </a:cubicBezTo>
                        <a:cubicBezTo>
                          <a:pt x="99" y="67"/>
                          <a:pt x="82" y="69"/>
                          <a:pt x="67" y="69"/>
                        </a:cubicBezTo>
                        <a:cubicBezTo>
                          <a:pt x="78" y="79"/>
                          <a:pt x="103" y="81"/>
                          <a:pt x="115" y="92"/>
                        </a:cubicBezTo>
                        <a:cubicBezTo>
                          <a:pt x="88" y="109"/>
                          <a:pt x="56" y="78"/>
                          <a:pt x="35" y="65"/>
                        </a:cubicBezTo>
                        <a:cubicBezTo>
                          <a:pt x="9" y="50"/>
                          <a:pt x="16" y="2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51" name="Freeform 345"/>
                  <p:cNvSpPr>
                    <a:spLocks/>
                  </p:cNvSpPr>
                  <p:nvPr/>
                </p:nvSpPr>
                <p:spPr bwMode="gray">
                  <a:xfrm>
                    <a:off x="-3090863" y="25314276"/>
                    <a:ext cx="468313" cy="60007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42" y="76"/>
                      </a:cxn>
                      <a:cxn ang="0">
                        <a:pos x="0" y="160"/>
                      </a:cxn>
                      <a:cxn ang="0">
                        <a:pos x="62" y="88"/>
                      </a:cxn>
                      <a:cxn ang="0">
                        <a:pos x="85" y="73"/>
                      </a:cxn>
                      <a:cxn ang="0">
                        <a:pos x="87" y="47"/>
                      </a:cxn>
                      <a:cxn ang="0">
                        <a:pos x="125" y="29"/>
                      </a:cxn>
                      <a:cxn ang="0">
                        <a:pos x="125" y="21"/>
                      </a:cxn>
                      <a:cxn ang="0">
                        <a:pos x="91" y="12"/>
                      </a:cxn>
                    </a:cxnLst>
                    <a:rect l="0" t="0" r="r" b="b"/>
                    <a:pathLst>
                      <a:path w="125" h="160">
                        <a:moveTo>
                          <a:pt x="85" y="0"/>
                        </a:moveTo>
                        <a:cubicBezTo>
                          <a:pt x="55" y="15"/>
                          <a:pt x="56" y="50"/>
                          <a:pt x="42" y="76"/>
                        </a:cubicBezTo>
                        <a:cubicBezTo>
                          <a:pt x="28" y="101"/>
                          <a:pt x="1" y="133"/>
                          <a:pt x="0" y="160"/>
                        </a:cubicBezTo>
                        <a:cubicBezTo>
                          <a:pt x="17" y="132"/>
                          <a:pt x="36" y="108"/>
                          <a:pt x="62" y="88"/>
                        </a:cubicBezTo>
                        <a:cubicBezTo>
                          <a:pt x="70" y="81"/>
                          <a:pt x="79" y="83"/>
                          <a:pt x="85" y="73"/>
                        </a:cubicBezTo>
                        <a:cubicBezTo>
                          <a:pt x="90" y="66"/>
                          <a:pt x="83" y="54"/>
                          <a:pt x="87" y="47"/>
                        </a:cubicBezTo>
                        <a:cubicBezTo>
                          <a:pt x="96" y="33"/>
                          <a:pt x="108" y="27"/>
                          <a:pt x="125" y="29"/>
                        </a:cubicBezTo>
                        <a:cubicBezTo>
                          <a:pt x="125" y="28"/>
                          <a:pt x="125" y="22"/>
                          <a:pt x="125" y="21"/>
                        </a:cubicBezTo>
                        <a:cubicBezTo>
                          <a:pt x="114" y="16"/>
                          <a:pt x="103" y="11"/>
                          <a:pt x="91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  <p:grpSp>
              <p:nvGrpSpPr>
                <p:cNvPr id="12" name="Gruppieren 158"/>
                <p:cNvGrpSpPr/>
                <p:nvPr/>
              </p:nvGrpSpPr>
              <p:grpSpPr bwMode="gray">
                <a:xfrm>
                  <a:off x="925081" y="1575807"/>
                  <a:ext cx="626524" cy="2292056"/>
                  <a:chOff x="-3870325" y="-19711987"/>
                  <a:chExt cx="5864225" cy="21453475"/>
                </a:xfrm>
                <a:solidFill>
                  <a:srgbClr val="C8C8C8"/>
                </a:solidFill>
              </p:grpSpPr>
              <p:sp>
                <p:nvSpPr>
                  <p:cNvPr id="504" name="Freeform 81"/>
                  <p:cNvSpPr>
                    <a:spLocks/>
                  </p:cNvSpPr>
                  <p:nvPr/>
                </p:nvSpPr>
                <p:spPr bwMode="gray">
                  <a:xfrm>
                    <a:off x="-3076575" y="-676275"/>
                    <a:ext cx="3457575" cy="1844675"/>
                  </a:xfrm>
                  <a:custGeom>
                    <a:avLst/>
                    <a:gdLst/>
                    <a:ahLst/>
                    <a:cxnLst>
                      <a:cxn ang="0">
                        <a:pos x="429" y="101"/>
                      </a:cxn>
                      <a:cxn ang="0">
                        <a:pos x="355" y="179"/>
                      </a:cxn>
                      <a:cxn ang="0">
                        <a:pos x="276" y="240"/>
                      </a:cxn>
                      <a:cxn ang="0">
                        <a:pos x="188" y="309"/>
                      </a:cxn>
                      <a:cxn ang="0">
                        <a:pos x="14" y="421"/>
                      </a:cxn>
                      <a:cxn ang="0">
                        <a:pos x="76" y="477"/>
                      </a:cxn>
                      <a:cxn ang="0">
                        <a:pos x="159" y="490"/>
                      </a:cxn>
                      <a:cxn ang="0">
                        <a:pos x="323" y="467"/>
                      </a:cxn>
                      <a:cxn ang="0">
                        <a:pos x="470" y="412"/>
                      </a:cxn>
                      <a:cxn ang="0">
                        <a:pos x="699" y="376"/>
                      </a:cxn>
                      <a:cxn ang="0">
                        <a:pos x="452" y="112"/>
                      </a:cxn>
                    </a:cxnLst>
                    <a:rect l="0" t="0" r="r" b="b"/>
                    <a:pathLst>
                      <a:path w="922" h="492">
                        <a:moveTo>
                          <a:pt x="429" y="101"/>
                        </a:moveTo>
                        <a:cubicBezTo>
                          <a:pt x="402" y="122"/>
                          <a:pt x="363" y="146"/>
                          <a:pt x="355" y="179"/>
                        </a:cubicBezTo>
                        <a:cubicBezTo>
                          <a:pt x="335" y="183"/>
                          <a:pt x="296" y="222"/>
                          <a:pt x="276" y="240"/>
                        </a:cubicBezTo>
                        <a:cubicBezTo>
                          <a:pt x="247" y="266"/>
                          <a:pt x="226" y="294"/>
                          <a:pt x="188" y="309"/>
                        </a:cubicBezTo>
                        <a:cubicBezTo>
                          <a:pt x="149" y="324"/>
                          <a:pt x="0" y="364"/>
                          <a:pt x="14" y="421"/>
                        </a:cubicBezTo>
                        <a:cubicBezTo>
                          <a:pt x="42" y="435"/>
                          <a:pt x="50" y="466"/>
                          <a:pt x="76" y="477"/>
                        </a:cubicBezTo>
                        <a:cubicBezTo>
                          <a:pt x="92" y="484"/>
                          <a:pt x="143" y="489"/>
                          <a:pt x="159" y="490"/>
                        </a:cubicBezTo>
                        <a:cubicBezTo>
                          <a:pt x="216" y="492"/>
                          <a:pt x="263" y="467"/>
                          <a:pt x="323" y="467"/>
                        </a:cubicBezTo>
                        <a:cubicBezTo>
                          <a:pt x="396" y="467"/>
                          <a:pt x="411" y="447"/>
                          <a:pt x="470" y="412"/>
                        </a:cubicBezTo>
                        <a:cubicBezTo>
                          <a:pt x="539" y="371"/>
                          <a:pt x="622" y="392"/>
                          <a:pt x="699" y="376"/>
                        </a:cubicBezTo>
                        <a:cubicBezTo>
                          <a:pt x="922" y="224"/>
                          <a:pt x="494" y="0"/>
                          <a:pt x="452" y="1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5" name="Freeform 82"/>
                  <p:cNvSpPr>
                    <a:spLocks/>
                  </p:cNvSpPr>
                  <p:nvPr/>
                </p:nvSpPr>
                <p:spPr bwMode="gray">
                  <a:xfrm>
                    <a:off x="-101600" y="-522287"/>
                    <a:ext cx="2095500" cy="2263775"/>
                  </a:xfrm>
                  <a:custGeom>
                    <a:avLst/>
                    <a:gdLst/>
                    <a:ahLst/>
                    <a:cxnLst>
                      <a:cxn ang="0">
                        <a:pos x="36" y="184"/>
                      </a:cxn>
                      <a:cxn ang="0">
                        <a:pos x="99" y="402"/>
                      </a:cxn>
                      <a:cxn ang="0">
                        <a:pos x="156" y="413"/>
                      </a:cxn>
                      <a:cxn ang="0">
                        <a:pos x="183" y="465"/>
                      </a:cxn>
                      <a:cxn ang="0">
                        <a:pos x="261" y="538"/>
                      </a:cxn>
                      <a:cxn ang="0">
                        <a:pos x="532" y="527"/>
                      </a:cxn>
                      <a:cxn ang="0">
                        <a:pos x="409" y="317"/>
                      </a:cxn>
                      <a:cxn ang="0">
                        <a:pos x="341" y="212"/>
                      </a:cxn>
                      <a:cxn ang="0">
                        <a:pos x="257" y="77"/>
                      </a:cxn>
                      <a:cxn ang="0">
                        <a:pos x="48" y="184"/>
                      </a:cxn>
                    </a:cxnLst>
                    <a:rect l="0" t="0" r="r" b="b"/>
                    <a:pathLst>
                      <a:path w="559" h="604">
                        <a:moveTo>
                          <a:pt x="36" y="184"/>
                        </a:moveTo>
                        <a:cubicBezTo>
                          <a:pt x="36" y="271"/>
                          <a:pt x="0" y="373"/>
                          <a:pt x="99" y="402"/>
                        </a:cubicBezTo>
                        <a:cubicBezTo>
                          <a:pt x="122" y="409"/>
                          <a:pt x="136" y="401"/>
                          <a:pt x="156" y="413"/>
                        </a:cubicBezTo>
                        <a:cubicBezTo>
                          <a:pt x="190" y="435"/>
                          <a:pt x="167" y="433"/>
                          <a:pt x="183" y="465"/>
                        </a:cubicBezTo>
                        <a:cubicBezTo>
                          <a:pt x="202" y="505"/>
                          <a:pt x="221" y="523"/>
                          <a:pt x="261" y="538"/>
                        </a:cubicBezTo>
                        <a:cubicBezTo>
                          <a:pt x="323" y="562"/>
                          <a:pt x="501" y="604"/>
                          <a:pt x="532" y="527"/>
                        </a:cubicBezTo>
                        <a:cubicBezTo>
                          <a:pt x="559" y="459"/>
                          <a:pt x="449" y="364"/>
                          <a:pt x="409" y="317"/>
                        </a:cubicBezTo>
                        <a:cubicBezTo>
                          <a:pt x="375" y="277"/>
                          <a:pt x="361" y="259"/>
                          <a:pt x="341" y="212"/>
                        </a:cubicBezTo>
                        <a:cubicBezTo>
                          <a:pt x="323" y="171"/>
                          <a:pt x="292" y="106"/>
                          <a:pt x="257" y="77"/>
                        </a:cubicBezTo>
                        <a:cubicBezTo>
                          <a:pt x="168" y="0"/>
                          <a:pt x="73" y="105"/>
                          <a:pt x="48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6" name="Freeform 83"/>
                  <p:cNvSpPr>
                    <a:spLocks/>
                  </p:cNvSpPr>
                  <p:nvPr/>
                </p:nvSpPr>
                <p:spPr bwMode="gray">
                  <a:xfrm>
                    <a:off x="-1706563" y="61913"/>
                    <a:ext cx="382588" cy="393700"/>
                  </a:xfrm>
                  <a:custGeom>
                    <a:avLst/>
                    <a:gdLst/>
                    <a:ahLst/>
                    <a:cxnLst>
                      <a:cxn ang="0">
                        <a:pos x="31" y="41"/>
                      </a:cxn>
                      <a:cxn ang="0">
                        <a:pos x="2" y="74"/>
                      </a:cxn>
                      <a:cxn ang="0">
                        <a:pos x="30" y="76"/>
                      </a:cxn>
                      <a:cxn ang="0">
                        <a:pos x="31" y="91"/>
                      </a:cxn>
                      <a:cxn ang="0">
                        <a:pos x="31" y="45"/>
                      </a:cxn>
                    </a:cxnLst>
                    <a:rect l="0" t="0" r="r" b="b"/>
                    <a:pathLst>
                      <a:path w="102" h="105">
                        <a:moveTo>
                          <a:pt x="31" y="41"/>
                        </a:moveTo>
                        <a:cubicBezTo>
                          <a:pt x="12" y="42"/>
                          <a:pt x="0" y="55"/>
                          <a:pt x="2" y="74"/>
                        </a:cubicBezTo>
                        <a:cubicBezTo>
                          <a:pt x="10" y="72"/>
                          <a:pt x="22" y="77"/>
                          <a:pt x="30" y="76"/>
                        </a:cubicBezTo>
                        <a:cubicBezTo>
                          <a:pt x="30" y="80"/>
                          <a:pt x="31" y="86"/>
                          <a:pt x="31" y="91"/>
                        </a:cubicBezTo>
                        <a:cubicBezTo>
                          <a:pt x="102" y="105"/>
                          <a:pt x="90" y="0"/>
                          <a:pt x="31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7" name="Freeform 84"/>
                  <p:cNvSpPr>
                    <a:spLocks/>
                  </p:cNvSpPr>
                  <p:nvPr/>
                </p:nvSpPr>
                <p:spPr bwMode="gray">
                  <a:xfrm>
                    <a:off x="-1651000" y="249238"/>
                    <a:ext cx="1304925" cy="495300"/>
                  </a:xfrm>
                  <a:custGeom>
                    <a:avLst/>
                    <a:gdLst/>
                    <a:ahLst/>
                    <a:cxnLst>
                      <a:cxn ang="0">
                        <a:pos x="315" y="16"/>
                      </a:cxn>
                      <a:cxn ang="0">
                        <a:pos x="146" y="79"/>
                      </a:cxn>
                      <a:cxn ang="0">
                        <a:pos x="0" y="131"/>
                      </a:cxn>
                      <a:cxn ang="0">
                        <a:pos x="167" y="32"/>
                      </a:cxn>
                      <a:cxn ang="0">
                        <a:pos x="252" y="4"/>
                      </a:cxn>
                      <a:cxn ang="0">
                        <a:pos x="299" y="26"/>
                      </a:cxn>
                      <a:cxn ang="0">
                        <a:pos x="307" y="38"/>
                      </a:cxn>
                    </a:cxnLst>
                    <a:rect l="0" t="0" r="r" b="b"/>
                    <a:pathLst>
                      <a:path w="348" h="132">
                        <a:moveTo>
                          <a:pt x="315" y="16"/>
                        </a:moveTo>
                        <a:cubicBezTo>
                          <a:pt x="238" y="16"/>
                          <a:pt x="205" y="34"/>
                          <a:pt x="146" y="79"/>
                        </a:cubicBezTo>
                        <a:cubicBezTo>
                          <a:pt x="99" y="115"/>
                          <a:pt x="61" y="132"/>
                          <a:pt x="0" y="131"/>
                        </a:cubicBezTo>
                        <a:cubicBezTo>
                          <a:pt x="58" y="101"/>
                          <a:pt x="117" y="75"/>
                          <a:pt x="167" y="32"/>
                        </a:cubicBezTo>
                        <a:cubicBezTo>
                          <a:pt x="196" y="8"/>
                          <a:pt x="212" y="9"/>
                          <a:pt x="252" y="4"/>
                        </a:cubicBezTo>
                        <a:cubicBezTo>
                          <a:pt x="264" y="2"/>
                          <a:pt x="348" y="0"/>
                          <a:pt x="299" y="26"/>
                        </a:cubicBezTo>
                        <a:cubicBezTo>
                          <a:pt x="301" y="29"/>
                          <a:pt x="305" y="33"/>
                          <a:pt x="307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8" name="Freeform 85"/>
                  <p:cNvSpPr>
                    <a:spLocks/>
                  </p:cNvSpPr>
                  <p:nvPr/>
                </p:nvSpPr>
                <p:spPr bwMode="gray">
                  <a:xfrm>
                    <a:off x="1000125" y="419100"/>
                    <a:ext cx="949325" cy="911225"/>
                  </a:xfrm>
                  <a:custGeom>
                    <a:avLst/>
                    <a:gdLst/>
                    <a:ahLst/>
                    <a:cxnLst>
                      <a:cxn ang="0">
                        <a:pos x="35" y="35"/>
                      </a:cxn>
                      <a:cxn ang="0">
                        <a:pos x="68" y="106"/>
                      </a:cxn>
                      <a:cxn ang="0">
                        <a:pos x="10" y="135"/>
                      </a:cxn>
                      <a:cxn ang="0">
                        <a:pos x="72" y="162"/>
                      </a:cxn>
                      <a:cxn ang="0">
                        <a:pos x="187" y="220"/>
                      </a:cxn>
                      <a:cxn ang="0">
                        <a:pos x="135" y="124"/>
                      </a:cxn>
                      <a:cxn ang="0">
                        <a:pos x="55" y="10"/>
                      </a:cxn>
                      <a:cxn ang="0">
                        <a:pos x="14" y="14"/>
                      </a:cxn>
                    </a:cxnLst>
                    <a:rect l="0" t="0" r="r" b="b"/>
                    <a:pathLst>
                      <a:path w="253" h="243">
                        <a:moveTo>
                          <a:pt x="35" y="35"/>
                        </a:moveTo>
                        <a:cubicBezTo>
                          <a:pt x="52" y="54"/>
                          <a:pt x="67" y="81"/>
                          <a:pt x="68" y="106"/>
                        </a:cubicBezTo>
                        <a:cubicBezTo>
                          <a:pt x="50" y="105"/>
                          <a:pt x="0" y="104"/>
                          <a:pt x="10" y="135"/>
                        </a:cubicBezTo>
                        <a:cubicBezTo>
                          <a:pt x="15" y="150"/>
                          <a:pt x="61" y="156"/>
                          <a:pt x="72" y="162"/>
                        </a:cubicBezTo>
                        <a:cubicBezTo>
                          <a:pt x="102" y="180"/>
                          <a:pt x="143" y="243"/>
                          <a:pt x="187" y="220"/>
                        </a:cubicBezTo>
                        <a:cubicBezTo>
                          <a:pt x="253" y="185"/>
                          <a:pt x="156" y="138"/>
                          <a:pt x="135" y="124"/>
                        </a:cubicBezTo>
                        <a:cubicBezTo>
                          <a:pt x="96" y="98"/>
                          <a:pt x="79" y="53"/>
                          <a:pt x="55" y="10"/>
                        </a:cubicBezTo>
                        <a:cubicBezTo>
                          <a:pt x="40" y="5"/>
                          <a:pt x="21" y="0"/>
                          <a:pt x="14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9" name="Freeform 86"/>
                  <p:cNvSpPr>
                    <a:spLocks/>
                  </p:cNvSpPr>
                  <p:nvPr/>
                </p:nvSpPr>
                <p:spPr bwMode="gray">
                  <a:xfrm>
                    <a:off x="47625" y="452438"/>
                    <a:ext cx="809625" cy="919163"/>
                  </a:xfrm>
                  <a:custGeom>
                    <a:avLst/>
                    <a:gdLst/>
                    <a:ahLst/>
                    <a:cxnLst>
                      <a:cxn ang="0">
                        <a:pos x="36" y="13"/>
                      </a:cxn>
                      <a:cxn ang="0">
                        <a:pos x="216" y="237"/>
                      </a:cxn>
                      <a:cxn ang="0">
                        <a:pos x="108" y="13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216" h="245">
                        <a:moveTo>
                          <a:pt x="36" y="13"/>
                        </a:moveTo>
                        <a:cubicBezTo>
                          <a:pt x="156" y="33"/>
                          <a:pt x="104" y="200"/>
                          <a:pt x="216" y="237"/>
                        </a:cubicBezTo>
                        <a:cubicBezTo>
                          <a:pt x="163" y="245"/>
                          <a:pt x="127" y="165"/>
                          <a:pt x="108" y="130"/>
                        </a:cubicBezTo>
                        <a:cubicBezTo>
                          <a:pt x="94" y="104"/>
                          <a:pt x="0" y="23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0" name="Freeform 87"/>
                  <p:cNvSpPr>
                    <a:spLocks/>
                  </p:cNvSpPr>
                  <p:nvPr/>
                </p:nvSpPr>
                <p:spPr bwMode="gray">
                  <a:xfrm>
                    <a:off x="1427163" y="1300163"/>
                    <a:ext cx="180975" cy="130175"/>
                  </a:xfrm>
                  <a:custGeom>
                    <a:avLst/>
                    <a:gdLst/>
                    <a:ahLst/>
                    <a:cxnLst>
                      <a:cxn ang="0">
                        <a:pos x="31" y="2"/>
                      </a:cxn>
                      <a:cxn ang="0">
                        <a:pos x="2" y="3"/>
                      </a:cxn>
                      <a:cxn ang="0">
                        <a:pos x="43" y="31"/>
                      </a:cxn>
                      <a:cxn ang="0">
                        <a:pos x="47" y="7"/>
                      </a:cxn>
                      <a:cxn ang="0">
                        <a:pos x="35" y="2"/>
                      </a:cxn>
                    </a:cxnLst>
                    <a:rect l="0" t="0" r="r" b="b"/>
                    <a:pathLst>
                      <a:path w="48" h="35">
                        <a:moveTo>
                          <a:pt x="31" y="2"/>
                        </a:moveTo>
                        <a:cubicBezTo>
                          <a:pt x="22" y="0"/>
                          <a:pt x="10" y="2"/>
                          <a:pt x="2" y="3"/>
                        </a:cubicBezTo>
                        <a:cubicBezTo>
                          <a:pt x="0" y="27"/>
                          <a:pt x="21" y="35"/>
                          <a:pt x="43" y="31"/>
                        </a:cubicBezTo>
                        <a:cubicBezTo>
                          <a:pt x="47" y="24"/>
                          <a:pt x="48" y="16"/>
                          <a:pt x="47" y="7"/>
                        </a:cubicBezTo>
                        <a:cubicBezTo>
                          <a:pt x="40" y="9"/>
                          <a:pt x="38" y="4"/>
                          <a:pt x="35" y="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1" name="Freeform 88"/>
                  <p:cNvSpPr>
                    <a:spLocks/>
                  </p:cNvSpPr>
                  <p:nvPr/>
                </p:nvSpPr>
                <p:spPr bwMode="gray">
                  <a:xfrm>
                    <a:off x="614363" y="265113"/>
                    <a:ext cx="280988" cy="330200"/>
                  </a:xfrm>
                  <a:custGeom>
                    <a:avLst/>
                    <a:gdLst/>
                    <a:ahLst/>
                    <a:cxnLst>
                      <a:cxn ang="0">
                        <a:pos x="62" y="4"/>
                      </a:cxn>
                      <a:cxn ang="0">
                        <a:pos x="41" y="5"/>
                      </a:cxn>
                      <a:cxn ang="0">
                        <a:pos x="53" y="88"/>
                      </a:cxn>
                      <a:cxn ang="0">
                        <a:pos x="50" y="38"/>
                      </a:cxn>
                      <a:cxn ang="0">
                        <a:pos x="58" y="0"/>
                      </a:cxn>
                    </a:cxnLst>
                    <a:rect l="0" t="0" r="r" b="b"/>
                    <a:pathLst>
                      <a:path w="75" h="88">
                        <a:moveTo>
                          <a:pt x="62" y="4"/>
                        </a:moveTo>
                        <a:cubicBezTo>
                          <a:pt x="56" y="3"/>
                          <a:pt x="48" y="4"/>
                          <a:pt x="41" y="5"/>
                        </a:cubicBezTo>
                        <a:cubicBezTo>
                          <a:pt x="46" y="28"/>
                          <a:pt x="0" y="86"/>
                          <a:pt x="53" y="88"/>
                        </a:cubicBezTo>
                        <a:cubicBezTo>
                          <a:pt x="56" y="71"/>
                          <a:pt x="53" y="53"/>
                          <a:pt x="50" y="38"/>
                        </a:cubicBezTo>
                        <a:cubicBezTo>
                          <a:pt x="72" y="33"/>
                          <a:pt x="75" y="13"/>
                          <a:pt x="5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2" name="Freeform 89"/>
                  <p:cNvSpPr>
                    <a:spLocks/>
                  </p:cNvSpPr>
                  <p:nvPr/>
                </p:nvSpPr>
                <p:spPr bwMode="gray">
                  <a:xfrm>
                    <a:off x="-2847975" y="-150812"/>
                    <a:ext cx="1328738" cy="963613"/>
                  </a:xfrm>
                  <a:custGeom>
                    <a:avLst/>
                    <a:gdLst/>
                    <a:ahLst/>
                    <a:cxnLst>
                      <a:cxn ang="0">
                        <a:pos x="39" y="233"/>
                      </a:cxn>
                      <a:cxn ang="0">
                        <a:pos x="179" y="201"/>
                      </a:cxn>
                      <a:cxn ang="0">
                        <a:pos x="271" y="132"/>
                      </a:cxn>
                      <a:cxn ang="0">
                        <a:pos x="259" y="131"/>
                      </a:cxn>
                      <a:cxn ang="0">
                        <a:pos x="329" y="23"/>
                      </a:cxn>
                      <a:cxn ang="0">
                        <a:pos x="230" y="112"/>
                      </a:cxn>
                      <a:cxn ang="0">
                        <a:pos x="98" y="195"/>
                      </a:cxn>
                      <a:cxn ang="0">
                        <a:pos x="27" y="217"/>
                      </a:cxn>
                      <a:cxn ang="0">
                        <a:pos x="52" y="242"/>
                      </a:cxn>
                    </a:cxnLst>
                    <a:rect l="0" t="0" r="r" b="b"/>
                    <a:pathLst>
                      <a:path w="354" h="257">
                        <a:moveTo>
                          <a:pt x="39" y="233"/>
                        </a:moveTo>
                        <a:cubicBezTo>
                          <a:pt x="93" y="233"/>
                          <a:pt x="133" y="229"/>
                          <a:pt x="179" y="201"/>
                        </a:cubicBezTo>
                        <a:cubicBezTo>
                          <a:pt x="210" y="182"/>
                          <a:pt x="274" y="175"/>
                          <a:pt x="271" y="132"/>
                        </a:cubicBezTo>
                        <a:cubicBezTo>
                          <a:pt x="267" y="131"/>
                          <a:pt x="263" y="132"/>
                          <a:pt x="259" y="131"/>
                        </a:cubicBezTo>
                        <a:cubicBezTo>
                          <a:pt x="257" y="108"/>
                          <a:pt x="354" y="52"/>
                          <a:pt x="329" y="23"/>
                        </a:cubicBezTo>
                        <a:cubicBezTo>
                          <a:pt x="310" y="0"/>
                          <a:pt x="240" y="96"/>
                          <a:pt x="230" y="112"/>
                        </a:cubicBezTo>
                        <a:cubicBezTo>
                          <a:pt x="199" y="158"/>
                          <a:pt x="149" y="179"/>
                          <a:pt x="98" y="195"/>
                        </a:cubicBezTo>
                        <a:cubicBezTo>
                          <a:pt x="80" y="201"/>
                          <a:pt x="40" y="205"/>
                          <a:pt x="27" y="217"/>
                        </a:cubicBezTo>
                        <a:cubicBezTo>
                          <a:pt x="0" y="241"/>
                          <a:pt x="21" y="257"/>
                          <a:pt x="52" y="2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3" name="Freeform 90"/>
                  <p:cNvSpPr>
                    <a:spLocks/>
                  </p:cNvSpPr>
                  <p:nvPr/>
                </p:nvSpPr>
                <p:spPr bwMode="gray">
                  <a:xfrm>
                    <a:off x="-3046413" y="-11569700"/>
                    <a:ext cx="4418013" cy="12044363"/>
                  </a:xfrm>
                  <a:custGeom>
                    <a:avLst/>
                    <a:gdLst/>
                    <a:ahLst/>
                    <a:cxnLst>
                      <a:cxn ang="0">
                        <a:pos x="55" y="151"/>
                      </a:cxn>
                      <a:cxn ang="0">
                        <a:pos x="78" y="281"/>
                      </a:cxn>
                      <a:cxn ang="0">
                        <a:pos x="37" y="382"/>
                      </a:cxn>
                      <a:cxn ang="0">
                        <a:pos x="33" y="686"/>
                      </a:cxn>
                      <a:cxn ang="0">
                        <a:pos x="72" y="1082"/>
                      </a:cxn>
                      <a:cxn ang="0">
                        <a:pos x="100" y="1473"/>
                      </a:cxn>
                      <a:cxn ang="0">
                        <a:pos x="203" y="2087"/>
                      </a:cxn>
                      <a:cxn ang="0">
                        <a:pos x="268" y="2377"/>
                      </a:cxn>
                      <a:cxn ang="0">
                        <a:pos x="331" y="2676"/>
                      </a:cxn>
                      <a:cxn ang="0">
                        <a:pos x="331" y="2712"/>
                      </a:cxn>
                      <a:cxn ang="0">
                        <a:pos x="360" y="2865"/>
                      </a:cxn>
                      <a:cxn ang="0">
                        <a:pos x="398" y="3028"/>
                      </a:cxn>
                      <a:cxn ang="0">
                        <a:pos x="465" y="3046"/>
                      </a:cxn>
                      <a:cxn ang="0">
                        <a:pos x="551" y="3097"/>
                      </a:cxn>
                      <a:cxn ang="0">
                        <a:pos x="746" y="3164"/>
                      </a:cxn>
                      <a:cxn ang="0">
                        <a:pos x="765" y="2895"/>
                      </a:cxn>
                      <a:cxn ang="0">
                        <a:pos x="699" y="2595"/>
                      </a:cxn>
                      <a:cxn ang="0">
                        <a:pos x="664" y="2318"/>
                      </a:cxn>
                      <a:cxn ang="0">
                        <a:pos x="668" y="2009"/>
                      </a:cxn>
                      <a:cxn ang="0">
                        <a:pos x="635" y="1824"/>
                      </a:cxn>
                      <a:cxn ang="0">
                        <a:pos x="658" y="1638"/>
                      </a:cxn>
                      <a:cxn ang="0">
                        <a:pos x="613" y="1458"/>
                      </a:cxn>
                      <a:cxn ang="0">
                        <a:pos x="614" y="1261"/>
                      </a:cxn>
                      <a:cxn ang="0">
                        <a:pos x="681" y="1356"/>
                      </a:cxn>
                      <a:cxn ang="0">
                        <a:pos x="699" y="1501"/>
                      </a:cxn>
                      <a:cxn ang="0">
                        <a:pos x="742" y="1767"/>
                      </a:cxn>
                      <a:cxn ang="0">
                        <a:pos x="709" y="2110"/>
                      </a:cxn>
                      <a:cxn ang="0">
                        <a:pos x="720" y="2437"/>
                      </a:cxn>
                      <a:cxn ang="0">
                        <a:pos x="708" y="2657"/>
                      </a:cxn>
                      <a:cxn ang="0">
                        <a:pos x="681" y="2858"/>
                      </a:cxn>
                      <a:cxn ang="0">
                        <a:pos x="761" y="3062"/>
                      </a:cxn>
                      <a:cxn ang="0">
                        <a:pos x="888" y="3206"/>
                      </a:cxn>
                      <a:cxn ang="0">
                        <a:pos x="1108" y="3109"/>
                      </a:cxn>
                      <a:cxn ang="0">
                        <a:pos x="1125" y="2843"/>
                      </a:cxn>
                      <a:cxn ang="0">
                        <a:pos x="1125" y="2765"/>
                      </a:cxn>
                      <a:cxn ang="0">
                        <a:pos x="1108" y="2702"/>
                      </a:cxn>
                      <a:cxn ang="0">
                        <a:pos x="1148" y="2578"/>
                      </a:cxn>
                      <a:cxn ang="0">
                        <a:pos x="1148" y="2229"/>
                      </a:cxn>
                      <a:cxn ang="0">
                        <a:pos x="1153" y="2071"/>
                      </a:cxn>
                      <a:cxn ang="0">
                        <a:pos x="1125" y="1914"/>
                      </a:cxn>
                      <a:cxn ang="0">
                        <a:pos x="1148" y="1587"/>
                      </a:cxn>
                      <a:cxn ang="0">
                        <a:pos x="1142" y="1282"/>
                      </a:cxn>
                      <a:cxn ang="0">
                        <a:pos x="1153" y="1092"/>
                      </a:cxn>
                      <a:cxn ang="0">
                        <a:pos x="1125" y="911"/>
                      </a:cxn>
                      <a:cxn ang="0">
                        <a:pos x="1107" y="541"/>
                      </a:cxn>
                      <a:cxn ang="0">
                        <a:pos x="1024" y="168"/>
                      </a:cxn>
                      <a:cxn ang="0">
                        <a:pos x="731" y="17"/>
                      </a:cxn>
                      <a:cxn ang="0">
                        <a:pos x="152" y="79"/>
                      </a:cxn>
                      <a:cxn ang="0">
                        <a:pos x="72" y="151"/>
                      </a:cxn>
                    </a:cxnLst>
                    <a:rect l="0" t="0" r="r" b="b"/>
                    <a:pathLst>
                      <a:path w="1178" h="3212">
                        <a:moveTo>
                          <a:pt x="55" y="151"/>
                        </a:moveTo>
                        <a:cubicBezTo>
                          <a:pt x="49" y="196"/>
                          <a:pt x="81" y="231"/>
                          <a:pt x="78" y="281"/>
                        </a:cubicBezTo>
                        <a:cubicBezTo>
                          <a:pt x="75" y="326"/>
                          <a:pt x="52" y="346"/>
                          <a:pt x="37" y="382"/>
                        </a:cubicBezTo>
                        <a:cubicBezTo>
                          <a:pt x="0" y="468"/>
                          <a:pt x="24" y="594"/>
                          <a:pt x="33" y="686"/>
                        </a:cubicBezTo>
                        <a:cubicBezTo>
                          <a:pt x="45" y="819"/>
                          <a:pt x="58" y="950"/>
                          <a:pt x="72" y="1082"/>
                        </a:cubicBezTo>
                        <a:cubicBezTo>
                          <a:pt x="86" y="1213"/>
                          <a:pt x="107" y="1338"/>
                          <a:pt x="100" y="1473"/>
                        </a:cubicBezTo>
                        <a:cubicBezTo>
                          <a:pt x="90" y="1687"/>
                          <a:pt x="167" y="1885"/>
                          <a:pt x="203" y="2087"/>
                        </a:cubicBezTo>
                        <a:cubicBezTo>
                          <a:pt x="221" y="2184"/>
                          <a:pt x="253" y="2275"/>
                          <a:pt x="268" y="2377"/>
                        </a:cubicBezTo>
                        <a:cubicBezTo>
                          <a:pt x="282" y="2471"/>
                          <a:pt x="342" y="2574"/>
                          <a:pt x="331" y="2676"/>
                        </a:cubicBezTo>
                        <a:cubicBezTo>
                          <a:pt x="330" y="2688"/>
                          <a:pt x="331" y="2700"/>
                          <a:pt x="331" y="2712"/>
                        </a:cubicBezTo>
                        <a:cubicBezTo>
                          <a:pt x="268" y="2741"/>
                          <a:pt x="351" y="2832"/>
                          <a:pt x="360" y="2865"/>
                        </a:cubicBezTo>
                        <a:cubicBezTo>
                          <a:pt x="375" y="2925"/>
                          <a:pt x="339" y="2982"/>
                          <a:pt x="398" y="3028"/>
                        </a:cubicBezTo>
                        <a:cubicBezTo>
                          <a:pt x="420" y="3045"/>
                          <a:pt x="440" y="3037"/>
                          <a:pt x="465" y="3046"/>
                        </a:cubicBezTo>
                        <a:cubicBezTo>
                          <a:pt x="487" y="3054"/>
                          <a:pt x="527" y="3085"/>
                          <a:pt x="551" y="3097"/>
                        </a:cubicBezTo>
                        <a:cubicBezTo>
                          <a:pt x="609" y="3126"/>
                          <a:pt x="681" y="3156"/>
                          <a:pt x="746" y="3164"/>
                        </a:cubicBezTo>
                        <a:cubicBezTo>
                          <a:pt x="725" y="3072"/>
                          <a:pt x="773" y="2987"/>
                          <a:pt x="765" y="2895"/>
                        </a:cubicBezTo>
                        <a:cubicBezTo>
                          <a:pt x="757" y="2795"/>
                          <a:pt x="726" y="2690"/>
                          <a:pt x="699" y="2595"/>
                        </a:cubicBezTo>
                        <a:cubicBezTo>
                          <a:pt x="673" y="2503"/>
                          <a:pt x="654" y="2417"/>
                          <a:pt x="664" y="2318"/>
                        </a:cubicBezTo>
                        <a:cubicBezTo>
                          <a:pt x="673" y="2225"/>
                          <a:pt x="695" y="2102"/>
                          <a:pt x="668" y="2009"/>
                        </a:cubicBezTo>
                        <a:cubicBezTo>
                          <a:pt x="650" y="1949"/>
                          <a:pt x="625" y="1893"/>
                          <a:pt x="635" y="1824"/>
                        </a:cubicBezTo>
                        <a:cubicBezTo>
                          <a:pt x="646" y="1757"/>
                          <a:pt x="672" y="1710"/>
                          <a:pt x="658" y="1638"/>
                        </a:cubicBezTo>
                        <a:cubicBezTo>
                          <a:pt x="645" y="1572"/>
                          <a:pt x="613" y="1532"/>
                          <a:pt x="613" y="1458"/>
                        </a:cubicBezTo>
                        <a:cubicBezTo>
                          <a:pt x="613" y="1392"/>
                          <a:pt x="610" y="1326"/>
                          <a:pt x="614" y="1261"/>
                        </a:cubicBezTo>
                        <a:cubicBezTo>
                          <a:pt x="645" y="1296"/>
                          <a:pt x="669" y="1309"/>
                          <a:pt x="681" y="1356"/>
                        </a:cubicBezTo>
                        <a:cubicBezTo>
                          <a:pt x="693" y="1402"/>
                          <a:pt x="692" y="1455"/>
                          <a:pt x="699" y="1501"/>
                        </a:cubicBezTo>
                        <a:cubicBezTo>
                          <a:pt x="712" y="1593"/>
                          <a:pt x="742" y="1668"/>
                          <a:pt x="742" y="1767"/>
                        </a:cubicBezTo>
                        <a:cubicBezTo>
                          <a:pt x="742" y="1887"/>
                          <a:pt x="727" y="1996"/>
                          <a:pt x="709" y="2110"/>
                        </a:cubicBezTo>
                        <a:cubicBezTo>
                          <a:pt x="692" y="2218"/>
                          <a:pt x="720" y="2327"/>
                          <a:pt x="720" y="2437"/>
                        </a:cubicBezTo>
                        <a:cubicBezTo>
                          <a:pt x="720" y="2509"/>
                          <a:pt x="719" y="2585"/>
                          <a:pt x="708" y="2657"/>
                        </a:cubicBezTo>
                        <a:cubicBezTo>
                          <a:pt x="698" y="2726"/>
                          <a:pt x="676" y="2784"/>
                          <a:pt x="681" y="2858"/>
                        </a:cubicBezTo>
                        <a:cubicBezTo>
                          <a:pt x="685" y="2936"/>
                          <a:pt x="733" y="2993"/>
                          <a:pt x="761" y="3062"/>
                        </a:cubicBezTo>
                        <a:cubicBezTo>
                          <a:pt x="779" y="3106"/>
                          <a:pt x="832" y="3212"/>
                          <a:pt x="888" y="3206"/>
                        </a:cubicBezTo>
                        <a:cubicBezTo>
                          <a:pt x="920" y="3108"/>
                          <a:pt x="1051" y="3169"/>
                          <a:pt x="1108" y="3109"/>
                        </a:cubicBezTo>
                        <a:cubicBezTo>
                          <a:pt x="1178" y="3035"/>
                          <a:pt x="1133" y="2934"/>
                          <a:pt x="1125" y="2843"/>
                        </a:cubicBezTo>
                        <a:cubicBezTo>
                          <a:pt x="1123" y="2817"/>
                          <a:pt x="1129" y="2790"/>
                          <a:pt x="1125" y="2765"/>
                        </a:cubicBezTo>
                        <a:cubicBezTo>
                          <a:pt x="1122" y="2744"/>
                          <a:pt x="1107" y="2723"/>
                          <a:pt x="1108" y="2702"/>
                        </a:cubicBezTo>
                        <a:cubicBezTo>
                          <a:pt x="1111" y="2665"/>
                          <a:pt x="1139" y="2616"/>
                          <a:pt x="1148" y="2578"/>
                        </a:cubicBezTo>
                        <a:cubicBezTo>
                          <a:pt x="1175" y="2463"/>
                          <a:pt x="1153" y="2350"/>
                          <a:pt x="1148" y="2229"/>
                        </a:cubicBezTo>
                        <a:cubicBezTo>
                          <a:pt x="1145" y="2175"/>
                          <a:pt x="1151" y="2124"/>
                          <a:pt x="1153" y="2071"/>
                        </a:cubicBezTo>
                        <a:cubicBezTo>
                          <a:pt x="1156" y="2014"/>
                          <a:pt x="1131" y="1968"/>
                          <a:pt x="1125" y="1914"/>
                        </a:cubicBezTo>
                        <a:cubicBezTo>
                          <a:pt x="1112" y="1802"/>
                          <a:pt x="1143" y="1694"/>
                          <a:pt x="1148" y="1587"/>
                        </a:cubicBezTo>
                        <a:cubicBezTo>
                          <a:pt x="1153" y="1484"/>
                          <a:pt x="1137" y="1386"/>
                          <a:pt x="1142" y="1282"/>
                        </a:cubicBezTo>
                        <a:cubicBezTo>
                          <a:pt x="1145" y="1218"/>
                          <a:pt x="1154" y="1157"/>
                          <a:pt x="1153" y="1092"/>
                        </a:cubicBezTo>
                        <a:cubicBezTo>
                          <a:pt x="1153" y="1028"/>
                          <a:pt x="1131" y="969"/>
                          <a:pt x="1125" y="911"/>
                        </a:cubicBezTo>
                        <a:cubicBezTo>
                          <a:pt x="1114" y="786"/>
                          <a:pt x="1151" y="664"/>
                          <a:pt x="1107" y="541"/>
                        </a:cubicBezTo>
                        <a:cubicBezTo>
                          <a:pt x="1063" y="418"/>
                          <a:pt x="1051" y="297"/>
                          <a:pt x="1024" y="168"/>
                        </a:cubicBezTo>
                        <a:cubicBezTo>
                          <a:pt x="1000" y="52"/>
                          <a:pt x="839" y="26"/>
                          <a:pt x="731" y="17"/>
                        </a:cubicBezTo>
                        <a:cubicBezTo>
                          <a:pt x="534" y="0"/>
                          <a:pt x="335" y="29"/>
                          <a:pt x="152" y="79"/>
                        </a:cubicBezTo>
                        <a:cubicBezTo>
                          <a:pt x="146" y="114"/>
                          <a:pt x="107" y="143"/>
                          <a:pt x="72" y="15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4" name="Freeform 91"/>
                  <p:cNvSpPr>
                    <a:spLocks/>
                  </p:cNvSpPr>
                  <p:nvPr/>
                </p:nvSpPr>
                <p:spPr bwMode="gray">
                  <a:xfrm>
                    <a:off x="-2055813" y="-18129250"/>
                    <a:ext cx="1924050" cy="2647950"/>
                  </a:xfrm>
                  <a:custGeom>
                    <a:avLst/>
                    <a:gdLst/>
                    <a:ahLst/>
                    <a:cxnLst>
                      <a:cxn ang="0">
                        <a:pos x="122" y="205"/>
                      </a:cxn>
                      <a:cxn ang="0">
                        <a:pos x="141" y="437"/>
                      </a:cxn>
                      <a:cxn ang="0">
                        <a:pos x="214" y="683"/>
                      </a:cxn>
                      <a:cxn ang="0">
                        <a:pos x="488" y="510"/>
                      </a:cxn>
                      <a:cxn ang="0">
                        <a:pos x="407" y="124"/>
                      </a:cxn>
                      <a:cxn ang="0">
                        <a:pos x="143" y="184"/>
                      </a:cxn>
                    </a:cxnLst>
                    <a:rect l="0" t="0" r="r" b="b"/>
                    <a:pathLst>
                      <a:path w="513" h="706">
                        <a:moveTo>
                          <a:pt x="122" y="205"/>
                        </a:moveTo>
                        <a:cubicBezTo>
                          <a:pt x="137" y="280"/>
                          <a:pt x="146" y="354"/>
                          <a:pt x="141" y="437"/>
                        </a:cubicBezTo>
                        <a:cubicBezTo>
                          <a:pt x="0" y="522"/>
                          <a:pt x="74" y="660"/>
                          <a:pt x="214" y="683"/>
                        </a:cubicBezTo>
                        <a:cubicBezTo>
                          <a:pt x="351" y="706"/>
                          <a:pt x="455" y="646"/>
                          <a:pt x="488" y="510"/>
                        </a:cubicBezTo>
                        <a:cubicBezTo>
                          <a:pt x="513" y="407"/>
                          <a:pt x="455" y="214"/>
                          <a:pt x="407" y="124"/>
                        </a:cubicBezTo>
                        <a:cubicBezTo>
                          <a:pt x="342" y="0"/>
                          <a:pt x="146" y="43"/>
                          <a:pt x="143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5" name="Freeform 92"/>
                  <p:cNvSpPr>
                    <a:spLocks/>
                  </p:cNvSpPr>
                  <p:nvPr/>
                </p:nvSpPr>
                <p:spPr bwMode="gray">
                  <a:xfrm>
                    <a:off x="-409575" y="-17097375"/>
                    <a:ext cx="157163" cy="258763"/>
                  </a:xfrm>
                  <a:custGeom>
                    <a:avLst/>
                    <a:gdLst/>
                    <a:ahLst/>
                    <a:cxnLst>
                      <a:cxn ang="0">
                        <a:pos x="20" y="45"/>
                      </a:cxn>
                      <a:cxn ang="0">
                        <a:pos x="42" y="69"/>
                      </a:cxn>
                      <a:cxn ang="0">
                        <a:pos x="37" y="42"/>
                      </a:cxn>
                      <a:cxn ang="0">
                        <a:pos x="26" y="12"/>
                      </a:cxn>
                      <a:cxn ang="0">
                        <a:pos x="14" y="4"/>
                      </a:cxn>
                      <a:cxn ang="0">
                        <a:pos x="5" y="17"/>
                      </a:cxn>
                      <a:cxn ang="0">
                        <a:pos x="18" y="45"/>
                      </a:cxn>
                    </a:cxnLst>
                    <a:rect l="0" t="0" r="r" b="b"/>
                    <a:pathLst>
                      <a:path w="42" h="69">
                        <a:moveTo>
                          <a:pt x="20" y="45"/>
                        </a:moveTo>
                        <a:cubicBezTo>
                          <a:pt x="26" y="51"/>
                          <a:pt x="34" y="66"/>
                          <a:pt x="42" y="69"/>
                        </a:cubicBezTo>
                        <a:cubicBezTo>
                          <a:pt x="42" y="59"/>
                          <a:pt x="39" y="51"/>
                          <a:pt x="37" y="42"/>
                        </a:cubicBezTo>
                        <a:cubicBezTo>
                          <a:pt x="34" y="29"/>
                          <a:pt x="30" y="22"/>
                          <a:pt x="26" y="12"/>
                        </a:cubicBezTo>
                        <a:cubicBezTo>
                          <a:pt x="22" y="5"/>
                          <a:pt x="22" y="0"/>
                          <a:pt x="14" y="4"/>
                        </a:cubicBezTo>
                        <a:cubicBezTo>
                          <a:pt x="11" y="5"/>
                          <a:pt x="6" y="14"/>
                          <a:pt x="5" y="17"/>
                        </a:cubicBezTo>
                        <a:cubicBezTo>
                          <a:pt x="0" y="32"/>
                          <a:pt x="16" y="37"/>
                          <a:pt x="18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6" name="Freeform 93"/>
                  <p:cNvSpPr>
                    <a:spLocks/>
                  </p:cNvSpPr>
                  <p:nvPr/>
                </p:nvSpPr>
                <p:spPr bwMode="gray">
                  <a:xfrm>
                    <a:off x="-1587500" y="-17067212"/>
                    <a:ext cx="1296988" cy="76835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3" y="45"/>
                      </a:cxn>
                      <a:cxn ang="0">
                        <a:pos x="45" y="97"/>
                      </a:cxn>
                      <a:cxn ang="0">
                        <a:pos x="125" y="177"/>
                      </a:cxn>
                      <a:cxn ang="0">
                        <a:pos x="246" y="190"/>
                      </a:cxn>
                      <a:cxn ang="0">
                        <a:pos x="346" y="14"/>
                      </a:cxn>
                    </a:cxnLst>
                    <a:rect l="0" t="0" r="r" b="b"/>
                    <a:pathLst>
                      <a:path w="346" h="205">
                        <a:moveTo>
                          <a:pt x="0" y="0"/>
                        </a:moveTo>
                        <a:cubicBezTo>
                          <a:pt x="7" y="19"/>
                          <a:pt x="13" y="29"/>
                          <a:pt x="23" y="45"/>
                        </a:cubicBezTo>
                        <a:cubicBezTo>
                          <a:pt x="33" y="62"/>
                          <a:pt x="33" y="82"/>
                          <a:pt x="45" y="97"/>
                        </a:cubicBezTo>
                        <a:cubicBezTo>
                          <a:pt x="70" y="127"/>
                          <a:pt x="87" y="157"/>
                          <a:pt x="125" y="177"/>
                        </a:cubicBezTo>
                        <a:cubicBezTo>
                          <a:pt x="150" y="191"/>
                          <a:pt x="216" y="205"/>
                          <a:pt x="246" y="190"/>
                        </a:cubicBezTo>
                        <a:cubicBezTo>
                          <a:pt x="303" y="163"/>
                          <a:pt x="346" y="38"/>
                          <a:pt x="346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7" name="Freeform 94"/>
                  <p:cNvSpPr>
                    <a:spLocks/>
                  </p:cNvSpPr>
                  <p:nvPr/>
                </p:nvSpPr>
                <p:spPr bwMode="gray">
                  <a:xfrm>
                    <a:off x="-2055813" y="-19629437"/>
                    <a:ext cx="2047875" cy="3203575"/>
                  </a:xfrm>
                  <a:custGeom>
                    <a:avLst/>
                    <a:gdLst/>
                    <a:ahLst/>
                    <a:cxnLst>
                      <a:cxn ang="0">
                        <a:pos x="48" y="367"/>
                      </a:cxn>
                      <a:cxn ang="0">
                        <a:pos x="1" y="422"/>
                      </a:cxn>
                      <a:cxn ang="0">
                        <a:pos x="43" y="495"/>
                      </a:cxn>
                      <a:cxn ang="0">
                        <a:pos x="63" y="525"/>
                      </a:cxn>
                      <a:cxn ang="0">
                        <a:pos x="76" y="578"/>
                      </a:cxn>
                      <a:cxn ang="0">
                        <a:pos x="132" y="702"/>
                      </a:cxn>
                      <a:cxn ang="0">
                        <a:pos x="171" y="746"/>
                      </a:cxn>
                      <a:cxn ang="0">
                        <a:pos x="251" y="827"/>
                      </a:cxn>
                      <a:cxn ang="0">
                        <a:pos x="372" y="840"/>
                      </a:cxn>
                      <a:cxn ang="0">
                        <a:pos x="473" y="692"/>
                      </a:cxn>
                      <a:cxn ang="0">
                        <a:pos x="511" y="599"/>
                      </a:cxn>
                      <a:cxn ang="0">
                        <a:pos x="529" y="410"/>
                      </a:cxn>
                      <a:cxn ang="0">
                        <a:pos x="372" y="60"/>
                      </a:cxn>
                      <a:cxn ang="0">
                        <a:pos x="112" y="89"/>
                      </a:cxn>
                      <a:cxn ang="0">
                        <a:pos x="40" y="216"/>
                      </a:cxn>
                      <a:cxn ang="0">
                        <a:pos x="48" y="367"/>
                      </a:cxn>
                    </a:cxnLst>
                    <a:rect l="0" t="0" r="r" b="b"/>
                    <a:pathLst>
                      <a:path w="546" h="854">
                        <a:moveTo>
                          <a:pt x="48" y="367"/>
                        </a:moveTo>
                        <a:cubicBezTo>
                          <a:pt x="6" y="358"/>
                          <a:pt x="2" y="391"/>
                          <a:pt x="1" y="422"/>
                        </a:cubicBezTo>
                        <a:cubicBezTo>
                          <a:pt x="0" y="467"/>
                          <a:pt x="17" y="469"/>
                          <a:pt x="43" y="495"/>
                        </a:cubicBezTo>
                        <a:cubicBezTo>
                          <a:pt x="51" y="503"/>
                          <a:pt x="54" y="517"/>
                          <a:pt x="63" y="525"/>
                        </a:cubicBezTo>
                        <a:cubicBezTo>
                          <a:pt x="75" y="534"/>
                          <a:pt x="67" y="564"/>
                          <a:pt x="76" y="578"/>
                        </a:cubicBezTo>
                        <a:cubicBezTo>
                          <a:pt x="92" y="600"/>
                          <a:pt x="122" y="686"/>
                          <a:pt x="132" y="702"/>
                        </a:cubicBezTo>
                        <a:cubicBezTo>
                          <a:pt x="142" y="719"/>
                          <a:pt x="159" y="731"/>
                          <a:pt x="171" y="746"/>
                        </a:cubicBezTo>
                        <a:cubicBezTo>
                          <a:pt x="196" y="777"/>
                          <a:pt x="213" y="806"/>
                          <a:pt x="251" y="827"/>
                        </a:cubicBezTo>
                        <a:cubicBezTo>
                          <a:pt x="277" y="840"/>
                          <a:pt x="342" y="854"/>
                          <a:pt x="372" y="840"/>
                        </a:cubicBezTo>
                        <a:cubicBezTo>
                          <a:pt x="400" y="826"/>
                          <a:pt x="464" y="716"/>
                          <a:pt x="473" y="692"/>
                        </a:cubicBezTo>
                        <a:cubicBezTo>
                          <a:pt x="485" y="660"/>
                          <a:pt x="498" y="628"/>
                          <a:pt x="511" y="599"/>
                        </a:cubicBezTo>
                        <a:cubicBezTo>
                          <a:pt x="537" y="542"/>
                          <a:pt x="521" y="470"/>
                          <a:pt x="529" y="410"/>
                        </a:cubicBezTo>
                        <a:cubicBezTo>
                          <a:pt x="546" y="285"/>
                          <a:pt x="466" y="132"/>
                          <a:pt x="372" y="60"/>
                        </a:cubicBezTo>
                        <a:cubicBezTo>
                          <a:pt x="294" y="0"/>
                          <a:pt x="170" y="12"/>
                          <a:pt x="112" y="89"/>
                        </a:cubicBezTo>
                        <a:cubicBezTo>
                          <a:pt x="88" y="120"/>
                          <a:pt x="55" y="179"/>
                          <a:pt x="40" y="216"/>
                        </a:cubicBezTo>
                        <a:cubicBezTo>
                          <a:pt x="28" y="248"/>
                          <a:pt x="1" y="298"/>
                          <a:pt x="48" y="3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8" name="Freeform 95"/>
                  <p:cNvSpPr>
                    <a:spLocks/>
                  </p:cNvSpPr>
                  <p:nvPr/>
                </p:nvSpPr>
                <p:spPr bwMode="gray">
                  <a:xfrm>
                    <a:off x="-3870325" y="-16865596"/>
                    <a:ext cx="5691179" cy="6361109"/>
                  </a:xfrm>
                  <a:custGeom>
                    <a:avLst/>
                    <a:gdLst/>
                    <a:ahLst/>
                    <a:cxnLst>
                      <a:cxn ang="0">
                        <a:pos x="568" y="110"/>
                      </a:cxn>
                      <a:cxn ang="0">
                        <a:pos x="365" y="239"/>
                      </a:cxn>
                      <a:cxn ang="0">
                        <a:pos x="185" y="357"/>
                      </a:cxn>
                      <a:cxn ang="0">
                        <a:pos x="67" y="567"/>
                      </a:cxn>
                      <a:cxn ang="0">
                        <a:pos x="74" y="680"/>
                      </a:cxn>
                      <a:cxn ang="0">
                        <a:pos x="62" y="820"/>
                      </a:cxn>
                      <a:cxn ang="0">
                        <a:pos x="5" y="1011"/>
                      </a:cxn>
                      <a:cxn ang="0">
                        <a:pos x="16" y="1237"/>
                      </a:cxn>
                      <a:cxn ang="0">
                        <a:pos x="101" y="1406"/>
                      </a:cxn>
                      <a:cxn ang="0">
                        <a:pos x="264" y="1417"/>
                      </a:cxn>
                      <a:cxn ang="0">
                        <a:pos x="276" y="1591"/>
                      </a:cxn>
                      <a:cxn ang="0">
                        <a:pos x="731" y="1681"/>
                      </a:cxn>
                      <a:cxn ang="0">
                        <a:pos x="968" y="1655"/>
                      </a:cxn>
                      <a:cxn ang="0">
                        <a:pos x="1154" y="1631"/>
                      </a:cxn>
                      <a:cxn ang="0">
                        <a:pos x="1283" y="1569"/>
                      </a:cxn>
                      <a:cxn ang="0">
                        <a:pos x="1447" y="1147"/>
                      </a:cxn>
                      <a:cxn ang="0">
                        <a:pos x="1509" y="617"/>
                      </a:cxn>
                      <a:cxn ang="0">
                        <a:pos x="1492" y="398"/>
                      </a:cxn>
                      <a:cxn ang="0">
                        <a:pos x="1417" y="202"/>
                      </a:cxn>
                      <a:cxn ang="0">
                        <a:pos x="1014" y="53"/>
                      </a:cxn>
                      <a:cxn ang="0">
                        <a:pos x="745" y="222"/>
                      </a:cxn>
                      <a:cxn ang="0">
                        <a:pos x="608" y="70"/>
                      </a:cxn>
                      <a:cxn ang="0">
                        <a:pos x="535" y="133"/>
                      </a:cxn>
                    </a:cxnLst>
                    <a:rect l="0" t="0" r="r" b="b"/>
                    <a:pathLst>
                      <a:path w="1518" h="1696">
                        <a:moveTo>
                          <a:pt x="568" y="110"/>
                        </a:moveTo>
                        <a:cubicBezTo>
                          <a:pt x="491" y="130"/>
                          <a:pt x="436" y="199"/>
                          <a:pt x="365" y="239"/>
                        </a:cubicBezTo>
                        <a:cubicBezTo>
                          <a:pt x="303" y="273"/>
                          <a:pt x="246" y="311"/>
                          <a:pt x="185" y="357"/>
                        </a:cubicBezTo>
                        <a:cubicBezTo>
                          <a:pt x="127" y="401"/>
                          <a:pt x="49" y="492"/>
                          <a:pt x="67" y="567"/>
                        </a:cubicBezTo>
                        <a:cubicBezTo>
                          <a:pt x="79" y="619"/>
                          <a:pt x="85" y="626"/>
                          <a:pt x="74" y="680"/>
                        </a:cubicBezTo>
                        <a:cubicBezTo>
                          <a:pt x="65" y="726"/>
                          <a:pt x="69" y="773"/>
                          <a:pt x="62" y="820"/>
                        </a:cubicBezTo>
                        <a:cubicBezTo>
                          <a:pt x="52" y="884"/>
                          <a:pt x="11" y="945"/>
                          <a:pt x="5" y="1011"/>
                        </a:cubicBezTo>
                        <a:cubicBezTo>
                          <a:pt x="0" y="1079"/>
                          <a:pt x="9" y="1168"/>
                          <a:pt x="16" y="1237"/>
                        </a:cubicBezTo>
                        <a:cubicBezTo>
                          <a:pt x="22" y="1288"/>
                          <a:pt x="46" y="1388"/>
                          <a:pt x="101" y="1406"/>
                        </a:cubicBezTo>
                        <a:cubicBezTo>
                          <a:pt x="173" y="1429"/>
                          <a:pt x="202" y="1362"/>
                          <a:pt x="264" y="1417"/>
                        </a:cubicBezTo>
                        <a:cubicBezTo>
                          <a:pt x="255" y="1448"/>
                          <a:pt x="169" y="1479"/>
                          <a:pt x="276" y="1591"/>
                        </a:cubicBezTo>
                        <a:cubicBezTo>
                          <a:pt x="319" y="1637"/>
                          <a:pt x="670" y="1696"/>
                          <a:pt x="731" y="1681"/>
                        </a:cubicBezTo>
                        <a:cubicBezTo>
                          <a:pt x="804" y="1663"/>
                          <a:pt x="915" y="1665"/>
                          <a:pt x="968" y="1655"/>
                        </a:cubicBezTo>
                        <a:cubicBezTo>
                          <a:pt x="1014" y="1646"/>
                          <a:pt x="1154" y="1630"/>
                          <a:pt x="1154" y="1631"/>
                        </a:cubicBezTo>
                        <a:cubicBezTo>
                          <a:pt x="1151" y="1611"/>
                          <a:pt x="1278" y="1590"/>
                          <a:pt x="1283" y="1569"/>
                        </a:cubicBezTo>
                        <a:cubicBezTo>
                          <a:pt x="1362" y="1451"/>
                          <a:pt x="1355" y="1386"/>
                          <a:pt x="1447" y="1147"/>
                        </a:cubicBezTo>
                        <a:cubicBezTo>
                          <a:pt x="1509" y="985"/>
                          <a:pt x="1518" y="806"/>
                          <a:pt x="1509" y="617"/>
                        </a:cubicBezTo>
                        <a:cubicBezTo>
                          <a:pt x="1505" y="543"/>
                          <a:pt x="1492" y="476"/>
                          <a:pt x="1492" y="398"/>
                        </a:cubicBezTo>
                        <a:cubicBezTo>
                          <a:pt x="1492" y="311"/>
                          <a:pt x="1485" y="256"/>
                          <a:pt x="1417" y="202"/>
                        </a:cubicBezTo>
                        <a:cubicBezTo>
                          <a:pt x="1308" y="115"/>
                          <a:pt x="1156" y="67"/>
                          <a:pt x="1014" y="53"/>
                        </a:cubicBezTo>
                        <a:cubicBezTo>
                          <a:pt x="988" y="0"/>
                          <a:pt x="813" y="250"/>
                          <a:pt x="745" y="222"/>
                        </a:cubicBezTo>
                        <a:cubicBezTo>
                          <a:pt x="667" y="189"/>
                          <a:pt x="574" y="100"/>
                          <a:pt x="608" y="70"/>
                        </a:cubicBezTo>
                        <a:cubicBezTo>
                          <a:pt x="588" y="98"/>
                          <a:pt x="551" y="100"/>
                          <a:pt x="535" y="1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19" name="Freeform 96"/>
                  <p:cNvSpPr>
                    <a:spLocks/>
                  </p:cNvSpPr>
                  <p:nvPr/>
                </p:nvSpPr>
                <p:spPr bwMode="gray">
                  <a:xfrm>
                    <a:off x="-577850" y="-16665575"/>
                    <a:ext cx="1341438" cy="857250"/>
                  </a:xfrm>
                  <a:custGeom>
                    <a:avLst/>
                    <a:gdLst/>
                    <a:ahLst/>
                    <a:cxnLst>
                      <a:cxn ang="0">
                        <a:pos x="97" y="0"/>
                      </a:cxn>
                      <a:cxn ang="0">
                        <a:pos x="303" y="60"/>
                      </a:cxn>
                      <a:cxn ang="0">
                        <a:pos x="358" y="106"/>
                      </a:cxn>
                      <a:cxn ang="0">
                        <a:pos x="203" y="76"/>
                      </a:cxn>
                      <a:cxn ang="0">
                        <a:pos x="136" y="173"/>
                      </a:cxn>
                      <a:cxn ang="0">
                        <a:pos x="21" y="223"/>
                      </a:cxn>
                      <a:cxn ang="0">
                        <a:pos x="58" y="105"/>
                      </a:cxn>
                      <a:cxn ang="0">
                        <a:pos x="131" y="13"/>
                      </a:cxn>
                    </a:cxnLst>
                    <a:rect l="0" t="0" r="r" b="b"/>
                    <a:pathLst>
                      <a:path w="358" h="229">
                        <a:moveTo>
                          <a:pt x="97" y="0"/>
                        </a:moveTo>
                        <a:cubicBezTo>
                          <a:pt x="155" y="28"/>
                          <a:pt x="241" y="50"/>
                          <a:pt x="303" y="60"/>
                        </a:cubicBezTo>
                        <a:cubicBezTo>
                          <a:pt x="315" y="77"/>
                          <a:pt x="339" y="97"/>
                          <a:pt x="358" y="106"/>
                        </a:cubicBezTo>
                        <a:cubicBezTo>
                          <a:pt x="309" y="97"/>
                          <a:pt x="254" y="70"/>
                          <a:pt x="203" y="76"/>
                        </a:cubicBezTo>
                        <a:cubicBezTo>
                          <a:pt x="136" y="84"/>
                          <a:pt x="190" y="147"/>
                          <a:pt x="136" y="173"/>
                        </a:cubicBezTo>
                        <a:cubicBezTo>
                          <a:pt x="106" y="119"/>
                          <a:pt x="62" y="229"/>
                          <a:pt x="21" y="223"/>
                        </a:cubicBezTo>
                        <a:cubicBezTo>
                          <a:pt x="0" y="173"/>
                          <a:pt x="31" y="144"/>
                          <a:pt x="58" y="105"/>
                        </a:cubicBezTo>
                        <a:cubicBezTo>
                          <a:pt x="76" y="79"/>
                          <a:pt x="92" y="8"/>
                          <a:pt x="131" y="1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0" name="Freeform 97"/>
                  <p:cNvSpPr>
                    <a:spLocks/>
                  </p:cNvSpPr>
                  <p:nvPr/>
                </p:nvSpPr>
                <p:spPr bwMode="gray">
                  <a:xfrm>
                    <a:off x="-1238250" y="-13482637"/>
                    <a:ext cx="390525" cy="850900"/>
                  </a:xfrm>
                  <a:custGeom>
                    <a:avLst/>
                    <a:gdLst/>
                    <a:ahLst/>
                    <a:cxnLst>
                      <a:cxn ang="0">
                        <a:pos x="79" y="17"/>
                      </a:cxn>
                      <a:cxn ang="0">
                        <a:pos x="3" y="131"/>
                      </a:cxn>
                      <a:cxn ang="0">
                        <a:pos x="45" y="227"/>
                      </a:cxn>
                      <a:cxn ang="0">
                        <a:pos x="99" y="21"/>
                      </a:cxn>
                      <a:cxn ang="0">
                        <a:pos x="87" y="0"/>
                      </a:cxn>
                    </a:cxnLst>
                    <a:rect l="0" t="0" r="r" b="b"/>
                    <a:pathLst>
                      <a:path w="104" h="227">
                        <a:moveTo>
                          <a:pt x="79" y="17"/>
                        </a:moveTo>
                        <a:cubicBezTo>
                          <a:pt x="44" y="66"/>
                          <a:pt x="6" y="63"/>
                          <a:pt x="3" y="131"/>
                        </a:cubicBezTo>
                        <a:cubicBezTo>
                          <a:pt x="0" y="185"/>
                          <a:pt x="11" y="194"/>
                          <a:pt x="45" y="227"/>
                        </a:cubicBezTo>
                        <a:cubicBezTo>
                          <a:pt x="42" y="170"/>
                          <a:pt x="3" y="39"/>
                          <a:pt x="99" y="21"/>
                        </a:cubicBezTo>
                        <a:cubicBezTo>
                          <a:pt x="104" y="6"/>
                          <a:pt x="97" y="5"/>
                          <a:pt x="8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1" name="Freeform 98"/>
                  <p:cNvSpPr>
                    <a:spLocks/>
                  </p:cNvSpPr>
                  <p:nvPr/>
                </p:nvSpPr>
                <p:spPr bwMode="gray">
                  <a:xfrm>
                    <a:off x="-3536950" y="-14465300"/>
                    <a:ext cx="738188" cy="492125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197" y="131"/>
                      </a:cxn>
                      <a:cxn ang="0">
                        <a:pos x="84" y="73"/>
                      </a:cxn>
                      <a:cxn ang="0">
                        <a:pos x="12" y="5"/>
                      </a:cxn>
                      <a:cxn ang="0">
                        <a:pos x="41" y="5"/>
                      </a:cxn>
                    </a:cxnLst>
                    <a:rect l="0" t="0" r="r" b="b"/>
                    <a:pathLst>
                      <a:path w="197" h="131">
                        <a:moveTo>
                          <a:pt x="12" y="0"/>
                        </a:moveTo>
                        <a:cubicBezTo>
                          <a:pt x="72" y="19"/>
                          <a:pt x="176" y="59"/>
                          <a:pt x="197" y="131"/>
                        </a:cubicBezTo>
                        <a:cubicBezTo>
                          <a:pt x="156" y="116"/>
                          <a:pt x="123" y="90"/>
                          <a:pt x="84" y="73"/>
                        </a:cubicBezTo>
                        <a:cubicBezTo>
                          <a:pt x="54" y="61"/>
                          <a:pt x="0" y="51"/>
                          <a:pt x="12" y="5"/>
                        </a:cubicBezTo>
                        <a:cubicBezTo>
                          <a:pt x="21" y="4"/>
                          <a:pt x="33" y="2"/>
                          <a:pt x="41" y="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2" name="Freeform 99"/>
                  <p:cNvSpPr>
                    <a:spLocks/>
                  </p:cNvSpPr>
                  <p:nvPr/>
                </p:nvSpPr>
                <p:spPr bwMode="gray">
                  <a:xfrm>
                    <a:off x="-2806700" y="-10966450"/>
                    <a:ext cx="3787775" cy="825500"/>
                  </a:xfrm>
                  <a:custGeom>
                    <a:avLst/>
                    <a:gdLst/>
                    <a:ahLst/>
                    <a:cxnLst>
                      <a:cxn ang="0">
                        <a:pos x="37" y="13"/>
                      </a:cxn>
                      <a:cxn ang="0">
                        <a:pos x="132" y="45"/>
                      </a:cxn>
                      <a:cxn ang="0">
                        <a:pos x="245" y="69"/>
                      </a:cxn>
                      <a:cxn ang="0">
                        <a:pos x="470" y="86"/>
                      </a:cxn>
                      <a:cxn ang="0">
                        <a:pos x="735" y="69"/>
                      </a:cxn>
                      <a:cxn ang="0">
                        <a:pos x="976" y="37"/>
                      </a:cxn>
                      <a:cxn ang="0">
                        <a:pos x="986" y="148"/>
                      </a:cxn>
                      <a:cxn ang="0">
                        <a:pos x="842" y="187"/>
                      </a:cxn>
                      <a:cxn ang="0">
                        <a:pos x="577" y="215"/>
                      </a:cxn>
                      <a:cxn ang="0">
                        <a:pos x="311" y="194"/>
                      </a:cxn>
                      <a:cxn ang="0">
                        <a:pos x="183" y="159"/>
                      </a:cxn>
                      <a:cxn ang="0">
                        <a:pos x="29" y="121"/>
                      </a:cxn>
                      <a:cxn ang="0">
                        <a:pos x="14" y="120"/>
                      </a:cxn>
                      <a:cxn ang="0">
                        <a:pos x="3" y="24"/>
                      </a:cxn>
                    </a:cxnLst>
                    <a:rect l="0" t="0" r="r" b="b"/>
                    <a:pathLst>
                      <a:path w="1010" h="220">
                        <a:moveTo>
                          <a:pt x="37" y="13"/>
                        </a:moveTo>
                        <a:cubicBezTo>
                          <a:pt x="73" y="16"/>
                          <a:pt x="98" y="32"/>
                          <a:pt x="132" y="45"/>
                        </a:cubicBezTo>
                        <a:cubicBezTo>
                          <a:pt x="171" y="59"/>
                          <a:pt x="206" y="60"/>
                          <a:pt x="245" y="69"/>
                        </a:cubicBezTo>
                        <a:cubicBezTo>
                          <a:pt x="317" y="84"/>
                          <a:pt x="391" y="82"/>
                          <a:pt x="470" y="86"/>
                        </a:cubicBezTo>
                        <a:cubicBezTo>
                          <a:pt x="563" y="90"/>
                          <a:pt x="652" y="100"/>
                          <a:pt x="735" y="69"/>
                        </a:cubicBezTo>
                        <a:cubicBezTo>
                          <a:pt x="797" y="46"/>
                          <a:pt x="909" y="0"/>
                          <a:pt x="976" y="37"/>
                        </a:cubicBezTo>
                        <a:cubicBezTo>
                          <a:pt x="975" y="87"/>
                          <a:pt x="1010" y="114"/>
                          <a:pt x="986" y="148"/>
                        </a:cubicBezTo>
                        <a:cubicBezTo>
                          <a:pt x="970" y="172"/>
                          <a:pt x="869" y="180"/>
                          <a:pt x="842" y="187"/>
                        </a:cubicBezTo>
                        <a:cubicBezTo>
                          <a:pt x="756" y="211"/>
                          <a:pt x="672" y="215"/>
                          <a:pt x="577" y="215"/>
                        </a:cubicBezTo>
                        <a:cubicBezTo>
                          <a:pt x="485" y="215"/>
                          <a:pt x="395" y="220"/>
                          <a:pt x="311" y="194"/>
                        </a:cubicBezTo>
                        <a:cubicBezTo>
                          <a:pt x="267" y="180"/>
                          <a:pt x="226" y="169"/>
                          <a:pt x="183" y="159"/>
                        </a:cubicBezTo>
                        <a:cubicBezTo>
                          <a:pt x="140" y="150"/>
                          <a:pt x="67" y="141"/>
                          <a:pt x="29" y="121"/>
                        </a:cubicBezTo>
                        <a:cubicBezTo>
                          <a:pt x="18" y="115"/>
                          <a:pt x="26" y="124"/>
                          <a:pt x="14" y="120"/>
                        </a:cubicBezTo>
                        <a:cubicBezTo>
                          <a:pt x="9" y="91"/>
                          <a:pt x="0" y="52"/>
                          <a:pt x="3" y="2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3" name="Freeform 100"/>
                  <p:cNvSpPr>
                    <a:spLocks/>
                  </p:cNvSpPr>
                  <p:nvPr/>
                </p:nvSpPr>
                <p:spPr bwMode="gray">
                  <a:xfrm>
                    <a:off x="-1778000" y="-10768012"/>
                    <a:ext cx="884238" cy="638175"/>
                  </a:xfrm>
                  <a:custGeom>
                    <a:avLst/>
                    <a:gdLst/>
                    <a:ahLst/>
                    <a:cxnLst>
                      <a:cxn ang="0">
                        <a:pos x="32" y="131"/>
                      </a:cxn>
                      <a:cxn ang="0">
                        <a:pos x="170" y="141"/>
                      </a:cxn>
                      <a:cxn ang="0">
                        <a:pos x="184" y="39"/>
                      </a:cxn>
                      <a:cxn ang="0">
                        <a:pos x="137" y="26"/>
                      </a:cxn>
                      <a:cxn ang="0">
                        <a:pos x="206" y="20"/>
                      </a:cxn>
                      <a:cxn ang="0">
                        <a:pos x="198" y="152"/>
                      </a:cxn>
                      <a:cxn ang="0">
                        <a:pos x="156" y="168"/>
                      </a:cxn>
                      <a:cxn ang="0">
                        <a:pos x="13" y="151"/>
                      </a:cxn>
                      <a:cxn ang="0">
                        <a:pos x="12" y="40"/>
                      </a:cxn>
                      <a:cxn ang="0">
                        <a:pos x="156" y="13"/>
                      </a:cxn>
                      <a:cxn ang="0">
                        <a:pos x="141" y="37"/>
                      </a:cxn>
                      <a:cxn ang="0">
                        <a:pos x="37" y="61"/>
                      </a:cxn>
                    </a:cxnLst>
                    <a:rect l="0" t="0" r="r" b="b"/>
                    <a:pathLst>
                      <a:path w="236" h="170">
                        <a:moveTo>
                          <a:pt x="32" y="131"/>
                        </a:moveTo>
                        <a:cubicBezTo>
                          <a:pt x="61" y="144"/>
                          <a:pt x="154" y="156"/>
                          <a:pt x="170" y="141"/>
                        </a:cubicBezTo>
                        <a:cubicBezTo>
                          <a:pt x="171" y="124"/>
                          <a:pt x="186" y="58"/>
                          <a:pt x="184" y="39"/>
                        </a:cubicBezTo>
                        <a:cubicBezTo>
                          <a:pt x="164" y="29"/>
                          <a:pt x="137" y="52"/>
                          <a:pt x="137" y="26"/>
                        </a:cubicBezTo>
                        <a:cubicBezTo>
                          <a:pt x="137" y="2"/>
                          <a:pt x="198" y="20"/>
                          <a:pt x="206" y="20"/>
                        </a:cubicBezTo>
                        <a:cubicBezTo>
                          <a:pt x="236" y="20"/>
                          <a:pt x="202" y="124"/>
                          <a:pt x="198" y="152"/>
                        </a:cubicBezTo>
                        <a:cubicBezTo>
                          <a:pt x="195" y="170"/>
                          <a:pt x="180" y="166"/>
                          <a:pt x="156" y="168"/>
                        </a:cubicBezTo>
                        <a:cubicBezTo>
                          <a:pt x="123" y="169"/>
                          <a:pt x="46" y="162"/>
                          <a:pt x="13" y="151"/>
                        </a:cubicBezTo>
                        <a:cubicBezTo>
                          <a:pt x="0" y="147"/>
                          <a:pt x="2" y="88"/>
                          <a:pt x="12" y="40"/>
                        </a:cubicBezTo>
                        <a:cubicBezTo>
                          <a:pt x="20" y="0"/>
                          <a:pt x="123" y="20"/>
                          <a:pt x="156" y="13"/>
                        </a:cubicBezTo>
                        <a:cubicBezTo>
                          <a:pt x="172" y="10"/>
                          <a:pt x="143" y="23"/>
                          <a:pt x="141" y="37"/>
                        </a:cubicBezTo>
                        <a:cubicBezTo>
                          <a:pt x="124" y="38"/>
                          <a:pt x="30" y="30"/>
                          <a:pt x="37" y="6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4" name="Freeform 101"/>
                  <p:cNvSpPr>
                    <a:spLocks/>
                  </p:cNvSpPr>
                  <p:nvPr/>
                </p:nvSpPr>
                <p:spPr bwMode="gray">
                  <a:xfrm>
                    <a:off x="-2228850" y="-19711987"/>
                    <a:ext cx="2320925" cy="2089150"/>
                  </a:xfrm>
                  <a:custGeom>
                    <a:avLst/>
                    <a:gdLst/>
                    <a:ahLst/>
                    <a:cxnLst>
                      <a:cxn ang="0">
                        <a:pos x="111" y="540"/>
                      </a:cxn>
                      <a:cxn ang="0">
                        <a:pos x="94" y="541"/>
                      </a:cxn>
                      <a:cxn ang="0">
                        <a:pos x="81" y="432"/>
                      </a:cxn>
                      <a:cxn ang="0">
                        <a:pos x="67" y="390"/>
                      </a:cxn>
                      <a:cxn ang="0">
                        <a:pos x="33" y="348"/>
                      </a:cxn>
                      <a:cxn ang="0">
                        <a:pos x="81" y="145"/>
                      </a:cxn>
                      <a:cxn ang="0">
                        <a:pos x="48" y="144"/>
                      </a:cxn>
                      <a:cxn ang="0">
                        <a:pos x="131" y="76"/>
                      </a:cxn>
                      <a:cxn ang="0">
                        <a:pos x="115" y="57"/>
                      </a:cxn>
                      <a:cxn ang="0">
                        <a:pos x="190" y="34"/>
                      </a:cxn>
                      <a:cxn ang="0">
                        <a:pos x="263" y="1"/>
                      </a:cxn>
                      <a:cxn ang="0">
                        <a:pos x="426" y="51"/>
                      </a:cxn>
                      <a:cxn ang="0">
                        <a:pos x="428" y="27"/>
                      </a:cxn>
                      <a:cxn ang="0">
                        <a:pos x="469" y="77"/>
                      </a:cxn>
                      <a:cxn ang="0">
                        <a:pos x="530" y="110"/>
                      </a:cxn>
                      <a:cxn ang="0">
                        <a:pos x="596" y="229"/>
                      </a:cxn>
                      <a:cxn ang="0">
                        <a:pos x="608" y="388"/>
                      </a:cxn>
                      <a:cxn ang="0">
                        <a:pos x="572" y="557"/>
                      </a:cxn>
                      <a:cxn ang="0">
                        <a:pos x="546" y="457"/>
                      </a:cxn>
                      <a:cxn ang="0">
                        <a:pos x="550" y="313"/>
                      </a:cxn>
                      <a:cxn ang="0">
                        <a:pos x="482" y="216"/>
                      </a:cxn>
                      <a:cxn ang="0">
                        <a:pos x="348" y="216"/>
                      </a:cxn>
                      <a:cxn ang="0">
                        <a:pos x="327" y="191"/>
                      </a:cxn>
                      <a:cxn ang="0">
                        <a:pos x="334" y="228"/>
                      </a:cxn>
                      <a:cxn ang="0">
                        <a:pos x="250" y="188"/>
                      </a:cxn>
                      <a:cxn ang="0">
                        <a:pos x="179" y="230"/>
                      </a:cxn>
                      <a:cxn ang="0">
                        <a:pos x="127" y="322"/>
                      </a:cxn>
                      <a:cxn ang="0">
                        <a:pos x="123" y="377"/>
                      </a:cxn>
                      <a:cxn ang="0">
                        <a:pos x="111" y="426"/>
                      </a:cxn>
                      <a:cxn ang="0">
                        <a:pos x="111" y="540"/>
                      </a:cxn>
                    </a:cxnLst>
                    <a:rect l="0" t="0" r="r" b="b"/>
                    <a:pathLst>
                      <a:path w="619" h="557">
                        <a:moveTo>
                          <a:pt x="111" y="540"/>
                        </a:moveTo>
                        <a:cubicBezTo>
                          <a:pt x="85" y="549"/>
                          <a:pt x="102" y="543"/>
                          <a:pt x="94" y="541"/>
                        </a:cubicBezTo>
                        <a:cubicBezTo>
                          <a:pt x="82" y="499"/>
                          <a:pt x="79" y="474"/>
                          <a:pt x="81" y="432"/>
                        </a:cubicBezTo>
                        <a:cubicBezTo>
                          <a:pt x="82" y="415"/>
                          <a:pt x="95" y="378"/>
                          <a:pt x="67" y="390"/>
                        </a:cubicBezTo>
                        <a:cubicBezTo>
                          <a:pt x="56" y="395"/>
                          <a:pt x="44" y="366"/>
                          <a:pt x="33" y="348"/>
                        </a:cubicBezTo>
                        <a:cubicBezTo>
                          <a:pt x="0" y="293"/>
                          <a:pt x="48" y="189"/>
                          <a:pt x="81" y="145"/>
                        </a:cubicBezTo>
                        <a:cubicBezTo>
                          <a:pt x="71" y="147"/>
                          <a:pt x="58" y="142"/>
                          <a:pt x="48" y="144"/>
                        </a:cubicBezTo>
                        <a:cubicBezTo>
                          <a:pt x="52" y="107"/>
                          <a:pt x="97" y="82"/>
                          <a:pt x="131" y="76"/>
                        </a:cubicBezTo>
                        <a:cubicBezTo>
                          <a:pt x="125" y="71"/>
                          <a:pt x="121" y="61"/>
                          <a:pt x="115" y="57"/>
                        </a:cubicBezTo>
                        <a:cubicBezTo>
                          <a:pt x="142" y="51"/>
                          <a:pt x="168" y="47"/>
                          <a:pt x="190" y="34"/>
                        </a:cubicBezTo>
                        <a:cubicBezTo>
                          <a:pt x="220" y="15"/>
                          <a:pt x="222" y="1"/>
                          <a:pt x="263" y="1"/>
                        </a:cubicBezTo>
                        <a:cubicBezTo>
                          <a:pt x="327" y="0"/>
                          <a:pt x="377" y="13"/>
                          <a:pt x="426" y="51"/>
                        </a:cubicBezTo>
                        <a:cubicBezTo>
                          <a:pt x="426" y="44"/>
                          <a:pt x="429" y="34"/>
                          <a:pt x="428" y="27"/>
                        </a:cubicBezTo>
                        <a:cubicBezTo>
                          <a:pt x="443" y="40"/>
                          <a:pt x="453" y="63"/>
                          <a:pt x="469" y="77"/>
                        </a:cubicBezTo>
                        <a:cubicBezTo>
                          <a:pt x="489" y="96"/>
                          <a:pt x="509" y="94"/>
                          <a:pt x="530" y="110"/>
                        </a:cubicBezTo>
                        <a:cubicBezTo>
                          <a:pt x="558" y="130"/>
                          <a:pt x="581" y="197"/>
                          <a:pt x="596" y="229"/>
                        </a:cubicBezTo>
                        <a:cubicBezTo>
                          <a:pt x="617" y="274"/>
                          <a:pt x="619" y="337"/>
                          <a:pt x="608" y="388"/>
                        </a:cubicBezTo>
                        <a:cubicBezTo>
                          <a:pt x="599" y="429"/>
                          <a:pt x="611" y="534"/>
                          <a:pt x="572" y="557"/>
                        </a:cubicBezTo>
                        <a:cubicBezTo>
                          <a:pt x="575" y="530"/>
                          <a:pt x="547" y="490"/>
                          <a:pt x="546" y="457"/>
                        </a:cubicBezTo>
                        <a:cubicBezTo>
                          <a:pt x="544" y="409"/>
                          <a:pt x="556" y="362"/>
                          <a:pt x="550" y="313"/>
                        </a:cubicBezTo>
                        <a:cubicBezTo>
                          <a:pt x="545" y="273"/>
                          <a:pt x="525" y="227"/>
                          <a:pt x="482" y="216"/>
                        </a:cubicBezTo>
                        <a:cubicBezTo>
                          <a:pt x="438" y="205"/>
                          <a:pt x="391" y="230"/>
                          <a:pt x="348" y="216"/>
                        </a:cubicBezTo>
                        <a:cubicBezTo>
                          <a:pt x="343" y="205"/>
                          <a:pt x="333" y="200"/>
                          <a:pt x="327" y="191"/>
                        </a:cubicBezTo>
                        <a:cubicBezTo>
                          <a:pt x="328" y="206"/>
                          <a:pt x="326" y="217"/>
                          <a:pt x="334" y="228"/>
                        </a:cubicBezTo>
                        <a:cubicBezTo>
                          <a:pt x="306" y="232"/>
                          <a:pt x="273" y="204"/>
                          <a:pt x="250" y="188"/>
                        </a:cubicBezTo>
                        <a:cubicBezTo>
                          <a:pt x="267" y="225"/>
                          <a:pt x="201" y="212"/>
                          <a:pt x="179" y="230"/>
                        </a:cubicBezTo>
                        <a:cubicBezTo>
                          <a:pt x="152" y="252"/>
                          <a:pt x="134" y="290"/>
                          <a:pt x="127" y="322"/>
                        </a:cubicBezTo>
                        <a:cubicBezTo>
                          <a:pt x="124" y="339"/>
                          <a:pt x="130" y="360"/>
                          <a:pt x="123" y="377"/>
                        </a:cubicBezTo>
                        <a:cubicBezTo>
                          <a:pt x="116" y="396"/>
                          <a:pt x="116" y="408"/>
                          <a:pt x="111" y="426"/>
                        </a:cubicBezTo>
                        <a:cubicBezTo>
                          <a:pt x="102" y="466"/>
                          <a:pt x="123" y="521"/>
                          <a:pt x="111" y="54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5" name="Freeform 102"/>
                  <p:cNvSpPr>
                    <a:spLocks/>
                  </p:cNvSpPr>
                  <p:nvPr/>
                </p:nvSpPr>
                <p:spPr bwMode="gray">
                  <a:xfrm>
                    <a:off x="-2928938" y="-12233275"/>
                    <a:ext cx="4244975" cy="1217613"/>
                  </a:xfrm>
                  <a:custGeom>
                    <a:avLst/>
                    <a:gdLst/>
                    <a:ahLst/>
                    <a:cxnLst>
                      <a:cxn ang="0">
                        <a:pos x="638" y="9"/>
                      </a:cxn>
                      <a:cxn ang="0">
                        <a:pos x="47" y="123"/>
                      </a:cxn>
                      <a:cxn ang="0">
                        <a:pos x="2" y="190"/>
                      </a:cxn>
                      <a:cxn ang="0">
                        <a:pos x="70" y="218"/>
                      </a:cxn>
                      <a:cxn ang="0">
                        <a:pos x="146" y="221"/>
                      </a:cxn>
                      <a:cxn ang="0">
                        <a:pos x="208" y="208"/>
                      </a:cxn>
                      <a:cxn ang="0">
                        <a:pos x="275" y="196"/>
                      </a:cxn>
                      <a:cxn ang="0">
                        <a:pos x="319" y="164"/>
                      </a:cxn>
                      <a:cxn ang="0">
                        <a:pos x="408" y="142"/>
                      </a:cxn>
                      <a:cxn ang="0">
                        <a:pos x="552" y="92"/>
                      </a:cxn>
                      <a:cxn ang="0">
                        <a:pos x="630" y="77"/>
                      </a:cxn>
                      <a:cxn ang="0">
                        <a:pos x="645" y="122"/>
                      </a:cxn>
                      <a:cxn ang="0">
                        <a:pos x="794" y="120"/>
                      </a:cxn>
                      <a:cxn ang="0">
                        <a:pos x="785" y="229"/>
                      </a:cxn>
                      <a:cxn ang="0">
                        <a:pos x="869" y="199"/>
                      </a:cxn>
                      <a:cxn ang="0">
                        <a:pos x="943" y="241"/>
                      </a:cxn>
                      <a:cxn ang="0">
                        <a:pos x="1008" y="325"/>
                      </a:cxn>
                      <a:cxn ang="0">
                        <a:pos x="1077" y="230"/>
                      </a:cxn>
                      <a:cxn ang="0">
                        <a:pos x="1107" y="121"/>
                      </a:cxn>
                      <a:cxn ang="0">
                        <a:pos x="661" y="15"/>
                      </a:cxn>
                    </a:cxnLst>
                    <a:rect l="0" t="0" r="r" b="b"/>
                    <a:pathLst>
                      <a:path w="1132" h="325">
                        <a:moveTo>
                          <a:pt x="638" y="9"/>
                        </a:moveTo>
                        <a:cubicBezTo>
                          <a:pt x="608" y="0"/>
                          <a:pt x="87" y="112"/>
                          <a:pt x="47" y="123"/>
                        </a:cubicBezTo>
                        <a:cubicBezTo>
                          <a:pt x="1" y="135"/>
                          <a:pt x="0" y="143"/>
                          <a:pt x="2" y="190"/>
                        </a:cubicBezTo>
                        <a:cubicBezTo>
                          <a:pt x="27" y="195"/>
                          <a:pt x="45" y="213"/>
                          <a:pt x="70" y="218"/>
                        </a:cubicBezTo>
                        <a:cubicBezTo>
                          <a:pt x="93" y="222"/>
                          <a:pt x="120" y="221"/>
                          <a:pt x="146" y="221"/>
                        </a:cubicBezTo>
                        <a:cubicBezTo>
                          <a:pt x="172" y="221"/>
                          <a:pt x="185" y="215"/>
                          <a:pt x="208" y="208"/>
                        </a:cubicBezTo>
                        <a:cubicBezTo>
                          <a:pt x="230" y="201"/>
                          <a:pt x="254" y="205"/>
                          <a:pt x="275" y="196"/>
                        </a:cubicBezTo>
                        <a:cubicBezTo>
                          <a:pt x="291" y="189"/>
                          <a:pt x="304" y="174"/>
                          <a:pt x="319" y="164"/>
                        </a:cubicBezTo>
                        <a:cubicBezTo>
                          <a:pt x="348" y="144"/>
                          <a:pt x="372" y="145"/>
                          <a:pt x="408" y="142"/>
                        </a:cubicBezTo>
                        <a:cubicBezTo>
                          <a:pt x="462" y="139"/>
                          <a:pt x="503" y="113"/>
                          <a:pt x="552" y="92"/>
                        </a:cubicBezTo>
                        <a:cubicBezTo>
                          <a:pt x="576" y="82"/>
                          <a:pt x="598" y="73"/>
                          <a:pt x="630" y="77"/>
                        </a:cubicBezTo>
                        <a:cubicBezTo>
                          <a:pt x="667" y="83"/>
                          <a:pt x="672" y="100"/>
                          <a:pt x="645" y="122"/>
                        </a:cubicBezTo>
                        <a:cubicBezTo>
                          <a:pt x="695" y="127"/>
                          <a:pt x="744" y="83"/>
                          <a:pt x="794" y="120"/>
                        </a:cubicBezTo>
                        <a:cubicBezTo>
                          <a:pt x="850" y="162"/>
                          <a:pt x="786" y="184"/>
                          <a:pt x="785" y="229"/>
                        </a:cubicBezTo>
                        <a:cubicBezTo>
                          <a:pt x="815" y="220"/>
                          <a:pt x="835" y="204"/>
                          <a:pt x="869" y="199"/>
                        </a:cubicBezTo>
                        <a:cubicBezTo>
                          <a:pt x="898" y="195"/>
                          <a:pt x="958" y="201"/>
                          <a:pt x="943" y="241"/>
                        </a:cubicBezTo>
                        <a:cubicBezTo>
                          <a:pt x="987" y="214"/>
                          <a:pt x="1045" y="292"/>
                          <a:pt x="1008" y="325"/>
                        </a:cubicBezTo>
                        <a:cubicBezTo>
                          <a:pt x="1040" y="304"/>
                          <a:pt x="1072" y="267"/>
                          <a:pt x="1077" y="230"/>
                        </a:cubicBezTo>
                        <a:cubicBezTo>
                          <a:pt x="1080" y="207"/>
                          <a:pt x="1132" y="121"/>
                          <a:pt x="1107" y="121"/>
                        </a:cubicBezTo>
                        <a:cubicBezTo>
                          <a:pt x="931" y="121"/>
                          <a:pt x="680" y="24"/>
                          <a:pt x="661" y="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6" name="Freeform 103"/>
                  <p:cNvSpPr>
                    <a:spLocks/>
                  </p:cNvSpPr>
                  <p:nvPr/>
                </p:nvSpPr>
                <p:spPr bwMode="gray">
                  <a:xfrm>
                    <a:off x="985838" y="-13890625"/>
                    <a:ext cx="704850" cy="1952625"/>
                  </a:xfrm>
                  <a:custGeom>
                    <a:avLst/>
                    <a:gdLst/>
                    <a:ahLst/>
                    <a:cxnLst>
                      <a:cxn ang="0">
                        <a:pos x="0" y="387"/>
                      </a:cxn>
                      <a:cxn ang="0">
                        <a:pos x="27" y="416"/>
                      </a:cxn>
                      <a:cxn ang="0">
                        <a:pos x="159" y="275"/>
                      </a:cxn>
                      <a:cxn ang="0">
                        <a:pos x="185" y="0"/>
                      </a:cxn>
                      <a:cxn ang="0">
                        <a:pos x="184" y="32"/>
                      </a:cxn>
                      <a:cxn ang="0">
                        <a:pos x="79" y="45"/>
                      </a:cxn>
                      <a:cxn ang="0">
                        <a:pos x="145" y="101"/>
                      </a:cxn>
                      <a:cxn ang="0">
                        <a:pos x="79" y="167"/>
                      </a:cxn>
                      <a:cxn ang="0">
                        <a:pos x="78" y="147"/>
                      </a:cxn>
                      <a:cxn ang="0">
                        <a:pos x="123" y="229"/>
                      </a:cxn>
                      <a:cxn ang="0">
                        <a:pos x="45" y="208"/>
                      </a:cxn>
                      <a:cxn ang="0">
                        <a:pos x="57" y="310"/>
                      </a:cxn>
                      <a:cxn ang="0">
                        <a:pos x="39" y="415"/>
                      </a:cxn>
                    </a:cxnLst>
                    <a:rect l="0" t="0" r="r" b="b"/>
                    <a:pathLst>
                      <a:path w="188" h="521">
                        <a:moveTo>
                          <a:pt x="0" y="387"/>
                        </a:moveTo>
                        <a:cubicBezTo>
                          <a:pt x="3" y="405"/>
                          <a:pt x="5" y="416"/>
                          <a:pt x="27" y="416"/>
                        </a:cubicBezTo>
                        <a:cubicBezTo>
                          <a:pt x="65" y="521"/>
                          <a:pt x="154" y="307"/>
                          <a:pt x="159" y="275"/>
                        </a:cubicBezTo>
                        <a:cubicBezTo>
                          <a:pt x="172" y="182"/>
                          <a:pt x="185" y="98"/>
                          <a:pt x="185" y="0"/>
                        </a:cubicBezTo>
                        <a:cubicBezTo>
                          <a:pt x="188" y="10"/>
                          <a:pt x="185" y="22"/>
                          <a:pt x="184" y="32"/>
                        </a:cubicBezTo>
                        <a:cubicBezTo>
                          <a:pt x="152" y="49"/>
                          <a:pt x="115" y="43"/>
                          <a:pt x="79" y="45"/>
                        </a:cubicBezTo>
                        <a:cubicBezTo>
                          <a:pt x="72" y="81"/>
                          <a:pt x="114" y="101"/>
                          <a:pt x="145" y="101"/>
                        </a:cubicBezTo>
                        <a:cubicBezTo>
                          <a:pt x="156" y="149"/>
                          <a:pt x="126" y="176"/>
                          <a:pt x="79" y="167"/>
                        </a:cubicBezTo>
                        <a:cubicBezTo>
                          <a:pt x="78" y="160"/>
                          <a:pt x="78" y="154"/>
                          <a:pt x="78" y="147"/>
                        </a:cubicBezTo>
                        <a:cubicBezTo>
                          <a:pt x="84" y="180"/>
                          <a:pt x="120" y="198"/>
                          <a:pt x="123" y="229"/>
                        </a:cubicBezTo>
                        <a:cubicBezTo>
                          <a:pt x="86" y="236"/>
                          <a:pt x="82" y="201"/>
                          <a:pt x="45" y="208"/>
                        </a:cubicBezTo>
                        <a:cubicBezTo>
                          <a:pt x="72" y="270"/>
                          <a:pt x="99" y="239"/>
                          <a:pt x="57" y="310"/>
                        </a:cubicBezTo>
                        <a:cubicBezTo>
                          <a:pt x="37" y="345"/>
                          <a:pt x="24" y="373"/>
                          <a:pt x="39" y="4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7" name="Freeform 104"/>
                  <p:cNvSpPr>
                    <a:spLocks/>
                  </p:cNvSpPr>
                  <p:nvPr/>
                </p:nvSpPr>
                <p:spPr bwMode="gray">
                  <a:xfrm>
                    <a:off x="-3746500" y="-11974512"/>
                    <a:ext cx="715963" cy="4572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191" y="8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1" h="122">
                        <a:moveTo>
                          <a:pt x="0" y="6"/>
                        </a:moveTo>
                        <a:cubicBezTo>
                          <a:pt x="46" y="112"/>
                          <a:pt x="71" y="122"/>
                          <a:pt x="191" y="83"/>
                        </a:cubicBezTo>
                        <a:cubicBezTo>
                          <a:pt x="131" y="41"/>
                          <a:pt x="34" y="9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8" name="Freeform 105"/>
                  <p:cNvSpPr>
                    <a:spLocks/>
                  </p:cNvSpPr>
                  <p:nvPr/>
                </p:nvSpPr>
                <p:spPr bwMode="gray">
                  <a:xfrm>
                    <a:off x="798513" y="-15954375"/>
                    <a:ext cx="1109663" cy="1612900"/>
                  </a:xfrm>
                  <a:custGeom>
                    <a:avLst/>
                    <a:gdLst/>
                    <a:ahLst/>
                    <a:cxnLst>
                      <a:cxn ang="0">
                        <a:pos x="241" y="346"/>
                      </a:cxn>
                      <a:cxn ang="0">
                        <a:pos x="101" y="430"/>
                      </a:cxn>
                      <a:cxn ang="0">
                        <a:pos x="180" y="359"/>
                      </a:cxn>
                      <a:cxn ang="0">
                        <a:pos x="223" y="257"/>
                      </a:cxn>
                      <a:cxn ang="0">
                        <a:pos x="140" y="316"/>
                      </a:cxn>
                      <a:cxn ang="0">
                        <a:pos x="39" y="356"/>
                      </a:cxn>
                      <a:cxn ang="0">
                        <a:pos x="207" y="194"/>
                      </a:cxn>
                      <a:cxn ang="0">
                        <a:pos x="0" y="272"/>
                      </a:cxn>
                      <a:cxn ang="0">
                        <a:pos x="151" y="156"/>
                      </a:cxn>
                      <a:cxn ang="0">
                        <a:pos x="169" y="20"/>
                      </a:cxn>
                      <a:cxn ang="0">
                        <a:pos x="235" y="352"/>
                      </a:cxn>
                    </a:cxnLst>
                    <a:rect l="0" t="0" r="r" b="b"/>
                    <a:pathLst>
                      <a:path w="296" h="430">
                        <a:moveTo>
                          <a:pt x="241" y="346"/>
                        </a:moveTo>
                        <a:cubicBezTo>
                          <a:pt x="189" y="354"/>
                          <a:pt x="151" y="409"/>
                          <a:pt x="101" y="430"/>
                        </a:cubicBezTo>
                        <a:cubicBezTo>
                          <a:pt x="111" y="403"/>
                          <a:pt x="157" y="381"/>
                          <a:pt x="180" y="359"/>
                        </a:cubicBezTo>
                        <a:cubicBezTo>
                          <a:pt x="218" y="323"/>
                          <a:pt x="217" y="308"/>
                          <a:pt x="223" y="257"/>
                        </a:cubicBezTo>
                        <a:cubicBezTo>
                          <a:pt x="184" y="250"/>
                          <a:pt x="168" y="297"/>
                          <a:pt x="140" y="316"/>
                        </a:cubicBezTo>
                        <a:cubicBezTo>
                          <a:pt x="111" y="337"/>
                          <a:pt x="72" y="351"/>
                          <a:pt x="39" y="356"/>
                        </a:cubicBezTo>
                        <a:cubicBezTo>
                          <a:pt x="74" y="291"/>
                          <a:pt x="247" y="304"/>
                          <a:pt x="207" y="194"/>
                        </a:cubicBezTo>
                        <a:cubicBezTo>
                          <a:pt x="179" y="117"/>
                          <a:pt x="51" y="243"/>
                          <a:pt x="0" y="272"/>
                        </a:cubicBezTo>
                        <a:cubicBezTo>
                          <a:pt x="44" y="228"/>
                          <a:pt x="97" y="189"/>
                          <a:pt x="151" y="156"/>
                        </a:cubicBezTo>
                        <a:cubicBezTo>
                          <a:pt x="234" y="106"/>
                          <a:pt x="185" y="93"/>
                          <a:pt x="169" y="20"/>
                        </a:cubicBezTo>
                        <a:cubicBezTo>
                          <a:pt x="266" y="0"/>
                          <a:pt x="296" y="307"/>
                          <a:pt x="235" y="3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29" name="Freeform 106"/>
                  <p:cNvSpPr>
                    <a:spLocks/>
                  </p:cNvSpPr>
                  <p:nvPr/>
                </p:nvSpPr>
                <p:spPr bwMode="gray">
                  <a:xfrm>
                    <a:off x="-2224088" y="-12871450"/>
                    <a:ext cx="1916113" cy="985838"/>
                  </a:xfrm>
                  <a:custGeom>
                    <a:avLst/>
                    <a:gdLst/>
                    <a:ahLst/>
                    <a:cxnLst>
                      <a:cxn ang="0">
                        <a:pos x="45" y="8"/>
                      </a:cxn>
                      <a:cxn ang="0">
                        <a:pos x="249" y="97"/>
                      </a:cxn>
                      <a:cxn ang="0">
                        <a:pos x="511" y="195"/>
                      </a:cxn>
                      <a:cxn ang="0">
                        <a:pos x="394" y="176"/>
                      </a:cxn>
                      <a:cxn ang="0">
                        <a:pos x="252" y="117"/>
                      </a:cxn>
                      <a:cxn ang="0">
                        <a:pos x="0" y="3"/>
                      </a:cxn>
                    </a:cxnLst>
                    <a:rect l="0" t="0" r="r" b="b"/>
                    <a:pathLst>
                      <a:path w="511" h="263">
                        <a:moveTo>
                          <a:pt x="45" y="8"/>
                        </a:moveTo>
                        <a:cubicBezTo>
                          <a:pt x="120" y="0"/>
                          <a:pt x="186" y="70"/>
                          <a:pt x="249" y="97"/>
                        </a:cubicBezTo>
                        <a:cubicBezTo>
                          <a:pt x="327" y="130"/>
                          <a:pt x="427" y="177"/>
                          <a:pt x="511" y="195"/>
                        </a:cubicBezTo>
                        <a:cubicBezTo>
                          <a:pt x="494" y="263"/>
                          <a:pt x="420" y="190"/>
                          <a:pt x="394" y="176"/>
                        </a:cubicBezTo>
                        <a:cubicBezTo>
                          <a:pt x="349" y="152"/>
                          <a:pt x="299" y="136"/>
                          <a:pt x="252" y="117"/>
                        </a:cubicBezTo>
                        <a:cubicBezTo>
                          <a:pt x="166" y="82"/>
                          <a:pt x="61" y="69"/>
                          <a:pt x="0" y="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0" name="Freeform 107"/>
                  <p:cNvSpPr>
                    <a:spLocks/>
                  </p:cNvSpPr>
                  <p:nvPr/>
                </p:nvSpPr>
                <p:spPr bwMode="gray">
                  <a:xfrm>
                    <a:off x="-1689100" y="-16235362"/>
                    <a:ext cx="1609725" cy="784225"/>
                  </a:xfrm>
                  <a:custGeom>
                    <a:avLst/>
                    <a:gdLst/>
                    <a:ahLst/>
                    <a:cxnLst>
                      <a:cxn ang="0">
                        <a:pos x="51" y="147"/>
                      </a:cxn>
                      <a:cxn ang="0">
                        <a:pos x="46" y="209"/>
                      </a:cxn>
                      <a:cxn ang="0">
                        <a:pos x="103" y="160"/>
                      </a:cxn>
                      <a:cxn ang="0">
                        <a:pos x="178" y="177"/>
                      </a:cxn>
                      <a:cxn ang="0">
                        <a:pos x="220" y="172"/>
                      </a:cxn>
                      <a:cxn ang="0">
                        <a:pos x="254" y="161"/>
                      </a:cxn>
                      <a:cxn ang="0">
                        <a:pos x="309" y="192"/>
                      </a:cxn>
                      <a:cxn ang="0">
                        <a:pos x="309" y="122"/>
                      </a:cxn>
                      <a:cxn ang="0">
                        <a:pos x="394" y="23"/>
                      </a:cxn>
                      <a:cxn ang="0">
                        <a:pos x="262" y="71"/>
                      </a:cxn>
                      <a:cxn ang="0">
                        <a:pos x="106" y="63"/>
                      </a:cxn>
                      <a:cxn ang="0">
                        <a:pos x="14" y="54"/>
                      </a:cxn>
                      <a:cxn ang="0">
                        <a:pos x="47" y="109"/>
                      </a:cxn>
                    </a:cxnLst>
                    <a:rect l="0" t="0" r="r" b="b"/>
                    <a:pathLst>
                      <a:path w="429" h="209">
                        <a:moveTo>
                          <a:pt x="51" y="147"/>
                        </a:moveTo>
                        <a:cubicBezTo>
                          <a:pt x="51" y="168"/>
                          <a:pt x="52" y="189"/>
                          <a:pt x="46" y="209"/>
                        </a:cubicBezTo>
                        <a:cubicBezTo>
                          <a:pt x="56" y="199"/>
                          <a:pt x="91" y="163"/>
                          <a:pt x="103" y="160"/>
                        </a:cubicBezTo>
                        <a:cubicBezTo>
                          <a:pt x="123" y="156"/>
                          <a:pt x="152" y="177"/>
                          <a:pt x="178" y="177"/>
                        </a:cubicBezTo>
                        <a:cubicBezTo>
                          <a:pt x="193" y="177"/>
                          <a:pt x="206" y="175"/>
                          <a:pt x="220" y="172"/>
                        </a:cubicBezTo>
                        <a:cubicBezTo>
                          <a:pt x="224" y="172"/>
                          <a:pt x="260" y="161"/>
                          <a:pt x="254" y="161"/>
                        </a:cubicBezTo>
                        <a:cubicBezTo>
                          <a:pt x="281" y="162"/>
                          <a:pt x="280" y="184"/>
                          <a:pt x="309" y="192"/>
                        </a:cubicBezTo>
                        <a:cubicBezTo>
                          <a:pt x="308" y="169"/>
                          <a:pt x="308" y="145"/>
                          <a:pt x="309" y="122"/>
                        </a:cubicBezTo>
                        <a:cubicBezTo>
                          <a:pt x="341" y="127"/>
                          <a:pt x="429" y="56"/>
                          <a:pt x="394" y="23"/>
                        </a:cubicBezTo>
                        <a:cubicBezTo>
                          <a:pt x="369" y="0"/>
                          <a:pt x="289" y="64"/>
                          <a:pt x="262" y="71"/>
                        </a:cubicBezTo>
                        <a:cubicBezTo>
                          <a:pt x="212" y="84"/>
                          <a:pt x="153" y="86"/>
                          <a:pt x="106" y="63"/>
                        </a:cubicBezTo>
                        <a:cubicBezTo>
                          <a:pt x="86" y="53"/>
                          <a:pt x="32" y="18"/>
                          <a:pt x="14" y="54"/>
                        </a:cubicBezTo>
                        <a:cubicBezTo>
                          <a:pt x="0" y="81"/>
                          <a:pt x="33" y="99"/>
                          <a:pt x="47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1" name="Freeform 108"/>
                  <p:cNvSpPr>
                    <a:spLocks/>
                  </p:cNvSpPr>
                  <p:nvPr/>
                </p:nvSpPr>
                <p:spPr bwMode="gray">
                  <a:xfrm>
                    <a:off x="-1463675" y="-15713075"/>
                    <a:ext cx="768350" cy="2320925"/>
                  </a:xfrm>
                  <a:custGeom>
                    <a:avLst/>
                    <a:gdLst/>
                    <a:ahLst/>
                    <a:cxnLst>
                      <a:cxn ang="0">
                        <a:pos x="181" y="8"/>
                      </a:cxn>
                      <a:cxn ang="0">
                        <a:pos x="160" y="135"/>
                      </a:cxn>
                      <a:cxn ang="0">
                        <a:pos x="184" y="283"/>
                      </a:cxn>
                      <a:cxn ang="0">
                        <a:pos x="177" y="607"/>
                      </a:cxn>
                      <a:cxn ang="0">
                        <a:pos x="89" y="578"/>
                      </a:cxn>
                      <a:cxn ang="0">
                        <a:pos x="80" y="359"/>
                      </a:cxn>
                      <a:cxn ang="0">
                        <a:pos x="89" y="142"/>
                      </a:cxn>
                      <a:cxn ang="0">
                        <a:pos x="160" y="0"/>
                      </a:cxn>
                    </a:cxnLst>
                    <a:rect l="0" t="0" r="r" b="b"/>
                    <a:pathLst>
                      <a:path w="205" h="619">
                        <a:moveTo>
                          <a:pt x="181" y="8"/>
                        </a:moveTo>
                        <a:cubicBezTo>
                          <a:pt x="205" y="54"/>
                          <a:pt x="155" y="85"/>
                          <a:pt x="160" y="135"/>
                        </a:cubicBezTo>
                        <a:cubicBezTo>
                          <a:pt x="164" y="182"/>
                          <a:pt x="179" y="232"/>
                          <a:pt x="184" y="283"/>
                        </a:cubicBezTo>
                        <a:cubicBezTo>
                          <a:pt x="194" y="382"/>
                          <a:pt x="205" y="514"/>
                          <a:pt x="177" y="607"/>
                        </a:cubicBezTo>
                        <a:cubicBezTo>
                          <a:pt x="200" y="619"/>
                          <a:pt x="122" y="584"/>
                          <a:pt x="89" y="578"/>
                        </a:cubicBezTo>
                        <a:cubicBezTo>
                          <a:pt x="0" y="563"/>
                          <a:pt x="72" y="442"/>
                          <a:pt x="80" y="359"/>
                        </a:cubicBezTo>
                        <a:cubicBezTo>
                          <a:pt x="86" y="286"/>
                          <a:pt x="78" y="214"/>
                          <a:pt x="89" y="142"/>
                        </a:cubicBezTo>
                        <a:cubicBezTo>
                          <a:pt x="96" y="92"/>
                          <a:pt x="103" y="15"/>
                          <a:pt x="1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2" name="Freeform 109"/>
                  <p:cNvSpPr>
                    <a:spLocks/>
                  </p:cNvSpPr>
                  <p:nvPr/>
                </p:nvSpPr>
                <p:spPr bwMode="gray">
                  <a:xfrm>
                    <a:off x="-1673225" y="-12009437"/>
                    <a:ext cx="955675" cy="1216025"/>
                  </a:xfrm>
                  <a:custGeom>
                    <a:avLst/>
                    <a:gdLst/>
                    <a:ahLst/>
                    <a:cxnLst>
                      <a:cxn ang="0">
                        <a:pos x="26" y="291"/>
                      </a:cxn>
                      <a:cxn ang="0">
                        <a:pos x="22" y="324"/>
                      </a:cxn>
                      <a:cxn ang="0">
                        <a:pos x="203" y="218"/>
                      </a:cxn>
                      <a:cxn ang="0">
                        <a:pos x="241" y="118"/>
                      </a:cxn>
                      <a:cxn ang="0">
                        <a:pos x="249" y="1"/>
                      </a:cxn>
                      <a:cxn ang="0">
                        <a:pos x="119" y="151"/>
                      </a:cxn>
                      <a:cxn ang="0">
                        <a:pos x="0" y="308"/>
                      </a:cxn>
                    </a:cxnLst>
                    <a:rect l="0" t="0" r="r" b="b"/>
                    <a:pathLst>
                      <a:path w="255" h="324">
                        <a:moveTo>
                          <a:pt x="26" y="291"/>
                        </a:moveTo>
                        <a:cubicBezTo>
                          <a:pt x="22" y="301"/>
                          <a:pt x="23" y="314"/>
                          <a:pt x="22" y="324"/>
                        </a:cubicBezTo>
                        <a:cubicBezTo>
                          <a:pt x="74" y="321"/>
                          <a:pt x="165" y="255"/>
                          <a:pt x="203" y="218"/>
                        </a:cubicBezTo>
                        <a:cubicBezTo>
                          <a:pt x="237" y="187"/>
                          <a:pt x="239" y="163"/>
                          <a:pt x="241" y="118"/>
                        </a:cubicBezTo>
                        <a:cubicBezTo>
                          <a:pt x="243" y="81"/>
                          <a:pt x="255" y="36"/>
                          <a:pt x="249" y="1"/>
                        </a:cubicBezTo>
                        <a:cubicBezTo>
                          <a:pt x="195" y="0"/>
                          <a:pt x="144" y="111"/>
                          <a:pt x="119" y="151"/>
                        </a:cubicBezTo>
                        <a:cubicBezTo>
                          <a:pt x="83" y="207"/>
                          <a:pt x="30" y="254"/>
                          <a:pt x="0" y="3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3" name="Freeform 110"/>
                  <p:cNvSpPr>
                    <a:spLocks/>
                  </p:cNvSpPr>
                  <p:nvPr/>
                </p:nvSpPr>
                <p:spPr bwMode="gray">
                  <a:xfrm>
                    <a:off x="-593725" y="-14671675"/>
                    <a:ext cx="574675" cy="1274763"/>
                  </a:xfrm>
                  <a:custGeom>
                    <a:avLst/>
                    <a:gdLst/>
                    <a:ahLst/>
                    <a:cxnLst>
                      <a:cxn ang="0">
                        <a:pos x="101" y="300"/>
                      </a:cxn>
                      <a:cxn ang="0">
                        <a:pos x="152" y="103"/>
                      </a:cxn>
                      <a:cxn ang="0">
                        <a:pos x="59" y="250"/>
                      </a:cxn>
                      <a:cxn ang="0">
                        <a:pos x="84" y="0"/>
                      </a:cxn>
                      <a:cxn ang="0">
                        <a:pos x="5" y="332"/>
                      </a:cxn>
                      <a:cxn ang="0">
                        <a:pos x="93" y="334"/>
                      </a:cxn>
                    </a:cxnLst>
                    <a:rect l="0" t="0" r="r" b="b"/>
                    <a:pathLst>
                      <a:path w="153" h="340">
                        <a:moveTo>
                          <a:pt x="101" y="300"/>
                        </a:moveTo>
                        <a:cubicBezTo>
                          <a:pt x="98" y="233"/>
                          <a:pt x="153" y="169"/>
                          <a:pt x="152" y="103"/>
                        </a:cubicBezTo>
                        <a:cubicBezTo>
                          <a:pt x="119" y="151"/>
                          <a:pt x="76" y="194"/>
                          <a:pt x="59" y="250"/>
                        </a:cubicBezTo>
                        <a:cubicBezTo>
                          <a:pt x="59" y="196"/>
                          <a:pt x="68" y="55"/>
                          <a:pt x="84" y="0"/>
                        </a:cubicBezTo>
                        <a:cubicBezTo>
                          <a:pt x="43" y="50"/>
                          <a:pt x="0" y="290"/>
                          <a:pt x="5" y="332"/>
                        </a:cubicBezTo>
                        <a:cubicBezTo>
                          <a:pt x="52" y="340"/>
                          <a:pt x="44" y="336"/>
                          <a:pt x="93" y="33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4" name="Freeform 111"/>
                  <p:cNvSpPr>
                    <a:spLocks/>
                  </p:cNvSpPr>
                  <p:nvPr/>
                </p:nvSpPr>
                <p:spPr bwMode="gray">
                  <a:xfrm>
                    <a:off x="-1819275" y="-16100425"/>
                    <a:ext cx="1258888" cy="2697163"/>
                  </a:xfrm>
                  <a:custGeom>
                    <a:avLst/>
                    <a:gdLst/>
                    <a:ahLst/>
                    <a:cxnLst>
                      <a:cxn ang="0">
                        <a:pos x="173" y="120"/>
                      </a:cxn>
                      <a:cxn ang="0">
                        <a:pos x="146" y="37"/>
                      </a:cxn>
                      <a:cxn ang="0">
                        <a:pos x="287" y="110"/>
                      </a:cxn>
                      <a:cxn ang="0">
                        <a:pos x="246" y="222"/>
                      </a:cxn>
                      <a:cxn ang="0">
                        <a:pos x="263" y="351"/>
                      </a:cxn>
                      <a:cxn ang="0">
                        <a:pos x="269" y="650"/>
                      </a:cxn>
                      <a:cxn ang="0">
                        <a:pos x="207" y="701"/>
                      </a:cxn>
                      <a:cxn ang="0">
                        <a:pos x="89" y="672"/>
                      </a:cxn>
                      <a:cxn ang="0">
                        <a:pos x="5" y="660"/>
                      </a:cxn>
                      <a:cxn ang="0">
                        <a:pos x="44" y="362"/>
                      </a:cxn>
                      <a:cxn ang="0">
                        <a:pos x="173" y="120"/>
                      </a:cxn>
                    </a:cxnLst>
                    <a:rect l="0" t="0" r="r" b="b"/>
                    <a:pathLst>
                      <a:path w="336" h="719">
                        <a:moveTo>
                          <a:pt x="173" y="120"/>
                        </a:moveTo>
                        <a:cubicBezTo>
                          <a:pt x="153" y="99"/>
                          <a:pt x="142" y="70"/>
                          <a:pt x="146" y="37"/>
                        </a:cubicBezTo>
                        <a:cubicBezTo>
                          <a:pt x="218" y="0"/>
                          <a:pt x="336" y="3"/>
                          <a:pt x="287" y="110"/>
                        </a:cubicBezTo>
                        <a:cubicBezTo>
                          <a:pt x="268" y="154"/>
                          <a:pt x="242" y="168"/>
                          <a:pt x="246" y="222"/>
                        </a:cubicBezTo>
                        <a:cubicBezTo>
                          <a:pt x="249" y="265"/>
                          <a:pt x="263" y="304"/>
                          <a:pt x="263" y="351"/>
                        </a:cubicBezTo>
                        <a:cubicBezTo>
                          <a:pt x="263" y="452"/>
                          <a:pt x="269" y="550"/>
                          <a:pt x="269" y="650"/>
                        </a:cubicBezTo>
                        <a:cubicBezTo>
                          <a:pt x="269" y="716"/>
                          <a:pt x="265" y="719"/>
                          <a:pt x="207" y="701"/>
                        </a:cubicBezTo>
                        <a:cubicBezTo>
                          <a:pt x="168" y="688"/>
                          <a:pt x="130" y="681"/>
                          <a:pt x="89" y="672"/>
                        </a:cubicBezTo>
                        <a:cubicBezTo>
                          <a:pt x="61" y="666"/>
                          <a:pt x="34" y="663"/>
                          <a:pt x="5" y="660"/>
                        </a:cubicBezTo>
                        <a:cubicBezTo>
                          <a:pt x="0" y="563"/>
                          <a:pt x="10" y="449"/>
                          <a:pt x="44" y="362"/>
                        </a:cubicBezTo>
                        <a:cubicBezTo>
                          <a:pt x="72" y="289"/>
                          <a:pt x="189" y="204"/>
                          <a:pt x="173" y="1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5" name="Freeform 112"/>
                  <p:cNvSpPr>
                    <a:spLocks/>
                  </p:cNvSpPr>
                  <p:nvPr/>
                </p:nvSpPr>
                <p:spPr bwMode="gray">
                  <a:xfrm>
                    <a:off x="-2124075" y="-12166600"/>
                    <a:ext cx="1339850" cy="1365250"/>
                  </a:xfrm>
                  <a:custGeom>
                    <a:avLst/>
                    <a:gdLst/>
                    <a:ahLst/>
                    <a:cxnLst>
                      <a:cxn ang="0">
                        <a:pos x="66" y="53"/>
                      </a:cxn>
                      <a:cxn ang="0">
                        <a:pos x="28" y="270"/>
                      </a:cxn>
                      <a:cxn ang="0">
                        <a:pos x="121" y="364"/>
                      </a:cxn>
                      <a:cxn ang="0">
                        <a:pos x="323" y="227"/>
                      </a:cxn>
                      <a:cxn ang="0">
                        <a:pos x="343" y="0"/>
                      </a:cxn>
                      <a:cxn ang="0">
                        <a:pos x="66" y="53"/>
                      </a:cxn>
                    </a:cxnLst>
                    <a:rect l="0" t="0" r="r" b="b"/>
                    <a:pathLst>
                      <a:path w="357" h="364">
                        <a:moveTo>
                          <a:pt x="66" y="53"/>
                        </a:moveTo>
                        <a:cubicBezTo>
                          <a:pt x="73" y="113"/>
                          <a:pt x="0" y="234"/>
                          <a:pt x="28" y="270"/>
                        </a:cubicBezTo>
                        <a:cubicBezTo>
                          <a:pt x="56" y="307"/>
                          <a:pt x="103" y="349"/>
                          <a:pt x="121" y="364"/>
                        </a:cubicBezTo>
                        <a:cubicBezTo>
                          <a:pt x="121" y="364"/>
                          <a:pt x="302" y="256"/>
                          <a:pt x="323" y="227"/>
                        </a:cubicBezTo>
                        <a:cubicBezTo>
                          <a:pt x="357" y="182"/>
                          <a:pt x="346" y="58"/>
                          <a:pt x="343" y="0"/>
                        </a:cubicBezTo>
                        <a:cubicBezTo>
                          <a:pt x="241" y="17"/>
                          <a:pt x="183" y="36"/>
                          <a:pt x="66" y="5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6" name="Freeform 113"/>
                  <p:cNvSpPr>
                    <a:spLocks/>
                  </p:cNvSpPr>
                  <p:nvPr/>
                </p:nvSpPr>
                <p:spPr bwMode="gray">
                  <a:xfrm>
                    <a:off x="-1755775" y="-16681450"/>
                    <a:ext cx="633413" cy="1219200"/>
                  </a:xfrm>
                  <a:custGeom>
                    <a:avLst/>
                    <a:gdLst/>
                    <a:ahLst/>
                    <a:cxnLst>
                      <a:cxn ang="0">
                        <a:pos x="62" y="0"/>
                      </a:cxn>
                      <a:cxn ang="0">
                        <a:pos x="95" y="84"/>
                      </a:cxn>
                      <a:cxn ang="0">
                        <a:pos x="167" y="164"/>
                      </a:cxn>
                      <a:cxn ang="0">
                        <a:pos x="42" y="325"/>
                      </a:cxn>
                      <a:cxn ang="0">
                        <a:pos x="62" y="0"/>
                      </a:cxn>
                    </a:cxnLst>
                    <a:rect l="0" t="0" r="r" b="b"/>
                    <a:pathLst>
                      <a:path w="169" h="325">
                        <a:moveTo>
                          <a:pt x="62" y="0"/>
                        </a:moveTo>
                        <a:cubicBezTo>
                          <a:pt x="66" y="35"/>
                          <a:pt x="73" y="58"/>
                          <a:pt x="95" y="84"/>
                        </a:cubicBezTo>
                        <a:cubicBezTo>
                          <a:pt x="105" y="97"/>
                          <a:pt x="169" y="155"/>
                          <a:pt x="167" y="164"/>
                        </a:cubicBezTo>
                        <a:cubicBezTo>
                          <a:pt x="161" y="183"/>
                          <a:pt x="63" y="289"/>
                          <a:pt x="42" y="325"/>
                        </a:cubicBezTo>
                        <a:cubicBezTo>
                          <a:pt x="0" y="295"/>
                          <a:pt x="10" y="21"/>
                          <a:pt x="6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7" name="Freeform 114"/>
                  <p:cNvSpPr>
                    <a:spLocks/>
                  </p:cNvSpPr>
                  <p:nvPr/>
                </p:nvSpPr>
                <p:spPr bwMode="gray">
                  <a:xfrm>
                    <a:off x="-1020763" y="-16843375"/>
                    <a:ext cx="1027113" cy="1193800"/>
                  </a:xfrm>
                  <a:custGeom>
                    <a:avLst/>
                    <a:gdLst/>
                    <a:ahLst/>
                    <a:cxnLst>
                      <a:cxn ang="0">
                        <a:pos x="0" y="206"/>
                      </a:cxn>
                      <a:cxn ang="0">
                        <a:pos x="152" y="318"/>
                      </a:cxn>
                      <a:cxn ang="0">
                        <a:pos x="246" y="132"/>
                      </a:cxn>
                      <a:cxn ang="0">
                        <a:pos x="206" y="0"/>
                      </a:cxn>
                      <a:cxn ang="0">
                        <a:pos x="0" y="206"/>
                      </a:cxn>
                    </a:cxnLst>
                    <a:rect l="0" t="0" r="r" b="b"/>
                    <a:pathLst>
                      <a:path w="274" h="318">
                        <a:moveTo>
                          <a:pt x="0" y="206"/>
                        </a:moveTo>
                        <a:cubicBezTo>
                          <a:pt x="43" y="235"/>
                          <a:pt x="108" y="288"/>
                          <a:pt x="152" y="318"/>
                        </a:cubicBezTo>
                        <a:cubicBezTo>
                          <a:pt x="181" y="255"/>
                          <a:pt x="222" y="196"/>
                          <a:pt x="246" y="132"/>
                        </a:cubicBezTo>
                        <a:cubicBezTo>
                          <a:pt x="273" y="61"/>
                          <a:pt x="274" y="51"/>
                          <a:pt x="206" y="0"/>
                        </a:cubicBezTo>
                        <a:cubicBezTo>
                          <a:pt x="166" y="79"/>
                          <a:pt x="89" y="176"/>
                          <a:pt x="0" y="20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8" name="Freeform 115"/>
                  <p:cNvSpPr>
                    <a:spLocks/>
                  </p:cNvSpPr>
                  <p:nvPr/>
                </p:nvSpPr>
                <p:spPr bwMode="gray">
                  <a:xfrm>
                    <a:off x="-2689225" y="-14930437"/>
                    <a:ext cx="322263" cy="1849438"/>
                  </a:xfrm>
                  <a:custGeom>
                    <a:avLst/>
                    <a:gdLst/>
                    <a:ahLst/>
                    <a:cxnLst>
                      <a:cxn ang="0">
                        <a:pos x="84" y="355"/>
                      </a:cxn>
                      <a:cxn ang="0">
                        <a:pos x="62" y="283"/>
                      </a:cxn>
                      <a:cxn ang="0">
                        <a:pos x="56" y="186"/>
                      </a:cxn>
                      <a:cxn ang="0">
                        <a:pos x="39" y="0"/>
                      </a:cxn>
                      <a:cxn ang="0">
                        <a:pos x="28" y="298"/>
                      </a:cxn>
                      <a:cxn ang="0">
                        <a:pos x="22" y="446"/>
                      </a:cxn>
                      <a:cxn ang="0">
                        <a:pos x="79" y="349"/>
                      </a:cxn>
                    </a:cxnLst>
                    <a:rect l="0" t="0" r="r" b="b"/>
                    <a:pathLst>
                      <a:path w="86" h="493">
                        <a:moveTo>
                          <a:pt x="84" y="355"/>
                        </a:moveTo>
                        <a:cubicBezTo>
                          <a:pt x="86" y="322"/>
                          <a:pt x="68" y="310"/>
                          <a:pt x="62" y="283"/>
                        </a:cubicBezTo>
                        <a:cubicBezTo>
                          <a:pt x="57" y="259"/>
                          <a:pt x="58" y="217"/>
                          <a:pt x="56" y="186"/>
                        </a:cubicBezTo>
                        <a:cubicBezTo>
                          <a:pt x="54" y="132"/>
                          <a:pt x="72" y="37"/>
                          <a:pt x="39" y="0"/>
                        </a:cubicBezTo>
                        <a:cubicBezTo>
                          <a:pt x="6" y="91"/>
                          <a:pt x="23" y="203"/>
                          <a:pt x="28" y="298"/>
                        </a:cubicBezTo>
                        <a:cubicBezTo>
                          <a:pt x="30" y="331"/>
                          <a:pt x="0" y="422"/>
                          <a:pt x="22" y="446"/>
                        </a:cubicBezTo>
                        <a:cubicBezTo>
                          <a:pt x="64" y="493"/>
                          <a:pt x="83" y="381"/>
                          <a:pt x="79" y="34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39" name="Freeform 116"/>
                  <p:cNvSpPr>
                    <a:spLocks/>
                  </p:cNvSpPr>
                  <p:nvPr/>
                </p:nvSpPr>
                <p:spPr bwMode="gray">
                  <a:xfrm>
                    <a:off x="55563" y="-15409862"/>
                    <a:ext cx="742950" cy="1765300"/>
                  </a:xfrm>
                  <a:custGeom>
                    <a:avLst/>
                    <a:gdLst/>
                    <a:ahLst/>
                    <a:cxnLst>
                      <a:cxn ang="0">
                        <a:pos x="51" y="415"/>
                      </a:cxn>
                      <a:cxn ang="0">
                        <a:pos x="101" y="195"/>
                      </a:cxn>
                      <a:cxn ang="0">
                        <a:pos x="198" y="0"/>
                      </a:cxn>
                      <a:cxn ang="0">
                        <a:pos x="84" y="201"/>
                      </a:cxn>
                      <a:cxn ang="0">
                        <a:pos x="12" y="420"/>
                      </a:cxn>
                      <a:cxn ang="0">
                        <a:pos x="73" y="426"/>
                      </a:cxn>
                    </a:cxnLst>
                    <a:rect l="0" t="0" r="r" b="b"/>
                    <a:pathLst>
                      <a:path w="198" h="471">
                        <a:moveTo>
                          <a:pt x="51" y="415"/>
                        </a:moveTo>
                        <a:cubicBezTo>
                          <a:pt x="95" y="346"/>
                          <a:pt x="66" y="265"/>
                          <a:pt x="101" y="195"/>
                        </a:cubicBezTo>
                        <a:cubicBezTo>
                          <a:pt x="135" y="128"/>
                          <a:pt x="176" y="73"/>
                          <a:pt x="198" y="0"/>
                        </a:cubicBezTo>
                        <a:cubicBezTo>
                          <a:pt x="139" y="59"/>
                          <a:pt x="110" y="125"/>
                          <a:pt x="84" y="201"/>
                        </a:cubicBezTo>
                        <a:cubicBezTo>
                          <a:pt x="64" y="262"/>
                          <a:pt x="0" y="357"/>
                          <a:pt x="12" y="420"/>
                        </a:cubicBezTo>
                        <a:cubicBezTo>
                          <a:pt x="34" y="430"/>
                          <a:pt x="65" y="471"/>
                          <a:pt x="73" y="4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0" name="Freeform 117"/>
                  <p:cNvSpPr>
                    <a:spLocks/>
                  </p:cNvSpPr>
                  <p:nvPr/>
                </p:nvSpPr>
                <p:spPr bwMode="gray">
                  <a:xfrm>
                    <a:off x="-2835275" y="-13689012"/>
                    <a:ext cx="922338" cy="858838"/>
                  </a:xfrm>
                  <a:custGeom>
                    <a:avLst/>
                    <a:gdLst/>
                    <a:ahLst/>
                    <a:cxnLst>
                      <a:cxn ang="0">
                        <a:pos x="191" y="226"/>
                      </a:cxn>
                      <a:cxn ang="0">
                        <a:pos x="246" y="45"/>
                      </a:cxn>
                      <a:cxn ang="0">
                        <a:pos x="94" y="51"/>
                      </a:cxn>
                      <a:cxn ang="0">
                        <a:pos x="55" y="135"/>
                      </a:cxn>
                      <a:cxn ang="0">
                        <a:pos x="60" y="211"/>
                      </a:cxn>
                      <a:cxn ang="0">
                        <a:pos x="197" y="221"/>
                      </a:cxn>
                    </a:cxnLst>
                    <a:rect l="0" t="0" r="r" b="b"/>
                    <a:pathLst>
                      <a:path w="246" h="229">
                        <a:moveTo>
                          <a:pt x="191" y="226"/>
                        </a:moveTo>
                        <a:cubicBezTo>
                          <a:pt x="186" y="181"/>
                          <a:pt x="206" y="61"/>
                          <a:pt x="246" y="45"/>
                        </a:cubicBezTo>
                        <a:cubicBezTo>
                          <a:pt x="243" y="3"/>
                          <a:pt x="105" y="0"/>
                          <a:pt x="94" y="51"/>
                        </a:cubicBezTo>
                        <a:cubicBezTo>
                          <a:pt x="29" y="52"/>
                          <a:pt x="54" y="92"/>
                          <a:pt x="55" y="135"/>
                        </a:cubicBezTo>
                        <a:cubicBezTo>
                          <a:pt x="0" y="149"/>
                          <a:pt x="26" y="194"/>
                          <a:pt x="60" y="211"/>
                        </a:cubicBezTo>
                        <a:cubicBezTo>
                          <a:pt x="97" y="229"/>
                          <a:pt x="153" y="221"/>
                          <a:pt x="197" y="2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1" name="Freeform 118"/>
                  <p:cNvSpPr>
                    <a:spLocks/>
                  </p:cNvSpPr>
                  <p:nvPr/>
                </p:nvSpPr>
                <p:spPr bwMode="gray">
                  <a:xfrm>
                    <a:off x="-387350" y="-13857287"/>
                    <a:ext cx="649288" cy="449263"/>
                  </a:xfrm>
                  <a:custGeom>
                    <a:avLst/>
                    <a:gdLst/>
                    <a:ahLst/>
                    <a:cxnLst>
                      <a:cxn ang="0">
                        <a:pos x="17" y="119"/>
                      </a:cxn>
                      <a:cxn ang="0">
                        <a:pos x="173" y="102"/>
                      </a:cxn>
                      <a:cxn ang="0">
                        <a:pos x="162" y="7"/>
                      </a:cxn>
                      <a:cxn ang="0">
                        <a:pos x="74" y="36"/>
                      </a:cxn>
                      <a:cxn ang="0">
                        <a:pos x="0" y="114"/>
                      </a:cxn>
                    </a:cxnLst>
                    <a:rect l="0" t="0" r="r" b="b"/>
                    <a:pathLst>
                      <a:path w="173" h="120">
                        <a:moveTo>
                          <a:pt x="17" y="119"/>
                        </a:moveTo>
                        <a:cubicBezTo>
                          <a:pt x="67" y="120"/>
                          <a:pt x="119" y="104"/>
                          <a:pt x="173" y="102"/>
                        </a:cubicBezTo>
                        <a:cubicBezTo>
                          <a:pt x="170" y="72"/>
                          <a:pt x="171" y="37"/>
                          <a:pt x="162" y="7"/>
                        </a:cubicBezTo>
                        <a:cubicBezTo>
                          <a:pt x="108" y="3"/>
                          <a:pt x="110" y="0"/>
                          <a:pt x="74" y="36"/>
                        </a:cubicBezTo>
                        <a:cubicBezTo>
                          <a:pt x="53" y="57"/>
                          <a:pt x="19" y="88"/>
                          <a:pt x="0" y="1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2" name="Freeform 119"/>
                  <p:cNvSpPr>
                    <a:spLocks/>
                  </p:cNvSpPr>
                  <p:nvPr/>
                </p:nvSpPr>
                <p:spPr bwMode="gray">
                  <a:xfrm>
                    <a:off x="-2798763" y="-13155612"/>
                    <a:ext cx="742950" cy="355600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95" y="65"/>
                      </a:cxn>
                      <a:cxn ang="0">
                        <a:pos x="162" y="65"/>
                      </a:cxn>
                      <a:cxn ang="0">
                        <a:pos x="183" y="26"/>
                      </a:cxn>
                      <a:cxn ang="0">
                        <a:pos x="177" y="86"/>
                      </a:cxn>
                      <a:cxn ang="0">
                        <a:pos x="32" y="59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198" h="95">
                        <a:moveTo>
                          <a:pt x="27" y="0"/>
                        </a:moveTo>
                        <a:cubicBezTo>
                          <a:pt x="14" y="38"/>
                          <a:pt x="64" y="59"/>
                          <a:pt x="95" y="65"/>
                        </a:cubicBezTo>
                        <a:cubicBezTo>
                          <a:pt x="111" y="67"/>
                          <a:pt x="147" y="70"/>
                          <a:pt x="162" y="65"/>
                        </a:cubicBezTo>
                        <a:cubicBezTo>
                          <a:pt x="179" y="58"/>
                          <a:pt x="180" y="41"/>
                          <a:pt x="183" y="26"/>
                        </a:cubicBezTo>
                        <a:cubicBezTo>
                          <a:pt x="185" y="52"/>
                          <a:pt x="198" y="77"/>
                          <a:pt x="177" y="86"/>
                        </a:cubicBezTo>
                        <a:cubicBezTo>
                          <a:pt x="157" y="95"/>
                          <a:pt x="55" y="79"/>
                          <a:pt x="32" y="59"/>
                        </a:cubicBezTo>
                        <a:cubicBezTo>
                          <a:pt x="18" y="45"/>
                          <a:pt x="0" y="16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3" name="Freeform 120"/>
                  <p:cNvSpPr>
                    <a:spLocks/>
                  </p:cNvSpPr>
                  <p:nvPr/>
                </p:nvSpPr>
                <p:spPr bwMode="gray">
                  <a:xfrm>
                    <a:off x="-304800" y="-13796962"/>
                    <a:ext cx="581025" cy="446088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97" y="79"/>
                      </a:cxn>
                      <a:cxn ang="0">
                        <a:pos x="0" y="106"/>
                      </a:cxn>
                      <a:cxn ang="0">
                        <a:pos x="66" y="107"/>
                      </a:cxn>
                      <a:cxn ang="0">
                        <a:pos x="125" y="95"/>
                      </a:cxn>
                      <a:cxn ang="0">
                        <a:pos x="151" y="56"/>
                      </a:cxn>
                      <a:cxn ang="0">
                        <a:pos x="139" y="0"/>
                      </a:cxn>
                    </a:cxnLst>
                    <a:rect l="0" t="0" r="r" b="b"/>
                    <a:pathLst>
                      <a:path w="155" h="119">
                        <a:moveTo>
                          <a:pt x="134" y="0"/>
                        </a:moveTo>
                        <a:cubicBezTo>
                          <a:pt x="134" y="41"/>
                          <a:pt x="139" y="64"/>
                          <a:pt x="97" y="79"/>
                        </a:cubicBezTo>
                        <a:cubicBezTo>
                          <a:pt x="68" y="88"/>
                          <a:pt x="23" y="82"/>
                          <a:pt x="0" y="106"/>
                        </a:cubicBezTo>
                        <a:cubicBezTo>
                          <a:pt x="16" y="119"/>
                          <a:pt x="48" y="113"/>
                          <a:pt x="66" y="107"/>
                        </a:cubicBezTo>
                        <a:cubicBezTo>
                          <a:pt x="88" y="101"/>
                          <a:pt x="102" y="99"/>
                          <a:pt x="125" y="95"/>
                        </a:cubicBezTo>
                        <a:cubicBezTo>
                          <a:pt x="155" y="91"/>
                          <a:pt x="154" y="85"/>
                          <a:pt x="151" y="56"/>
                        </a:cubicBezTo>
                        <a:cubicBezTo>
                          <a:pt x="149" y="37"/>
                          <a:pt x="149" y="13"/>
                          <a:pt x="13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4" name="Freeform 121"/>
                  <p:cNvSpPr>
                    <a:spLocks/>
                  </p:cNvSpPr>
                  <p:nvPr/>
                </p:nvSpPr>
                <p:spPr bwMode="gray">
                  <a:xfrm>
                    <a:off x="-1882775" y="-12166600"/>
                    <a:ext cx="1046163" cy="322263"/>
                  </a:xfrm>
                  <a:custGeom>
                    <a:avLst/>
                    <a:gdLst/>
                    <a:ahLst/>
                    <a:cxnLst>
                      <a:cxn ang="0">
                        <a:pos x="3" y="53"/>
                      </a:cxn>
                      <a:cxn ang="0">
                        <a:pos x="0" y="84"/>
                      </a:cxn>
                      <a:cxn ang="0">
                        <a:pos x="160" y="64"/>
                      </a:cxn>
                      <a:cxn ang="0">
                        <a:pos x="239" y="50"/>
                      </a:cxn>
                      <a:cxn ang="0">
                        <a:pos x="278" y="3"/>
                      </a:cxn>
                      <a:cxn ang="0">
                        <a:pos x="141" y="22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279" h="86">
                        <a:moveTo>
                          <a:pt x="3" y="53"/>
                        </a:moveTo>
                        <a:cubicBezTo>
                          <a:pt x="4" y="64"/>
                          <a:pt x="2" y="75"/>
                          <a:pt x="0" y="84"/>
                        </a:cubicBezTo>
                        <a:cubicBezTo>
                          <a:pt x="53" y="86"/>
                          <a:pt x="113" y="82"/>
                          <a:pt x="160" y="64"/>
                        </a:cubicBezTo>
                        <a:cubicBezTo>
                          <a:pt x="187" y="53"/>
                          <a:pt x="208" y="55"/>
                          <a:pt x="239" y="50"/>
                        </a:cubicBezTo>
                        <a:cubicBezTo>
                          <a:pt x="274" y="45"/>
                          <a:pt x="279" y="39"/>
                          <a:pt x="278" y="3"/>
                        </a:cubicBezTo>
                        <a:cubicBezTo>
                          <a:pt x="229" y="0"/>
                          <a:pt x="186" y="13"/>
                          <a:pt x="141" y="22"/>
                        </a:cubicBezTo>
                        <a:cubicBezTo>
                          <a:pt x="95" y="32"/>
                          <a:pt x="46" y="37"/>
                          <a:pt x="0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5" name="Freeform 122"/>
                  <p:cNvSpPr>
                    <a:spLocks/>
                  </p:cNvSpPr>
                  <p:nvPr/>
                </p:nvSpPr>
                <p:spPr bwMode="gray">
                  <a:xfrm>
                    <a:off x="-1695450" y="-7954962"/>
                    <a:ext cx="2128838" cy="3386138"/>
                  </a:xfrm>
                  <a:custGeom>
                    <a:avLst/>
                    <a:gdLst/>
                    <a:ahLst/>
                    <a:cxnLst>
                      <a:cxn ang="0">
                        <a:pos x="133" y="38"/>
                      </a:cxn>
                      <a:cxn ang="0">
                        <a:pos x="301" y="292"/>
                      </a:cxn>
                      <a:cxn ang="0">
                        <a:pos x="568" y="540"/>
                      </a:cxn>
                      <a:cxn ang="0">
                        <a:pos x="508" y="490"/>
                      </a:cxn>
                      <a:cxn ang="0">
                        <a:pos x="430" y="429"/>
                      </a:cxn>
                      <a:cxn ang="0">
                        <a:pos x="319" y="372"/>
                      </a:cxn>
                      <a:cxn ang="0">
                        <a:pos x="373" y="448"/>
                      </a:cxn>
                      <a:cxn ang="0">
                        <a:pos x="415" y="515"/>
                      </a:cxn>
                      <a:cxn ang="0">
                        <a:pos x="513" y="648"/>
                      </a:cxn>
                      <a:cxn ang="0">
                        <a:pos x="375" y="524"/>
                      </a:cxn>
                      <a:cxn ang="0">
                        <a:pos x="430" y="653"/>
                      </a:cxn>
                      <a:cxn ang="0">
                        <a:pos x="478" y="768"/>
                      </a:cxn>
                      <a:cxn ang="0">
                        <a:pos x="388" y="646"/>
                      </a:cxn>
                      <a:cxn ang="0">
                        <a:pos x="332" y="541"/>
                      </a:cxn>
                      <a:cxn ang="0">
                        <a:pos x="252" y="296"/>
                      </a:cxn>
                      <a:cxn ang="0">
                        <a:pos x="257" y="642"/>
                      </a:cxn>
                      <a:cxn ang="0">
                        <a:pos x="208" y="718"/>
                      </a:cxn>
                      <a:cxn ang="0">
                        <a:pos x="175" y="781"/>
                      </a:cxn>
                      <a:cxn ang="0">
                        <a:pos x="41" y="903"/>
                      </a:cxn>
                      <a:cxn ang="0">
                        <a:pos x="99" y="803"/>
                      </a:cxn>
                      <a:cxn ang="0">
                        <a:pos x="10" y="736"/>
                      </a:cxn>
                      <a:cxn ang="0">
                        <a:pos x="87" y="642"/>
                      </a:cxn>
                      <a:cxn ang="0">
                        <a:pos x="71" y="498"/>
                      </a:cxn>
                      <a:cxn ang="0">
                        <a:pos x="54" y="334"/>
                      </a:cxn>
                      <a:cxn ang="0">
                        <a:pos x="112" y="489"/>
                      </a:cxn>
                      <a:cxn ang="0">
                        <a:pos x="167" y="363"/>
                      </a:cxn>
                      <a:cxn ang="0">
                        <a:pos x="151" y="172"/>
                      </a:cxn>
                      <a:cxn ang="0">
                        <a:pos x="117" y="0"/>
                      </a:cxn>
                      <a:cxn ang="0">
                        <a:pos x="129" y="42"/>
                      </a:cxn>
                    </a:cxnLst>
                    <a:rect l="0" t="0" r="r" b="b"/>
                    <a:pathLst>
                      <a:path w="568" h="903">
                        <a:moveTo>
                          <a:pt x="133" y="38"/>
                        </a:moveTo>
                        <a:cubicBezTo>
                          <a:pt x="146" y="122"/>
                          <a:pt x="232" y="241"/>
                          <a:pt x="301" y="292"/>
                        </a:cubicBezTo>
                        <a:cubicBezTo>
                          <a:pt x="401" y="367"/>
                          <a:pt x="496" y="440"/>
                          <a:pt x="568" y="540"/>
                        </a:cubicBezTo>
                        <a:cubicBezTo>
                          <a:pt x="537" y="529"/>
                          <a:pt x="530" y="512"/>
                          <a:pt x="508" y="490"/>
                        </a:cubicBezTo>
                        <a:cubicBezTo>
                          <a:pt x="486" y="467"/>
                          <a:pt x="454" y="454"/>
                          <a:pt x="430" y="429"/>
                        </a:cubicBezTo>
                        <a:cubicBezTo>
                          <a:pt x="415" y="414"/>
                          <a:pt x="325" y="293"/>
                          <a:pt x="319" y="372"/>
                        </a:cubicBezTo>
                        <a:cubicBezTo>
                          <a:pt x="316" y="408"/>
                          <a:pt x="352" y="428"/>
                          <a:pt x="373" y="448"/>
                        </a:cubicBezTo>
                        <a:cubicBezTo>
                          <a:pt x="394" y="468"/>
                          <a:pt x="400" y="487"/>
                          <a:pt x="415" y="515"/>
                        </a:cubicBezTo>
                        <a:cubicBezTo>
                          <a:pt x="439" y="560"/>
                          <a:pt x="478" y="604"/>
                          <a:pt x="513" y="648"/>
                        </a:cubicBezTo>
                        <a:cubicBezTo>
                          <a:pt x="464" y="628"/>
                          <a:pt x="411" y="567"/>
                          <a:pt x="375" y="524"/>
                        </a:cubicBezTo>
                        <a:cubicBezTo>
                          <a:pt x="370" y="573"/>
                          <a:pt x="407" y="615"/>
                          <a:pt x="430" y="653"/>
                        </a:cubicBezTo>
                        <a:cubicBezTo>
                          <a:pt x="452" y="690"/>
                          <a:pt x="456" y="733"/>
                          <a:pt x="478" y="768"/>
                        </a:cubicBezTo>
                        <a:cubicBezTo>
                          <a:pt x="430" y="762"/>
                          <a:pt x="407" y="682"/>
                          <a:pt x="388" y="646"/>
                        </a:cubicBezTo>
                        <a:cubicBezTo>
                          <a:pt x="365" y="606"/>
                          <a:pt x="341" y="586"/>
                          <a:pt x="332" y="541"/>
                        </a:cubicBezTo>
                        <a:cubicBezTo>
                          <a:pt x="313" y="451"/>
                          <a:pt x="310" y="365"/>
                          <a:pt x="252" y="296"/>
                        </a:cubicBezTo>
                        <a:cubicBezTo>
                          <a:pt x="268" y="402"/>
                          <a:pt x="308" y="535"/>
                          <a:pt x="257" y="642"/>
                        </a:cubicBezTo>
                        <a:cubicBezTo>
                          <a:pt x="242" y="672"/>
                          <a:pt x="229" y="692"/>
                          <a:pt x="208" y="718"/>
                        </a:cubicBezTo>
                        <a:cubicBezTo>
                          <a:pt x="189" y="742"/>
                          <a:pt x="189" y="756"/>
                          <a:pt x="175" y="781"/>
                        </a:cubicBezTo>
                        <a:cubicBezTo>
                          <a:pt x="156" y="818"/>
                          <a:pt x="83" y="902"/>
                          <a:pt x="41" y="903"/>
                        </a:cubicBezTo>
                        <a:cubicBezTo>
                          <a:pt x="55" y="863"/>
                          <a:pt x="107" y="862"/>
                          <a:pt x="99" y="803"/>
                        </a:cubicBezTo>
                        <a:cubicBezTo>
                          <a:pt x="61" y="803"/>
                          <a:pt x="17" y="776"/>
                          <a:pt x="10" y="736"/>
                        </a:cubicBezTo>
                        <a:cubicBezTo>
                          <a:pt x="0" y="684"/>
                          <a:pt x="63" y="680"/>
                          <a:pt x="87" y="642"/>
                        </a:cubicBezTo>
                        <a:cubicBezTo>
                          <a:pt x="115" y="596"/>
                          <a:pt x="88" y="545"/>
                          <a:pt x="71" y="498"/>
                        </a:cubicBezTo>
                        <a:cubicBezTo>
                          <a:pt x="51" y="445"/>
                          <a:pt x="50" y="392"/>
                          <a:pt x="54" y="334"/>
                        </a:cubicBezTo>
                        <a:cubicBezTo>
                          <a:pt x="95" y="325"/>
                          <a:pt x="87" y="460"/>
                          <a:pt x="112" y="489"/>
                        </a:cubicBezTo>
                        <a:cubicBezTo>
                          <a:pt x="166" y="551"/>
                          <a:pt x="167" y="403"/>
                          <a:pt x="167" y="363"/>
                        </a:cubicBezTo>
                        <a:cubicBezTo>
                          <a:pt x="168" y="296"/>
                          <a:pt x="170" y="232"/>
                          <a:pt x="151" y="172"/>
                        </a:cubicBezTo>
                        <a:cubicBezTo>
                          <a:pt x="134" y="120"/>
                          <a:pt x="115" y="56"/>
                          <a:pt x="117" y="0"/>
                        </a:cubicBezTo>
                        <a:cubicBezTo>
                          <a:pt x="121" y="11"/>
                          <a:pt x="126" y="29"/>
                          <a:pt x="129" y="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6" name="Freeform 123"/>
                  <p:cNvSpPr>
                    <a:spLocks/>
                  </p:cNvSpPr>
                  <p:nvPr/>
                </p:nvSpPr>
                <p:spPr bwMode="gray">
                  <a:xfrm>
                    <a:off x="-1717675" y="-1122362"/>
                    <a:ext cx="854075" cy="655638"/>
                  </a:xfrm>
                  <a:custGeom>
                    <a:avLst/>
                    <a:gdLst/>
                    <a:ahLst/>
                    <a:cxnLst>
                      <a:cxn ang="0">
                        <a:pos x="228" y="175"/>
                      </a:cxn>
                      <a:cxn ang="0">
                        <a:pos x="130" y="75"/>
                      </a:cxn>
                      <a:cxn ang="0">
                        <a:pos x="0" y="0"/>
                      </a:cxn>
                      <a:cxn ang="0">
                        <a:pos x="54" y="54"/>
                      </a:cxn>
                      <a:cxn ang="0">
                        <a:pos x="60" y="137"/>
                      </a:cxn>
                      <a:cxn ang="0">
                        <a:pos x="152" y="137"/>
                      </a:cxn>
                      <a:cxn ang="0">
                        <a:pos x="228" y="167"/>
                      </a:cxn>
                    </a:cxnLst>
                    <a:rect l="0" t="0" r="r" b="b"/>
                    <a:pathLst>
                      <a:path w="228" h="175">
                        <a:moveTo>
                          <a:pt x="228" y="175"/>
                        </a:moveTo>
                        <a:cubicBezTo>
                          <a:pt x="209" y="136"/>
                          <a:pt x="165" y="105"/>
                          <a:pt x="130" y="75"/>
                        </a:cubicBezTo>
                        <a:cubicBezTo>
                          <a:pt x="90" y="42"/>
                          <a:pt x="34" y="30"/>
                          <a:pt x="0" y="0"/>
                        </a:cubicBezTo>
                        <a:cubicBezTo>
                          <a:pt x="4" y="32"/>
                          <a:pt x="37" y="32"/>
                          <a:pt x="54" y="54"/>
                        </a:cubicBezTo>
                        <a:cubicBezTo>
                          <a:pt x="72" y="77"/>
                          <a:pt x="70" y="113"/>
                          <a:pt x="60" y="137"/>
                        </a:cubicBezTo>
                        <a:cubicBezTo>
                          <a:pt x="90" y="149"/>
                          <a:pt x="120" y="134"/>
                          <a:pt x="152" y="137"/>
                        </a:cubicBezTo>
                        <a:cubicBezTo>
                          <a:pt x="180" y="141"/>
                          <a:pt x="203" y="157"/>
                          <a:pt x="228" y="1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7" name="Freeform 124"/>
                  <p:cNvSpPr>
                    <a:spLocks/>
                  </p:cNvSpPr>
                  <p:nvPr/>
                </p:nvSpPr>
                <p:spPr bwMode="gray">
                  <a:xfrm>
                    <a:off x="-87313" y="-639762"/>
                    <a:ext cx="1308100" cy="571500"/>
                  </a:xfrm>
                  <a:custGeom>
                    <a:avLst/>
                    <a:gdLst/>
                    <a:ahLst/>
                    <a:cxnLst>
                      <a:cxn ang="0">
                        <a:pos x="42" y="122"/>
                      </a:cxn>
                      <a:cxn ang="0">
                        <a:pos x="232" y="0"/>
                      </a:cxn>
                      <a:cxn ang="0">
                        <a:pos x="324" y="43"/>
                      </a:cxn>
                      <a:cxn ang="0">
                        <a:pos x="309" y="147"/>
                      </a:cxn>
                      <a:cxn ang="0">
                        <a:pos x="271" y="66"/>
                      </a:cxn>
                      <a:cxn ang="0">
                        <a:pos x="186" y="56"/>
                      </a:cxn>
                      <a:cxn ang="0">
                        <a:pos x="93" y="89"/>
                      </a:cxn>
                      <a:cxn ang="0">
                        <a:pos x="0" y="152"/>
                      </a:cxn>
                    </a:cxnLst>
                    <a:rect l="0" t="0" r="r" b="b"/>
                    <a:pathLst>
                      <a:path w="349" h="152">
                        <a:moveTo>
                          <a:pt x="42" y="122"/>
                        </a:moveTo>
                        <a:cubicBezTo>
                          <a:pt x="99" y="79"/>
                          <a:pt x="159" y="0"/>
                          <a:pt x="232" y="0"/>
                        </a:cubicBezTo>
                        <a:cubicBezTo>
                          <a:pt x="263" y="0"/>
                          <a:pt x="304" y="17"/>
                          <a:pt x="324" y="43"/>
                        </a:cubicBezTo>
                        <a:cubicBezTo>
                          <a:pt x="344" y="70"/>
                          <a:pt x="349" y="138"/>
                          <a:pt x="309" y="147"/>
                        </a:cubicBezTo>
                        <a:cubicBezTo>
                          <a:pt x="303" y="117"/>
                          <a:pt x="295" y="86"/>
                          <a:pt x="271" y="66"/>
                        </a:cubicBezTo>
                        <a:cubicBezTo>
                          <a:pt x="239" y="41"/>
                          <a:pt x="220" y="47"/>
                          <a:pt x="186" y="56"/>
                        </a:cubicBezTo>
                        <a:cubicBezTo>
                          <a:pt x="152" y="65"/>
                          <a:pt x="122" y="71"/>
                          <a:pt x="93" y="89"/>
                        </a:cubicBezTo>
                        <a:cubicBezTo>
                          <a:pt x="62" y="107"/>
                          <a:pt x="34" y="141"/>
                          <a:pt x="0" y="1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8" name="Freeform 125"/>
                  <p:cNvSpPr>
                    <a:spLocks/>
                  </p:cNvSpPr>
                  <p:nvPr/>
                </p:nvSpPr>
                <p:spPr bwMode="gray">
                  <a:xfrm>
                    <a:off x="-2501900" y="-6432550"/>
                    <a:ext cx="2092325" cy="4953000"/>
                  </a:xfrm>
                  <a:custGeom>
                    <a:avLst/>
                    <a:gdLst/>
                    <a:ahLst/>
                    <a:cxnLst>
                      <a:cxn ang="0">
                        <a:pos x="542" y="1169"/>
                      </a:cxn>
                      <a:cxn ang="0">
                        <a:pos x="541" y="1266"/>
                      </a:cxn>
                      <a:cxn ang="0">
                        <a:pos x="455" y="1312"/>
                      </a:cxn>
                      <a:cxn ang="0">
                        <a:pos x="398" y="1245"/>
                      </a:cxn>
                      <a:cxn ang="0">
                        <a:pos x="336" y="1160"/>
                      </a:cxn>
                      <a:cxn ang="0">
                        <a:pos x="233" y="990"/>
                      </a:cxn>
                      <a:cxn ang="0">
                        <a:pos x="155" y="793"/>
                      </a:cxn>
                      <a:cxn ang="0">
                        <a:pos x="27" y="404"/>
                      </a:cxn>
                      <a:cxn ang="0">
                        <a:pos x="23" y="185"/>
                      </a:cxn>
                      <a:cxn ang="0">
                        <a:pos x="6" y="0"/>
                      </a:cxn>
                      <a:cxn ang="0">
                        <a:pos x="10" y="170"/>
                      </a:cxn>
                      <a:cxn ang="0">
                        <a:pos x="44" y="346"/>
                      </a:cxn>
                      <a:cxn ang="0">
                        <a:pos x="106" y="591"/>
                      </a:cxn>
                      <a:cxn ang="0">
                        <a:pos x="276" y="1025"/>
                      </a:cxn>
                      <a:cxn ang="0">
                        <a:pos x="386" y="1213"/>
                      </a:cxn>
                      <a:cxn ang="0">
                        <a:pos x="482" y="1240"/>
                      </a:cxn>
                      <a:cxn ang="0">
                        <a:pos x="530" y="1148"/>
                      </a:cxn>
                    </a:cxnLst>
                    <a:rect l="0" t="0" r="r" b="b"/>
                    <a:pathLst>
                      <a:path w="558" h="1321">
                        <a:moveTo>
                          <a:pt x="542" y="1169"/>
                        </a:moveTo>
                        <a:cubicBezTo>
                          <a:pt x="558" y="1191"/>
                          <a:pt x="555" y="1242"/>
                          <a:pt x="541" y="1266"/>
                        </a:cubicBezTo>
                        <a:cubicBezTo>
                          <a:pt x="530" y="1287"/>
                          <a:pt x="479" y="1321"/>
                          <a:pt x="455" y="1312"/>
                        </a:cubicBezTo>
                        <a:cubicBezTo>
                          <a:pt x="444" y="1308"/>
                          <a:pt x="405" y="1254"/>
                          <a:pt x="398" y="1245"/>
                        </a:cubicBezTo>
                        <a:cubicBezTo>
                          <a:pt x="377" y="1220"/>
                          <a:pt x="353" y="1189"/>
                          <a:pt x="336" y="1160"/>
                        </a:cubicBezTo>
                        <a:cubicBezTo>
                          <a:pt x="303" y="1104"/>
                          <a:pt x="260" y="1050"/>
                          <a:pt x="233" y="990"/>
                        </a:cubicBezTo>
                        <a:cubicBezTo>
                          <a:pt x="205" y="927"/>
                          <a:pt x="177" y="855"/>
                          <a:pt x="155" y="793"/>
                        </a:cubicBezTo>
                        <a:cubicBezTo>
                          <a:pt x="111" y="667"/>
                          <a:pt x="41" y="541"/>
                          <a:pt x="27" y="404"/>
                        </a:cubicBezTo>
                        <a:cubicBezTo>
                          <a:pt x="20" y="326"/>
                          <a:pt x="43" y="261"/>
                          <a:pt x="23" y="185"/>
                        </a:cubicBezTo>
                        <a:cubicBezTo>
                          <a:pt x="6" y="123"/>
                          <a:pt x="0" y="66"/>
                          <a:pt x="6" y="0"/>
                        </a:cubicBezTo>
                        <a:cubicBezTo>
                          <a:pt x="6" y="58"/>
                          <a:pt x="11" y="114"/>
                          <a:pt x="10" y="170"/>
                        </a:cubicBezTo>
                        <a:cubicBezTo>
                          <a:pt x="10" y="236"/>
                          <a:pt x="29" y="286"/>
                          <a:pt x="44" y="346"/>
                        </a:cubicBezTo>
                        <a:cubicBezTo>
                          <a:pt x="65" y="427"/>
                          <a:pt x="79" y="511"/>
                          <a:pt x="106" y="591"/>
                        </a:cubicBezTo>
                        <a:cubicBezTo>
                          <a:pt x="157" y="739"/>
                          <a:pt x="225" y="885"/>
                          <a:pt x="276" y="1025"/>
                        </a:cubicBezTo>
                        <a:cubicBezTo>
                          <a:pt x="306" y="1106"/>
                          <a:pt x="317" y="1165"/>
                          <a:pt x="386" y="1213"/>
                        </a:cubicBezTo>
                        <a:cubicBezTo>
                          <a:pt x="412" y="1230"/>
                          <a:pt x="449" y="1254"/>
                          <a:pt x="482" y="1240"/>
                        </a:cubicBezTo>
                        <a:cubicBezTo>
                          <a:pt x="523" y="1224"/>
                          <a:pt x="518" y="1182"/>
                          <a:pt x="530" y="11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49" name="Freeform 126"/>
                  <p:cNvSpPr>
                    <a:spLocks/>
                  </p:cNvSpPr>
                  <p:nvPr/>
                </p:nvSpPr>
                <p:spPr bwMode="gray">
                  <a:xfrm>
                    <a:off x="-1466850" y="-1479550"/>
                    <a:ext cx="854075" cy="693738"/>
                  </a:xfrm>
                  <a:custGeom>
                    <a:avLst/>
                    <a:gdLst/>
                    <a:ahLst/>
                    <a:cxnLst>
                      <a:cxn ang="0">
                        <a:pos x="13" y="30"/>
                      </a:cxn>
                      <a:cxn ang="0">
                        <a:pos x="228" y="181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28" h="185">
                        <a:moveTo>
                          <a:pt x="13" y="30"/>
                        </a:moveTo>
                        <a:cubicBezTo>
                          <a:pt x="80" y="65"/>
                          <a:pt x="145" y="185"/>
                          <a:pt x="228" y="181"/>
                        </a:cubicBezTo>
                        <a:cubicBezTo>
                          <a:pt x="216" y="68"/>
                          <a:pt x="79" y="3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0" name="Freeform 127"/>
                  <p:cNvSpPr>
                    <a:spLocks/>
                  </p:cNvSpPr>
                  <p:nvPr/>
                </p:nvSpPr>
                <p:spPr bwMode="gray">
                  <a:xfrm>
                    <a:off x="-1069975" y="-7924800"/>
                    <a:ext cx="1316038" cy="647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56" y="77"/>
                      </a:cxn>
                      <a:cxn ang="0">
                        <a:pos x="351" y="12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51" h="173">
                        <a:moveTo>
                          <a:pt x="4" y="0"/>
                        </a:moveTo>
                        <a:cubicBezTo>
                          <a:pt x="61" y="17"/>
                          <a:pt x="98" y="62"/>
                          <a:pt x="156" y="77"/>
                        </a:cubicBezTo>
                        <a:cubicBezTo>
                          <a:pt x="212" y="92"/>
                          <a:pt x="304" y="90"/>
                          <a:pt x="351" y="123"/>
                        </a:cubicBezTo>
                        <a:cubicBezTo>
                          <a:pt x="231" y="173"/>
                          <a:pt x="90" y="6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1" name="Freeform 128"/>
                  <p:cNvSpPr>
                    <a:spLocks/>
                  </p:cNvSpPr>
                  <p:nvPr/>
                </p:nvSpPr>
                <p:spPr bwMode="gray">
                  <a:xfrm>
                    <a:off x="22225" y="-1809750"/>
                    <a:ext cx="441325" cy="627063"/>
                  </a:xfrm>
                  <a:custGeom>
                    <a:avLst/>
                    <a:gdLst/>
                    <a:ahLst/>
                    <a:cxnLst>
                      <a:cxn ang="0">
                        <a:pos x="5" y="71"/>
                      </a:cxn>
                      <a:cxn ang="0">
                        <a:pos x="97" y="4"/>
                      </a:cxn>
                      <a:cxn ang="0">
                        <a:pos x="25" y="167"/>
                      </a:cxn>
                      <a:cxn ang="0">
                        <a:pos x="46" y="64"/>
                      </a:cxn>
                      <a:cxn ang="0">
                        <a:pos x="0" y="80"/>
                      </a:cxn>
                    </a:cxnLst>
                    <a:rect l="0" t="0" r="r" b="b"/>
                    <a:pathLst>
                      <a:path w="118" h="167">
                        <a:moveTo>
                          <a:pt x="5" y="71"/>
                        </a:moveTo>
                        <a:cubicBezTo>
                          <a:pt x="22" y="46"/>
                          <a:pt x="63" y="0"/>
                          <a:pt x="97" y="4"/>
                        </a:cubicBezTo>
                        <a:cubicBezTo>
                          <a:pt x="118" y="70"/>
                          <a:pt x="64" y="119"/>
                          <a:pt x="25" y="167"/>
                        </a:cubicBezTo>
                        <a:cubicBezTo>
                          <a:pt x="38" y="136"/>
                          <a:pt x="85" y="96"/>
                          <a:pt x="46" y="64"/>
                        </a:cubicBezTo>
                        <a:cubicBezTo>
                          <a:pt x="27" y="58"/>
                          <a:pt x="9" y="63"/>
                          <a:pt x="0" y="8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2" name="Freeform 129"/>
                  <p:cNvSpPr>
                    <a:spLocks/>
                  </p:cNvSpPr>
                  <p:nvPr/>
                </p:nvSpPr>
                <p:spPr bwMode="gray">
                  <a:xfrm>
                    <a:off x="969963" y="-4073525"/>
                    <a:ext cx="304800" cy="2241550"/>
                  </a:xfrm>
                  <a:custGeom>
                    <a:avLst/>
                    <a:gdLst/>
                    <a:ahLst/>
                    <a:cxnLst>
                      <a:cxn ang="0">
                        <a:pos x="26" y="17"/>
                      </a:cxn>
                      <a:cxn ang="0">
                        <a:pos x="5" y="295"/>
                      </a:cxn>
                      <a:cxn ang="0">
                        <a:pos x="9" y="460"/>
                      </a:cxn>
                      <a:cxn ang="0">
                        <a:pos x="18" y="598"/>
                      </a:cxn>
                      <a:cxn ang="0">
                        <a:pos x="64" y="309"/>
                      </a:cxn>
                      <a:cxn ang="0">
                        <a:pos x="26" y="0"/>
                      </a:cxn>
                    </a:cxnLst>
                    <a:rect l="0" t="0" r="r" b="b"/>
                    <a:pathLst>
                      <a:path w="81" h="598">
                        <a:moveTo>
                          <a:pt x="26" y="17"/>
                        </a:moveTo>
                        <a:cubicBezTo>
                          <a:pt x="26" y="112"/>
                          <a:pt x="0" y="198"/>
                          <a:pt x="5" y="295"/>
                        </a:cubicBezTo>
                        <a:cubicBezTo>
                          <a:pt x="8" y="348"/>
                          <a:pt x="4" y="406"/>
                          <a:pt x="9" y="460"/>
                        </a:cubicBezTo>
                        <a:cubicBezTo>
                          <a:pt x="13" y="505"/>
                          <a:pt x="31" y="551"/>
                          <a:pt x="18" y="598"/>
                        </a:cubicBezTo>
                        <a:cubicBezTo>
                          <a:pt x="81" y="529"/>
                          <a:pt x="65" y="399"/>
                          <a:pt x="64" y="309"/>
                        </a:cubicBezTo>
                        <a:cubicBezTo>
                          <a:pt x="63" y="204"/>
                          <a:pt x="15" y="103"/>
                          <a:pt x="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3" name="Freeform 130"/>
                  <p:cNvSpPr>
                    <a:spLocks/>
                  </p:cNvSpPr>
                  <p:nvPr/>
                </p:nvSpPr>
                <p:spPr bwMode="gray">
                  <a:xfrm>
                    <a:off x="708025" y="-8191500"/>
                    <a:ext cx="501650" cy="3529013"/>
                  </a:xfrm>
                  <a:custGeom>
                    <a:avLst/>
                    <a:gdLst/>
                    <a:ahLst/>
                    <a:cxnLst>
                      <a:cxn ang="0">
                        <a:pos x="134" y="67"/>
                      </a:cxn>
                      <a:cxn ang="0">
                        <a:pos x="0" y="182"/>
                      </a:cxn>
                      <a:cxn ang="0">
                        <a:pos x="104" y="333"/>
                      </a:cxn>
                      <a:cxn ang="0">
                        <a:pos x="66" y="544"/>
                      </a:cxn>
                      <a:cxn ang="0">
                        <a:pos x="92" y="760"/>
                      </a:cxn>
                      <a:cxn ang="0">
                        <a:pos x="100" y="857"/>
                      </a:cxn>
                      <a:cxn ang="0">
                        <a:pos x="46" y="941"/>
                      </a:cxn>
                      <a:cxn ang="0">
                        <a:pos x="130" y="751"/>
                      </a:cxn>
                      <a:cxn ang="0">
                        <a:pos x="126" y="498"/>
                      </a:cxn>
                      <a:cxn ang="0">
                        <a:pos x="126" y="0"/>
                      </a:cxn>
                    </a:cxnLst>
                    <a:rect l="0" t="0" r="r" b="b"/>
                    <a:pathLst>
                      <a:path w="134" h="941">
                        <a:moveTo>
                          <a:pt x="134" y="67"/>
                        </a:moveTo>
                        <a:cubicBezTo>
                          <a:pt x="99" y="118"/>
                          <a:pt x="41" y="139"/>
                          <a:pt x="0" y="182"/>
                        </a:cubicBezTo>
                        <a:cubicBezTo>
                          <a:pt x="74" y="171"/>
                          <a:pt x="105" y="277"/>
                          <a:pt x="104" y="333"/>
                        </a:cubicBezTo>
                        <a:cubicBezTo>
                          <a:pt x="104" y="412"/>
                          <a:pt x="83" y="473"/>
                          <a:pt x="66" y="544"/>
                        </a:cubicBezTo>
                        <a:cubicBezTo>
                          <a:pt x="49" y="619"/>
                          <a:pt x="82" y="689"/>
                          <a:pt x="92" y="760"/>
                        </a:cubicBezTo>
                        <a:cubicBezTo>
                          <a:pt x="96" y="789"/>
                          <a:pt x="103" y="828"/>
                          <a:pt x="100" y="857"/>
                        </a:cubicBezTo>
                        <a:cubicBezTo>
                          <a:pt x="96" y="902"/>
                          <a:pt x="66" y="902"/>
                          <a:pt x="46" y="941"/>
                        </a:cubicBezTo>
                        <a:cubicBezTo>
                          <a:pt x="123" y="926"/>
                          <a:pt x="133" y="817"/>
                          <a:pt x="130" y="751"/>
                        </a:cubicBezTo>
                        <a:cubicBezTo>
                          <a:pt x="126" y="669"/>
                          <a:pt x="126" y="582"/>
                          <a:pt x="126" y="498"/>
                        </a:cubicBezTo>
                        <a:cubicBezTo>
                          <a:pt x="126" y="332"/>
                          <a:pt x="126" y="166"/>
                          <a:pt x="1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4" name="Freeform 131"/>
                  <p:cNvSpPr>
                    <a:spLocks/>
                  </p:cNvSpPr>
                  <p:nvPr/>
                </p:nvSpPr>
                <p:spPr bwMode="gray">
                  <a:xfrm>
                    <a:off x="198438" y="-10363200"/>
                    <a:ext cx="1046163" cy="1816100"/>
                  </a:xfrm>
                  <a:custGeom>
                    <a:avLst/>
                    <a:gdLst/>
                    <a:ahLst/>
                    <a:cxnLst>
                      <a:cxn ang="0">
                        <a:pos x="160" y="42"/>
                      </a:cxn>
                      <a:cxn ang="0">
                        <a:pos x="98" y="97"/>
                      </a:cxn>
                      <a:cxn ang="0">
                        <a:pos x="0" y="135"/>
                      </a:cxn>
                      <a:cxn ang="0">
                        <a:pos x="113" y="136"/>
                      </a:cxn>
                      <a:cxn ang="0">
                        <a:pos x="38" y="244"/>
                      </a:cxn>
                      <a:cxn ang="0">
                        <a:pos x="152" y="244"/>
                      </a:cxn>
                      <a:cxn ang="0">
                        <a:pos x="173" y="358"/>
                      </a:cxn>
                      <a:cxn ang="0">
                        <a:pos x="106" y="430"/>
                      </a:cxn>
                      <a:cxn ang="0">
                        <a:pos x="186" y="448"/>
                      </a:cxn>
                      <a:cxn ang="0">
                        <a:pos x="207" y="477"/>
                      </a:cxn>
                      <a:cxn ang="0">
                        <a:pos x="257" y="481"/>
                      </a:cxn>
                      <a:cxn ang="0">
                        <a:pos x="236" y="233"/>
                      </a:cxn>
                      <a:cxn ang="0">
                        <a:pos x="194" y="131"/>
                      </a:cxn>
                      <a:cxn ang="0">
                        <a:pos x="173" y="0"/>
                      </a:cxn>
                    </a:cxnLst>
                    <a:rect l="0" t="0" r="r" b="b"/>
                    <a:pathLst>
                      <a:path w="279" h="484">
                        <a:moveTo>
                          <a:pt x="160" y="42"/>
                        </a:moveTo>
                        <a:cubicBezTo>
                          <a:pt x="137" y="59"/>
                          <a:pt x="123" y="82"/>
                          <a:pt x="98" y="97"/>
                        </a:cubicBezTo>
                        <a:cubicBezTo>
                          <a:pt x="67" y="115"/>
                          <a:pt x="23" y="110"/>
                          <a:pt x="0" y="135"/>
                        </a:cubicBezTo>
                        <a:cubicBezTo>
                          <a:pt x="27" y="146"/>
                          <a:pt x="84" y="151"/>
                          <a:pt x="113" y="136"/>
                        </a:cubicBezTo>
                        <a:cubicBezTo>
                          <a:pt x="109" y="175"/>
                          <a:pt x="67" y="217"/>
                          <a:pt x="38" y="244"/>
                        </a:cubicBezTo>
                        <a:cubicBezTo>
                          <a:pt x="71" y="268"/>
                          <a:pt x="117" y="259"/>
                          <a:pt x="152" y="244"/>
                        </a:cubicBezTo>
                        <a:cubicBezTo>
                          <a:pt x="168" y="277"/>
                          <a:pt x="184" y="320"/>
                          <a:pt x="173" y="358"/>
                        </a:cubicBezTo>
                        <a:cubicBezTo>
                          <a:pt x="163" y="391"/>
                          <a:pt x="129" y="404"/>
                          <a:pt x="106" y="430"/>
                        </a:cubicBezTo>
                        <a:cubicBezTo>
                          <a:pt x="142" y="433"/>
                          <a:pt x="162" y="428"/>
                          <a:pt x="186" y="448"/>
                        </a:cubicBezTo>
                        <a:cubicBezTo>
                          <a:pt x="197" y="457"/>
                          <a:pt x="188" y="467"/>
                          <a:pt x="207" y="477"/>
                        </a:cubicBezTo>
                        <a:cubicBezTo>
                          <a:pt x="220" y="484"/>
                          <a:pt x="242" y="483"/>
                          <a:pt x="257" y="481"/>
                        </a:cubicBezTo>
                        <a:cubicBezTo>
                          <a:pt x="279" y="401"/>
                          <a:pt x="265" y="309"/>
                          <a:pt x="236" y="233"/>
                        </a:cubicBezTo>
                        <a:cubicBezTo>
                          <a:pt x="223" y="198"/>
                          <a:pt x="203" y="165"/>
                          <a:pt x="194" y="131"/>
                        </a:cubicBezTo>
                        <a:cubicBezTo>
                          <a:pt x="183" y="88"/>
                          <a:pt x="190" y="41"/>
                          <a:pt x="17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5" name="Freeform 132"/>
                  <p:cNvSpPr>
                    <a:spLocks/>
                  </p:cNvSpPr>
                  <p:nvPr/>
                </p:nvSpPr>
                <p:spPr bwMode="gray">
                  <a:xfrm>
                    <a:off x="-1928813" y="-10028237"/>
                    <a:ext cx="690563" cy="1974850"/>
                  </a:xfrm>
                  <a:custGeom>
                    <a:avLst/>
                    <a:gdLst/>
                    <a:ahLst/>
                    <a:cxnLst>
                      <a:cxn ang="0">
                        <a:pos x="153" y="21"/>
                      </a:cxn>
                      <a:cxn ang="0">
                        <a:pos x="149" y="307"/>
                      </a:cxn>
                      <a:cxn ang="0">
                        <a:pos x="148" y="423"/>
                      </a:cxn>
                      <a:cxn ang="0">
                        <a:pos x="173" y="527"/>
                      </a:cxn>
                      <a:cxn ang="0">
                        <a:pos x="127" y="334"/>
                      </a:cxn>
                      <a:cxn ang="0">
                        <a:pos x="0" y="219"/>
                      </a:cxn>
                      <a:cxn ang="0">
                        <a:pos x="111" y="219"/>
                      </a:cxn>
                      <a:cxn ang="0">
                        <a:pos x="128" y="159"/>
                      </a:cxn>
                      <a:cxn ang="0">
                        <a:pos x="76" y="118"/>
                      </a:cxn>
                      <a:cxn ang="0">
                        <a:pos x="146" y="89"/>
                      </a:cxn>
                      <a:cxn ang="0">
                        <a:pos x="166" y="0"/>
                      </a:cxn>
                    </a:cxnLst>
                    <a:rect l="0" t="0" r="r" b="b"/>
                    <a:pathLst>
                      <a:path w="184" h="527">
                        <a:moveTo>
                          <a:pt x="153" y="21"/>
                        </a:moveTo>
                        <a:cubicBezTo>
                          <a:pt x="184" y="90"/>
                          <a:pt x="153" y="230"/>
                          <a:pt x="149" y="307"/>
                        </a:cubicBezTo>
                        <a:cubicBezTo>
                          <a:pt x="147" y="346"/>
                          <a:pt x="141" y="385"/>
                          <a:pt x="148" y="423"/>
                        </a:cubicBezTo>
                        <a:cubicBezTo>
                          <a:pt x="156" y="460"/>
                          <a:pt x="180" y="487"/>
                          <a:pt x="173" y="527"/>
                        </a:cubicBezTo>
                        <a:cubicBezTo>
                          <a:pt x="136" y="491"/>
                          <a:pt x="143" y="384"/>
                          <a:pt x="127" y="334"/>
                        </a:cubicBezTo>
                        <a:cubicBezTo>
                          <a:pt x="112" y="284"/>
                          <a:pt x="51" y="241"/>
                          <a:pt x="0" y="219"/>
                        </a:cubicBezTo>
                        <a:cubicBezTo>
                          <a:pt x="34" y="218"/>
                          <a:pt x="84" y="248"/>
                          <a:pt x="111" y="219"/>
                        </a:cubicBezTo>
                        <a:cubicBezTo>
                          <a:pt x="121" y="208"/>
                          <a:pt x="131" y="174"/>
                          <a:pt x="128" y="159"/>
                        </a:cubicBezTo>
                        <a:cubicBezTo>
                          <a:pt x="120" y="128"/>
                          <a:pt x="97" y="140"/>
                          <a:pt x="76" y="118"/>
                        </a:cubicBezTo>
                        <a:cubicBezTo>
                          <a:pt x="93" y="93"/>
                          <a:pt x="125" y="108"/>
                          <a:pt x="146" y="89"/>
                        </a:cubicBezTo>
                        <a:cubicBezTo>
                          <a:pt x="165" y="70"/>
                          <a:pt x="168" y="25"/>
                          <a:pt x="16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6" name="Freeform 133"/>
                  <p:cNvSpPr>
                    <a:spLocks/>
                  </p:cNvSpPr>
                  <p:nvPr/>
                </p:nvSpPr>
                <p:spPr bwMode="gray">
                  <a:xfrm>
                    <a:off x="-3011488" y="-10186987"/>
                    <a:ext cx="482600" cy="506413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129" y="34"/>
                      </a:cxn>
                      <a:cxn ang="0">
                        <a:pos x="67" y="59"/>
                      </a:cxn>
                      <a:cxn ang="0">
                        <a:pos x="101" y="105"/>
                      </a:cxn>
                      <a:cxn ang="0">
                        <a:pos x="8" y="130"/>
                      </a:cxn>
                      <a:cxn ang="0">
                        <a:pos x="49" y="4"/>
                      </a:cxn>
                    </a:cxnLst>
                    <a:rect l="0" t="0" r="r" b="b"/>
                    <a:pathLst>
                      <a:path w="129" h="135">
                        <a:moveTo>
                          <a:pt x="53" y="0"/>
                        </a:moveTo>
                        <a:cubicBezTo>
                          <a:pt x="72" y="15"/>
                          <a:pt x="106" y="33"/>
                          <a:pt x="129" y="34"/>
                        </a:cubicBezTo>
                        <a:cubicBezTo>
                          <a:pt x="125" y="56"/>
                          <a:pt x="88" y="55"/>
                          <a:pt x="67" y="59"/>
                        </a:cubicBezTo>
                        <a:cubicBezTo>
                          <a:pt x="59" y="85"/>
                          <a:pt x="72" y="107"/>
                          <a:pt x="101" y="105"/>
                        </a:cubicBezTo>
                        <a:cubicBezTo>
                          <a:pt x="76" y="109"/>
                          <a:pt x="36" y="135"/>
                          <a:pt x="8" y="130"/>
                        </a:cubicBezTo>
                        <a:cubicBezTo>
                          <a:pt x="0" y="92"/>
                          <a:pt x="19" y="27"/>
                          <a:pt x="49" y="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7" name="Freeform 134"/>
                  <p:cNvSpPr>
                    <a:spLocks/>
                  </p:cNvSpPr>
                  <p:nvPr/>
                </p:nvSpPr>
                <p:spPr bwMode="gray">
                  <a:xfrm>
                    <a:off x="-668338" y="-1020762"/>
                    <a:ext cx="517525" cy="1327150"/>
                  </a:xfrm>
                  <a:custGeom>
                    <a:avLst/>
                    <a:gdLst/>
                    <a:ahLst/>
                    <a:cxnLst>
                      <a:cxn ang="0">
                        <a:pos x="113" y="220"/>
                      </a:cxn>
                      <a:cxn ang="0">
                        <a:pos x="83" y="0"/>
                      </a:cxn>
                      <a:cxn ang="0">
                        <a:pos x="29" y="190"/>
                      </a:cxn>
                      <a:cxn ang="0">
                        <a:pos x="20" y="250"/>
                      </a:cxn>
                      <a:cxn ang="0">
                        <a:pos x="27" y="300"/>
                      </a:cxn>
                      <a:cxn ang="0">
                        <a:pos x="8" y="305"/>
                      </a:cxn>
                      <a:cxn ang="0">
                        <a:pos x="112" y="351"/>
                      </a:cxn>
                      <a:cxn ang="0">
                        <a:pos x="121" y="203"/>
                      </a:cxn>
                    </a:cxnLst>
                    <a:rect l="0" t="0" r="r" b="b"/>
                    <a:pathLst>
                      <a:path w="138" h="354">
                        <a:moveTo>
                          <a:pt x="113" y="220"/>
                        </a:moveTo>
                        <a:cubicBezTo>
                          <a:pt x="84" y="153"/>
                          <a:pt x="83" y="76"/>
                          <a:pt x="83" y="0"/>
                        </a:cubicBezTo>
                        <a:cubicBezTo>
                          <a:pt x="71" y="48"/>
                          <a:pt x="22" y="132"/>
                          <a:pt x="29" y="190"/>
                        </a:cubicBezTo>
                        <a:cubicBezTo>
                          <a:pt x="67" y="202"/>
                          <a:pt x="68" y="259"/>
                          <a:pt x="20" y="250"/>
                        </a:cubicBezTo>
                        <a:cubicBezTo>
                          <a:pt x="18" y="269"/>
                          <a:pt x="25" y="283"/>
                          <a:pt x="27" y="300"/>
                        </a:cubicBezTo>
                        <a:cubicBezTo>
                          <a:pt x="20" y="301"/>
                          <a:pt x="16" y="305"/>
                          <a:pt x="8" y="305"/>
                        </a:cubicBezTo>
                        <a:cubicBezTo>
                          <a:pt x="0" y="345"/>
                          <a:pt x="83" y="354"/>
                          <a:pt x="112" y="351"/>
                        </a:cubicBezTo>
                        <a:cubicBezTo>
                          <a:pt x="114" y="306"/>
                          <a:pt x="138" y="244"/>
                          <a:pt x="121" y="20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8" name="Freeform 135"/>
                  <p:cNvSpPr>
                    <a:spLocks/>
                  </p:cNvSpPr>
                  <p:nvPr/>
                </p:nvSpPr>
                <p:spPr bwMode="gray">
                  <a:xfrm>
                    <a:off x="-604838" y="-2014537"/>
                    <a:ext cx="479425" cy="1439863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44" y="237"/>
                      </a:cxn>
                      <a:cxn ang="0">
                        <a:pos x="104" y="313"/>
                      </a:cxn>
                      <a:cxn ang="0">
                        <a:pos x="87" y="122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128" h="384">
                        <a:moveTo>
                          <a:pt x="24" y="4"/>
                        </a:moveTo>
                        <a:cubicBezTo>
                          <a:pt x="0" y="68"/>
                          <a:pt x="31" y="173"/>
                          <a:pt x="44" y="237"/>
                        </a:cubicBezTo>
                        <a:cubicBezTo>
                          <a:pt x="49" y="263"/>
                          <a:pt x="60" y="384"/>
                          <a:pt x="104" y="313"/>
                        </a:cubicBezTo>
                        <a:cubicBezTo>
                          <a:pt x="128" y="274"/>
                          <a:pt x="104" y="160"/>
                          <a:pt x="87" y="122"/>
                        </a:cubicBezTo>
                        <a:cubicBezTo>
                          <a:pt x="67" y="76"/>
                          <a:pt x="36" y="50"/>
                          <a:pt x="2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59" name="Freeform 136"/>
                  <p:cNvSpPr>
                    <a:spLocks/>
                  </p:cNvSpPr>
                  <p:nvPr/>
                </p:nvSpPr>
                <p:spPr bwMode="gray">
                  <a:xfrm>
                    <a:off x="-2559050" y="-12211050"/>
                    <a:ext cx="1046163" cy="311150"/>
                  </a:xfrm>
                  <a:custGeom>
                    <a:avLst/>
                    <a:gdLst/>
                    <a:ahLst/>
                    <a:cxnLst>
                      <a:cxn ang="0">
                        <a:pos x="258" y="20"/>
                      </a:cxn>
                      <a:cxn ang="0">
                        <a:pos x="110" y="7"/>
                      </a:cxn>
                      <a:cxn ang="0">
                        <a:pos x="0" y="83"/>
                      </a:cxn>
                      <a:cxn ang="0">
                        <a:pos x="122" y="41"/>
                      </a:cxn>
                      <a:cxn ang="0">
                        <a:pos x="279" y="20"/>
                      </a:cxn>
                    </a:cxnLst>
                    <a:rect l="0" t="0" r="r" b="b"/>
                    <a:pathLst>
                      <a:path w="279" h="83">
                        <a:moveTo>
                          <a:pt x="258" y="20"/>
                        </a:moveTo>
                        <a:cubicBezTo>
                          <a:pt x="206" y="20"/>
                          <a:pt x="162" y="0"/>
                          <a:pt x="110" y="7"/>
                        </a:cubicBezTo>
                        <a:cubicBezTo>
                          <a:pt x="77" y="12"/>
                          <a:pt x="7" y="47"/>
                          <a:pt x="0" y="83"/>
                        </a:cubicBezTo>
                        <a:cubicBezTo>
                          <a:pt x="44" y="75"/>
                          <a:pt x="78" y="45"/>
                          <a:pt x="122" y="41"/>
                        </a:cubicBezTo>
                        <a:cubicBezTo>
                          <a:pt x="168" y="37"/>
                          <a:pt x="243" y="51"/>
                          <a:pt x="279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0" name="Freeform 137"/>
                  <p:cNvSpPr>
                    <a:spLocks/>
                  </p:cNvSpPr>
                  <p:nvPr/>
                </p:nvSpPr>
                <p:spPr bwMode="gray">
                  <a:xfrm>
                    <a:off x="-3270250" y="-12414250"/>
                    <a:ext cx="600075" cy="454025"/>
                  </a:xfrm>
                  <a:custGeom>
                    <a:avLst/>
                    <a:gdLst/>
                    <a:ahLst/>
                    <a:cxnLst>
                      <a:cxn ang="0">
                        <a:pos x="4" y="116"/>
                      </a:cxn>
                      <a:cxn ang="0">
                        <a:pos x="160" y="0"/>
                      </a:cxn>
                      <a:cxn ang="0">
                        <a:pos x="0" y="121"/>
                      </a:cxn>
                    </a:cxnLst>
                    <a:rect l="0" t="0" r="r" b="b"/>
                    <a:pathLst>
                      <a:path w="160" h="121">
                        <a:moveTo>
                          <a:pt x="4" y="116"/>
                        </a:moveTo>
                        <a:cubicBezTo>
                          <a:pt x="36" y="75"/>
                          <a:pt x="109" y="19"/>
                          <a:pt x="160" y="0"/>
                        </a:cubicBezTo>
                        <a:cubicBezTo>
                          <a:pt x="136" y="36"/>
                          <a:pt x="44" y="115"/>
                          <a:pt x="0" y="1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1" name="Freeform 138"/>
                  <p:cNvSpPr>
                    <a:spLocks/>
                  </p:cNvSpPr>
                  <p:nvPr/>
                </p:nvSpPr>
                <p:spPr bwMode="gray">
                  <a:xfrm>
                    <a:off x="-3713163" y="-13385800"/>
                    <a:ext cx="944563" cy="746125"/>
                  </a:xfrm>
                  <a:custGeom>
                    <a:avLst/>
                    <a:gdLst/>
                    <a:ahLst/>
                    <a:cxnLst>
                      <a:cxn ang="0">
                        <a:pos x="207" y="101"/>
                      </a:cxn>
                      <a:cxn ang="0">
                        <a:pos x="30" y="0"/>
                      </a:cxn>
                      <a:cxn ang="0">
                        <a:pos x="101" y="114"/>
                      </a:cxn>
                      <a:cxn ang="0">
                        <a:pos x="0" y="152"/>
                      </a:cxn>
                      <a:cxn ang="0">
                        <a:pos x="126" y="138"/>
                      </a:cxn>
                      <a:cxn ang="0">
                        <a:pos x="252" y="126"/>
                      </a:cxn>
                      <a:cxn ang="0">
                        <a:pos x="223" y="92"/>
                      </a:cxn>
                    </a:cxnLst>
                    <a:rect l="0" t="0" r="r" b="b"/>
                    <a:pathLst>
                      <a:path w="252" h="199">
                        <a:moveTo>
                          <a:pt x="207" y="101"/>
                        </a:moveTo>
                        <a:cubicBezTo>
                          <a:pt x="131" y="101"/>
                          <a:pt x="92" y="34"/>
                          <a:pt x="30" y="0"/>
                        </a:cubicBezTo>
                        <a:cubicBezTo>
                          <a:pt x="40" y="43"/>
                          <a:pt x="84" y="73"/>
                          <a:pt x="101" y="114"/>
                        </a:cubicBezTo>
                        <a:cubicBezTo>
                          <a:pt x="70" y="130"/>
                          <a:pt x="38" y="157"/>
                          <a:pt x="0" y="152"/>
                        </a:cubicBezTo>
                        <a:cubicBezTo>
                          <a:pt x="11" y="199"/>
                          <a:pt x="102" y="157"/>
                          <a:pt x="126" y="138"/>
                        </a:cubicBezTo>
                        <a:cubicBezTo>
                          <a:pt x="175" y="100"/>
                          <a:pt x="199" y="115"/>
                          <a:pt x="252" y="126"/>
                        </a:cubicBezTo>
                        <a:cubicBezTo>
                          <a:pt x="250" y="111"/>
                          <a:pt x="236" y="100"/>
                          <a:pt x="223" y="9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2" name="Freeform 139"/>
                  <p:cNvSpPr>
                    <a:spLocks/>
                  </p:cNvSpPr>
                  <p:nvPr/>
                </p:nvSpPr>
                <p:spPr bwMode="gray">
                  <a:xfrm>
                    <a:off x="-3349625" y="-15114587"/>
                    <a:ext cx="498475" cy="495300"/>
                  </a:xfrm>
                  <a:custGeom>
                    <a:avLst/>
                    <a:gdLst/>
                    <a:ahLst/>
                    <a:cxnLst>
                      <a:cxn ang="0">
                        <a:pos x="0" y="13"/>
                      </a:cxn>
                      <a:cxn ang="0">
                        <a:pos x="126" y="126"/>
                      </a:cxn>
                      <a:cxn ang="0">
                        <a:pos x="66" y="77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133" h="132">
                        <a:moveTo>
                          <a:pt x="0" y="13"/>
                        </a:moveTo>
                        <a:cubicBezTo>
                          <a:pt x="26" y="71"/>
                          <a:pt x="52" y="132"/>
                          <a:pt x="126" y="126"/>
                        </a:cubicBezTo>
                        <a:cubicBezTo>
                          <a:pt x="133" y="95"/>
                          <a:pt x="87" y="89"/>
                          <a:pt x="66" y="77"/>
                        </a:cubicBezTo>
                        <a:cubicBezTo>
                          <a:pt x="34" y="59"/>
                          <a:pt x="12" y="43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3" name="Freeform 140"/>
                  <p:cNvSpPr>
                    <a:spLocks/>
                  </p:cNvSpPr>
                  <p:nvPr/>
                </p:nvSpPr>
                <p:spPr bwMode="gray">
                  <a:xfrm>
                    <a:off x="-3035300" y="-11566525"/>
                    <a:ext cx="304800" cy="600075"/>
                  </a:xfrm>
                  <a:custGeom>
                    <a:avLst/>
                    <a:gdLst/>
                    <a:ahLst/>
                    <a:cxnLst>
                      <a:cxn ang="0">
                        <a:pos x="72" y="55"/>
                      </a:cxn>
                      <a:cxn ang="0">
                        <a:pos x="76" y="151"/>
                      </a:cxn>
                      <a:cxn ang="0">
                        <a:pos x="4" y="80"/>
                      </a:cxn>
                      <a:cxn ang="0">
                        <a:pos x="68" y="68"/>
                      </a:cxn>
                    </a:cxnLst>
                    <a:rect l="0" t="0" r="r" b="b"/>
                    <a:pathLst>
                      <a:path w="81" h="160">
                        <a:moveTo>
                          <a:pt x="72" y="55"/>
                        </a:moveTo>
                        <a:cubicBezTo>
                          <a:pt x="61" y="108"/>
                          <a:pt x="27" y="104"/>
                          <a:pt x="76" y="151"/>
                        </a:cubicBezTo>
                        <a:cubicBezTo>
                          <a:pt x="37" y="160"/>
                          <a:pt x="0" y="117"/>
                          <a:pt x="4" y="80"/>
                        </a:cubicBezTo>
                        <a:cubicBezTo>
                          <a:pt x="10" y="31"/>
                          <a:pt x="81" y="0"/>
                          <a:pt x="68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4" name="Freeform 141"/>
                  <p:cNvSpPr>
                    <a:spLocks/>
                  </p:cNvSpPr>
                  <p:nvPr/>
                </p:nvSpPr>
                <p:spPr bwMode="gray">
                  <a:xfrm>
                    <a:off x="-1174750" y="-15687675"/>
                    <a:ext cx="423863" cy="173038"/>
                  </a:xfrm>
                  <a:custGeom>
                    <a:avLst/>
                    <a:gdLst/>
                    <a:ahLst/>
                    <a:cxnLst>
                      <a:cxn ang="0">
                        <a:pos x="5" y="13"/>
                      </a:cxn>
                      <a:cxn ang="0">
                        <a:pos x="113" y="0"/>
                      </a:cxn>
                      <a:cxn ang="0">
                        <a:pos x="92" y="32"/>
                      </a:cxn>
                      <a:cxn ang="0">
                        <a:pos x="56" y="45"/>
                      </a:cxn>
                      <a:cxn ang="0">
                        <a:pos x="42" y="40"/>
                      </a:cxn>
                      <a:cxn ang="0">
                        <a:pos x="20" y="37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13" h="46">
                        <a:moveTo>
                          <a:pt x="5" y="13"/>
                        </a:moveTo>
                        <a:cubicBezTo>
                          <a:pt x="41" y="29"/>
                          <a:pt x="80" y="18"/>
                          <a:pt x="113" y="0"/>
                        </a:cubicBezTo>
                        <a:cubicBezTo>
                          <a:pt x="107" y="10"/>
                          <a:pt x="102" y="26"/>
                          <a:pt x="92" y="32"/>
                        </a:cubicBezTo>
                        <a:cubicBezTo>
                          <a:pt x="84" y="37"/>
                          <a:pt x="66" y="46"/>
                          <a:pt x="56" y="45"/>
                        </a:cubicBezTo>
                        <a:cubicBezTo>
                          <a:pt x="50" y="45"/>
                          <a:pt x="47" y="42"/>
                          <a:pt x="42" y="40"/>
                        </a:cubicBezTo>
                        <a:cubicBezTo>
                          <a:pt x="35" y="38"/>
                          <a:pt x="27" y="39"/>
                          <a:pt x="20" y="37"/>
                        </a:cubicBezTo>
                        <a:cubicBezTo>
                          <a:pt x="11" y="34"/>
                          <a:pt x="3" y="21"/>
                          <a:pt x="0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5" name="Freeform 142"/>
                  <p:cNvSpPr>
                    <a:spLocks/>
                  </p:cNvSpPr>
                  <p:nvPr/>
                </p:nvSpPr>
                <p:spPr bwMode="gray">
                  <a:xfrm>
                    <a:off x="-1246188" y="-11239500"/>
                    <a:ext cx="1897063" cy="614363"/>
                  </a:xfrm>
                  <a:custGeom>
                    <a:avLst/>
                    <a:gdLst/>
                    <a:ahLst/>
                    <a:cxnLst>
                      <a:cxn ang="0">
                        <a:pos x="433" y="0"/>
                      </a:cxn>
                      <a:cxn ang="0">
                        <a:pos x="331" y="121"/>
                      </a:cxn>
                      <a:cxn ang="0">
                        <a:pos x="135" y="122"/>
                      </a:cxn>
                      <a:cxn ang="0">
                        <a:pos x="17" y="73"/>
                      </a:cxn>
                      <a:cxn ang="0">
                        <a:pos x="95" y="95"/>
                      </a:cxn>
                    </a:cxnLst>
                    <a:rect l="0" t="0" r="r" b="b"/>
                    <a:pathLst>
                      <a:path w="506" h="164">
                        <a:moveTo>
                          <a:pt x="433" y="0"/>
                        </a:moveTo>
                        <a:cubicBezTo>
                          <a:pt x="506" y="50"/>
                          <a:pt x="358" y="108"/>
                          <a:pt x="331" y="121"/>
                        </a:cubicBezTo>
                        <a:cubicBezTo>
                          <a:pt x="253" y="160"/>
                          <a:pt x="212" y="126"/>
                          <a:pt x="135" y="122"/>
                        </a:cubicBezTo>
                        <a:cubicBezTo>
                          <a:pt x="91" y="119"/>
                          <a:pt x="0" y="164"/>
                          <a:pt x="17" y="73"/>
                        </a:cubicBezTo>
                        <a:cubicBezTo>
                          <a:pt x="48" y="50"/>
                          <a:pt x="76" y="69"/>
                          <a:pt x="95" y="9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6" name="Freeform 143"/>
                  <p:cNvSpPr>
                    <a:spLocks/>
                  </p:cNvSpPr>
                  <p:nvPr/>
                </p:nvSpPr>
                <p:spPr bwMode="gray">
                  <a:xfrm>
                    <a:off x="-825500" y="-11150600"/>
                    <a:ext cx="592138" cy="203200"/>
                  </a:xfrm>
                  <a:custGeom>
                    <a:avLst/>
                    <a:gdLst/>
                    <a:ahLst/>
                    <a:cxnLst>
                      <a:cxn ang="0">
                        <a:pos x="0" y="54"/>
                      </a:cxn>
                      <a:cxn ang="0">
                        <a:pos x="106" y="0"/>
                      </a:cxn>
                      <a:cxn ang="0">
                        <a:pos x="90" y="42"/>
                      </a:cxn>
                      <a:cxn ang="0">
                        <a:pos x="156" y="5"/>
                      </a:cxn>
                      <a:cxn ang="0">
                        <a:pos x="158" y="25"/>
                      </a:cxn>
                    </a:cxnLst>
                    <a:rect l="0" t="0" r="r" b="b"/>
                    <a:pathLst>
                      <a:path w="158" h="54">
                        <a:moveTo>
                          <a:pt x="0" y="54"/>
                        </a:moveTo>
                        <a:cubicBezTo>
                          <a:pt x="44" y="50"/>
                          <a:pt x="68" y="17"/>
                          <a:pt x="106" y="0"/>
                        </a:cubicBezTo>
                        <a:cubicBezTo>
                          <a:pt x="100" y="16"/>
                          <a:pt x="103" y="28"/>
                          <a:pt x="90" y="42"/>
                        </a:cubicBezTo>
                        <a:cubicBezTo>
                          <a:pt x="115" y="37"/>
                          <a:pt x="136" y="19"/>
                          <a:pt x="156" y="5"/>
                        </a:cubicBezTo>
                        <a:cubicBezTo>
                          <a:pt x="157" y="11"/>
                          <a:pt x="158" y="18"/>
                          <a:pt x="158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7" name="Freeform 144"/>
                  <p:cNvSpPr>
                    <a:spLocks/>
                  </p:cNvSpPr>
                  <p:nvPr/>
                </p:nvSpPr>
                <p:spPr bwMode="gray">
                  <a:xfrm>
                    <a:off x="-417513" y="-19359562"/>
                    <a:ext cx="180975" cy="488950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1" y="30"/>
                      </a:cxn>
                      <a:cxn ang="0">
                        <a:pos x="15" y="26"/>
                      </a:cxn>
                      <a:cxn ang="0">
                        <a:pos x="6" y="53"/>
                      </a:cxn>
                      <a:cxn ang="0">
                        <a:pos x="12" y="75"/>
                      </a:cxn>
                      <a:cxn ang="0">
                        <a:pos x="4" y="72"/>
                      </a:cxn>
                      <a:cxn ang="0">
                        <a:pos x="7" y="108"/>
                      </a:cxn>
                      <a:cxn ang="0">
                        <a:pos x="3" y="105"/>
                      </a:cxn>
                      <a:cxn ang="0">
                        <a:pos x="1" y="122"/>
                      </a:cxn>
                      <a:cxn ang="0">
                        <a:pos x="16" y="130"/>
                      </a:cxn>
                      <a:cxn ang="0">
                        <a:pos x="16" y="114"/>
                      </a:cxn>
                      <a:cxn ang="0">
                        <a:pos x="26" y="121"/>
                      </a:cxn>
                      <a:cxn ang="0">
                        <a:pos x="27" y="100"/>
                      </a:cxn>
                      <a:cxn ang="0">
                        <a:pos x="34" y="105"/>
                      </a:cxn>
                      <a:cxn ang="0">
                        <a:pos x="34" y="69"/>
                      </a:cxn>
                      <a:cxn ang="0">
                        <a:pos x="48" y="78"/>
                      </a:cxn>
                      <a:cxn ang="0">
                        <a:pos x="39" y="48"/>
                      </a:cxn>
                      <a:cxn ang="0">
                        <a:pos x="37" y="23"/>
                      </a:cxn>
                      <a:cxn ang="0">
                        <a:pos x="42" y="23"/>
                      </a:cxn>
                      <a:cxn ang="0">
                        <a:pos x="40" y="13"/>
                      </a:cxn>
                      <a:cxn ang="0">
                        <a:pos x="33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48" h="130">
                        <a:moveTo>
                          <a:pt x="12" y="0"/>
                        </a:moveTo>
                        <a:cubicBezTo>
                          <a:pt x="22" y="7"/>
                          <a:pt x="21" y="18"/>
                          <a:pt x="21" y="30"/>
                        </a:cubicBezTo>
                        <a:cubicBezTo>
                          <a:pt x="19" y="29"/>
                          <a:pt x="17" y="28"/>
                          <a:pt x="15" y="26"/>
                        </a:cubicBezTo>
                        <a:cubicBezTo>
                          <a:pt x="14" y="30"/>
                          <a:pt x="20" y="66"/>
                          <a:pt x="6" y="53"/>
                        </a:cubicBezTo>
                        <a:cubicBezTo>
                          <a:pt x="6" y="61"/>
                          <a:pt x="8" y="68"/>
                          <a:pt x="12" y="75"/>
                        </a:cubicBezTo>
                        <a:cubicBezTo>
                          <a:pt x="9" y="76"/>
                          <a:pt x="7" y="74"/>
                          <a:pt x="4" y="72"/>
                        </a:cubicBezTo>
                        <a:cubicBezTo>
                          <a:pt x="3" y="84"/>
                          <a:pt x="5" y="97"/>
                          <a:pt x="7" y="108"/>
                        </a:cubicBezTo>
                        <a:cubicBezTo>
                          <a:pt x="6" y="107"/>
                          <a:pt x="5" y="107"/>
                          <a:pt x="3" y="105"/>
                        </a:cubicBezTo>
                        <a:cubicBezTo>
                          <a:pt x="3" y="113"/>
                          <a:pt x="0" y="115"/>
                          <a:pt x="1" y="122"/>
                        </a:cubicBezTo>
                        <a:cubicBezTo>
                          <a:pt x="5" y="124"/>
                          <a:pt x="11" y="127"/>
                          <a:pt x="16" y="130"/>
                        </a:cubicBezTo>
                        <a:cubicBezTo>
                          <a:pt x="16" y="125"/>
                          <a:pt x="16" y="120"/>
                          <a:pt x="16" y="114"/>
                        </a:cubicBezTo>
                        <a:cubicBezTo>
                          <a:pt x="19" y="116"/>
                          <a:pt x="22" y="119"/>
                          <a:pt x="26" y="121"/>
                        </a:cubicBezTo>
                        <a:cubicBezTo>
                          <a:pt x="26" y="114"/>
                          <a:pt x="27" y="107"/>
                          <a:pt x="27" y="100"/>
                        </a:cubicBezTo>
                        <a:cubicBezTo>
                          <a:pt x="30" y="101"/>
                          <a:pt x="32" y="103"/>
                          <a:pt x="34" y="105"/>
                        </a:cubicBezTo>
                        <a:cubicBezTo>
                          <a:pt x="39" y="97"/>
                          <a:pt x="35" y="78"/>
                          <a:pt x="34" y="69"/>
                        </a:cubicBezTo>
                        <a:cubicBezTo>
                          <a:pt x="35" y="73"/>
                          <a:pt x="44" y="76"/>
                          <a:pt x="48" y="78"/>
                        </a:cubicBezTo>
                        <a:cubicBezTo>
                          <a:pt x="48" y="68"/>
                          <a:pt x="40" y="59"/>
                          <a:pt x="39" y="48"/>
                        </a:cubicBezTo>
                        <a:cubicBezTo>
                          <a:pt x="46" y="47"/>
                          <a:pt x="38" y="28"/>
                          <a:pt x="37" y="23"/>
                        </a:cubicBezTo>
                        <a:cubicBezTo>
                          <a:pt x="38" y="23"/>
                          <a:pt x="40" y="23"/>
                          <a:pt x="42" y="23"/>
                        </a:cubicBezTo>
                        <a:cubicBezTo>
                          <a:pt x="42" y="23"/>
                          <a:pt x="40" y="14"/>
                          <a:pt x="40" y="13"/>
                        </a:cubicBezTo>
                        <a:cubicBezTo>
                          <a:pt x="38" y="11"/>
                          <a:pt x="36" y="9"/>
                          <a:pt x="33" y="8"/>
                        </a:cubicBezTo>
                        <a:cubicBezTo>
                          <a:pt x="28" y="5"/>
                          <a:pt x="17" y="1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8" name="Freeform 145"/>
                  <p:cNvSpPr>
                    <a:spLocks/>
                  </p:cNvSpPr>
                  <p:nvPr/>
                </p:nvSpPr>
                <p:spPr bwMode="gray">
                  <a:xfrm>
                    <a:off x="-95250" y="-19073812"/>
                    <a:ext cx="184150" cy="145097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9" y="38"/>
                      </a:cxn>
                      <a:cxn ang="0">
                        <a:pos x="22" y="74"/>
                      </a:cxn>
                      <a:cxn ang="0">
                        <a:pos x="32" y="176"/>
                      </a:cxn>
                      <a:cxn ang="0">
                        <a:pos x="26" y="162"/>
                      </a:cxn>
                      <a:cxn ang="0">
                        <a:pos x="25" y="188"/>
                      </a:cxn>
                      <a:cxn ang="0">
                        <a:pos x="25" y="222"/>
                      </a:cxn>
                      <a:cxn ang="0">
                        <a:pos x="15" y="250"/>
                      </a:cxn>
                      <a:cxn ang="0">
                        <a:pos x="19" y="273"/>
                      </a:cxn>
                      <a:cxn ang="0">
                        <a:pos x="14" y="252"/>
                      </a:cxn>
                      <a:cxn ang="0">
                        <a:pos x="11" y="328"/>
                      </a:cxn>
                      <a:cxn ang="0">
                        <a:pos x="8" y="362"/>
                      </a:cxn>
                      <a:cxn ang="0">
                        <a:pos x="2" y="387"/>
                      </a:cxn>
                      <a:cxn ang="0">
                        <a:pos x="21" y="363"/>
                      </a:cxn>
                      <a:cxn ang="0">
                        <a:pos x="31" y="328"/>
                      </a:cxn>
                      <a:cxn ang="0">
                        <a:pos x="34" y="285"/>
                      </a:cxn>
                      <a:cxn ang="0">
                        <a:pos x="38" y="241"/>
                      </a:cxn>
                      <a:cxn ang="0">
                        <a:pos x="45" y="196"/>
                      </a:cxn>
                      <a:cxn ang="0">
                        <a:pos x="46" y="157"/>
                      </a:cxn>
                      <a:cxn ang="0">
                        <a:pos x="43" y="117"/>
                      </a:cxn>
                      <a:cxn ang="0">
                        <a:pos x="36" y="81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49" h="387">
                        <a:moveTo>
                          <a:pt x="1" y="0"/>
                        </a:moveTo>
                        <a:cubicBezTo>
                          <a:pt x="0" y="12"/>
                          <a:pt x="8" y="27"/>
                          <a:pt x="9" y="38"/>
                        </a:cubicBezTo>
                        <a:cubicBezTo>
                          <a:pt x="11" y="50"/>
                          <a:pt x="18" y="62"/>
                          <a:pt x="22" y="74"/>
                        </a:cubicBezTo>
                        <a:cubicBezTo>
                          <a:pt x="33" y="104"/>
                          <a:pt x="38" y="143"/>
                          <a:pt x="32" y="176"/>
                        </a:cubicBezTo>
                        <a:cubicBezTo>
                          <a:pt x="31" y="171"/>
                          <a:pt x="26" y="168"/>
                          <a:pt x="26" y="162"/>
                        </a:cubicBezTo>
                        <a:cubicBezTo>
                          <a:pt x="27" y="171"/>
                          <a:pt x="25" y="180"/>
                          <a:pt x="25" y="188"/>
                        </a:cubicBezTo>
                        <a:cubicBezTo>
                          <a:pt x="25" y="199"/>
                          <a:pt x="27" y="212"/>
                          <a:pt x="25" y="222"/>
                        </a:cubicBezTo>
                        <a:cubicBezTo>
                          <a:pt x="23" y="231"/>
                          <a:pt x="16" y="241"/>
                          <a:pt x="15" y="250"/>
                        </a:cubicBezTo>
                        <a:cubicBezTo>
                          <a:pt x="14" y="258"/>
                          <a:pt x="17" y="266"/>
                          <a:pt x="19" y="273"/>
                        </a:cubicBezTo>
                        <a:cubicBezTo>
                          <a:pt x="19" y="267"/>
                          <a:pt x="16" y="258"/>
                          <a:pt x="14" y="252"/>
                        </a:cubicBezTo>
                        <a:cubicBezTo>
                          <a:pt x="2" y="276"/>
                          <a:pt x="11" y="303"/>
                          <a:pt x="11" y="328"/>
                        </a:cubicBezTo>
                        <a:cubicBezTo>
                          <a:pt x="11" y="340"/>
                          <a:pt x="10" y="351"/>
                          <a:pt x="8" y="362"/>
                        </a:cubicBezTo>
                        <a:cubicBezTo>
                          <a:pt x="7" y="370"/>
                          <a:pt x="6" y="380"/>
                          <a:pt x="2" y="387"/>
                        </a:cubicBezTo>
                        <a:cubicBezTo>
                          <a:pt x="7" y="378"/>
                          <a:pt x="17" y="373"/>
                          <a:pt x="21" y="363"/>
                        </a:cubicBezTo>
                        <a:cubicBezTo>
                          <a:pt x="26" y="351"/>
                          <a:pt x="29" y="340"/>
                          <a:pt x="31" y="328"/>
                        </a:cubicBezTo>
                        <a:cubicBezTo>
                          <a:pt x="33" y="314"/>
                          <a:pt x="32" y="299"/>
                          <a:pt x="34" y="285"/>
                        </a:cubicBezTo>
                        <a:cubicBezTo>
                          <a:pt x="35" y="270"/>
                          <a:pt x="38" y="256"/>
                          <a:pt x="38" y="241"/>
                        </a:cubicBezTo>
                        <a:cubicBezTo>
                          <a:pt x="39" y="226"/>
                          <a:pt x="41" y="210"/>
                          <a:pt x="45" y="196"/>
                        </a:cubicBezTo>
                        <a:cubicBezTo>
                          <a:pt x="49" y="182"/>
                          <a:pt x="46" y="172"/>
                          <a:pt x="46" y="157"/>
                        </a:cubicBezTo>
                        <a:cubicBezTo>
                          <a:pt x="46" y="143"/>
                          <a:pt x="46" y="131"/>
                          <a:pt x="43" y="117"/>
                        </a:cubicBezTo>
                        <a:cubicBezTo>
                          <a:pt x="42" y="106"/>
                          <a:pt x="40" y="92"/>
                          <a:pt x="36" y="81"/>
                        </a:cubicBezTo>
                        <a:cubicBezTo>
                          <a:pt x="30" y="67"/>
                          <a:pt x="9" y="10"/>
                          <a:pt x="1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69" name="Freeform 146"/>
                  <p:cNvSpPr>
                    <a:spLocks/>
                  </p:cNvSpPr>
                  <p:nvPr/>
                </p:nvSpPr>
                <p:spPr bwMode="gray">
                  <a:xfrm>
                    <a:off x="-2160588" y="-18788062"/>
                    <a:ext cx="220663" cy="557213"/>
                  </a:xfrm>
                  <a:custGeom>
                    <a:avLst/>
                    <a:gdLst/>
                    <a:ahLst/>
                    <a:cxnLst>
                      <a:cxn ang="0">
                        <a:pos x="59" y="142"/>
                      </a:cxn>
                      <a:cxn ang="0">
                        <a:pos x="50" y="113"/>
                      </a:cxn>
                      <a:cxn ang="0">
                        <a:pos x="54" y="79"/>
                      </a:cxn>
                      <a:cxn ang="0">
                        <a:pos x="39" y="97"/>
                      </a:cxn>
                      <a:cxn ang="0">
                        <a:pos x="38" y="63"/>
                      </a:cxn>
                      <a:cxn ang="0">
                        <a:pos x="18" y="73"/>
                      </a:cxn>
                      <a:cxn ang="0">
                        <a:pos x="21" y="0"/>
                      </a:cxn>
                      <a:cxn ang="0">
                        <a:pos x="2" y="34"/>
                      </a:cxn>
                      <a:cxn ang="0">
                        <a:pos x="1" y="72"/>
                      </a:cxn>
                      <a:cxn ang="0">
                        <a:pos x="14" y="106"/>
                      </a:cxn>
                      <a:cxn ang="0">
                        <a:pos x="22" y="122"/>
                      </a:cxn>
                      <a:cxn ang="0">
                        <a:pos x="29" y="140"/>
                      </a:cxn>
                      <a:cxn ang="0">
                        <a:pos x="38" y="147"/>
                      </a:cxn>
                      <a:cxn ang="0">
                        <a:pos x="38" y="149"/>
                      </a:cxn>
                      <a:cxn ang="0">
                        <a:pos x="49" y="144"/>
                      </a:cxn>
                      <a:cxn ang="0">
                        <a:pos x="59" y="142"/>
                      </a:cxn>
                    </a:cxnLst>
                    <a:rect l="0" t="0" r="r" b="b"/>
                    <a:pathLst>
                      <a:path w="59" h="149">
                        <a:moveTo>
                          <a:pt x="59" y="142"/>
                        </a:moveTo>
                        <a:cubicBezTo>
                          <a:pt x="57" y="132"/>
                          <a:pt x="50" y="124"/>
                          <a:pt x="50" y="113"/>
                        </a:cubicBezTo>
                        <a:cubicBezTo>
                          <a:pt x="49" y="101"/>
                          <a:pt x="52" y="90"/>
                          <a:pt x="54" y="79"/>
                        </a:cubicBezTo>
                        <a:cubicBezTo>
                          <a:pt x="46" y="78"/>
                          <a:pt x="38" y="90"/>
                          <a:pt x="39" y="97"/>
                        </a:cubicBezTo>
                        <a:cubicBezTo>
                          <a:pt x="34" y="86"/>
                          <a:pt x="31" y="73"/>
                          <a:pt x="38" y="63"/>
                        </a:cubicBezTo>
                        <a:cubicBezTo>
                          <a:pt x="29" y="59"/>
                          <a:pt x="23" y="68"/>
                          <a:pt x="18" y="73"/>
                        </a:cubicBezTo>
                        <a:cubicBezTo>
                          <a:pt x="11" y="49"/>
                          <a:pt x="16" y="24"/>
                          <a:pt x="21" y="0"/>
                        </a:cubicBezTo>
                        <a:cubicBezTo>
                          <a:pt x="9" y="4"/>
                          <a:pt x="3" y="23"/>
                          <a:pt x="2" y="34"/>
                        </a:cubicBezTo>
                        <a:cubicBezTo>
                          <a:pt x="1" y="46"/>
                          <a:pt x="0" y="61"/>
                          <a:pt x="1" y="72"/>
                        </a:cubicBezTo>
                        <a:cubicBezTo>
                          <a:pt x="3" y="85"/>
                          <a:pt x="7" y="95"/>
                          <a:pt x="14" y="106"/>
                        </a:cubicBezTo>
                        <a:cubicBezTo>
                          <a:pt x="17" y="111"/>
                          <a:pt x="20" y="117"/>
                          <a:pt x="22" y="122"/>
                        </a:cubicBezTo>
                        <a:cubicBezTo>
                          <a:pt x="25" y="127"/>
                          <a:pt x="26" y="135"/>
                          <a:pt x="29" y="140"/>
                        </a:cubicBezTo>
                        <a:cubicBezTo>
                          <a:pt x="31" y="144"/>
                          <a:pt x="34" y="146"/>
                          <a:pt x="38" y="147"/>
                        </a:cubicBezTo>
                        <a:cubicBezTo>
                          <a:pt x="38" y="148"/>
                          <a:pt x="38" y="148"/>
                          <a:pt x="38" y="149"/>
                        </a:cubicBezTo>
                        <a:cubicBezTo>
                          <a:pt x="43" y="149"/>
                          <a:pt x="45" y="146"/>
                          <a:pt x="49" y="144"/>
                        </a:cubicBezTo>
                        <a:cubicBezTo>
                          <a:pt x="52" y="143"/>
                          <a:pt x="57" y="142"/>
                          <a:pt x="59" y="1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0" name="Freeform 147"/>
                  <p:cNvSpPr>
                    <a:spLocks/>
                  </p:cNvSpPr>
                  <p:nvPr/>
                </p:nvSpPr>
                <p:spPr bwMode="gray">
                  <a:xfrm>
                    <a:off x="-2044700" y="-19318287"/>
                    <a:ext cx="280988" cy="176213"/>
                  </a:xfrm>
                  <a:custGeom>
                    <a:avLst/>
                    <a:gdLst/>
                    <a:ahLst/>
                    <a:cxnLst>
                      <a:cxn ang="0">
                        <a:pos x="0" y="38"/>
                      </a:cxn>
                      <a:cxn ang="0">
                        <a:pos x="75" y="1"/>
                      </a:cxn>
                      <a:cxn ang="0">
                        <a:pos x="58" y="18"/>
                      </a:cxn>
                      <a:cxn ang="0">
                        <a:pos x="40" y="34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75" h="47">
                        <a:moveTo>
                          <a:pt x="0" y="38"/>
                        </a:moveTo>
                        <a:cubicBezTo>
                          <a:pt x="20" y="17"/>
                          <a:pt x="45" y="0"/>
                          <a:pt x="75" y="1"/>
                        </a:cubicBezTo>
                        <a:cubicBezTo>
                          <a:pt x="75" y="7"/>
                          <a:pt x="62" y="15"/>
                          <a:pt x="58" y="18"/>
                        </a:cubicBezTo>
                        <a:cubicBezTo>
                          <a:pt x="52" y="23"/>
                          <a:pt x="46" y="28"/>
                          <a:pt x="40" y="34"/>
                        </a:cubicBezTo>
                        <a:cubicBezTo>
                          <a:pt x="27" y="47"/>
                          <a:pt x="16" y="38"/>
                          <a:pt x="0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1" name="Freeform 148"/>
                  <p:cNvSpPr>
                    <a:spLocks/>
                  </p:cNvSpPr>
                  <p:nvPr/>
                </p:nvSpPr>
                <p:spPr bwMode="gray">
                  <a:xfrm>
                    <a:off x="-1789113" y="-19535775"/>
                    <a:ext cx="295275" cy="117475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39" y="16"/>
                      </a:cxn>
                      <a:cxn ang="0">
                        <a:pos x="79" y="0"/>
                      </a:cxn>
                      <a:cxn ang="0">
                        <a:pos x="55" y="14"/>
                      </a:cxn>
                      <a:cxn ang="0">
                        <a:pos x="41" y="20"/>
                      </a:cxn>
                      <a:cxn ang="0">
                        <a:pos x="13" y="29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9" h="31">
                        <a:moveTo>
                          <a:pt x="0" y="10"/>
                        </a:moveTo>
                        <a:cubicBezTo>
                          <a:pt x="5" y="19"/>
                          <a:pt x="31" y="17"/>
                          <a:pt x="39" y="16"/>
                        </a:cubicBezTo>
                        <a:cubicBezTo>
                          <a:pt x="53" y="13"/>
                          <a:pt x="66" y="4"/>
                          <a:pt x="79" y="0"/>
                        </a:cubicBezTo>
                        <a:cubicBezTo>
                          <a:pt x="77" y="5"/>
                          <a:pt x="61" y="11"/>
                          <a:pt x="55" y="14"/>
                        </a:cubicBezTo>
                        <a:cubicBezTo>
                          <a:pt x="51" y="17"/>
                          <a:pt x="46" y="18"/>
                          <a:pt x="41" y="20"/>
                        </a:cubicBezTo>
                        <a:cubicBezTo>
                          <a:pt x="33" y="24"/>
                          <a:pt x="23" y="31"/>
                          <a:pt x="13" y="29"/>
                        </a:cubicBezTo>
                        <a:cubicBezTo>
                          <a:pt x="10" y="22"/>
                          <a:pt x="7" y="14"/>
                          <a:pt x="0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72" name="Freeform 149"/>
                  <p:cNvSpPr>
                    <a:spLocks/>
                  </p:cNvSpPr>
                  <p:nvPr/>
                </p:nvSpPr>
                <p:spPr bwMode="gray">
                  <a:xfrm>
                    <a:off x="-2052638" y="-19335750"/>
                    <a:ext cx="652463" cy="704850"/>
                  </a:xfrm>
                  <a:custGeom>
                    <a:avLst/>
                    <a:gdLst/>
                    <a:ahLst/>
                    <a:cxnLst>
                      <a:cxn ang="0">
                        <a:pos x="42" y="93"/>
                      </a:cxn>
                      <a:cxn ang="0">
                        <a:pos x="94" y="38"/>
                      </a:cxn>
                      <a:cxn ang="0">
                        <a:pos x="174" y="20"/>
                      </a:cxn>
                      <a:cxn ang="0">
                        <a:pos x="117" y="11"/>
                      </a:cxn>
                      <a:cxn ang="0">
                        <a:pos x="152" y="7"/>
                      </a:cxn>
                      <a:cxn ang="0">
                        <a:pos x="0" y="160"/>
                      </a:cxn>
                      <a:cxn ang="0">
                        <a:pos x="11" y="142"/>
                      </a:cxn>
                      <a:cxn ang="0">
                        <a:pos x="14" y="188"/>
                      </a:cxn>
                      <a:cxn ang="0">
                        <a:pos x="76" y="74"/>
                      </a:cxn>
                    </a:cxnLst>
                    <a:rect l="0" t="0" r="r" b="b"/>
                    <a:pathLst>
                      <a:path w="174" h="188">
                        <a:moveTo>
                          <a:pt x="42" y="93"/>
                        </a:moveTo>
                        <a:cubicBezTo>
                          <a:pt x="64" y="80"/>
                          <a:pt x="71" y="52"/>
                          <a:pt x="94" y="38"/>
                        </a:cubicBezTo>
                        <a:cubicBezTo>
                          <a:pt x="120" y="21"/>
                          <a:pt x="148" y="30"/>
                          <a:pt x="174" y="20"/>
                        </a:cubicBezTo>
                        <a:cubicBezTo>
                          <a:pt x="164" y="5"/>
                          <a:pt x="134" y="6"/>
                          <a:pt x="117" y="11"/>
                        </a:cubicBezTo>
                        <a:cubicBezTo>
                          <a:pt x="128" y="11"/>
                          <a:pt x="140" y="9"/>
                          <a:pt x="152" y="7"/>
                        </a:cubicBezTo>
                        <a:cubicBezTo>
                          <a:pt x="65" y="0"/>
                          <a:pt x="0" y="79"/>
                          <a:pt x="0" y="160"/>
                        </a:cubicBezTo>
                        <a:cubicBezTo>
                          <a:pt x="2" y="148"/>
                          <a:pt x="3" y="151"/>
                          <a:pt x="11" y="142"/>
                        </a:cubicBezTo>
                        <a:cubicBezTo>
                          <a:pt x="12" y="158"/>
                          <a:pt x="4" y="174"/>
                          <a:pt x="14" y="188"/>
                        </a:cubicBezTo>
                        <a:cubicBezTo>
                          <a:pt x="24" y="154"/>
                          <a:pt x="39" y="86"/>
                          <a:pt x="76" y="7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sp>
            <p:nvSpPr>
              <p:cNvPr id="652" name="Textfeld 651"/>
              <p:cNvSpPr txBox="1"/>
              <p:nvPr/>
            </p:nvSpPr>
            <p:spPr bwMode="gray">
              <a:xfrm>
                <a:off x="2255781" y="2298838"/>
                <a:ext cx="41870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36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  <a:latin typeface="+mj-lt"/>
                  </a:rPr>
                  <a:t>1</a:t>
                </a:r>
                <a:endParaRPr lang="en-US" sz="36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3" name="Gruppieren 982"/>
            <p:cNvGrpSpPr/>
            <p:nvPr/>
          </p:nvGrpSpPr>
          <p:grpSpPr>
            <a:xfrm>
              <a:off x="3166368" y="1847509"/>
              <a:ext cx="1410832" cy="2160943"/>
              <a:chOff x="3166368" y="1847509"/>
              <a:chExt cx="1410832" cy="2160943"/>
            </a:xfrm>
          </p:grpSpPr>
          <p:sp>
            <p:nvSpPr>
              <p:cNvPr id="31" name="Ellipse 30" descr="© INSCALE GmbH, 26.05.2010&#10;http://www.presentationload.com/"/>
              <p:cNvSpPr/>
              <p:nvPr/>
            </p:nvSpPr>
            <p:spPr bwMode="gray">
              <a:xfrm>
                <a:off x="3166368" y="3043578"/>
                <a:ext cx="1410832" cy="96487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317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4" name="Gruppieren 652"/>
              <p:cNvGrpSpPr/>
              <p:nvPr/>
            </p:nvGrpSpPr>
            <p:grpSpPr bwMode="gray">
              <a:xfrm>
                <a:off x="3370442" y="1847509"/>
                <a:ext cx="840919" cy="1759686"/>
                <a:chOff x="456277" y="1575807"/>
                <a:chExt cx="1095328" cy="2292056"/>
              </a:xfrm>
            </p:grpSpPr>
            <p:grpSp>
              <p:nvGrpSpPr>
                <p:cNvPr id="15" name="Gruppieren 28"/>
                <p:cNvGrpSpPr/>
                <p:nvPr/>
              </p:nvGrpSpPr>
              <p:grpSpPr bwMode="gray">
                <a:xfrm>
                  <a:off x="456277" y="1681612"/>
                  <a:ext cx="716518" cy="2169986"/>
                  <a:chOff x="-4095750" y="5688013"/>
                  <a:chExt cx="6791325" cy="20567650"/>
                </a:xfrm>
                <a:solidFill>
                  <a:srgbClr val="C8C8C8"/>
                </a:solidFill>
              </p:grpSpPr>
              <p:sp>
                <p:nvSpPr>
                  <p:cNvPr id="725" name="Freeform 267"/>
                  <p:cNvSpPr>
                    <a:spLocks/>
                  </p:cNvSpPr>
                  <p:nvPr/>
                </p:nvSpPr>
                <p:spPr bwMode="gray">
                  <a:xfrm>
                    <a:off x="1247775" y="10442576"/>
                    <a:ext cx="641350" cy="3325813"/>
                  </a:xfrm>
                  <a:custGeom>
                    <a:avLst/>
                    <a:gdLst/>
                    <a:ahLst/>
                    <a:cxnLst>
                      <a:cxn ang="0">
                        <a:pos x="12" y="41"/>
                      </a:cxn>
                      <a:cxn ang="0">
                        <a:pos x="0" y="275"/>
                      </a:cxn>
                      <a:cxn ang="0">
                        <a:pos x="34" y="498"/>
                      </a:cxn>
                      <a:cxn ang="0">
                        <a:pos x="1" y="887"/>
                      </a:cxn>
                      <a:cxn ang="0">
                        <a:pos x="35" y="736"/>
                      </a:cxn>
                      <a:cxn ang="0">
                        <a:pos x="18" y="415"/>
                      </a:cxn>
                      <a:cxn ang="0">
                        <a:pos x="24" y="211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171" h="887">
                        <a:moveTo>
                          <a:pt x="12" y="41"/>
                        </a:moveTo>
                        <a:cubicBezTo>
                          <a:pt x="37" y="97"/>
                          <a:pt x="0" y="207"/>
                          <a:pt x="0" y="275"/>
                        </a:cubicBezTo>
                        <a:cubicBezTo>
                          <a:pt x="0" y="361"/>
                          <a:pt x="6" y="422"/>
                          <a:pt x="34" y="498"/>
                        </a:cubicBezTo>
                        <a:cubicBezTo>
                          <a:pt x="80" y="621"/>
                          <a:pt x="171" y="811"/>
                          <a:pt x="1" y="887"/>
                        </a:cubicBezTo>
                        <a:cubicBezTo>
                          <a:pt x="13" y="832"/>
                          <a:pt x="35" y="802"/>
                          <a:pt x="35" y="736"/>
                        </a:cubicBezTo>
                        <a:cubicBezTo>
                          <a:pt x="35" y="631"/>
                          <a:pt x="28" y="520"/>
                          <a:pt x="18" y="415"/>
                        </a:cubicBezTo>
                        <a:cubicBezTo>
                          <a:pt x="11" y="345"/>
                          <a:pt x="18" y="278"/>
                          <a:pt x="24" y="211"/>
                        </a:cubicBezTo>
                        <a:cubicBezTo>
                          <a:pt x="30" y="144"/>
                          <a:pt x="7" y="62"/>
                          <a:pt x="2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6" name="Freeform 268"/>
                  <p:cNvSpPr>
                    <a:spLocks/>
                  </p:cNvSpPr>
                  <p:nvPr/>
                </p:nvSpPr>
                <p:spPr bwMode="gray">
                  <a:xfrm>
                    <a:off x="-3135313" y="23976013"/>
                    <a:ext cx="1889125" cy="2017713"/>
                  </a:xfrm>
                  <a:custGeom>
                    <a:avLst/>
                    <a:gdLst/>
                    <a:ahLst/>
                    <a:cxnLst>
                      <a:cxn ang="0">
                        <a:pos x="453" y="0"/>
                      </a:cxn>
                      <a:cxn ang="0">
                        <a:pos x="491" y="43"/>
                      </a:cxn>
                      <a:cxn ang="0">
                        <a:pos x="503" y="116"/>
                      </a:cxn>
                      <a:cxn ang="0">
                        <a:pos x="451" y="228"/>
                      </a:cxn>
                      <a:cxn ang="0">
                        <a:pos x="385" y="327"/>
                      </a:cxn>
                      <a:cxn ang="0">
                        <a:pos x="343" y="382"/>
                      </a:cxn>
                      <a:cxn ang="0">
                        <a:pos x="324" y="452"/>
                      </a:cxn>
                      <a:cxn ang="0">
                        <a:pos x="196" y="515"/>
                      </a:cxn>
                      <a:cxn ang="0">
                        <a:pos x="56" y="537"/>
                      </a:cxn>
                      <a:cxn ang="0">
                        <a:pos x="4" y="531"/>
                      </a:cxn>
                      <a:cxn ang="0">
                        <a:pos x="44" y="415"/>
                      </a:cxn>
                      <a:cxn ang="0">
                        <a:pos x="94" y="301"/>
                      </a:cxn>
                      <a:cxn ang="0">
                        <a:pos x="205" y="239"/>
                      </a:cxn>
                      <a:cxn ang="0">
                        <a:pos x="318" y="133"/>
                      </a:cxn>
                      <a:cxn ang="0">
                        <a:pos x="372" y="26"/>
                      </a:cxn>
                      <a:cxn ang="0">
                        <a:pos x="471" y="11"/>
                      </a:cxn>
                    </a:cxnLst>
                    <a:rect l="0" t="0" r="r" b="b"/>
                    <a:pathLst>
                      <a:path w="504" h="538">
                        <a:moveTo>
                          <a:pt x="453" y="0"/>
                        </a:moveTo>
                        <a:cubicBezTo>
                          <a:pt x="468" y="18"/>
                          <a:pt x="482" y="20"/>
                          <a:pt x="491" y="43"/>
                        </a:cubicBezTo>
                        <a:cubicBezTo>
                          <a:pt x="500" y="66"/>
                          <a:pt x="502" y="91"/>
                          <a:pt x="503" y="116"/>
                        </a:cubicBezTo>
                        <a:cubicBezTo>
                          <a:pt x="504" y="156"/>
                          <a:pt x="497" y="220"/>
                          <a:pt x="451" y="228"/>
                        </a:cubicBezTo>
                        <a:cubicBezTo>
                          <a:pt x="427" y="259"/>
                          <a:pt x="408" y="295"/>
                          <a:pt x="385" y="327"/>
                        </a:cubicBezTo>
                        <a:cubicBezTo>
                          <a:pt x="373" y="344"/>
                          <a:pt x="349" y="362"/>
                          <a:pt x="343" y="382"/>
                        </a:cubicBezTo>
                        <a:cubicBezTo>
                          <a:pt x="334" y="411"/>
                          <a:pt x="345" y="427"/>
                          <a:pt x="324" y="452"/>
                        </a:cubicBezTo>
                        <a:cubicBezTo>
                          <a:pt x="289" y="493"/>
                          <a:pt x="242" y="495"/>
                          <a:pt x="196" y="515"/>
                        </a:cubicBezTo>
                        <a:cubicBezTo>
                          <a:pt x="151" y="535"/>
                          <a:pt x="109" y="535"/>
                          <a:pt x="56" y="537"/>
                        </a:cubicBezTo>
                        <a:cubicBezTo>
                          <a:pt x="42" y="538"/>
                          <a:pt x="19" y="532"/>
                          <a:pt x="4" y="531"/>
                        </a:cubicBezTo>
                        <a:cubicBezTo>
                          <a:pt x="0" y="499"/>
                          <a:pt x="30" y="441"/>
                          <a:pt x="44" y="415"/>
                        </a:cubicBezTo>
                        <a:cubicBezTo>
                          <a:pt x="62" y="381"/>
                          <a:pt x="70" y="333"/>
                          <a:pt x="94" y="301"/>
                        </a:cubicBezTo>
                        <a:cubicBezTo>
                          <a:pt x="120" y="267"/>
                          <a:pt x="170" y="258"/>
                          <a:pt x="205" y="239"/>
                        </a:cubicBezTo>
                        <a:cubicBezTo>
                          <a:pt x="250" y="213"/>
                          <a:pt x="288" y="178"/>
                          <a:pt x="318" y="133"/>
                        </a:cubicBezTo>
                        <a:cubicBezTo>
                          <a:pt x="340" y="101"/>
                          <a:pt x="341" y="52"/>
                          <a:pt x="372" y="26"/>
                        </a:cubicBezTo>
                        <a:cubicBezTo>
                          <a:pt x="398" y="5"/>
                          <a:pt x="439" y="6"/>
                          <a:pt x="471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7" name="Freeform 269"/>
                  <p:cNvSpPr>
                    <a:spLocks/>
                  </p:cNvSpPr>
                  <p:nvPr/>
                </p:nvSpPr>
                <p:spPr bwMode="gray">
                  <a:xfrm>
                    <a:off x="-2787650" y="15524163"/>
                    <a:ext cx="2917825" cy="9955213"/>
                  </a:xfrm>
                  <a:custGeom>
                    <a:avLst/>
                    <a:gdLst/>
                    <a:ahLst/>
                    <a:cxnLst>
                      <a:cxn ang="0">
                        <a:pos x="751" y="46"/>
                      </a:cxn>
                      <a:cxn ang="0">
                        <a:pos x="715" y="302"/>
                      </a:cxn>
                      <a:cxn ang="0">
                        <a:pos x="696" y="587"/>
                      </a:cxn>
                      <a:cxn ang="0">
                        <a:pos x="681" y="884"/>
                      </a:cxn>
                      <a:cxn ang="0">
                        <a:pos x="689" y="1016"/>
                      </a:cxn>
                      <a:cxn ang="0">
                        <a:pos x="651" y="1113"/>
                      </a:cxn>
                      <a:cxn ang="0">
                        <a:pos x="622" y="1298"/>
                      </a:cxn>
                      <a:cxn ang="0">
                        <a:pos x="568" y="1465"/>
                      </a:cxn>
                      <a:cxn ang="0">
                        <a:pos x="547" y="1679"/>
                      </a:cxn>
                      <a:cxn ang="0">
                        <a:pos x="424" y="2026"/>
                      </a:cxn>
                      <a:cxn ang="0">
                        <a:pos x="377" y="2201"/>
                      </a:cxn>
                      <a:cxn ang="0">
                        <a:pos x="377" y="2291"/>
                      </a:cxn>
                      <a:cxn ang="0">
                        <a:pos x="374" y="2408"/>
                      </a:cxn>
                      <a:cxn ang="0">
                        <a:pos x="286" y="2521"/>
                      </a:cxn>
                      <a:cxn ang="0">
                        <a:pos x="211" y="2655"/>
                      </a:cxn>
                      <a:cxn ang="0">
                        <a:pos x="12" y="2581"/>
                      </a:cxn>
                      <a:cxn ang="0">
                        <a:pos x="113" y="2475"/>
                      </a:cxn>
                      <a:cxn ang="0">
                        <a:pos x="210" y="2354"/>
                      </a:cxn>
                      <a:cxn ang="0">
                        <a:pos x="252" y="1741"/>
                      </a:cxn>
                      <a:cxn ang="0">
                        <a:pos x="270" y="1473"/>
                      </a:cxn>
                      <a:cxn ang="0">
                        <a:pos x="283" y="1380"/>
                      </a:cxn>
                      <a:cxn ang="0">
                        <a:pos x="345" y="1184"/>
                      </a:cxn>
                      <a:cxn ang="0">
                        <a:pos x="354" y="1079"/>
                      </a:cxn>
                      <a:cxn ang="0">
                        <a:pos x="372" y="967"/>
                      </a:cxn>
                      <a:cxn ang="0">
                        <a:pos x="357" y="676"/>
                      </a:cxn>
                      <a:cxn ang="0">
                        <a:pos x="358" y="8"/>
                      </a:cxn>
                      <a:cxn ang="0">
                        <a:pos x="778" y="50"/>
                      </a:cxn>
                    </a:cxnLst>
                    <a:rect l="0" t="0" r="r" b="b"/>
                    <a:pathLst>
                      <a:path w="778" h="2655">
                        <a:moveTo>
                          <a:pt x="751" y="46"/>
                        </a:moveTo>
                        <a:cubicBezTo>
                          <a:pt x="750" y="133"/>
                          <a:pt x="733" y="218"/>
                          <a:pt x="715" y="302"/>
                        </a:cubicBezTo>
                        <a:cubicBezTo>
                          <a:pt x="694" y="393"/>
                          <a:pt x="701" y="495"/>
                          <a:pt x="696" y="587"/>
                        </a:cubicBezTo>
                        <a:cubicBezTo>
                          <a:pt x="692" y="687"/>
                          <a:pt x="680" y="784"/>
                          <a:pt x="681" y="884"/>
                        </a:cubicBezTo>
                        <a:cubicBezTo>
                          <a:pt x="681" y="929"/>
                          <a:pt x="689" y="970"/>
                          <a:pt x="689" y="1016"/>
                        </a:cubicBezTo>
                        <a:cubicBezTo>
                          <a:pt x="688" y="1062"/>
                          <a:pt x="669" y="1075"/>
                          <a:pt x="651" y="1113"/>
                        </a:cubicBezTo>
                        <a:cubicBezTo>
                          <a:pt x="634" y="1151"/>
                          <a:pt x="641" y="1272"/>
                          <a:pt x="622" y="1298"/>
                        </a:cubicBezTo>
                        <a:cubicBezTo>
                          <a:pt x="592" y="1340"/>
                          <a:pt x="568" y="1404"/>
                          <a:pt x="568" y="1465"/>
                        </a:cubicBezTo>
                        <a:cubicBezTo>
                          <a:pt x="568" y="1538"/>
                          <a:pt x="568" y="1609"/>
                          <a:pt x="547" y="1679"/>
                        </a:cubicBezTo>
                        <a:cubicBezTo>
                          <a:pt x="529" y="1741"/>
                          <a:pt x="445" y="1972"/>
                          <a:pt x="424" y="2026"/>
                        </a:cubicBezTo>
                        <a:cubicBezTo>
                          <a:pt x="402" y="2084"/>
                          <a:pt x="382" y="2137"/>
                          <a:pt x="377" y="2201"/>
                        </a:cubicBezTo>
                        <a:cubicBezTo>
                          <a:pt x="374" y="2231"/>
                          <a:pt x="370" y="2262"/>
                          <a:pt x="377" y="2291"/>
                        </a:cubicBezTo>
                        <a:cubicBezTo>
                          <a:pt x="384" y="2320"/>
                          <a:pt x="384" y="2374"/>
                          <a:pt x="374" y="2408"/>
                        </a:cubicBezTo>
                        <a:cubicBezTo>
                          <a:pt x="358" y="2461"/>
                          <a:pt x="327" y="2480"/>
                          <a:pt x="286" y="2521"/>
                        </a:cubicBezTo>
                        <a:cubicBezTo>
                          <a:pt x="255" y="2552"/>
                          <a:pt x="255" y="2616"/>
                          <a:pt x="211" y="2655"/>
                        </a:cubicBezTo>
                        <a:cubicBezTo>
                          <a:pt x="211" y="2655"/>
                          <a:pt x="0" y="2611"/>
                          <a:pt x="12" y="2581"/>
                        </a:cubicBezTo>
                        <a:cubicBezTo>
                          <a:pt x="29" y="2541"/>
                          <a:pt x="79" y="2502"/>
                          <a:pt x="113" y="2475"/>
                        </a:cubicBezTo>
                        <a:cubicBezTo>
                          <a:pt x="148" y="2445"/>
                          <a:pt x="189" y="2396"/>
                          <a:pt x="210" y="2354"/>
                        </a:cubicBezTo>
                        <a:cubicBezTo>
                          <a:pt x="236" y="2303"/>
                          <a:pt x="255" y="1803"/>
                          <a:pt x="252" y="1741"/>
                        </a:cubicBezTo>
                        <a:cubicBezTo>
                          <a:pt x="251" y="1710"/>
                          <a:pt x="264" y="1503"/>
                          <a:pt x="270" y="1473"/>
                        </a:cubicBezTo>
                        <a:cubicBezTo>
                          <a:pt x="277" y="1436"/>
                          <a:pt x="286" y="1414"/>
                          <a:pt x="283" y="1380"/>
                        </a:cubicBezTo>
                        <a:cubicBezTo>
                          <a:pt x="278" y="1310"/>
                          <a:pt x="329" y="1249"/>
                          <a:pt x="345" y="1184"/>
                        </a:cubicBezTo>
                        <a:cubicBezTo>
                          <a:pt x="354" y="1152"/>
                          <a:pt x="350" y="1112"/>
                          <a:pt x="354" y="1079"/>
                        </a:cubicBezTo>
                        <a:cubicBezTo>
                          <a:pt x="357" y="1041"/>
                          <a:pt x="368" y="1005"/>
                          <a:pt x="372" y="967"/>
                        </a:cubicBezTo>
                        <a:cubicBezTo>
                          <a:pt x="382" y="870"/>
                          <a:pt x="373" y="768"/>
                          <a:pt x="357" y="676"/>
                        </a:cubicBezTo>
                        <a:cubicBezTo>
                          <a:pt x="321" y="456"/>
                          <a:pt x="347" y="227"/>
                          <a:pt x="358" y="8"/>
                        </a:cubicBezTo>
                        <a:cubicBezTo>
                          <a:pt x="506" y="0"/>
                          <a:pt x="644" y="5"/>
                          <a:pt x="778" y="5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8" name="Freeform 270"/>
                  <p:cNvSpPr>
                    <a:spLocks/>
                  </p:cNvSpPr>
                  <p:nvPr/>
                </p:nvSpPr>
                <p:spPr bwMode="gray">
                  <a:xfrm>
                    <a:off x="-1133475" y="7926388"/>
                    <a:ext cx="2122488" cy="3573463"/>
                  </a:xfrm>
                  <a:custGeom>
                    <a:avLst/>
                    <a:gdLst/>
                    <a:ahLst/>
                    <a:cxnLst>
                      <a:cxn ang="0">
                        <a:pos x="136" y="59"/>
                      </a:cxn>
                      <a:cxn ang="0">
                        <a:pos x="84" y="133"/>
                      </a:cxn>
                      <a:cxn ang="0">
                        <a:pos x="53" y="222"/>
                      </a:cxn>
                      <a:cxn ang="0">
                        <a:pos x="12" y="339"/>
                      </a:cxn>
                      <a:cxn ang="0">
                        <a:pos x="3" y="386"/>
                      </a:cxn>
                      <a:cxn ang="0">
                        <a:pos x="46" y="494"/>
                      </a:cxn>
                      <a:cxn ang="0">
                        <a:pos x="96" y="654"/>
                      </a:cxn>
                      <a:cxn ang="0">
                        <a:pos x="136" y="714"/>
                      </a:cxn>
                      <a:cxn ang="0">
                        <a:pos x="142" y="820"/>
                      </a:cxn>
                      <a:cxn ang="0">
                        <a:pos x="260" y="931"/>
                      </a:cxn>
                      <a:cxn ang="0">
                        <a:pos x="377" y="829"/>
                      </a:cxn>
                      <a:cxn ang="0">
                        <a:pos x="429" y="674"/>
                      </a:cxn>
                      <a:cxn ang="0">
                        <a:pos x="471" y="538"/>
                      </a:cxn>
                      <a:cxn ang="0">
                        <a:pos x="534" y="445"/>
                      </a:cxn>
                      <a:cxn ang="0">
                        <a:pos x="560" y="355"/>
                      </a:cxn>
                      <a:cxn ang="0">
                        <a:pos x="514" y="238"/>
                      </a:cxn>
                      <a:cxn ang="0">
                        <a:pos x="436" y="124"/>
                      </a:cxn>
                      <a:cxn ang="0">
                        <a:pos x="322" y="4"/>
                      </a:cxn>
                      <a:cxn ang="0">
                        <a:pos x="179" y="36"/>
                      </a:cxn>
                    </a:cxnLst>
                    <a:rect l="0" t="0" r="r" b="b"/>
                    <a:pathLst>
                      <a:path w="566" h="953">
                        <a:moveTo>
                          <a:pt x="136" y="59"/>
                        </a:moveTo>
                        <a:cubicBezTo>
                          <a:pt x="136" y="88"/>
                          <a:pt x="99" y="110"/>
                          <a:pt x="84" y="133"/>
                        </a:cubicBezTo>
                        <a:cubicBezTo>
                          <a:pt x="65" y="163"/>
                          <a:pt x="62" y="189"/>
                          <a:pt x="53" y="222"/>
                        </a:cubicBezTo>
                        <a:cubicBezTo>
                          <a:pt x="43" y="258"/>
                          <a:pt x="23" y="300"/>
                          <a:pt x="12" y="339"/>
                        </a:cubicBezTo>
                        <a:cubicBezTo>
                          <a:pt x="7" y="356"/>
                          <a:pt x="4" y="368"/>
                          <a:pt x="3" y="386"/>
                        </a:cubicBezTo>
                        <a:cubicBezTo>
                          <a:pt x="0" y="439"/>
                          <a:pt x="30" y="452"/>
                          <a:pt x="46" y="494"/>
                        </a:cubicBezTo>
                        <a:cubicBezTo>
                          <a:pt x="66" y="547"/>
                          <a:pt x="69" y="601"/>
                          <a:pt x="96" y="654"/>
                        </a:cubicBezTo>
                        <a:cubicBezTo>
                          <a:pt x="106" y="675"/>
                          <a:pt x="127" y="692"/>
                          <a:pt x="136" y="714"/>
                        </a:cubicBezTo>
                        <a:cubicBezTo>
                          <a:pt x="148" y="744"/>
                          <a:pt x="137" y="786"/>
                          <a:pt x="142" y="820"/>
                        </a:cubicBezTo>
                        <a:cubicBezTo>
                          <a:pt x="153" y="889"/>
                          <a:pt x="176" y="953"/>
                          <a:pt x="260" y="931"/>
                        </a:cubicBezTo>
                        <a:cubicBezTo>
                          <a:pt x="282" y="880"/>
                          <a:pt x="342" y="868"/>
                          <a:pt x="377" y="829"/>
                        </a:cubicBezTo>
                        <a:cubicBezTo>
                          <a:pt x="417" y="784"/>
                          <a:pt x="421" y="730"/>
                          <a:pt x="429" y="674"/>
                        </a:cubicBezTo>
                        <a:cubicBezTo>
                          <a:pt x="435" y="631"/>
                          <a:pt x="447" y="575"/>
                          <a:pt x="471" y="538"/>
                        </a:cubicBezTo>
                        <a:cubicBezTo>
                          <a:pt x="494" y="502"/>
                          <a:pt x="520" y="487"/>
                          <a:pt x="534" y="445"/>
                        </a:cubicBezTo>
                        <a:cubicBezTo>
                          <a:pt x="544" y="414"/>
                          <a:pt x="557" y="388"/>
                          <a:pt x="560" y="355"/>
                        </a:cubicBezTo>
                        <a:cubicBezTo>
                          <a:pt x="566" y="305"/>
                          <a:pt x="541" y="281"/>
                          <a:pt x="514" y="238"/>
                        </a:cubicBezTo>
                        <a:cubicBezTo>
                          <a:pt x="487" y="197"/>
                          <a:pt x="453" y="170"/>
                          <a:pt x="436" y="124"/>
                        </a:cubicBezTo>
                        <a:cubicBezTo>
                          <a:pt x="413" y="64"/>
                          <a:pt x="396" y="10"/>
                          <a:pt x="322" y="4"/>
                        </a:cubicBezTo>
                        <a:cubicBezTo>
                          <a:pt x="271" y="0"/>
                          <a:pt x="227" y="27"/>
                          <a:pt x="179" y="3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9" name="Freeform 271"/>
                  <p:cNvSpPr>
                    <a:spLocks/>
                  </p:cNvSpPr>
                  <p:nvPr/>
                </p:nvSpPr>
                <p:spPr bwMode="gray">
                  <a:xfrm>
                    <a:off x="-304800" y="23855363"/>
                    <a:ext cx="1431925" cy="2400300"/>
                  </a:xfrm>
                  <a:custGeom>
                    <a:avLst/>
                    <a:gdLst/>
                    <a:ahLst/>
                    <a:cxnLst>
                      <a:cxn ang="0">
                        <a:pos x="99" y="26"/>
                      </a:cxn>
                      <a:cxn ang="0">
                        <a:pos x="29" y="111"/>
                      </a:cxn>
                      <a:cxn ang="0">
                        <a:pos x="8" y="172"/>
                      </a:cxn>
                      <a:cxn ang="0">
                        <a:pos x="31" y="239"/>
                      </a:cxn>
                      <a:cxn ang="0">
                        <a:pos x="78" y="368"/>
                      </a:cxn>
                      <a:cxn ang="0">
                        <a:pos x="93" y="429"/>
                      </a:cxn>
                      <a:cxn ang="0">
                        <a:pos x="99" y="508"/>
                      </a:cxn>
                      <a:cxn ang="0">
                        <a:pos x="209" y="588"/>
                      </a:cxn>
                      <a:cxn ang="0">
                        <a:pos x="370" y="639"/>
                      </a:cxn>
                      <a:cxn ang="0">
                        <a:pos x="377" y="496"/>
                      </a:cxn>
                      <a:cxn ang="0">
                        <a:pos x="362" y="438"/>
                      </a:cxn>
                      <a:cxn ang="0">
                        <a:pos x="327" y="390"/>
                      </a:cxn>
                      <a:cxn ang="0">
                        <a:pos x="279" y="275"/>
                      </a:cxn>
                      <a:cxn ang="0">
                        <a:pos x="238" y="146"/>
                      </a:cxn>
                      <a:cxn ang="0">
                        <a:pos x="186" y="38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382" h="640">
                        <a:moveTo>
                          <a:pt x="99" y="26"/>
                        </a:moveTo>
                        <a:cubicBezTo>
                          <a:pt x="49" y="19"/>
                          <a:pt x="36" y="75"/>
                          <a:pt x="29" y="111"/>
                        </a:cubicBezTo>
                        <a:cubicBezTo>
                          <a:pt x="25" y="132"/>
                          <a:pt x="13" y="152"/>
                          <a:pt x="8" y="172"/>
                        </a:cubicBezTo>
                        <a:cubicBezTo>
                          <a:pt x="0" y="203"/>
                          <a:pt x="19" y="212"/>
                          <a:pt x="31" y="239"/>
                        </a:cubicBezTo>
                        <a:cubicBezTo>
                          <a:pt x="49" y="281"/>
                          <a:pt x="70" y="324"/>
                          <a:pt x="78" y="368"/>
                        </a:cubicBezTo>
                        <a:cubicBezTo>
                          <a:pt x="82" y="389"/>
                          <a:pt x="89" y="408"/>
                          <a:pt x="93" y="429"/>
                        </a:cubicBezTo>
                        <a:cubicBezTo>
                          <a:pt x="98" y="453"/>
                          <a:pt x="91" y="484"/>
                          <a:pt x="99" y="508"/>
                        </a:cubicBezTo>
                        <a:cubicBezTo>
                          <a:pt x="113" y="556"/>
                          <a:pt x="168" y="570"/>
                          <a:pt x="209" y="588"/>
                        </a:cubicBezTo>
                        <a:cubicBezTo>
                          <a:pt x="259" y="609"/>
                          <a:pt x="315" y="640"/>
                          <a:pt x="370" y="639"/>
                        </a:cubicBezTo>
                        <a:cubicBezTo>
                          <a:pt x="376" y="592"/>
                          <a:pt x="382" y="545"/>
                          <a:pt x="377" y="496"/>
                        </a:cubicBezTo>
                        <a:cubicBezTo>
                          <a:pt x="375" y="474"/>
                          <a:pt x="372" y="457"/>
                          <a:pt x="362" y="438"/>
                        </a:cubicBezTo>
                        <a:cubicBezTo>
                          <a:pt x="352" y="421"/>
                          <a:pt x="338" y="407"/>
                          <a:pt x="327" y="390"/>
                        </a:cubicBezTo>
                        <a:cubicBezTo>
                          <a:pt x="306" y="355"/>
                          <a:pt x="294" y="313"/>
                          <a:pt x="279" y="275"/>
                        </a:cubicBezTo>
                        <a:cubicBezTo>
                          <a:pt x="263" y="233"/>
                          <a:pt x="245" y="189"/>
                          <a:pt x="238" y="146"/>
                        </a:cubicBezTo>
                        <a:cubicBezTo>
                          <a:pt x="232" y="107"/>
                          <a:pt x="215" y="66"/>
                          <a:pt x="186" y="38"/>
                        </a:cubicBezTo>
                        <a:cubicBezTo>
                          <a:pt x="162" y="15"/>
                          <a:pt x="107" y="0"/>
                          <a:pt x="81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0" name="Freeform 272"/>
                  <p:cNvSpPr>
                    <a:spLocks/>
                  </p:cNvSpPr>
                  <p:nvPr/>
                </p:nvSpPr>
                <p:spPr bwMode="gray">
                  <a:xfrm>
                    <a:off x="-117475" y="15621001"/>
                    <a:ext cx="1766888" cy="10001250"/>
                  </a:xfrm>
                  <a:custGeom>
                    <a:avLst/>
                    <a:gdLst/>
                    <a:ahLst/>
                    <a:cxnLst>
                      <a:cxn ang="0">
                        <a:pos x="66" y="16"/>
                      </a:cxn>
                      <a:cxn ang="0">
                        <a:pos x="48" y="498"/>
                      </a:cxn>
                      <a:cxn ang="0">
                        <a:pos x="84" y="980"/>
                      </a:cxn>
                      <a:cxn ang="0">
                        <a:pos x="89" y="1181"/>
                      </a:cxn>
                      <a:cxn ang="0">
                        <a:pos x="62" y="1388"/>
                      </a:cxn>
                      <a:cxn ang="0">
                        <a:pos x="66" y="1789"/>
                      </a:cxn>
                      <a:cxn ang="0">
                        <a:pos x="20" y="2297"/>
                      </a:cxn>
                      <a:cxn ang="0">
                        <a:pos x="4" y="2358"/>
                      </a:cxn>
                      <a:cxn ang="0">
                        <a:pos x="48" y="2479"/>
                      </a:cxn>
                      <a:cxn ang="0">
                        <a:pos x="91" y="2636"/>
                      </a:cxn>
                      <a:cxn ang="0">
                        <a:pos x="273" y="2631"/>
                      </a:cxn>
                      <a:cxn ang="0">
                        <a:pos x="201" y="2214"/>
                      </a:cxn>
                      <a:cxn ang="0">
                        <a:pos x="364" y="1357"/>
                      </a:cxn>
                      <a:cxn ang="0">
                        <a:pos x="353" y="1118"/>
                      </a:cxn>
                      <a:cxn ang="0">
                        <a:pos x="407" y="761"/>
                      </a:cxn>
                      <a:cxn ang="0">
                        <a:pos x="434" y="515"/>
                      </a:cxn>
                      <a:cxn ang="0">
                        <a:pos x="407" y="8"/>
                      </a:cxn>
                      <a:cxn ang="0">
                        <a:pos x="66" y="7"/>
                      </a:cxn>
                    </a:cxnLst>
                    <a:rect l="0" t="0" r="r" b="b"/>
                    <a:pathLst>
                      <a:path w="471" h="2667">
                        <a:moveTo>
                          <a:pt x="66" y="16"/>
                        </a:moveTo>
                        <a:cubicBezTo>
                          <a:pt x="97" y="171"/>
                          <a:pt x="48" y="335"/>
                          <a:pt x="48" y="498"/>
                        </a:cubicBezTo>
                        <a:cubicBezTo>
                          <a:pt x="48" y="668"/>
                          <a:pt x="53" y="823"/>
                          <a:pt x="84" y="980"/>
                        </a:cubicBezTo>
                        <a:cubicBezTo>
                          <a:pt x="97" y="1046"/>
                          <a:pt x="92" y="1111"/>
                          <a:pt x="89" y="1181"/>
                        </a:cubicBezTo>
                        <a:cubicBezTo>
                          <a:pt x="85" y="1254"/>
                          <a:pt x="89" y="1324"/>
                          <a:pt x="62" y="1388"/>
                        </a:cubicBezTo>
                        <a:cubicBezTo>
                          <a:pt x="0" y="1540"/>
                          <a:pt x="59" y="1653"/>
                          <a:pt x="66" y="1789"/>
                        </a:cubicBezTo>
                        <a:cubicBezTo>
                          <a:pt x="72" y="1893"/>
                          <a:pt x="35" y="2179"/>
                          <a:pt x="20" y="2297"/>
                        </a:cubicBezTo>
                        <a:cubicBezTo>
                          <a:pt x="19" y="2307"/>
                          <a:pt x="1" y="2333"/>
                          <a:pt x="4" y="2358"/>
                        </a:cubicBezTo>
                        <a:cubicBezTo>
                          <a:pt x="8" y="2405"/>
                          <a:pt x="36" y="2460"/>
                          <a:pt x="48" y="2479"/>
                        </a:cubicBezTo>
                        <a:cubicBezTo>
                          <a:pt x="75" y="2521"/>
                          <a:pt x="52" y="2613"/>
                          <a:pt x="91" y="2636"/>
                        </a:cubicBezTo>
                        <a:cubicBezTo>
                          <a:pt x="144" y="2667"/>
                          <a:pt x="273" y="2631"/>
                          <a:pt x="273" y="2631"/>
                        </a:cubicBezTo>
                        <a:cubicBezTo>
                          <a:pt x="232" y="2565"/>
                          <a:pt x="185" y="2354"/>
                          <a:pt x="201" y="2214"/>
                        </a:cubicBezTo>
                        <a:cubicBezTo>
                          <a:pt x="216" y="2078"/>
                          <a:pt x="371" y="1520"/>
                          <a:pt x="364" y="1357"/>
                        </a:cubicBezTo>
                        <a:cubicBezTo>
                          <a:pt x="359" y="1232"/>
                          <a:pt x="343" y="1241"/>
                          <a:pt x="353" y="1118"/>
                        </a:cubicBezTo>
                        <a:cubicBezTo>
                          <a:pt x="359" y="1043"/>
                          <a:pt x="391" y="831"/>
                          <a:pt x="407" y="761"/>
                        </a:cubicBezTo>
                        <a:cubicBezTo>
                          <a:pt x="426" y="679"/>
                          <a:pt x="434" y="601"/>
                          <a:pt x="434" y="515"/>
                        </a:cubicBezTo>
                        <a:cubicBezTo>
                          <a:pt x="434" y="360"/>
                          <a:pt x="471" y="144"/>
                          <a:pt x="407" y="8"/>
                        </a:cubicBezTo>
                        <a:cubicBezTo>
                          <a:pt x="295" y="0"/>
                          <a:pt x="179" y="7"/>
                          <a:pt x="66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1" name="Freeform 273"/>
                  <p:cNvSpPr>
                    <a:spLocks/>
                  </p:cNvSpPr>
                  <p:nvPr/>
                </p:nvSpPr>
                <p:spPr bwMode="gray">
                  <a:xfrm>
                    <a:off x="-71438" y="19408776"/>
                    <a:ext cx="1577975" cy="2628900"/>
                  </a:xfrm>
                  <a:custGeom>
                    <a:avLst/>
                    <a:gdLst/>
                    <a:ahLst/>
                    <a:cxnLst>
                      <a:cxn ang="0">
                        <a:pos x="54" y="701"/>
                      </a:cxn>
                      <a:cxn ang="0">
                        <a:pos x="71" y="427"/>
                      </a:cxn>
                      <a:cxn ang="0">
                        <a:pos x="195" y="194"/>
                      </a:cxn>
                      <a:cxn ang="0">
                        <a:pos x="329" y="35"/>
                      </a:cxn>
                      <a:cxn ang="0">
                        <a:pos x="88" y="121"/>
                      </a:cxn>
                      <a:cxn ang="0">
                        <a:pos x="72" y="275"/>
                      </a:cxn>
                      <a:cxn ang="0">
                        <a:pos x="24" y="409"/>
                      </a:cxn>
                      <a:cxn ang="0">
                        <a:pos x="54" y="701"/>
                      </a:cxn>
                    </a:cxnLst>
                    <a:rect l="0" t="0" r="r" b="b"/>
                    <a:pathLst>
                      <a:path w="421" h="701">
                        <a:moveTo>
                          <a:pt x="54" y="701"/>
                        </a:moveTo>
                        <a:cubicBezTo>
                          <a:pt x="64" y="608"/>
                          <a:pt x="46" y="519"/>
                          <a:pt x="71" y="427"/>
                        </a:cubicBezTo>
                        <a:cubicBezTo>
                          <a:pt x="89" y="362"/>
                          <a:pt x="145" y="234"/>
                          <a:pt x="195" y="194"/>
                        </a:cubicBezTo>
                        <a:cubicBezTo>
                          <a:pt x="230" y="166"/>
                          <a:pt x="421" y="104"/>
                          <a:pt x="329" y="35"/>
                        </a:cubicBezTo>
                        <a:cubicBezTo>
                          <a:pt x="283" y="0"/>
                          <a:pt x="115" y="77"/>
                          <a:pt x="88" y="121"/>
                        </a:cubicBezTo>
                        <a:cubicBezTo>
                          <a:pt x="65" y="159"/>
                          <a:pt x="78" y="232"/>
                          <a:pt x="72" y="275"/>
                        </a:cubicBezTo>
                        <a:cubicBezTo>
                          <a:pt x="64" y="323"/>
                          <a:pt x="34" y="361"/>
                          <a:pt x="24" y="409"/>
                        </a:cubicBezTo>
                        <a:cubicBezTo>
                          <a:pt x="0" y="523"/>
                          <a:pt x="41" y="601"/>
                          <a:pt x="54" y="7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2" name="Freeform 274"/>
                  <p:cNvSpPr>
                    <a:spLocks/>
                  </p:cNvSpPr>
                  <p:nvPr/>
                </p:nvSpPr>
                <p:spPr bwMode="gray">
                  <a:xfrm>
                    <a:off x="-1557338" y="19745326"/>
                    <a:ext cx="1219200" cy="1957388"/>
                  </a:xfrm>
                  <a:custGeom>
                    <a:avLst/>
                    <a:gdLst/>
                    <a:ahLst/>
                    <a:cxnLst>
                      <a:cxn ang="0">
                        <a:pos x="23" y="109"/>
                      </a:cxn>
                      <a:cxn ang="0">
                        <a:pos x="107" y="178"/>
                      </a:cxn>
                      <a:cxn ang="0">
                        <a:pos x="205" y="237"/>
                      </a:cxn>
                      <a:cxn ang="0">
                        <a:pos x="210" y="390"/>
                      </a:cxn>
                      <a:cxn ang="0">
                        <a:pos x="216" y="522"/>
                      </a:cxn>
                      <a:cxn ang="0">
                        <a:pos x="246" y="337"/>
                      </a:cxn>
                      <a:cxn ang="0">
                        <a:pos x="300" y="163"/>
                      </a:cxn>
                      <a:cxn ang="0">
                        <a:pos x="199" y="43"/>
                      </a:cxn>
                      <a:cxn ang="0">
                        <a:pos x="0" y="62"/>
                      </a:cxn>
                    </a:cxnLst>
                    <a:rect l="0" t="0" r="r" b="b"/>
                    <a:pathLst>
                      <a:path w="325" h="522">
                        <a:moveTo>
                          <a:pt x="23" y="109"/>
                        </a:moveTo>
                        <a:cubicBezTo>
                          <a:pt x="61" y="126"/>
                          <a:pt x="76" y="155"/>
                          <a:pt x="107" y="178"/>
                        </a:cubicBezTo>
                        <a:cubicBezTo>
                          <a:pt x="135" y="199"/>
                          <a:pt x="186" y="202"/>
                          <a:pt x="205" y="237"/>
                        </a:cubicBezTo>
                        <a:cubicBezTo>
                          <a:pt x="226" y="276"/>
                          <a:pt x="204" y="345"/>
                          <a:pt x="210" y="390"/>
                        </a:cubicBezTo>
                        <a:cubicBezTo>
                          <a:pt x="217" y="436"/>
                          <a:pt x="241" y="473"/>
                          <a:pt x="216" y="522"/>
                        </a:cubicBezTo>
                        <a:cubicBezTo>
                          <a:pt x="263" y="493"/>
                          <a:pt x="243" y="387"/>
                          <a:pt x="246" y="337"/>
                        </a:cubicBezTo>
                        <a:cubicBezTo>
                          <a:pt x="249" y="268"/>
                          <a:pt x="280" y="226"/>
                          <a:pt x="300" y="163"/>
                        </a:cubicBezTo>
                        <a:cubicBezTo>
                          <a:pt x="325" y="84"/>
                          <a:pt x="269" y="64"/>
                          <a:pt x="199" y="43"/>
                        </a:cubicBezTo>
                        <a:cubicBezTo>
                          <a:pt x="152" y="29"/>
                          <a:pt x="25" y="0"/>
                          <a:pt x="0" y="6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3" name="Freeform 275"/>
                  <p:cNvSpPr>
                    <a:spLocks/>
                  </p:cNvSpPr>
                  <p:nvPr/>
                </p:nvSpPr>
                <p:spPr bwMode="gray">
                  <a:xfrm>
                    <a:off x="-1920875" y="9531351"/>
                    <a:ext cx="4233863" cy="5718175"/>
                  </a:xfrm>
                  <a:custGeom>
                    <a:avLst/>
                    <a:gdLst/>
                    <a:ahLst/>
                    <a:cxnLst>
                      <a:cxn ang="0">
                        <a:pos x="22" y="1482"/>
                      </a:cxn>
                      <a:cxn ang="0">
                        <a:pos x="50" y="1171"/>
                      </a:cxn>
                      <a:cxn ang="0">
                        <a:pos x="103" y="1012"/>
                      </a:cxn>
                      <a:cxn ang="0">
                        <a:pos x="220" y="880"/>
                      </a:cxn>
                      <a:cxn ang="0">
                        <a:pos x="268" y="712"/>
                      </a:cxn>
                      <a:cxn ang="0">
                        <a:pos x="237" y="502"/>
                      </a:cxn>
                      <a:cxn ang="0">
                        <a:pos x="190" y="437"/>
                      </a:cxn>
                      <a:cxn ang="0">
                        <a:pos x="227" y="56"/>
                      </a:cxn>
                      <a:cxn ang="0">
                        <a:pos x="390" y="296"/>
                      </a:cxn>
                      <a:cxn ang="0">
                        <a:pos x="507" y="220"/>
                      </a:cxn>
                      <a:cxn ang="0">
                        <a:pos x="642" y="179"/>
                      </a:cxn>
                      <a:cxn ang="0">
                        <a:pos x="792" y="489"/>
                      </a:cxn>
                      <a:cxn ang="0">
                        <a:pos x="954" y="897"/>
                      </a:cxn>
                      <a:cxn ang="0">
                        <a:pos x="1032" y="950"/>
                      </a:cxn>
                      <a:cxn ang="0">
                        <a:pos x="1051" y="1086"/>
                      </a:cxn>
                      <a:cxn ang="0">
                        <a:pos x="1111" y="1312"/>
                      </a:cxn>
                      <a:cxn ang="0">
                        <a:pos x="1126" y="1481"/>
                      </a:cxn>
                      <a:cxn ang="0">
                        <a:pos x="870" y="1517"/>
                      </a:cxn>
                      <a:cxn ang="0">
                        <a:pos x="624" y="1499"/>
                      </a:cxn>
                      <a:cxn ang="0">
                        <a:pos x="344" y="1505"/>
                      </a:cxn>
                      <a:cxn ang="0">
                        <a:pos x="222" y="1504"/>
                      </a:cxn>
                      <a:cxn ang="0">
                        <a:pos x="122" y="1395"/>
                      </a:cxn>
                      <a:cxn ang="0">
                        <a:pos x="22" y="1476"/>
                      </a:cxn>
                    </a:cxnLst>
                    <a:rect l="0" t="0" r="r" b="b"/>
                    <a:pathLst>
                      <a:path w="1129" h="1525">
                        <a:moveTo>
                          <a:pt x="22" y="1482"/>
                        </a:moveTo>
                        <a:cubicBezTo>
                          <a:pt x="57" y="1380"/>
                          <a:pt x="0" y="1268"/>
                          <a:pt x="50" y="1171"/>
                        </a:cubicBezTo>
                        <a:cubicBezTo>
                          <a:pt x="78" y="1116"/>
                          <a:pt x="86" y="1070"/>
                          <a:pt x="103" y="1012"/>
                        </a:cubicBezTo>
                        <a:cubicBezTo>
                          <a:pt x="127" y="930"/>
                          <a:pt x="156" y="924"/>
                          <a:pt x="220" y="880"/>
                        </a:cubicBezTo>
                        <a:cubicBezTo>
                          <a:pt x="287" y="833"/>
                          <a:pt x="283" y="799"/>
                          <a:pt x="268" y="712"/>
                        </a:cubicBezTo>
                        <a:cubicBezTo>
                          <a:pt x="256" y="646"/>
                          <a:pt x="263" y="566"/>
                          <a:pt x="237" y="502"/>
                        </a:cubicBezTo>
                        <a:cubicBezTo>
                          <a:pt x="226" y="474"/>
                          <a:pt x="204" y="462"/>
                          <a:pt x="190" y="437"/>
                        </a:cubicBezTo>
                        <a:cubicBezTo>
                          <a:pt x="147" y="359"/>
                          <a:pt x="119" y="106"/>
                          <a:pt x="227" y="56"/>
                        </a:cubicBezTo>
                        <a:cubicBezTo>
                          <a:pt x="346" y="0"/>
                          <a:pt x="336" y="256"/>
                          <a:pt x="390" y="296"/>
                        </a:cubicBezTo>
                        <a:cubicBezTo>
                          <a:pt x="455" y="344"/>
                          <a:pt x="484" y="256"/>
                          <a:pt x="507" y="220"/>
                        </a:cubicBezTo>
                        <a:cubicBezTo>
                          <a:pt x="534" y="178"/>
                          <a:pt x="590" y="161"/>
                          <a:pt x="642" y="179"/>
                        </a:cubicBezTo>
                        <a:cubicBezTo>
                          <a:pt x="769" y="223"/>
                          <a:pt x="784" y="376"/>
                          <a:pt x="792" y="489"/>
                        </a:cubicBezTo>
                        <a:cubicBezTo>
                          <a:pt x="804" y="649"/>
                          <a:pt x="825" y="792"/>
                          <a:pt x="954" y="897"/>
                        </a:cubicBezTo>
                        <a:cubicBezTo>
                          <a:pt x="976" y="915"/>
                          <a:pt x="1018" y="925"/>
                          <a:pt x="1032" y="950"/>
                        </a:cubicBezTo>
                        <a:cubicBezTo>
                          <a:pt x="1050" y="982"/>
                          <a:pt x="1046" y="1048"/>
                          <a:pt x="1051" y="1086"/>
                        </a:cubicBezTo>
                        <a:cubicBezTo>
                          <a:pt x="1060" y="1168"/>
                          <a:pt x="1091" y="1231"/>
                          <a:pt x="1111" y="1312"/>
                        </a:cubicBezTo>
                        <a:cubicBezTo>
                          <a:pt x="1125" y="1367"/>
                          <a:pt x="1129" y="1423"/>
                          <a:pt x="1126" y="1481"/>
                        </a:cubicBezTo>
                        <a:cubicBezTo>
                          <a:pt x="1041" y="1476"/>
                          <a:pt x="952" y="1509"/>
                          <a:pt x="870" y="1517"/>
                        </a:cubicBezTo>
                        <a:cubicBezTo>
                          <a:pt x="789" y="1525"/>
                          <a:pt x="705" y="1503"/>
                          <a:pt x="624" y="1499"/>
                        </a:cubicBezTo>
                        <a:cubicBezTo>
                          <a:pt x="530" y="1496"/>
                          <a:pt x="437" y="1506"/>
                          <a:pt x="344" y="1505"/>
                        </a:cubicBezTo>
                        <a:cubicBezTo>
                          <a:pt x="316" y="1505"/>
                          <a:pt x="244" y="1518"/>
                          <a:pt x="222" y="1504"/>
                        </a:cubicBezTo>
                        <a:cubicBezTo>
                          <a:pt x="164" y="1467"/>
                          <a:pt x="229" y="1376"/>
                          <a:pt x="122" y="1395"/>
                        </a:cubicBezTo>
                        <a:cubicBezTo>
                          <a:pt x="130" y="1436"/>
                          <a:pt x="58" y="1476"/>
                          <a:pt x="22" y="14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4" name="Freeform 276"/>
                  <p:cNvSpPr>
                    <a:spLocks/>
                  </p:cNvSpPr>
                  <p:nvPr/>
                </p:nvSpPr>
                <p:spPr bwMode="gray">
                  <a:xfrm>
                    <a:off x="-1741488" y="14217651"/>
                    <a:ext cx="4021138" cy="6184900"/>
                  </a:xfrm>
                  <a:custGeom>
                    <a:avLst/>
                    <a:gdLst/>
                    <a:ahLst/>
                    <a:cxnLst>
                      <a:cxn ang="0">
                        <a:pos x="49" y="197"/>
                      </a:cxn>
                      <a:cxn ang="0">
                        <a:pos x="5" y="390"/>
                      </a:cxn>
                      <a:cxn ang="0">
                        <a:pos x="15" y="591"/>
                      </a:cxn>
                      <a:cxn ang="0">
                        <a:pos x="40" y="1036"/>
                      </a:cxn>
                      <a:cxn ang="0">
                        <a:pos x="40" y="1450"/>
                      </a:cxn>
                      <a:cxn ang="0">
                        <a:pos x="93" y="1609"/>
                      </a:cxn>
                      <a:cxn ang="0">
                        <a:pos x="338" y="1617"/>
                      </a:cxn>
                      <a:cxn ang="0">
                        <a:pos x="522" y="1555"/>
                      </a:cxn>
                      <a:cxn ang="0">
                        <a:pos x="741" y="1503"/>
                      </a:cxn>
                      <a:cxn ang="0">
                        <a:pos x="917" y="1442"/>
                      </a:cxn>
                      <a:cxn ang="0">
                        <a:pos x="932" y="1343"/>
                      </a:cxn>
                      <a:cxn ang="0">
                        <a:pos x="972" y="1249"/>
                      </a:cxn>
                      <a:cxn ang="0">
                        <a:pos x="1014" y="820"/>
                      </a:cxn>
                      <a:cxn ang="0">
                        <a:pos x="1039" y="379"/>
                      </a:cxn>
                      <a:cxn ang="0">
                        <a:pos x="987" y="100"/>
                      </a:cxn>
                      <a:cxn ang="0">
                        <a:pos x="680" y="21"/>
                      </a:cxn>
                      <a:cxn ang="0">
                        <a:pos x="338" y="30"/>
                      </a:cxn>
                      <a:cxn ang="0">
                        <a:pos x="40" y="109"/>
                      </a:cxn>
                    </a:cxnLst>
                    <a:rect l="0" t="0" r="r" b="b"/>
                    <a:pathLst>
                      <a:path w="1072" h="1649">
                        <a:moveTo>
                          <a:pt x="49" y="197"/>
                        </a:moveTo>
                        <a:cubicBezTo>
                          <a:pt x="49" y="268"/>
                          <a:pt x="9" y="321"/>
                          <a:pt x="5" y="390"/>
                        </a:cubicBezTo>
                        <a:cubicBezTo>
                          <a:pt x="1" y="463"/>
                          <a:pt x="23" y="516"/>
                          <a:pt x="15" y="591"/>
                        </a:cubicBezTo>
                        <a:cubicBezTo>
                          <a:pt x="0" y="742"/>
                          <a:pt x="40" y="880"/>
                          <a:pt x="40" y="1036"/>
                        </a:cubicBezTo>
                        <a:cubicBezTo>
                          <a:pt x="40" y="1175"/>
                          <a:pt x="58" y="1322"/>
                          <a:pt x="40" y="1450"/>
                        </a:cubicBezTo>
                        <a:cubicBezTo>
                          <a:pt x="30" y="1526"/>
                          <a:pt x="4" y="1558"/>
                          <a:pt x="93" y="1609"/>
                        </a:cubicBezTo>
                        <a:cubicBezTo>
                          <a:pt x="163" y="1649"/>
                          <a:pt x="272" y="1628"/>
                          <a:pt x="338" y="1617"/>
                        </a:cubicBezTo>
                        <a:cubicBezTo>
                          <a:pt x="401" y="1607"/>
                          <a:pt x="459" y="1564"/>
                          <a:pt x="522" y="1555"/>
                        </a:cubicBezTo>
                        <a:cubicBezTo>
                          <a:pt x="611" y="1543"/>
                          <a:pt x="669" y="1531"/>
                          <a:pt x="741" y="1503"/>
                        </a:cubicBezTo>
                        <a:cubicBezTo>
                          <a:pt x="801" y="1480"/>
                          <a:pt x="887" y="1491"/>
                          <a:pt x="917" y="1442"/>
                        </a:cubicBezTo>
                        <a:cubicBezTo>
                          <a:pt x="926" y="1426"/>
                          <a:pt x="927" y="1364"/>
                          <a:pt x="932" y="1343"/>
                        </a:cubicBezTo>
                        <a:cubicBezTo>
                          <a:pt x="942" y="1309"/>
                          <a:pt x="962" y="1280"/>
                          <a:pt x="972" y="1249"/>
                        </a:cubicBezTo>
                        <a:cubicBezTo>
                          <a:pt x="1013" y="1120"/>
                          <a:pt x="986" y="953"/>
                          <a:pt x="1014" y="820"/>
                        </a:cubicBezTo>
                        <a:cubicBezTo>
                          <a:pt x="1044" y="674"/>
                          <a:pt x="1047" y="525"/>
                          <a:pt x="1039" y="379"/>
                        </a:cubicBezTo>
                        <a:cubicBezTo>
                          <a:pt x="1035" y="279"/>
                          <a:pt x="1072" y="163"/>
                          <a:pt x="987" y="100"/>
                        </a:cubicBezTo>
                        <a:cubicBezTo>
                          <a:pt x="918" y="49"/>
                          <a:pt x="767" y="37"/>
                          <a:pt x="680" y="21"/>
                        </a:cubicBezTo>
                        <a:cubicBezTo>
                          <a:pt x="564" y="0"/>
                          <a:pt x="454" y="26"/>
                          <a:pt x="338" y="30"/>
                        </a:cubicBezTo>
                        <a:cubicBezTo>
                          <a:pt x="253" y="34"/>
                          <a:pt x="102" y="49"/>
                          <a:pt x="40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5" name="Freeform 277"/>
                  <p:cNvSpPr>
                    <a:spLocks/>
                  </p:cNvSpPr>
                  <p:nvPr/>
                </p:nvSpPr>
                <p:spPr bwMode="gray">
                  <a:xfrm>
                    <a:off x="-1141413" y="14004926"/>
                    <a:ext cx="1987550" cy="806450"/>
                  </a:xfrm>
                  <a:custGeom>
                    <a:avLst/>
                    <a:gdLst/>
                    <a:ahLst/>
                    <a:cxnLst>
                      <a:cxn ang="0">
                        <a:pos x="35" y="132"/>
                      </a:cxn>
                      <a:cxn ang="0">
                        <a:pos x="251" y="195"/>
                      </a:cxn>
                      <a:cxn ang="0">
                        <a:pos x="252" y="168"/>
                      </a:cxn>
                      <a:cxn ang="0">
                        <a:pos x="345" y="208"/>
                      </a:cxn>
                      <a:cxn ang="0">
                        <a:pos x="462" y="196"/>
                      </a:cxn>
                      <a:cxn ang="0">
                        <a:pos x="526" y="132"/>
                      </a:cxn>
                      <a:cxn ang="0">
                        <a:pos x="440" y="60"/>
                      </a:cxn>
                      <a:cxn ang="0">
                        <a:pos x="221" y="9"/>
                      </a:cxn>
                      <a:cxn ang="0">
                        <a:pos x="0" y="108"/>
                      </a:cxn>
                    </a:cxnLst>
                    <a:rect l="0" t="0" r="r" b="b"/>
                    <a:pathLst>
                      <a:path w="530" h="215">
                        <a:moveTo>
                          <a:pt x="35" y="132"/>
                        </a:moveTo>
                        <a:cubicBezTo>
                          <a:pt x="56" y="196"/>
                          <a:pt x="194" y="198"/>
                          <a:pt x="251" y="195"/>
                        </a:cubicBezTo>
                        <a:cubicBezTo>
                          <a:pt x="250" y="187"/>
                          <a:pt x="253" y="176"/>
                          <a:pt x="252" y="168"/>
                        </a:cubicBezTo>
                        <a:cubicBezTo>
                          <a:pt x="306" y="141"/>
                          <a:pt x="309" y="199"/>
                          <a:pt x="345" y="208"/>
                        </a:cubicBezTo>
                        <a:cubicBezTo>
                          <a:pt x="371" y="215"/>
                          <a:pt x="434" y="201"/>
                          <a:pt x="462" y="196"/>
                        </a:cubicBezTo>
                        <a:cubicBezTo>
                          <a:pt x="500" y="189"/>
                          <a:pt x="530" y="182"/>
                          <a:pt x="526" y="132"/>
                        </a:cubicBezTo>
                        <a:cubicBezTo>
                          <a:pt x="522" y="79"/>
                          <a:pt x="479" y="76"/>
                          <a:pt x="440" y="60"/>
                        </a:cubicBezTo>
                        <a:cubicBezTo>
                          <a:pt x="364" y="31"/>
                          <a:pt x="304" y="16"/>
                          <a:pt x="221" y="9"/>
                        </a:cubicBezTo>
                        <a:cubicBezTo>
                          <a:pt x="115" y="0"/>
                          <a:pt x="78" y="59"/>
                          <a:pt x="0" y="1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6" name="Freeform 278"/>
                  <p:cNvSpPr>
                    <a:spLocks/>
                  </p:cNvSpPr>
                  <p:nvPr/>
                </p:nvSpPr>
                <p:spPr bwMode="gray">
                  <a:xfrm>
                    <a:off x="-1774825" y="8439151"/>
                    <a:ext cx="3055938" cy="6232525"/>
                  </a:xfrm>
                  <a:custGeom>
                    <a:avLst/>
                    <a:gdLst/>
                    <a:ahLst/>
                    <a:cxnLst>
                      <a:cxn ang="0">
                        <a:pos x="256" y="0"/>
                      </a:cxn>
                      <a:cxn ang="0">
                        <a:pos x="124" y="102"/>
                      </a:cxn>
                      <a:cxn ang="0">
                        <a:pos x="0" y="191"/>
                      </a:cxn>
                      <a:cxn ang="0">
                        <a:pos x="169" y="149"/>
                      </a:cxn>
                      <a:cxn ang="0">
                        <a:pos x="238" y="254"/>
                      </a:cxn>
                      <a:cxn ang="0">
                        <a:pos x="205" y="535"/>
                      </a:cxn>
                      <a:cxn ang="0">
                        <a:pos x="194" y="880"/>
                      </a:cxn>
                      <a:cxn ang="0">
                        <a:pos x="209" y="1027"/>
                      </a:cxn>
                      <a:cxn ang="0">
                        <a:pos x="213" y="1130"/>
                      </a:cxn>
                      <a:cxn ang="0">
                        <a:pos x="232" y="1246"/>
                      </a:cxn>
                      <a:cxn ang="0">
                        <a:pos x="178" y="1344"/>
                      </a:cxn>
                      <a:cxn ang="0">
                        <a:pos x="198" y="1395"/>
                      </a:cxn>
                      <a:cxn ang="0">
                        <a:pos x="198" y="1467"/>
                      </a:cxn>
                      <a:cxn ang="0">
                        <a:pos x="251" y="1638"/>
                      </a:cxn>
                      <a:cxn ang="0">
                        <a:pos x="338" y="1660"/>
                      </a:cxn>
                      <a:cxn ang="0">
                        <a:pos x="411" y="1585"/>
                      </a:cxn>
                      <a:cxn ang="0">
                        <a:pos x="434" y="1403"/>
                      </a:cxn>
                      <a:cxn ang="0">
                        <a:pos x="454" y="1613"/>
                      </a:cxn>
                      <a:cxn ang="0">
                        <a:pos x="514" y="1660"/>
                      </a:cxn>
                      <a:cxn ang="0">
                        <a:pos x="626" y="1655"/>
                      </a:cxn>
                      <a:cxn ang="0">
                        <a:pos x="615" y="1451"/>
                      </a:cxn>
                      <a:cxn ang="0">
                        <a:pos x="639" y="1083"/>
                      </a:cxn>
                      <a:cxn ang="0">
                        <a:pos x="623" y="546"/>
                      </a:cxn>
                      <a:cxn ang="0">
                        <a:pos x="630" y="346"/>
                      </a:cxn>
                      <a:cxn ang="0">
                        <a:pos x="600" y="215"/>
                      </a:cxn>
                      <a:cxn ang="0">
                        <a:pos x="654" y="176"/>
                      </a:cxn>
                      <a:cxn ang="0">
                        <a:pos x="705" y="202"/>
                      </a:cxn>
                      <a:cxn ang="0">
                        <a:pos x="760" y="225"/>
                      </a:cxn>
                      <a:cxn ang="0">
                        <a:pos x="813" y="265"/>
                      </a:cxn>
                      <a:cxn ang="0">
                        <a:pos x="779" y="202"/>
                      </a:cxn>
                      <a:cxn ang="0">
                        <a:pos x="746" y="129"/>
                      </a:cxn>
                      <a:cxn ang="0">
                        <a:pos x="607" y="23"/>
                      </a:cxn>
                      <a:cxn ang="0">
                        <a:pos x="576" y="191"/>
                      </a:cxn>
                      <a:cxn ang="0">
                        <a:pos x="483" y="316"/>
                      </a:cxn>
                      <a:cxn ang="0">
                        <a:pos x="427" y="480"/>
                      </a:cxn>
                      <a:cxn ang="0">
                        <a:pos x="393" y="654"/>
                      </a:cxn>
                      <a:cxn ang="0">
                        <a:pos x="381" y="479"/>
                      </a:cxn>
                      <a:cxn ang="0">
                        <a:pos x="350" y="331"/>
                      </a:cxn>
                      <a:cxn ang="0">
                        <a:pos x="272" y="187"/>
                      </a:cxn>
                      <a:cxn ang="0">
                        <a:pos x="182" y="78"/>
                      </a:cxn>
                    </a:cxnLst>
                    <a:rect l="0" t="0" r="r" b="b"/>
                    <a:pathLst>
                      <a:path w="815" h="1662">
                        <a:moveTo>
                          <a:pt x="256" y="0"/>
                        </a:moveTo>
                        <a:cubicBezTo>
                          <a:pt x="211" y="40"/>
                          <a:pt x="171" y="69"/>
                          <a:pt x="124" y="102"/>
                        </a:cubicBezTo>
                        <a:cubicBezTo>
                          <a:pt x="87" y="129"/>
                          <a:pt x="50" y="196"/>
                          <a:pt x="0" y="191"/>
                        </a:cubicBezTo>
                        <a:cubicBezTo>
                          <a:pt x="63" y="237"/>
                          <a:pt x="121" y="165"/>
                          <a:pt x="169" y="149"/>
                        </a:cubicBezTo>
                        <a:cubicBezTo>
                          <a:pt x="204" y="186"/>
                          <a:pt x="255" y="201"/>
                          <a:pt x="238" y="254"/>
                        </a:cubicBezTo>
                        <a:cubicBezTo>
                          <a:pt x="209" y="343"/>
                          <a:pt x="205" y="438"/>
                          <a:pt x="205" y="535"/>
                        </a:cubicBezTo>
                        <a:cubicBezTo>
                          <a:pt x="206" y="650"/>
                          <a:pt x="189" y="764"/>
                          <a:pt x="194" y="880"/>
                        </a:cubicBezTo>
                        <a:cubicBezTo>
                          <a:pt x="196" y="931"/>
                          <a:pt x="209" y="976"/>
                          <a:pt x="209" y="1027"/>
                        </a:cubicBezTo>
                        <a:cubicBezTo>
                          <a:pt x="209" y="1062"/>
                          <a:pt x="209" y="1096"/>
                          <a:pt x="213" y="1130"/>
                        </a:cubicBezTo>
                        <a:cubicBezTo>
                          <a:pt x="217" y="1168"/>
                          <a:pt x="234" y="1209"/>
                          <a:pt x="232" y="1246"/>
                        </a:cubicBezTo>
                        <a:cubicBezTo>
                          <a:pt x="212" y="1257"/>
                          <a:pt x="178" y="1320"/>
                          <a:pt x="178" y="1344"/>
                        </a:cubicBezTo>
                        <a:cubicBezTo>
                          <a:pt x="178" y="1362"/>
                          <a:pt x="194" y="1378"/>
                          <a:pt x="198" y="1395"/>
                        </a:cubicBezTo>
                        <a:cubicBezTo>
                          <a:pt x="203" y="1417"/>
                          <a:pt x="196" y="1444"/>
                          <a:pt x="198" y="1467"/>
                        </a:cubicBezTo>
                        <a:cubicBezTo>
                          <a:pt x="200" y="1524"/>
                          <a:pt x="198" y="1610"/>
                          <a:pt x="251" y="1638"/>
                        </a:cubicBezTo>
                        <a:cubicBezTo>
                          <a:pt x="278" y="1652"/>
                          <a:pt x="306" y="1660"/>
                          <a:pt x="338" y="1660"/>
                        </a:cubicBezTo>
                        <a:cubicBezTo>
                          <a:pt x="391" y="1660"/>
                          <a:pt x="400" y="1638"/>
                          <a:pt x="411" y="1585"/>
                        </a:cubicBezTo>
                        <a:cubicBezTo>
                          <a:pt x="423" y="1528"/>
                          <a:pt x="392" y="1448"/>
                          <a:pt x="434" y="1403"/>
                        </a:cubicBezTo>
                        <a:cubicBezTo>
                          <a:pt x="458" y="1464"/>
                          <a:pt x="436" y="1549"/>
                          <a:pt x="454" y="1613"/>
                        </a:cubicBezTo>
                        <a:cubicBezTo>
                          <a:pt x="467" y="1658"/>
                          <a:pt x="471" y="1662"/>
                          <a:pt x="514" y="1660"/>
                        </a:cubicBezTo>
                        <a:cubicBezTo>
                          <a:pt x="550" y="1658"/>
                          <a:pt x="590" y="1654"/>
                          <a:pt x="626" y="1655"/>
                        </a:cubicBezTo>
                        <a:cubicBezTo>
                          <a:pt x="633" y="1591"/>
                          <a:pt x="612" y="1518"/>
                          <a:pt x="615" y="1451"/>
                        </a:cubicBezTo>
                        <a:cubicBezTo>
                          <a:pt x="621" y="1327"/>
                          <a:pt x="650" y="1208"/>
                          <a:pt x="639" y="1083"/>
                        </a:cubicBezTo>
                        <a:cubicBezTo>
                          <a:pt x="623" y="910"/>
                          <a:pt x="596" y="718"/>
                          <a:pt x="623" y="546"/>
                        </a:cubicBezTo>
                        <a:cubicBezTo>
                          <a:pt x="680" y="550"/>
                          <a:pt x="641" y="384"/>
                          <a:pt x="630" y="346"/>
                        </a:cubicBezTo>
                        <a:cubicBezTo>
                          <a:pt x="618" y="305"/>
                          <a:pt x="571" y="247"/>
                          <a:pt x="600" y="215"/>
                        </a:cubicBezTo>
                        <a:cubicBezTo>
                          <a:pt x="608" y="206"/>
                          <a:pt x="646" y="179"/>
                          <a:pt x="654" y="176"/>
                        </a:cubicBezTo>
                        <a:cubicBezTo>
                          <a:pt x="695" y="163"/>
                          <a:pt x="682" y="184"/>
                          <a:pt x="705" y="202"/>
                        </a:cubicBezTo>
                        <a:cubicBezTo>
                          <a:pt x="723" y="216"/>
                          <a:pt x="741" y="215"/>
                          <a:pt x="760" y="225"/>
                        </a:cubicBezTo>
                        <a:cubicBezTo>
                          <a:pt x="779" y="235"/>
                          <a:pt x="792" y="256"/>
                          <a:pt x="813" y="265"/>
                        </a:cubicBezTo>
                        <a:cubicBezTo>
                          <a:pt x="815" y="238"/>
                          <a:pt x="791" y="223"/>
                          <a:pt x="779" y="202"/>
                        </a:cubicBezTo>
                        <a:cubicBezTo>
                          <a:pt x="767" y="180"/>
                          <a:pt x="764" y="150"/>
                          <a:pt x="746" y="129"/>
                        </a:cubicBezTo>
                        <a:cubicBezTo>
                          <a:pt x="708" y="85"/>
                          <a:pt x="641" y="69"/>
                          <a:pt x="607" y="23"/>
                        </a:cubicBezTo>
                        <a:cubicBezTo>
                          <a:pt x="592" y="80"/>
                          <a:pt x="607" y="139"/>
                          <a:pt x="576" y="191"/>
                        </a:cubicBezTo>
                        <a:cubicBezTo>
                          <a:pt x="548" y="236"/>
                          <a:pt x="505" y="268"/>
                          <a:pt x="483" y="316"/>
                        </a:cubicBezTo>
                        <a:cubicBezTo>
                          <a:pt x="459" y="368"/>
                          <a:pt x="446" y="424"/>
                          <a:pt x="427" y="480"/>
                        </a:cubicBezTo>
                        <a:cubicBezTo>
                          <a:pt x="411" y="527"/>
                          <a:pt x="428" y="620"/>
                          <a:pt x="393" y="654"/>
                        </a:cubicBezTo>
                        <a:cubicBezTo>
                          <a:pt x="376" y="608"/>
                          <a:pt x="381" y="529"/>
                          <a:pt x="381" y="479"/>
                        </a:cubicBezTo>
                        <a:cubicBezTo>
                          <a:pt x="380" y="421"/>
                          <a:pt x="381" y="374"/>
                          <a:pt x="350" y="331"/>
                        </a:cubicBezTo>
                        <a:cubicBezTo>
                          <a:pt x="317" y="282"/>
                          <a:pt x="287" y="242"/>
                          <a:pt x="272" y="187"/>
                        </a:cubicBezTo>
                        <a:cubicBezTo>
                          <a:pt x="262" y="153"/>
                          <a:pt x="229" y="68"/>
                          <a:pt x="182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7" name="Freeform 279"/>
                  <p:cNvSpPr>
                    <a:spLocks/>
                  </p:cNvSpPr>
                  <p:nvPr/>
                </p:nvSpPr>
                <p:spPr bwMode="gray">
                  <a:xfrm>
                    <a:off x="-2914650" y="13449301"/>
                    <a:ext cx="1031875" cy="720725"/>
                  </a:xfrm>
                  <a:custGeom>
                    <a:avLst/>
                    <a:gdLst/>
                    <a:ahLst/>
                    <a:cxnLst>
                      <a:cxn ang="0">
                        <a:pos x="135" y="191"/>
                      </a:cxn>
                      <a:cxn ang="0">
                        <a:pos x="188" y="4"/>
                      </a:cxn>
                      <a:cxn ang="0">
                        <a:pos x="234" y="116"/>
                      </a:cxn>
                      <a:cxn ang="0">
                        <a:pos x="129" y="191"/>
                      </a:cxn>
                    </a:cxnLst>
                    <a:rect l="0" t="0" r="r" b="b"/>
                    <a:pathLst>
                      <a:path w="275" h="192">
                        <a:moveTo>
                          <a:pt x="135" y="191"/>
                        </a:moveTo>
                        <a:cubicBezTo>
                          <a:pt x="0" y="192"/>
                          <a:pt x="88" y="10"/>
                          <a:pt x="188" y="4"/>
                        </a:cubicBezTo>
                        <a:cubicBezTo>
                          <a:pt x="259" y="0"/>
                          <a:pt x="275" y="74"/>
                          <a:pt x="234" y="116"/>
                        </a:cubicBezTo>
                        <a:cubicBezTo>
                          <a:pt x="207" y="143"/>
                          <a:pt x="162" y="165"/>
                          <a:pt x="129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8" name="Freeform 280"/>
                  <p:cNvSpPr>
                    <a:spLocks/>
                  </p:cNvSpPr>
                  <p:nvPr/>
                </p:nvSpPr>
                <p:spPr bwMode="gray">
                  <a:xfrm>
                    <a:off x="400050" y="14341476"/>
                    <a:ext cx="1808163" cy="1276350"/>
                  </a:xfrm>
                  <a:custGeom>
                    <a:avLst/>
                    <a:gdLst/>
                    <a:ahLst/>
                    <a:cxnLst>
                      <a:cxn ang="0">
                        <a:pos x="460" y="287"/>
                      </a:cxn>
                      <a:cxn ang="0">
                        <a:pos x="232" y="257"/>
                      </a:cxn>
                      <a:cxn ang="0">
                        <a:pos x="11" y="327"/>
                      </a:cxn>
                      <a:cxn ang="0">
                        <a:pos x="15" y="236"/>
                      </a:cxn>
                      <a:cxn ang="0">
                        <a:pos x="0" y="235"/>
                      </a:cxn>
                      <a:cxn ang="0">
                        <a:pos x="482" y="228"/>
                      </a:cxn>
                      <a:cxn ang="0">
                        <a:pos x="466" y="235"/>
                      </a:cxn>
                    </a:cxnLst>
                    <a:rect l="0" t="0" r="r" b="b"/>
                    <a:pathLst>
                      <a:path w="482" h="340">
                        <a:moveTo>
                          <a:pt x="460" y="287"/>
                        </a:moveTo>
                        <a:cubicBezTo>
                          <a:pt x="386" y="340"/>
                          <a:pt x="304" y="274"/>
                          <a:pt x="232" y="257"/>
                        </a:cubicBezTo>
                        <a:cubicBezTo>
                          <a:pt x="132" y="232"/>
                          <a:pt x="95" y="302"/>
                          <a:pt x="11" y="327"/>
                        </a:cubicBezTo>
                        <a:cubicBezTo>
                          <a:pt x="11" y="297"/>
                          <a:pt x="20" y="267"/>
                          <a:pt x="15" y="236"/>
                        </a:cubicBezTo>
                        <a:cubicBezTo>
                          <a:pt x="11" y="235"/>
                          <a:pt x="4" y="236"/>
                          <a:pt x="0" y="235"/>
                        </a:cubicBezTo>
                        <a:cubicBezTo>
                          <a:pt x="109" y="206"/>
                          <a:pt x="473" y="0"/>
                          <a:pt x="482" y="228"/>
                        </a:cubicBezTo>
                        <a:cubicBezTo>
                          <a:pt x="476" y="229"/>
                          <a:pt x="472" y="232"/>
                          <a:pt x="466" y="23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39" name="Freeform 281"/>
                  <p:cNvSpPr>
                    <a:spLocks/>
                  </p:cNvSpPr>
                  <p:nvPr/>
                </p:nvSpPr>
                <p:spPr bwMode="gray">
                  <a:xfrm>
                    <a:off x="-1665288" y="14825663"/>
                    <a:ext cx="1098550" cy="919163"/>
                  </a:xfrm>
                  <a:custGeom>
                    <a:avLst/>
                    <a:gdLst/>
                    <a:ahLst/>
                    <a:cxnLst>
                      <a:cxn ang="0">
                        <a:pos x="0" y="59"/>
                      </a:cxn>
                      <a:cxn ang="0">
                        <a:pos x="98" y="182"/>
                      </a:cxn>
                      <a:cxn ang="0">
                        <a:pos x="293" y="240"/>
                      </a:cxn>
                      <a:cxn ang="0">
                        <a:pos x="227" y="19"/>
                      </a:cxn>
                      <a:cxn ang="0">
                        <a:pos x="75" y="6"/>
                      </a:cxn>
                      <a:cxn ang="0">
                        <a:pos x="0" y="76"/>
                      </a:cxn>
                    </a:cxnLst>
                    <a:rect l="0" t="0" r="r" b="b"/>
                    <a:pathLst>
                      <a:path w="293" h="245">
                        <a:moveTo>
                          <a:pt x="0" y="59"/>
                        </a:moveTo>
                        <a:cubicBezTo>
                          <a:pt x="40" y="113"/>
                          <a:pt x="22" y="156"/>
                          <a:pt x="98" y="182"/>
                        </a:cubicBezTo>
                        <a:cubicBezTo>
                          <a:pt x="149" y="199"/>
                          <a:pt x="239" y="245"/>
                          <a:pt x="293" y="240"/>
                        </a:cubicBezTo>
                        <a:cubicBezTo>
                          <a:pt x="214" y="196"/>
                          <a:pt x="232" y="106"/>
                          <a:pt x="227" y="19"/>
                        </a:cubicBezTo>
                        <a:cubicBezTo>
                          <a:pt x="177" y="14"/>
                          <a:pt x="128" y="0"/>
                          <a:pt x="75" y="6"/>
                        </a:cubicBezTo>
                        <a:cubicBezTo>
                          <a:pt x="11" y="14"/>
                          <a:pt x="36" y="33"/>
                          <a:pt x="0" y="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0" name="Freeform 282"/>
                  <p:cNvSpPr>
                    <a:spLocks/>
                  </p:cNvSpPr>
                  <p:nvPr/>
                </p:nvSpPr>
                <p:spPr bwMode="gray">
                  <a:xfrm>
                    <a:off x="-739775" y="15628938"/>
                    <a:ext cx="2692400" cy="2411413"/>
                  </a:xfrm>
                  <a:custGeom>
                    <a:avLst/>
                    <a:gdLst/>
                    <a:ahLst/>
                    <a:cxnLst>
                      <a:cxn ang="0">
                        <a:pos x="653" y="225"/>
                      </a:cxn>
                      <a:cxn ang="0">
                        <a:pos x="513" y="353"/>
                      </a:cxn>
                      <a:cxn ang="0">
                        <a:pos x="361" y="480"/>
                      </a:cxn>
                      <a:cxn ang="0">
                        <a:pos x="0" y="621"/>
                      </a:cxn>
                      <a:cxn ang="0">
                        <a:pos x="435" y="305"/>
                      </a:cxn>
                      <a:cxn ang="0">
                        <a:pos x="573" y="104"/>
                      </a:cxn>
                      <a:cxn ang="0">
                        <a:pos x="675" y="21"/>
                      </a:cxn>
                      <a:cxn ang="0">
                        <a:pos x="682" y="153"/>
                      </a:cxn>
                      <a:cxn ang="0">
                        <a:pos x="589" y="283"/>
                      </a:cxn>
                    </a:cxnLst>
                    <a:rect l="0" t="0" r="r" b="b"/>
                    <a:pathLst>
                      <a:path w="718" h="643">
                        <a:moveTo>
                          <a:pt x="653" y="225"/>
                        </a:moveTo>
                        <a:cubicBezTo>
                          <a:pt x="637" y="279"/>
                          <a:pt x="556" y="321"/>
                          <a:pt x="513" y="353"/>
                        </a:cubicBezTo>
                        <a:cubicBezTo>
                          <a:pt x="459" y="393"/>
                          <a:pt x="411" y="438"/>
                          <a:pt x="361" y="480"/>
                        </a:cubicBezTo>
                        <a:cubicBezTo>
                          <a:pt x="264" y="561"/>
                          <a:pt x="132" y="643"/>
                          <a:pt x="0" y="621"/>
                        </a:cubicBezTo>
                        <a:cubicBezTo>
                          <a:pt x="150" y="549"/>
                          <a:pt x="337" y="442"/>
                          <a:pt x="435" y="305"/>
                        </a:cubicBezTo>
                        <a:cubicBezTo>
                          <a:pt x="483" y="238"/>
                          <a:pt x="524" y="167"/>
                          <a:pt x="573" y="104"/>
                        </a:cubicBezTo>
                        <a:cubicBezTo>
                          <a:pt x="593" y="77"/>
                          <a:pt x="630" y="0"/>
                          <a:pt x="675" y="21"/>
                        </a:cubicBezTo>
                        <a:cubicBezTo>
                          <a:pt x="718" y="41"/>
                          <a:pt x="695" y="127"/>
                          <a:pt x="682" y="153"/>
                        </a:cubicBezTo>
                        <a:cubicBezTo>
                          <a:pt x="663" y="191"/>
                          <a:pt x="626" y="263"/>
                          <a:pt x="589" y="28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1" name="Freeform 283"/>
                  <p:cNvSpPr>
                    <a:spLocks/>
                  </p:cNvSpPr>
                  <p:nvPr/>
                </p:nvSpPr>
                <p:spPr bwMode="gray">
                  <a:xfrm>
                    <a:off x="-477838" y="16422688"/>
                    <a:ext cx="2482850" cy="3222625"/>
                  </a:xfrm>
                  <a:custGeom>
                    <a:avLst/>
                    <a:gdLst/>
                    <a:ahLst/>
                    <a:cxnLst>
                      <a:cxn ang="0">
                        <a:pos x="554" y="112"/>
                      </a:cxn>
                      <a:cxn ang="0">
                        <a:pos x="436" y="323"/>
                      </a:cxn>
                      <a:cxn ang="0">
                        <a:pos x="315" y="511"/>
                      </a:cxn>
                      <a:cxn ang="0">
                        <a:pos x="0" y="859"/>
                      </a:cxn>
                      <a:cxn ang="0">
                        <a:pos x="223" y="732"/>
                      </a:cxn>
                      <a:cxn ang="0">
                        <a:pos x="459" y="529"/>
                      </a:cxn>
                      <a:cxn ang="0">
                        <a:pos x="344" y="782"/>
                      </a:cxn>
                      <a:cxn ang="0">
                        <a:pos x="548" y="387"/>
                      </a:cxn>
                      <a:cxn ang="0">
                        <a:pos x="596" y="169"/>
                      </a:cxn>
                      <a:cxn ang="0">
                        <a:pos x="652" y="8"/>
                      </a:cxn>
                      <a:cxn ang="0">
                        <a:pos x="542" y="137"/>
                      </a:cxn>
                      <a:cxn ang="0">
                        <a:pos x="449" y="258"/>
                      </a:cxn>
                    </a:cxnLst>
                    <a:rect l="0" t="0" r="r" b="b"/>
                    <a:pathLst>
                      <a:path w="662" h="859">
                        <a:moveTo>
                          <a:pt x="554" y="112"/>
                        </a:moveTo>
                        <a:cubicBezTo>
                          <a:pt x="559" y="166"/>
                          <a:pt x="462" y="270"/>
                          <a:pt x="436" y="323"/>
                        </a:cubicBezTo>
                        <a:cubicBezTo>
                          <a:pt x="401" y="390"/>
                          <a:pt x="359" y="448"/>
                          <a:pt x="315" y="511"/>
                        </a:cubicBezTo>
                        <a:cubicBezTo>
                          <a:pt x="222" y="646"/>
                          <a:pt x="129" y="762"/>
                          <a:pt x="0" y="859"/>
                        </a:cubicBezTo>
                        <a:cubicBezTo>
                          <a:pt x="79" y="822"/>
                          <a:pt x="156" y="788"/>
                          <a:pt x="223" y="732"/>
                        </a:cubicBezTo>
                        <a:cubicBezTo>
                          <a:pt x="301" y="667"/>
                          <a:pt x="376" y="588"/>
                          <a:pt x="459" y="529"/>
                        </a:cubicBezTo>
                        <a:cubicBezTo>
                          <a:pt x="464" y="635"/>
                          <a:pt x="411" y="705"/>
                          <a:pt x="344" y="782"/>
                        </a:cubicBezTo>
                        <a:cubicBezTo>
                          <a:pt x="477" y="691"/>
                          <a:pt x="524" y="541"/>
                          <a:pt x="548" y="387"/>
                        </a:cubicBezTo>
                        <a:cubicBezTo>
                          <a:pt x="561" y="307"/>
                          <a:pt x="569" y="239"/>
                          <a:pt x="596" y="169"/>
                        </a:cubicBezTo>
                        <a:cubicBezTo>
                          <a:pt x="616" y="117"/>
                          <a:pt x="662" y="68"/>
                          <a:pt x="652" y="8"/>
                        </a:cubicBezTo>
                        <a:cubicBezTo>
                          <a:pt x="607" y="0"/>
                          <a:pt x="572" y="106"/>
                          <a:pt x="542" y="137"/>
                        </a:cubicBezTo>
                        <a:cubicBezTo>
                          <a:pt x="507" y="173"/>
                          <a:pt x="454" y="204"/>
                          <a:pt x="449" y="25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2" name="Freeform 284"/>
                  <p:cNvSpPr>
                    <a:spLocks/>
                  </p:cNvSpPr>
                  <p:nvPr/>
                </p:nvSpPr>
                <p:spPr bwMode="gray">
                  <a:xfrm>
                    <a:off x="1765300" y="14338301"/>
                    <a:ext cx="817563" cy="2287588"/>
                  </a:xfrm>
                  <a:custGeom>
                    <a:avLst/>
                    <a:gdLst/>
                    <a:ahLst/>
                    <a:cxnLst>
                      <a:cxn ang="0">
                        <a:pos x="99" y="1"/>
                      </a:cxn>
                      <a:cxn ang="0">
                        <a:pos x="61" y="160"/>
                      </a:cxn>
                      <a:cxn ang="0">
                        <a:pos x="40" y="273"/>
                      </a:cxn>
                      <a:cxn ang="0">
                        <a:pos x="23" y="348"/>
                      </a:cxn>
                      <a:cxn ang="0">
                        <a:pos x="7" y="447"/>
                      </a:cxn>
                      <a:cxn ang="0">
                        <a:pos x="79" y="361"/>
                      </a:cxn>
                      <a:cxn ang="0">
                        <a:pos x="56" y="501"/>
                      </a:cxn>
                      <a:cxn ang="0">
                        <a:pos x="48" y="556"/>
                      </a:cxn>
                      <a:cxn ang="0">
                        <a:pos x="58" y="610"/>
                      </a:cxn>
                      <a:cxn ang="0">
                        <a:pos x="109" y="467"/>
                      </a:cxn>
                      <a:cxn ang="0">
                        <a:pos x="109" y="594"/>
                      </a:cxn>
                      <a:cxn ang="0">
                        <a:pos x="147" y="493"/>
                      </a:cxn>
                      <a:cxn ang="0">
                        <a:pos x="155" y="570"/>
                      </a:cxn>
                      <a:cxn ang="0">
                        <a:pos x="211" y="327"/>
                      </a:cxn>
                      <a:cxn ang="0">
                        <a:pos x="206" y="178"/>
                      </a:cxn>
                      <a:cxn ang="0">
                        <a:pos x="208" y="124"/>
                      </a:cxn>
                      <a:cxn ang="0">
                        <a:pos x="201" y="89"/>
                      </a:cxn>
                      <a:cxn ang="0">
                        <a:pos x="191" y="35"/>
                      </a:cxn>
                      <a:cxn ang="0">
                        <a:pos x="100" y="1"/>
                      </a:cxn>
                    </a:cxnLst>
                    <a:rect l="0" t="0" r="r" b="b"/>
                    <a:pathLst>
                      <a:path w="218" h="610">
                        <a:moveTo>
                          <a:pt x="99" y="1"/>
                        </a:moveTo>
                        <a:cubicBezTo>
                          <a:pt x="91" y="55"/>
                          <a:pt x="75" y="107"/>
                          <a:pt x="61" y="160"/>
                        </a:cubicBezTo>
                        <a:cubicBezTo>
                          <a:pt x="51" y="197"/>
                          <a:pt x="46" y="235"/>
                          <a:pt x="40" y="273"/>
                        </a:cubicBezTo>
                        <a:cubicBezTo>
                          <a:pt x="36" y="298"/>
                          <a:pt x="27" y="323"/>
                          <a:pt x="23" y="348"/>
                        </a:cubicBezTo>
                        <a:cubicBezTo>
                          <a:pt x="21" y="356"/>
                          <a:pt x="0" y="440"/>
                          <a:pt x="7" y="447"/>
                        </a:cubicBezTo>
                        <a:cubicBezTo>
                          <a:pt x="37" y="449"/>
                          <a:pt x="71" y="360"/>
                          <a:pt x="79" y="361"/>
                        </a:cubicBezTo>
                        <a:cubicBezTo>
                          <a:pt x="83" y="379"/>
                          <a:pt x="59" y="484"/>
                          <a:pt x="56" y="501"/>
                        </a:cubicBezTo>
                        <a:cubicBezTo>
                          <a:pt x="53" y="519"/>
                          <a:pt x="50" y="538"/>
                          <a:pt x="48" y="556"/>
                        </a:cubicBezTo>
                        <a:cubicBezTo>
                          <a:pt x="46" y="571"/>
                          <a:pt x="36" y="609"/>
                          <a:pt x="58" y="610"/>
                        </a:cubicBezTo>
                        <a:cubicBezTo>
                          <a:pt x="69" y="610"/>
                          <a:pt x="101" y="480"/>
                          <a:pt x="109" y="467"/>
                        </a:cubicBezTo>
                        <a:cubicBezTo>
                          <a:pt x="115" y="476"/>
                          <a:pt x="96" y="592"/>
                          <a:pt x="109" y="594"/>
                        </a:cubicBezTo>
                        <a:cubicBezTo>
                          <a:pt x="130" y="596"/>
                          <a:pt x="143" y="502"/>
                          <a:pt x="147" y="493"/>
                        </a:cubicBezTo>
                        <a:cubicBezTo>
                          <a:pt x="147" y="495"/>
                          <a:pt x="141" y="559"/>
                          <a:pt x="155" y="570"/>
                        </a:cubicBezTo>
                        <a:cubicBezTo>
                          <a:pt x="172" y="569"/>
                          <a:pt x="218" y="396"/>
                          <a:pt x="211" y="327"/>
                        </a:cubicBezTo>
                        <a:cubicBezTo>
                          <a:pt x="205" y="276"/>
                          <a:pt x="204" y="228"/>
                          <a:pt x="206" y="178"/>
                        </a:cubicBezTo>
                        <a:cubicBezTo>
                          <a:pt x="207" y="161"/>
                          <a:pt x="209" y="142"/>
                          <a:pt x="208" y="124"/>
                        </a:cubicBezTo>
                        <a:cubicBezTo>
                          <a:pt x="207" y="112"/>
                          <a:pt x="202" y="101"/>
                          <a:pt x="201" y="89"/>
                        </a:cubicBezTo>
                        <a:cubicBezTo>
                          <a:pt x="199" y="74"/>
                          <a:pt x="200" y="49"/>
                          <a:pt x="191" y="35"/>
                        </a:cubicBezTo>
                        <a:cubicBezTo>
                          <a:pt x="173" y="9"/>
                          <a:pt x="130" y="0"/>
                          <a:pt x="100" y="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3" name="Freeform 285"/>
                  <p:cNvSpPr>
                    <a:spLocks/>
                  </p:cNvSpPr>
                  <p:nvPr/>
                </p:nvSpPr>
                <p:spPr bwMode="gray">
                  <a:xfrm>
                    <a:off x="-863600" y="6575426"/>
                    <a:ext cx="1585913" cy="2251075"/>
                  </a:xfrm>
                  <a:custGeom>
                    <a:avLst/>
                    <a:gdLst/>
                    <a:ahLst/>
                    <a:cxnLst>
                      <a:cxn ang="0">
                        <a:pos x="6" y="213"/>
                      </a:cxn>
                      <a:cxn ang="0">
                        <a:pos x="35" y="379"/>
                      </a:cxn>
                      <a:cxn ang="0">
                        <a:pos x="76" y="526"/>
                      </a:cxn>
                      <a:cxn ang="0">
                        <a:pos x="199" y="599"/>
                      </a:cxn>
                      <a:cxn ang="0">
                        <a:pos x="330" y="527"/>
                      </a:cxn>
                      <a:cxn ang="0">
                        <a:pos x="374" y="392"/>
                      </a:cxn>
                      <a:cxn ang="0">
                        <a:pos x="329" y="70"/>
                      </a:cxn>
                      <a:cxn ang="0">
                        <a:pos x="158" y="0"/>
                      </a:cxn>
                      <a:cxn ang="0">
                        <a:pos x="0" y="85"/>
                      </a:cxn>
                    </a:cxnLst>
                    <a:rect l="0" t="0" r="r" b="b"/>
                    <a:pathLst>
                      <a:path w="423" h="600">
                        <a:moveTo>
                          <a:pt x="6" y="213"/>
                        </a:moveTo>
                        <a:cubicBezTo>
                          <a:pt x="0" y="277"/>
                          <a:pt x="15" y="323"/>
                          <a:pt x="35" y="379"/>
                        </a:cubicBezTo>
                        <a:cubicBezTo>
                          <a:pt x="53" y="428"/>
                          <a:pt x="42" y="480"/>
                          <a:pt x="76" y="526"/>
                        </a:cubicBezTo>
                        <a:cubicBezTo>
                          <a:pt x="102" y="561"/>
                          <a:pt x="152" y="597"/>
                          <a:pt x="199" y="599"/>
                        </a:cubicBezTo>
                        <a:cubicBezTo>
                          <a:pt x="244" y="600"/>
                          <a:pt x="305" y="565"/>
                          <a:pt x="330" y="527"/>
                        </a:cubicBezTo>
                        <a:cubicBezTo>
                          <a:pt x="356" y="487"/>
                          <a:pt x="352" y="434"/>
                          <a:pt x="374" y="392"/>
                        </a:cubicBezTo>
                        <a:cubicBezTo>
                          <a:pt x="423" y="295"/>
                          <a:pt x="402" y="146"/>
                          <a:pt x="329" y="70"/>
                        </a:cubicBezTo>
                        <a:cubicBezTo>
                          <a:pt x="281" y="20"/>
                          <a:pt x="227" y="0"/>
                          <a:pt x="158" y="0"/>
                        </a:cubicBezTo>
                        <a:cubicBezTo>
                          <a:pt x="115" y="0"/>
                          <a:pt x="3" y="73"/>
                          <a:pt x="0" y="8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4" name="Freeform 286"/>
                  <p:cNvSpPr>
                    <a:spLocks/>
                  </p:cNvSpPr>
                  <p:nvPr/>
                </p:nvSpPr>
                <p:spPr bwMode="gray">
                  <a:xfrm>
                    <a:off x="-971550" y="5983288"/>
                    <a:ext cx="1795463" cy="2549525"/>
                  </a:xfrm>
                  <a:custGeom>
                    <a:avLst/>
                    <a:gdLst/>
                    <a:ahLst/>
                    <a:cxnLst>
                      <a:cxn ang="0">
                        <a:pos x="7" y="242"/>
                      </a:cxn>
                      <a:cxn ang="0">
                        <a:pos x="39" y="429"/>
                      </a:cxn>
                      <a:cxn ang="0">
                        <a:pos x="86" y="596"/>
                      </a:cxn>
                      <a:cxn ang="0">
                        <a:pos x="225" y="678"/>
                      </a:cxn>
                      <a:cxn ang="0">
                        <a:pos x="373" y="597"/>
                      </a:cxn>
                      <a:cxn ang="0">
                        <a:pos x="423" y="444"/>
                      </a:cxn>
                      <a:cxn ang="0">
                        <a:pos x="372" y="79"/>
                      </a:cxn>
                      <a:cxn ang="0">
                        <a:pos x="178" y="0"/>
                      </a:cxn>
                      <a:cxn ang="0">
                        <a:pos x="0" y="97"/>
                      </a:cxn>
                    </a:cxnLst>
                    <a:rect l="0" t="0" r="r" b="b"/>
                    <a:pathLst>
                      <a:path w="479" h="680">
                        <a:moveTo>
                          <a:pt x="7" y="242"/>
                        </a:moveTo>
                        <a:cubicBezTo>
                          <a:pt x="0" y="314"/>
                          <a:pt x="16" y="366"/>
                          <a:pt x="39" y="429"/>
                        </a:cubicBezTo>
                        <a:cubicBezTo>
                          <a:pt x="59" y="485"/>
                          <a:pt x="47" y="544"/>
                          <a:pt x="86" y="596"/>
                        </a:cubicBezTo>
                        <a:cubicBezTo>
                          <a:pt x="115" y="635"/>
                          <a:pt x="172" y="677"/>
                          <a:pt x="225" y="678"/>
                        </a:cubicBezTo>
                        <a:cubicBezTo>
                          <a:pt x="276" y="680"/>
                          <a:pt x="346" y="640"/>
                          <a:pt x="373" y="597"/>
                        </a:cubicBezTo>
                        <a:cubicBezTo>
                          <a:pt x="403" y="552"/>
                          <a:pt x="398" y="492"/>
                          <a:pt x="423" y="444"/>
                        </a:cubicBezTo>
                        <a:cubicBezTo>
                          <a:pt x="479" y="334"/>
                          <a:pt x="455" y="166"/>
                          <a:pt x="372" y="79"/>
                        </a:cubicBezTo>
                        <a:cubicBezTo>
                          <a:pt x="318" y="23"/>
                          <a:pt x="257" y="0"/>
                          <a:pt x="178" y="0"/>
                        </a:cubicBezTo>
                        <a:cubicBezTo>
                          <a:pt x="130" y="0"/>
                          <a:pt x="3" y="83"/>
                          <a:pt x="0" y="9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5" name="Freeform 287"/>
                  <p:cNvSpPr>
                    <a:spLocks/>
                  </p:cNvSpPr>
                  <p:nvPr/>
                </p:nvSpPr>
                <p:spPr bwMode="gray">
                  <a:xfrm>
                    <a:off x="-117475" y="11623676"/>
                    <a:ext cx="1038225" cy="2324100"/>
                  </a:xfrm>
                  <a:custGeom>
                    <a:avLst/>
                    <a:gdLst/>
                    <a:ahLst/>
                    <a:cxnLst>
                      <a:cxn ang="0">
                        <a:pos x="200" y="59"/>
                      </a:cxn>
                      <a:cxn ang="0">
                        <a:pos x="101" y="65"/>
                      </a:cxn>
                      <a:cxn ang="0">
                        <a:pos x="38" y="19"/>
                      </a:cxn>
                      <a:cxn ang="0">
                        <a:pos x="61" y="201"/>
                      </a:cxn>
                      <a:cxn ang="0">
                        <a:pos x="95" y="293"/>
                      </a:cxn>
                      <a:cxn ang="0">
                        <a:pos x="54" y="404"/>
                      </a:cxn>
                      <a:cxn ang="0">
                        <a:pos x="78" y="522"/>
                      </a:cxn>
                      <a:cxn ang="0">
                        <a:pos x="176" y="615"/>
                      </a:cxn>
                      <a:cxn ang="0">
                        <a:pos x="253" y="464"/>
                      </a:cxn>
                      <a:cxn ang="0">
                        <a:pos x="276" y="286"/>
                      </a:cxn>
                      <a:cxn ang="0">
                        <a:pos x="203" y="78"/>
                      </a:cxn>
                      <a:cxn ang="0">
                        <a:pos x="85" y="57"/>
                      </a:cxn>
                      <a:cxn ang="0">
                        <a:pos x="25" y="48"/>
                      </a:cxn>
                    </a:cxnLst>
                    <a:rect l="0" t="0" r="r" b="b"/>
                    <a:pathLst>
                      <a:path w="277" h="620">
                        <a:moveTo>
                          <a:pt x="200" y="59"/>
                        </a:moveTo>
                        <a:cubicBezTo>
                          <a:pt x="175" y="76"/>
                          <a:pt x="127" y="78"/>
                          <a:pt x="101" y="65"/>
                        </a:cubicBezTo>
                        <a:cubicBezTo>
                          <a:pt x="75" y="52"/>
                          <a:pt x="68" y="17"/>
                          <a:pt x="38" y="19"/>
                        </a:cubicBezTo>
                        <a:cubicBezTo>
                          <a:pt x="26" y="65"/>
                          <a:pt x="135" y="171"/>
                          <a:pt x="61" y="201"/>
                        </a:cubicBezTo>
                        <a:cubicBezTo>
                          <a:pt x="46" y="250"/>
                          <a:pt x="96" y="253"/>
                          <a:pt x="95" y="293"/>
                        </a:cubicBezTo>
                        <a:cubicBezTo>
                          <a:pt x="95" y="334"/>
                          <a:pt x="49" y="349"/>
                          <a:pt x="54" y="404"/>
                        </a:cubicBezTo>
                        <a:cubicBezTo>
                          <a:pt x="57" y="438"/>
                          <a:pt x="68" y="488"/>
                          <a:pt x="78" y="522"/>
                        </a:cubicBezTo>
                        <a:cubicBezTo>
                          <a:pt x="89" y="562"/>
                          <a:pt x="124" y="620"/>
                          <a:pt x="176" y="615"/>
                        </a:cubicBezTo>
                        <a:cubicBezTo>
                          <a:pt x="249" y="607"/>
                          <a:pt x="253" y="521"/>
                          <a:pt x="253" y="464"/>
                        </a:cubicBezTo>
                        <a:cubicBezTo>
                          <a:pt x="253" y="398"/>
                          <a:pt x="276" y="352"/>
                          <a:pt x="276" y="286"/>
                        </a:cubicBezTo>
                        <a:cubicBezTo>
                          <a:pt x="276" y="197"/>
                          <a:pt x="277" y="138"/>
                          <a:pt x="203" y="78"/>
                        </a:cubicBezTo>
                        <a:cubicBezTo>
                          <a:pt x="173" y="54"/>
                          <a:pt x="115" y="6"/>
                          <a:pt x="85" y="57"/>
                        </a:cubicBezTo>
                        <a:cubicBezTo>
                          <a:pt x="70" y="18"/>
                          <a:pt x="0" y="0"/>
                          <a:pt x="25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6" name="Freeform 288"/>
                  <p:cNvSpPr>
                    <a:spLocks/>
                  </p:cNvSpPr>
                  <p:nvPr/>
                </p:nvSpPr>
                <p:spPr bwMode="gray">
                  <a:xfrm>
                    <a:off x="-219075" y="10855326"/>
                    <a:ext cx="657225" cy="704850"/>
                  </a:xfrm>
                  <a:custGeom>
                    <a:avLst/>
                    <a:gdLst/>
                    <a:ahLst/>
                    <a:cxnLst>
                      <a:cxn ang="0">
                        <a:pos x="157" y="183"/>
                      </a:cxn>
                      <a:cxn ang="0">
                        <a:pos x="75" y="20"/>
                      </a:cxn>
                      <a:cxn ang="0">
                        <a:pos x="87" y="118"/>
                      </a:cxn>
                      <a:cxn ang="0">
                        <a:pos x="175" y="188"/>
                      </a:cxn>
                    </a:cxnLst>
                    <a:rect l="0" t="0" r="r" b="b"/>
                    <a:pathLst>
                      <a:path w="175" h="188">
                        <a:moveTo>
                          <a:pt x="157" y="183"/>
                        </a:moveTo>
                        <a:cubicBezTo>
                          <a:pt x="117" y="174"/>
                          <a:pt x="0" y="57"/>
                          <a:pt x="75" y="20"/>
                        </a:cubicBezTo>
                        <a:cubicBezTo>
                          <a:pt x="116" y="0"/>
                          <a:pt x="82" y="106"/>
                          <a:pt x="87" y="118"/>
                        </a:cubicBezTo>
                        <a:cubicBezTo>
                          <a:pt x="99" y="149"/>
                          <a:pt x="147" y="167"/>
                          <a:pt x="175" y="18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7" name="Freeform 289"/>
                  <p:cNvSpPr>
                    <a:spLocks/>
                  </p:cNvSpPr>
                  <p:nvPr/>
                </p:nvSpPr>
                <p:spPr bwMode="gray">
                  <a:xfrm>
                    <a:off x="-1287463" y="11717338"/>
                    <a:ext cx="1196975" cy="3367088"/>
                  </a:xfrm>
                  <a:custGeom>
                    <a:avLst/>
                    <a:gdLst/>
                    <a:ahLst/>
                    <a:cxnLst>
                      <a:cxn ang="0">
                        <a:pos x="127" y="122"/>
                      </a:cxn>
                      <a:cxn ang="0">
                        <a:pos x="144" y="227"/>
                      </a:cxn>
                      <a:cxn ang="0">
                        <a:pos x="198" y="308"/>
                      </a:cxn>
                      <a:cxn ang="0">
                        <a:pos x="319" y="472"/>
                      </a:cxn>
                      <a:cxn ang="0">
                        <a:pos x="157" y="339"/>
                      </a:cxn>
                      <a:cxn ang="0">
                        <a:pos x="169" y="594"/>
                      </a:cxn>
                      <a:cxn ang="0">
                        <a:pos x="238" y="695"/>
                      </a:cxn>
                      <a:cxn ang="0">
                        <a:pos x="259" y="829"/>
                      </a:cxn>
                      <a:cxn ang="0">
                        <a:pos x="74" y="397"/>
                      </a:cxn>
                      <a:cxn ang="0">
                        <a:pos x="4" y="128"/>
                      </a:cxn>
                      <a:cxn ang="0">
                        <a:pos x="161" y="35"/>
                      </a:cxn>
                      <a:cxn ang="0">
                        <a:pos x="92" y="134"/>
                      </a:cxn>
                      <a:cxn ang="0">
                        <a:pos x="156" y="210"/>
                      </a:cxn>
                    </a:cxnLst>
                    <a:rect l="0" t="0" r="r" b="b"/>
                    <a:pathLst>
                      <a:path w="319" h="898">
                        <a:moveTo>
                          <a:pt x="127" y="122"/>
                        </a:moveTo>
                        <a:cubicBezTo>
                          <a:pt x="148" y="154"/>
                          <a:pt x="133" y="189"/>
                          <a:pt x="144" y="227"/>
                        </a:cubicBezTo>
                        <a:cubicBezTo>
                          <a:pt x="152" y="254"/>
                          <a:pt x="181" y="284"/>
                          <a:pt x="198" y="308"/>
                        </a:cubicBezTo>
                        <a:cubicBezTo>
                          <a:pt x="238" y="364"/>
                          <a:pt x="288" y="410"/>
                          <a:pt x="319" y="472"/>
                        </a:cubicBezTo>
                        <a:cubicBezTo>
                          <a:pt x="273" y="430"/>
                          <a:pt x="238" y="326"/>
                          <a:pt x="157" y="339"/>
                        </a:cubicBezTo>
                        <a:cubicBezTo>
                          <a:pt x="137" y="420"/>
                          <a:pt x="112" y="529"/>
                          <a:pt x="169" y="594"/>
                        </a:cubicBezTo>
                        <a:cubicBezTo>
                          <a:pt x="198" y="626"/>
                          <a:pt x="227" y="651"/>
                          <a:pt x="238" y="695"/>
                        </a:cubicBezTo>
                        <a:cubicBezTo>
                          <a:pt x="249" y="737"/>
                          <a:pt x="209" y="810"/>
                          <a:pt x="259" y="829"/>
                        </a:cubicBezTo>
                        <a:cubicBezTo>
                          <a:pt x="43" y="898"/>
                          <a:pt x="109" y="499"/>
                          <a:pt x="74" y="397"/>
                        </a:cubicBezTo>
                        <a:cubicBezTo>
                          <a:pt x="43" y="305"/>
                          <a:pt x="0" y="232"/>
                          <a:pt x="4" y="128"/>
                        </a:cubicBezTo>
                        <a:cubicBezTo>
                          <a:pt x="9" y="0"/>
                          <a:pt x="83" y="57"/>
                          <a:pt x="161" y="35"/>
                        </a:cubicBezTo>
                        <a:cubicBezTo>
                          <a:pt x="179" y="98"/>
                          <a:pt x="85" y="76"/>
                          <a:pt x="92" y="134"/>
                        </a:cubicBezTo>
                        <a:cubicBezTo>
                          <a:pt x="93" y="151"/>
                          <a:pt x="147" y="202"/>
                          <a:pt x="156" y="21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8" name="Freeform 290"/>
                  <p:cNvSpPr>
                    <a:spLocks/>
                  </p:cNvSpPr>
                  <p:nvPr/>
                </p:nvSpPr>
                <p:spPr bwMode="gray">
                  <a:xfrm>
                    <a:off x="193675" y="8870951"/>
                    <a:ext cx="919163" cy="884238"/>
                  </a:xfrm>
                  <a:custGeom>
                    <a:avLst/>
                    <a:gdLst/>
                    <a:ahLst/>
                    <a:cxnLst>
                      <a:cxn ang="0">
                        <a:pos x="123" y="39"/>
                      </a:cxn>
                      <a:cxn ang="0">
                        <a:pos x="6" y="236"/>
                      </a:cxn>
                      <a:cxn ang="0">
                        <a:pos x="166" y="139"/>
                      </a:cxn>
                      <a:cxn ang="0">
                        <a:pos x="77" y="69"/>
                      </a:cxn>
                    </a:cxnLst>
                    <a:rect l="0" t="0" r="r" b="b"/>
                    <a:pathLst>
                      <a:path w="245" h="236">
                        <a:moveTo>
                          <a:pt x="123" y="39"/>
                        </a:moveTo>
                        <a:cubicBezTo>
                          <a:pt x="55" y="75"/>
                          <a:pt x="0" y="158"/>
                          <a:pt x="6" y="236"/>
                        </a:cubicBezTo>
                        <a:cubicBezTo>
                          <a:pt x="33" y="141"/>
                          <a:pt x="109" y="197"/>
                          <a:pt x="166" y="139"/>
                        </a:cubicBezTo>
                        <a:cubicBezTo>
                          <a:pt x="245" y="58"/>
                          <a:pt x="100" y="0"/>
                          <a:pt x="77" y="6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49" name="Freeform 291"/>
                  <p:cNvSpPr>
                    <a:spLocks/>
                  </p:cNvSpPr>
                  <p:nvPr/>
                </p:nvSpPr>
                <p:spPr bwMode="gray">
                  <a:xfrm>
                    <a:off x="1919287" y="14533563"/>
                    <a:ext cx="655638" cy="809625"/>
                  </a:xfrm>
                  <a:custGeom>
                    <a:avLst/>
                    <a:gdLst/>
                    <a:ahLst/>
                    <a:cxnLst>
                      <a:cxn ang="0">
                        <a:pos x="172" y="35"/>
                      </a:cxn>
                      <a:cxn ang="0">
                        <a:pos x="143" y="88"/>
                      </a:cxn>
                      <a:cxn ang="0">
                        <a:pos x="87" y="125"/>
                      </a:cxn>
                      <a:cxn ang="0">
                        <a:pos x="43" y="172"/>
                      </a:cxn>
                      <a:cxn ang="0">
                        <a:pos x="1" y="216"/>
                      </a:cxn>
                      <a:cxn ang="0">
                        <a:pos x="9" y="154"/>
                      </a:cxn>
                      <a:cxn ang="0">
                        <a:pos x="39" y="100"/>
                      </a:cxn>
                      <a:cxn ang="0">
                        <a:pos x="55" y="65"/>
                      </a:cxn>
                      <a:cxn ang="0">
                        <a:pos x="119" y="20"/>
                      </a:cxn>
                      <a:cxn ang="0">
                        <a:pos x="158" y="13"/>
                      </a:cxn>
                      <a:cxn ang="0">
                        <a:pos x="175" y="33"/>
                      </a:cxn>
                      <a:cxn ang="0">
                        <a:pos x="169" y="33"/>
                      </a:cxn>
                    </a:cxnLst>
                    <a:rect l="0" t="0" r="r" b="b"/>
                    <a:pathLst>
                      <a:path w="175" h="216">
                        <a:moveTo>
                          <a:pt x="172" y="35"/>
                        </a:moveTo>
                        <a:cubicBezTo>
                          <a:pt x="174" y="49"/>
                          <a:pt x="152" y="77"/>
                          <a:pt x="143" y="88"/>
                        </a:cubicBezTo>
                        <a:cubicBezTo>
                          <a:pt x="128" y="106"/>
                          <a:pt x="103" y="110"/>
                          <a:pt x="87" y="125"/>
                        </a:cubicBezTo>
                        <a:cubicBezTo>
                          <a:pt x="70" y="141"/>
                          <a:pt x="57" y="153"/>
                          <a:pt x="43" y="172"/>
                        </a:cubicBezTo>
                        <a:cubicBezTo>
                          <a:pt x="30" y="188"/>
                          <a:pt x="19" y="207"/>
                          <a:pt x="1" y="216"/>
                        </a:cubicBezTo>
                        <a:cubicBezTo>
                          <a:pt x="0" y="196"/>
                          <a:pt x="6" y="174"/>
                          <a:pt x="9" y="154"/>
                        </a:cubicBezTo>
                        <a:cubicBezTo>
                          <a:pt x="12" y="132"/>
                          <a:pt x="30" y="120"/>
                          <a:pt x="39" y="100"/>
                        </a:cubicBezTo>
                        <a:cubicBezTo>
                          <a:pt x="45" y="88"/>
                          <a:pt x="48" y="76"/>
                          <a:pt x="55" y="65"/>
                        </a:cubicBezTo>
                        <a:cubicBezTo>
                          <a:pt x="71" y="41"/>
                          <a:pt x="95" y="34"/>
                          <a:pt x="119" y="20"/>
                        </a:cubicBezTo>
                        <a:cubicBezTo>
                          <a:pt x="135" y="10"/>
                          <a:pt x="141" y="0"/>
                          <a:pt x="158" y="13"/>
                        </a:cubicBezTo>
                        <a:cubicBezTo>
                          <a:pt x="164" y="18"/>
                          <a:pt x="168" y="29"/>
                          <a:pt x="175" y="33"/>
                        </a:cubicBezTo>
                        <a:cubicBezTo>
                          <a:pt x="173" y="33"/>
                          <a:pt x="171" y="33"/>
                          <a:pt x="169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0" name="Freeform 292"/>
                  <p:cNvSpPr>
                    <a:spLocks/>
                  </p:cNvSpPr>
                  <p:nvPr/>
                </p:nvSpPr>
                <p:spPr bwMode="gray">
                  <a:xfrm>
                    <a:off x="-4095750" y="8386763"/>
                    <a:ext cx="6791325" cy="7204075"/>
                  </a:xfrm>
                  <a:custGeom>
                    <a:avLst/>
                    <a:gdLst/>
                    <a:ahLst/>
                    <a:cxnLst>
                      <a:cxn ang="0">
                        <a:pos x="1156" y="1557"/>
                      </a:cxn>
                      <a:cxn ang="0">
                        <a:pos x="1157" y="1117"/>
                      </a:cxn>
                      <a:cxn ang="0">
                        <a:pos x="1207" y="345"/>
                      </a:cxn>
                      <a:cxn ang="0">
                        <a:pos x="1346" y="124"/>
                      </a:cxn>
                      <a:cxn ang="0">
                        <a:pos x="1642" y="268"/>
                      </a:cxn>
                      <a:cxn ang="0">
                        <a:pos x="1689" y="578"/>
                      </a:cxn>
                      <a:cxn ang="0">
                        <a:pos x="1731" y="1101"/>
                      </a:cxn>
                      <a:cxn ang="0">
                        <a:pos x="1767" y="1289"/>
                      </a:cxn>
                      <a:cxn ang="0">
                        <a:pos x="1788" y="1685"/>
                      </a:cxn>
                      <a:cxn ang="0">
                        <a:pos x="1359" y="1806"/>
                      </a:cxn>
                      <a:cxn ang="0">
                        <a:pos x="993" y="1908"/>
                      </a:cxn>
                      <a:cxn ang="0">
                        <a:pos x="575" y="1568"/>
                      </a:cxn>
                      <a:cxn ang="0">
                        <a:pos x="611" y="1378"/>
                      </a:cxn>
                      <a:cxn ang="0">
                        <a:pos x="603" y="1284"/>
                      </a:cxn>
                      <a:cxn ang="0">
                        <a:pos x="618" y="1144"/>
                      </a:cxn>
                      <a:cxn ang="0">
                        <a:pos x="559" y="922"/>
                      </a:cxn>
                      <a:cxn ang="0">
                        <a:pos x="493" y="703"/>
                      </a:cxn>
                      <a:cxn ang="0">
                        <a:pos x="412" y="759"/>
                      </a:cxn>
                      <a:cxn ang="0">
                        <a:pos x="330" y="915"/>
                      </a:cxn>
                      <a:cxn ang="0">
                        <a:pos x="345" y="1062"/>
                      </a:cxn>
                      <a:cxn ang="0">
                        <a:pos x="472" y="1291"/>
                      </a:cxn>
                      <a:cxn ang="0">
                        <a:pos x="571" y="1381"/>
                      </a:cxn>
                      <a:cxn ang="0">
                        <a:pos x="487" y="1410"/>
                      </a:cxn>
                      <a:cxn ang="0">
                        <a:pos x="480" y="1558"/>
                      </a:cxn>
                      <a:cxn ang="0">
                        <a:pos x="282" y="1383"/>
                      </a:cxn>
                      <a:cxn ang="0">
                        <a:pos x="143" y="1207"/>
                      </a:cxn>
                      <a:cxn ang="0">
                        <a:pos x="79" y="1097"/>
                      </a:cxn>
                      <a:cxn ang="0">
                        <a:pos x="100" y="755"/>
                      </a:cxn>
                      <a:cxn ang="0">
                        <a:pos x="276" y="475"/>
                      </a:cxn>
                      <a:cxn ang="0">
                        <a:pos x="384" y="353"/>
                      </a:cxn>
                      <a:cxn ang="0">
                        <a:pos x="477" y="185"/>
                      </a:cxn>
                      <a:cxn ang="0">
                        <a:pos x="741" y="87"/>
                      </a:cxn>
                      <a:cxn ang="0">
                        <a:pos x="851" y="189"/>
                      </a:cxn>
                      <a:cxn ang="0">
                        <a:pos x="817" y="548"/>
                      </a:cxn>
                      <a:cxn ang="0">
                        <a:pos x="848" y="856"/>
                      </a:cxn>
                      <a:cxn ang="0">
                        <a:pos x="898" y="1421"/>
                      </a:cxn>
                      <a:cxn ang="0">
                        <a:pos x="993" y="1908"/>
                      </a:cxn>
                    </a:cxnLst>
                    <a:rect l="0" t="0" r="r" b="b"/>
                    <a:pathLst>
                      <a:path w="1811" h="1921">
                        <a:moveTo>
                          <a:pt x="1143" y="1908"/>
                        </a:moveTo>
                        <a:cubicBezTo>
                          <a:pt x="1187" y="1827"/>
                          <a:pt x="1155" y="1642"/>
                          <a:pt x="1156" y="1557"/>
                        </a:cubicBezTo>
                        <a:cubicBezTo>
                          <a:pt x="1156" y="1504"/>
                          <a:pt x="1169" y="1457"/>
                          <a:pt x="1171" y="1405"/>
                        </a:cubicBezTo>
                        <a:cubicBezTo>
                          <a:pt x="1176" y="1314"/>
                          <a:pt x="1164" y="1210"/>
                          <a:pt x="1157" y="1117"/>
                        </a:cubicBezTo>
                        <a:cubicBezTo>
                          <a:pt x="1144" y="955"/>
                          <a:pt x="1127" y="801"/>
                          <a:pt x="1151" y="642"/>
                        </a:cubicBezTo>
                        <a:cubicBezTo>
                          <a:pt x="1166" y="540"/>
                          <a:pt x="1176" y="444"/>
                          <a:pt x="1207" y="345"/>
                        </a:cubicBezTo>
                        <a:cubicBezTo>
                          <a:pt x="1231" y="269"/>
                          <a:pt x="1215" y="188"/>
                          <a:pt x="1232" y="111"/>
                        </a:cubicBezTo>
                        <a:cubicBezTo>
                          <a:pt x="1251" y="26"/>
                          <a:pt x="1303" y="94"/>
                          <a:pt x="1346" y="124"/>
                        </a:cubicBezTo>
                        <a:cubicBezTo>
                          <a:pt x="1380" y="148"/>
                          <a:pt x="1405" y="164"/>
                          <a:pt x="1444" y="185"/>
                        </a:cubicBezTo>
                        <a:cubicBezTo>
                          <a:pt x="1510" y="219"/>
                          <a:pt x="1571" y="248"/>
                          <a:pt x="1642" y="268"/>
                        </a:cubicBezTo>
                        <a:cubicBezTo>
                          <a:pt x="1655" y="321"/>
                          <a:pt x="1645" y="379"/>
                          <a:pt x="1667" y="430"/>
                        </a:cubicBezTo>
                        <a:cubicBezTo>
                          <a:pt x="1689" y="480"/>
                          <a:pt x="1686" y="520"/>
                          <a:pt x="1689" y="578"/>
                        </a:cubicBezTo>
                        <a:cubicBezTo>
                          <a:pt x="1693" y="635"/>
                          <a:pt x="1709" y="688"/>
                          <a:pt x="1709" y="749"/>
                        </a:cubicBezTo>
                        <a:cubicBezTo>
                          <a:pt x="1709" y="805"/>
                          <a:pt x="1723" y="1043"/>
                          <a:pt x="1731" y="1101"/>
                        </a:cubicBezTo>
                        <a:cubicBezTo>
                          <a:pt x="1735" y="1130"/>
                          <a:pt x="1723" y="1157"/>
                          <a:pt x="1737" y="1184"/>
                        </a:cubicBezTo>
                        <a:cubicBezTo>
                          <a:pt x="1755" y="1221"/>
                          <a:pt x="1763" y="1248"/>
                          <a:pt x="1767" y="1289"/>
                        </a:cubicBezTo>
                        <a:cubicBezTo>
                          <a:pt x="1773" y="1343"/>
                          <a:pt x="1758" y="1392"/>
                          <a:pt x="1780" y="1443"/>
                        </a:cubicBezTo>
                        <a:cubicBezTo>
                          <a:pt x="1811" y="1510"/>
                          <a:pt x="1788" y="1606"/>
                          <a:pt x="1788" y="1685"/>
                        </a:cubicBezTo>
                        <a:cubicBezTo>
                          <a:pt x="1788" y="1712"/>
                          <a:pt x="1603" y="1756"/>
                          <a:pt x="1605" y="1823"/>
                        </a:cubicBezTo>
                        <a:cubicBezTo>
                          <a:pt x="1457" y="1829"/>
                          <a:pt x="1505" y="1792"/>
                          <a:pt x="1359" y="1806"/>
                        </a:cubicBezTo>
                        <a:cubicBezTo>
                          <a:pt x="1319" y="1810"/>
                          <a:pt x="1240" y="1879"/>
                          <a:pt x="1143" y="1908"/>
                        </a:cubicBezTo>
                        <a:cubicBezTo>
                          <a:pt x="1097" y="1921"/>
                          <a:pt x="1043" y="1908"/>
                          <a:pt x="993" y="1908"/>
                        </a:cubicBezTo>
                        <a:cubicBezTo>
                          <a:pt x="820" y="1907"/>
                          <a:pt x="643" y="1809"/>
                          <a:pt x="572" y="1806"/>
                        </a:cubicBezTo>
                        <a:cubicBezTo>
                          <a:pt x="567" y="1725"/>
                          <a:pt x="575" y="1645"/>
                          <a:pt x="575" y="1568"/>
                        </a:cubicBezTo>
                        <a:cubicBezTo>
                          <a:pt x="575" y="1529"/>
                          <a:pt x="555" y="1500"/>
                          <a:pt x="559" y="1460"/>
                        </a:cubicBezTo>
                        <a:cubicBezTo>
                          <a:pt x="564" y="1421"/>
                          <a:pt x="591" y="1408"/>
                          <a:pt x="611" y="1378"/>
                        </a:cubicBezTo>
                        <a:cubicBezTo>
                          <a:pt x="620" y="1364"/>
                          <a:pt x="650" y="1313"/>
                          <a:pt x="641" y="1297"/>
                        </a:cubicBezTo>
                        <a:cubicBezTo>
                          <a:pt x="631" y="1281"/>
                          <a:pt x="612" y="1296"/>
                          <a:pt x="603" y="1284"/>
                        </a:cubicBezTo>
                        <a:cubicBezTo>
                          <a:pt x="597" y="1275"/>
                          <a:pt x="602" y="1244"/>
                          <a:pt x="602" y="1234"/>
                        </a:cubicBezTo>
                        <a:cubicBezTo>
                          <a:pt x="604" y="1202"/>
                          <a:pt x="620" y="1177"/>
                          <a:pt x="618" y="1144"/>
                        </a:cubicBezTo>
                        <a:cubicBezTo>
                          <a:pt x="615" y="1108"/>
                          <a:pt x="597" y="1065"/>
                          <a:pt x="586" y="1031"/>
                        </a:cubicBezTo>
                        <a:cubicBezTo>
                          <a:pt x="575" y="996"/>
                          <a:pt x="561" y="963"/>
                          <a:pt x="559" y="922"/>
                        </a:cubicBezTo>
                        <a:cubicBezTo>
                          <a:pt x="557" y="867"/>
                          <a:pt x="557" y="827"/>
                          <a:pt x="539" y="775"/>
                        </a:cubicBezTo>
                        <a:cubicBezTo>
                          <a:pt x="533" y="757"/>
                          <a:pt x="522" y="701"/>
                          <a:pt x="493" y="703"/>
                        </a:cubicBezTo>
                        <a:cubicBezTo>
                          <a:pt x="480" y="704"/>
                          <a:pt x="468" y="733"/>
                          <a:pt x="459" y="740"/>
                        </a:cubicBezTo>
                        <a:cubicBezTo>
                          <a:pt x="446" y="749"/>
                          <a:pt x="427" y="752"/>
                          <a:pt x="412" y="759"/>
                        </a:cubicBezTo>
                        <a:cubicBezTo>
                          <a:pt x="409" y="783"/>
                          <a:pt x="385" y="811"/>
                          <a:pt x="369" y="832"/>
                        </a:cubicBezTo>
                        <a:cubicBezTo>
                          <a:pt x="349" y="860"/>
                          <a:pt x="347" y="887"/>
                          <a:pt x="330" y="915"/>
                        </a:cubicBezTo>
                        <a:cubicBezTo>
                          <a:pt x="314" y="943"/>
                          <a:pt x="284" y="944"/>
                          <a:pt x="297" y="985"/>
                        </a:cubicBezTo>
                        <a:cubicBezTo>
                          <a:pt x="306" y="1013"/>
                          <a:pt x="331" y="1037"/>
                          <a:pt x="345" y="1062"/>
                        </a:cubicBezTo>
                        <a:cubicBezTo>
                          <a:pt x="376" y="1117"/>
                          <a:pt x="387" y="1181"/>
                          <a:pt x="426" y="1230"/>
                        </a:cubicBezTo>
                        <a:cubicBezTo>
                          <a:pt x="442" y="1250"/>
                          <a:pt x="454" y="1272"/>
                          <a:pt x="472" y="1291"/>
                        </a:cubicBezTo>
                        <a:cubicBezTo>
                          <a:pt x="492" y="1314"/>
                          <a:pt x="514" y="1324"/>
                          <a:pt x="537" y="1347"/>
                        </a:cubicBezTo>
                        <a:cubicBezTo>
                          <a:pt x="548" y="1358"/>
                          <a:pt x="562" y="1368"/>
                          <a:pt x="571" y="1381"/>
                        </a:cubicBezTo>
                        <a:cubicBezTo>
                          <a:pt x="546" y="1382"/>
                          <a:pt x="522" y="1371"/>
                          <a:pt x="500" y="1385"/>
                        </a:cubicBezTo>
                        <a:cubicBezTo>
                          <a:pt x="496" y="1387"/>
                          <a:pt x="490" y="1406"/>
                          <a:pt x="487" y="1410"/>
                        </a:cubicBezTo>
                        <a:cubicBezTo>
                          <a:pt x="478" y="1420"/>
                          <a:pt x="460" y="1431"/>
                          <a:pt x="455" y="1445"/>
                        </a:cubicBezTo>
                        <a:cubicBezTo>
                          <a:pt x="445" y="1471"/>
                          <a:pt x="445" y="1555"/>
                          <a:pt x="480" y="1558"/>
                        </a:cubicBezTo>
                        <a:cubicBezTo>
                          <a:pt x="413" y="1576"/>
                          <a:pt x="366" y="1524"/>
                          <a:pt x="330" y="1475"/>
                        </a:cubicBezTo>
                        <a:cubicBezTo>
                          <a:pt x="308" y="1444"/>
                          <a:pt x="298" y="1414"/>
                          <a:pt x="282" y="1383"/>
                        </a:cubicBezTo>
                        <a:cubicBezTo>
                          <a:pt x="266" y="1354"/>
                          <a:pt x="236" y="1333"/>
                          <a:pt x="217" y="1308"/>
                        </a:cubicBezTo>
                        <a:cubicBezTo>
                          <a:pt x="192" y="1273"/>
                          <a:pt x="170" y="1239"/>
                          <a:pt x="143" y="1207"/>
                        </a:cubicBezTo>
                        <a:cubicBezTo>
                          <a:pt x="124" y="1186"/>
                          <a:pt x="113" y="1183"/>
                          <a:pt x="100" y="1158"/>
                        </a:cubicBezTo>
                        <a:cubicBezTo>
                          <a:pt x="91" y="1138"/>
                          <a:pt x="90" y="1117"/>
                          <a:pt x="79" y="1097"/>
                        </a:cubicBezTo>
                        <a:cubicBezTo>
                          <a:pt x="50" y="1043"/>
                          <a:pt x="0" y="1002"/>
                          <a:pt x="6" y="934"/>
                        </a:cubicBezTo>
                        <a:cubicBezTo>
                          <a:pt x="12" y="858"/>
                          <a:pt x="60" y="813"/>
                          <a:pt x="100" y="755"/>
                        </a:cubicBezTo>
                        <a:cubicBezTo>
                          <a:pt x="146" y="688"/>
                          <a:pt x="165" y="616"/>
                          <a:pt x="232" y="564"/>
                        </a:cubicBezTo>
                        <a:cubicBezTo>
                          <a:pt x="271" y="535"/>
                          <a:pt x="257" y="517"/>
                          <a:pt x="276" y="475"/>
                        </a:cubicBezTo>
                        <a:cubicBezTo>
                          <a:pt x="288" y="448"/>
                          <a:pt x="310" y="432"/>
                          <a:pt x="333" y="411"/>
                        </a:cubicBezTo>
                        <a:cubicBezTo>
                          <a:pt x="354" y="391"/>
                          <a:pt x="372" y="386"/>
                          <a:pt x="384" y="353"/>
                        </a:cubicBezTo>
                        <a:cubicBezTo>
                          <a:pt x="395" y="323"/>
                          <a:pt x="404" y="294"/>
                          <a:pt x="418" y="264"/>
                        </a:cubicBezTo>
                        <a:cubicBezTo>
                          <a:pt x="430" y="237"/>
                          <a:pt x="453" y="198"/>
                          <a:pt x="477" y="185"/>
                        </a:cubicBezTo>
                        <a:cubicBezTo>
                          <a:pt x="506" y="171"/>
                          <a:pt x="536" y="183"/>
                          <a:pt x="567" y="178"/>
                        </a:cubicBezTo>
                        <a:cubicBezTo>
                          <a:pt x="633" y="166"/>
                          <a:pt x="686" y="122"/>
                          <a:pt x="741" y="87"/>
                        </a:cubicBezTo>
                        <a:cubicBezTo>
                          <a:pt x="777" y="64"/>
                          <a:pt x="893" y="0"/>
                          <a:pt x="887" y="85"/>
                        </a:cubicBezTo>
                        <a:cubicBezTo>
                          <a:pt x="884" y="118"/>
                          <a:pt x="859" y="155"/>
                          <a:pt x="851" y="189"/>
                        </a:cubicBezTo>
                        <a:cubicBezTo>
                          <a:pt x="842" y="225"/>
                          <a:pt x="840" y="262"/>
                          <a:pt x="836" y="299"/>
                        </a:cubicBezTo>
                        <a:cubicBezTo>
                          <a:pt x="827" y="383"/>
                          <a:pt x="813" y="461"/>
                          <a:pt x="817" y="548"/>
                        </a:cubicBezTo>
                        <a:cubicBezTo>
                          <a:pt x="819" y="607"/>
                          <a:pt x="824" y="667"/>
                          <a:pt x="824" y="728"/>
                        </a:cubicBezTo>
                        <a:cubicBezTo>
                          <a:pt x="825" y="777"/>
                          <a:pt x="840" y="808"/>
                          <a:pt x="848" y="856"/>
                        </a:cubicBezTo>
                        <a:cubicBezTo>
                          <a:pt x="870" y="995"/>
                          <a:pt x="855" y="1139"/>
                          <a:pt x="876" y="1280"/>
                        </a:cubicBezTo>
                        <a:cubicBezTo>
                          <a:pt x="882" y="1324"/>
                          <a:pt x="896" y="1372"/>
                          <a:pt x="898" y="1421"/>
                        </a:cubicBezTo>
                        <a:cubicBezTo>
                          <a:pt x="901" y="1479"/>
                          <a:pt x="897" y="1538"/>
                          <a:pt x="902" y="1596"/>
                        </a:cubicBezTo>
                        <a:cubicBezTo>
                          <a:pt x="910" y="1675"/>
                          <a:pt x="896" y="1821"/>
                          <a:pt x="993" y="19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1" name="Freeform 293"/>
                  <p:cNvSpPr>
                    <a:spLocks/>
                  </p:cNvSpPr>
                  <p:nvPr/>
                </p:nvSpPr>
                <p:spPr bwMode="gray">
                  <a:xfrm>
                    <a:off x="490537" y="8915401"/>
                    <a:ext cx="633413" cy="593725"/>
                  </a:xfrm>
                  <a:custGeom>
                    <a:avLst/>
                    <a:gdLst/>
                    <a:ahLst/>
                    <a:cxnLst>
                      <a:cxn ang="0">
                        <a:pos x="4" y="103"/>
                      </a:cxn>
                      <a:cxn ang="0">
                        <a:pos x="86" y="106"/>
                      </a:cxn>
                      <a:cxn ang="0">
                        <a:pos x="163" y="158"/>
                      </a:cxn>
                      <a:cxn ang="0">
                        <a:pos x="109" y="28"/>
                      </a:cxn>
                      <a:cxn ang="0">
                        <a:pos x="35" y="6"/>
                      </a:cxn>
                      <a:cxn ang="0">
                        <a:pos x="0" y="68"/>
                      </a:cxn>
                    </a:cxnLst>
                    <a:rect l="0" t="0" r="r" b="b"/>
                    <a:pathLst>
                      <a:path w="169" h="158">
                        <a:moveTo>
                          <a:pt x="4" y="103"/>
                        </a:moveTo>
                        <a:cubicBezTo>
                          <a:pt x="49" y="98"/>
                          <a:pt x="42" y="81"/>
                          <a:pt x="86" y="106"/>
                        </a:cubicBezTo>
                        <a:cubicBezTo>
                          <a:pt x="114" y="122"/>
                          <a:pt x="137" y="140"/>
                          <a:pt x="163" y="158"/>
                        </a:cubicBezTo>
                        <a:cubicBezTo>
                          <a:pt x="169" y="119"/>
                          <a:pt x="141" y="50"/>
                          <a:pt x="109" y="28"/>
                        </a:cubicBezTo>
                        <a:cubicBezTo>
                          <a:pt x="98" y="21"/>
                          <a:pt x="47" y="0"/>
                          <a:pt x="35" y="6"/>
                        </a:cubicBezTo>
                        <a:cubicBezTo>
                          <a:pt x="15" y="14"/>
                          <a:pt x="17" y="56"/>
                          <a:pt x="0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2" name="Freeform 294"/>
                  <p:cNvSpPr>
                    <a:spLocks/>
                  </p:cNvSpPr>
                  <p:nvPr/>
                </p:nvSpPr>
                <p:spPr bwMode="gray">
                  <a:xfrm>
                    <a:off x="-1816100" y="8859838"/>
                    <a:ext cx="866775" cy="465138"/>
                  </a:xfrm>
                  <a:custGeom>
                    <a:avLst/>
                    <a:gdLst/>
                    <a:ahLst/>
                    <a:cxnLst>
                      <a:cxn ang="0">
                        <a:pos x="65" y="64"/>
                      </a:cxn>
                      <a:cxn ang="0">
                        <a:pos x="0" y="114"/>
                      </a:cxn>
                      <a:cxn ang="0">
                        <a:pos x="108" y="103"/>
                      </a:cxn>
                      <a:cxn ang="0">
                        <a:pos x="191" y="71"/>
                      </a:cxn>
                      <a:cxn ang="0">
                        <a:pos x="225" y="60"/>
                      </a:cxn>
                      <a:cxn ang="0">
                        <a:pos x="209" y="18"/>
                      </a:cxn>
                      <a:cxn ang="0">
                        <a:pos x="112" y="25"/>
                      </a:cxn>
                    </a:cxnLst>
                    <a:rect l="0" t="0" r="r" b="b"/>
                    <a:pathLst>
                      <a:path w="231" h="124">
                        <a:moveTo>
                          <a:pt x="65" y="64"/>
                        </a:moveTo>
                        <a:cubicBezTo>
                          <a:pt x="50" y="98"/>
                          <a:pt x="31" y="101"/>
                          <a:pt x="0" y="114"/>
                        </a:cubicBezTo>
                        <a:cubicBezTo>
                          <a:pt x="37" y="124"/>
                          <a:pt x="75" y="121"/>
                          <a:pt x="108" y="103"/>
                        </a:cubicBezTo>
                        <a:cubicBezTo>
                          <a:pt x="145" y="82"/>
                          <a:pt x="149" y="74"/>
                          <a:pt x="191" y="71"/>
                        </a:cubicBezTo>
                        <a:cubicBezTo>
                          <a:pt x="208" y="69"/>
                          <a:pt x="216" y="84"/>
                          <a:pt x="225" y="60"/>
                        </a:cubicBezTo>
                        <a:cubicBezTo>
                          <a:pt x="231" y="44"/>
                          <a:pt x="219" y="25"/>
                          <a:pt x="209" y="18"/>
                        </a:cubicBezTo>
                        <a:cubicBezTo>
                          <a:pt x="185" y="0"/>
                          <a:pt x="132" y="6"/>
                          <a:pt x="112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3" name="Freeform 295"/>
                  <p:cNvSpPr>
                    <a:spLocks/>
                  </p:cNvSpPr>
                  <p:nvPr/>
                </p:nvSpPr>
                <p:spPr bwMode="gray">
                  <a:xfrm>
                    <a:off x="823912" y="8807451"/>
                    <a:ext cx="1225550" cy="828675"/>
                  </a:xfrm>
                  <a:custGeom>
                    <a:avLst/>
                    <a:gdLst/>
                    <a:ahLst/>
                    <a:cxnLst>
                      <a:cxn ang="0">
                        <a:pos x="55" y="74"/>
                      </a:cxn>
                      <a:cxn ang="0">
                        <a:pos x="128" y="114"/>
                      </a:cxn>
                      <a:cxn ang="0">
                        <a:pos x="183" y="167"/>
                      </a:cxn>
                      <a:cxn ang="0">
                        <a:pos x="164" y="125"/>
                      </a:cxn>
                      <a:cxn ang="0">
                        <a:pos x="327" y="15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27" h="221">
                        <a:moveTo>
                          <a:pt x="55" y="74"/>
                        </a:moveTo>
                        <a:cubicBezTo>
                          <a:pt x="78" y="91"/>
                          <a:pt x="106" y="95"/>
                          <a:pt x="128" y="114"/>
                        </a:cubicBezTo>
                        <a:cubicBezTo>
                          <a:pt x="146" y="131"/>
                          <a:pt x="159" y="161"/>
                          <a:pt x="183" y="167"/>
                        </a:cubicBezTo>
                        <a:cubicBezTo>
                          <a:pt x="178" y="152"/>
                          <a:pt x="167" y="141"/>
                          <a:pt x="164" y="125"/>
                        </a:cubicBezTo>
                        <a:cubicBezTo>
                          <a:pt x="209" y="117"/>
                          <a:pt x="280" y="221"/>
                          <a:pt x="327" y="153"/>
                        </a:cubicBezTo>
                        <a:cubicBezTo>
                          <a:pt x="209" y="137"/>
                          <a:pt x="122" y="16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4" name="Freeform 296"/>
                  <p:cNvSpPr>
                    <a:spLocks/>
                  </p:cNvSpPr>
                  <p:nvPr/>
                </p:nvSpPr>
                <p:spPr bwMode="gray">
                  <a:xfrm>
                    <a:off x="-1804988" y="8394701"/>
                    <a:ext cx="3055938" cy="2590800"/>
                  </a:xfrm>
                  <a:custGeom>
                    <a:avLst/>
                    <a:gdLst/>
                    <a:ahLst/>
                    <a:cxnLst>
                      <a:cxn ang="0">
                        <a:pos x="130" y="73"/>
                      </a:cxn>
                      <a:cxn ang="0">
                        <a:pos x="0" y="192"/>
                      </a:cxn>
                      <a:cxn ang="0">
                        <a:pos x="170" y="150"/>
                      </a:cxn>
                      <a:cxn ang="0">
                        <a:pos x="238" y="256"/>
                      </a:cxn>
                      <a:cxn ang="0">
                        <a:pos x="213" y="547"/>
                      </a:cxn>
                      <a:cxn ang="0">
                        <a:pos x="580" y="403"/>
                      </a:cxn>
                      <a:cxn ang="0">
                        <a:pos x="600" y="217"/>
                      </a:cxn>
                      <a:cxn ang="0">
                        <a:pos x="655" y="177"/>
                      </a:cxn>
                      <a:cxn ang="0">
                        <a:pos x="705" y="203"/>
                      </a:cxn>
                      <a:cxn ang="0">
                        <a:pos x="760" y="226"/>
                      </a:cxn>
                      <a:cxn ang="0">
                        <a:pos x="813" y="266"/>
                      </a:cxn>
                      <a:cxn ang="0">
                        <a:pos x="779" y="203"/>
                      </a:cxn>
                      <a:cxn ang="0">
                        <a:pos x="746" y="131"/>
                      </a:cxn>
                      <a:cxn ang="0">
                        <a:pos x="619" y="7"/>
                      </a:cxn>
                      <a:cxn ang="0">
                        <a:pos x="576" y="192"/>
                      </a:cxn>
                      <a:cxn ang="0">
                        <a:pos x="483" y="318"/>
                      </a:cxn>
                      <a:cxn ang="0">
                        <a:pos x="407" y="480"/>
                      </a:cxn>
                      <a:cxn ang="0">
                        <a:pos x="407" y="691"/>
                      </a:cxn>
                      <a:cxn ang="0">
                        <a:pos x="381" y="481"/>
                      </a:cxn>
                      <a:cxn ang="0">
                        <a:pos x="350" y="332"/>
                      </a:cxn>
                      <a:cxn ang="0">
                        <a:pos x="272" y="188"/>
                      </a:cxn>
                      <a:cxn ang="0">
                        <a:pos x="260" y="0"/>
                      </a:cxn>
                    </a:cxnLst>
                    <a:rect l="0" t="0" r="r" b="b"/>
                    <a:pathLst>
                      <a:path w="815" h="691">
                        <a:moveTo>
                          <a:pt x="130" y="73"/>
                        </a:moveTo>
                        <a:cubicBezTo>
                          <a:pt x="93" y="100"/>
                          <a:pt x="50" y="197"/>
                          <a:pt x="0" y="192"/>
                        </a:cubicBezTo>
                        <a:cubicBezTo>
                          <a:pt x="64" y="238"/>
                          <a:pt x="121" y="166"/>
                          <a:pt x="170" y="150"/>
                        </a:cubicBezTo>
                        <a:cubicBezTo>
                          <a:pt x="204" y="188"/>
                          <a:pt x="255" y="202"/>
                          <a:pt x="238" y="256"/>
                        </a:cubicBezTo>
                        <a:cubicBezTo>
                          <a:pt x="209" y="344"/>
                          <a:pt x="213" y="450"/>
                          <a:pt x="213" y="547"/>
                        </a:cubicBezTo>
                        <a:cubicBezTo>
                          <a:pt x="214" y="662"/>
                          <a:pt x="591" y="441"/>
                          <a:pt x="580" y="403"/>
                        </a:cubicBezTo>
                        <a:cubicBezTo>
                          <a:pt x="567" y="362"/>
                          <a:pt x="571" y="248"/>
                          <a:pt x="600" y="217"/>
                        </a:cubicBezTo>
                        <a:cubicBezTo>
                          <a:pt x="609" y="207"/>
                          <a:pt x="646" y="180"/>
                          <a:pt x="655" y="177"/>
                        </a:cubicBezTo>
                        <a:cubicBezTo>
                          <a:pt x="695" y="164"/>
                          <a:pt x="682" y="185"/>
                          <a:pt x="705" y="203"/>
                        </a:cubicBezTo>
                        <a:cubicBezTo>
                          <a:pt x="723" y="217"/>
                          <a:pt x="741" y="217"/>
                          <a:pt x="760" y="226"/>
                        </a:cubicBezTo>
                        <a:cubicBezTo>
                          <a:pt x="779" y="236"/>
                          <a:pt x="792" y="257"/>
                          <a:pt x="813" y="266"/>
                        </a:cubicBezTo>
                        <a:cubicBezTo>
                          <a:pt x="815" y="239"/>
                          <a:pt x="791" y="224"/>
                          <a:pt x="779" y="203"/>
                        </a:cubicBezTo>
                        <a:cubicBezTo>
                          <a:pt x="767" y="182"/>
                          <a:pt x="764" y="151"/>
                          <a:pt x="746" y="131"/>
                        </a:cubicBezTo>
                        <a:cubicBezTo>
                          <a:pt x="708" y="87"/>
                          <a:pt x="652" y="52"/>
                          <a:pt x="619" y="7"/>
                        </a:cubicBezTo>
                        <a:cubicBezTo>
                          <a:pt x="603" y="63"/>
                          <a:pt x="607" y="140"/>
                          <a:pt x="576" y="192"/>
                        </a:cubicBezTo>
                        <a:cubicBezTo>
                          <a:pt x="549" y="237"/>
                          <a:pt x="505" y="270"/>
                          <a:pt x="483" y="318"/>
                        </a:cubicBezTo>
                        <a:cubicBezTo>
                          <a:pt x="459" y="369"/>
                          <a:pt x="425" y="424"/>
                          <a:pt x="407" y="480"/>
                        </a:cubicBezTo>
                        <a:cubicBezTo>
                          <a:pt x="390" y="527"/>
                          <a:pt x="571" y="551"/>
                          <a:pt x="407" y="691"/>
                        </a:cubicBezTo>
                        <a:cubicBezTo>
                          <a:pt x="389" y="645"/>
                          <a:pt x="381" y="530"/>
                          <a:pt x="381" y="481"/>
                        </a:cubicBezTo>
                        <a:cubicBezTo>
                          <a:pt x="380" y="423"/>
                          <a:pt x="381" y="376"/>
                          <a:pt x="350" y="332"/>
                        </a:cubicBezTo>
                        <a:cubicBezTo>
                          <a:pt x="317" y="283"/>
                          <a:pt x="287" y="244"/>
                          <a:pt x="272" y="188"/>
                        </a:cubicBezTo>
                        <a:cubicBezTo>
                          <a:pt x="262" y="154"/>
                          <a:pt x="292" y="7"/>
                          <a:pt x="2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5" name="Freeform 297"/>
                  <p:cNvSpPr>
                    <a:spLocks/>
                  </p:cNvSpPr>
                  <p:nvPr/>
                </p:nvSpPr>
                <p:spPr bwMode="gray">
                  <a:xfrm>
                    <a:off x="-1519238" y="8405813"/>
                    <a:ext cx="812800" cy="487363"/>
                  </a:xfrm>
                  <a:custGeom>
                    <a:avLst/>
                    <a:gdLst/>
                    <a:ahLst/>
                    <a:cxnLst>
                      <a:cxn ang="0">
                        <a:pos x="0" y="130"/>
                      </a:cxn>
                      <a:cxn ang="0">
                        <a:pos x="86" y="76"/>
                      </a:cxn>
                      <a:cxn ang="0">
                        <a:pos x="74" y="103"/>
                      </a:cxn>
                      <a:cxn ang="0">
                        <a:pos x="124" y="62"/>
                      </a:cxn>
                      <a:cxn ang="0">
                        <a:pos x="127" y="91"/>
                      </a:cxn>
                      <a:cxn ang="0">
                        <a:pos x="163" y="64"/>
                      </a:cxn>
                      <a:cxn ang="0">
                        <a:pos x="173" y="91"/>
                      </a:cxn>
                      <a:cxn ang="0">
                        <a:pos x="187" y="71"/>
                      </a:cxn>
                      <a:cxn ang="0">
                        <a:pos x="208" y="93"/>
                      </a:cxn>
                      <a:cxn ang="0">
                        <a:pos x="176" y="22"/>
                      </a:cxn>
                      <a:cxn ang="0">
                        <a:pos x="107" y="26"/>
                      </a:cxn>
                      <a:cxn ang="0">
                        <a:pos x="15" y="101"/>
                      </a:cxn>
                    </a:cxnLst>
                    <a:rect l="0" t="0" r="r" b="b"/>
                    <a:pathLst>
                      <a:path w="217" h="130">
                        <a:moveTo>
                          <a:pt x="0" y="130"/>
                        </a:moveTo>
                        <a:cubicBezTo>
                          <a:pt x="23" y="129"/>
                          <a:pt x="76" y="97"/>
                          <a:pt x="86" y="76"/>
                        </a:cubicBezTo>
                        <a:cubicBezTo>
                          <a:pt x="87" y="87"/>
                          <a:pt x="82" y="97"/>
                          <a:pt x="74" y="103"/>
                        </a:cubicBezTo>
                        <a:cubicBezTo>
                          <a:pt x="105" y="108"/>
                          <a:pt x="94" y="54"/>
                          <a:pt x="124" y="62"/>
                        </a:cubicBezTo>
                        <a:cubicBezTo>
                          <a:pt x="128" y="71"/>
                          <a:pt x="126" y="81"/>
                          <a:pt x="127" y="91"/>
                        </a:cubicBezTo>
                        <a:cubicBezTo>
                          <a:pt x="143" y="91"/>
                          <a:pt x="150" y="71"/>
                          <a:pt x="163" y="64"/>
                        </a:cubicBezTo>
                        <a:cubicBezTo>
                          <a:pt x="162" y="74"/>
                          <a:pt x="166" y="85"/>
                          <a:pt x="173" y="91"/>
                        </a:cubicBezTo>
                        <a:cubicBezTo>
                          <a:pt x="176" y="84"/>
                          <a:pt x="180" y="76"/>
                          <a:pt x="187" y="71"/>
                        </a:cubicBezTo>
                        <a:cubicBezTo>
                          <a:pt x="187" y="85"/>
                          <a:pt x="190" y="97"/>
                          <a:pt x="208" y="93"/>
                        </a:cubicBezTo>
                        <a:cubicBezTo>
                          <a:pt x="217" y="68"/>
                          <a:pt x="196" y="37"/>
                          <a:pt x="176" y="22"/>
                        </a:cubicBezTo>
                        <a:cubicBezTo>
                          <a:pt x="149" y="0"/>
                          <a:pt x="132" y="11"/>
                          <a:pt x="107" y="26"/>
                        </a:cubicBezTo>
                        <a:cubicBezTo>
                          <a:pt x="69" y="50"/>
                          <a:pt x="40" y="62"/>
                          <a:pt x="15" y="1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6" name="Freeform 298"/>
                  <p:cNvSpPr>
                    <a:spLocks/>
                  </p:cNvSpPr>
                  <p:nvPr/>
                </p:nvSpPr>
                <p:spPr bwMode="gray">
                  <a:xfrm>
                    <a:off x="411162" y="8405813"/>
                    <a:ext cx="735013" cy="803275"/>
                  </a:xfrm>
                  <a:custGeom>
                    <a:avLst/>
                    <a:gdLst/>
                    <a:ahLst/>
                    <a:cxnLst>
                      <a:cxn ang="0">
                        <a:pos x="11" y="66"/>
                      </a:cxn>
                      <a:cxn ang="0">
                        <a:pos x="9" y="126"/>
                      </a:cxn>
                      <a:cxn ang="0">
                        <a:pos x="40" y="105"/>
                      </a:cxn>
                      <a:cxn ang="0">
                        <a:pos x="69" y="78"/>
                      </a:cxn>
                      <a:cxn ang="0">
                        <a:pos x="142" y="142"/>
                      </a:cxn>
                      <a:cxn ang="0">
                        <a:pos x="196" y="212"/>
                      </a:cxn>
                      <a:cxn ang="0">
                        <a:pos x="165" y="144"/>
                      </a:cxn>
                      <a:cxn ang="0">
                        <a:pos x="124" y="71"/>
                      </a:cxn>
                      <a:cxn ang="0">
                        <a:pos x="54" y="7"/>
                      </a:cxn>
                      <a:cxn ang="0">
                        <a:pos x="3" y="72"/>
                      </a:cxn>
                      <a:cxn ang="0">
                        <a:pos x="13" y="78"/>
                      </a:cxn>
                    </a:cxnLst>
                    <a:rect l="0" t="0" r="r" b="b"/>
                    <a:pathLst>
                      <a:path w="196" h="214">
                        <a:moveTo>
                          <a:pt x="11" y="66"/>
                        </a:moveTo>
                        <a:cubicBezTo>
                          <a:pt x="20" y="73"/>
                          <a:pt x="13" y="114"/>
                          <a:pt x="9" y="126"/>
                        </a:cubicBezTo>
                        <a:cubicBezTo>
                          <a:pt x="20" y="122"/>
                          <a:pt x="31" y="112"/>
                          <a:pt x="40" y="105"/>
                        </a:cubicBezTo>
                        <a:cubicBezTo>
                          <a:pt x="49" y="98"/>
                          <a:pt x="60" y="81"/>
                          <a:pt x="69" y="78"/>
                        </a:cubicBezTo>
                        <a:cubicBezTo>
                          <a:pt x="86" y="109"/>
                          <a:pt x="122" y="118"/>
                          <a:pt x="142" y="142"/>
                        </a:cubicBezTo>
                        <a:cubicBezTo>
                          <a:pt x="155" y="158"/>
                          <a:pt x="171" y="214"/>
                          <a:pt x="196" y="212"/>
                        </a:cubicBezTo>
                        <a:cubicBezTo>
                          <a:pt x="189" y="191"/>
                          <a:pt x="175" y="165"/>
                          <a:pt x="165" y="144"/>
                        </a:cubicBezTo>
                        <a:cubicBezTo>
                          <a:pt x="153" y="120"/>
                          <a:pt x="138" y="95"/>
                          <a:pt x="124" y="71"/>
                        </a:cubicBezTo>
                        <a:cubicBezTo>
                          <a:pt x="108" y="45"/>
                          <a:pt x="85" y="13"/>
                          <a:pt x="54" y="7"/>
                        </a:cubicBezTo>
                        <a:cubicBezTo>
                          <a:pt x="17" y="0"/>
                          <a:pt x="0" y="40"/>
                          <a:pt x="3" y="72"/>
                        </a:cubicBezTo>
                        <a:cubicBezTo>
                          <a:pt x="7" y="73"/>
                          <a:pt x="10" y="77"/>
                          <a:pt x="13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7" name="Freeform 299"/>
                  <p:cNvSpPr>
                    <a:spLocks/>
                  </p:cNvSpPr>
                  <p:nvPr/>
                </p:nvSpPr>
                <p:spPr bwMode="gray">
                  <a:xfrm>
                    <a:off x="-1095375" y="9036051"/>
                    <a:ext cx="547688" cy="80962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46" y="216"/>
                      </a:cxn>
                      <a:cxn ang="0">
                        <a:pos x="53" y="131"/>
                      </a:cxn>
                      <a:cxn ang="0">
                        <a:pos x="28" y="193"/>
                      </a:cxn>
                    </a:cxnLst>
                    <a:rect l="0" t="0" r="r" b="b"/>
                    <a:pathLst>
                      <a:path w="146" h="216">
                        <a:moveTo>
                          <a:pt x="0" y="0"/>
                        </a:moveTo>
                        <a:cubicBezTo>
                          <a:pt x="40" y="3"/>
                          <a:pt x="144" y="168"/>
                          <a:pt x="146" y="216"/>
                        </a:cubicBezTo>
                        <a:cubicBezTo>
                          <a:pt x="134" y="178"/>
                          <a:pt x="97" y="126"/>
                          <a:pt x="53" y="131"/>
                        </a:cubicBezTo>
                        <a:cubicBezTo>
                          <a:pt x="54" y="153"/>
                          <a:pt x="29" y="170"/>
                          <a:pt x="28" y="19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8" name="Freeform 300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59" name="Freeform 301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0" name="Freeform 302"/>
                  <p:cNvSpPr>
                    <a:spLocks/>
                  </p:cNvSpPr>
                  <p:nvPr/>
                </p:nvSpPr>
                <p:spPr bwMode="gray">
                  <a:xfrm>
                    <a:off x="-1965325" y="13963651"/>
                    <a:ext cx="746125" cy="757238"/>
                  </a:xfrm>
                  <a:custGeom>
                    <a:avLst/>
                    <a:gdLst/>
                    <a:ahLst/>
                    <a:cxnLst>
                      <a:cxn ang="0">
                        <a:pos x="4" y="47"/>
                      </a:cxn>
                      <a:cxn ang="0">
                        <a:pos x="16" y="105"/>
                      </a:cxn>
                      <a:cxn ang="0">
                        <a:pos x="128" y="168"/>
                      </a:cxn>
                      <a:cxn ang="0">
                        <a:pos x="176" y="188"/>
                      </a:cxn>
                      <a:cxn ang="0">
                        <a:pos x="171" y="138"/>
                      </a:cxn>
                      <a:cxn ang="0">
                        <a:pos x="86" y="71"/>
                      </a:cxn>
                      <a:cxn ang="0">
                        <a:pos x="186" y="58"/>
                      </a:cxn>
                      <a:cxn ang="0">
                        <a:pos x="97" y="16"/>
                      </a:cxn>
                      <a:cxn ang="0">
                        <a:pos x="39" y="4"/>
                      </a:cxn>
                      <a:cxn ang="0">
                        <a:pos x="0" y="43"/>
                      </a:cxn>
                    </a:cxnLst>
                    <a:rect l="0" t="0" r="r" b="b"/>
                    <a:pathLst>
                      <a:path w="199" h="202">
                        <a:moveTo>
                          <a:pt x="4" y="47"/>
                        </a:moveTo>
                        <a:cubicBezTo>
                          <a:pt x="14" y="65"/>
                          <a:pt x="16" y="85"/>
                          <a:pt x="16" y="105"/>
                        </a:cubicBezTo>
                        <a:cubicBezTo>
                          <a:pt x="64" y="87"/>
                          <a:pt x="95" y="139"/>
                          <a:pt x="128" y="168"/>
                        </a:cubicBezTo>
                        <a:cubicBezTo>
                          <a:pt x="142" y="181"/>
                          <a:pt x="157" y="202"/>
                          <a:pt x="176" y="188"/>
                        </a:cubicBezTo>
                        <a:cubicBezTo>
                          <a:pt x="193" y="176"/>
                          <a:pt x="181" y="151"/>
                          <a:pt x="171" y="138"/>
                        </a:cubicBezTo>
                        <a:cubicBezTo>
                          <a:pt x="154" y="117"/>
                          <a:pt x="88" y="99"/>
                          <a:pt x="86" y="71"/>
                        </a:cubicBezTo>
                        <a:cubicBezTo>
                          <a:pt x="83" y="30"/>
                          <a:pt x="159" y="61"/>
                          <a:pt x="186" y="58"/>
                        </a:cubicBezTo>
                        <a:cubicBezTo>
                          <a:pt x="199" y="12"/>
                          <a:pt x="125" y="20"/>
                          <a:pt x="97" y="16"/>
                        </a:cubicBezTo>
                        <a:cubicBezTo>
                          <a:pt x="82" y="14"/>
                          <a:pt x="53" y="0"/>
                          <a:pt x="39" y="4"/>
                        </a:cubicBezTo>
                        <a:cubicBezTo>
                          <a:pt x="22" y="9"/>
                          <a:pt x="12" y="35"/>
                          <a:pt x="0" y="4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1" name="Freeform 303"/>
                  <p:cNvSpPr>
                    <a:spLocks/>
                  </p:cNvSpPr>
                  <p:nvPr/>
                </p:nvSpPr>
                <p:spPr bwMode="gray">
                  <a:xfrm>
                    <a:off x="-2424113" y="13239751"/>
                    <a:ext cx="1387475" cy="993775"/>
                  </a:xfrm>
                  <a:custGeom>
                    <a:avLst/>
                    <a:gdLst/>
                    <a:ahLst/>
                    <a:cxnLst>
                      <a:cxn ang="0">
                        <a:pos x="4" y="216"/>
                      </a:cxn>
                      <a:cxn ang="0">
                        <a:pos x="1" y="259"/>
                      </a:cxn>
                      <a:cxn ang="0">
                        <a:pos x="78" y="255"/>
                      </a:cxn>
                      <a:cxn ang="0">
                        <a:pos x="144" y="224"/>
                      </a:cxn>
                      <a:cxn ang="0">
                        <a:pos x="185" y="214"/>
                      </a:cxn>
                      <a:cxn ang="0">
                        <a:pos x="299" y="219"/>
                      </a:cxn>
                      <a:cxn ang="0">
                        <a:pos x="193" y="179"/>
                      </a:cxn>
                      <a:cxn ang="0">
                        <a:pos x="180" y="165"/>
                      </a:cxn>
                      <a:cxn ang="0">
                        <a:pos x="335" y="197"/>
                      </a:cxn>
                      <a:cxn ang="0">
                        <a:pos x="265" y="146"/>
                      </a:cxn>
                      <a:cxn ang="0">
                        <a:pos x="184" y="122"/>
                      </a:cxn>
                      <a:cxn ang="0">
                        <a:pos x="284" y="114"/>
                      </a:cxn>
                      <a:cxn ang="0">
                        <a:pos x="370" y="142"/>
                      </a:cxn>
                      <a:cxn ang="0">
                        <a:pos x="285" y="82"/>
                      </a:cxn>
                      <a:cxn ang="0">
                        <a:pos x="191" y="66"/>
                      </a:cxn>
                      <a:cxn ang="0">
                        <a:pos x="339" y="34"/>
                      </a:cxn>
                      <a:cxn ang="0">
                        <a:pos x="241" y="3"/>
                      </a:cxn>
                      <a:cxn ang="0">
                        <a:pos x="143" y="48"/>
                      </a:cxn>
                      <a:cxn ang="0">
                        <a:pos x="4" y="216"/>
                      </a:cxn>
                    </a:cxnLst>
                    <a:rect l="0" t="0" r="r" b="b"/>
                    <a:pathLst>
                      <a:path w="370" h="265">
                        <a:moveTo>
                          <a:pt x="4" y="216"/>
                        </a:moveTo>
                        <a:cubicBezTo>
                          <a:pt x="2" y="231"/>
                          <a:pt x="0" y="243"/>
                          <a:pt x="1" y="259"/>
                        </a:cubicBezTo>
                        <a:cubicBezTo>
                          <a:pt x="28" y="265"/>
                          <a:pt x="53" y="263"/>
                          <a:pt x="78" y="255"/>
                        </a:cubicBezTo>
                        <a:cubicBezTo>
                          <a:pt x="98" y="250"/>
                          <a:pt x="133" y="240"/>
                          <a:pt x="144" y="224"/>
                        </a:cubicBezTo>
                        <a:cubicBezTo>
                          <a:pt x="147" y="219"/>
                          <a:pt x="175" y="214"/>
                          <a:pt x="185" y="214"/>
                        </a:cubicBezTo>
                        <a:cubicBezTo>
                          <a:pt x="229" y="214"/>
                          <a:pt x="302" y="248"/>
                          <a:pt x="299" y="219"/>
                        </a:cubicBezTo>
                        <a:cubicBezTo>
                          <a:pt x="296" y="213"/>
                          <a:pt x="226" y="193"/>
                          <a:pt x="193" y="179"/>
                        </a:cubicBezTo>
                        <a:cubicBezTo>
                          <a:pt x="181" y="173"/>
                          <a:pt x="178" y="167"/>
                          <a:pt x="180" y="165"/>
                        </a:cubicBezTo>
                        <a:cubicBezTo>
                          <a:pt x="200" y="139"/>
                          <a:pt x="329" y="219"/>
                          <a:pt x="335" y="197"/>
                        </a:cubicBezTo>
                        <a:cubicBezTo>
                          <a:pt x="334" y="181"/>
                          <a:pt x="293" y="161"/>
                          <a:pt x="265" y="146"/>
                        </a:cubicBezTo>
                        <a:cubicBezTo>
                          <a:pt x="241" y="133"/>
                          <a:pt x="214" y="125"/>
                          <a:pt x="184" y="122"/>
                        </a:cubicBezTo>
                        <a:cubicBezTo>
                          <a:pt x="186" y="93"/>
                          <a:pt x="237" y="103"/>
                          <a:pt x="284" y="114"/>
                        </a:cubicBezTo>
                        <a:cubicBezTo>
                          <a:pt x="326" y="127"/>
                          <a:pt x="367" y="149"/>
                          <a:pt x="370" y="142"/>
                        </a:cubicBezTo>
                        <a:cubicBezTo>
                          <a:pt x="370" y="119"/>
                          <a:pt x="306" y="92"/>
                          <a:pt x="285" y="82"/>
                        </a:cubicBezTo>
                        <a:cubicBezTo>
                          <a:pt x="262" y="72"/>
                          <a:pt x="204" y="81"/>
                          <a:pt x="191" y="66"/>
                        </a:cubicBezTo>
                        <a:cubicBezTo>
                          <a:pt x="212" y="5"/>
                          <a:pt x="338" y="49"/>
                          <a:pt x="339" y="34"/>
                        </a:cubicBezTo>
                        <a:cubicBezTo>
                          <a:pt x="336" y="15"/>
                          <a:pt x="265" y="4"/>
                          <a:pt x="241" y="3"/>
                        </a:cubicBezTo>
                        <a:cubicBezTo>
                          <a:pt x="191" y="0"/>
                          <a:pt x="179" y="20"/>
                          <a:pt x="143" y="48"/>
                        </a:cubicBezTo>
                        <a:cubicBezTo>
                          <a:pt x="89" y="90"/>
                          <a:pt x="0" y="130"/>
                          <a:pt x="4" y="21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2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-417513" y="15395576"/>
                    <a:ext cx="668338" cy="671513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3" name="Freeform 305"/>
                  <p:cNvSpPr>
                    <a:spLocks/>
                  </p:cNvSpPr>
                  <p:nvPr/>
                </p:nvSpPr>
                <p:spPr bwMode="gray">
                  <a:xfrm>
                    <a:off x="-533400" y="15692438"/>
                    <a:ext cx="2347913" cy="1858963"/>
                  </a:xfrm>
                  <a:custGeom>
                    <a:avLst/>
                    <a:gdLst/>
                    <a:ahLst/>
                    <a:cxnLst>
                      <a:cxn ang="0">
                        <a:pos x="24" y="461"/>
                      </a:cxn>
                      <a:cxn ang="0">
                        <a:pos x="189" y="375"/>
                      </a:cxn>
                      <a:cxn ang="0">
                        <a:pos x="347" y="276"/>
                      </a:cxn>
                      <a:cxn ang="0">
                        <a:pos x="497" y="157"/>
                      </a:cxn>
                      <a:cxn ang="0">
                        <a:pos x="625" y="12"/>
                      </a:cxn>
                      <a:cxn ang="0">
                        <a:pos x="452" y="111"/>
                      </a:cxn>
                      <a:cxn ang="0">
                        <a:pos x="268" y="240"/>
                      </a:cxn>
                      <a:cxn ang="0">
                        <a:pos x="0" y="496"/>
                      </a:cxn>
                    </a:cxnLst>
                    <a:rect l="0" t="0" r="r" b="b"/>
                    <a:pathLst>
                      <a:path w="626" h="496">
                        <a:moveTo>
                          <a:pt x="24" y="461"/>
                        </a:moveTo>
                        <a:cubicBezTo>
                          <a:pt x="83" y="466"/>
                          <a:pt x="144" y="404"/>
                          <a:pt x="189" y="375"/>
                        </a:cubicBezTo>
                        <a:cubicBezTo>
                          <a:pt x="240" y="343"/>
                          <a:pt x="297" y="313"/>
                          <a:pt x="347" y="276"/>
                        </a:cubicBezTo>
                        <a:cubicBezTo>
                          <a:pt x="397" y="237"/>
                          <a:pt x="450" y="200"/>
                          <a:pt x="497" y="157"/>
                        </a:cubicBezTo>
                        <a:cubicBezTo>
                          <a:pt x="535" y="123"/>
                          <a:pt x="626" y="64"/>
                          <a:pt x="625" y="12"/>
                        </a:cubicBezTo>
                        <a:cubicBezTo>
                          <a:pt x="557" y="0"/>
                          <a:pt x="498" y="71"/>
                          <a:pt x="452" y="111"/>
                        </a:cubicBezTo>
                        <a:cubicBezTo>
                          <a:pt x="395" y="159"/>
                          <a:pt x="326" y="191"/>
                          <a:pt x="268" y="240"/>
                        </a:cubicBezTo>
                        <a:cubicBezTo>
                          <a:pt x="172" y="320"/>
                          <a:pt x="62" y="387"/>
                          <a:pt x="0" y="49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4" name="Freeform 306"/>
                  <p:cNvSpPr>
                    <a:spLocks/>
                  </p:cNvSpPr>
                  <p:nvPr/>
                </p:nvSpPr>
                <p:spPr bwMode="gray">
                  <a:xfrm>
                    <a:off x="-1835150" y="15640051"/>
                    <a:ext cx="1890713" cy="989013"/>
                  </a:xfrm>
                  <a:custGeom>
                    <a:avLst/>
                    <a:gdLst/>
                    <a:ahLst/>
                    <a:cxnLst>
                      <a:cxn ang="0">
                        <a:pos x="103" y="46"/>
                      </a:cxn>
                      <a:cxn ang="0">
                        <a:pos x="179" y="82"/>
                      </a:cxn>
                      <a:cxn ang="0">
                        <a:pos x="290" y="87"/>
                      </a:cxn>
                      <a:cxn ang="0">
                        <a:pos x="500" y="41"/>
                      </a:cxn>
                      <a:cxn ang="0">
                        <a:pos x="354" y="146"/>
                      </a:cxn>
                      <a:cxn ang="0">
                        <a:pos x="91" y="90"/>
                      </a:cxn>
                      <a:cxn ang="0">
                        <a:pos x="202" y="238"/>
                      </a:cxn>
                      <a:cxn ang="0">
                        <a:pos x="86" y="0"/>
                      </a:cxn>
                    </a:cxnLst>
                    <a:rect l="0" t="0" r="r" b="b"/>
                    <a:pathLst>
                      <a:path w="504" h="264">
                        <a:moveTo>
                          <a:pt x="103" y="46"/>
                        </a:moveTo>
                        <a:cubicBezTo>
                          <a:pt x="131" y="56"/>
                          <a:pt x="151" y="74"/>
                          <a:pt x="179" y="82"/>
                        </a:cubicBezTo>
                        <a:cubicBezTo>
                          <a:pt x="213" y="90"/>
                          <a:pt x="253" y="88"/>
                          <a:pt x="290" y="87"/>
                        </a:cubicBezTo>
                        <a:cubicBezTo>
                          <a:pt x="369" y="86"/>
                          <a:pt x="426" y="47"/>
                          <a:pt x="500" y="41"/>
                        </a:cubicBezTo>
                        <a:cubicBezTo>
                          <a:pt x="504" y="138"/>
                          <a:pt x="442" y="146"/>
                          <a:pt x="354" y="146"/>
                        </a:cubicBezTo>
                        <a:cubicBezTo>
                          <a:pt x="248" y="146"/>
                          <a:pt x="177" y="138"/>
                          <a:pt x="91" y="90"/>
                        </a:cubicBezTo>
                        <a:cubicBezTo>
                          <a:pt x="93" y="164"/>
                          <a:pt x="164" y="188"/>
                          <a:pt x="202" y="238"/>
                        </a:cubicBezTo>
                        <a:cubicBezTo>
                          <a:pt x="89" y="264"/>
                          <a:pt x="0" y="69"/>
                          <a:pt x="8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5" name="Freeform 307"/>
                  <p:cNvSpPr>
                    <a:spLocks/>
                  </p:cNvSpPr>
                  <p:nvPr/>
                </p:nvSpPr>
                <p:spPr bwMode="gray">
                  <a:xfrm>
                    <a:off x="246062" y="17765713"/>
                    <a:ext cx="1792288" cy="2166938"/>
                  </a:xfrm>
                  <a:custGeom>
                    <a:avLst/>
                    <a:gdLst/>
                    <a:ahLst/>
                    <a:cxnLst>
                      <a:cxn ang="0">
                        <a:pos x="437" y="187"/>
                      </a:cxn>
                      <a:cxn ang="0">
                        <a:pos x="383" y="519"/>
                      </a:cxn>
                      <a:cxn ang="0">
                        <a:pos x="192" y="543"/>
                      </a:cxn>
                      <a:cxn ang="0">
                        <a:pos x="0" y="577"/>
                      </a:cxn>
                      <a:cxn ang="0">
                        <a:pos x="197" y="484"/>
                      </a:cxn>
                      <a:cxn ang="0">
                        <a:pos x="330" y="356"/>
                      </a:cxn>
                      <a:cxn ang="0">
                        <a:pos x="408" y="175"/>
                      </a:cxn>
                      <a:cxn ang="0">
                        <a:pos x="443" y="0"/>
                      </a:cxn>
                    </a:cxnLst>
                    <a:rect l="0" t="0" r="r" b="b"/>
                    <a:pathLst>
                      <a:path w="478" h="578">
                        <a:moveTo>
                          <a:pt x="437" y="187"/>
                        </a:moveTo>
                        <a:cubicBezTo>
                          <a:pt x="478" y="282"/>
                          <a:pt x="415" y="429"/>
                          <a:pt x="383" y="519"/>
                        </a:cubicBezTo>
                        <a:cubicBezTo>
                          <a:pt x="320" y="532"/>
                          <a:pt x="254" y="532"/>
                          <a:pt x="192" y="543"/>
                        </a:cubicBezTo>
                        <a:cubicBezTo>
                          <a:pt x="129" y="555"/>
                          <a:pt x="64" y="578"/>
                          <a:pt x="0" y="577"/>
                        </a:cubicBezTo>
                        <a:cubicBezTo>
                          <a:pt x="46" y="530"/>
                          <a:pt x="137" y="510"/>
                          <a:pt x="197" y="484"/>
                        </a:cubicBezTo>
                        <a:cubicBezTo>
                          <a:pt x="264" y="456"/>
                          <a:pt x="295" y="423"/>
                          <a:pt x="330" y="356"/>
                        </a:cubicBezTo>
                        <a:cubicBezTo>
                          <a:pt x="359" y="301"/>
                          <a:pt x="389" y="237"/>
                          <a:pt x="408" y="175"/>
                        </a:cubicBezTo>
                        <a:cubicBezTo>
                          <a:pt x="425" y="118"/>
                          <a:pt x="419" y="53"/>
                          <a:pt x="44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6" name="Freeform 308"/>
                  <p:cNvSpPr>
                    <a:spLocks/>
                  </p:cNvSpPr>
                  <p:nvPr/>
                </p:nvSpPr>
                <p:spPr bwMode="gray">
                  <a:xfrm>
                    <a:off x="1371600" y="10360026"/>
                    <a:ext cx="363538" cy="3490913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12" y="235"/>
                      </a:cxn>
                      <a:cxn ang="0">
                        <a:pos x="30" y="450"/>
                      </a:cxn>
                      <a:cxn ang="0">
                        <a:pos x="18" y="666"/>
                      </a:cxn>
                      <a:cxn ang="0">
                        <a:pos x="12" y="771"/>
                      </a:cxn>
                      <a:cxn ang="0">
                        <a:pos x="94" y="931"/>
                      </a:cxn>
                      <a:cxn ang="0">
                        <a:pos x="94" y="666"/>
                      </a:cxn>
                      <a:cxn ang="0">
                        <a:pos x="83" y="399"/>
                      </a:cxn>
                      <a:cxn ang="0">
                        <a:pos x="29" y="15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97" h="931">
                        <a:moveTo>
                          <a:pt x="0" y="29"/>
                        </a:moveTo>
                        <a:cubicBezTo>
                          <a:pt x="33" y="79"/>
                          <a:pt x="3" y="174"/>
                          <a:pt x="12" y="235"/>
                        </a:cubicBezTo>
                        <a:cubicBezTo>
                          <a:pt x="23" y="307"/>
                          <a:pt x="19" y="379"/>
                          <a:pt x="30" y="450"/>
                        </a:cubicBezTo>
                        <a:cubicBezTo>
                          <a:pt x="41" y="525"/>
                          <a:pt x="24" y="593"/>
                          <a:pt x="18" y="666"/>
                        </a:cubicBezTo>
                        <a:cubicBezTo>
                          <a:pt x="15" y="694"/>
                          <a:pt x="7" y="748"/>
                          <a:pt x="12" y="771"/>
                        </a:cubicBezTo>
                        <a:cubicBezTo>
                          <a:pt x="20" y="804"/>
                          <a:pt x="76" y="906"/>
                          <a:pt x="94" y="931"/>
                        </a:cubicBezTo>
                        <a:cubicBezTo>
                          <a:pt x="97" y="875"/>
                          <a:pt x="93" y="728"/>
                          <a:pt x="94" y="666"/>
                        </a:cubicBezTo>
                        <a:cubicBezTo>
                          <a:pt x="95" y="576"/>
                          <a:pt x="90" y="487"/>
                          <a:pt x="83" y="399"/>
                        </a:cubicBezTo>
                        <a:cubicBezTo>
                          <a:pt x="75" y="317"/>
                          <a:pt x="42" y="239"/>
                          <a:pt x="29" y="158"/>
                        </a:cubicBezTo>
                        <a:cubicBezTo>
                          <a:pt x="20" y="97"/>
                          <a:pt x="25" y="55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7" name="Freeform 309"/>
                  <p:cNvSpPr>
                    <a:spLocks/>
                  </p:cNvSpPr>
                  <p:nvPr/>
                </p:nvSpPr>
                <p:spPr bwMode="gray">
                  <a:xfrm>
                    <a:off x="479425" y="13655676"/>
                    <a:ext cx="1484313" cy="1492250"/>
                  </a:xfrm>
                  <a:custGeom>
                    <a:avLst/>
                    <a:gdLst/>
                    <a:ahLst/>
                    <a:cxnLst>
                      <a:cxn ang="0">
                        <a:pos x="330" y="55"/>
                      </a:cxn>
                      <a:cxn ang="0">
                        <a:pos x="318" y="109"/>
                      </a:cxn>
                      <a:cxn ang="0">
                        <a:pos x="108" y="33"/>
                      </a:cxn>
                      <a:cxn ang="0">
                        <a:pos x="209" y="113"/>
                      </a:cxn>
                      <a:cxn ang="0">
                        <a:pos x="243" y="164"/>
                      </a:cxn>
                      <a:cxn ang="0">
                        <a:pos x="287" y="214"/>
                      </a:cxn>
                      <a:cxn ang="0">
                        <a:pos x="221" y="219"/>
                      </a:cxn>
                      <a:cxn ang="0">
                        <a:pos x="256" y="289"/>
                      </a:cxn>
                      <a:cxn ang="0">
                        <a:pos x="170" y="329"/>
                      </a:cxn>
                      <a:cxn ang="0">
                        <a:pos x="0" y="398"/>
                      </a:cxn>
                      <a:cxn ang="0">
                        <a:pos x="194" y="344"/>
                      </a:cxn>
                      <a:cxn ang="0">
                        <a:pos x="314" y="351"/>
                      </a:cxn>
                      <a:cxn ang="0">
                        <a:pos x="396" y="370"/>
                      </a:cxn>
                      <a:cxn ang="0">
                        <a:pos x="357" y="238"/>
                      </a:cxn>
                      <a:cxn ang="0">
                        <a:pos x="330" y="98"/>
                      </a:cxn>
                    </a:cxnLst>
                    <a:rect l="0" t="0" r="r" b="b"/>
                    <a:pathLst>
                      <a:path w="396" h="398">
                        <a:moveTo>
                          <a:pt x="330" y="55"/>
                        </a:moveTo>
                        <a:cubicBezTo>
                          <a:pt x="319" y="72"/>
                          <a:pt x="324" y="91"/>
                          <a:pt x="318" y="109"/>
                        </a:cubicBezTo>
                        <a:cubicBezTo>
                          <a:pt x="238" y="165"/>
                          <a:pt x="183" y="0"/>
                          <a:pt x="108" y="33"/>
                        </a:cubicBezTo>
                        <a:cubicBezTo>
                          <a:pt x="96" y="79"/>
                          <a:pt x="186" y="88"/>
                          <a:pt x="209" y="113"/>
                        </a:cubicBezTo>
                        <a:cubicBezTo>
                          <a:pt x="222" y="129"/>
                          <a:pt x="223" y="147"/>
                          <a:pt x="243" y="164"/>
                        </a:cubicBezTo>
                        <a:cubicBezTo>
                          <a:pt x="262" y="180"/>
                          <a:pt x="285" y="188"/>
                          <a:pt x="287" y="214"/>
                        </a:cubicBezTo>
                        <a:cubicBezTo>
                          <a:pt x="266" y="222"/>
                          <a:pt x="243" y="218"/>
                          <a:pt x="221" y="219"/>
                        </a:cubicBezTo>
                        <a:cubicBezTo>
                          <a:pt x="210" y="261"/>
                          <a:pt x="255" y="250"/>
                          <a:pt x="256" y="289"/>
                        </a:cubicBezTo>
                        <a:cubicBezTo>
                          <a:pt x="257" y="338"/>
                          <a:pt x="204" y="331"/>
                          <a:pt x="170" y="329"/>
                        </a:cubicBezTo>
                        <a:cubicBezTo>
                          <a:pt x="94" y="325"/>
                          <a:pt x="33" y="326"/>
                          <a:pt x="0" y="398"/>
                        </a:cubicBezTo>
                        <a:cubicBezTo>
                          <a:pt x="21" y="350"/>
                          <a:pt x="148" y="348"/>
                          <a:pt x="194" y="344"/>
                        </a:cubicBezTo>
                        <a:cubicBezTo>
                          <a:pt x="237" y="339"/>
                          <a:pt x="273" y="340"/>
                          <a:pt x="314" y="351"/>
                        </a:cubicBezTo>
                        <a:cubicBezTo>
                          <a:pt x="341" y="357"/>
                          <a:pt x="369" y="383"/>
                          <a:pt x="396" y="370"/>
                        </a:cubicBezTo>
                        <a:cubicBezTo>
                          <a:pt x="384" y="326"/>
                          <a:pt x="364" y="287"/>
                          <a:pt x="357" y="238"/>
                        </a:cubicBezTo>
                        <a:cubicBezTo>
                          <a:pt x="351" y="193"/>
                          <a:pt x="326" y="145"/>
                          <a:pt x="330" y="9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8" name="Freeform 310"/>
                  <p:cNvSpPr>
                    <a:spLocks/>
                  </p:cNvSpPr>
                  <p:nvPr/>
                </p:nvSpPr>
                <p:spPr bwMode="gray">
                  <a:xfrm>
                    <a:off x="-3533775" y="11672888"/>
                    <a:ext cx="1027113" cy="1357313"/>
                  </a:xfrm>
                  <a:custGeom>
                    <a:avLst/>
                    <a:gdLst/>
                    <a:ahLst/>
                    <a:cxnLst>
                      <a:cxn ang="0">
                        <a:pos x="173" y="43"/>
                      </a:cxn>
                      <a:cxn ang="0">
                        <a:pos x="47" y="57"/>
                      </a:cxn>
                      <a:cxn ang="0">
                        <a:pos x="133" y="133"/>
                      </a:cxn>
                      <a:cxn ang="0">
                        <a:pos x="181" y="236"/>
                      </a:cxn>
                      <a:cxn ang="0">
                        <a:pos x="122" y="311"/>
                      </a:cxn>
                      <a:cxn ang="0">
                        <a:pos x="211" y="320"/>
                      </a:cxn>
                      <a:cxn ang="0">
                        <a:pos x="274" y="362"/>
                      </a:cxn>
                      <a:cxn ang="0">
                        <a:pos x="197" y="182"/>
                      </a:cxn>
                      <a:cxn ang="0">
                        <a:pos x="144" y="94"/>
                      </a:cxn>
                      <a:cxn ang="0">
                        <a:pos x="192" y="0"/>
                      </a:cxn>
                    </a:cxnLst>
                    <a:rect l="0" t="0" r="r" b="b"/>
                    <a:pathLst>
                      <a:path w="274" h="362">
                        <a:moveTo>
                          <a:pt x="173" y="43"/>
                        </a:moveTo>
                        <a:cubicBezTo>
                          <a:pt x="131" y="91"/>
                          <a:pt x="76" y="24"/>
                          <a:pt x="47" y="57"/>
                        </a:cubicBezTo>
                        <a:cubicBezTo>
                          <a:pt x="0" y="111"/>
                          <a:pt x="107" y="119"/>
                          <a:pt x="133" y="133"/>
                        </a:cubicBezTo>
                        <a:cubicBezTo>
                          <a:pt x="142" y="171"/>
                          <a:pt x="169" y="200"/>
                          <a:pt x="181" y="236"/>
                        </a:cubicBezTo>
                        <a:cubicBezTo>
                          <a:pt x="206" y="307"/>
                          <a:pt x="107" y="248"/>
                          <a:pt x="122" y="311"/>
                        </a:cubicBezTo>
                        <a:cubicBezTo>
                          <a:pt x="156" y="316"/>
                          <a:pt x="179" y="302"/>
                          <a:pt x="211" y="320"/>
                        </a:cubicBezTo>
                        <a:cubicBezTo>
                          <a:pt x="235" y="334"/>
                          <a:pt x="245" y="354"/>
                          <a:pt x="274" y="362"/>
                        </a:cubicBezTo>
                        <a:cubicBezTo>
                          <a:pt x="232" y="335"/>
                          <a:pt x="223" y="229"/>
                          <a:pt x="197" y="182"/>
                        </a:cubicBezTo>
                        <a:cubicBezTo>
                          <a:pt x="181" y="153"/>
                          <a:pt x="150" y="128"/>
                          <a:pt x="144" y="94"/>
                        </a:cubicBezTo>
                        <a:cubicBezTo>
                          <a:pt x="136" y="43"/>
                          <a:pt x="186" y="43"/>
                          <a:pt x="19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69" name="Freeform 311"/>
                  <p:cNvSpPr>
                    <a:spLocks/>
                  </p:cNvSpPr>
                  <p:nvPr/>
                </p:nvSpPr>
                <p:spPr bwMode="gray">
                  <a:xfrm>
                    <a:off x="-2686050" y="10748963"/>
                    <a:ext cx="685800" cy="747713"/>
                  </a:xfrm>
                  <a:custGeom>
                    <a:avLst/>
                    <a:gdLst/>
                    <a:ahLst/>
                    <a:cxnLst>
                      <a:cxn ang="0">
                        <a:pos x="180" y="199"/>
                      </a:cxn>
                      <a:cxn ang="0">
                        <a:pos x="162" y="77"/>
                      </a:cxn>
                      <a:cxn ang="0">
                        <a:pos x="76" y="28"/>
                      </a:cxn>
                      <a:cxn ang="0">
                        <a:pos x="28" y="94"/>
                      </a:cxn>
                      <a:cxn ang="0">
                        <a:pos x="2" y="175"/>
                      </a:cxn>
                      <a:cxn ang="0">
                        <a:pos x="20" y="148"/>
                      </a:cxn>
                      <a:cxn ang="0">
                        <a:pos x="52" y="125"/>
                      </a:cxn>
                      <a:cxn ang="0">
                        <a:pos x="114" y="78"/>
                      </a:cxn>
                      <a:cxn ang="0">
                        <a:pos x="180" y="191"/>
                      </a:cxn>
                    </a:cxnLst>
                    <a:rect l="0" t="0" r="r" b="b"/>
                    <a:pathLst>
                      <a:path w="183" h="199">
                        <a:moveTo>
                          <a:pt x="180" y="199"/>
                        </a:moveTo>
                        <a:cubicBezTo>
                          <a:pt x="180" y="154"/>
                          <a:pt x="183" y="115"/>
                          <a:pt x="162" y="77"/>
                        </a:cubicBezTo>
                        <a:cubicBezTo>
                          <a:pt x="145" y="47"/>
                          <a:pt x="112" y="0"/>
                          <a:pt x="76" y="28"/>
                        </a:cubicBezTo>
                        <a:cubicBezTo>
                          <a:pt x="72" y="76"/>
                          <a:pt x="57" y="67"/>
                          <a:pt x="28" y="94"/>
                        </a:cubicBezTo>
                        <a:cubicBezTo>
                          <a:pt x="0" y="120"/>
                          <a:pt x="25" y="147"/>
                          <a:pt x="2" y="175"/>
                        </a:cubicBezTo>
                        <a:cubicBezTo>
                          <a:pt x="12" y="169"/>
                          <a:pt x="14" y="155"/>
                          <a:pt x="20" y="148"/>
                        </a:cubicBezTo>
                        <a:cubicBezTo>
                          <a:pt x="34" y="135"/>
                          <a:pt x="36" y="135"/>
                          <a:pt x="52" y="125"/>
                        </a:cubicBezTo>
                        <a:cubicBezTo>
                          <a:pt x="66" y="117"/>
                          <a:pt x="101" y="80"/>
                          <a:pt x="114" y="78"/>
                        </a:cubicBezTo>
                        <a:cubicBezTo>
                          <a:pt x="164" y="70"/>
                          <a:pt x="158" y="165"/>
                          <a:pt x="180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0" name="Freeform 312"/>
                  <p:cNvSpPr>
                    <a:spLocks/>
                  </p:cNvSpPr>
                  <p:nvPr/>
                </p:nvSpPr>
                <p:spPr bwMode="gray">
                  <a:xfrm>
                    <a:off x="-3184525" y="10048876"/>
                    <a:ext cx="209550" cy="603250"/>
                  </a:xfrm>
                  <a:custGeom>
                    <a:avLst/>
                    <a:gdLst/>
                    <a:ahLst/>
                    <a:cxnLst>
                      <a:cxn ang="0">
                        <a:pos x="56" y="0"/>
                      </a:cxn>
                      <a:cxn ang="0">
                        <a:pos x="34" y="89"/>
                      </a:cxn>
                      <a:cxn ang="0">
                        <a:pos x="10" y="155"/>
                      </a:cxn>
                      <a:cxn ang="0">
                        <a:pos x="21" y="78"/>
                      </a:cxn>
                    </a:cxnLst>
                    <a:rect l="0" t="0" r="r" b="b"/>
                    <a:pathLst>
                      <a:path w="56" h="161">
                        <a:moveTo>
                          <a:pt x="56" y="0"/>
                        </a:moveTo>
                        <a:cubicBezTo>
                          <a:pt x="49" y="35"/>
                          <a:pt x="30" y="47"/>
                          <a:pt x="34" y="89"/>
                        </a:cubicBezTo>
                        <a:cubicBezTo>
                          <a:pt x="36" y="112"/>
                          <a:pt x="55" y="161"/>
                          <a:pt x="10" y="155"/>
                        </a:cubicBezTo>
                        <a:cubicBezTo>
                          <a:pt x="0" y="123"/>
                          <a:pt x="14" y="107"/>
                          <a:pt x="21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1" name="Freeform 313"/>
                  <p:cNvSpPr>
                    <a:spLocks/>
                  </p:cNvSpPr>
                  <p:nvPr/>
                </p:nvSpPr>
                <p:spPr bwMode="gray">
                  <a:xfrm>
                    <a:off x="2098675" y="12576176"/>
                    <a:ext cx="338138" cy="584200"/>
                  </a:xfrm>
                  <a:custGeom>
                    <a:avLst/>
                    <a:gdLst/>
                    <a:ahLst/>
                    <a:cxnLst>
                      <a:cxn ang="0">
                        <a:pos x="77" y="0"/>
                      </a:cxn>
                      <a:cxn ang="0">
                        <a:pos x="12" y="144"/>
                      </a:cxn>
                      <a:cxn ang="0">
                        <a:pos x="73" y="20"/>
                      </a:cxn>
                    </a:cxnLst>
                    <a:rect l="0" t="0" r="r" b="b"/>
                    <a:pathLst>
                      <a:path w="90" h="156">
                        <a:moveTo>
                          <a:pt x="77" y="0"/>
                        </a:moveTo>
                        <a:cubicBezTo>
                          <a:pt x="90" y="55"/>
                          <a:pt x="0" y="75"/>
                          <a:pt x="12" y="144"/>
                        </a:cubicBezTo>
                        <a:cubicBezTo>
                          <a:pt x="69" y="156"/>
                          <a:pt x="57" y="50"/>
                          <a:pt x="73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2" name="Freeform 314"/>
                  <p:cNvSpPr>
                    <a:spLocks/>
                  </p:cNvSpPr>
                  <p:nvPr/>
                </p:nvSpPr>
                <p:spPr bwMode="gray">
                  <a:xfrm>
                    <a:off x="-2006600" y="11877676"/>
                    <a:ext cx="688975" cy="1328738"/>
                  </a:xfrm>
                  <a:custGeom>
                    <a:avLst/>
                    <a:gdLst/>
                    <a:ahLst/>
                    <a:cxnLst>
                      <a:cxn ang="0">
                        <a:pos x="46" y="323"/>
                      </a:cxn>
                      <a:cxn ang="0">
                        <a:pos x="81" y="249"/>
                      </a:cxn>
                      <a:cxn ang="0">
                        <a:pos x="166" y="244"/>
                      </a:cxn>
                      <a:cxn ang="0">
                        <a:pos x="74" y="139"/>
                      </a:cxn>
                      <a:cxn ang="0">
                        <a:pos x="0" y="0"/>
                      </a:cxn>
                      <a:cxn ang="0">
                        <a:pos x="30" y="85"/>
                      </a:cxn>
                      <a:cxn ang="0">
                        <a:pos x="49" y="179"/>
                      </a:cxn>
                      <a:cxn ang="0">
                        <a:pos x="50" y="272"/>
                      </a:cxn>
                      <a:cxn ang="0">
                        <a:pos x="50" y="354"/>
                      </a:cxn>
                    </a:cxnLst>
                    <a:rect l="0" t="0" r="r" b="b"/>
                    <a:pathLst>
                      <a:path w="184" h="354">
                        <a:moveTo>
                          <a:pt x="46" y="323"/>
                        </a:moveTo>
                        <a:cubicBezTo>
                          <a:pt x="53" y="297"/>
                          <a:pt x="55" y="264"/>
                          <a:pt x="81" y="249"/>
                        </a:cubicBezTo>
                        <a:cubicBezTo>
                          <a:pt x="108" y="232"/>
                          <a:pt x="137" y="249"/>
                          <a:pt x="166" y="244"/>
                        </a:cubicBezTo>
                        <a:cubicBezTo>
                          <a:pt x="184" y="213"/>
                          <a:pt x="93" y="159"/>
                          <a:pt x="74" y="139"/>
                        </a:cubicBezTo>
                        <a:cubicBezTo>
                          <a:pt x="48" y="109"/>
                          <a:pt x="33" y="11"/>
                          <a:pt x="0" y="0"/>
                        </a:cubicBezTo>
                        <a:cubicBezTo>
                          <a:pt x="1" y="28"/>
                          <a:pt x="21" y="59"/>
                          <a:pt x="30" y="85"/>
                        </a:cubicBezTo>
                        <a:cubicBezTo>
                          <a:pt x="41" y="115"/>
                          <a:pt x="43" y="150"/>
                          <a:pt x="49" y="179"/>
                        </a:cubicBezTo>
                        <a:cubicBezTo>
                          <a:pt x="56" y="213"/>
                          <a:pt x="59" y="237"/>
                          <a:pt x="50" y="272"/>
                        </a:cubicBezTo>
                        <a:cubicBezTo>
                          <a:pt x="44" y="296"/>
                          <a:pt x="23" y="334"/>
                          <a:pt x="50" y="35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3" name="Freeform 315"/>
                  <p:cNvSpPr>
                    <a:spLocks/>
                  </p:cNvSpPr>
                  <p:nvPr/>
                </p:nvSpPr>
                <p:spPr bwMode="gray">
                  <a:xfrm>
                    <a:off x="1614487" y="9932988"/>
                    <a:ext cx="654050" cy="1104900"/>
                  </a:xfrm>
                  <a:custGeom>
                    <a:avLst/>
                    <a:gdLst/>
                    <a:ahLst/>
                    <a:cxnLst>
                      <a:cxn ang="0">
                        <a:pos x="128" y="0"/>
                      </a:cxn>
                      <a:cxn ang="0">
                        <a:pos x="79" y="98"/>
                      </a:cxn>
                      <a:cxn ang="0">
                        <a:pos x="20" y="175"/>
                      </a:cxn>
                      <a:cxn ang="0">
                        <a:pos x="109" y="179"/>
                      </a:cxn>
                      <a:cxn ang="0">
                        <a:pos x="74" y="238"/>
                      </a:cxn>
                      <a:cxn ang="0">
                        <a:pos x="82" y="288"/>
                      </a:cxn>
                      <a:cxn ang="0">
                        <a:pos x="136" y="8"/>
                      </a:cxn>
                    </a:cxnLst>
                    <a:rect l="0" t="0" r="r" b="b"/>
                    <a:pathLst>
                      <a:path w="174" h="295">
                        <a:moveTo>
                          <a:pt x="128" y="0"/>
                        </a:moveTo>
                        <a:cubicBezTo>
                          <a:pt x="134" y="41"/>
                          <a:pt x="105" y="72"/>
                          <a:pt x="79" y="98"/>
                        </a:cubicBezTo>
                        <a:cubicBezTo>
                          <a:pt x="60" y="117"/>
                          <a:pt x="0" y="144"/>
                          <a:pt x="20" y="175"/>
                        </a:cubicBezTo>
                        <a:cubicBezTo>
                          <a:pt x="45" y="214"/>
                          <a:pt x="99" y="149"/>
                          <a:pt x="109" y="179"/>
                        </a:cubicBezTo>
                        <a:cubicBezTo>
                          <a:pt x="115" y="197"/>
                          <a:pt x="77" y="221"/>
                          <a:pt x="74" y="238"/>
                        </a:cubicBezTo>
                        <a:cubicBezTo>
                          <a:pt x="72" y="248"/>
                          <a:pt x="83" y="273"/>
                          <a:pt x="82" y="288"/>
                        </a:cubicBezTo>
                        <a:cubicBezTo>
                          <a:pt x="174" y="295"/>
                          <a:pt x="147" y="64"/>
                          <a:pt x="136" y="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4" name="Freeform 316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5" name="Freeform 317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6" name="Freeform 318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7" name="Freeform 319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8" name="Freeform 320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79" name="Freeform 321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0" name="Freeform 322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1" name="Freeform 323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2" name="Freeform 324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3" name="Freeform 325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4" name="Freeform 326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5" name="Freeform 327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6" name="Freeform 328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7" name="Freeform 329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8" name="Freeform 330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89" name="Freeform 331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0" name="Freeform 332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1" name="Freeform 333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2" name="Freeform 334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3" name="Freeform 335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4" name="Freeform 336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5" name="Freeform 337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6" name="Freeform 338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7" name="Freeform 339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8" name="Freeform 340"/>
                  <p:cNvSpPr>
                    <a:spLocks/>
                  </p:cNvSpPr>
                  <p:nvPr/>
                </p:nvSpPr>
                <p:spPr bwMode="gray">
                  <a:xfrm>
                    <a:off x="-1662113" y="24028401"/>
                    <a:ext cx="319088" cy="892175"/>
                  </a:xfrm>
                  <a:custGeom>
                    <a:avLst/>
                    <a:gdLst/>
                    <a:ahLst/>
                    <a:cxnLst>
                      <a:cxn ang="0">
                        <a:pos x="72" y="9"/>
                      </a:cxn>
                      <a:cxn ang="0">
                        <a:pos x="65" y="71"/>
                      </a:cxn>
                      <a:cxn ang="0">
                        <a:pos x="66" y="137"/>
                      </a:cxn>
                      <a:cxn ang="0">
                        <a:pos x="33" y="187"/>
                      </a:cxn>
                      <a:cxn ang="0">
                        <a:pos x="0" y="238"/>
                      </a:cxn>
                      <a:cxn ang="0">
                        <a:pos x="82" y="134"/>
                      </a:cxn>
                      <a:cxn ang="0">
                        <a:pos x="84" y="61"/>
                      </a:cxn>
                      <a:cxn ang="0">
                        <a:pos x="78" y="31"/>
                      </a:cxn>
                      <a:cxn ang="0">
                        <a:pos x="69" y="0"/>
                      </a:cxn>
                    </a:cxnLst>
                    <a:rect l="0" t="0" r="r" b="b"/>
                    <a:pathLst>
                      <a:path w="85" h="238">
                        <a:moveTo>
                          <a:pt x="72" y="9"/>
                        </a:moveTo>
                        <a:cubicBezTo>
                          <a:pt x="72" y="31"/>
                          <a:pt x="66" y="50"/>
                          <a:pt x="65" y="71"/>
                        </a:cubicBezTo>
                        <a:cubicBezTo>
                          <a:pt x="64" y="93"/>
                          <a:pt x="73" y="117"/>
                          <a:pt x="66" y="137"/>
                        </a:cubicBezTo>
                        <a:cubicBezTo>
                          <a:pt x="60" y="157"/>
                          <a:pt x="42" y="170"/>
                          <a:pt x="33" y="187"/>
                        </a:cubicBezTo>
                        <a:cubicBezTo>
                          <a:pt x="23" y="206"/>
                          <a:pt x="13" y="224"/>
                          <a:pt x="0" y="238"/>
                        </a:cubicBezTo>
                        <a:cubicBezTo>
                          <a:pt x="38" y="219"/>
                          <a:pt x="77" y="177"/>
                          <a:pt x="82" y="134"/>
                        </a:cubicBezTo>
                        <a:cubicBezTo>
                          <a:pt x="85" y="111"/>
                          <a:pt x="84" y="86"/>
                          <a:pt x="84" y="61"/>
                        </a:cubicBezTo>
                        <a:cubicBezTo>
                          <a:pt x="84" y="49"/>
                          <a:pt x="83" y="41"/>
                          <a:pt x="78" y="31"/>
                        </a:cubicBezTo>
                        <a:cubicBezTo>
                          <a:pt x="73" y="21"/>
                          <a:pt x="68" y="13"/>
                          <a:pt x="6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99" name="Freeform 341"/>
                  <p:cNvSpPr>
                    <a:spLocks/>
                  </p:cNvSpPr>
                  <p:nvPr/>
                </p:nvSpPr>
                <p:spPr bwMode="gray">
                  <a:xfrm>
                    <a:off x="-2741613" y="25190451"/>
                    <a:ext cx="911225" cy="300038"/>
                  </a:xfrm>
                  <a:custGeom>
                    <a:avLst/>
                    <a:gdLst/>
                    <a:ahLst/>
                    <a:cxnLst>
                      <a:cxn ang="0">
                        <a:pos x="0" y="4"/>
                      </a:cxn>
                      <a:cxn ang="0">
                        <a:pos x="66" y="26"/>
                      </a:cxn>
                      <a:cxn ang="0">
                        <a:pos x="129" y="42"/>
                      </a:cxn>
                      <a:cxn ang="0">
                        <a:pos x="243" y="0"/>
                      </a:cxn>
                      <a:cxn ang="0">
                        <a:pos x="208" y="61"/>
                      </a:cxn>
                      <a:cxn ang="0">
                        <a:pos x="180" y="75"/>
                      </a:cxn>
                      <a:cxn ang="0">
                        <a:pos x="145" y="66"/>
                      </a:cxn>
                      <a:cxn ang="0">
                        <a:pos x="82" y="50"/>
                      </a:cxn>
                      <a:cxn ang="0">
                        <a:pos x="19" y="2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243" h="80">
                        <a:moveTo>
                          <a:pt x="0" y="4"/>
                        </a:moveTo>
                        <a:cubicBezTo>
                          <a:pt x="17" y="19"/>
                          <a:pt x="44" y="21"/>
                          <a:pt x="66" y="26"/>
                        </a:cubicBezTo>
                        <a:cubicBezTo>
                          <a:pt x="87" y="31"/>
                          <a:pt x="108" y="40"/>
                          <a:pt x="129" y="42"/>
                        </a:cubicBezTo>
                        <a:cubicBezTo>
                          <a:pt x="173" y="46"/>
                          <a:pt x="214" y="35"/>
                          <a:pt x="243" y="0"/>
                        </a:cubicBezTo>
                        <a:cubicBezTo>
                          <a:pt x="235" y="23"/>
                          <a:pt x="222" y="41"/>
                          <a:pt x="208" y="61"/>
                        </a:cubicBezTo>
                        <a:cubicBezTo>
                          <a:pt x="198" y="75"/>
                          <a:pt x="198" y="80"/>
                          <a:pt x="180" y="75"/>
                        </a:cubicBezTo>
                        <a:cubicBezTo>
                          <a:pt x="168" y="71"/>
                          <a:pt x="157" y="69"/>
                          <a:pt x="145" y="66"/>
                        </a:cubicBezTo>
                        <a:cubicBezTo>
                          <a:pt x="125" y="61"/>
                          <a:pt x="102" y="57"/>
                          <a:pt x="82" y="50"/>
                        </a:cubicBezTo>
                        <a:cubicBezTo>
                          <a:pt x="62" y="43"/>
                          <a:pt x="38" y="38"/>
                          <a:pt x="19" y="27"/>
                        </a:cubicBezTo>
                        <a:cubicBezTo>
                          <a:pt x="12" y="23"/>
                          <a:pt x="4" y="16"/>
                          <a:pt x="0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00" name="Freeform 342"/>
                  <p:cNvSpPr>
                    <a:spLocks/>
                  </p:cNvSpPr>
                  <p:nvPr/>
                </p:nvSpPr>
                <p:spPr bwMode="gray">
                  <a:xfrm>
                    <a:off x="-98425" y="24039513"/>
                    <a:ext cx="203200" cy="941388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12" y="60"/>
                      </a:cxn>
                      <a:cxn ang="0">
                        <a:pos x="1" y="127"/>
                      </a:cxn>
                      <a:cxn ang="0">
                        <a:pos x="13" y="158"/>
                      </a:cxn>
                      <a:cxn ang="0">
                        <a:pos x="26" y="194"/>
                      </a:cxn>
                      <a:cxn ang="0">
                        <a:pos x="43" y="218"/>
                      </a:cxn>
                      <a:cxn ang="0">
                        <a:pos x="54" y="251"/>
                      </a:cxn>
                      <a:cxn ang="0">
                        <a:pos x="21" y="125"/>
                      </a:cxn>
                      <a:cxn ang="0">
                        <a:pos x="27" y="61"/>
                      </a:cxn>
                      <a:cxn ang="0">
                        <a:pos x="26" y="6"/>
                      </a:cxn>
                      <a:cxn ang="0">
                        <a:pos x="20" y="33"/>
                      </a:cxn>
                    </a:cxnLst>
                    <a:rect l="0" t="0" r="r" b="b"/>
                    <a:pathLst>
                      <a:path w="54" h="251">
                        <a:moveTo>
                          <a:pt x="28" y="0"/>
                        </a:moveTo>
                        <a:cubicBezTo>
                          <a:pt x="28" y="26"/>
                          <a:pt x="24" y="39"/>
                          <a:pt x="12" y="60"/>
                        </a:cubicBezTo>
                        <a:cubicBezTo>
                          <a:pt x="0" y="81"/>
                          <a:pt x="0" y="102"/>
                          <a:pt x="1" y="127"/>
                        </a:cubicBezTo>
                        <a:cubicBezTo>
                          <a:pt x="2" y="141"/>
                          <a:pt x="6" y="146"/>
                          <a:pt x="13" y="158"/>
                        </a:cubicBezTo>
                        <a:cubicBezTo>
                          <a:pt x="19" y="169"/>
                          <a:pt x="19" y="183"/>
                          <a:pt x="26" y="194"/>
                        </a:cubicBezTo>
                        <a:cubicBezTo>
                          <a:pt x="31" y="203"/>
                          <a:pt x="39" y="209"/>
                          <a:pt x="43" y="218"/>
                        </a:cubicBezTo>
                        <a:cubicBezTo>
                          <a:pt x="49" y="228"/>
                          <a:pt x="51" y="240"/>
                          <a:pt x="54" y="251"/>
                        </a:cubicBezTo>
                        <a:cubicBezTo>
                          <a:pt x="53" y="206"/>
                          <a:pt x="29" y="167"/>
                          <a:pt x="21" y="125"/>
                        </a:cubicBezTo>
                        <a:cubicBezTo>
                          <a:pt x="16" y="102"/>
                          <a:pt x="19" y="82"/>
                          <a:pt x="27" y="61"/>
                        </a:cubicBezTo>
                        <a:cubicBezTo>
                          <a:pt x="34" y="43"/>
                          <a:pt x="37" y="24"/>
                          <a:pt x="26" y="6"/>
                        </a:cubicBezTo>
                        <a:cubicBezTo>
                          <a:pt x="22" y="15"/>
                          <a:pt x="22" y="24"/>
                          <a:pt x="20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01" name="Freeform 343"/>
                  <p:cNvSpPr>
                    <a:spLocks/>
                  </p:cNvSpPr>
                  <p:nvPr/>
                </p:nvSpPr>
                <p:spPr bwMode="gray">
                  <a:xfrm>
                    <a:off x="231775" y="25336501"/>
                    <a:ext cx="655638" cy="195263"/>
                  </a:xfrm>
                  <a:custGeom>
                    <a:avLst/>
                    <a:gdLst/>
                    <a:ahLst/>
                    <a:cxnLst>
                      <a:cxn ang="0">
                        <a:pos x="159" y="0"/>
                      </a:cxn>
                      <a:cxn ang="0">
                        <a:pos x="145" y="35"/>
                      </a:cxn>
                      <a:cxn ang="0">
                        <a:pos x="93" y="45"/>
                      </a:cxn>
                      <a:cxn ang="0">
                        <a:pos x="0" y="25"/>
                      </a:cxn>
                      <a:cxn ang="0">
                        <a:pos x="35" y="45"/>
                      </a:cxn>
                      <a:cxn ang="0">
                        <a:pos x="87" y="51"/>
                      </a:cxn>
                      <a:cxn ang="0">
                        <a:pos x="134" y="50"/>
                      </a:cxn>
                      <a:cxn ang="0">
                        <a:pos x="175" y="38"/>
                      </a:cxn>
                      <a:cxn ang="0">
                        <a:pos x="168" y="26"/>
                      </a:cxn>
                    </a:cxnLst>
                    <a:rect l="0" t="0" r="r" b="b"/>
                    <a:pathLst>
                      <a:path w="175" h="52">
                        <a:moveTo>
                          <a:pt x="159" y="0"/>
                        </a:moveTo>
                        <a:cubicBezTo>
                          <a:pt x="161" y="18"/>
                          <a:pt x="162" y="27"/>
                          <a:pt x="145" y="35"/>
                        </a:cubicBezTo>
                        <a:cubicBezTo>
                          <a:pt x="130" y="43"/>
                          <a:pt x="111" y="45"/>
                          <a:pt x="93" y="45"/>
                        </a:cubicBezTo>
                        <a:cubicBezTo>
                          <a:pt x="60" y="47"/>
                          <a:pt x="28" y="37"/>
                          <a:pt x="0" y="25"/>
                        </a:cubicBezTo>
                        <a:cubicBezTo>
                          <a:pt x="13" y="32"/>
                          <a:pt x="20" y="42"/>
                          <a:pt x="35" y="45"/>
                        </a:cubicBezTo>
                        <a:cubicBezTo>
                          <a:pt x="51" y="49"/>
                          <a:pt x="70" y="50"/>
                          <a:pt x="87" y="51"/>
                        </a:cubicBezTo>
                        <a:cubicBezTo>
                          <a:pt x="102" y="52"/>
                          <a:pt x="120" y="52"/>
                          <a:pt x="134" y="50"/>
                        </a:cubicBezTo>
                        <a:cubicBezTo>
                          <a:pt x="148" y="48"/>
                          <a:pt x="161" y="41"/>
                          <a:pt x="175" y="38"/>
                        </a:cubicBezTo>
                        <a:cubicBezTo>
                          <a:pt x="174" y="33"/>
                          <a:pt x="171" y="29"/>
                          <a:pt x="168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02" name="Freeform 344"/>
                  <p:cNvSpPr>
                    <a:spLocks/>
                  </p:cNvSpPr>
                  <p:nvPr/>
                </p:nvSpPr>
                <p:spPr bwMode="gray">
                  <a:xfrm>
                    <a:off x="104775" y="25633363"/>
                    <a:ext cx="430213" cy="407988"/>
                  </a:xfrm>
                  <a:custGeom>
                    <a:avLst/>
                    <a:gdLst/>
                    <a:ahLst/>
                    <a:cxnLst>
                      <a:cxn ang="0">
                        <a:pos x="15" y="15"/>
                      </a:cxn>
                      <a:cxn ang="0">
                        <a:pos x="53" y="38"/>
                      </a:cxn>
                      <a:cxn ang="0">
                        <a:pos x="114" y="60"/>
                      </a:cxn>
                      <a:cxn ang="0">
                        <a:pos x="114" y="64"/>
                      </a:cxn>
                      <a:cxn ang="0">
                        <a:pos x="67" y="69"/>
                      </a:cxn>
                      <a:cxn ang="0">
                        <a:pos x="115" y="92"/>
                      </a:cxn>
                      <a:cxn ang="0">
                        <a:pos x="35" y="6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5" h="109">
                        <a:moveTo>
                          <a:pt x="15" y="15"/>
                        </a:moveTo>
                        <a:cubicBezTo>
                          <a:pt x="28" y="21"/>
                          <a:pt x="40" y="30"/>
                          <a:pt x="53" y="38"/>
                        </a:cubicBezTo>
                        <a:cubicBezTo>
                          <a:pt x="73" y="51"/>
                          <a:pt x="91" y="53"/>
                          <a:pt x="114" y="60"/>
                        </a:cubicBezTo>
                        <a:cubicBezTo>
                          <a:pt x="114" y="61"/>
                          <a:pt x="114" y="63"/>
                          <a:pt x="114" y="64"/>
                        </a:cubicBezTo>
                        <a:cubicBezTo>
                          <a:pt x="99" y="67"/>
                          <a:pt x="82" y="69"/>
                          <a:pt x="67" y="69"/>
                        </a:cubicBezTo>
                        <a:cubicBezTo>
                          <a:pt x="78" y="79"/>
                          <a:pt x="103" y="81"/>
                          <a:pt x="115" y="92"/>
                        </a:cubicBezTo>
                        <a:cubicBezTo>
                          <a:pt x="88" y="109"/>
                          <a:pt x="56" y="78"/>
                          <a:pt x="35" y="65"/>
                        </a:cubicBezTo>
                        <a:cubicBezTo>
                          <a:pt x="9" y="50"/>
                          <a:pt x="16" y="2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03" name="Freeform 345"/>
                  <p:cNvSpPr>
                    <a:spLocks/>
                  </p:cNvSpPr>
                  <p:nvPr/>
                </p:nvSpPr>
                <p:spPr bwMode="gray">
                  <a:xfrm>
                    <a:off x="-3090863" y="25314276"/>
                    <a:ext cx="468313" cy="60007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42" y="76"/>
                      </a:cxn>
                      <a:cxn ang="0">
                        <a:pos x="0" y="160"/>
                      </a:cxn>
                      <a:cxn ang="0">
                        <a:pos x="62" y="88"/>
                      </a:cxn>
                      <a:cxn ang="0">
                        <a:pos x="85" y="73"/>
                      </a:cxn>
                      <a:cxn ang="0">
                        <a:pos x="87" y="47"/>
                      </a:cxn>
                      <a:cxn ang="0">
                        <a:pos x="125" y="29"/>
                      </a:cxn>
                      <a:cxn ang="0">
                        <a:pos x="125" y="21"/>
                      </a:cxn>
                      <a:cxn ang="0">
                        <a:pos x="91" y="12"/>
                      </a:cxn>
                    </a:cxnLst>
                    <a:rect l="0" t="0" r="r" b="b"/>
                    <a:pathLst>
                      <a:path w="125" h="160">
                        <a:moveTo>
                          <a:pt x="85" y="0"/>
                        </a:moveTo>
                        <a:cubicBezTo>
                          <a:pt x="55" y="15"/>
                          <a:pt x="56" y="50"/>
                          <a:pt x="42" y="76"/>
                        </a:cubicBezTo>
                        <a:cubicBezTo>
                          <a:pt x="28" y="101"/>
                          <a:pt x="1" y="133"/>
                          <a:pt x="0" y="160"/>
                        </a:cubicBezTo>
                        <a:cubicBezTo>
                          <a:pt x="17" y="132"/>
                          <a:pt x="36" y="108"/>
                          <a:pt x="62" y="88"/>
                        </a:cubicBezTo>
                        <a:cubicBezTo>
                          <a:pt x="70" y="81"/>
                          <a:pt x="79" y="83"/>
                          <a:pt x="85" y="73"/>
                        </a:cubicBezTo>
                        <a:cubicBezTo>
                          <a:pt x="90" y="66"/>
                          <a:pt x="83" y="54"/>
                          <a:pt x="87" y="47"/>
                        </a:cubicBezTo>
                        <a:cubicBezTo>
                          <a:pt x="96" y="33"/>
                          <a:pt x="108" y="27"/>
                          <a:pt x="125" y="29"/>
                        </a:cubicBezTo>
                        <a:cubicBezTo>
                          <a:pt x="125" y="28"/>
                          <a:pt x="125" y="22"/>
                          <a:pt x="125" y="21"/>
                        </a:cubicBezTo>
                        <a:cubicBezTo>
                          <a:pt x="114" y="16"/>
                          <a:pt x="103" y="11"/>
                          <a:pt x="91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  <p:grpSp>
              <p:nvGrpSpPr>
                <p:cNvPr id="16" name="Gruppieren 158"/>
                <p:cNvGrpSpPr/>
                <p:nvPr/>
              </p:nvGrpSpPr>
              <p:grpSpPr bwMode="gray">
                <a:xfrm>
                  <a:off x="925081" y="1575807"/>
                  <a:ext cx="626524" cy="2292056"/>
                  <a:chOff x="-3870325" y="-19711987"/>
                  <a:chExt cx="5864225" cy="21453475"/>
                </a:xfrm>
                <a:solidFill>
                  <a:srgbClr val="C8C8C8"/>
                </a:solidFill>
              </p:grpSpPr>
              <p:sp>
                <p:nvSpPr>
                  <p:cNvPr id="656" name="Freeform 81"/>
                  <p:cNvSpPr>
                    <a:spLocks/>
                  </p:cNvSpPr>
                  <p:nvPr/>
                </p:nvSpPr>
                <p:spPr bwMode="gray">
                  <a:xfrm>
                    <a:off x="-3076575" y="-676275"/>
                    <a:ext cx="3457575" cy="1844675"/>
                  </a:xfrm>
                  <a:custGeom>
                    <a:avLst/>
                    <a:gdLst/>
                    <a:ahLst/>
                    <a:cxnLst>
                      <a:cxn ang="0">
                        <a:pos x="429" y="101"/>
                      </a:cxn>
                      <a:cxn ang="0">
                        <a:pos x="355" y="179"/>
                      </a:cxn>
                      <a:cxn ang="0">
                        <a:pos x="276" y="240"/>
                      </a:cxn>
                      <a:cxn ang="0">
                        <a:pos x="188" y="309"/>
                      </a:cxn>
                      <a:cxn ang="0">
                        <a:pos x="14" y="421"/>
                      </a:cxn>
                      <a:cxn ang="0">
                        <a:pos x="76" y="477"/>
                      </a:cxn>
                      <a:cxn ang="0">
                        <a:pos x="159" y="490"/>
                      </a:cxn>
                      <a:cxn ang="0">
                        <a:pos x="323" y="467"/>
                      </a:cxn>
                      <a:cxn ang="0">
                        <a:pos x="470" y="412"/>
                      </a:cxn>
                      <a:cxn ang="0">
                        <a:pos x="699" y="376"/>
                      </a:cxn>
                      <a:cxn ang="0">
                        <a:pos x="452" y="112"/>
                      </a:cxn>
                    </a:cxnLst>
                    <a:rect l="0" t="0" r="r" b="b"/>
                    <a:pathLst>
                      <a:path w="922" h="492">
                        <a:moveTo>
                          <a:pt x="429" y="101"/>
                        </a:moveTo>
                        <a:cubicBezTo>
                          <a:pt x="402" y="122"/>
                          <a:pt x="363" y="146"/>
                          <a:pt x="355" y="179"/>
                        </a:cubicBezTo>
                        <a:cubicBezTo>
                          <a:pt x="335" y="183"/>
                          <a:pt x="296" y="222"/>
                          <a:pt x="276" y="240"/>
                        </a:cubicBezTo>
                        <a:cubicBezTo>
                          <a:pt x="247" y="266"/>
                          <a:pt x="226" y="294"/>
                          <a:pt x="188" y="309"/>
                        </a:cubicBezTo>
                        <a:cubicBezTo>
                          <a:pt x="149" y="324"/>
                          <a:pt x="0" y="364"/>
                          <a:pt x="14" y="421"/>
                        </a:cubicBezTo>
                        <a:cubicBezTo>
                          <a:pt x="42" y="435"/>
                          <a:pt x="50" y="466"/>
                          <a:pt x="76" y="477"/>
                        </a:cubicBezTo>
                        <a:cubicBezTo>
                          <a:pt x="92" y="484"/>
                          <a:pt x="143" y="489"/>
                          <a:pt x="159" y="490"/>
                        </a:cubicBezTo>
                        <a:cubicBezTo>
                          <a:pt x="216" y="492"/>
                          <a:pt x="263" y="467"/>
                          <a:pt x="323" y="467"/>
                        </a:cubicBezTo>
                        <a:cubicBezTo>
                          <a:pt x="396" y="467"/>
                          <a:pt x="411" y="447"/>
                          <a:pt x="470" y="412"/>
                        </a:cubicBezTo>
                        <a:cubicBezTo>
                          <a:pt x="539" y="371"/>
                          <a:pt x="622" y="392"/>
                          <a:pt x="699" y="376"/>
                        </a:cubicBezTo>
                        <a:cubicBezTo>
                          <a:pt x="922" y="224"/>
                          <a:pt x="494" y="0"/>
                          <a:pt x="452" y="1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57" name="Freeform 82"/>
                  <p:cNvSpPr>
                    <a:spLocks/>
                  </p:cNvSpPr>
                  <p:nvPr/>
                </p:nvSpPr>
                <p:spPr bwMode="gray">
                  <a:xfrm>
                    <a:off x="-101600" y="-522287"/>
                    <a:ext cx="2095500" cy="2263775"/>
                  </a:xfrm>
                  <a:custGeom>
                    <a:avLst/>
                    <a:gdLst/>
                    <a:ahLst/>
                    <a:cxnLst>
                      <a:cxn ang="0">
                        <a:pos x="36" y="184"/>
                      </a:cxn>
                      <a:cxn ang="0">
                        <a:pos x="99" y="402"/>
                      </a:cxn>
                      <a:cxn ang="0">
                        <a:pos x="156" y="413"/>
                      </a:cxn>
                      <a:cxn ang="0">
                        <a:pos x="183" y="465"/>
                      </a:cxn>
                      <a:cxn ang="0">
                        <a:pos x="261" y="538"/>
                      </a:cxn>
                      <a:cxn ang="0">
                        <a:pos x="532" y="527"/>
                      </a:cxn>
                      <a:cxn ang="0">
                        <a:pos x="409" y="317"/>
                      </a:cxn>
                      <a:cxn ang="0">
                        <a:pos x="341" y="212"/>
                      </a:cxn>
                      <a:cxn ang="0">
                        <a:pos x="257" y="77"/>
                      </a:cxn>
                      <a:cxn ang="0">
                        <a:pos x="48" y="184"/>
                      </a:cxn>
                    </a:cxnLst>
                    <a:rect l="0" t="0" r="r" b="b"/>
                    <a:pathLst>
                      <a:path w="559" h="604">
                        <a:moveTo>
                          <a:pt x="36" y="184"/>
                        </a:moveTo>
                        <a:cubicBezTo>
                          <a:pt x="36" y="271"/>
                          <a:pt x="0" y="373"/>
                          <a:pt x="99" y="402"/>
                        </a:cubicBezTo>
                        <a:cubicBezTo>
                          <a:pt x="122" y="409"/>
                          <a:pt x="136" y="401"/>
                          <a:pt x="156" y="413"/>
                        </a:cubicBezTo>
                        <a:cubicBezTo>
                          <a:pt x="190" y="435"/>
                          <a:pt x="167" y="433"/>
                          <a:pt x="183" y="465"/>
                        </a:cubicBezTo>
                        <a:cubicBezTo>
                          <a:pt x="202" y="505"/>
                          <a:pt x="221" y="523"/>
                          <a:pt x="261" y="538"/>
                        </a:cubicBezTo>
                        <a:cubicBezTo>
                          <a:pt x="323" y="562"/>
                          <a:pt x="501" y="604"/>
                          <a:pt x="532" y="527"/>
                        </a:cubicBezTo>
                        <a:cubicBezTo>
                          <a:pt x="559" y="459"/>
                          <a:pt x="449" y="364"/>
                          <a:pt x="409" y="317"/>
                        </a:cubicBezTo>
                        <a:cubicBezTo>
                          <a:pt x="375" y="277"/>
                          <a:pt x="361" y="259"/>
                          <a:pt x="341" y="212"/>
                        </a:cubicBezTo>
                        <a:cubicBezTo>
                          <a:pt x="323" y="171"/>
                          <a:pt x="292" y="106"/>
                          <a:pt x="257" y="77"/>
                        </a:cubicBezTo>
                        <a:cubicBezTo>
                          <a:pt x="168" y="0"/>
                          <a:pt x="73" y="105"/>
                          <a:pt x="48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58" name="Freeform 83"/>
                  <p:cNvSpPr>
                    <a:spLocks/>
                  </p:cNvSpPr>
                  <p:nvPr/>
                </p:nvSpPr>
                <p:spPr bwMode="gray">
                  <a:xfrm>
                    <a:off x="-1706563" y="61913"/>
                    <a:ext cx="382588" cy="393700"/>
                  </a:xfrm>
                  <a:custGeom>
                    <a:avLst/>
                    <a:gdLst/>
                    <a:ahLst/>
                    <a:cxnLst>
                      <a:cxn ang="0">
                        <a:pos x="31" y="41"/>
                      </a:cxn>
                      <a:cxn ang="0">
                        <a:pos x="2" y="74"/>
                      </a:cxn>
                      <a:cxn ang="0">
                        <a:pos x="30" y="76"/>
                      </a:cxn>
                      <a:cxn ang="0">
                        <a:pos x="31" y="91"/>
                      </a:cxn>
                      <a:cxn ang="0">
                        <a:pos x="31" y="45"/>
                      </a:cxn>
                    </a:cxnLst>
                    <a:rect l="0" t="0" r="r" b="b"/>
                    <a:pathLst>
                      <a:path w="102" h="105">
                        <a:moveTo>
                          <a:pt x="31" y="41"/>
                        </a:moveTo>
                        <a:cubicBezTo>
                          <a:pt x="12" y="42"/>
                          <a:pt x="0" y="55"/>
                          <a:pt x="2" y="74"/>
                        </a:cubicBezTo>
                        <a:cubicBezTo>
                          <a:pt x="10" y="72"/>
                          <a:pt x="22" y="77"/>
                          <a:pt x="30" y="76"/>
                        </a:cubicBezTo>
                        <a:cubicBezTo>
                          <a:pt x="30" y="80"/>
                          <a:pt x="31" y="86"/>
                          <a:pt x="31" y="91"/>
                        </a:cubicBezTo>
                        <a:cubicBezTo>
                          <a:pt x="102" y="105"/>
                          <a:pt x="90" y="0"/>
                          <a:pt x="31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59" name="Freeform 84"/>
                  <p:cNvSpPr>
                    <a:spLocks/>
                  </p:cNvSpPr>
                  <p:nvPr/>
                </p:nvSpPr>
                <p:spPr bwMode="gray">
                  <a:xfrm>
                    <a:off x="-1651000" y="249238"/>
                    <a:ext cx="1304925" cy="495300"/>
                  </a:xfrm>
                  <a:custGeom>
                    <a:avLst/>
                    <a:gdLst/>
                    <a:ahLst/>
                    <a:cxnLst>
                      <a:cxn ang="0">
                        <a:pos x="315" y="16"/>
                      </a:cxn>
                      <a:cxn ang="0">
                        <a:pos x="146" y="79"/>
                      </a:cxn>
                      <a:cxn ang="0">
                        <a:pos x="0" y="131"/>
                      </a:cxn>
                      <a:cxn ang="0">
                        <a:pos x="167" y="32"/>
                      </a:cxn>
                      <a:cxn ang="0">
                        <a:pos x="252" y="4"/>
                      </a:cxn>
                      <a:cxn ang="0">
                        <a:pos x="299" y="26"/>
                      </a:cxn>
                      <a:cxn ang="0">
                        <a:pos x="307" y="38"/>
                      </a:cxn>
                    </a:cxnLst>
                    <a:rect l="0" t="0" r="r" b="b"/>
                    <a:pathLst>
                      <a:path w="348" h="132">
                        <a:moveTo>
                          <a:pt x="315" y="16"/>
                        </a:moveTo>
                        <a:cubicBezTo>
                          <a:pt x="238" y="16"/>
                          <a:pt x="205" y="34"/>
                          <a:pt x="146" y="79"/>
                        </a:cubicBezTo>
                        <a:cubicBezTo>
                          <a:pt x="99" y="115"/>
                          <a:pt x="61" y="132"/>
                          <a:pt x="0" y="131"/>
                        </a:cubicBezTo>
                        <a:cubicBezTo>
                          <a:pt x="58" y="101"/>
                          <a:pt x="117" y="75"/>
                          <a:pt x="167" y="32"/>
                        </a:cubicBezTo>
                        <a:cubicBezTo>
                          <a:pt x="196" y="8"/>
                          <a:pt x="212" y="9"/>
                          <a:pt x="252" y="4"/>
                        </a:cubicBezTo>
                        <a:cubicBezTo>
                          <a:pt x="264" y="2"/>
                          <a:pt x="348" y="0"/>
                          <a:pt x="299" y="26"/>
                        </a:cubicBezTo>
                        <a:cubicBezTo>
                          <a:pt x="301" y="29"/>
                          <a:pt x="305" y="33"/>
                          <a:pt x="307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0" name="Freeform 85"/>
                  <p:cNvSpPr>
                    <a:spLocks/>
                  </p:cNvSpPr>
                  <p:nvPr/>
                </p:nvSpPr>
                <p:spPr bwMode="gray">
                  <a:xfrm>
                    <a:off x="1000125" y="419100"/>
                    <a:ext cx="949325" cy="911225"/>
                  </a:xfrm>
                  <a:custGeom>
                    <a:avLst/>
                    <a:gdLst/>
                    <a:ahLst/>
                    <a:cxnLst>
                      <a:cxn ang="0">
                        <a:pos x="35" y="35"/>
                      </a:cxn>
                      <a:cxn ang="0">
                        <a:pos x="68" y="106"/>
                      </a:cxn>
                      <a:cxn ang="0">
                        <a:pos x="10" y="135"/>
                      </a:cxn>
                      <a:cxn ang="0">
                        <a:pos x="72" y="162"/>
                      </a:cxn>
                      <a:cxn ang="0">
                        <a:pos x="187" y="220"/>
                      </a:cxn>
                      <a:cxn ang="0">
                        <a:pos x="135" y="124"/>
                      </a:cxn>
                      <a:cxn ang="0">
                        <a:pos x="55" y="10"/>
                      </a:cxn>
                      <a:cxn ang="0">
                        <a:pos x="14" y="14"/>
                      </a:cxn>
                    </a:cxnLst>
                    <a:rect l="0" t="0" r="r" b="b"/>
                    <a:pathLst>
                      <a:path w="253" h="243">
                        <a:moveTo>
                          <a:pt x="35" y="35"/>
                        </a:moveTo>
                        <a:cubicBezTo>
                          <a:pt x="52" y="54"/>
                          <a:pt x="67" y="81"/>
                          <a:pt x="68" y="106"/>
                        </a:cubicBezTo>
                        <a:cubicBezTo>
                          <a:pt x="50" y="105"/>
                          <a:pt x="0" y="104"/>
                          <a:pt x="10" y="135"/>
                        </a:cubicBezTo>
                        <a:cubicBezTo>
                          <a:pt x="15" y="150"/>
                          <a:pt x="61" y="156"/>
                          <a:pt x="72" y="162"/>
                        </a:cubicBezTo>
                        <a:cubicBezTo>
                          <a:pt x="102" y="180"/>
                          <a:pt x="143" y="243"/>
                          <a:pt x="187" y="220"/>
                        </a:cubicBezTo>
                        <a:cubicBezTo>
                          <a:pt x="253" y="185"/>
                          <a:pt x="156" y="138"/>
                          <a:pt x="135" y="124"/>
                        </a:cubicBezTo>
                        <a:cubicBezTo>
                          <a:pt x="96" y="98"/>
                          <a:pt x="79" y="53"/>
                          <a:pt x="55" y="10"/>
                        </a:cubicBezTo>
                        <a:cubicBezTo>
                          <a:pt x="40" y="5"/>
                          <a:pt x="21" y="0"/>
                          <a:pt x="14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1" name="Freeform 86"/>
                  <p:cNvSpPr>
                    <a:spLocks/>
                  </p:cNvSpPr>
                  <p:nvPr/>
                </p:nvSpPr>
                <p:spPr bwMode="gray">
                  <a:xfrm>
                    <a:off x="47625" y="452438"/>
                    <a:ext cx="809625" cy="919163"/>
                  </a:xfrm>
                  <a:custGeom>
                    <a:avLst/>
                    <a:gdLst/>
                    <a:ahLst/>
                    <a:cxnLst>
                      <a:cxn ang="0">
                        <a:pos x="36" y="13"/>
                      </a:cxn>
                      <a:cxn ang="0">
                        <a:pos x="216" y="237"/>
                      </a:cxn>
                      <a:cxn ang="0">
                        <a:pos x="108" y="13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216" h="245">
                        <a:moveTo>
                          <a:pt x="36" y="13"/>
                        </a:moveTo>
                        <a:cubicBezTo>
                          <a:pt x="156" y="33"/>
                          <a:pt x="104" y="200"/>
                          <a:pt x="216" y="237"/>
                        </a:cubicBezTo>
                        <a:cubicBezTo>
                          <a:pt x="163" y="245"/>
                          <a:pt x="127" y="165"/>
                          <a:pt x="108" y="130"/>
                        </a:cubicBezTo>
                        <a:cubicBezTo>
                          <a:pt x="94" y="104"/>
                          <a:pt x="0" y="23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2" name="Freeform 87"/>
                  <p:cNvSpPr>
                    <a:spLocks/>
                  </p:cNvSpPr>
                  <p:nvPr/>
                </p:nvSpPr>
                <p:spPr bwMode="gray">
                  <a:xfrm>
                    <a:off x="1427163" y="1300163"/>
                    <a:ext cx="180975" cy="130175"/>
                  </a:xfrm>
                  <a:custGeom>
                    <a:avLst/>
                    <a:gdLst/>
                    <a:ahLst/>
                    <a:cxnLst>
                      <a:cxn ang="0">
                        <a:pos x="31" y="2"/>
                      </a:cxn>
                      <a:cxn ang="0">
                        <a:pos x="2" y="3"/>
                      </a:cxn>
                      <a:cxn ang="0">
                        <a:pos x="43" y="31"/>
                      </a:cxn>
                      <a:cxn ang="0">
                        <a:pos x="47" y="7"/>
                      </a:cxn>
                      <a:cxn ang="0">
                        <a:pos x="35" y="2"/>
                      </a:cxn>
                    </a:cxnLst>
                    <a:rect l="0" t="0" r="r" b="b"/>
                    <a:pathLst>
                      <a:path w="48" h="35">
                        <a:moveTo>
                          <a:pt x="31" y="2"/>
                        </a:moveTo>
                        <a:cubicBezTo>
                          <a:pt x="22" y="0"/>
                          <a:pt x="10" y="2"/>
                          <a:pt x="2" y="3"/>
                        </a:cubicBezTo>
                        <a:cubicBezTo>
                          <a:pt x="0" y="27"/>
                          <a:pt x="21" y="35"/>
                          <a:pt x="43" y="31"/>
                        </a:cubicBezTo>
                        <a:cubicBezTo>
                          <a:pt x="47" y="24"/>
                          <a:pt x="48" y="16"/>
                          <a:pt x="47" y="7"/>
                        </a:cubicBezTo>
                        <a:cubicBezTo>
                          <a:pt x="40" y="9"/>
                          <a:pt x="38" y="4"/>
                          <a:pt x="35" y="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3" name="Freeform 88"/>
                  <p:cNvSpPr>
                    <a:spLocks/>
                  </p:cNvSpPr>
                  <p:nvPr/>
                </p:nvSpPr>
                <p:spPr bwMode="gray">
                  <a:xfrm>
                    <a:off x="614363" y="265113"/>
                    <a:ext cx="280988" cy="330200"/>
                  </a:xfrm>
                  <a:custGeom>
                    <a:avLst/>
                    <a:gdLst/>
                    <a:ahLst/>
                    <a:cxnLst>
                      <a:cxn ang="0">
                        <a:pos x="62" y="4"/>
                      </a:cxn>
                      <a:cxn ang="0">
                        <a:pos x="41" y="5"/>
                      </a:cxn>
                      <a:cxn ang="0">
                        <a:pos x="53" y="88"/>
                      </a:cxn>
                      <a:cxn ang="0">
                        <a:pos x="50" y="38"/>
                      </a:cxn>
                      <a:cxn ang="0">
                        <a:pos x="58" y="0"/>
                      </a:cxn>
                    </a:cxnLst>
                    <a:rect l="0" t="0" r="r" b="b"/>
                    <a:pathLst>
                      <a:path w="75" h="88">
                        <a:moveTo>
                          <a:pt x="62" y="4"/>
                        </a:moveTo>
                        <a:cubicBezTo>
                          <a:pt x="56" y="3"/>
                          <a:pt x="48" y="4"/>
                          <a:pt x="41" y="5"/>
                        </a:cubicBezTo>
                        <a:cubicBezTo>
                          <a:pt x="46" y="28"/>
                          <a:pt x="0" y="86"/>
                          <a:pt x="53" y="88"/>
                        </a:cubicBezTo>
                        <a:cubicBezTo>
                          <a:pt x="56" y="71"/>
                          <a:pt x="53" y="53"/>
                          <a:pt x="50" y="38"/>
                        </a:cubicBezTo>
                        <a:cubicBezTo>
                          <a:pt x="72" y="33"/>
                          <a:pt x="75" y="13"/>
                          <a:pt x="5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4" name="Freeform 89"/>
                  <p:cNvSpPr>
                    <a:spLocks/>
                  </p:cNvSpPr>
                  <p:nvPr/>
                </p:nvSpPr>
                <p:spPr bwMode="gray">
                  <a:xfrm>
                    <a:off x="-2847975" y="-150812"/>
                    <a:ext cx="1328738" cy="963613"/>
                  </a:xfrm>
                  <a:custGeom>
                    <a:avLst/>
                    <a:gdLst/>
                    <a:ahLst/>
                    <a:cxnLst>
                      <a:cxn ang="0">
                        <a:pos x="39" y="233"/>
                      </a:cxn>
                      <a:cxn ang="0">
                        <a:pos x="179" y="201"/>
                      </a:cxn>
                      <a:cxn ang="0">
                        <a:pos x="271" y="132"/>
                      </a:cxn>
                      <a:cxn ang="0">
                        <a:pos x="259" y="131"/>
                      </a:cxn>
                      <a:cxn ang="0">
                        <a:pos x="329" y="23"/>
                      </a:cxn>
                      <a:cxn ang="0">
                        <a:pos x="230" y="112"/>
                      </a:cxn>
                      <a:cxn ang="0">
                        <a:pos x="98" y="195"/>
                      </a:cxn>
                      <a:cxn ang="0">
                        <a:pos x="27" y="217"/>
                      </a:cxn>
                      <a:cxn ang="0">
                        <a:pos x="52" y="242"/>
                      </a:cxn>
                    </a:cxnLst>
                    <a:rect l="0" t="0" r="r" b="b"/>
                    <a:pathLst>
                      <a:path w="354" h="257">
                        <a:moveTo>
                          <a:pt x="39" y="233"/>
                        </a:moveTo>
                        <a:cubicBezTo>
                          <a:pt x="93" y="233"/>
                          <a:pt x="133" y="229"/>
                          <a:pt x="179" y="201"/>
                        </a:cubicBezTo>
                        <a:cubicBezTo>
                          <a:pt x="210" y="182"/>
                          <a:pt x="274" y="175"/>
                          <a:pt x="271" y="132"/>
                        </a:cubicBezTo>
                        <a:cubicBezTo>
                          <a:pt x="267" y="131"/>
                          <a:pt x="263" y="132"/>
                          <a:pt x="259" y="131"/>
                        </a:cubicBezTo>
                        <a:cubicBezTo>
                          <a:pt x="257" y="108"/>
                          <a:pt x="354" y="52"/>
                          <a:pt x="329" y="23"/>
                        </a:cubicBezTo>
                        <a:cubicBezTo>
                          <a:pt x="310" y="0"/>
                          <a:pt x="240" y="96"/>
                          <a:pt x="230" y="112"/>
                        </a:cubicBezTo>
                        <a:cubicBezTo>
                          <a:pt x="199" y="158"/>
                          <a:pt x="149" y="179"/>
                          <a:pt x="98" y="195"/>
                        </a:cubicBezTo>
                        <a:cubicBezTo>
                          <a:pt x="80" y="201"/>
                          <a:pt x="40" y="205"/>
                          <a:pt x="27" y="217"/>
                        </a:cubicBezTo>
                        <a:cubicBezTo>
                          <a:pt x="0" y="241"/>
                          <a:pt x="21" y="257"/>
                          <a:pt x="52" y="2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5" name="Freeform 90"/>
                  <p:cNvSpPr>
                    <a:spLocks/>
                  </p:cNvSpPr>
                  <p:nvPr/>
                </p:nvSpPr>
                <p:spPr bwMode="gray">
                  <a:xfrm>
                    <a:off x="-3046413" y="-11569700"/>
                    <a:ext cx="4418013" cy="12044363"/>
                  </a:xfrm>
                  <a:custGeom>
                    <a:avLst/>
                    <a:gdLst/>
                    <a:ahLst/>
                    <a:cxnLst>
                      <a:cxn ang="0">
                        <a:pos x="55" y="151"/>
                      </a:cxn>
                      <a:cxn ang="0">
                        <a:pos x="78" y="281"/>
                      </a:cxn>
                      <a:cxn ang="0">
                        <a:pos x="37" y="382"/>
                      </a:cxn>
                      <a:cxn ang="0">
                        <a:pos x="33" y="686"/>
                      </a:cxn>
                      <a:cxn ang="0">
                        <a:pos x="72" y="1082"/>
                      </a:cxn>
                      <a:cxn ang="0">
                        <a:pos x="100" y="1473"/>
                      </a:cxn>
                      <a:cxn ang="0">
                        <a:pos x="203" y="2087"/>
                      </a:cxn>
                      <a:cxn ang="0">
                        <a:pos x="268" y="2377"/>
                      </a:cxn>
                      <a:cxn ang="0">
                        <a:pos x="331" y="2676"/>
                      </a:cxn>
                      <a:cxn ang="0">
                        <a:pos x="331" y="2712"/>
                      </a:cxn>
                      <a:cxn ang="0">
                        <a:pos x="360" y="2865"/>
                      </a:cxn>
                      <a:cxn ang="0">
                        <a:pos x="398" y="3028"/>
                      </a:cxn>
                      <a:cxn ang="0">
                        <a:pos x="465" y="3046"/>
                      </a:cxn>
                      <a:cxn ang="0">
                        <a:pos x="551" y="3097"/>
                      </a:cxn>
                      <a:cxn ang="0">
                        <a:pos x="746" y="3164"/>
                      </a:cxn>
                      <a:cxn ang="0">
                        <a:pos x="765" y="2895"/>
                      </a:cxn>
                      <a:cxn ang="0">
                        <a:pos x="699" y="2595"/>
                      </a:cxn>
                      <a:cxn ang="0">
                        <a:pos x="664" y="2318"/>
                      </a:cxn>
                      <a:cxn ang="0">
                        <a:pos x="668" y="2009"/>
                      </a:cxn>
                      <a:cxn ang="0">
                        <a:pos x="635" y="1824"/>
                      </a:cxn>
                      <a:cxn ang="0">
                        <a:pos x="658" y="1638"/>
                      </a:cxn>
                      <a:cxn ang="0">
                        <a:pos x="613" y="1458"/>
                      </a:cxn>
                      <a:cxn ang="0">
                        <a:pos x="614" y="1261"/>
                      </a:cxn>
                      <a:cxn ang="0">
                        <a:pos x="681" y="1356"/>
                      </a:cxn>
                      <a:cxn ang="0">
                        <a:pos x="699" y="1501"/>
                      </a:cxn>
                      <a:cxn ang="0">
                        <a:pos x="742" y="1767"/>
                      </a:cxn>
                      <a:cxn ang="0">
                        <a:pos x="709" y="2110"/>
                      </a:cxn>
                      <a:cxn ang="0">
                        <a:pos x="720" y="2437"/>
                      </a:cxn>
                      <a:cxn ang="0">
                        <a:pos x="708" y="2657"/>
                      </a:cxn>
                      <a:cxn ang="0">
                        <a:pos x="681" y="2858"/>
                      </a:cxn>
                      <a:cxn ang="0">
                        <a:pos x="761" y="3062"/>
                      </a:cxn>
                      <a:cxn ang="0">
                        <a:pos x="888" y="3206"/>
                      </a:cxn>
                      <a:cxn ang="0">
                        <a:pos x="1108" y="3109"/>
                      </a:cxn>
                      <a:cxn ang="0">
                        <a:pos x="1125" y="2843"/>
                      </a:cxn>
                      <a:cxn ang="0">
                        <a:pos x="1125" y="2765"/>
                      </a:cxn>
                      <a:cxn ang="0">
                        <a:pos x="1108" y="2702"/>
                      </a:cxn>
                      <a:cxn ang="0">
                        <a:pos x="1148" y="2578"/>
                      </a:cxn>
                      <a:cxn ang="0">
                        <a:pos x="1148" y="2229"/>
                      </a:cxn>
                      <a:cxn ang="0">
                        <a:pos x="1153" y="2071"/>
                      </a:cxn>
                      <a:cxn ang="0">
                        <a:pos x="1125" y="1914"/>
                      </a:cxn>
                      <a:cxn ang="0">
                        <a:pos x="1148" y="1587"/>
                      </a:cxn>
                      <a:cxn ang="0">
                        <a:pos x="1142" y="1282"/>
                      </a:cxn>
                      <a:cxn ang="0">
                        <a:pos x="1153" y="1092"/>
                      </a:cxn>
                      <a:cxn ang="0">
                        <a:pos x="1125" y="911"/>
                      </a:cxn>
                      <a:cxn ang="0">
                        <a:pos x="1107" y="541"/>
                      </a:cxn>
                      <a:cxn ang="0">
                        <a:pos x="1024" y="168"/>
                      </a:cxn>
                      <a:cxn ang="0">
                        <a:pos x="731" y="17"/>
                      </a:cxn>
                      <a:cxn ang="0">
                        <a:pos x="152" y="79"/>
                      </a:cxn>
                      <a:cxn ang="0">
                        <a:pos x="72" y="151"/>
                      </a:cxn>
                    </a:cxnLst>
                    <a:rect l="0" t="0" r="r" b="b"/>
                    <a:pathLst>
                      <a:path w="1178" h="3212">
                        <a:moveTo>
                          <a:pt x="55" y="151"/>
                        </a:moveTo>
                        <a:cubicBezTo>
                          <a:pt x="49" y="196"/>
                          <a:pt x="81" y="231"/>
                          <a:pt x="78" y="281"/>
                        </a:cubicBezTo>
                        <a:cubicBezTo>
                          <a:pt x="75" y="326"/>
                          <a:pt x="52" y="346"/>
                          <a:pt x="37" y="382"/>
                        </a:cubicBezTo>
                        <a:cubicBezTo>
                          <a:pt x="0" y="468"/>
                          <a:pt x="24" y="594"/>
                          <a:pt x="33" y="686"/>
                        </a:cubicBezTo>
                        <a:cubicBezTo>
                          <a:pt x="45" y="819"/>
                          <a:pt x="58" y="950"/>
                          <a:pt x="72" y="1082"/>
                        </a:cubicBezTo>
                        <a:cubicBezTo>
                          <a:pt x="86" y="1213"/>
                          <a:pt x="107" y="1338"/>
                          <a:pt x="100" y="1473"/>
                        </a:cubicBezTo>
                        <a:cubicBezTo>
                          <a:pt x="90" y="1687"/>
                          <a:pt x="167" y="1885"/>
                          <a:pt x="203" y="2087"/>
                        </a:cubicBezTo>
                        <a:cubicBezTo>
                          <a:pt x="221" y="2184"/>
                          <a:pt x="253" y="2275"/>
                          <a:pt x="268" y="2377"/>
                        </a:cubicBezTo>
                        <a:cubicBezTo>
                          <a:pt x="282" y="2471"/>
                          <a:pt x="342" y="2574"/>
                          <a:pt x="331" y="2676"/>
                        </a:cubicBezTo>
                        <a:cubicBezTo>
                          <a:pt x="330" y="2688"/>
                          <a:pt x="331" y="2700"/>
                          <a:pt x="331" y="2712"/>
                        </a:cubicBezTo>
                        <a:cubicBezTo>
                          <a:pt x="268" y="2741"/>
                          <a:pt x="351" y="2832"/>
                          <a:pt x="360" y="2865"/>
                        </a:cubicBezTo>
                        <a:cubicBezTo>
                          <a:pt x="375" y="2925"/>
                          <a:pt x="339" y="2982"/>
                          <a:pt x="398" y="3028"/>
                        </a:cubicBezTo>
                        <a:cubicBezTo>
                          <a:pt x="420" y="3045"/>
                          <a:pt x="440" y="3037"/>
                          <a:pt x="465" y="3046"/>
                        </a:cubicBezTo>
                        <a:cubicBezTo>
                          <a:pt x="487" y="3054"/>
                          <a:pt x="527" y="3085"/>
                          <a:pt x="551" y="3097"/>
                        </a:cubicBezTo>
                        <a:cubicBezTo>
                          <a:pt x="609" y="3126"/>
                          <a:pt x="681" y="3156"/>
                          <a:pt x="746" y="3164"/>
                        </a:cubicBezTo>
                        <a:cubicBezTo>
                          <a:pt x="725" y="3072"/>
                          <a:pt x="773" y="2987"/>
                          <a:pt x="765" y="2895"/>
                        </a:cubicBezTo>
                        <a:cubicBezTo>
                          <a:pt x="757" y="2795"/>
                          <a:pt x="726" y="2690"/>
                          <a:pt x="699" y="2595"/>
                        </a:cubicBezTo>
                        <a:cubicBezTo>
                          <a:pt x="673" y="2503"/>
                          <a:pt x="654" y="2417"/>
                          <a:pt x="664" y="2318"/>
                        </a:cubicBezTo>
                        <a:cubicBezTo>
                          <a:pt x="673" y="2225"/>
                          <a:pt x="695" y="2102"/>
                          <a:pt x="668" y="2009"/>
                        </a:cubicBezTo>
                        <a:cubicBezTo>
                          <a:pt x="650" y="1949"/>
                          <a:pt x="625" y="1893"/>
                          <a:pt x="635" y="1824"/>
                        </a:cubicBezTo>
                        <a:cubicBezTo>
                          <a:pt x="646" y="1757"/>
                          <a:pt x="672" y="1710"/>
                          <a:pt x="658" y="1638"/>
                        </a:cubicBezTo>
                        <a:cubicBezTo>
                          <a:pt x="645" y="1572"/>
                          <a:pt x="613" y="1532"/>
                          <a:pt x="613" y="1458"/>
                        </a:cubicBezTo>
                        <a:cubicBezTo>
                          <a:pt x="613" y="1392"/>
                          <a:pt x="610" y="1326"/>
                          <a:pt x="614" y="1261"/>
                        </a:cubicBezTo>
                        <a:cubicBezTo>
                          <a:pt x="645" y="1296"/>
                          <a:pt x="669" y="1309"/>
                          <a:pt x="681" y="1356"/>
                        </a:cubicBezTo>
                        <a:cubicBezTo>
                          <a:pt x="693" y="1402"/>
                          <a:pt x="692" y="1455"/>
                          <a:pt x="699" y="1501"/>
                        </a:cubicBezTo>
                        <a:cubicBezTo>
                          <a:pt x="712" y="1593"/>
                          <a:pt x="742" y="1668"/>
                          <a:pt x="742" y="1767"/>
                        </a:cubicBezTo>
                        <a:cubicBezTo>
                          <a:pt x="742" y="1887"/>
                          <a:pt x="727" y="1996"/>
                          <a:pt x="709" y="2110"/>
                        </a:cubicBezTo>
                        <a:cubicBezTo>
                          <a:pt x="692" y="2218"/>
                          <a:pt x="720" y="2327"/>
                          <a:pt x="720" y="2437"/>
                        </a:cubicBezTo>
                        <a:cubicBezTo>
                          <a:pt x="720" y="2509"/>
                          <a:pt x="719" y="2585"/>
                          <a:pt x="708" y="2657"/>
                        </a:cubicBezTo>
                        <a:cubicBezTo>
                          <a:pt x="698" y="2726"/>
                          <a:pt x="676" y="2784"/>
                          <a:pt x="681" y="2858"/>
                        </a:cubicBezTo>
                        <a:cubicBezTo>
                          <a:pt x="685" y="2936"/>
                          <a:pt x="733" y="2993"/>
                          <a:pt x="761" y="3062"/>
                        </a:cubicBezTo>
                        <a:cubicBezTo>
                          <a:pt x="779" y="3106"/>
                          <a:pt x="832" y="3212"/>
                          <a:pt x="888" y="3206"/>
                        </a:cubicBezTo>
                        <a:cubicBezTo>
                          <a:pt x="920" y="3108"/>
                          <a:pt x="1051" y="3169"/>
                          <a:pt x="1108" y="3109"/>
                        </a:cubicBezTo>
                        <a:cubicBezTo>
                          <a:pt x="1178" y="3035"/>
                          <a:pt x="1133" y="2934"/>
                          <a:pt x="1125" y="2843"/>
                        </a:cubicBezTo>
                        <a:cubicBezTo>
                          <a:pt x="1123" y="2817"/>
                          <a:pt x="1129" y="2790"/>
                          <a:pt x="1125" y="2765"/>
                        </a:cubicBezTo>
                        <a:cubicBezTo>
                          <a:pt x="1122" y="2744"/>
                          <a:pt x="1107" y="2723"/>
                          <a:pt x="1108" y="2702"/>
                        </a:cubicBezTo>
                        <a:cubicBezTo>
                          <a:pt x="1111" y="2665"/>
                          <a:pt x="1139" y="2616"/>
                          <a:pt x="1148" y="2578"/>
                        </a:cubicBezTo>
                        <a:cubicBezTo>
                          <a:pt x="1175" y="2463"/>
                          <a:pt x="1153" y="2350"/>
                          <a:pt x="1148" y="2229"/>
                        </a:cubicBezTo>
                        <a:cubicBezTo>
                          <a:pt x="1145" y="2175"/>
                          <a:pt x="1151" y="2124"/>
                          <a:pt x="1153" y="2071"/>
                        </a:cubicBezTo>
                        <a:cubicBezTo>
                          <a:pt x="1156" y="2014"/>
                          <a:pt x="1131" y="1968"/>
                          <a:pt x="1125" y="1914"/>
                        </a:cubicBezTo>
                        <a:cubicBezTo>
                          <a:pt x="1112" y="1802"/>
                          <a:pt x="1143" y="1694"/>
                          <a:pt x="1148" y="1587"/>
                        </a:cubicBezTo>
                        <a:cubicBezTo>
                          <a:pt x="1153" y="1484"/>
                          <a:pt x="1137" y="1386"/>
                          <a:pt x="1142" y="1282"/>
                        </a:cubicBezTo>
                        <a:cubicBezTo>
                          <a:pt x="1145" y="1218"/>
                          <a:pt x="1154" y="1157"/>
                          <a:pt x="1153" y="1092"/>
                        </a:cubicBezTo>
                        <a:cubicBezTo>
                          <a:pt x="1153" y="1028"/>
                          <a:pt x="1131" y="969"/>
                          <a:pt x="1125" y="911"/>
                        </a:cubicBezTo>
                        <a:cubicBezTo>
                          <a:pt x="1114" y="786"/>
                          <a:pt x="1151" y="664"/>
                          <a:pt x="1107" y="541"/>
                        </a:cubicBezTo>
                        <a:cubicBezTo>
                          <a:pt x="1063" y="418"/>
                          <a:pt x="1051" y="297"/>
                          <a:pt x="1024" y="168"/>
                        </a:cubicBezTo>
                        <a:cubicBezTo>
                          <a:pt x="1000" y="52"/>
                          <a:pt x="839" y="26"/>
                          <a:pt x="731" y="17"/>
                        </a:cubicBezTo>
                        <a:cubicBezTo>
                          <a:pt x="534" y="0"/>
                          <a:pt x="335" y="29"/>
                          <a:pt x="152" y="79"/>
                        </a:cubicBezTo>
                        <a:cubicBezTo>
                          <a:pt x="146" y="114"/>
                          <a:pt x="107" y="143"/>
                          <a:pt x="72" y="15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6" name="Freeform 91"/>
                  <p:cNvSpPr>
                    <a:spLocks/>
                  </p:cNvSpPr>
                  <p:nvPr/>
                </p:nvSpPr>
                <p:spPr bwMode="gray">
                  <a:xfrm>
                    <a:off x="-2055813" y="-18129250"/>
                    <a:ext cx="1924050" cy="2647950"/>
                  </a:xfrm>
                  <a:custGeom>
                    <a:avLst/>
                    <a:gdLst/>
                    <a:ahLst/>
                    <a:cxnLst>
                      <a:cxn ang="0">
                        <a:pos x="122" y="205"/>
                      </a:cxn>
                      <a:cxn ang="0">
                        <a:pos x="141" y="437"/>
                      </a:cxn>
                      <a:cxn ang="0">
                        <a:pos x="214" y="683"/>
                      </a:cxn>
                      <a:cxn ang="0">
                        <a:pos x="488" y="510"/>
                      </a:cxn>
                      <a:cxn ang="0">
                        <a:pos x="407" y="124"/>
                      </a:cxn>
                      <a:cxn ang="0">
                        <a:pos x="143" y="184"/>
                      </a:cxn>
                    </a:cxnLst>
                    <a:rect l="0" t="0" r="r" b="b"/>
                    <a:pathLst>
                      <a:path w="513" h="706">
                        <a:moveTo>
                          <a:pt x="122" y="205"/>
                        </a:moveTo>
                        <a:cubicBezTo>
                          <a:pt x="137" y="280"/>
                          <a:pt x="146" y="354"/>
                          <a:pt x="141" y="437"/>
                        </a:cubicBezTo>
                        <a:cubicBezTo>
                          <a:pt x="0" y="522"/>
                          <a:pt x="74" y="660"/>
                          <a:pt x="214" y="683"/>
                        </a:cubicBezTo>
                        <a:cubicBezTo>
                          <a:pt x="351" y="706"/>
                          <a:pt x="455" y="646"/>
                          <a:pt x="488" y="510"/>
                        </a:cubicBezTo>
                        <a:cubicBezTo>
                          <a:pt x="513" y="407"/>
                          <a:pt x="455" y="214"/>
                          <a:pt x="407" y="124"/>
                        </a:cubicBezTo>
                        <a:cubicBezTo>
                          <a:pt x="342" y="0"/>
                          <a:pt x="146" y="43"/>
                          <a:pt x="143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7" name="Freeform 92"/>
                  <p:cNvSpPr>
                    <a:spLocks/>
                  </p:cNvSpPr>
                  <p:nvPr/>
                </p:nvSpPr>
                <p:spPr bwMode="gray">
                  <a:xfrm>
                    <a:off x="-409575" y="-17097375"/>
                    <a:ext cx="157163" cy="258763"/>
                  </a:xfrm>
                  <a:custGeom>
                    <a:avLst/>
                    <a:gdLst/>
                    <a:ahLst/>
                    <a:cxnLst>
                      <a:cxn ang="0">
                        <a:pos x="20" y="45"/>
                      </a:cxn>
                      <a:cxn ang="0">
                        <a:pos x="42" y="69"/>
                      </a:cxn>
                      <a:cxn ang="0">
                        <a:pos x="37" y="42"/>
                      </a:cxn>
                      <a:cxn ang="0">
                        <a:pos x="26" y="12"/>
                      </a:cxn>
                      <a:cxn ang="0">
                        <a:pos x="14" y="4"/>
                      </a:cxn>
                      <a:cxn ang="0">
                        <a:pos x="5" y="17"/>
                      </a:cxn>
                      <a:cxn ang="0">
                        <a:pos x="18" y="45"/>
                      </a:cxn>
                    </a:cxnLst>
                    <a:rect l="0" t="0" r="r" b="b"/>
                    <a:pathLst>
                      <a:path w="42" h="69">
                        <a:moveTo>
                          <a:pt x="20" y="45"/>
                        </a:moveTo>
                        <a:cubicBezTo>
                          <a:pt x="26" y="51"/>
                          <a:pt x="34" y="66"/>
                          <a:pt x="42" y="69"/>
                        </a:cubicBezTo>
                        <a:cubicBezTo>
                          <a:pt x="42" y="59"/>
                          <a:pt x="39" y="51"/>
                          <a:pt x="37" y="42"/>
                        </a:cubicBezTo>
                        <a:cubicBezTo>
                          <a:pt x="34" y="29"/>
                          <a:pt x="30" y="22"/>
                          <a:pt x="26" y="12"/>
                        </a:cubicBezTo>
                        <a:cubicBezTo>
                          <a:pt x="22" y="5"/>
                          <a:pt x="22" y="0"/>
                          <a:pt x="14" y="4"/>
                        </a:cubicBezTo>
                        <a:cubicBezTo>
                          <a:pt x="11" y="5"/>
                          <a:pt x="6" y="14"/>
                          <a:pt x="5" y="17"/>
                        </a:cubicBezTo>
                        <a:cubicBezTo>
                          <a:pt x="0" y="32"/>
                          <a:pt x="16" y="37"/>
                          <a:pt x="18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8" name="Freeform 93"/>
                  <p:cNvSpPr>
                    <a:spLocks/>
                  </p:cNvSpPr>
                  <p:nvPr/>
                </p:nvSpPr>
                <p:spPr bwMode="gray">
                  <a:xfrm>
                    <a:off x="-1587500" y="-17067212"/>
                    <a:ext cx="1296988" cy="76835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3" y="45"/>
                      </a:cxn>
                      <a:cxn ang="0">
                        <a:pos x="45" y="97"/>
                      </a:cxn>
                      <a:cxn ang="0">
                        <a:pos x="125" y="177"/>
                      </a:cxn>
                      <a:cxn ang="0">
                        <a:pos x="246" y="190"/>
                      </a:cxn>
                      <a:cxn ang="0">
                        <a:pos x="346" y="14"/>
                      </a:cxn>
                    </a:cxnLst>
                    <a:rect l="0" t="0" r="r" b="b"/>
                    <a:pathLst>
                      <a:path w="346" h="205">
                        <a:moveTo>
                          <a:pt x="0" y="0"/>
                        </a:moveTo>
                        <a:cubicBezTo>
                          <a:pt x="7" y="19"/>
                          <a:pt x="13" y="29"/>
                          <a:pt x="23" y="45"/>
                        </a:cubicBezTo>
                        <a:cubicBezTo>
                          <a:pt x="33" y="62"/>
                          <a:pt x="33" y="82"/>
                          <a:pt x="45" y="97"/>
                        </a:cubicBezTo>
                        <a:cubicBezTo>
                          <a:pt x="70" y="127"/>
                          <a:pt x="87" y="157"/>
                          <a:pt x="125" y="177"/>
                        </a:cubicBezTo>
                        <a:cubicBezTo>
                          <a:pt x="150" y="191"/>
                          <a:pt x="216" y="205"/>
                          <a:pt x="246" y="190"/>
                        </a:cubicBezTo>
                        <a:cubicBezTo>
                          <a:pt x="303" y="163"/>
                          <a:pt x="346" y="38"/>
                          <a:pt x="346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69" name="Freeform 94"/>
                  <p:cNvSpPr>
                    <a:spLocks/>
                  </p:cNvSpPr>
                  <p:nvPr/>
                </p:nvSpPr>
                <p:spPr bwMode="gray">
                  <a:xfrm>
                    <a:off x="-2055813" y="-19629437"/>
                    <a:ext cx="2047875" cy="3203575"/>
                  </a:xfrm>
                  <a:custGeom>
                    <a:avLst/>
                    <a:gdLst/>
                    <a:ahLst/>
                    <a:cxnLst>
                      <a:cxn ang="0">
                        <a:pos x="48" y="367"/>
                      </a:cxn>
                      <a:cxn ang="0">
                        <a:pos x="1" y="422"/>
                      </a:cxn>
                      <a:cxn ang="0">
                        <a:pos x="43" y="495"/>
                      </a:cxn>
                      <a:cxn ang="0">
                        <a:pos x="63" y="525"/>
                      </a:cxn>
                      <a:cxn ang="0">
                        <a:pos x="76" y="578"/>
                      </a:cxn>
                      <a:cxn ang="0">
                        <a:pos x="132" y="702"/>
                      </a:cxn>
                      <a:cxn ang="0">
                        <a:pos x="171" y="746"/>
                      </a:cxn>
                      <a:cxn ang="0">
                        <a:pos x="251" y="827"/>
                      </a:cxn>
                      <a:cxn ang="0">
                        <a:pos x="372" y="840"/>
                      </a:cxn>
                      <a:cxn ang="0">
                        <a:pos x="473" y="692"/>
                      </a:cxn>
                      <a:cxn ang="0">
                        <a:pos x="511" y="599"/>
                      </a:cxn>
                      <a:cxn ang="0">
                        <a:pos x="529" y="410"/>
                      </a:cxn>
                      <a:cxn ang="0">
                        <a:pos x="372" y="60"/>
                      </a:cxn>
                      <a:cxn ang="0">
                        <a:pos x="112" y="89"/>
                      </a:cxn>
                      <a:cxn ang="0">
                        <a:pos x="40" y="216"/>
                      </a:cxn>
                      <a:cxn ang="0">
                        <a:pos x="48" y="367"/>
                      </a:cxn>
                    </a:cxnLst>
                    <a:rect l="0" t="0" r="r" b="b"/>
                    <a:pathLst>
                      <a:path w="546" h="854">
                        <a:moveTo>
                          <a:pt x="48" y="367"/>
                        </a:moveTo>
                        <a:cubicBezTo>
                          <a:pt x="6" y="358"/>
                          <a:pt x="2" y="391"/>
                          <a:pt x="1" y="422"/>
                        </a:cubicBezTo>
                        <a:cubicBezTo>
                          <a:pt x="0" y="467"/>
                          <a:pt x="17" y="469"/>
                          <a:pt x="43" y="495"/>
                        </a:cubicBezTo>
                        <a:cubicBezTo>
                          <a:pt x="51" y="503"/>
                          <a:pt x="54" y="517"/>
                          <a:pt x="63" y="525"/>
                        </a:cubicBezTo>
                        <a:cubicBezTo>
                          <a:pt x="75" y="534"/>
                          <a:pt x="67" y="564"/>
                          <a:pt x="76" y="578"/>
                        </a:cubicBezTo>
                        <a:cubicBezTo>
                          <a:pt x="92" y="600"/>
                          <a:pt x="122" y="686"/>
                          <a:pt x="132" y="702"/>
                        </a:cubicBezTo>
                        <a:cubicBezTo>
                          <a:pt x="142" y="719"/>
                          <a:pt x="159" y="731"/>
                          <a:pt x="171" y="746"/>
                        </a:cubicBezTo>
                        <a:cubicBezTo>
                          <a:pt x="196" y="777"/>
                          <a:pt x="213" y="806"/>
                          <a:pt x="251" y="827"/>
                        </a:cubicBezTo>
                        <a:cubicBezTo>
                          <a:pt x="277" y="840"/>
                          <a:pt x="342" y="854"/>
                          <a:pt x="372" y="840"/>
                        </a:cubicBezTo>
                        <a:cubicBezTo>
                          <a:pt x="400" y="826"/>
                          <a:pt x="464" y="716"/>
                          <a:pt x="473" y="692"/>
                        </a:cubicBezTo>
                        <a:cubicBezTo>
                          <a:pt x="485" y="660"/>
                          <a:pt x="498" y="628"/>
                          <a:pt x="511" y="599"/>
                        </a:cubicBezTo>
                        <a:cubicBezTo>
                          <a:pt x="537" y="542"/>
                          <a:pt x="521" y="470"/>
                          <a:pt x="529" y="410"/>
                        </a:cubicBezTo>
                        <a:cubicBezTo>
                          <a:pt x="546" y="285"/>
                          <a:pt x="466" y="132"/>
                          <a:pt x="372" y="60"/>
                        </a:cubicBezTo>
                        <a:cubicBezTo>
                          <a:pt x="294" y="0"/>
                          <a:pt x="170" y="12"/>
                          <a:pt x="112" y="89"/>
                        </a:cubicBezTo>
                        <a:cubicBezTo>
                          <a:pt x="88" y="120"/>
                          <a:pt x="55" y="179"/>
                          <a:pt x="40" y="216"/>
                        </a:cubicBezTo>
                        <a:cubicBezTo>
                          <a:pt x="28" y="248"/>
                          <a:pt x="1" y="298"/>
                          <a:pt x="48" y="3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0" name="Freeform 95"/>
                  <p:cNvSpPr>
                    <a:spLocks/>
                  </p:cNvSpPr>
                  <p:nvPr/>
                </p:nvSpPr>
                <p:spPr bwMode="gray">
                  <a:xfrm>
                    <a:off x="-3870325" y="-16865596"/>
                    <a:ext cx="5691179" cy="6361109"/>
                  </a:xfrm>
                  <a:custGeom>
                    <a:avLst/>
                    <a:gdLst/>
                    <a:ahLst/>
                    <a:cxnLst>
                      <a:cxn ang="0">
                        <a:pos x="568" y="110"/>
                      </a:cxn>
                      <a:cxn ang="0">
                        <a:pos x="365" y="239"/>
                      </a:cxn>
                      <a:cxn ang="0">
                        <a:pos x="185" y="357"/>
                      </a:cxn>
                      <a:cxn ang="0">
                        <a:pos x="67" y="567"/>
                      </a:cxn>
                      <a:cxn ang="0">
                        <a:pos x="74" y="680"/>
                      </a:cxn>
                      <a:cxn ang="0">
                        <a:pos x="62" y="820"/>
                      </a:cxn>
                      <a:cxn ang="0">
                        <a:pos x="5" y="1011"/>
                      </a:cxn>
                      <a:cxn ang="0">
                        <a:pos x="16" y="1237"/>
                      </a:cxn>
                      <a:cxn ang="0">
                        <a:pos x="101" y="1406"/>
                      </a:cxn>
                      <a:cxn ang="0">
                        <a:pos x="264" y="1417"/>
                      </a:cxn>
                      <a:cxn ang="0">
                        <a:pos x="276" y="1591"/>
                      </a:cxn>
                      <a:cxn ang="0">
                        <a:pos x="731" y="1681"/>
                      </a:cxn>
                      <a:cxn ang="0">
                        <a:pos x="968" y="1655"/>
                      </a:cxn>
                      <a:cxn ang="0">
                        <a:pos x="1154" y="1631"/>
                      </a:cxn>
                      <a:cxn ang="0">
                        <a:pos x="1283" y="1569"/>
                      </a:cxn>
                      <a:cxn ang="0">
                        <a:pos x="1447" y="1147"/>
                      </a:cxn>
                      <a:cxn ang="0">
                        <a:pos x="1509" y="617"/>
                      </a:cxn>
                      <a:cxn ang="0">
                        <a:pos x="1492" y="398"/>
                      </a:cxn>
                      <a:cxn ang="0">
                        <a:pos x="1417" y="202"/>
                      </a:cxn>
                      <a:cxn ang="0">
                        <a:pos x="1014" y="53"/>
                      </a:cxn>
                      <a:cxn ang="0">
                        <a:pos x="745" y="222"/>
                      </a:cxn>
                      <a:cxn ang="0">
                        <a:pos x="608" y="70"/>
                      </a:cxn>
                      <a:cxn ang="0">
                        <a:pos x="535" y="133"/>
                      </a:cxn>
                    </a:cxnLst>
                    <a:rect l="0" t="0" r="r" b="b"/>
                    <a:pathLst>
                      <a:path w="1518" h="1696">
                        <a:moveTo>
                          <a:pt x="568" y="110"/>
                        </a:moveTo>
                        <a:cubicBezTo>
                          <a:pt x="491" y="130"/>
                          <a:pt x="436" y="199"/>
                          <a:pt x="365" y="239"/>
                        </a:cubicBezTo>
                        <a:cubicBezTo>
                          <a:pt x="303" y="273"/>
                          <a:pt x="246" y="311"/>
                          <a:pt x="185" y="357"/>
                        </a:cubicBezTo>
                        <a:cubicBezTo>
                          <a:pt x="127" y="401"/>
                          <a:pt x="49" y="492"/>
                          <a:pt x="67" y="567"/>
                        </a:cubicBezTo>
                        <a:cubicBezTo>
                          <a:pt x="79" y="619"/>
                          <a:pt x="85" y="626"/>
                          <a:pt x="74" y="680"/>
                        </a:cubicBezTo>
                        <a:cubicBezTo>
                          <a:pt x="65" y="726"/>
                          <a:pt x="69" y="773"/>
                          <a:pt x="62" y="820"/>
                        </a:cubicBezTo>
                        <a:cubicBezTo>
                          <a:pt x="52" y="884"/>
                          <a:pt x="11" y="945"/>
                          <a:pt x="5" y="1011"/>
                        </a:cubicBezTo>
                        <a:cubicBezTo>
                          <a:pt x="0" y="1079"/>
                          <a:pt x="9" y="1168"/>
                          <a:pt x="16" y="1237"/>
                        </a:cubicBezTo>
                        <a:cubicBezTo>
                          <a:pt x="22" y="1288"/>
                          <a:pt x="46" y="1388"/>
                          <a:pt x="101" y="1406"/>
                        </a:cubicBezTo>
                        <a:cubicBezTo>
                          <a:pt x="173" y="1429"/>
                          <a:pt x="202" y="1362"/>
                          <a:pt x="264" y="1417"/>
                        </a:cubicBezTo>
                        <a:cubicBezTo>
                          <a:pt x="255" y="1448"/>
                          <a:pt x="169" y="1479"/>
                          <a:pt x="276" y="1591"/>
                        </a:cubicBezTo>
                        <a:cubicBezTo>
                          <a:pt x="319" y="1637"/>
                          <a:pt x="670" y="1696"/>
                          <a:pt x="731" y="1681"/>
                        </a:cubicBezTo>
                        <a:cubicBezTo>
                          <a:pt x="804" y="1663"/>
                          <a:pt x="915" y="1665"/>
                          <a:pt x="968" y="1655"/>
                        </a:cubicBezTo>
                        <a:cubicBezTo>
                          <a:pt x="1014" y="1646"/>
                          <a:pt x="1154" y="1630"/>
                          <a:pt x="1154" y="1631"/>
                        </a:cubicBezTo>
                        <a:cubicBezTo>
                          <a:pt x="1151" y="1611"/>
                          <a:pt x="1278" y="1590"/>
                          <a:pt x="1283" y="1569"/>
                        </a:cubicBezTo>
                        <a:cubicBezTo>
                          <a:pt x="1362" y="1451"/>
                          <a:pt x="1355" y="1386"/>
                          <a:pt x="1447" y="1147"/>
                        </a:cubicBezTo>
                        <a:cubicBezTo>
                          <a:pt x="1509" y="985"/>
                          <a:pt x="1518" y="806"/>
                          <a:pt x="1509" y="617"/>
                        </a:cubicBezTo>
                        <a:cubicBezTo>
                          <a:pt x="1505" y="543"/>
                          <a:pt x="1492" y="476"/>
                          <a:pt x="1492" y="398"/>
                        </a:cubicBezTo>
                        <a:cubicBezTo>
                          <a:pt x="1492" y="311"/>
                          <a:pt x="1485" y="256"/>
                          <a:pt x="1417" y="202"/>
                        </a:cubicBezTo>
                        <a:cubicBezTo>
                          <a:pt x="1308" y="115"/>
                          <a:pt x="1156" y="67"/>
                          <a:pt x="1014" y="53"/>
                        </a:cubicBezTo>
                        <a:cubicBezTo>
                          <a:pt x="988" y="0"/>
                          <a:pt x="813" y="250"/>
                          <a:pt x="745" y="222"/>
                        </a:cubicBezTo>
                        <a:cubicBezTo>
                          <a:pt x="667" y="189"/>
                          <a:pt x="574" y="100"/>
                          <a:pt x="608" y="70"/>
                        </a:cubicBezTo>
                        <a:cubicBezTo>
                          <a:pt x="588" y="98"/>
                          <a:pt x="551" y="100"/>
                          <a:pt x="535" y="1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1" name="Freeform 96"/>
                  <p:cNvSpPr>
                    <a:spLocks/>
                  </p:cNvSpPr>
                  <p:nvPr/>
                </p:nvSpPr>
                <p:spPr bwMode="gray">
                  <a:xfrm>
                    <a:off x="-577850" y="-16665575"/>
                    <a:ext cx="1341438" cy="857250"/>
                  </a:xfrm>
                  <a:custGeom>
                    <a:avLst/>
                    <a:gdLst/>
                    <a:ahLst/>
                    <a:cxnLst>
                      <a:cxn ang="0">
                        <a:pos x="97" y="0"/>
                      </a:cxn>
                      <a:cxn ang="0">
                        <a:pos x="303" y="60"/>
                      </a:cxn>
                      <a:cxn ang="0">
                        <a:pos x="358" y="106"/>
                      </a:cxn>
                      <a:cxn ang="0">
                        <a:pos x="203" y="76"/>
                      </a:cxn>
                      <a:cxn ang="0">
                        <a:pos x="136" y="173"/>
                      </a:cxn>
                      <a:cxn ang="0">
                        <a:pos x="21" y="223"/>
                      </a:cxn>
                      <a:cxn ang="0">
                        <a:pos x="58" y="105"/>
                      </a:cxn>
                      <a:cxn ang="0">
                        <a:pos x="131" y="13"/>
                      </a:cxn>
                    </a:cxnLst>
                    <a:rect l="0" t="0" r="r" b="b"/>
                    <a:pathLst>
                      <a:path w="358" h="229">
                        <a:moveTo>
                          <a:pt x="97" y="0"/>
                        </a:moveTo>
                        <a:cubicBezTo>
                          <a:pt x="155" y="28"/>
                          <a:pt x="241" y="50"/>
                          <a:pt x="303" y="60"/>
                        </a:cubicBezTo>
                        <a:cubicBezTo>
                          <a:pt x="315" y="77"/>
                          <a:pt x="339" y="97"/>
                          <a:pt x="358" y="106"/>
                        </a:cubicBezTo>
                        <a:cubicBezTo>
                          <a:pt x="309" y="97"/>
                          <a:pt x="254" y="70"/>
                          <a:pt x="203" y="76"/>
                        </a:cubicBezTo>
                        <a:cubicBezTo>
                          <a:pt x="136" y="84"/>
                          <a:pt x="190" y="147"/>
                          <a:pt x="136" y="173"/>
                        </a:cubicBezTo>
                        <a:cubicBezTo>
                          <a:pt x="106" y="119"/>
                          <a:pt x="62" y="229"/>
                          <a:pt x="21" y="223"/>
                        </a:cubicBezTo>
                        <a:cubicBezTo>
                          <a:pt x="0" y="173"/>
                          <a:pt x="31" y="144"/>
                          <a:pt x="58" y="105"/>
                        </a:cubicBezTo>
                        <a:cubicBezTo>
                          <a:pt x="76" y="79"/>
                          <a:pt x="92" y="8"/>
                          <a:pt x="131" y="1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2" name="Freeform 97"/>
                  <p:cNvSpPr>
                    <a:spLocks/>
                  </p:cNvSpPr>
                  <p:nvPr/>
                </p:nvSpPr>
                <p:spPr bwMode="gray">
                  <a:xfrm>
                    <a:off x="-1238250" y="-13482637"/>
                    <a:ext cx="390525" cy="850900"/>
                  </a:xfrm>
                  <a:custGeom>
                    <a:avLst/>
                    <a:gdLst/>
                    <a:ahLst/>
                    <a:cxnLst>
                      <a:cxn ang="0">
                        <a:pos x="79" y="17"/>
                      </a:cxn>
                      <a:cxn ang="0">
                        <a:pos x="3" y="131"/>
                      </a:cxn>
                      <a:cxn ang="0">
                        <a:pos x="45" y="227"/>
                      </a:cxn>
                      <a:cxn ang="0">
                        <a:pos x="99" y="21"/>
                      </a:cxn>
                      <a:cxn ang="0">
                        <a:pos x="87" y="0"/>
                      </a:cxn>
                    </a:cxnLst>
                    <a:rect l="0" t="0" r="r" b="b"/>
                    <a:pathLst>
                      <a:path w="104" h="227">
                        <a:moveTo>
                          <a:pt x="79" y="17"/>
                        </a:moveTo>
                        <a:cubicBezTo>
                          <a:pt x="44" y="66"/>
                          <a:pt x="6" y="63"/>
                          <a:pt x="3" y="131"/>
                        </a:cubicBezTo>
                        <a:cubicBezTo>
                          <a:pt x="0" y="185"/>
                          <a:pt x="11" y="194"/>
                          <a:pt x="45" y="227"/>
                        </a:cubicBezTo>
                        <a:cubicBezTo>
                          <a:pt x="42" y="170"/>
                          <a:pt x="3" y="39"/>
                          <a:pt x="99" y="21"/>
                        </a:cubicBezTo>
                        <a:cubicBezTo>
                          <a:pt x="104" y="6"/>
                          <a:pt x="97" y="5"/>
                          <a:pt x="8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3" name="Freeform 98"/>
                  <p:cNvSpPr>
                    <a:spLocks/>
                  </p:cNvSpPr>
                  <p:nvPr/>
                </p:nvSpPr>
                <p:spPr bwMode="gray">
                  <a:xfrm>
                    <a:off x="-3536950" y="-14465300"/>
                    <a:ext cx="738188" cy="492125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197" y="131"/>
                      </a:cxn>
                      <a:cxn ang="0">
                        <a:pos x="84" y="73"/>
                      </a:cxn>
                      <a:cxn ang="0">
                        <a:pos x="12" y="5"/>
                      </a:cxn>
                      <a:cxn ang="0">
                        <a:pos x="41" y="5"/>
                      </a:cxn>
                    </a:cxnLst>
                    <a:rect l="0" t="0" r="r" b="b"/>
                    <a:pathLst>
                      <a:path w="197" h="131">
                        <a:moveTo>
                          <a:pt x="12" y="0"/>
                        </a:moveTo>
                        <a:cubicBezTo>
                          <a:pt x="72" y="19"/>
                          <a:pt x="176" y="59"/>
                          <a:pt x="197" y="131"/>
                        </a:cubicBezTo>
                        <a:cubicBezTo>
                          <a:pt x="156" y="116"/>
                          <a:pt x="123" y="90"/>
                          <a:pt x="84" y="73"/>
                        </a:cubicBezTo>
                        <a:cubicBezTo>
                          <a:pt x="54" y="61"/>
                          <a:pt x="0" y="51"/>
                          <a:pt x="12" y="5"/>
                        </a:cubicBezTo>
                        <a:cubicBezTo>
                          <a:pt x="21" y="4"/>
                          <a:pt x="33" y="2"/>
                          <a:pt x="41" y="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4" name="Freeform 99"/>
                  <p:cNvSpPr>
                    <a:spLocks/>
                  </p:cNvSpPr>
                  <p:nvPr/>
                </p:nvSpPr>
                <p:spPr bwMode="gray">
                  <a:xfrm>
                    <a:off x="-2806700" y="-10966450"/>
                    <a:ext cx="3787775" cy="825500"/>
                  </a:xfrm>
                  <a:custGeom>
                    <a:avLst/>
                    <a:gdLst/>
                    <a:ahLst/>
                    <a:cxnLst>
                      <a:cxn ang="0">
                        <a:pos x="37" y="13"/>
                      </a:cxn>
                      <a:cxn ang="0">
                        <a:pos x="132" y="45"/>
                      </a:cxn>
                      <a:cxn ang="0">
                        <a:pos x="245" y="69"/>
                      </a:cxn>
                      <a:cxn ang="0">
                        <a:pos x="470" y="86"/>
                      </a:cxn>
                      <a:cxn ang="0">
                        <a:pos x="735" y="69"/>
                      </a:cxn>
                      <a:cxn ang="0">
                        <a:pos x="976" y="37"/>
                      </a:cxn>
                      <a:cxn ang="0">
                        <a:pos x="986" y="148"/>
                      </a:cxn>
                      <a:cxn ang="0">
                        <a:pos x="842" y="187"/>
                      </a:cxn>
                      <a:cxn ang="0">
                        <a:pos x="577" y="215"/>
                      </a:cxn>
                      <a:cxn ang="0">
                        <a:pos x="311" y="194"/>
                      </a:cxn>
                      <a:cxn ang="0">
                        <a:pos x="183" y="159"/>
                      </a:cxn>
                      <a:cxn ang="0">
                        <a:pos x="29" y="121"/>
                      </a:cxn>
                      <a:cxn ang="0">
                        <a:pos x="14" y="120"/>
                      </a:cxn>
                      <a:cxn ang="0">
                        <a:pos x="3" y="24"/>
                      </a:cxn>
                    </a:cxnLst>
                    <a:rect l="0" t="0" r="r" b="b"/>
                    <a:pathLst>
                      <a:path w="1010" h="220">
                        <a:moveTo>
                          <a:pt x="37" y="13"/>
                        </a:moveTo>
                        <a:cubicBezTo>
                          <a:pt x="73" y="16"/>
                          <a:pt x="98" y="32"/>
                          <a:pt x="132" y="45"/>
                        </a:cubicBezTo>
                        <a:cubicBezTo>
                          <a:pt x="171" y="59"/>
                          <a:pt x="206" y="60"/>
                          <a:pt x="245" y="69"/>
                        </a:cubicBezTo>
                        <a:cubicBezTo>
                          <a:pt x="317" y="84"/>
                          <a:pt x="391" y="82"/>
                          <a:pt x="470" y="86"/>
                        </a:cubicBezTo>
                        <a:cubicBezTo>
                          <a:pt x="563" y="90"/>
                          <a:pt x="652" y="100"/>
                          <a:pt x="735" y="69"/>
                        </a:cubicBezTo>
                        <a:cubicBezTo>
                          <a:pt x="797" y="46"/>
                          <a:pt x="909" y="0"/>
                          <a:pt x="976" y="37"/>
                        </a:cubicBezTo>
                        <a:cubicBezTo>
                          <a:pt x="975" y="87"/>
                          <a:pt x="1010" y="114"/>
                          <a:pt x="986" y="148"/>
                        </a:cubicBezTo>
                        <a:cubicBezTo>
                          <a:pt x="970" y="172"/>
                          <a:pt x="869" y="180"/>
                          <a:pt x="842" y="187"/>
                        </a:cubicBezTo>
                        <a:cubicBezTo>
                          <a:pt x="756" y="211"/>
                          <a:pt x="672" y="215"/>
                          <a:pt x="577" y="215"/>
                        </a:cubicBezTo>
                        <a:cubicBezTo>
                          <a:pt x="485" y="215"/>
                          <a:pt x="395" y="220"/>
                          <a:pt x="311" y="194"/>
                        </a:cubicBezTo>
                        <a:cubicBezTo>
                          <a:pt x="267" y="180"/>
                          <a:pt x="226" y="169"/>
                          <a:pt x="183" y="159"/>
                        </a:cubicBezTo>
                        <a:cubicBezTo>
                          <a:pt x="140" y="150"/>
                          <a:pt x="67" y="141"/>
                          <a:pt x="29" y="121"/>
                        </a:cubicBezTo>
                        <a:cubicBezTo>
                          <a:pt x="18" y="115"/>
                          <a:pt x="26" y="124"/>
                          <a:pt x="14" y="120"/>
                        </a:cubicBezTo>
                        <a:cubicBezTo>
                          <a:pt x="9" y="91"/>
                          <a:pt x="0" y="52"/>
                          <a:pt x="3" y="2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5" name="Freeform 100"/>
                  <p:cNvSpPr>
                    <a:spLocks/>
                  </p:cNvSpPr>
                  <p:nvPr/>
                </p:nvSpPr>
                <p:spPr bwMode="gray">
                  <a:xfrm>
                    <a:off x="-1778000" y="-10768012"/>
                    <a:ext cx="884238" cy="638175"/>
                  </a:xfrm>
                  <a:custGeom>
                    <a:avLst/>
                    <a:gdLst/>
                    <a:ahLst/>
                    <a:cxnLst>
                      <a:cxn ang="0">
                        <a:pos x="32" y="131"/>
                      </a:cxn>
                      <a:cxn ang="0">
                        <a:pos x="170" y="141"/>
                      </a:cxn>
                      <a:cxn ang="0">
                        <a:pos x="184" y="39"/>
                      </a:cxn>
                      <a:cxn ang="0">
                        <a:pos x="137" y="26"/>
                      </a:cxn>
                      <a:cxn ang="0">
                        <a:pos x="206" y="20"/>
                      </a:cxn>
                      <a:cxn ang="0">
                        <a:pos x="198" y="152"/>
                      </a:cxn>
                      <a:cxn ang="0">
                        <a:pos x="156" y="168"/>
                      </a:cxn>
                      <a:cxn ang="0">
                        <a:pos x="13" y="151"/>
                      </a:cxn>
                      <a:cxn ang="0">
                        <a:pos x="12" y="40"/>
                      </a:cxn>
                      <a:cxn ang="0">
                        <a:pos x="156" y="13"/>
                      </a:cxn>
                      <a:cxn ang="0">
                        <a:pos x="141" y="37"/>
                      </a:cxn>
                      <a:cxn ang="0">
                        <a:pos x="37" y="61"/>
                      </a:cxn>
                    </a:cxnLst>
                    <a:rect l="0" t="0" r="r" b="b"/>
                    <a:pathLst>
                      <a:path w="236" h="170">
                        <a:moveTo>
                          <a:pt x="32" y="131"/>
                        </a:moveTo>
                        <a:cubicBezTo>
                          <a:pt x="61" y="144"/>
                          <a:pt x="154" y="156"/>
                          <a:pt x="170" y="141"/>
                        </a:cubicBezTo>
                        <a:cubicBezTo>
                          <a:pt x="171" y="124"/>
                          <a:pt x="186" y="58"/>
                          <a:pt x="184" y="39"/>
                        </a:cubicBezTo>
                        <a:cubicBezTo>
                          <a:pt x="164" y="29"/>
                          <a:pt x="137" y="52"/>
                          <a:pt x="137" y="26"/>
                        </a:cubicBezTo>
                        <a:cubicBezTo>
                          <a:pt x="137" y="2"/>
                          <a:pt x="198" y="20"/>
                          <a:pt x="206" y="20"/>
                        </a:cubicBezTo>
                        <a:cubicBezTo>
                          <a:pt x="236" y="20"/>
                          <a:pt x="202" y="124"/>
                          <a:pt x="198" y="152"/>
                        </a:cubicBezTo>
                        <a:cubicBezTo>
                          <a:pt x="195" y="170"/>
                          <a:pt x="180" y="166"/>
                          <a:pt x="156" y="168"/>
                        </a:cubicBezTo>
                        <a:cubicBezTo>
                          <a:pt x="123" y="169"/>
                          <a:pt x="46" y="162"/>
                          <a:pt x="13" y="151"/>
                        </a:cubicBezTo>
                        <a:cubicBezTo>
                          <a:pt x="0" y="147"/>
                          <a:pt x="2" y="88"/>
                          <a:pt x="12" y="40"/>
                        </a:cubicBezTo>
                        <a:cubicBezTo>
                          <a:pt x="20" y="0"/>
                          <a:pt x="123" y="20"/>
                          <a:pt x="156" y="13"/>
                        </a:cubicBezTo>
                        <a:cubicBezTo>
                          <a:pt x="172" y="10"/>
                          <a:pt x="143" y="23"/>
                          <a:pt x="141" y="37"/>
                        </a:cubicBezTo>
                        <a:cubicBezTo>
                          <a:pt x="124" y="38"/>
                          <a:pt x="30" y="30"/>
                          <a:pt x="37" y="6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6" name="Freeform 101"/>
                  <p:cNvSpPr>
                    <a:spLocks/>
                  </p:cNvSpPr>
                  <p:nvPr/>
                </p:nvSpPr>
                <p:spPr bwMode="gray">
                  <a:xfrm>
                    <a:off x="-2228850" y="-19711987"/>
                    <a:ext cx="2320925" cy="2089150"/>
                  </a:xfrm>
                  <a:custGeom>
                    <a:avLst/>
                    <a:gdLst/>
                    <a:ahLst/>
                    <a:cxnLst>
                      <a:cxn ang="0">
                        <a:pos x="111" y="540"/>
                      </a:cxn>
                      <a:cxn ang="0">
                        <a:pos x="94" y="541"/>
                      </a:cxn>
                      <a:cxn ang="0">
                        <a:pos x="81" y="432"/>
                      </a:cxn>
                      <a:cxn ang="0">
                        <a:pos x="67" y="390"/>
                      </a:cxn>
                      <a:cxn ang="0">
                        <a:pos x="33" y="348"/>
                      </a:cxn>
                      <a:cxn ang="0">
                        <a:pos x="81" y="145"/>
                      </a:cxn>
                      <a:cxn ang="0">
                        <a:pos x="48" y="144"/>
                      </a:cxn>
                      <a:cxn ang="0">
                        <a:pos x="131" y="76"/>
                      </a:cxn>
                      <a:cxn ang="0">
                        <a:pos x="115" y="57"/>
                      </a:cxn>
                      <a:cxn ang="0">
                        <a:pos x="190" y="34"/>
                      </a:cxn>
                      <a:cxn ang="0">
                        <a:pos x="263" y="1"/>
                      </a:cxn>
                      <a:cxn ang="0">
                        <a:pos x="426" y="51"/>
                      </a:cxn>
                      <a:cxn ang="0">
                        <a:pos x="428" y="27"/>
                      </a:cxn>
                      <a:cxn ang="0">
                        <a:pos x="469" y="77"/>
                      </a:cxn>
                      <a:cxn ang="0">
                        <a:pos x="530" y="110"/>
                      </a:cxn>
                      <a:cxn ang="0">
                        <a:pos x="596" y="229"/>
                      </a:cxn>
                      <a:cxn ang="0">
                        <a:pos x="608" y="388"/>
                      </a:cxn>
                      <a:cxn ang="0">
                        <a:pos x="572" y="557"/>
                      </a:cxn>
                      <a:cxn ang="0">
                        <a:pos x="546" y="457"/>
                      </a:cxn>
                      <a:cxn ang="0">
                        <a:pos x="550" y="313"/>
                      </a:cxn>
                      <a:cxn ang="0">
                        <a:pos x="482" y="216"/>
                      </a:cxn>
                      <a:cxn ang="0">
                        <a:pos x="348" y="216"/>
                      </a:cxn>
                      <a:cxn ang="0">
                        <a:pos x="327" y="191"/>
                      </a:cxn>
                      <a:cxn ang="0">
                        <a:pos x="334" y="228"/>
                      </a:cxn>
                      <a:cxn ang="0">
                        <a:pos x="250" y="188"/>
                      </a:cxn>
                      <a:cxn ang="0">
                        <a:pos x="179" y="230"/>
                      </a:cxn>
                      <a:cxn ang="0">
                        <a:pos x="127" y="322"/>
                      </a:cxn>
                      <a:cxn ang="0">
                        <a:pos x="123" y="377"/>
                      </a:cxn>
                      <a:cxn ang="0">
                        <a:pos x="111" y="426"/>
                      </a:cxn>
                      <a:cxn ang="0">
                        <a:pos x="111" y="540"/>
                      </a:cxn>
                    </a:cxnLst>
                    <a:rect l="0" t="0" r="r" b="b"/>
                    <a:pathLst>
                      <a:path w="619" h="557">
                        <a:moveTo>
                          <a:pt x="111" y="540"/>
                        </a:moveTo>
                        <a:cubicBezTo>
                          <a:pt x="85" y="549"/>
                          <a:pt x="102" y="543"/>
                          <a:pt x="94" y="541"/>
                        </a:cubicBezTo>
                        <a:cubicBezTo>
                          <a:pt x="82" y="499"/>
                          <a:pt x="79" y="474"/>
                          <a:pt x="81" y="432"/>
                        </a:cubicBezTo>
                        <a:cubicBezTo>
                          <a:pt x="82" y="415"/>
                          <a:pt x="95" y="378"/>
                          <a:pt x="67" y="390"/>
                        </a:cubicBezTo>
                        <a:cubicBezTo>
                          <a:pt x="56" y="395"/>
                          <a:pt x="44" y="366"/>
                          <a:pt x="33" y="348"/>
                        </a:cubicBezTo>
                        <a:cubicBezTo>
                          <a:pt x="0" y="293"/>
                          <a:pt x="48" y="189"/>
                          <a:pt x="81" y="145"/>
                        </a:cubicBezTo>
                        <a:cubicBezTo>
                          <a:pt x="71" y="147"/>
                          <a:pt x="58" y="142"/>
                          <a:pt x="48" y="144"/>
                        </a:cubicBezTo>
                        <a:cubicBezTo>
                          <a:pt x="52" y="107"/>
                          <a:pt x="97" y="82"/>
                          <a:pt x="131" y="76"/>
                        </a:cubicBezTo>
                        <a:cubicBezTo>
                          <a:pt x="125" y="71"/>
                          <a:pt x="121" y="61"/>
                          <a:pt x="115" y="57"/>
                        </a:cubicBezTo>
                        <a:cubicBezTo>
                          <a:pt x="142" y="51"/>
                          <a:pt x="168" y="47"/>
                          <a:pt x="190" y="34"/>
                        </a:cubicBezTo>
                        <a:cubicBezTo>
                          <a:pt x="220" y="15"/>
                          <a:pt x="222" y="1"/>
                          <a:pt x="263" y="1"/>
                        </a:cubicBezTo>
                        <a:cubicBezTo>
                          <a:pt x="327" y="0"/>
                          <a:pt x="377" y="13"/>
                          <a:pt x="426" y="51"/>
                        </a:cubicBezTo>
                        <a:cubicBezTo>
                          <a:pt x="426" y="44"/>
                          <a:pt x="429" y="34"/>
                          <a:pt x="428" y="27"/>
                        </a:cubicBezTo>
                        <a:cubicBezTo>
                          <a:pt x="443" y="40"/>
                          <a:pt x="453" y="63"/>
                          <a:pt x="469" y="77"/>
                        </a:cubicBezTo>
                        <a:cubicBezTo>
                          <a:pt x="489" y="96"/>
                          <a:pt x="509" y="94"/>
                          <a:pt x="530" y="110"/>
                        </a:cubicBezTo>
                        <a:cubicBezTo>
                          <a:pt x="558" y="130"/>
                          <a:pt x="581" y="197"/>
                          <a:pt x="596" y="229"/>
                        </a:cubicBezTo>
                        <a:cubicBezTo>
                          <a:pt x="617" y="274"/>
                          <a:pt x="619" y="337"/>
                          <a:pt x="608" y="388"/>
                        </a:cubicBezTo>
                        <a:cubicBezTo>
                          <a:pt x="599" y="429"/>
                          <a:pt x="611" y="534"/>
                          <a:pt x="572" y="557"/>
                        </a:cubicBezTo>
                        <a:cubicBezTo>
                          <a:pt x="575" y="530"/>
                          <a:pt x="547" y="490"/>
                          <a:pt x="546" y="457"/>
                        </a:cubicBezTo>
                        <a:cubicBezTo>
                          <a:pt x="544" y="409"/>
                          <a:pt x="556" y="362"/>
                          <a:pt x="550" y="313"/>
                        </a:cubicBezTo>
                        <a:cubicBezTo>
                          <a:pt x="545" y="273"/>
                          <a:pt x="525" y="227"/>
                          <a:pt x="482" y="216"/>
                        </a:cubicBezTo>
                        <a:cubicBezTo>
                          <a:pt x="438" y="205"/>
                          <a:pt x="391" y="230"/>
                          <a:pt x="348" y="216"/>
                        </a:cubicBezTo>
                        <a:cubicBezTo>
                          <a:pt x="343" y="205"/>
                          <a:pt x="333" y="200"/>
                          <a:pt x="327" y="191"/>
                        </a:cubicBezTo>
                        <a:cubicBezTo>
                          <a:pt x="328" y="206"/>
                          <a:pt x="326" y="217"/>
                          <a:pt x="334" y="228"/>
                        </a:cubicBezTo>
                        <a:cubicBezTo>
                          <a:pt x="306" y="232"/>
                          <a:pt x="273" y="204"/>
                          <a:pt x="250" y="188"/>
                        </a:cubicBezTo>
                        <a:cubicBezTo>
                          <a:pt x="267" y="225"/>
                          <a:pt x="201" y="212"/>
                          <a:pt x="179" y="230"/>
                        </a:cubicBezTo>
                        <a:cubicBezTo>
                          <a:pt x="152" y="252"/>
                          <a:pt x="134" y="290"/>
                          <a:pt x="127" y="322"/>
                        </a:cubicBezTo>
                        <a:cubicBezTo>
                          <a:pt x="124" y="339"/>
                          <a:pt x="130" y="360"/>
                          <a:pt x="123" y="377"/>
                        </a:cubicBezTo>
                        <a:cubicBezTo>
                          <a:pt x="116" y="396"/>
                          <a:pt x="116" y="408"/>
                          <a:pt x="111" y="426"/>
                        </a:cubicBezTo>
                        <a:cubicBezTo>
                          <a:pt x="102" y="466"/>
                          <a:pt x="123" y="521"/>
                          <a:pt x="111" y="54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7" name="Freeform 102"/>
                  <p:cNvSpPr>
                    <a:spLocks/>
                  </p:cNvSpPr>
                  <p:nvPr/>
                </p:nvSpPr>
                <p:spPr bwMode="gray">
                  <a:xfrm>
                    <a:off x="-2928938" y="-12233275"/>
                    <a:ext cx="4244975" cy="1217613"/>
                  </a:xfrm>
                  <a:custGeom>
                    <a:avLst/>
                    <a:gdLst/>
                    <a:ahLst/>
                    <a:cxnLst>
                      <a:cxn ang="0">
                        <a:pos x="638" y="9"/>
                      </a:cxn>
                      <a:cxn ang="0">
                        <a:pos x="47" y="123"/>
                      </a:cxn>
                      <a:cxn ang="0">
                        <a:pos x="2" y="190"/>
                      </a:cxn>
                      <a:cxn ang="0">
                        <a:pos x="70" y="218"/>
                      </a:cxn>
                      <a:cxn ang="0">
                        <a:pos x="146" y="221"/>
                      </a:cxn>
                      <a:cxn ang="0">
                        <a:pos x="208" y="208"/>
                      </a:cxn>
                      <a:cxn ang="0">
                        <a:pos x="275" y="196"/>
                      </a:cxn>
                      <a:cxn ang="0">
                        <a:pos x="319" y="164"/>
                      </a:cxn>
                      <a:cxn ang="0">
                        <a:pos x="408" y="142"/>
                      </a:cxn>
                      <a:cxn ang="0">
                        <a:pos x="552" y="92"/>
                      </a:cxn>
                      <a:cxn ang="0">
                        <a:pos x="630" y="77"/>
                      </a:cxn>
                      <a:cxn ang="0">
                        <a:pos x="645" y="122"/>
                      </a:cxn>
                      <a:cxn ang="0">
                        <a:pos x="794" y="120"/>
                      </a:cxn>
                      <a:cxn ang="0">
                        <a:pos x="785" y="229"/>
                      </a:cxn>
                      <a:cxn ang="0">
                        <a:pos x="869" y="199"/>
                      </a:cxn>
                      <a:cxn ang="0">
                        <a:pos x="943" y="241"/>
                      </a:cxn>
                      <a:cxn ang="0">
                        <a:pos x="1008" y="325"/>
                      </a:cxn>
                      <a:cxn ang="0">
                        <a:pos x="1077" y="230"/>
                      </a:cxn>
                      <a:cxn ang="0">
                        <a:pos x="1107" y="121"/>
                      </a:cxn>
                      <a:cxn ang="0">
                        <a:pos x="661" y="15"/>
                      </a:cxn>
                    </a:cxnLst>
                    <a:rect l="0" t="0" r="r" b="b"/>
                    <a:pathLst>
                      <a:path w="1132" h="325">
                        <a:moveTo>
                          <a:pt x="638" y="9"/>
                        </a:moveTo>
                        <a:cubicBezTo>
                          <a:pt x="608" y="0"/>
                          <a:pt x="87" y="112"/>
                          <a:pt x="47" y="123"/>
                        </a:cubicBezTo>
                        <a:cubicBezTo>
                          <a:pt x="1" y="135"/>
                          <a:pt x="0" y="143"/>
                          <a:pt x="2" y="190"/>
                        </a:cubicBezTo>
                        <a:cubicBezTo>
                          <a:pt x="27" y="195"/>
                          <a:pt x="45" y="213"/>
                          <a:pt x="70" y="218"/>
                        </a:cubicBezTo>
                        <a:cubicBezTo>
                          <a:pt x="93" y="222"/>
                          <a:pt x="120" y="221"/>
                          <a:pt x="146" y="221"/>
                        </a:cubicBezTo>
                        <a:cubicBezTo>
                          <a:pt x="172" y="221"/>
                          <a:pt x="185" y="215"/>
                          <a:pt x="208" y="208"/>
                        </a:cubicBezTo>
                        <a:cubicBezTo>
                          <a:pt x="230" y="201"/>
                          <a:pt x="254" y="205"/>
                          <a:pt x="275" y="196"/>
                        </a:cubicBezTo>
                        <a:cubicBezTo>
                          <a:pt x="291" y="189"/>
                          <a:pt x="304" y="174"/>
                          <a:pt x="319" y="164"/>
                        </a:cubicBezTo>
                        <a:cubicBezTo>
                          <a:pt x="348" y="144"/>
                          <a:pt x="372" y="145"/>
                          <a:pt x="408" y="142"/>
                        </a:cubicBezTo>
                        <a:cubicBezTo>
                          <a:pt x="462" y="139"/>
                          <a:pt x="503" y="113"/>
                          <a:pt x="552" y="92"/>
                        </a:cubicBezTo>
                        <a:cubicBezTo>
                          <a:pt x="576" y="82"/>
                          <a:pt x="598" y="73"/>
                          <a:pt x="630" y="77"/>
                        </a:cubicBezTo>
                        <a:cubicBezTo>
                          <a:pt x="667" y="83"/>
                          <a:pt x="672" y="100"/>
                          <a:pt x="645" y="122"/>
                        </a:cubicBezTo>
                        <a:cubicBezTo>
                          <a:pt x="695" y="127"/>
                          <a:pt x="744" y="83"/>
                          <a:pt x="794" y="120"/>
                        </a:cubicBezTo>
                        <a:cubicBezTo>
                          <a:pt x="850" y="162"/>
                          <a:pt x="786" y="184"/>
                          <a:pt x="785" y="229"/>
                        </a:cubicBezTo>
                        <a:cubicBezTo>
                          <a:pt x="815" y="220"/>
                          <a:pt x="835" y="204"/>
                          <a:pt x="869" y="199"/>
                        </a:cubicBezTo>
                        <a:cubicBezTo>
                          <a:pt x="898" y="195"/>
                          <a:pt x="958" y="201"/>
                          <a:pt x="943" y="241"/>
                        </a:cubicBezTo>
                        <a:cubicBezTo>
                          <a:pt x="987" y="214"/>
                          <a:pt x="1045" y="292"/>
                          <a:pt x="1008" y="325"/>
                        </a:cubicBezTo>
                        <a:cubicBezTo>
                          <a:pt x="1040" y="304"/>
                          <a:pt x="1072" y="267"/>
                          <a:pt x="1077" y="230"/>
                        </a:cubicBezTo>
                        <a:cubicBezTo>
                          <a:pt x="1080" y="207"/>
                          <a:pt x="1132" y="121"/>
                          <a:pt x="1107" y="121"/>
                        </a:cubicBezTo>
                        <a:cubicBezTo>
                          <a:pt x="931" y="121"/>
                          <a:pt x="680" y="24"/>
                          <a:pt x="661" y="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8" name="Freeform 103"/>
                  <p:cNvSpPr>
                    <a:spLocks/>
                  </p:cNvSpPr>
                  <p:nvPr/>
                </p:nvSpPr>
                <p:spPr bwMode="gray">
                  <a:xfrm>
                    <a:off x="985838" y="-13890625"/>
                    <a:ext cx="704850" cy="1952625"/>
                  </a:xfrm>
                  <a:custGeom>
                    <a:avLst/>
                    <a:gdLst/>
                    <a:ahLst/>
                    <a:cxnLst>
                      <a:cxn ang="0">
                        <a:pos x="0" y="387"/>
                      </a:cxn>
                      <a:cxn ang="0">
                        <a:pos x="27" y="416"/>
                      </a:cxn>
                      <a:cxn ang="0">
                        <a:pos x="159" y="275"/>
                      </a:cxn>
                      <a:cxn ang="0">
                        <a:pos x="185" y="0"/>
                      </a:cxn>
                      <a:cxn ang="0">
                        <a:pos x="184" y="32"/>
                      </a:cxn>
                      <a:cxn ang="0">
                        <a:pos x="79" y="45"/>
                      </a:cxn>
                      <a:cxn ang="0">
                        <a:pos x="145" y="101"/>
                      </a:cxn>
                      <a:cxn ang="0">
                        <a:pos x="79" y="167"/>
                      </a:cxn>
                      <a:cxn ang="0">
                        <a:pos x="78" y="147"/>
                      </a:cxn>
                      <a:cxn ang="0">
                        <a:pos x="123" y="229"/>
                      </a:cxn>
                      <a:cxn ang="0">
                        <a:pos x="45" y="208"/>
                      </a:cxn>
                      <a:cxn ang="0">
                        <a:pos x="57" y="310"/>
                      </a:cxn>
                      <a:cxn ang="0">
                        <a:pos x="39" y="415"/>
                      </a:cxn>
                    </a:cxnLst>
                    <a:rect l="0" t="0" r="r" b="b"/>
                    <a:pathLst>
                      <a:path w="188" h="521">
                        <a:moveTo>
                          <a:pt x="0" y="387"/>
                        </a:moveTo>
                        <a:cubicBezTo>
                          <a:pt x="3" y="405"/>
                          <a:pt x="5" y="416"/>
                          <a:pt x="27" y="416"/>
                        </a:cubicBezTo>
                        <a:cubicBezTo>
                          <a:pt x="65" y="521"/>
                          <a:pt x="154" y="307"/>
                          <a:pt x="159" y="275"/>
                        </a:cubicBezTo>
                        <a:cubicBezTo>
                          <a:pt x="172" y="182"/>
                          <a:pt x="185" y="98"/>
                          <a:pt x="185" y="0"/>
                        </a:cubicBezTo>
                        <a:cubicBezTo>
                          <a:pt x="188" y="10"/>
                          <a:pt x="185" y="22"/>
                          <a:pt x="184" y="32"/>
                        </a:cubicBezTo>
                        <a:cubicBezTo>
                          <a:pt x="152" y="49"/>
                          <a:pt x="115" y="43"/>
                          <a:pt x="79" y="45"/>
                        </a:cubicBezTo>
                        <a:cubicBezTo>
                          <a:pt x="72" y="81"/>
                          <a:pt x="114" y="101"/>
                          <a:pt x="145" y="101"/>
                        </a:cubicBezTo>
                        <a:cubicBezTo>
                          <a:pt x="156" y="149"/>
                          <a:pt x="126" y="176"/>
                          <a:pt x="79" y="167"/>
                        </a:cubicBezTo>
                        <a:cubicBezTo>
                          <a:pt x="78" y="160"/>
                          <a:pt x="78" y="154"/>
                          <a:pt x="78" y="147"/>
                        </a:cubicBezTo>
                        <a:cubicBezTo>
                          <a:pt x="84" y="180"/>
                          <a:pt x="120" y="198"/>
                          <a:pt x="123" y="229"/>
                        </a:cubicBezTo>
                        <a:cubicBezTo>
                          <a:pt x="86" y="236"/>
                          <a:pt x="82" y="201"/>
                          <a:pt x="45" y="208"/>
                        </a:cubicBezTo>
                        <a:cubicBezTo>
                          <a:pt x="72" y="270"/>
                          <a:pt x="99" y="239"/>
                          <a:pt x="57" y="310"/>
                        </a:cubicBezTo>
                        <a:cubicBezTo>
                          <a:pt x="37" y="345"/>
                          <a:pt x="24" y="373"/>
                          <a:pt x="39" y="4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79" name="Freeform 104"/>
                  <p:cNvSpPr>
                    <a:spLocks/>
                  </p:cNvSpPr>
                  <p:nvPr/>
                </p:nvSpPr>
                <p:spPr bwMode="gray">
                  <a:xfrm>
                    <a:off x="-3746500" y="-11974512"/>
                    <a:ext cx="715963" cy="4572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191" y="8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1" h="122">
                        <a:moveTo>
                          <a:pt x="0" y="6"/>
                        </a:moveTo>
                        <a:cubicBezTo>
                          <a:pt x="46" y="112"/>
                          <a:pt x="71" y="122"/>
                          <a:pt x="191" y="83"/>
                        </a:cubicBezTo>
                        <a:cubicBezTo>
                          <a:pt x="131" y="41"/>
                          <a:pt x="34" y="9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0" name="Freeform 105"/>
                  <p:cNvSpPr>
                    <a:spLocks/>
                  </p:cNvSpPr>
                  <p:nvPr/>
                </p:nvSpPr>
                <p:spPr bwMode="gray">
                  <a:xfrm>
                    <a:off x="798513" y="-15954375"/>
                    <a:ext cx="1109663" cy="1612900"/>
                  </a:xfrm>
                  <a:custGeom>
                    <a:avLst/>
                    <a:gdLst/>
                    <a:ahLst/>
                    <a:cxnLst>
                      <a:cxn ang="0">
                        <a:pos x="241" y="346"/>
                      </a:cxn>
                      <a:cxn ang="0">
                        <a:pos x="101" y="430"/>
                      </a:cxn>
                      <a:cxn ang="0">
                        <a:pos x="180" y="359"/>
                      </a:cxn>
                      <a:cxn ang="0">
                        <a:pos x="223" y="257"/>
                      </a:cxn>
                      <a:cxn ang="0">
                        <a:pos x="140" y="316"/>
                      </a:cxn>
                      <a:cxn ang="0">
                        <a:pos x="39" y="356"/>
                      </a:cxn>
                      <a:cxn ang="0">
                        <a:pos x="207" y="194"/>
                      </a:cxn>
                      <a:cxn ang="0">
                        <a:pos x="0" y="272"/>
                      </a:cxn>
                      <a:cxn ang="0">
                        <a:pos x="151" y="156"/>
                      </a:cxn>
                      <a:cxn ang="0">
                        <a:pos x="169" y="20"/>
                      </a:cxn>
                      <a:cxn ang="0">
                        <a:pos x="235" y="352"/>
                      </a:cxn>
                    </a:cxnLst>
                    <a:rect l="0" t="0" r="r" b="b"/>
                    <a:pathLst>
                      <a:path w="296" h="430">
                        <a:moveTo>
                          <a:pt x="241" y="346"/>
                        </a:moveTo>
                        <a:cubicBezTo>
                          <a:pt x="189" y="354"/>
                          <a:pt x="151" y="409"/>
                          <a:pt x="101" y="430"/>
                        </a:cubicBezTo>
                        <a:cubicBezTo>
                          <a:pt x="111" y="403"/>
                          <a:pt x="157" y="381"/>
                          <a:pt x="180" y="359"/>
                        </a:cubicBezTo>
                        <a:cubicBezTo>
                          <a:pt x="218" y="323"/>
                          <a:pt x="217" y="308"/>
                          <a:pt x="223" y="257"/>
                        </a:cubicBezTo>
                        <a:cubicBezTo>
                          <a:pt x="184" y="250"/>
                          <a:pt x="168" y="297"/>
                          <a:pt x="140" y="316"/>
                        </a:cubicBezTo>
                        <a:cubicBezTo>
                          <a:pt x="111" y="337"/>
                          <a:pt x="72" y="351"/>
                          <a:pt x="39" y="356"/>
                        </a:cubicBezTo>
                        <a:cubicBezTo>
                          <a:pt x="74" y="291"/>
                          <a:pt x="247" y="304"/>
                          <a:pt x="207" y="194"/>
                        </a:cubicBezTo>
                        <a:cubicBezTo>
                          <a:pt x="179" y="117"/>
                          <a:pt x="51" y="243"/>
                          <a:pt x="0" y="272"/>
                        </a:cubicBezTo>
                        <a:cubicBezTo>
                          <a:pt x="44" y="228"/>
                          <a:pt x="97" y="189"/>
                          <a:pt x="151" y="156"/>
                        </a:cubicBezTo>
                        <a:cubicBezTo>
                          <a:pt x="234" y="106"/>
                          <a:pt x="185" y="93"/>
                          <a:pt x="169" y="20"/>
                        </a:cubicBezTo>
                        <a:cubicBezTo>
                          <a:pt x="266" y="0"/>
                          <a:pt x="296" y="307"/>
                          <a:pt x="235" y="3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1" name="Freeform 106"/>
                  <p:cNvSpPr>
                    <a:spLocks/>
                  </p:cNvSpPr>
                  <p:nvPr/>
                </p:nvSpPr>
                <p:spPr bwMode="gray">
                  <a:xfrm>
                    <a:off x="-2224088" y="-12871450"/>
                    <a:ext cx="1916113" cy="985838"/>
                  </a:xfrm>
                  <a:custGeom>
                    <a:avLst/>
                    <a:gdLst/>
                    <a:ahLst/>
                    <a:cxnLst>
                      <a:cxn ang="0">
                        <a:pos x="45" y="8"/>
                      </a:cxn>
                      <a:cxn ang="0">
                        <a:pos x="249" y="97"/>
                      </a:cxn>
                      <a:cxn ang="0">
                        <a:pos x="511" y="195"/>
                      </a:cxn>
                      <a:cxn ang="0">
                        <a:pos x="394" y="176"/>
                      </a:cxn>
                      <a:cxn ang="0">
                        <a:pos x="252" y="117"/>
                      </a:cxn>
                      <a:cxn ang="0">
                        <a:pos x="0" y="3"/>
                      </a:cxn>
                    </a:cxnLst>
                    <a:rect l="0" t="0" r="r" b="b"/>
                    <a:pathLst>
                      <a:path w="511" h="263">
                        <a:moveTo>
                          <a:pt x="45" y="8"/>
                        </a:moveTo>
                        <a:cubicBezTo>
                          <a:pt x="120" y="0"/>
                          <a:pt x="186" y="70"/>
                          <a:pt x="249" y="97"/>
                        </a:cubicBezTo>
                        <a:cubicBezTo>
                          <a:pt x="327" y="130"/>
                          <a:pt x="427" y="177"/>
                          <a:pt x="511" y="195"/>
                        </a:cubicBezTo>
                        <a:cubicBezTo>
                          <a:pt x="494" y="263"/>
                          <a:pt x="420" y="190"/>
                          <a:pt x="394" y="176"/>
                        </a:cubicBezTo>
                        <a:cubicBezTo>
                          <a:pt x="349" y="152"/>
                          <a:pt x="299" y="136"/>
                          <a:pt x="252" y="117"/>
                        </a:cubicBezTo>
                        <a:cubicBezTo>
                          <a:pt x="166" y="82"/>
                          <a:pt x="61" y="69"/>
                          <a:pt x="0" y="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2" name="Freeform 107"/>
                  <p:cNvSpPr>
                    <a:spLocks/>
                  </p:cNvSpPr>
                  <p:nvPr/>
                </p:nvSpPr>
                <p:spPr bwMode="gray">
                  <a:xfrm>
                    <a:off x="-1689100" y="-16235362"/>
                    <a:ext cx="1609725" cy="784225"/>
                  </a:xfrm>
                  <a:custGeom>
                    <a:avLst/>
                    <a:gdLst/>
                    <a:ahLst/>
                    <a:cxnLst>
                      <a:cxn ang="0">
                        <a:pos x="51" y="147"/>
                      </a:cxn>
                      <a:cxn ang="0">
                        <a:pos x="46" y="209"/>
                      </a:cxn>
                      <a:cxn ang="0">
                        <a:pos x="103" y="160"/>
                      </a:cxn>
                      <a:cxn ang="0">
                        <a:pos x="178" y="177"/>
                      </a:cxn>
                      <a:cxn ang="0">
                        <a:pos x="220" y="172"/>
                      </a:cxn>
                      <a:cxn ang="0">
                        <a:pos x="254" y="161"/>
                      </a:cxn>
                      <a:cxn ang="0">
                        <a:pos x="309" y="192"/>
                      </a:cxn>
                      <a:cxn ang="0">
                        <a:pos x="309" y="122"/>
                      </a:cxn>
                      <a:cxn ang="0">
                        <a:pos x="394" y="23"/>
                      </a:cxn>
                      <a:cxn ang="0">
                        <a:pos x="262" y="71"/>
                      </a:cxn>
                      <a:cxn ang="0">
                        <a:pos x="106" y="63"/>
                      </a:cxn>
                      <a:cxn ang="0">
                        <a:pos x="14" y="54"/>
                      </a:cxn>
                      <a:cxn ang="0">
                        <a:pos x="47" y="109"/>
                      </a:cxn>
                    </a:cxnLst>
                    <a:rect l="0" t="0" r="r" b="b"/>
                    <a:pathLst>
                      <a:path w="429" h="209">
                        <a:moveTo>
                          <a:pt x="51" y="147"/>
                        </a:moveTo>
                        <a:cubicBezTo>
                          <a:pt x="51" y="168"/>
                          <a:pt x="52" y="189"/>
                          <a:pt x="46" y="209"/>
                        </a:cubicBezTo>
                        <a:cubicBezTo>
                          <a:pt x="56" y="199"/>
                          <a:pt x="91" y="163"/>
                          <a:pt x="103" y="160"/>
                        </a:cubicBezTo>
                        <a:cubicBezTo>
                          <a:pt x="123" y="156"/>
                          <a:pt x="152" y="177"/>
                          <a:pt x="178" y="177"/>
                        </a:cubicBezTo>
                        <a:cubicBezTo>
                          <a:pt x="193" y="177"/>
                          <a:pt x="206" y="175"/>
                          <a:pt x="220" y="172"/>
                        </a:cubicBezTo>
                        <a:cubicBezTo>
                          <a:pt x="224" y="172"/>
                          <a:pt x="260" y="161"/>
                          <a:pt x="254" y="161"/>
                        </a:cubicBezTo>
                        <a:cubicBezTo>
                          <a:pt x="281" y="162"/>
                          <a:pt x="280" y="184"/>
                          <a:pt x="309" y="192"/>
                        </a:cubicBezTo>
                        <a:cubicBezTo>
                          <a:pt x="308" y="169"/>
                          <a:pt x="308" y="145"/>
                          <a:pt x="309" y="122"/>
                        </a:cubicBezTo>
                        <a:cubicBezTo>
                          <a:pt x="341" y="127"/>
                          <a:pt x="429" y="56"/>
                          <a:pt x="394" y="23"/>
                        </a:cubicBezTo>
                        <a:cubicBezTo>
                          <a:pt x="369" y="0"/>
                          <a:pt x="289" y="64"/>
                          <a:pt x="262" y="71"/>
                        </a:cubicBezTo>
                        <a:cubicBezTo>
                          <a:pt x="212" y="84"/>
                          <a:pt x="153" y="86"/>
                          <a:pt x="106" y="63"/>
                        </a:cubicBezTo>
                        <a:cubicBezTo>
                          <a:pt x="86" y="53"/>
                          <a:pt x="32" y="18"/>
                          <a:pt x="14" y="54"/>
                        </a:cubicBezTo>
                        <a:cubicBezTo>
                          <a:pt x="0" y="81"/>
                          <a:pt x="33" y="99"/>
                          <a:pt x="47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3" name="Freeform 108"/>
                  <p:cNvSpPr>
                    <a:spLocks/>
                  </p:cNvSpPr>
                  <p:nvPr/>
                </p:nvSpPr>
                <p:spPr bwMode="gray">
                  <a:xfrm>
                    <a:off x="-1463675" y="-15713075"/>
                    <a:ext cx="768350" cy="2320925"/>
                  </a:xfrm>
                  <a:custGeom>
                    <a:avLst/>
                    <a:gdLst/>
                    <a:ahLst/>
                    <a:cxnLst>
                      <a:cxn ang="0">
                        <a:pos x="181" y="8"/>
                      </a:cxn>
                      <a:cxn ang="0">
                        <a:pos x="160" y="135"/>
                      </a:cxn>
                      <a:cxn ang="0">
                        <a:pos x="184" y="283"/>
                      </a:cxn>
                      <a:cxn ang="0">
                        <a:pos x="177" y="607"/>
                      </a:cxn>
                      <a:cxn ang="0">
                        <a:pos x="89" y="578"/>
                      </a:cxn>
                      <a:cxn ang="0">
                        <a:pos x="80" y="359"/>
                      </a:cxn>
                      <a:cxn ang="0">
                        <a:pos x="89" y="142"/>
                      </a:cxn>
                      <a:cxn ang="0">
                        <a:pos x="160" y="0"/>
                      </a:cxn>
                    </a:cxnLst>
                    <a:rect l="0" t="0" r="r" b="b"/>
                    <a:pathLst>
                      <a:path w="205" h="619">
                        <a:moveTo>
                          <a:pt x="181" y="8"/>
                        </a:moveTo>
                        <a:cubicBezTo>
                          <a:pt x="205" y="54"/>
                          <a:pt x="155" y="85"/>
                          <a:pt x="160" y="135"/>
                        </a:cubicBezTo>
                        <a:cubicBezTo>
                          <a:pt x="164" y="182"/>
                          <a:pt x="179" y="232"/>
                          <a:pt x="184" y="283"/>
                        </a:cubicBezTo>
                        <a:cubicBezTo>
                          <a:pt x="194" y="382"/>
                          <a:pt x="205" y="514"/>
                          <a:pt x="177" y="607"/>
                        </a:cubicBezTo>
                        <a:cubicBezTo>
                          <a:pt x="200" y="619"/>
                          <a:pt x="122" y="584"/>
                          <a:pt x="89" y="578"/>
                        </a:cubicBezTo>
                        <a:cubicBezTo>
                          <a:pt x="0" y="563"/>
                          <a:pt x="72" y="442"/>
                          <a:pt x="80" y="359"/>
                        </a:cubicBezTo>
                        <a:cubicBezTo>
                          <a:pt x="86" y="286"/>
                          <a:pt x="78" y="214"/>
                          <a:pt x="89" y="142"/>
                        </a:cubicBezTo>
                        <a:cubicBezTo>
                          <a:pt x="96" y="92"/>
                          <a:pt x="103" y="15"/>
                          <a:pt x="1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4" name="Freeform 109"/>
                  <p:cNvSpPr>
                    <a:spLocks/>
                  </p:cNvSpPr>
                  <p:nvPr/>
                </p:nvSpPr>
                <p:spPr bwMode="gray">
                  <a:xfrm>
                    <a:off x="-1673225" y="-12009437"/>
                    <a:ext cx="955675" cy="1216025"/>
                  </a:xfrm>
                  <a:custGeom>
                    <a:avLst/>
                    <a:gdLst/>
                    <a:ahLst/>
                    <a:cxnLst>
                      <a:cxn ang="0">
                        <a:pos x="26" y="291"/>
                      </a:cxn>
                      <a:cxn ang="0">
                        <a:pos x="22" y="324"/>
                      </a:cxn>
                      <a:cxn ang="0">
                        <a:pos x="203" y="218"/>
                      </a:cxn>
                      <a:cxn ang="0">
                        <a:pos x="241" y="118"/>
                      </a:cxn>
                      <a:cxn ang="0">
                        <a:pos x="249" y="1"/>
                      </a:cxn>
                      <a:cxn ang="0">
                        <a:pos x="119" y="151"/>
                      </a:cxn>
                      <a:cxn ang="0">
                        <a:pos x="0" y="308"/>
                      </a:cxn>
                    </a:cxnLst>
                    <a:rect l="0" t="0" r="r" b="b"/>
                    <a:pathLst>
                      <a:path w="255" h="324">
                        <a:moveTo>
                          <a:pt x="26" y="291"/>
                        </a:moveTo>
                        <a:cubicBezTo>
                          <a:pt x="22" y="301"/>
                          <a:pt x="23" y="314"/>
                          <a:pt x="22" y="324"/>
                        </a:cubicBezTo>
                        <a:cubicBezTo>
                          <a:pt x="74" y="321"/>
                          <a:pt x="165" y="255"/>
                          <a:pt x="203" y="218"/>
                        </a:cubicBezTo>
                        <a:cubicBezTo>
                          <a:pt x="237" y="187"/>
                          <a:pt x="239" y="163"/>
                          <a:pt x="241" y="118"/>
                        </a:cubicBezTo>
                        <a:cubicBezTo>
                          <a:pt x="243" y="81"/>
                          <a:pt x="255" y="36"/>
                          <a:pt x="249" y="1"/>
                        </a:cubicBezTo>
                        <a:cubicBezTo>
                          <a:pt x="195" y="0"/>
                          <a:pt x="144" y="111"/>
                          <a:pt x="119" y="151"/>
                        </a:cubicBezTo>
                        <a:cubicBezTo>
                          <a:pt x="83" y="207"/>
                          <a:pt x="30" y="254"/>
                          <a:pt x="0" y="3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5" name="Freeform 110"/>
                  <p:cNvSpPr>
                    <a:spLocks/>
                  </p:cNvSpPr>
                  <p:nvPr/>
                </p:nvSpPr>
                <p:spPr bwMode="gray">
                  <a:xfrm>
                    <a:off x="-593725" y="-14671675"/>
                    <a:ext cx="574675" cy="1274763"/>
                  </a:xfrm>
                  <a:custGeom>
                    <a:avLst/>
                    <a:gdLst/>
                    <a:ahLst/>
                    <a:cxnLst>
                      <a:cxn ang="0">
                        <a:pos x="101" y="300"/>
                      </a:cxn>
                      <a:cxn ang="0">
                        <a:pos x="152" y="103"/>
                      </a:cxn>
                      <a:cxn ang="0">
                        <a:pos x="59" y="250"/>
                      </a:cxn>
                      <a:cxn ang="0">
                        <a:pos x="84" y="0"/>
                      </a:cxn>
                      <a:cxn ang="0">
                        <a:pos x="5" y="332"/>
                      </a:cxn>
                      <a:cxn ang="0">
                        <a:pos x="93" y="334"/>
                      </a:cxn>
                    </a:cxnLst>
                    <a:rect l="0" t="0" r="r" b="b"/>
                    <a:pathLst>
                      <a:path w="153" h="340">
                        <a:moveTo>
                          <a:pt x="101" y="300"/>
                        </a:moveTo>
                        <a:cubicBezTo>
                          <a:pt x="98" y="233"/>
                          <a:pt x="153" y="169"/>
                          <a:pt x="152" y="103"/>
                        </a:cubicBezTo>
                        <a:cubicBezTo>
                          <a:pt x="119" y="151"/>
                          <a:pt x="76" y="194"/>
                          <a:pt x="59" y="250"/>
                        </a:cubicBezTo>
                        <a:cubicBezTo>
                          <a:pt x="59" y="196"/>
                          <a:pt x="68" y="55"/>
                          <a:pt x="84" y="0"/>
                        </a:cubicBezTo>
                        <a:cubicBezTo>
                          <a:pt x="43" y="50"/>
                          <a:pt x="0" y="290"/>
                          <a:pt x="5" y="332"/>
                        </a:cubicBezTo>
                        <a:cubicBezTo>
                          <a:pt x="52" y="340"/>
                          <a:pt x="44" y="336"/>
                          <a:pt x="93" y="33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6" name="Freeform 111"/>
                  <p:cNvSpPr>
                    <a:spLocks/>
                  </p:cNvSpPr>
                  <p:nvPr/>
                </p:nvSpPr>
                <p:spPr bwMode="gray">
                  <a:xfrm>
                    <a:off x="-1819275" y="-16100425"/>
                    <a:ext cx="1258888" cy="2697163"/>
                  </a:xfrm>
                  <a:custGeom>
                    <a:avLst/>
                    <a:gdLst/>
                    <a:ahLst/>
                    <a:cxnLst>
                      <a:cxn ang="0">
                        <a:pos x="173" y="120"/>
                      </a:cxn>
                      <a:cxn ang="0">
                        <a:pos x="146" y="37"/>
                      </a:cxn>
                      <a:cxn ang="0">
                        <a:pos x="287" y="110"/>
                      </a:cxn>
                      <a:cxn ang="0">
                        <a:pos x="246" y="222"/>
                      </a:cxn>
                      <a:cxn ang="0">
                        <a:pos x="263" y="351"/>
                      </a:cxn>
                      <a:cxn ang="0">
                        <a:pos x="269" y="650"/>
                      </a:cxn>
                      <a:cxn ang="0">
                        <a:pos x="207" y="701"/>
                      </a:cxn>
                      <a:cxn ang="0">
                        <a:pos x="89" y="672"/>
                      </a:cxn>
                      <a:cxn ang="0">
                        <a:pos x="5" y="660"/>
                      </a:cxn>
                      <a:cxn ang="0">
                        <a:pos x="44" y="362"/>
                      </a:cxn>
                      <a:cxn ang="0">
                        <a:pos x="173" y="120"/>
                      </a:cxn>
                    </a:cxnLst>
                    <a:rect l="0" t="0" r="r" b="b"/>
                    <a:pathLst>
                      <a:path w="336" h="719">
                        <a:moveTo>
                          <a:pt x="173" y="120"/>
                        </a:moveTo>
                        <a:cubicBezTo>
                          <a:pt x="153" y="99"/>
                          <a:pt x="142" y="70"/>
                          <a:pt x="146" y="37"/>
                        </a:cubicBezTo>
                        <a:cubicBezTo>
                          <a:pt x="218" y="0"/>
                          <a:pt x="336" y="3"/>
                          <a:pt x="287" y="110"/>
                        </a:cubicBezTo>
                        <a:cubicBezTo>
                          <a:pt x="268" y="154"/>
                          <a:pt x="242" y="168"/>
                          <a:pt x="246" y="222"/>
                        </a:cubicBezTo>
                        <a:cubicBezTo>
                          <a:pt x="249" y="265"/>
                          <a:pt x="263" y="304"/>
                          <a:pt x="263" y="351"/>
                        </a:cubicBezTo>
                        <a:cubicBezTo>
                          <a:pt x="263" y="452"/>
                          <a:pt x="269" y="550"/>
                          <a:pt x="269" y="650"/>
                        </a:cubicBezTo>
                        <a:cubicBezTo>
                          <a:pt x="269" y="716"/>
                          <a:pt x="265" y="719"/>
                          <a:pt x="207" y="701"/>
                        </a:cubicBezTo>
                        <a:cubicBezTo>
                          <a:pt x="168" y="688"/>
                          <a:pt x="130" y="681"/>
                          <a:pt x="89" y="672"/>
                        </a:cubicBezTo>
                        <a:cubicBezTo>
                          <a:pt x="61" y="666"/>
                          <a:pt x="34" y="663"/>
                          <a:pt x="5" y="660"/>
                        </a:cubicBezTo>
                        <a:cubicBezTo>
                          <a:pt x="0" y="563"/>
                          <a:pt x="10" y="449"/>
                          <a:pt x="44" y="362"/>
                        </a:cubicBezTo>
                        <a:cubicBezTo>
                          <a:pt x="72" y="289"/>
                          <a:pt x="189" y="204"/>
                          <a:pt x="173" y="1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7" name="Freeform 112"/>
                  <p:cNvSpPr>
                    <a:spLocks/>
                  </p:cNvSpPr>
                  <p:nvPr/>
                </p:nvSpPr>
                <p:spPr bwMode="gray">
                  <a:xfrm>
                    <a:off x="-2124075" y="-12166600"/>
                    <a:ext cx="1339850" cy="1365250"/>
                  </a:xfrm>
                  <a:custGeom>
                    <a:avLst/>
                    <a:gdLst/>
                    <a:ahLst/>
                    <a:cxnLst>
                      <a:cxn ang="0">
                        <a:pos x="66" y="53"/>
                      </a:cxn>
                      <a:cxn ang="0">
                        <a:pos x="28" y="270"/>
                      </a:cxn>
                      <a:cxn ang="0">
                        <a:pos x="121" y="364"/>
                      </a:cxn>
                      <a:cxn ang="0">
                        <a:pos x="323" y="227"/>
                      </a:cxn>
                      <a:cxn ang="0">
                        <a:pos x="343" y="0"/>
                      </a:cxn>
                      <a:cxn ang="0">
                        <a:pos x="66" y="53"/>
                      </a:cxn>
                    </a:cxnLst>
                    <a:rect l="0" t="0" r="r" b="b"/>
                    <a:pathLst>
                      <a:path w="357" h="364">
                        <a:moveTo>
                          <a:pt x="66" y="53"/>
                        </a:moveTo>
                        <a:cubicBezTo>
                          <a:pt x="73" y="113"/>
                          <a:pt x="0" y="234"/>
                          <a:pt x="28" y="270"/>
                        </a:cubicBezTo>
                        <a:cubicBezTo>
                          <a:pt x="56" y="307"/>
                          <a:pt x="103" y="349"/>
                          <a:pt x="121" y="364"/>
                        </a:cubicBezTo>
                        <a:cubicBezTo>
                          <a:pt x="121" y="364"/>
                          <a:pt x="302" y="256"/>
                          <a:pt x="323" y="227"/>
                        </a:cubicBezTo>
                        <a:cubicBezTo>
                          <a:pt x="357" y="182"/>
                          <a:pt x="346" y="58"/>
                          <a:pt x="343" y="0"/>
                        </a:cubicBezTo>
                        <a:cubicBezTo>
                          <a:pt x="241" y="17"/>
                          <a:pt x="183" y="36"/>
                          <a:pt x="66" y="5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8" name="Freeform 113"/>
                  <p:cNvSpPr>
                    <a:spLocks/>
                  </p:cNvSpPr>
                  <p:nvPr/>
                </p:nvSpPr>
                <p:spPr bwMode="gray">
                  <a:xfrm>
                    <a:off x="-1755775" y="-16681450"/>
                    <a:ext cx="633413" cy="1219200"/>
                  </a:xfrm>
                  <a:custGeom>
                    <a:avLst/>
                    <a:gdLst/>
                    <a:ahLst/>
                    <a:cxnLst>
                      <a:cxn ang="0">
                        <a:pos x="62" y="0"/>
                      </a:cxn>
                      <a:cxn ang="0">
                        <a:pos x="95" y="84"/>
                      </a:cxn>
                      <a:cxn ang="0">
                        <a:pos x="167" y="164"/>
                      </a:cxn>
                      <a:cxn ang="0">
                        <a:pos x="42" y="325"/>
                      </a:cxn>
                      <a:cxn ang="0">
                        <a:pos x="62" y="0"/>
                      </a:cxn>
                    </a:cxnLst>
                    <a:rect l="0" t="0" r="r" b="b"/>
                    <a:pathLst>
                      <a:path w="169" h="325">
                        <a:moveTo>
                          <a:pt x="62" y="0"/>
                        </a:moveTo>
                        <a:cubicBezTo>
                          <a:pt x="66" y="35"/>
                          <a:pt x="73" y="58"/>
                          <a:pt x="95" y="84"/>
                        </a:cubicBezTo>
                        <a:cubicBezTo>
                          <a:pt x="105" y="97"/>
                          <a:pt x="169" y="155"/>
                          <a:pt x="167" y="164"/>
                        </a:cubicBezTo>
                        <a:cubicBezTo>
                          <a:pt x="161" y="183"/>
                          <a:pt x="63" y="289"/>
                          <a:pt x="42" y="325"/>
                        </a:cubicBezTo>
                        <a:cubicBezTo>
                          <a:pt x="0" y="295"/>
                          <a:pt x="10" y="21"/>
                          <a:pt x="6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89" name="Freeform 114"/>
                  <p:cNvSpPr>
                    <a:spLocks/>
                  </p:cNvSpPr>
                  <p:nvPr/>
                </p:nvSpPr>
                <p:spPr bwMode="gray">
                  <a:xfrm>
                    <a:off x="-1020763" y="-16843375"/>
                    <a:ext cx="1027113" cy="1193800"/>
                  </a:xfrm>
                  <a:custGeom>
                    <a:avLst/>
                    <a:gdLst/>
                    <a:ahLst/>
                    <a:cxnLst>
                      <a:cxn ang="0">
                        <a:pos x="0" y="206"/>
                      </a:cxn>
                      <a:cxn ang="0">
                        <a:pos x="152" y="318"/>
                      </a:cxn>
                      <a:cxn ang="0">
                        <a:pos x="246" y="132"/>
                      </a:cxn>
                      <a:cxn ang="0">
                        <a:pos x="206" y="0"/>
                      </a:cxn>
                      <a:cxn ang="0">
                        <a:pos x="0" y="206"/>
                      </a:cxn>
                    </a:cxnLst>
                    <a:rect l="0" t="0" r="r" b="b"/>
                    <a:pathLst>
                      <a:path w="274" h="318">
                        <a:moveTo>
                          <a:pt x="0" y="206"/>
                        </a:moveTo>
                        <a:cubicBezTo>
                          <a:pt x="43" y="235"/>
                          <a:pt x="108" y="288"/>
                          <a:pt x="152" y="318"/>
                        </a:cubicBezTo>
                        <a:cubicBezTo>
                          <a:pt x="181" y="255"/>
                          <a:pt x="222" y="196"/>
                          <a:pt x="246" y="132"/>
                        </a:cubicBezTo>
                        <a:cubicBezTo>
                          <a:pt x="273" y="61"/>
                          <a:pt x="274" y="51"/>
                          <a:pt x="206" y="0"/>
                        </a:cubicBezTo>
                        <a:cubicBezTo>
                          <a:pt x="166" y="79"/>
                          <a:pt x="89" y="176"/>
                          <a:pt x="0" y="20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0" name="Freeform 115"/>
                  <p:cNvSpPr>
                    <a:spLocks/>
                  </p:cNvSpPr>
                  <p:nvPr/>
                </p:nvSpPr>
                <p:spPr bwMode="gray">
                  <a:xfrm>
                    <a:off x="-2689225" y="-14930437"/>
                    <a:ext cx="322263" cy="1849438"/>
                  </a:xfrm>
                  <a:custGeom>
                    <a:avLst/>
                    <a:gdLst/>
                    <a:ahLst/>
                    <a:cxnLst>
                      <a:cxn ang="0">
                        <a:pos x="84" y="355"/>
                      </a:cxn>
                      <a:cxn ang="0">
                        <a:pos x="62" y="283"/>
                      </a:cxn>
                      <a:cxn ang="0">
                        <a:pos x="56" y="186"/>
                      </a:cxn>
                      <a:cxn ang="0">
                        <a:pos x="39" y="0"/>
                      </a:cxn>
                      <a:cxn ang="0">
                        <a:pos x="28" y="298"/>
                      </a:cxn>
                      <a:cxn ang="0">
                        <a:pos x="22" y="446"/>
                      </a:cxn>
                      <a:cxn ang="0">
                        <a:pos x="79" y="349"/>
                      </a:cxn>
                    </a:cxnLst>
                    <a:rect l="0" t="0" r="r" b="b"/>
                    <a:pathLst>
                      <a:path w="86" h="493">
                        <a:moveTo>
                          <a:pt x="84" y="355"/>
                        </a:moveTo>
                        <a:cubicBezTo>
                          <a:pt x="86" y="322"/>
                          <a:pt x="68" y="310"/>
                          <a:pt x="62" y="283"/>
                        </a:cubicBezTo>
                        <a:cubicBezTo>
                          <a:pt x="57" y="259"/>
                          <a:pt x="58" y="217"/>
                          <a:pt x="56" y="186"/>
                        </a:cubicBezTo>
                        <a:cubicBezTo>
                          <a:pt x="54" y="132"/>
                          <a:pt x="72" y="37"/>
                          <a:pt x="39" y="0"/>
                        </a:cubicBezTo>
                        <a:cubicBezTo>
                          <a:pt x="6" y="91"/>
                          <a:pt x="23" y="203"/>
                          <a:pt x="28" y="298"/>
                        </a:cubicBezTo>
                        <a:cubicBezTo>
                          <a:pt x="30" y="331"/>
                          <a:pt x="0" y="422"/>
                          <a:pt x="22" y="446"/>
                        </a:cubicBezTo>
                        <a:cubicBezTo>
                          <a:pt x="64" y="493"/>
                          <a:pt x="83" y="381"/>
                          <a:pt x="79" y="34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1" name="Freeform 116"/>
                  <p:cNvSpPr>
                    <a:spLocks/>
                  </p:cNvSpPr>
                  <p:nvPr/>
                </p:nvSpPr>
                <p:spPr bwMode="gray">
                  <a:xfrm>
                    <a:off x="55563" y="-15409862"/>
                    <a:ext cx="742950" cy="1765300"/>
                  </a:xfrm>
                  <a:custGeom>
                    <a:avLst/>
                    <a:gdLst/>
                    <a:ahLst/>
                    <a:cxnLst>
                      <a:cxn ang="0">
                        <a:pos x="51" y="415"/>
                      </a:cxn>
                      <a:cxn ang="0">
                        <a:pos x="101" y="195"/>
                      </a:cxn>
                      <a:cxn ang="0">
                        <a:pos x="198" y="0"/>
                      </a:cxn>
                      <a:cxn ang="0">
                        <a:pos x="84" y="201"/>
                      </a:cxn>
                      <a:cxn ang="0">
                        <a:pos x="12" y="420"/>
                      </a:cxn>
                      <a:cxn ang="0">
                        <a:pos x="73" y="426"/>
                      </a:cxn>
                    </a:cxnLst>
                    <a:rect l="0" t="0" r="r" b="b"/>
                    <a:pathLst>
                      <a:path w="198" h="471">
                        <a:moveTo>
                          <a:pt x="51" y="415"/>
                        </a:moveTo>
                        <a:cubicBezTo>
                          <a:pt x="95" y="346"/>
                          <a:pt x="66" y="265"/>
                          <a:pt x="101" y="195"/>
                        </a:cubicBezTo>
                        <a:cubicBezTo>
                          <a:pt x="135" y="128"/>
                          <a:pt x="176" y="73"/>
                          <a:pt x="198" y="0"/>
                        </a:cubicBezTo>
                        <a:cubicBezTo>
                          <a:pt x="139" y="59"/>
                          <a:pt x="110" y="125"/>
                          <a:pt x="84" y="201"/>
                        </a:cubicBezTo>
                        <a:cubicBezTo>
                          <a:pt x="64" y="262"/>
                          <a:pt x="0" y="357"/>
                          <a:pt x="12" y="420"/>
                        </a:cubicBezTo>
                        <a:cubicBezTo>
                          <a:pt x="34" y="430"/>
                          <a:pt x="65" y="471"/>
                          <a:pt x="73" y="4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2" name="Freeform 117"/>
                  <p:cNvSpPr>
                    <a:spLocks/>
                  </p:cNvSpPr>
                  <p:nvPr/>
                </p:nvSpPr>
                <p:spPr bwMode="gray">
                  <a:xfrm>
                    <a:off x="-2835275" y="-13689012"/>
                    <a:ext cx="922338" cy="858838"/>
                  </a:xfrm>
                  <a:custGeom>
                    <a:avLst/>
                    <a:gdLst/>
                    <a:ahLst/>
                    <a:cxnLst>
                      <a:cxn ang="0">
                        <a:pos x="191" y="226"/>
                      </a:cxn>
                      <a:cxn ang="0">
                        <a:pos x="246" y="45"/>
                      </a:cxn>
                      <a:cxn ang="0">
                        <a:pos x="94" y="51"/>
                      </a:cxn>
                      <a:cxn ang="0">
                        <a:pos x="55" y="135"/>
                      </a:cxn>
                      <a:cxn ang="0">
                        <a:pos x="60" y="211"/>
                      </a:cxn>
                      <a:cxn ang="0">
                        <a:pos x="197" y="221"/>
                      </a:cxn>
                    </a:cxnLst>
                    <a:rect l="0" t="0" r="r" b="b"/>
                    <a:pathLst>
                      <a:path w="246" h="229">
                        <a:moveTo>
                          <a:pt x="191" y="226"/>
                        </a:moveTo>
                        <a:cubicBezTo>
                          <a:pt x="186" y="181"/>
                          <a:pt x="206" y="61"/>
                          <a:pt x="246" y="45"/>
                        </a:cubicBezTo>
                        <a:cubicBezTo>
                          <a:pt x="243" y="3"/>
                          <a:pt x="105" y="0"/>
                          <a:pt x="94" y="51"/>
                        </a:cubicBezTo>
                        <a:cubicBezTo>
                          <a:pt x="29" y="52"/>
                          <a:pt x="54" y="92"/>
                          <a:pt x="55" y="135"/>
                        </a:cubicBezTo>
                        <a:cubicBezTo>
                          <a:pt x="0" y="149"/>
                          <a:pt x="26" y="194"/>
                          <a:pt x="60" y="211"/>
                        </a:cubicBezTo>
                        <a:cubicBezTo>
                          <a:pt x="97" y="229"/>
                          <a:pt x="153" y="221"/>
                          <a:pt x="197" y="2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3" name="Freeform 118"/>
                  <p:cNvSpPr>
                    <a:spLocks/>
                  </p:cNvSpPr>
                  <p:nvPr/>
                </p:nvSpPr>
                <p:spPr bwMode="gray">
                  <a:xfrm>
                    <a:off x="-387350" y="-13857287"/>
                    <a:ext cx="649288" cy="449263"/>
                  </a:xfrm>
                  <a:custGeom>
                    <a:avLst/>
                    <a:gdLst/>
                    <a:ahLst/>
                    <a:cxnLst>
                      <a:cxn ang="0">
                        <a:pos x="17" y="119"/>
                      </a:cxn>
                      <a:cxn ang="0">
                        <a:pos x="173" y="102"/>
                      </a:cxn>
                      <a:cxn ang="0">
                        <a:pos x="162" y="7"/>
                      </a:cxn>
                      <a:cxn ang="0">
                        <a:pos x="74" y="36"/>
                      </a:cxn>
                      <a:cxn ang="0">
                        <a:pos x="0" y="114"/>
                      </a:cxn>
                    </a:cxnLst>
                    <a:rect l="0" t="0" r="r" b="b"/>
                    <a:pathLst>
                      <a:path w="173" h="120">
                        <a:moveTo>
                          <a:pt x="17" y="119"/>
                        </a:moveTo>
                        <a:cubicBezTo>
                          <a:pt x="67" y="120"/>
                          <a:pt x="119" y="104"/>
                          <a:pt x="173" y="102"/>
                        </a:cubicBezTo>
                        <a:cubicBezTo>
                          <a:pt x="170" y="72"/>
                          <a:pt x="171" y="37"/>
                          <a:pt x="162" y="7"/>
                        </a:cubicBezTo>
                        <a:cubicBezTo>
                          <a:pt x="108" y="3"/>
                          <a:pt x="110" y="0"/>
                          <a:pt x="74" y="36"/>
                        </a:cubicBezTo>
                        <a:cubicBezTo>
                          <a:pt x="53" y="57"/>
                          <a:pt x="19" y="88"/>
                          <a:pt x="0" y="1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4" name="Freeform 119"/>
                  <p:cNvSpPr>
                    <a:spLocks/>
                  </p:cNvSpPr>
                  <p:nvPr/>
                </p:nvSpPr>
                <p:spPr bwMode="gray">
                  <a:xfrm>
                    <a:off x="-2798763" y="-13155612"/>
                    <a:ext cx="742950" cy="355600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95" y="65"/>
                      </a:cxn>
                      <a:cxn ang="0">
                        <a:pos x="162" y="65"/>
                      </a:cxn>
                      <a:cxn ang="0">
                        <a:pos x="183" y="26"/>
                      </a:cxn>
                      <a:cxn ang="0">
                        <a:pos x="177" y="86"/>
                      </a:cxn>
                      <a:cxn ang="0">
                        <a:pos x="32" y="59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198" h="95">
                        <a:moveTo>
                          <a:pt x="27" y="0"/>
                        </a:moveTo>
                        <a:cubicBezTo>
                          <a:pt x="14" y="38"/>
                          <a:pt x="64" y="59"/>
                          <a:pt x="95" y="65"/>
                        </a:cubicBezTo>
                        <a:cubicBezTo>
                          <a:pt x="111" y="67"/>
                          <a:pt x="147" y="70"/>
                          <a:pt x="162" y="65"/>
                        </a:cubicBezTo>
                        <a:cubicBezTo>
                          <a:pt x="179" y="58"/>
                          <a:pt x="180" y="41"/>
                          <a:pt x="183" y="26"/>
                        </a:cubicBezTo>
                        <a:cubicBezTo>
                          <a:pt x="185" y="52"/>
                          <a:pt x="198" y="77"/>
                          <a:pt x="177" y="86"/>
                        </a:cubicBezTo>
                        <a:cubicBezTo>
                          <a:pt x="157" y="95"/>
                          <a:pt x="55" y="79"/>
                          <a:pt x="32" y="59"/>
                        </a:cubicBezTo>
                        <a:cubicBezTo>
                          <a:pt x="18" y="45"/>
                          <a:pt x="0" y="16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5" name="Freeform 120"/>
                  <p:cNvSpPr>
                    <a:spLocks/>
                  </p:cNvSpPr>
                  <p:nvPr/>
                </p:nvSpPr>
                <p:spPr bwMode="gray">
                  <a:xfrm>
                    <a:off x="-304800" y="-13796962"/>
                    <a:ext cx="581025" cy="446088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97" y="79"/>
                      </a:cxn>
                      <a:cxn ang="0">
                        <a:pos x="0" y="106"/>
                      </a:cxn>
                      <a:cxn ang="0">
                        <a:pos x="66" y="107"/>
                      </a:cxn>
                      <a:cxn ang="0">
                        <a:pos x="125" y="95"/>
                      </a:cxn>
                      <a:cxn ang="0">
                        <a:pos x="151" y="56"/>
                      </a:cxn>
                      <a:cxn ang="0">
                        <a:pos x="139" y="0"/>
                      </a:cxn>
                    </a:cxnLst>
                    <a:rect l="0" t="0" r="r" b="b"/>
                    <a:pathLst>
                      <a:path w="155" h="119">
                        <a:moveTo>
                          <a:pt x="134" y="0"/>
                        </a:moveTo>
                        <a:cubicBezTo>
                          <a:pt x="134" y="41"/>
                          <a:pt x="139" y="64"/>
                          <a:pt x="97" y="79"/>
                        </a:cubicBezTo>
                        <a:cubicBezTo>
                          <a:pt x="68" y="88"/>
                          <a:pt x="23" y="82"/>
                          <a:pt x="0" y="106"/>
                        </a:cubicBezTo>
                        <a:cubicBezTo>
                          <a:pt x="16" y="119"/>
                          <a:pt x="48" y="113"/>
                          <a:pt x="66" y="107"/>
                        </a:cubicBezTo>
                        <a:cubicBezTo>
                          <a:pt x="88" y="101"/>
                          <a:pt x="102" y="99"/>
                          <a:pt x="125" y="95"/>
                        </a:cubicBezTo>
                        <a:cubicBezTo>
                          <a:pt x="155" y="91"/>
                          <a:pt x="154" y="85"/>
                          <a:pt x="151" y="56"/>
                        </a:cubicBezTo>
                        <a:cubicBezTo>
                          <a:pt x="149" y="37"/>
                          <a:pt x="149" y="13"/>
                          <a:pt x="13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6" name="Freeform 121"/>
                  <p:cNvSpPr>
                    <a:spLocks/>
                  </p:cNvSpPr>
                  <p:nvPr/>
                </p:nvSpPr>
                <p:spPr bwMode="gray">
                  <a:xfrm>
                    <a:off x="-1882775" y="-12166600"/>
                    <a:ext cx="1046163" cy="322263"/>
                  </a:xfrm>
                  <a:custGeom>
                    <a:avLst/>
                    <a:gdLst/>
                    <a:ahLst/>
                    <a:cxnLst>
                      <a:cxn ang="0">
                        <a:pos x="3" y="53"/>
                      </a:cxn>
                      <a:cxn ang="0">
                        <a:pos x="0" y="84"/>
                      </a:cxn>
                      <a:cxn ang="0">
                        <a:pos x="160" y="64"/>
                      </a:cxn>
                      <a:cxn ang="0">
                        <a:pos x="239" y="50"/>
                      </a:cxn>
                      <a:cxn ang="0">
                        <a:pos x="278" y="3"/>
                      </a:cxn>
                      <a:cxn ang="0">
                        <a:pos x="141" y="22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279" h="86">
                        <a:moveTo>
                          <a:pt x="3" y="53"/>
                        </a:moveTo>
                        <a:cubicBezTo>
                          <a:pt x="4" y="64"/>
                          <a:pt x="2" y="75"/>
                          <a:pt x="0" y="84"/>
                        </a:cubicBezTo>
                        <a:cubicBezTo>
                          <a:pt x="53" y="86"/>
                          <a:pt x="113" y="82"/>
                          <a:pt x="160" y="64"/>
                        </a:cubicBezTo>
                        <a:cubicBezTo>
                          <a:pt x="187" y="53"/>
                          <a:pt x="208" y="55"/>
                          <a:pt x="239" y="50"/>
                        </a:cubicBezTo>
                        <a:cubicBezTo>
                          <a:pt x="274" y="45"/>
                          <a:pt x="279" y="39"/>
                          <a:pt x="278" y="3"/>
                        </a:cubicBezTo>
                        <a:cubicBezTo>
                          <a:pt x="229" y="0"/>
                          <a:pt x="186" y="13"/>
                          <a:pt x="141" y="22"/>
                        </a:cubicBezTo>
                        <a:cubicBezTo>
                          <a:pt x="95" y="32"/>
                          <a:pt x="46" y="37"/>
                          <a:pt x="0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7" name="Freeform 122"/>
                  <p:cNvSpPr>
                    <a:spLocks/>
                  </p:cNvSpPr>
                  <p:nvPr/>
                </p:nvSpPr>
                <p:spPr bwMode="gray">
                  <a:xfrm>
                    <a:off x="-1695450" y="-7954962"/>
                    <a:ext cx="2128838" cy="3386138"/>
                  </a:xfrm>
                  <a:custGeom>
                    <a:avLst/>
                    <a:gdLst/>
                    <a:ahLst/>
                    <a:cxnLst>
                      <a:cxn ang="0">
                        <a:pos x="133" y="38"/>
                      </a:cxn>
                      <a:cxn ang="0">
                        <a:pos x="301" y="292"/>
                      </a:cxn>
                      <a:cxn ang="0">
                        <a:pos x="568" y="540"/>
                      </a:cxn>
                      <a:cxn ang="0">
                        <a:pos x="508" y="490"/>
                      </a:cxn>
                      <a:cxn ang="0">
                        <a:pos x="430" y="429"/>
                      </a:cxn>
                      <a:cxn ang="0">
                        <a:pos x="319" y="372"/>
                      </a:cxn>
                      <a:cxn ang="0">
                        <a:pos x="373" y="448"/>
                      </a:cxn>
                      <a:cxn ang="0">
                        <a:pos x="415" y="515"/>
                      </a:cxn>
                      <a:cxn ang="0">
                        <a:pos x="513" y="648"/>
                      </a:cxn>
                      <a:cxn ang="0">
                        <a:pos x="375" y="524"/>
                      </a:cxn>
                      <a:cxn ang="0">
                        <a:pos x="430" y="653"/>
                      </a:cxn>
                      <a:cxn ang="0">
                        <a:pos x="478" y="768"/>
                      </a:cxn>
                      <a:cxn ang="0">
                        <a:pos x="388" y="646"/>
                      </a:cxn>
                      <a:cxn ang="0">
                        <a:pos x="332" y="541"/>
                      </a:cxn>
                      <a:cxn ang="0">
                        <a:pos x="252" y="296"/>
                      </a:cxn>
                      <a:cxn ang="0">
                        <a:pos x="257" y="642"/>
                      </a:cxn>
                      <a:cxn ang="0">
                        <a:pos x="208" y="718"/>
                      </a:cxn>
                      <a:cxn ang="0">
                        <a:pos x="175" y="781"/>
                      </a:cxn>
                      <a:cxn ang="0">
                        <a:pos x="41" y="903"/>
                      </a:cxn>
                      <a:cxn ang="0">
                        <a:pos x="99" y="803"/>
                      </a:cxn>
                      <a:cxn ang="0">
                        <a:pos x="10" y="736"/>
                      </a:cxn>
                      <a:cxn ang="0">
                        <a:pos x="87" y="642"/>
                      </a:cxn>
                      <a:cxn ang="0">
                        <a:pos x="71" y="498"/>
                      </a:cxn>
                      <a:cxn ang="0">
                        <a:pos x="54" y="334"/>
                      </a:cxn>
                      <a:cxn ang="0">
                        <a:pos x="112" y="489"/>
                      </a:cxn>
                      <a:cxn ang="0">
                        <a:pos x="167" y="363"/>
                      </a:cxn>
                      <a:cxn ang="0">
                        <a:pos x="151" y="172"/>
                      </a:cxn>
                      <a:cxn ang="0">
                        <a:pos x="117" y="0"/>
                      </a:cxn>
                      <a:cxn ang="0">
                        <a:pos x="129" y="42"/>
                      </a:cxn>
                    </a:cxnLst>
                    <a:rect l="0" t="0" r="r" b="b"/>
                    <a:pathLst>
                      <a:path w="568" h="903">
                        <a:moveTo>
                          <a:pt x="133" y="38"/>
                        </a:moveTo>
                        <a:cubicBezTo>
                          <a:pt x="146" y="122"/>
                          <a:pt x="232" y="241"/>
                          <a:pt x="301" y="292"/>
                        </a:cubicBezTo>
                        <a:cubicBezTo>
                          <a:pt x="401" y="367"/>
                          <a:pt x="496" y="440"/>
                          <a:pt x="568" y="540"/>
                        </a:cubicBezTo>
                        <a:cubicBezTo>
                          <a:pt x="537" y="529"/>
                          <a:pt x="530" y="512"/>
                          <a:pt x="508" y="490"/>
                        </a:cubicBezTo>
                        <a:cubicBezTo>
                          <a:pt x="486" y="467"/>
                          <a:pt x="454" y="454"/>
                          <a:pt x="430" y="429"/>
                        </a:cubicBezTo>
                        <a:cubicBezTo>
                          <a:pt x="415" y="414"/>
                          <a:pt x="325" y="293"/>
                          <a:pt x="319" y="372"/>
                        </a:cubicBezTo>
                        <a:cubicBezTo>
                          <a:pt x="316" y="408"/>
                          <a:pt x="352" y="428"/>
                          <a:pt x="373" y="448"/>
                        </a:cubicBezTo>
                        <a:cubicBezTo>
                          <a:pt x="394" y="468"/>
                          <a:pt x="400" y="487"/>
                          <a:pt x="415" y="515"/>
                        </a:cubicBezTo>
                        <a:cubicBezTo>
                          <a:pt x="439" y="560"/>
                          <a:pt x="478" y="604"/>
                          <a:pt x="513" y="648"/>
                        </a:cubicBezTo>
                        <a:cubicBezTo>
                          <a:pt x="464" y="628"/>
                          <a:pt x="411" y="567"/>
                          <a:pt x="375" y="524"/>
                        </a:cubicBezTo>
                        <a:cubicBezTo>
                          <a:pt x="370" y="573"/>
                          <a:pt x="407" y="615"/>
                          <a:pt x="430" y="653"/>
                        </a:cubicBezTo>
                        <a:cubicBezTo>
                          <a:pt x="452" y="690"/>
                          <a:pt x="456" y="733"/>
                          <a:pt x="478" y="768"/>
                        </a:cubicBezTo>
                        <a:cubicBezTo>
                          <a:pt x="430" y="762"/>
                          <a:pt x="407" y="682"/>
                          <a:pt x="388" y="646"/>
                        </a:cubicBezTo>
                        <a:cubicBezTo>
                          <a:pt x="365" y="606"/>
                          <a:pt x="341" y="586"/>
                          <a:pt x="332" y="541"/>
                        </a:cubicBezTo>
                        <a:cubicBezTo>
                          <a:pt x="313" y="451"/>
                          <a:pt x="310" y="365"/>
                          <a:pt x="252" y="296"/>
                        </a:cubicBezTo>
                        <a:cubicBezTo>
                          <a:pt x="268" y="402"/>
                          <a:pt x="308" y="535"/>
                          <a:pt x="257" y="642"/>
                        </a:cubicBezTo>
                        <a:cubicBezTo>
                          <a:pt x="242" y="672"/>
                          <a:pt x="229" y="692"/>
                          <a:pt x="208" y="718"/>
                        </a:cubicBezTo>
                        <a:cubicBezTo>
                          <a:pt x="189" y="742"/>
                          <a:pt x="189" y="756"/>
                          <a:pt x="175" y="781"/>
                        </a:cubicBezTo>
                        <a:cubicBezTo>
                          <a:pt x="156" y="818"/>
                          <a:pt x="83" y="902"/>
                          <a:pt x="41" y="903"/>
                        </a:cubicBezTo>
                        <a:cubicBezTo>
                          <a:pt x="55" y="863"/>
                          <a:pt x="107" y="862"/>
                          <a:pt x="99" y="803"/>
                        </a:cubicBezTo>
                        <a:cubicBezTo>
                          <a:pt x="61" y="803"/>
                          <a:pt x="17" y="776"/>
                          <a:pt x="10" y="736"/>
                        </a:cubicBezTo>
                        <a:cubicBezTo>
                          <a:pt x="0" y="684"/>
                          <a:pt x="63" y="680"/>
                          <a:pt x="87" y="642"/>
                        </a:cubicBezTo>
                        <a:cubicBezTo>
                          <a:pt x="115" y="596"/>
                          <a:pt x="88" y="545"/>
                          <a:pt x="71" y="498"/>
                        </a:cubicBezTo>
                        <a:cubicBezTo>
                          <a:pt x="51" y="445"/>
                          <a:pt x="50" y="392"/>
                          <a:pt x="54" y="334"/>
                        </a:cubicBezTo>
                        <a:cubicBezTo>
                          <a:pt x="95" y="325"/>
                          <a:pt x="87" y="460"/>
                          <a:pt x="112" y="489"/>
                        </a:cubicBezTo>
                        <a:cubicBezTo>
                          <a:pt x="166" y="551"/>
                          <a:pt x="167" y="403"/>
                          <a:pt x="167" y="363"/>
                        </a:cubicBezTo>
                        <a:cubicBezTo>
                          <a:pt x="168" y="296"/>
                          <a:pt x="170" y="232"/>
                          <a:pt x="151" y="172"/>
                        </a:cubicBezTo>
                        <a:cubicBezTo>
                          <a:pt x="134" y="120"/>
                          <a:pt x="115" y="56"/>
                          <a:pt x="117" y="0"/>
                        </a:cubicBezTo>
                        <a:cubicBezTo>
                          <a:pt x="121" y="11"/>
                          <a:pt x="126" y="29"/>
                          <a:pt x="129" y="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8" name="Freeform 123"/>
                  <p:cNvSpPr>
                    <a:spLocks/>
                  </p:cNvSpPr>
                  <p:nvPr/>
                </p:nvSpPr>
                <p:spPr bwMode="gray">
                  <a:xfrm>
                    <a:off x="-1717675" y="-1122362"/>
                    <a:ext cx="854075" cy="655638"/>
                  </a:xfrm>
                  <a:custGeom>
                    <a:avLst/>
                    <a:gdLst/>
                    <a:ahLst/>
                    <a:cxnLst>
                      <a:cxn ang="0">
                        <a:pos x="228" y="175"/>
                      </a:cxn>
                      <a:cxn ang="0">
                        <a:pos x="130" y="75"/>
                      </a:cxn>
                      <a:cxn ang="0">
                        <a:pos x="0" y="0"/>
                      </a:cxn>
                      <a:cxn ang="0">
                        <a:pos x="54" y="54"/>
                      </a:cxn>
                      <a:cxn ang="0">
                        <a:pos x="60" y="137"/>
                      </a:cxn>
                      <a:cxn ang="0">
                        <a:pos x="152" y="137"/>
                      </a:cxn>
                      <a:cxn ang="0">
                        <a:pos x="228" y="167"/>
                      </a:cxn>
                    </a:cxnLst>
                    <a:rect l="0" t="0" r="r" b="b"/>
                    <a:pathLst>
                      <a:path w="228" h="175">
                        <a:moveTo>
                          <a:pt x="228" y="175"/>
                        </a:moveTo>
                        <a:cubicBezTo>
                          <a:pt x="209" y="136"/>
                          <a:pt x="165" y="105"/>
                          <a:pt x="130" y="75"/>
                        </a:cubicBezTo>
                        <a:cubicBezTo>
                          <a:pt x="90" y="42"/>
                          <a:pt x="34" y="30"/>
                          <a:pt x="0" y="0"/>
                        </a:cubicBezTo>
                        <a:cubicBezTo>
                          <a:pt x="4" y="32"/>
                          <a:pt x="37" y="32"/>
                          <a:pt x="54" y="54"/>
                        </a:cubicBezTo>
                        <a:cubicBezTo>
                          <a:pt x="72" y="77"/>
                          <a:pt x="70" y="113"/>
                          <a:pt x="60" y="137"/>
                        </a:cubicBezTo>
                        <a:cubicBezTo>
                          <a:pt x="90" y="149"/>
                          <a:pt x="120" y="134"/>
                          <a:pt x="152" y="137"/>
                        </a:cubicBezTo>
                        <a:cubicBezTo>
                          <a:pt x="180" y="141"/>
                          <a:pt x="203" y="157"/>
                          <a:pt x="228" y="1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699" name="Freeform 124"/>
                  <p:cNvSpPr>
                    <a:spLocks/>
                  </p:cNvSpPr>
                  <p:nvPr/>
                </p:nvSpPr>
                <p:spPr bwMode="gray">
                  <a:xfrm>
                    <a:off x="-87313" y="-639762"/>
                    <a:ext cx="1308100" cy="571500"/>
                  </a:xfrm>
                  <a:custGeom>
                    <a:avLst/>
                    <a:gdLst/>
                    <a:ahLst/>
                    <a:cxnLst>
                      <a:cxn ang="0">
                        <a:pos x="42" y="122"/>
                      </a:cxn>
                      <a:cxn ang="0">
                        <a:pos x="232" y="0"/>
                      </a:cxn>
                      <a:cxn ang="0">
                        <a:pos x="324" y="43"/>
                      </a:cxn>
                      <a:cxn ang="0">
                        <a:pos x="309" y="147"/>
                      </a:cxn>
                      <a:cxn ang="0">
                        <a:pos x="271" y="66"/>
                      </a:cxn>
                      <a:cxn ang="0">
                        <a:pos x="186" y="56"/>
                      </a:cxn>
                      <a:cxn ang="0">
                        <a:pos x="93" y="89"/>
                      </a:cxn>
                      <a:cxn ang="0">
                        <a:pos x="0" y="152"/>
                      </a:cxn>
                    </a:cxnLst>
                    <a:rect l="0" t="0" r="r" b="b"/>
                    <a:pathLst>
                      <a:path w="349" h="152">
                        <a:moveTo>
                          <a:pt x="42" y="122"/>
                        </a:moveTo>
                        <a:cubicBezTo>
                          <a:pt x="99" y="79"/>
                          <a:pt x="159" y="0"/>
                          <a:pt x="232" y="0"/>
                        </a:cubicBezTo>
                        <a:cubicBezTo>
                          <a:pt x="263" y="0"/>
                          <a:pt x="304" y="17"/>
                          <a:pt x="324" y="43"/>
                        </a:cubicBezTo>
                        <a:cubicBezTo>
                          <a:pt x="344" y="70"/>
                          <a:pt x="349" y="138"/>
                          <a:pt x="309" y="147"/>
                        </a:cubicBezTo>
                        <a:cubicBezTo>
                          <a:pt x="303" y="117"/>
                          <a:pt x="295" y="86"/>
                          <a:pt x="271" y="66"/>
                        </a:cubicBezTo>
                        <a:cubicBezTo>
                          <a:pt x="239" y="41"/>
                          <a:pt x="220" y="47"/>
                          <a:pt x="186" y="56"/>
                        </a:cubicBezTo>
                        <a:cubicBezTo>
                          <a:pt x="152" y="65"/>
                          <a:pt x="122" y="71"/>
                          <a:pt x="93" y="89"/>
                        </a:cubicBezTo>
                        <a:cubicBezTo>
                          <a:pt x="62" y="107"/>
                          <a:pt x="34" y="141"/>
                          <a:pt x="0" y="1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0" name="Freeform 125"/>
                  <p:cNvSpPr>
                    <a:spLocks/>
                  </p:cNvSpPr>
                  <p:nvPr/>
                </p:nvSpPr>
                <p:spPr bwMode="gray">
                  <a:xfrm>
                    <a:off x="-2501900" y="-6432550"/>
                    <a:ext cx="2092325" cy="4953000"/>
                  </a:xfrm>
                  <a:custGeom>
                    <a:avLst/>
                    <a:gdLst/>
                    <a:ahLst/>
                    <a:cxnLst>
                      <a:cxn ang="0">
                        <a:pos x="542" y="1169"/>
                      </a:cxn>
                      <a:cxn ang="0">
                        <a:pos x="541" y="1266"/>
                      </a:cxn>
                      <a:cxn ang="0">
                        <a:pos x="455" y="1312"/>
                      </a:cxn>
                      <a:cxn ang="0">
                        <a:pos x="398" y="1245"/>
                      </a:cxn>
                      <a:cxn ang="0">
                        <a:pos x="336" y="1160"/>
                      </a:cxn>
                      <a:cxn ang="0">
                        <a:pos x="233" y="990"/>
                      </a:cxn>
                      <a:cxn ang="0">
                        <a:pos x="155" y="793"/>
                      </a:cxn>
                      <a:cxn ang="0">
                        <a:pos x="27" y="404"/>
                      </a:cxn>
                      <a:cxn ang="0">
                        <a:pos x="23" y="185"/>
                      </a:cxn>
                      <a:cxn ang="0">
                        <a:pos x="6" y="0"/>
                      </a:cxn>
                      <a:cxn ang="0">
                        <a:pos x="10" y="170"/>
                      </a:cxn>
                      <a:cxn ang="0">
                        <a:pos x="44" y="346"/>
                      </a:cxn>
                      <a:cxn ang="0">
                        <a:pos x="106" y="591"/>
                      </a:cxn>
                      <a:cxn ang="0">
                        <a:pos x="276" y="1025"/>
                      </a:cxn>
                      <a:cxn ang="0">
                        <a:pos x="386" y="1213"/>
                      </a:cxn>
                      <a:cxn ang="0">
                        <a:pos x="482" y="1240"/>
                      </a:cxn>
                      <a:cxn ang="0">
                        <a:pos x="530" y="1148"/>
                      </a:cxn>
                    </a:cxnLst>
                    <a:rect l="0" t="0" r="r" b="b"/>
                    <a:pathLst>
                      <a:path w="558" h="1321">
                        <a:moveTo>
                          <a:pt x="542" y="1169"/>
                        </a:moveTo>
                        <a:cubicBezTo>
                          <a:pt x="558" y="1191"/>
                          <a:pt x="555" y="1242"/>
                          <a:pt x="541" y="1266"/>
                        </a:cubicBezTo>
                        <a:cubicBezTo>
                          <a:pt x="530" y="1287"/>
                          <a:pt x="479" y="1321"/>
                          <a:pt x="455" y="1312"/>
                        </a:cubicBezTo>
                        <a:cubicBezTo>
                          <a:pt x="444" y="1308"/>
                          <a:pt x="405" y="1254"/>
                          <a:pt x="398" y="1245"/>
                        </a:cubicBezTo>
                        <a:cubicBezTo>
                          <a:pt x="377" y="1220"/>
                          <a:pt x="353" y="1189"/>
                          <a:pt x="336" y="1160"/>
                        </a:cubicBezTo>
                        <a:cubicBezTo>
                          <a:pt x="303" y="1104"/>
                          <a:pt x="260" y="1050"/>
                          <a:pt x="233" y="990"/>
                        </a:cubicBezTo>
                        <a:cubicBezTo>
                          <a:pt x="205" y="927"/>
                          <a:pt x="177" y="855"/>
                          <a:pt x="155" y="793"/>
                        </a:cubicBezTo>
                        <a:cubicBezTo>
                          <a:pt x="111" y="667"/>
                          <a:pt x="41" y="541"/>
                          <a:pt x="27" y="404"/>
                        </a:cubicBezTo>
                        <a:cubicBezTo>
                          <a:pt x="20" y="326"/>
                          <a:pt x="43" y="261"/>
                          <a:pt x="23" y="185"/>
                        </a:cubicBezTo>
                        <a:cubicBezTo>
                          <a:pt x="6" y="123"/>
                          <a:pt x="0" y="66"/>
                          <a:pt x="6" y="0"/>
                        </a:cubicBezTo>
                        <a:cubicBezTo>
                          <a:pt x="6" y="58"/>
                          <a:pt x="11" y="114"/>
                          <a:pt x="10" y="170"/>
                        </a:cubicBezTo>
                        <a:cubicBezTo>
                          <a:pt x="10" y="236"/>
                          <a:pt x="29" y="286"/>
                          <a:pt x="44" y="346"/>
                        </a:cubicBezTo>
                        <a:cubicBezTo>
                          <a:pt x="65" y="427"/>
                          <a:pt x="79" y="511"/>
                          <a:pt x="106" y="591"/>
                        </a:cubicBezTo>
                        <a:cubicBezTo>
                          <a:pt x="157" y="739"/>
                          <a:pt x="225" y="885"/>
                          <a:pt x="276" y="1025"/>
                        </a:cubicBezTo>
                        <a:cubicBezTo>
                          <a:pt x="306" y="1106"/>
                          <a:pt x="317" y="1165"/>
                          <a:pt x="386" y="1213"/>
                        </a:cubicBezTo>
                        <a:cubicBezTo>
                          <a:pt x="412" y="1230"/>
                          <a:pt x="449" y="1254"/>
                          <a:pt x="482" y="1240"/>
                        </a:cubicBezTo>
                        <a:cubicBezTo>
                          <a:pt x="523" y="1224"/>
                          <a:pt x="518" y="1182"/>
                          <a:pt x="530" y="11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1" name="Freeform 126"/>
                  <p:cNvSpPr>
                    <a:spLocks/>
                  </p:cNvSpPr>
                  <p:nvPr/>
                </p:nvSpPr>
                <p:spPr bwMode="gray">
                  <a:xfrm>
                    <a:off x="-1466850" y="-1479550"/>
                    <a:ext cx="854075" cy="693738"/>
                  </a:xfrm>
                  <a:custGeom>
                    <a:avLst/>
                    <a:gdLst/>
                    <a:ahLst/>
                    <a:cxnLst>
                      <a:cxn ang="0">
                        <a:pos x="13" y="30"/>
                      </a:cxn>
                      <a:cxn ang="0">
                        <a:pos x="228" y="181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28" h="185">
                        <a:moveTo>
                          <a:pt x="13" y="30"/>
                        </a:moveTo>
                        <a:cubicBezTo>
                          <a:pt x="80" y="65"/>
                          <a:pt x="145" y="185"/>
                          <a:pt x="228" y="181"/>
                        </a:cubicBezTo>
                        <a:cubicBezTo>
                          <a:pt x="216" y="68"/>
                          <a:pt x="79" y="3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2" name="Freeform 127"/>
                  <p:cNvSpPr>
                    <a:spLocks/>
                  </p:cNvSpPr>
                  <p:nvPr/>
                </p:nvSpPr>
                <p:spPr bwMode="gray">
                  <a:xfrm>
                    <a:off x="-1069975" y="-7924800"/>
                    <a:ext cx="1316038" cy="647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56" y="77"/>
                      </a:cxn>
                      <a:cxn ang="0">
                        <a:pos x="351" y="12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51" h="173">
                        <a:moveTo>
                          <a:pt x="4" y="0"/>
                        </a:moveTo>
                        <a:cubicBezTo>
                          <a:pt x="61" y="17"/>
                          <a:pt x="98" y="62"/>
                          <a:pt x="156" y="77"/>
                        </a:cubicBezTo>
                        <a:cubicBezTo>
                          <a:pt x="212" y="92"/>
                          <a:pt x="304" y="90"/>
                          <a:pt x="351" y="123"/>
                        </a:cubicBezTo>
                        <a:cubicBezTo>
                          <a:pt x="231" y="173"/>
                          <a:pt x="90" y="6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3" name="Freeform 128"/>
                  <p:cNvSpPr>
                    <a:spLocks/>
                  </p:cNvSpPr>
                  <p:nvPr/>
                </p:nvSpPr>
                <p:spPr bwMode="gray">
                  <a:xfrm>
                    <a:off x="22225" y="-1809750"/>
                    <a:ext cx="441325" cy="627063"/>
                  </a:xfrm>
                  <a:custGeom>
                    <a:avLst/>
                    <a:gdLst/>
                    <a:ahLst/>
                    <a:cxnLst>
                      <a:cxn ang="0">
                        <a:pos x="5" y="71"/>
                      </a:cxn>
                      <a:cxn ang="0">
                        <a:pos x="97" y="4"/>
                      </a:cxn>
                      <a:cxn ang="0">
                        <a:pos x="25" y="167"/>
                      </a:cxn>
                      <a:cxn ang="0">
                        <a:pos x="46" y="64"/>
                      </a:cxn>
                      <a:cxn ang="0">
                        <a:pos x="0" y="80"/>
                      </a:cxn>
                    </a:cxnLst>
                    <a:rect l="0" t="0" r="r" b="b"/>
                    <a:pathLst>
                      <a:path w="118" h="167">
                        <a:moveTo>
                          <a:pt x="5" y="71"/>
                        </a:moveTo>
                        <a:cubicBezTo>
                          <a:pt x="22" y="46"/>
                          <a:pt x="63" y="0"/>
                          <a:pt x="97" y="4"/>
                        </a:cubicBezTo>
                        <a:cubicBezTo>
                          <a:pt x="118" y="70"/>
                          <a:pt x="64" y="119"/>
                          <a:pt x="25" y="167"/>
                        </a:cubicBezTo>
                        <a:cubicBezTo>
                          <a:pt x="38" y="136"/>
                          <a:pt x="85" y="96"/>
                          <a:pt x="46" y="64"/>
                        </a:cubicBezTo>
                        <a:cubicBezTo>
                          <a:pt x="27" y="58"/>
                          <a:pt x="9" y="63"/>
                          <a:pt x="0" y="8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4" name="Freeform 129"/>
                  <p:cNvSpPr>
                    <a:spLocks/>
                  </p:cNvSpPr>
                  <p:nvPr/>
                </p:nvSpPr>
                <p:spPr bwMode="gray">
                  <a:xfrm>
                    <a:off x="969963" y="-4073525"/>
                    <a:ext cx="304800" cy="2241550"/>
                  </a:xfrm>
                  <a:custGeom>
                    <a:avLst/>
                    <a:gdLst/>
                    <a:ahLst/>
                    <a:cxnLst>
                      <a:cxn ang="0">
                        <a:pos x="26" y="17"/>
                      </a:cxn>
                      <a:cxn ang="0">
                        <a:pos x="5" y="295"/>
                      </a:cxn>
                      <a:cxn ang="0">
                        <a:pos x="9" y="460"/>
                      </a:cxn>
                      <a:cxn ang="0">
                        <a:pos x="18" y="598"/>
                      </a:cxn>
                      <a:cxn ang="0">
                        <a:pos x="64" y="309"/>
                      </a:cxn>
                      <a:cxn ang="0">
                        <a:pos x="26" y="0"/>
                      </a:cxn>
                    </a:cxnLst>
                    <a:rect l="0" t="0" r="r" b="b"/>
                    <a:pathLst>
                      <a:path w="81" h="598">
                        <a:moveTo>
                          <a:pt x="26" y="17"/>
                        </a:moveTo>
                        <a:cubicBezTo>
                          <a:pt x="26" y="112"/>
                          <a:pt x="0" y="198"/>
                          <a:pt x="5" y="295"/>
                        </a:cubicBezTo>
                        <a:cubicBezTo>
                          <a:pt x="8" y="348"/>
                          <a:pt x="4" y="406"/>
                          <a:pt x="9" y="460"/>
                        </a:cubicBezTo>
                        <a:cubicBezTo>
                          <a:pt x="13" y="505"/>
                          <a:pt x="31" y="551"/>
                          <a:pt x="18" y="598"/>
                        </a:cubicBezTo>
                        <a:cubicBezTo>
                          <a:pt x="81" y="529"/>
                          <a:pt x="65" y="399"/>
                          <a:pt x="64" y="309"/>
                        </a:cubicBezTo>
                        <a:cubicBezTo>
                          <a:pt x="63" y="204"/>
                          <a:pt x="15" y="103"/>
                          <a:pt x="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5" name="Freeform 130"/>
                  <p:cNvSpPr>
                    <a:spLocks/>
                  </p:cNvSpPr>
                  <p:nvPr/>
                </p:nvSpPr>
                <p:spPr bwMode="gray">
                  <a:xfrm>
                    <a:off x="708025" y="-8191500"/>
                    <a:ext cx="501650" cy="3529013"/>
                  </a:xfrm>
                  <a:custGeom>
                    <a:avLst/>
                    <a:gdLst/>
                    <a:ahLst/>
                    <a:cxnLst>
                      <a:cxn ang="0">
                        <a:pos x="134" y="67"/>
                      </a:cxn>
                      <a:cxn ang="0">
                        <a:pos x="0" y="182"/>
                      </a:cxn>
                      <a:cxn ang="0">
                        <a:pos x="104" y="333"/>
                      </a:cxn>
                      <a:cxn ang="0">
                        <a:pos x="66" y="544"/>
                      </a:cxn>
                      <a:cxn ang="0">
                        <a:pos x="92" y="760"/>
                      </a:cxn>
                      <a:cxn ang="0">
                        <a:pos x="100" y="857"/>
                      </a:cxn>
                      <a:cxn ang="0">
                        <a:pos x="46" y="941"/>
                      </a:cxn>
                      <a:cxn ang="0">
                        <a:pos x="130" y="751"/>
                      </a:cxn>
                      <a:cxn ang="0">
                        <a:pos x="126" y="498"/>
                      </a:cxn>
                      <a:cxn ang="0">
                        <a:pos x="126" y="0"/>
                      </a:cxn>
                    </a:cxnLst>
                    <a:rect l="0" t="0" r="r" b="b"/>
                    <a:pathLst>
                      <a:path w="134" h="941">
                        <a:moveTo>
                          <a:pt x="134" y="67"/>
                        </a:moveTo>
                        <a:cubicBezTo>
                          <a:pt x="99" y="118"/>
                          <a:pt x="41" y="139"/>
                          <a:pt x="0" y="182"/>
                        </a:cubicBezTo>
                        <a:cubicBezTo>
                          <a:pt x="74" y="171"/>
                          <a:pt x="105" y="277"/>
                          <a:pt x="104" y="333"/>
                        </a:cubicBezTo>
                        <a:cubicBezTo>
                          <a:pt x="104" y="412"/>
                          <a:pt x="83" y="473"/>
                          <a:pt x="66" y="544"/>
                        </a:cubicBezTo>
                        <a:cubicBezTo>
                          <a:pt x="49" y="619"/>
                          <a:pt x="82" y="689"/>
                          <a:pt x="92" y="760"/>
                        </a:cubicBezTo>
                        <a:cubicBezTo>
                          <a:pt x="96" y="789"/>
                          <a:pt x="103" y="828"/>
                          <a:pt x="100" y="857"/>
                        </a:cubicBezTo>
                        <a:cubicBezTo>
                          <a:pt x="96" y="902"/>
                          <a:pt x="66" y="902"/>
                          <a:pt x="46" y="941"/>
                        </a:cubicBezTo>
                        <a:cubicBezTo>
                          <a:pt x="123" y="926"/>
                          <a:pt x="133" y="817"/>
                          <a:pt x="130" y="751"/>
                        </a:cubicBezTo>
                        <a:cubicBezTo>
                          <a:pt x="126" y="669"/>
                          <a:pt x="126" y="582"/>
                          <a:pt x="126" y="498"/>
                        </a:cubicBezTo>
                        <a:cubicBezTo>
                          <a:pt x="126" y="332"/>
                          <a:pt x="126" y="166"/>
                          <a:pt x="1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6" name="Freeform 131"/>
                  <p:cNvSpPr>
                    <a:spLocks/>
                  </p:cNvSpPr>
                  <p:nvPr/>
                </p:nvSpPr>
                <p:spPr bwMode="gray">
                  <a:xfrm>
                    <a:off x="198438" y="-10363200"/>
                    <a:ext cx="1046163" cy="1816100"/>
                  </a:xfrm>
                  <a:custGeom>
                    <a:avLst/>
                    <a:gdLst/>
                    <a:ahLst/>
                    <a:cxnLst>
                      <a:cxn ang="0">
                        <a:pos x="160" y="42"/>
                      </a:cxn>
                      <a:cxn ang="0">
                        <a:pos x="98" y="97"/>
                      </a:cxn>
                      <a:cxn ang="0">
                        <a:pos x="0" y="135"/>
                      </a:cxn>
                      <a:cxn ang="0">
                        <a:pos x="113" y="136"/>
                      </a:cxn>
                      <a:cxn ang="0">
                        <a:pos x="38" y="244"/>
                      </a:cxn>
                      <a:cxn ang="0">
                        <a:pos x="152" y="244"/>
                      </a:cxn>
                      <a:cxn ang="0">
                        <a:pos x="173" y="358"/>
                      </a:cxn>
                      <a:cxn ang="0">
                        <a:pos x="106" y="430"/>
                      </a:cxn>
                      <a:cxn ang="0">
                        <a:pos x="186" y="448"/>
                      </a:cxn>
                      <a:cxn ang="0">
                        <a:pos x="207" y="477"/>
                      </a:cxn>
                      <a:cxn ang="0">
                        <a:pos x="257" y="481"/>
                      </a:cxn>
                      <a:cxn ang="0">
                        <a:pos x="236" y="233"/>
                      </a:cxn>
                      <a:cxn ang="0">
                        <a:pos x="194" y="131"/>
                      </a:cxn>
                      <a:cxn ang="0">
                        <a:pos x="173" y="0"/>
                      </a:cxn>
                    </a:cxnLst>
                    <a:rect l="0" t="0" r="r" b="b"/>
                    <a:pathLst>
                      <a:path w="279" h="484">
                        <a:moveTo>
                          <a:pt x="160" y="42"/>
                        </a:moveTo>
                        <a:cubicBezTo>
                          <a:pt x="137" y="59"/>
                          <a:pt x="123" y="82"/>
                          <a:pt x="98" y="97"/>
                        </a:cubicBezTo>
                        <a:cubicBezTo>
                          <a:pt x="67" y="115"/>
                          <a:pt x="23" y="110"/>
                          <a:pt x="0" y="135"/>
                        </a:cubicBezTo>
                        <a:cubicBezTo>
                          <a:pt x="27" y="146"/>
                          <a:pt x="84" y="151"/>
                          <a:pt x="113" y="136"/>
                        </a:cubicBezTo>
                        <a:cubicBezTo>
                          <a:pt x="109" y="175"/>
                          <a:pt x="67" y="217"/>
                          <a:pt x="38" y="244"/>
                        </a:cubicBezTo>
                        <a:cubicBezTo>
                          <a:pt x="71" y="268"/>
                          <a:pt x="117" y="259"/>
                          <a:pt x="152" y="244"/>
                        </a:cubicBezTo>
                        <a:cubicBezTo>
                          <a:pt x="168" y="277"/>
                          <a:pt x="184" y="320"/>
                          <a:pt x="173" y="358"/>
                        </a:cubicBezTo>
                        <a:cubicBezTo>
                          <a:pt x="163" y="391"/>
                          <a:pt x="129" y="404"/>
                          <a:pt x="106" y="430"/>
                        </a:cubicBezTo>
                        <a:cubicBezTo>
                          <a:pt x="142" y="433"/>
                          <a:pt x="162" y="428"/>
                          <a:pt x="186" y="448"/>
                        </a:cubicBezTo>
                        <a:cubicBezTo>
                          <a:pt x="197" y="457"/>
                          <a:pt x="188" y="467"/>
                          <a:pt x="207" y="477"/>
                        </a:cubicBezTo>
                        <a:cubicBezTo>
                          <a:pt x="220" y="484"/>
                          <a:pt x="242" y="483"/>
                          <a:pt x="257" y="481"/>
                        </a:cubicBezTo>
                        <a:cubicBezTo>
                          <a:pt x="279" y="401"/>
                          <a:pt x="265" y="309"/>
                          <a:pt x="236" y="233"/>
                        </a:cubicBezTo>
                        <a:cubicBezTo>
                          <a:pt x="223" y="198"/>
                          <a:pt x="203" y="165"/>
                          <a:pt x="194" y="131"/>
                        </a:cubicBezTo>
                        <a:cubicBezTo>
                          <a:pt x="183" y="88"/>
                          <a:pt x="190" y="41"/>
                          <a:pt x="17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7" name="Freeform 132"/>
                  <p:cNvSpPr>
                    <a:spLocks/>
                  </p:cNvSpPr>
                  <p:nvPr/>
                </p:nvSpPr>
                <p:spPr bwMode="gray">
                  <a:xfrm>
                    <a:off x="-1928813" y="-10028237"/>
                    <a:ext cx="690563" cy="1974850"/>
                  </a:xfrm>
                  <a:custGeom>
                    <a:avLst/>
                    <a:gdLst/>
                    <a:ahLst/>
                    <a:cxnLst>
                      <a:cxn ang="0">
                        <a:pos x="153" y="21"/>
                      </a:cxn>
                      <a:cxn ang="0">
                        <a:pos x="149" y="307"/>
                      </a:cxn>
                      <a:cxn ang="0">
                        <a:pos x="148" y="423"/>
                      </a:cxn>
                      <a:cxn ang="0">
                        <a:pos x="173" y="527"/>
                      </a:cxn>
                      <a:cxn ang="0">
                        <a:pos x="127" y="334"/>
                      </a:cxn>
                      <a:cxn ang="0">
                        <a:pos x="0" y="219"/>
                      </a:cxn>
                      <a:cxn ang="0">
                        <a:pos x="111" y="219"/>
                      </a:cxn>
                      <a:cxn ang="0">
                        <a:pos x="128" y="159"/>
                      </a:cxn>
                      <a:cxn ang="0">
                        <a:pos x="76" y="118"/>
                      </a:cxn>
                      <a:cxn ang="0">
                        <a:pos x="146" y="89"/>
                      </a:cxn>
                      <a:cxn ang="0">
                        <a:pos x="166" y="0"/>
                      </a:cxn>
                    </a:cxnLst>
                    <a:rect l="0" t="0" r="r" b="b"/>
                    <a:pathLst>
                      <a:path w="184" h="527">
                        <a:moveTo>
                          <a:pt x="153" y="21"/>
                        </a:moveTo>
                        <a:cubicBezTo>
                          <a:pt x="184" y="90"/>
                          <a:pt x="153" y="230"/>
                          <a:pt x="149" y="307"/>
                        </a:cubicBezTo>
                        <a:cubicBezTo>
                          <a:pt x="147" y="346"/>
                          <a:pt x="141" y="385"/>
                          <a:pt x="148" y="423"/>
                        </a:cubicBezTo>
                        <a:cubicBezTo>
                          <a:pt x="156" y="460"/>
                          <a:pt x="180" y="487"/>
                          <a:pt x="173" y="527"/>
                        </a:cubicBezTo>
                        <a:cubicBezTo>
                          <a:pt x="136" y="491"/>
                          <a:pt x="143" y="384"/>
                          <a:pt x="127" y="334"/>
                        </a:cubicBezTo>
                        <a:cubicBezTo>
                          <a:pt x="112" y="284"/>
                          <a:pt x="51" y="241"/>
                          <a:pt x="0" y="219"/>
                        </a:cubicBezTo>
                        <a:cubicBezTo>
                          <a:pt x="34" y="218"/>
                          <a:pt x="84" y="248"/>
                          <a:pt x="111" y="219"/>
                        </a:cubicBezTo>
                        <a:cubicBezTo>
                          <a:pt x="121" y="208"/>
                          <a:pt x="131" y="174"/>
                          <a:pt x="128" y="159"/>
                        </a:cubicBezTo>
                        <a:cubicBezTo>
                          <a:pt x="120" y="128"/>
                          <a:pt x="97" y="140"/>
                          <a:pt x="76" y="118"/>
                        </a:cubicBezTo>
                        <a:cubicBezTo>
                          <a:pt x="93" y="93"/>
                          <a:pt x="125" y="108"/>
                          <a:pt x="146" y="89"/>
                        </a:cubicBezTo>
                        <a:cubicBezTo>
                          <a:pt x="165" y="70"/>
                          <a:pt x="168" y="25"/>
                          <a:pt x="16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8" name="Freeform 133"/>
                  <p:cNvSpPr>
                    <a:spLocks/>
                  </p:cNvSpPr>
                  <p:nvPr/>
                </p:nvSpPr>
                <p:spPr bwMode="gray">
                  <a:xfrm>
                    <a:off x="-3011488" y="-10186987"/>
                    <a:ext cx="482600" cy="506413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129" y="34"/>
                      </a:cxn>
                      <a:cxn ang="0">
                        <a:pos x="67" y="59"/>
                      </a:cxn>
                      <a:cxn ang="0">
                        <a:pos x="101" y="105"/>
                      </a:cxn>
                      <a:cxn ang="0">
                        <a:pos x="8" y="130"/>
                      </a:cxn>
                      <a:cxn ang="0">
                        <a:pos x="49" y="4"/>
                      </a:cxn>
                    </a:cxnLst>
                    <a:rect l="0" t="0" r="r" b="b"/>
                    <a:pathLst>
                      <a:path w="129" h="135">
                        <a:moveTo>
                          <a:pt x="53" y="0"/>
                        </a:moveTo>
                        <a:cubicBezTo>
                          <a:pt x="72" y="15"/>
                          <a:pt x="106" y="33"/>
                          <a:pt x="129" y="34"/>
                        </a:cubicBezTo>
                        <a:cubicBezTo>
                          <a:pt x="125" y="56"/>
                          <a:pt x="88" y="55"/>
                          <a:pt x="67" y="59"/>
                        </a:cubicBezTo>
                        <a:cubicBezTo>
                          <a:pt x="59" y="85"/>
                          <a:pt x="72" y="107"/>
                          <a:pt x="101" y="105"/>
                        </a:cubicBezTo>
                        <a:cubicBezTo>
                          <a:pt x="76" y="109"/>
                          <a:pt x="36" y="135"/>
                          <a:pt x="8" y="130"/>
                        </a:cubicBezTo>
                        <a:cubicBezTo>
                          <a:pt x="0" y="92"/>
                          <a:pt x="19" y="27"/>
                          <a:pt x="49" y="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09" name="Freeform 134"/>
                  <p:cNvSpPr>
                    <a:spLocks/>
                  </p:cNvSpPr>
                  <p:nvPr/>
                </p:nvSpPr>
                <p:spPr bwMode="gray">
                  <a:xfrm>
                    <a:off x="-668338" y="-1020762"/>
                    <a:ext cx="517525" cy="1327150"/>
                  </a:xfrm>
                  <a:custGeom>
                    <a:avLst/>
                    <a:gdLst/>
                    <a:ahLst/>
                    <a:cxnLst>
                      <a:cxn ang="0">
                        <a:pos x="113" y="220"/>
                      </a:cxn>
                      <a:cxn ang="0">
                        <a:pos x="83" y="0"/>
                      </a:cxn>
                      <a:cxn ang="0">
                        <a:pos x="29" y="190"/>
                      </a:cxn>
                      <a:cxn ang="0">
                        <a:pos x="20" y="250"/>
                      </a:cxn>
                      <a:cxn ang="0">
                        <a:pos x="27" y="300"/>
                      </a:cxn>
                      <a:cxn ang="0">
                        <a:pos x="8" y="305"/>
                      </a:cxn>
                      <a:cxn ang="0">
                        <a:pos x="112" y="351"/>
                      </a:cxn>
                      <a:cxn ang="0">
                        <a:pos x="121" y="203"/>
                      </a:cxn>
                    </a:cxnLst>
                    <a:rect l="0" t="0" r="r" b="b"/>
                    <a:pathLst>
                      <a:path w="138" h="354">
                        <a:moveTo>
                          <a:pt x="113" y="220"/>
                        </a:moveTo>
                        <a:cubicBezTo>
                          <a:pt x="84" y="153"/>
                          <a:pt x="83" y="76"/>
                          <a:pt x="83" y="0"/>
                        </a:cubicBezTo>
                        <a:cubicBezTo>
                          <a:pt x="71" y="48"/>
                          <a:pt x="22" y="132"/>
                          <a:pt x="29" y="190"/>
                        </a:cubicBezTo>
                        <a:cubicBezTo>
                          <a:pt x="67" y="202"/>
                          <a:pt x="68" y="259"/>
                          <a:pt x="20" y="250"/>
                        </a:cubicBezTo>
                        <a:cubicBezTo>
                          <a:pt x="18" y="269"/>
                          <a:pt x="25" y="283"/>
                          <a:pt x="27" y="300"/>
                        </a:cubicBezTo>
                        <a:cubicBezTo>
                          <a:pt x="20" y="301"/>
                          <a:pt x="16" y="305"/>
                          <a:pt x="8" y="305"/>
                        </a:cubicBezTo>
                        <a:cubicBezTo>
                          <a:pt x="0" y="345"/>
                          <a:pt x="83" y="354"/>
                          <a:pt x="112" y="351"/>
                        </a:cubicBezTo>
                        <a:cubicBezTo>
                          <a:pt x="114" y="306"/>
                          <a:pt x="138" y="244"/>
                          <a:pt x="121" y="20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0" name="Freeform 135"/>
                  <p:cNvSpPr>
                    <a:spLocks/>
                  </p:cNvSpPr>
                  <p:nvPr/>
                </p:nvSpPr>
                <p:spPr bwMode="gray">
                  <a:xfrm>
                    <a:off x="-604838" y="-2014537"/>
                    <a:ext cx="479425" cy="1439863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44" y="237"/>
                      </a:cxn>
                      <a:cxn ang="0">
                        <a:pos x="104" y="313"/>
                      </a:cxn>
                      <a:cxn ang="0">
                        <a:pos x="87" y="122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128" h="384">
                        <a:moveTo>
                          <a:pt x="24" y="4"/>
                        </a:moveTo>
                        <a:cubicBezTo>
                          <a:pt x="0" y="68"/>
                          <a:pt x="31" y="173"/>
                          <a:pt x="44" y="237"/>
                        </a:cubicBezTo>
                        <a:cubicBezTo>
                          <a:pt x="49" y="263"/>
                          <a:pt x="60" y="384"/>
                          <a:pt x="104" y="313"/>
                        </a:cubicBezTo>
                        <a:cubicBezTo>
                          <a:pt x="128" y="274"/>
                          <a:pt x="104" y="160"/>
                          <a:pt x="87" y="122"/>
                        </a:cubicBezTo>
                        <a:cubicBezTo>
                          <a:pt x="67" y="76"/>
                          <a:pt x="36" y="50"/>
                          <a:pt x="2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1" name="Freeform 136"/>
                  <p:cNvSpPr>
                    <a:spLocks/>
                  </p:cNvSpPr>
                  <p:nvPr/>
                </p:nvSpPr>
                <p:spPr bwMode="gray">
                  <a:xfrm>
                    <a:off x="-2559050" y="-12211050"/>
                    <a:ext cx="1046163" cy="311150"/>
                  </a:xfrm>
                  <a:custGeom>
                    <a:avLst/>
                    <a:gdLst/>
                    <a:ahLst/>
                    <a:cxnLst>
                      <a:cxn ang="0">
                        <a:pos x="258" y="20"/>
                      </a:cxn>
                      <a:cxn ang="0">
                        <a:pos x="110" y="7"/>
                      </a:cxn>
                      <a:cxn ang="0">
                        <a:pos x="0" y="83"/>
                      </a:cxn>
                      <a:cxn ang="0">
                        <a:pos x="122" y="41"/>
                      </a:cxn>
                      <a:cxn ang="0">
                        <a:pos x="279" y="20"/>
                      </a:cxn>
                    </a:cxnLst>
                    <a:rect l="0" t="0" r="r" b="b"/>
                    <a:pathLst>
                      <a:path w="279" h="83">
                        <a:moveTo>
                          <a:pt x="258" y="20"/>
                        </a:moveTo>
                        <a:cubicBezTo>
                          <a:pt x="206" y="20"/>
                          <a:pt x="162" y="0"/>
                          <a:pt x="110" y="7"/>
                        </a:cubicBezTo>
                        <a:cubicBezTo>
                          <a:pt x="77" y="12"/>
                          <a:pt x="7" y="47"/>
                          <a:pt x="0" y="83"/>
                        </a:cubicBezTo>
                        <a:cubicBezTo>
                          <a:pt x="44" y="75"/>
                          <a:pt x="78" y="45"/>
                          <a:pt x="122" y="41"/>
                        </a:cubicBezTo>
                        <a:cubicBezTo>
                          <a:pt x="168" y="37"/>
                          <a:pt x="243" y="51"/>
                          <a:pt x="279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2" name="Freeform 137"/>
                  <p:cNvSpPr>
                    <a:spLocks/>
                  </p:cNvSpPr>
                  <p:nvPr/>
                </p:nvSpPr>
                <p:spPr bwMode="gray">
                  <a:xfrm>
                    <a:off x="-3270250" y="-12414250"/>
                    <a:ext cx="600075" cy="454025"/>
                  </a:xfrm>
                  <a:custGeom>
                    <a:avLst/>
                    <a:gdLst/>
                    <a:ahLst/>
                    <a:cxnLst>
                      <a:cxn ang="0">
                        <a:pos x="4" y="116"/>
                      </a:cxn>
                      <a:cxn ang="0">
                        <a:pos x="160" y="0"/>
                      </a:cxn>
                      <a:cxn ang="0">
                        <a:pos x="0" y="121"/>
                      </a:cxn>
                    </a:cxnLst>
                    <a:rect l="0" t="0" r="r" b="b"/>
                    <a:pathLst>
                      <a:path w="160" h="121">
                        <a:moveTo>
                          <a:pt x="4" y="116"/>
                        </a:moveTo>
                        <a:cubicBezTo>
                          <a:pt x="36" y="75"/>
                          <a:pt x="109" y="19"/>
                          <a:pt x="160" y="0"/>
                        </a:cubicBezTo>
                        <a:cubicBezTo>
                          <a:pt x="136" y="36"/>
                          <a:pt x="44" y="115"/>
                          <a:pt x="0" y="1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3" name="Freeform 138"/>
                  <p:cNvSpPr>
                    <a:spLocks/>
                  </p:cNvSpPr>
                  <p:nvPr/>
                </p:nvSpPr>
                <p:spPr bwMode="gray">
                  <a:xfrm>
                    <a:off x="-3713163" y="-13385800"/>
                    <a:ext cx="944563" cy="746125"/>
                  </a:xfrm>
                  <a:custGeom>
                    <a:avLst/>
                    <a:gdLst/>
                    <a:ahLst/>
                    <a:cxnLst>
                      <a:cxn ang="0">
                        <a:pos x="207" y="101"/>
                      </a:cxn>
                      <a:cxn ang="0">
                        <a:pos x="30" y="0"/>
                      </a:cxn>
                      <a:cxn ang="0">
                        <a:pos x="101" y="114"/>
                      </a:cxn>
                      <a:cxn ang="0">
                        <a:pos x="0" y="152"/>
                      </a:cxn>
                      <a:cxn ang="0">
                        <a:pos x="126" y="138"/>
                      </a:cxn>
                      <a:cxn ang="0">
                        <a:pos x="252" y="126"/>
                      </a:cxn>
                      <a:cxn ang="0">
                        <a:pos x="223" y="92"/>
                      </a:cxn>
                    </a:cxnLst>
                    <a:rect l="0" t="0" r="r" b="b"/>
                    <a:pathLst>
                      <a:path w="252" h="199">
                        <a:moveTo>
                          <a:pt x="207" y="101"/>
                        </a:moveTo>
                        <a:cubicBezTo>
                          <a:pt x="131" y="101"/>
                          <a:pt x="92" y="34"/>
                          <a:pt x="30" y="0"/>
                        </a:cubicBezTo>
                        <a:cubicBezTo>
                          <a:pt x="40" y="43"/>
                          <a:pt x="84" y="73"/>
                          <a:pt x="101" y="114"/>
                        </a:cubicBezTo>
                        <a:cubicBezTo>
                          <a:pt x="70" y="130"/>
                          <a:pt x="38" y="157"/>
                          <a:pt x="0" y="152"/>
                        </a:cubicBezTo>
                        <a:cubicBezTo>
                          <a:pt x="11" y="199"/>
                          <a:pt x="102" y="157"/>
                          <a:pt x="126" y="138"/>
                        </a:cubicBezTo>
                        <a:cubicBezTo>
                          <a:pt x="175" y="100"/>
                          <a:pt x="199" y="115"/>
                          <a:pt x="252" y="126"/>
                        </a:cubicBezTo>
                        <a:cubicBezTo>
                          <a:pt x="250" y="111"/>
                          <a:pt x="236" y="100"/>
                          <a:pt x="223" y="9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4" name="Freeform 139"/>
                  <p:cNvSpPr>
                    <a:spLocks/>
                  </p:cNvSpPr>
                  <p:nvPr/>
                </p:nvSpPr>
                <p:spPr bwMode="gray">
                  <a:xfrm>
                    <a:off x="-3349625" y="-15114587"/>
                    <a:ext cx="498475" cy="495300"/>
                  </a:xfrm>
                  <a:custGeom>
                    <a:avLst/>
                    <a:gdLst/>
                    <a:ahLst/>
                    <a:cxnLst>
                      <a:cxn ang="0">
                        <a:pos x="0" y="13"/>
                      </a:cxn>
                      <a:cxn ang="0">
                        <a:pos x="126" y="126"/>
                      </a:cxn>
                      <a:cxn ang="0">
                        <a:pos x="66" y="77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133" h="132">
                        <a:moveTo>
                          <a:pt x="0" y="13"/>
                        </a:moveTo>
                        <a:cubicBezTo>
                          <a:pt x="26" y="71"/>
                          <a:pt x="52" y="132"/>
                          <a:pt x="126" y="126"/>
                        </a:cubicBezTo>
                        <a:cubicBezTo>
                          <a:pt x="133" y="95"/>
                          <a:pt x="87" y="89"/>
                          <a:pt x="66" y="77"/>
                        </a:cubicBezTo>
                        <a:cubicBezTo>
                          <a:pt x="34" y="59"/>
                          <a:pt x="12" y="43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5" name="Freeform 140"/>
                  <p:cNvSpPr>
                    <a:spLocks/>
                  </p:cNvSpPr>
                  <p:nvPr/>
                </p:nvSpPr>
                <p:spPr bwMode="gray">
                  <a:xfrm>
                    <a:off x="-3035300" y="-11566525"/>
                    <a:ext cx="304800" cy="600075"/>
                  </a:xfrm>
                  <a:custGeom>
                    <a:avLst/>
                    <a:gdLst/>
                    <a:ahLst/>
                    <a:cxnLst>
                      <a:cxn ang="0">
                        <a:pos x="72" y="55"/>
                      </a:cxn>
                      <a:cxn ang="0">
                        <a:pos x="76" y="151"/>
                      </a:cxn>
                      <a:cxn ang="0">
                        <a:pos x="4" y="80"/>
                      </a:cxn>
                      <a:cxn ang="0">
                        <a:pos x="68" y="68"/>
                      </a:cxn>
                    </a:cxnLst>
                    <a:rect l="0" t="0" r="r" b="b"/>
                    <a:pathLst>
                      <a:path w="81" h="160">
                        <a:moveTo>
                          <a:pt x="72" y="55"/>
                        </a:moveTo>
                        <a:cubicBezTo>
                          <a:pt x="61" y="108"/>
                          <a:pt x="27" y="104"/>
                          <a:pt x="76" y="151"/>
                        </a:cubicBezTo>
                        <a:cubicBezTo>
                          <a:pt x="37" y="160"/>
                          <a:pt x="0" y="117"/>
                          <a:pt x="4" y="80"/>
                        </a:cubicBezTo>
                        <a:cubicBezTo>
                          <a:pt x="10" y="31"/>
                          <a:pt x="81" y="0"/>
                          <a:pt x="68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6" name="Freeform 141"/>
                  <p:cNvSpPr>
                    <a:spLocks/>
                  </p:cNvSpPr>
                  <p:nvPr/>
                </p:nvSpPr>
                <p:spPr bwMode="gray">
                  <a:xfrm>
                    <a:off x="-1174750" y="-15687675"/>
                    <a:ext cx="423863" cy="173038"/>
                  </a:xfrm>
                  <a:custGeom>
                    <a:avLst/>
                    <a:gdLst/>
                    <a:ahLst/>
                    <a:cxnLst>
                      <a:cxn ang="0">
                        <a:pos x="5" y="13"/>
                      </a:cxn>
                      <a:cxn ang="0">
                        <a:pos x="113" y="0"/>
                      </a:cxn>
                      <a:cxn ang="0">
                        <a:pos x="92" y="32"/>
                      </a:cxn>
                      <a:cxn ang="0">
                        <a:pos x="56" y="45"/>
                      </a:cxn>
                      <a:cxn ang="0">
                        <a:pos x="42" y="40"/>
                      </a:cxn>
                      <a:cxn ang="0">
                        <a:pos x="20" y="37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13" h="46">
                        <a:moveTo>
                          <a:pt x="5" y="13"/>
                        </a:moveTo>
                        <a:cubicBezTo>
                          <a:pt x="41" y="29"/>
                          <a:pt x="80" y="18"/>
                          <a:pt x="113" y="0"/>
                        </a:cubicBezTo>
                        <a:cubicBezTo>
                          <a:pt x="107" y="10"/>
                          <a:pt x="102" y="26"/>
                          <a:pt x="92" y="32"/>
                        </a:cubicBezTo>
                        <a:cubicBezTo>
                          <a:pt x="84" y="37"/>
                          <a:pt x="66" y="46"/>
                          <a:pt x="56" y="45"/>
                        </a:cubicBezTo>
                        <a:cubicBezTo>
                          <a:pt x="50" y="45"/>
                          <a:pt x="47" y="42"/>
                          <a:pt x="42" y="40"/>
                        </a:cubicBezTo>
                        <a:cubicBezTo>
                          <a:pt x="35" y="38"/>
                          <a:pt x="27" y="39"/>
                          <a:pt x="20" y="37"/>
                        </a:cubicBezTo>
                        <a:cubicBezTo>
                          <a:pt x="11" y="34"/>
                          <a:pt x="3" y="21"/>
                          <a:pt x="0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7" name="Freeform 142"/>
                  <p:cNvSpPr>
                    <a:spLocks/>
                  </p:cNvSpPr>
                  <p:nvPr/>
                </p:nvSpPr>
                <p:spPr bwMode="gray">
                  <a:xfrm>
                    <a:off x="-1246188" y="-11239500"/>
                    <a:ext cx="1897063" cy="614363"/>
                  </a:xfrm>
                  <a:custGeom>
                    <a:avLst/>
                    <a:gdLst/>
                    <a:ahLst/>
                    <a:cxnLst>
                      <a:cxn ang="0">
                        <a:pos x="433" y="0"/>
                      </a:cxn>
                      <a:cxn ang="0">
                        <a:pos x="331" y="121"/>
                      </a:cxn>
                      <a:cxn ang="0">
                        <a:pos x="135" y="122"/>
                      </a:cxn>
                      <a:cxn ang="0">
                        <a:pos x="17" y="73"/>
                      </a:cxn>
                      <a:cxn ang="0">
                        <a:pos x="95" y="95"/>
                      </a:cxn>
                    </a:cxnLst>
                    <a:rect l="0" t="0" r="r" b="b"/>
                    <a:pathLst>
                      <a:path w="506" h="164">
                        <a:moveTo>
                          <a:pt x="433" y="0"/>
                        </a:moveTo>
                        <a:cubicBezTo>
                          <a:pt x="506" y="50"/>
                          <a:pt x="358" y="108"/>
                          <a:pt x="331" y="121"/>
                        </a:cubicBezTo>
                        <a:cubicBezTo>
                          <a:pt x="253" y="160"/>
                          <a:pt x="212" y="126"/>
                          <a:pt x="135" y="122"/>
                        </a:cubicBezTo>
                        <a:cubicBezTo>
                          <a:pt x="91" y="119"/>
                          <a:pt x="0" y="164"/>
                          <a:pt x="17" y="73"/>
                        </a:cubicBezTo>
                        <a:cubicBezTo>
                          <a:pt x="48" y="50"/>
                          <a:pt x="76" y="69"/>
                          <a:pt x="95" y="9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8" name="Freeform 143"/>
                  <p:cNvSpPr>
                    <a:spLocks/>
                  </p:cNvSpPr>
                  <p:nvPr/>
                </p:nvSpPr>
                <p:spPr bwMode="gray">
                  <a:xfrm>
                    <a:off x="-825500" y="-11150600"/>
                    <a:ext cx="592138" cy="203200"/>
                  </a:xfrm>
                  <a:custGeom>
                    <a:avLst/>
                    <a:gdLst/>
                    <a:ahLst/>
                    <a:cxnLst>
                      <a:cxn ang="0">
                        <a:pos x="0" y="54"/>
                      </a:cxn>
                      <a:cxn ang="0">
                        <a:pos x="106" y="0"/>
                      </a:cxn>
                      <a:cxn ang="0">
                        <a:pos x="90" y="42"/>
                      </a:cxn>
                      <a:cxn ang="0">
                        <a:pos x="156" y="5"/>
                      </a:cxn>
                      <a:cxn ang="0">
                        <a:pos x="158" y="25"/>
                      </a:cxn>
                    </a:cxnLst>
                    <a:rect l="0" t="0" r="r" b="b"/>
                    <a:pathLst>
                      <a:path w="158" h="54">
                        <a:moveTo>
                          <a:pt x="0" y="54"/>
                        </a:moveTo>
                        <a:cubicBezTo>
                          <a:pt x="44" y="50"/>
                          <a:pt x="68" y="17"/>
                          <a:pt x="106" y="0"/>
                        </a:cubicBezTo>
                        <a:cubicBezTo>
                          <a:pt x="100" y="16"/>
                          <a:pt x="103" y="28"/>
                          <a:pt x="90" y="42"/>
                        </a:cubicBezTo>
                        <a:cubicBezTo>
                          <a:pt x="115" y="37"/>
                          <a:pt x="136" y="19"/>
                          <a:pt x="156" y="5"/>
                        </a:cubicBezTo>
                        <a:cubicBezTo>
                          <a:pt x="157" y="11"/>
                          <a:pt x="158" y="18"/>
                          <a:pt x="158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19" name="Freeform 144"/>
                  <p:cNvSpPr>
                    <a:spLocks/>
                  </p:cNvSpPr>
                  <p:nvPr/>
                </p:nvSpPr>
                <p:spPr bwMode="gray">
                  <a:xfrm>
                    <a:off x="-417513" y="-19359562"/>
                    <a:ext cx="180975" cy="488950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1" y="30"/>
                      </a:cxn>
                      <a:cxn ang="0">
                        <a:pos x="15" y="26"/>
                      </a:cxn>
                      <a:cxn ang="0">
                        <a:pos x="6" y="53"/>
                      </a:cxn>
                      <a:cxn ang="0">
                        <a:pos x="12" y="75"/>
                      </a:cxn>
                      <a:cxn ang="0">
                        <a:pos x="4" y="72"/>
                      </a:cxn>
                      <a:cxn ang="0">
                        <a:pos x="7" y="108"/>
                      </a:cxn>
                      <a:cxn ang="0">
                        <a:pos x="3" y="105"/>
                      </a:cxn>
                      <a:cxn ang="0">
                        <a:pos x="1" y="122"/>
                      </a:cxn>
                      <a:cxn ang="0">
                        <a:pos x="16" y="130"/>
                      </a:cxn>
                      <a:cxn ang="0">
                        <a:pos x="16" y="114"/>
                      </a:cxn>
                      <a:cxn ang="0">
                        <a:pos x="26" y="121"/>
                      </a:cxn>
                      <a:cxn ang="0">
                        <a:pos x="27" y="100"/>
                      </a:cxn>
                      <a:cxn ang="0">
                        <a:pos x="34" y="105"/>
                      </a:cxn>
                      <a:cxn ang="0">
                        <a:pos x="34" y="69"/>
                      </a:cxn>
                      <a:cxn ang="0">
                        <a:pos x="48" y="78"/>
                      </a:cxn>
                      <a:cxn ang="0">
                        <a:pos x="39" y="48"/>
                      </a:cxn>
                      <a:cxn ang="0">
                        <a:pos x="37" y="23"/>
                      </a:cxn>
                      <a:cxn ang="0">
                        <a:pos x="42" y="23"/>
                      </a:cxn>
                      <a:cxn ang="0">
                        <a:pos x="40" y="13"/>
                      </a:cxn>
                      <a:cxn ang="0">
                        <a:pos x="33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48" h="130">
                        <a:moveTo>
                          <a:pt x="12" y="0"/>
                        </a:moveTo>
                        <a:cubicBezTo>
                          <a:pt x="22" y="7"/>
                          <a:pt x="21" y="18"/>
                          <a:pt x="21" y="30"/>
                        </a:cubicBezTo>
                        <a:cubicBezTo>
                          <a:pt x="19" y="29"/>
                          <a:pt x="17" y="28"/>
                          <a:pt x="15" y="26"/>
                        </a:cubicBezTo>
                        <a:cubicBezTo>
                          <a:pt x="14" y="30"/>
                          <a:pt x="20" y="66"/>
                          <a:pt x="6" y="53"/>
                        </a:cubicBezTo>
                        <a:cubicBezTo>
                          <a:pt x="6" y="61"/>
                          <a:pt x="8" y="68"/>
                          <a:pt x="12" y="75"/>
                        </a:cubicBezTo>
                        <a:cubicBezTo>
                          <a:pt x="9" y="76"/>
                          <a:pt x="7" y="74"/>
                          <a:pt x="4" y="72"/>
                        </a:cubicBezTo>
                        <a:cubicBezTo>
                          <a:pt x="3" y="84"/>
                          <a:pt x="5" y="97"/>
                          <a:pt x="7" y="108"/>
                        </a:cubicBezTo>
                        <a:cubicBezTo>
                          <a:pt x="6" y="107"/>
                          <a:pt x="5" y="107"/>
                          <a:pt x="3" y="105"/>
                        </a:cubicBezTo>
                        <a:cubicBezTo>
                          <a:pt x="3" y="113"/>
                          <a:pt x="0" y="115"/>
                          <a:pt x="1" y="122"/>
                        </a:cubicBezTo>
                        <a:cubicBezTo>
                          <a:pt x="5" y="124"/>
                          <a:pt x="11" y="127"/>
                          <a:pt x="16" y="130"/>
                        </a:cubicBezTo>
                        <a:cubicBezTo>
                          <a:pt x="16" y="125"/>
                          <a:pt x="16" y="120"/>
                          <a:pt x="16" y="114"/>
                        </a:cubicBezTo>
                        <a:cubicBezTo>
                          <a:pt x="19" y="116"/>
                          <a:pt x="22" y="119"/>
                          <a:pt x="26" y="121"/>
                        </a:cubicBezTo>
                        <a:cubicBezTo>
                          <a:pt x="26" y="114"/>
                          <a:pt x="27" y="107"/>
                          <a:pt x="27" y="100"/>
                        </a:cubicBezTo>
                        <a:cubicBezTo>
                          <a:pt x="30" y="101"/>
                          <a:pt x="32" y="103"/>
                          <a:pt x="34" y="105"/>
                        </a:cubicBezTo>
                        <a:cubicBezTo>
                          <a:pt x="39" y="97"/>
                          <a:pt x="35" y="78"/>
                          <a:pt x="34" y="69"/>
                        </a:cubicBezTo>
                        <a:cubicBezTo>
                          <a:pt x="35" y="73"/>
                          <a:pt x="44" y="76"/>
                          <a:pt x="48" y="78"/>
                        </a:cubicBezTo>
                        <a:cubicBezTo>
                          <a:pt x="48" y="68"/>
                          <a:pt x="40" y="59"/>
                          <a:pt x="39" y="48"/>
                        </a:cubicBezTo>
                        <a:cubicBezTo>
                          <a:pt x="46" y="47"/>
                          <a:pt x="38" y="28"/>
                          <a:pt x="37" y="23"/>
                        </a:cubicBezTo>
                        <a:cubicBezTo>
                          <a:pt x="38" y="23"/>
                          <a:pt x="40" y="23"/>
                          <a:pt x="42" y="23"/>
                        </a:cubicBezTo>
                        <a:cubicBezTo>
                          <a:pt x="42" y="23"/>
                          <a:pt x="40" y="14"/>
                          <a:pt x="40" y="13"/>
                        </a:cubicBezTo>
                        <a:cubicBezTo>
                          <a:pt x="38" y="11"/>
                          <a:pt x="36" y="9"/>
                          <a:pt x="33" y="8"/>
                        </a:cubicBezTo>
                        <a:cubicBezTo>
                          <a:pt x="28" y="5"/>
                          <a:pt x="17" y="1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0" name="Freeform 145"/>
                  <p:cNvSpPr>
                    <a:spLocks/>
                  </p:cNvSpPr>
                  <p:nvPr/>
                </p:nvSpPr>
                <p:spPr bwMode="gray">
                  <a:xfrm>
                    <a:off x="-95250" y="-19073812"/>
                    <a:ext cx="184150" cy="145097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9" y="38"/>
                      </a:cxn>
                      <a:cxn ang="0">
                        <a:pos x="22" y="74"/>
                      </a:cxn>
                      <a:cxn ang="0">
                        <a:pos x="32" y="176"/>
                      </a:cxn>
                      <a:cxn ang="0">
                        <a:pos x="26" y="162"/>
                      </a:cxn>
                      <a:cxn ang="0">
                        <a:pos x="25" y="188"/>
                      </a:cxn>
                      <a:cxn ang="0">
                        <a:pos x="25" y="222"/>
                      </a:cxn>
                      <a:cxn ang="0">
                        <a:pos x="15" y="250"/>
                      </a:cxn>
                      <a:cxn ang="0">
                        <a:pos x="19" y="273"/>
                      </a:cxn>
                      <a:cxn ang="0">
                        <a:pos x="14" y="252"/>
                      </a:cxn>
                      <a:cxn ang="0">
                        <a:pos x="11" y="328"/>
                      </a:cxn>
                      <a:cxn ang="0">
                        <a:pos x="8" y="362"/>
                      </a:cxn>
                      <a:cxn ang="0">
                        <a:pos x="2" y="387"/>
                      </a:cxn>
                      <a:cxn ang="0">
                        <a:pos x="21" y="363"/>
                      </a:cxn>
                      <a:cxn ang="0">
                        <a:pos x="31" y="328"/>
                      </a:cxn>
                      <a:cxn ang="0">
                        <a:pos x="34" y="285"/>
                      </a:cxn>
                      <a:cxn ang="0">
                        <a:pos x="38" y="241"/>
                      </a:cxn>
                      <a:cxn ang="0">
                        <a:pos x="45" y="196"/>
                      </a:cxn>
                      <a:cxn ang="0">
                        <a:pos x="46" y="157"/>
                      </a:cxn>
                      <a:cxn ang="0">
                        <a:pos x="43" y="117"/>
                      </a:cxn>
                      <a:cxn ang="0">
                        <a:pos x="36" y="81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49" h="387">
                        <a:moveTo>
                          <a:pt x="1" y="0"/>
                        </a:moveTo>
                        <a:cubicBezTo>
                          <a:pt x="0" y="12"/>
                          <a:pt x="8" y="27"/>
                          <a:pt x="9" y="38"/>
                        </a:cubicBezTo>
                        <a:cubicBezTo>
                          <a:pt x="11" y="50"/>
                          <a:pt x="18" y="62"/>
                          <a:pt x="22" y="74"/>
                        </a:cubicBezTo>
                        <a:cubicBezTo>
                          <a:pt x="33" y="104"/>
                          <a:pt x="38" y="143"/>
                          <a:pt x="32" y="176"/>
                        </a:cubicBezTo>
                        <a:cubicBezTo>
                          <a:pt x="31" y="171"/>
                          <a:pt x="26" y="168"/>
                          <a:pt x="26" y="162"/>
                        </a:cubicBezTo>
                        <a:cubicBezTo>
                          <a:pt x="27" y="171"/>
                          <a:pt x="25" y="180"/>
                          <a:pt x="25" y="188"/>
                        </a:cubicBezTo>
                        <a:cubicBezTo>
                          <a:pt x="25" y="199"/>
                          <a:pt x="27" y="212"/>
                          <a:pt x="25" y="222"/>
                        </a:cubicBezTo>
                        <a:cubicBezTo>
                          <a:pt x="23" y="231"/>
                          <a:pt x="16" y="241"/>
                          <a:pt x="15" y="250"/>
                        </a:cubicBezTo>
                        <a:cubicBezTo>
                          <a:pt x="14" y="258"/>
                          <a:pt x="17" y="266"/>
                          <a:pt x="19" y="273"/>
                        </a:cubicBezTo>
                        <a:cubicBezTo>
                          <a:pt x="19" y="267"/>
                          <a:pt x="16" y="258"/>
                          <a:pt x="14" y="252"/>
                        </a:cubicBezTo>
                        <a:cubicBezTo>
                          <a:pt x="2" y="276"/>
                          <a:pt x="11" y="303"/>
                          <a:pt x="11" y="328"/>
                        </a:cubicBezTo>
                        <a:cubicBezTo>
                          <a:pt x="11" y="340"/>
                          <a:pt x="10" y="351"/>
                          <a:pt x="8" y="362"/>
                        </a:cubicBezTo>
                        <a:cubicBezTo>
                          <a:pt x="7" y="370"/>
                          <a:pt x="6" y="380"/>
                          <a:pt x="2" y="387"/>
                        </a:cubicBezTo>
                        <a:cubicBezTo>
                          <a:pt x="7" y="378"/>
                          <a:pt x="17" y="373"/>
                          <a:pt x="21" y="363"/>
                        </a:cubicBezTo>
                        <a:cubicBezTo>
                          <a:pt x="26" y="351"/>
                          <a:pt x="29" y="340"/>
                          <a:pt x="31" y="328"/>
                        </a:cubicBezTo>
                        <a:cubicBezTo>
                          <a:pt x="33" y="314"/>
                          <a:pt x="32" y="299"/>
                          <a:pt x="34" y="285"/>
                        </a:cubicBezTo>
                        <a:cubicBezTo>
                          <a:pt x="35" y="270"/>
                          <a:pt x="38" y="256"/>
                          <a:pt x="38" y="241"/>
                        </a:cubicBezTo>
                        <a:cubicBezTo>
                          <a:pt x="39" y="226"/>
                          <a:pt x="41" y="210"/>
                          <a:pt x="45" y="196"/>
                        </a:cubicBezTo>
                        <a:cubicBezTo>
                          <a:pt x="49" y="182"/>
                          <a:pt x="46" y="172"/>
                          <a:pt x="46" y="157"/>
                        </a:cubicBezTo>
                        <a:cubicBezTo>
                          <a:pt x="46" y="143"/>
                          <a:pt x="46" y="131"/>
                          <a:pt x="43" y="117"/>
                        </a:cubicBezTo>
                        <a:cubicBezTo>
                          <a:pt x="42" y="106"/>
                          <a:pt x="40" y="92"/>
                          <a:pt x="36" y="81"/>
                        </a:cubicBezTo>
                        <a:cubicBezTo>
                          <a:pt x="30" y="67"/>
                          <a:pt x="9" y="10"/>
                          <a:pt x="1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1" name="Freeform 146"/>
                  <p:cNvSpPr>
                    <a:spLocks/>
                  </p:cNvSpPr>
                  <p:nvPr/>
                </p:nvSpPr>
                <p:spPr bwMode="gray">
                  <a:xfrm>
                    <a:off x="-2160588" y="-18788062"/>
                    <a:ext cx="220663" cy="557213"/>
                  </a:xfrm>
                  <a:custGeom>
                    <a:avLst/>
                    <a:gdLst/>
                    <a:ahLst/>
                    <a:cxnLst>
                      <a:cxn ang="0">
                        <a:pos x="59" y="142"/>
                      </a:cxn>
                      <a:cxn ang="0">
                        <a:pos x="50" y="113"/>
                      </a:cxn>
                      <a:cxn ang="0">
                        <a:pos x="54" y="79"/>
                      </a:cxn>
                      <a:cxn ang="0">
                        <a:pos x="39" y="97"/>
                      </a:cxn>
                      <a:cxn ang="0">
                        <a:pos x="38" y="63"/>
                      </a:cxn>
                      <a:cxn ang="0">
                        <a:pos x="18" y="73"/>
                      </a:cxn>
                      <a:cxn ang="0">
                        <a:pos x="21" y="0"/>
                      </a:cxn>
                      <a:cxn ang="0">
                        <a:pos x="2" y="34"/>
                      </a:cxn>
                      <a:cxn ang="0">
                        <a:pos x="1" y="72"/>
                      </a:cxn>
                      <a:cxn ang="0">
                        <a:pos x="14" y="106"/>
                      </a:cxn>
                      <a:cxn ang="0">
                        <a:pos x="22" y="122"/>
                      </a:cxn>
                      <a:cxn ang="0">
                        <a:pos x="29" y="140"/>
                      </a:cxn>
                      <a:cxn ang="0">
                        <a:pos x="38" y="147"/>
                      </a:cxn>
                      <a:cxn ang="0">
                        <a:pos x="38" y="149"/>
                      </a:cxn>
                      <a:cxn ang="0">
                        <a:pos x="49" y="144"/>
                      </a:cxn>
                      <a:cxn ang="0">
                        <a:pos x="59" y="142"/>
                      </a:cxn>
                    </a:cxnLst>
                    <a:rect l="0" t="0" r="r" b="b"/>
                    <a:pathLst>
                      <a:path w="59" h="149">
                        <a:moveTo>
                          <a:pt x="59" y="142"/>
                        </a:moveTo>
                        <a:cubicBezTo>
                          <a:pt x="57" y="132"/>
                          <a:pt x="50" y="124"/>
                          <a:pt x="50" y="113"/>
                        </a:cubicBezTo>
                        <a:cubicBezTo>
                          <a:pt x="49" y="101"/>
                          <a:pt x="52" y="90"/>
                          <a:pt x="54" y="79"/>
                        </a:cubicBezTo>
                        <a:cubicBezTo>
                          <a:pt x="46" y="78"/>
                          <a:pt x="38" y="90"/>
                          <a:pt x="39" y="97"/>
                        </a:cubicBezTo>
                        <a:cubicBezTo>
                          <a:pt x="34" y="86"/>
                          <a:pt x="31" y="73"/>
                          <a:pt x="38" y="63"/>
                        </a:cubicBezTo>
                        <a:cubicBezTo>
                          <a:pt x="29" y="59"/>
                          <a:pt x="23" y="68"/>
                          <a:pt x="18" y="73"/>
                        </a:cubicBezTo>
                        <a:cubicBezTo>
                          <a:pt x="11" y="49"/>
                          <a:pt x="16" y="24"/>
                          <a:pt x="21" y="0"/>
                        </a:cubicBezTo>
                        <a:cubicBezTo>
                          <a:pt x="9" y="4"/>
                          <a:pt x="3" y="23"/>
                          <a:pt x="2" y="34"/>
                        </a:cubicBezTo>
                        <a:cubicBezTo>
                          <a:pt x="1" y="46"/>
                          <a:pt x="0" y="61"/>
                          <a:pt x="1" y="72"/>
                        </a:cubicBezTo>
                        <a:cubicBezTo>
                          <a:pt x="3" y="85"/>
                          <a:pt x="7" y="95"/>
                          <a:pt x="14" y="106"/>
                        </a:cubicBezTo>
                        <a:cubicBezTo>
                          <a:pt x="17" y="111"/>
                          <a:pt x="20" y="117"/>
                          <a:pt x="22" y="122"/>
                        </a:cubicBezTo>
                        <a:cubicBezTo>
                          <a:pt x="25" y="127"/>
                          <a:pt x="26" y="135"/>
                          <a:pt x="29" y="140"/>
                        </a:cubicBezTo>
                        <a:cubicBezTo>
                          <a:pt x="31" y="144"/>
                          <a:pt x="34" y="146"/>
                          <a:pt x="38" y="147"/>
                        </a:cubicBezTo>
                        <a:cubicBezTo>
                          <a:pt x="38" y="148"/>
                          <a:pt x="38" y="148"/>
                          <a:pt x="38" y="149"/>
                        </a:cubicBezTo>
                        <a:cubicBezTo>
                          <a:pt x="43" y="149"/>
                          <a:pt x="45" y="146"/>
                          <a:pt x="49" y="144"/>
                        </a:cubicBezTo>
                        <a:cubicBezTo>
                          <a:pt x="52" y="143"/>
                          <a:pt x="57" y="142"/>
                          <a:pt x="59" y="1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2" name="Freeform 147"/>
                  <p:cNvSpPr>
                    <a:spLocks/>
                  </p:cNvSpPr>
                  <p:nvPr/>
                </p:nvSpPr>
                <p:spPr bwMode="gray">
                  <a:xfrm>
                    <a:off x="-2044700" y="-19318287"/>
                    <a:ext cx="280988" cy="176213"/>
                  </a:xfrm>
                  <a:custGeom>
                    <a:avLst/>
                    <a:gdLst/>
                    <a:ahLst/>
                    <a:cxnLst>
                      <a:cxn ang="0">
                        <a:pos x="0" y="38"/>
                      </a:cxn>
                      <a:cxn ang="0">
                        <a:pos x="75" y="1"/>
                      </a:cxn>
                      <a:cxn ang="0">
                        <a:pos x="58" y="18"/>
                      </a:cxn>
                      <a:cxn ang="0">
                        <a:pos x="40" y="34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75" h="47">
                        <a:moveTo>
                          <a:pt x="0" y="38"/>
                        </a:moveTo>
                        <a:cubicBezTo>
                          <a:pt x="20" y="17"/>
                          <a:pt x="45" y="0"/>
                          <a:pt x="75" y="1"/>
                        </a:cubicBezTo>
                        <a:cubicBezTo>
                          <a:pt x="75" y="7"/>
                          <a:pt x="62" y="15"/>
                          <a:pt x="58" y="18"/>
                        </a:cubicBezTo>
                        <a:cubicBezTo>
                          <a:pt x="52" y="23"/>
                          <a:pt x="46" y="28"/>
                          <a:pt x="40" y="34"/>
                        </a:cubicBezTo>
                        <a:cubicBezTo>
                          <a:pt x="27" y="47"/>
                          <a:pt x="16" y="38"/>
                          <a:pt x="0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3" name="Freeform 148"/>
                  <p:cNvSpPr>
                    <a:spLocks/>
                  </p:cNvSpPr>
                  <p:nvPr/>
                </p:nvSpPr>
                <p:spPr bwMode="gray">
                  <a:xfrm>
                    <a:off x="-1789113" y="-19535775"/>
                    <a:ext cx="295275" cy="117475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39" y="16"/>
                      </a:cxn>
                      <a:cxn ang="0">
                        <a:pos x="79" y="0"/>
                      </a:cxn>
                      <a:cxn ang="0">
                        <a:pos x="55" y="14"/>
                      </a:cxn>
                      <a:cxn ang="0">
                        <a:pos x="41" y="20"/>
                      </a:cxn>
                      <a:cxn ang="0">
                        <a:pos x="13" y="29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9" h="31">
                        <a:moveTo>
                          <a:pt x="0" y="10"/>
                        </a:moveTo>
                        <a:cubicBezTo>
                          <a:pt x="5" y="19"/>
                          <a:pt x="31" y="17"/>
                          <a:pt x="39" y="16"/>
                        </a:cubicBezTo>
                        <a:cubicBezTo>
                          <a:pt x="53" y="13"/>
                          <a:pt x="66" y="4"/>
                          <a:pt x="79" y="0"/>
                        </a:cubicBezTo>
                        <a:cubicBezTo>
                          <a:pt x="77" y="5"/>
                          <a:pt x="61" y="11"/>
                          <a:pt x="55" y="14"/>
                        </a:cubicBezTo>
                        <a:cubicBezTo>
                          <a:pt x="51" y="17"/>
                          <a:pt x="46" y="18"/>
                          <a:pt x="41" y="20"/>
                        </a:cubicBezTo>
                        <a:cubicBezTo>
                          <a:pt x="33" y="24"/>
                          <a:pt x="23" y="31"/>
                          <a:pt x="13" y="29"/>
                        </a:cubicBezTo>
                        <a:cubicBezTo>
                          <a:pt x="10" y="22"/>
                          <a:pt x="7" y="14"/>
                          <a:pt x="0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724" name="Freeform 149"/>
                  <p:cNvSpPr>
                    <a:spLocks/>
                  </p:cNvSpPr>
                  <p:nvPr/>
                </p:nvSpPr>
                <p:spPr bwMode="gray">
                  <a:xfrm>
                    <a:off x="-2052638" y="-19335750"/>
                    <a:ext cx="652463" cy="704850"/>
                  </a:xfrm>
                  <a:custGeom>
                    <a:avLst/>
                    <a:gdLst/>
                    <a:ahLst/>
                    <a:cxnLst>
                      <a:cxn ang="0">
                        <a:pos x="42" y="93"/>
                      </a:cxn>
                      <a:cxn ang="0">
                        <a:pos x="94" y="38"/>
                      </a:cxn>
                      <a:cxn ang="0">
                        <a:pos x="174" y="20"/>
                      </a:cxn>
                      <a:cxn ang="0">
                        <a:pos x="117" y="11"/>
                      </a:cxn>
                      <a:cxn ang="0">
                        <a:pos x="152" y="7"/>
                      </a:cxn>
                      <a:cxn ang="0">
                        <a:pos x="0" y="160"/>
                      </a:cxn>
                      <a:cxn ang="0">
                        <a:pos x="11" y="142"/>
                      </a:cxn>
                      <a:cxn ang="0">
                        <a:pos x="14" y="188"/>
                      </a:cxn>
                      <a:cxn ang="0">
                        <a:pos x="76" y="74"/>
                      </a:cxn>
                    </a:cxnLst>
                    <a:rect l="0" t="0" r="r" b="b"/>
                    <a:pathLst>
                      <a:path w="174" h="188">
                        <a:moveTo>
                          <a:pt x="42" y="93"/>
                        </a:moveTo>
                        <a:cubicBezTo>
                          <a:pt x="64" y="80"/>
                          <a:pt x="71" y="52"/>
                          <a:pt x="94" y="38"/>
                        </a:cubicBezTo>
                        <a:cubicBezTo>
                          <a:pt x="120" y="21"/>
                          <a:pt x="148" y="30"/>
                          <a:pt x="174" y="20"/>
                        </a:cubicBezTo>
                        <a:cubicBezTo>
                          <a:pt x="164" y="5"/>
                          <a:pt x="134" y="6"/>
                          <a:pt x="117" y="11"/>
                        </a:cubicBezTo>
                        <a:cubicBezTo>
                          <a:pt x="128" y="11"/>
                          <a:pt x="140" y="9"/>
                          <a:pt x="152" y="7"/>
                        </a:cubicBezTo>
                        <a:cubicBezTo>
                          <a:pt x="65" y="0"/>
                          <a:pt x="0" y="79"/>
                          <a:pt x="0" y="160"/>
                        </a:cubicBezTo>
                        <a:cubicBezTo>
                          <a:pt x="2" y="148"/>
                          <a:pt x="3" y="151"/>
                          <a:pt x="11" y="142"/>
                        </a:cubicBezTo>
                        <a:cubicBezTo>
                          <a:pt x="12" y="158"/>
                          <a:pt x="4" y="174"/>
                          <a:pt x="14" y="188"/>
                        </a:cubicBezTo>
                        <a:cubicBezTo>
                          <a:pt x="24" y="154"/>
                          <a:pt x="39" y="86"/>
                          <a:pt x="76" y="7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sp>
            <p:nvSpPr>
              <p:cNvPr id="804" name="Textfeld 803"/>
              <p:cNvSpPr txBox="1"/>
              <p:nvPr/>
            </p:nvSpPr>
            <p:spPr bwMode="gray">
              <a:xfrm>
                <a:off x="3615776" y="2084347"/>
                <a:ext cx="433132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36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  <a:latin typeface="+mj-lt"/>
                  </a:rPr>
                  <a:t>n</a:t>
                </a:r>
                <a:endParaRPr lang="en-US" sz="36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7" name="Gruppieren 983"/>
            <p:cNvGrpSpPr/>
            <p:nvPr/>
          </p:nvGrpSpPr>
          <p:grpSpPr>
            <a:xfrm>
              <a:off x="4577716" y="1689463"/>
              <a:ext cx="1410832" cy="2186786"/>
              <a:chOff x="4577716" y="1689463"/>
              <a:chExt cx="1410832" cy="2186786"/>
            </a:xfrm>
          </p:grpSpPr>
          <p:sp>
            <p:nvSpPr>
              <p:cNvPr id="32" name="Ellipse 31" descr="© INSCALE GmbH, 26.05.2010&#10;http://www.presentationload.com/"/>
              <p:cNvSpPr/>
              <p:nvPr/>
            </p:nvSpPr>
            <p:spPr bwMode="gray">
              <a:xfrm>
                <a:off x="4577716" y="2911376"/>
                <a:ext cx="1410832" cy="96487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444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18" name="Gruppieren 804"/>
              <p:cNvGrpSpPr/>
              <p:nvPr/>
            </p:nvGrpSpPr>
            <p:grpSpPr bwMode="gray">
              <a:xfrm>
                <a:off x="4788024" y="1689463"/>
                <a:ext cx="840919" cy="1759686"/>
                <a:chOff x="456277" y="1575807"/>
                <a:chExt cx="1095328" cy="2292056"/>
              </a:xfrm>
            </p:grpSpPr>
            <p:grpSp>
              <p:nvGrpSpPr>
                <p:cNvPr id="19" name="Gruppieren 28"/>
                <p:cNvGrpSpPr/>
                <p:nvPr/>
              </p:nvGrpSpPr>
              <p:grpSpPr bwMode="gray">
                <a:xfrm>
                  <a:off x="456277" y="1681612"/>
                  <a:ext cx="716518" cy="2169986"/>
                  <a:chOff x="-4095750" y="5688013"/>
                  <a:chExt cx="6791325" cy="20567650"/>
                </a:xfrm>
                <a:solidFill>
                  <a:srgbClr val="C8C8C8"/>
                </a:solidFill>
              </p:grpSpPr>
              <p:sp>
                <p:nvSpPr>
                  <p:cNvPr id="877" name="Freeform 267"/>
                  <p:cNvSpPr>
                    <a:spLocks/>
                  </p:cNvSpPr>
                  <p:nvPr/>
                </p:nvSpPr>
                <p:spPr bwMode="gray">
                  <a:xfrm>
                    <a:off x="1247775" y="10442576"/>
                    <a:ext cx="641350" cy="3325813"/>
                  </a:xfrm>
                  <a:custGeom>
                    <a:avLst/>
                    <a:gdLst/>
                    <a:ahLst/>
                    <a:cxnLst>
                      <a:cxn ang="0">
                        <a:pos x="12" y="41"/>
                      </a:cxn>
                      <a:cxn ang="0">
                        <a:pos x="0" y="275"/>
                      </a:cxn>
                      <a:cxn ang="0">
                        <a:pos x="34" y="498"/>
                      </a:cxn>
                      <a:cxn ang="0">
                        <a:pos x="1" y="887"/>
                      </a:cxn>
                      <a:cxn ang="0">
                        <a:pos x="35" y="736"/>
                      </a:cxn>
                      <a:cxn ang="0">
                        <a:pos x="18" y="415"/>
                      </a:cxn>
                      <a:cxn ang="0">
                        <a:pos x="24" y="211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171" h="887">
                        <a:moveTo>
                          <a:pt x="12" y="41"/>
                        </a:moveTo>
                        <a:cubicBezTo>
                          <a:pt x="37" y="97"/>
                          <a:pt x="0" y="207"/>
                          <a:pt x="0" y="275"/>
                        </a:cubicBezTo>
                        <a:cubicBezTo>
                          <a:pt x="0" y="361"/>
                          <a:pt x="6" y="422"/>
                          <a:pt x="34" y="498"/>
                        </a:cubicBezTo>
                        <a:cubicBezTo>
                          <a:pt x="80" y="621"/>
                          <a:pt x="171" y="811"/>
                          <a:pt x="1" y="887"/>
                        </a:cubicBezTo>
                        <a:cubicBezTo>
                          <a:pt x="13" y="832"/>
                          <a:pt x="35" y="802"/>
                          <a:pt x="35" y="736"/>
                        </a:cubicBezTo>
                        <a:cubicBezTo>
                          <a:pt x="35" y="631"/>
                          <a:pt x="28" y="520"/>
                          <a:pt x="18" y="415"/>
                        </a:cubicBezTo>
                        <a:cubicBezTo>
                          <a:pt x="11" y="345"/>
                          <a:pt x="18" y="278"/>
                          <a:pt x="24" y="211"/>
                        </a:cubicBezTo>
                        <a:cubicBezTo>
                          <a:pt x="30" y="144"/>
                          <a:pt x="7" y="62"/>
                          <a:pt x="2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8" name="Freeform 268"/>
                  <p:cNvSpPr>
                    <a:spLocks/>
                  </p:cNvSpPr>
                  <p:nvPr/>
                </p:nvSpPr>
                <p:spPr bwMode="gray">
                  <a:xfrm>
                    <a:off x="-3135313" y="23976013"/>
                    <a:ext cx="1889125" cy="2017713"/>
                  </a:xfrm>
                  <a:custGeom>
                    <a:avLst/>
                    <a:gdLst/>
                    <a:ahLst/>
                    <a:cxnLst>
                      <a:cxn ang="0">
                        <a:pos x="453" y="0"/>
                      </a:cxn>
                      <a:cxn ang="0">
                        <a:pos x="491" y="43"/>
                      </a:cxn>
                      <a:cxn ang="0">
                        <a:pos x="503" y="116"/>
                      </a:cxn>
                      <a:cxn ang="0">
                        <a:pos x="451" y="228"/>
                      </a:cxn>
                      <a:cxn ang="0">
                        <a:pos x="385" y="327"/>
                      </a:cxn>
                      <a:cxn ang="0">
                        <a:pos x="343" y="382"/>
                      </a:cxn>
                      <a:cxn ang="0">
                        <a:pos x="324" y="452"/>
                      </a:cxn>
                      <a:cxn ang="0">
                        <a:pos x="196" y="515"/>
                      </a:cxn>
                      <a:cxn ang="0">
                        <a:pos x="56" y="537"/>
                      </a:cxn>
                      <a:cxn ang="0">
                        <a:pos x="4" y="531"/>
                      </a:cxn>
                      <a:cxn ang="0">
                        <a:pos x="44" y="415"/>
                      </a:cxn>
                      <a:cxn ang="0">
                        <a:pos x="94" y="301"/>
                      </a:cxn>
                      <a:cxn ang="0">
                        <a:pos x="205" y="239"/>
                      </a:cxn>
                      <a:cxn ang="0">
                        <a:pos x="318" y="133"/>
                      </a:cxn>
                      <a:cxn ang="0">
                        <a:pos x="372" y="26"/>
                      </a:cxn>
                      <a:cxn ang="0">
                        <a:pos x="471" y="11"/>
                      </a:cxn>
                    </a:cxnLst>
                    <a:rect l="0" t="0" r="r" b="b"/>
                    <a:pathLst>
                      <a:path w="504" h="538">
                        <a:moveTo>
                          <a:pt x="453" y="0"/>
                        </a:moveTo>
                        <a:cubicBezTo>
                          <a:pt x="468" y="18"/>
                          <a:pt x="482" y="20"/>
                          <a:pt x="491" y="43"/>
                        </a:cubicBezTo>
                        <a:cubicBezTo>
                          <a:pt x="500" y="66"/>
                          <a:pt x="502" y="91"/>
                          <a:pt x="503" y="116"/>
                        </a:cubicBezTo>
                        <a:cubicBezTo>
                          <a:pt x="504" y="156"/>
                          <a:pt x="497" y="220"/>
                          <a:pt x="451" y="228"/>
                        </a:cubicBezTo>
                        <a:cubicBezTo>
                          <a:pt x="427" y="259"/>
                          <a:pt x="408" y="295"/>
                          <a:pt x="385" y="327"/>
                        </a:cubicBezTo>
                        <a:cubicBezTo>
                          <a:pt x="373" y="344"/>
                          <a:pt x="349" y="362"/>
                          <a:pt x="343" y="382"/>
                        </a:cubicBezTo>
                        <a:cubicBezTo>
                          <a:pt x="334" y="411"/>
                          <a:pt x="345" y="427"/>
                          <a:pt x="324" y="452"/>
                        </a:cubicBezTo>
                        <a:cubicBezTo>
                          <a:pt x="289" y="493"/>
                          <a:pt x="242" y="495"/>
                          <a:pt x="196" y="515"/>
                        </a:cubicBezTo>
                        <a:cubicBezTo>
                          <a:pt x="151" y="535"/>
                          <a:pt x="109" y="535"/>
                          <a:pt x="56" y="537"/>
                        </a:cubicBezTo>
                        <a:cubicBezTo>
                          <a:pt x="42" y="538"/>
                          <a:pt x="19" y="532"/>
                          <a:pt x="4" y="531"/>
                        </a:cubicBezTo>
                        <a:cubicBezTo>
                          <a:pt x="0" y="499"/>
                          <a:pt x="30" y="441"/>
                          <a:pt x="44" y="415"/>
                        </a:cubicBezTo>
                        <a:cubicBezTo>
                          <a:pt x="62" y="381"/>
                          <a:pt x="70" y="333"/>
                          <a:pt x="94" y="301"/>
                        </a:cubicBezTo>
                        <a:cubicBezTo>
                          <a:pt x="120" y="267"/>
                          <a:pt x="170" y="258"/>
                          <a:pt x="205" y="239"/>
                        </a:cubicBezTo>
                        <a:cubicBezTo>
                          <a:pt x="250" y="213"/>
                          <a:pt x="288" y="178"/>
                          <a:pt x="318" y="133"/>
                        </a:cubicBezTo>
                        <a:cubicBezTo>
                          <a:pt x="340" y="101"/>
                          <a:pt x="341" y="52"/>
                          <a:pt x="372" y="26"/>
                        </a:cubicBezTo>
                        <a:cubicBezTo>
                          <a:pt x="398" y="5"/>
                          <a:pt x="439" y="6"/>
                          <a:pt x="471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9" name="Freeform 269"/>
                  <p:cNvSpPr>
                    <a:spLocks/>
                  </p:cNvSpPr>
                  <p:nvPr/>
                </p:nvSpPr>
                <p:spPr bwMode="gray">
                  <a:xfrm>
                    <a:off x="-2787650" y="15524163"/>
                    <a:ext cx="2917825" cy="9955213"/>
                  </a:xfrm>
                  <a:custGeom>
                    <a:avLst/>
                    <a:gdLst/>
                    <a:ahLst/>
                    <a:cxnLst>
                      <a:cxn ang="0">
                        <a:pos x="751" y="46"/>
                      </a:cxn>
                      <a:cxn ang="0">
                        <a:pos x="715" y="302"/>
                      </a:cxn>
                      <a:cxn ang="0">
                        <a:pos x="696" y="587"/>
                      </a:cxn>
                      <a:cxn ang="0">
                        <a:pos x="681" y="884"/>
                      </a:cxn>
                      <a:cxn ang="0">
                        <a:pos x="689" y="1016"/>
                      </a:cxn>
                      <a:cxn ang="0">
                        <a:pos x="651" y="1113"/>
                      </a:cxn>
                      <a:cxn ang="0">
                        <a:pos x="622" y="1298"/>
                      </a:cxn>
                      <a:cxn ang="0">
                        <a:pos x="568" y="1465"/>
                      </a:cxn>
                      <a:cxn ang="0">
                        <a:pos x="547" y="1679"/>
                      </a:cxn>
                      <a:cxn ang="0">
                        <a:pos x="424" y="2026"/>
                      </a:cxn>
                      <a:cxn ang="0">
                        <a:pos x="377" y="2201"/>
                      </a:cxn>
                      <a:cxn ang="0">
                        <a:pos x="377" y="2291"/>
                      </a:cxn>
                      <a:cxn ang="0">
                        <a:pos x="374" y="2408"/>
                      </a:cxn>
                      <a:cxn ang="0">
                        <a:pos x="286" y="2521"/>
                      </a:cxn>
                      <a:cxn ang="0">
                        <a:pos x="211" y="2655"/>
                      </a:cxn>
                      <a:cxn ang="0">
                        <a:pos x="12" y="2581"/>
                      </a:cxn>
                      <a:cxn ang="0">
                        <a:pos x="113" y="2475"/>
                      </a:cxn>
                      <a:cxn ang="0">
                        <a:pos x="210" y="2354"/>
                      </a:cxn>
                      <a:cxn ang="0">
                        <a:pos x="252" y="1741"/>
                      </a:cxn>
                      <a:cxn ang="0">
                        <a:pos x="270" y="1473"/>
                      </a:cxn>
                      <a:cxn ang="0">
                        <a:pos x="283" y="1380"/>
                      </a:cxn>
                      <a:cxn ang="0">
                        <a:pos x="345" y="1184"/>
                      </a:cxn>
                      <a:cxn ang="0">
                        <a:pos x="354" y="1079"/>
                      </a:cxn>
                      <a:cxn ang="0">
                        <a:pos x="372" y="967"/>
                      </a:cxn>
                      <a:cxn ang="0">
                        <a:pos x="357" y="676"/>
                      </a:cxn>
                      <a:cxn ang="0">
                        <a:pos x="358" y="8"/>
                      </a:cxn>
                      <a:cxn ang="0">
                        <a:pos x="778" y="50"/>
                      </a:cxn>
                    </a:cxnLst>
                    <a:rect l="0" t="0" r="r" b="b"/>
                    <a:pathLst>
                      <a:path w="778" h="2655">
                        <a:moveTo>
                          <a:pt x="751" y="46"/>
                        </a:moveTo>
                        <a:cubicBezTo>
                          <a:pt x="750" y="133"/>
                          <a:pt x="733" y="218"/>
                          <a:pt x="715" y="302"/>
                        </a:cubicBezTo>
                        <a:cubicBezTo>
                          <a:pt x="694" y="393"/>
                          <a:pt x="701" y="495"/>
                          <a:pt x="696" y="587"/>
                        </a:cubicBezTo>
                        <a:cubicBezTo>
                          <a:pt x="692" y="687"/>
                          <a:pt x="680" y="784"/>
                          <a:pt x="681" y="884"/>
                        </a:cubicBezTo>
                        <a:cubicBezTo>
                          <a:pt x="681" y="929"/>
                          <a:pt x="689" y="970"/>
                          <a:pt x="689" y="1016"/>
                        </a:cubicBezTo>
                        <a:cubicBezTo>
                          <a:pt x="688" y="1062"/>
                          <a:pt x="669" y="1075"/>
                          <a:pt x="651" y="1113"/>
                        </a:cubicBezTo>
                        <a:cubicBezTo>
                          <a:pt x="634" y="1151"/>
                          <a:pt x="641" y="1272"/>
                          <a:pt x="622" y="1298"/>
                        </a:cubicBezTo>
                        <a:cubicBezTo>
                          <a:pt x="592" y="1340"/>
                          <a:pt x="568" y="1404"/>
                          <a:pt x="568" y="1465"/>
                        </a:cubicBezTo>
                        <a:cubicBezTo>
                          <a:pt x="568" y="1538"/>
                          <a:pt x="568" y="1609"/>
                          <a:pt x="547" y="1679"/>
                        </a:cubicBezTo>
                        <a:cubicBezTo>
                          <a:pt x="529" y="1741"/>
                          <a:pt x="445" y="1972"/>
                          <a:pt x="424" y="2026"/>
                        </a:cubicBezTo>
                        <a:cubicBezTo>
                          <a:pt x="402" y="2084"/>
                          <a:pt x="382" y="2137"/>
                          <a:pt x="377" y="2201"/>
                        </a:cubicBezTo>
                        <a:cubicBezTo>
                          <a:pt x="374" y="2231"/>
                          <a:pt x="370" y="2262"/>
                          <a:pt x="377" y="2291"/>
                        </a:cubicBezTo>
                        <a:cubicBezTo>
                          <a:pt x="384" y="2320"/>
                          <a:pt x="384" y="2374"/>
                          <a:pt x="374" y="2408"/>
                        </a:cubicBezTo>
                        <a:cubicBezTo>
                          <a:pt x="358" y="2461"/>
                          <a:pt x="327" y="2480"/>
                          <a:pt x="286" y="2521"/>
                        </a:cubicBezTo>
                        <a:cubicBezTo>
                          <a:pt x="255" y="2552"/>
                          <a:pt x="255" y="2616"/>
                          <a:pt x="211" y="2655"/>
                        </a:cubicBezTo>
                        <a:cubicBezTo>
                          <a:pt x="211" y="2655"/>
                          <a:pt x="0" y="2611"/>
                          <a:pt x="12" y="2581"/>
                        </a:cubicBezTo>
                        <a:cubicBezTo>
                          <a:pt x="29" y="2541"/>
                          <a:pt x="79" y="2502"/>
                          <a:pt x="113" y="2475"/>
                        </a:cubicBezTo>
                        <a:cubicBezTo>
                          <a:pt x="148" y="2445"/>
                          <a:pt x="189" y="2396"/>
                          <a:pt x="210" y="2354"/>
                        </a:cubicBezTo>
                        <a:cubicBezTo>
                          <a:pt x="236" y="2303"/>
                          <a:pt x="255" y="1803"/>
                          <a:pt x="252" y="1741"/>
                        </a:cubicBezTo>
                        <a:cubicBezTo>
                          <a:pt x="251" y="1710"/>
                          <a:pt x="264" y="1503"/>
                          <a:pt x="270" y="1473"/>
                        </a:cubicBezTo>
                        <a:cubicBezTo>
                          <a:pt x="277" y="1436"/>
                          <a:pt x="286" y="1414"/>
                          <a:pt x="283" y="1380"/>
                        </a:cubicBezTo>
                        <a:cubicBezTo>
                          <a:pt x="278" y="1310"/>
                          <a:pt x="329" y="1249"/>
                          <a:pt x="345" y="1184"/>
                        </a:cubicBezTo>
                        <a:cubicBezTo>
                          <a:pt x="354" y="1152"/>
                          <a:pt x="350" y="1112"/>
                          <a:pt x="354" y="1079"/>
                        </a:cubicBezTo>
                        <a:cubicBezTo>
                          <a:pt x="357" y="1041"/>
                          <a:pt x="368" y="1005"/>
                          <a:pt x="372" y="967"/>
                        </a:cubicBezTo>
                        <a:cubicBezTo>
                          <a:pt x="382" y="870"/>
                          <a:pt x="373" y="768"/>
                          <a:pt x="357" y="676"/>
                        </a:cubicBezTo>
                        <a:cubicBezTo>
                          <a:pt x="321" y="456"/>
                          <a:pt x="347" y="227"/>
                          <a:pt x="358" y="8"/>
                        </a:cubicBezTo>
                        <a:cubicBezTo>
                          <a:pt x="506" y="0"/>
                          <a:pt x="644" y="5"/>
                          <a:pt x="778" y="5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0" name="Freeform 270"/>
                  <p:cNvSpPr>
                    <a:spLocks/>
                  </p:cNvSpPr>
                  <p:nvPr/>
                </p:nvSpPr>
                <p:spPr bwMode="gray">
                  <a:xfrm>
                    <a:off x="-1133475" y="7926388"/>
                    <a:ext cx="2122488" cy="3573463"/>
                  </a:xfrm>
                  <a:custGeom>
                    <a:avLst/>
                    <a:gdLst/>
                    <a:ahLst/>
                    <a:cxnLst>
                      <a:cxn ang="0">
                        <a:pos x="136" y="59"/>
                      </a:cxn>
                      <a:cxn ang="0">
                        <a:pos x="84" y="133"/>
                      </a:cxn>
                      <a:cxn ang="0">
                        <a:pos x="53" y="222"/>
                      </a:cxn>
                      <a:cxn ang="0">
                        <a:pos x="12" y="339"/>
                      </a:cxn>
                      <a:cxn ang="0">
                        <a:pos x="3" y="386"/>
                      </a:cxn>
                      <a:cxn ang="0">
                        <a:pos x="46" y="494"/>
                      </a:cxn>
                      <a:cxn ang="0">
                        <a:pos x="96" y="654"/>
                      </a:cxn>
                      <a:cxn ang="0">
                        <a:pos x="136" y="714"/>
                      </a:cxn>
                      <a:cxn ang="0">
                        <a:pos x="142" y="820"/>
                      </a:cxn>
                      <a:cxn ang="0">
                        <a:pos x="260" y="931"/>
                      </a:cxn>
                      <a:cxn ang="0">
                        <a:pos x="377" y="829"/>
                      </a:cxn>
                      <a:cxn ang="0">
                        <a:pos x="429" y="674"/>
                      </a:cxn>
                      <a:cxn ang="0">
                        <a:pos x="471" y="538"/>
                      </a:cxn>
                      <a:cxn ang="0">
                        <a:pos x="534" y="445"/>
                      </a:cxn>
                      <a:cxn ang="0">
                        <a:pos x="560" y="355"/>
                      </a:cxn>
                      <a:cxn ang="0">
                        <a:pos x="514" y="238"/>
                      </a:cxn>
                      <a:cxn ang="0">
                        <a:pos x="436" y="124"/>
                      </a:cxn>
                      <a:cxn ang="0">
                        <a:pos x="322" y="4"/>
                      </a:cxn>
                      <a:cxn ang="0">
                        <a:pos x="179" y="36"/>
                      </a:cxn>
                    </a:cxnLst>
                    <a:rect l="0" t="0" r="r" b="b"/>
                    <a:pathLst>
                      <a:path w="566" h="953">
                        <a:moveTo>
                          <a:pt x="136" y="59"/>
                        </a:moveTo>
                        <a:cubicBezTo>
                          <a:pt x="136" y="88"/>
                          <a:pt x="99" y="110"/>
                          <a:pt x="84" y="133"/>
                        </a:cubicBezTo>
                        <a:cubicBezTo>
                          <a:pt x="65" y="163"/>
                          <a:pt x="62" y="189"/>
                          <a:pt x="53" y="222"/>
                        </a:cubicBezTo>
                        <a:cubicBezTo>
                          <a:pt x="43" y="258"/>
                          <a:pt x="23" y="300"/>
                          <a:pt x="12" y="339"/>
                        </a:cubicBezTo>
                        <a:cubicBezTo>
                          <a:pt x="7" y="356"/>
                          <a:pt x="4" y="368"/>
                          <a:pt x="3" y="386"/>
                        </a:cubicBezTo>
                        <a:cubicBezTo>
                          <a:pt x="0" y="439"/>
                          <a:pt x="30" y="452"/>
                          <a:pt x="46" y="494"/>
                        </a:cubicBezTo>
                        <a:cubicBezTo>
                          <a:pt x="66" y="547"/>
                          <a:pt x="69" y="601"/>
                          <a:pt x="96" y="654"/>
                        </a:cubicBezTo>
                        <a:cubicBezTo>
                          <a:pt x="106" y="675"/>
                          <a:pt x="127" y="692"/>
                          <a:pt x="136" y="714"/>
                        </a:cubicBezTo>
                        <a:cubicBezTo>
                          <a:pt x="148" y="744"/>
                          <a:pt x="137" y="786"/>
                          <a:pt x="142" y="820"/>
                        </a:cubicBezTo>
                        <a:cubicBezTo>
                          <a:pt x="153" y="889"/>
                          <a:pt x="176" y="953"/>
                          <a:pt x="260" y="931"/>
                        </a:cubicBezTo>
                        <a:cubicBezTo>
                          <a:pt x="282" y="880"/>
                          <a:pt x="342" y="868"/>
                          <a:pt x="377" y="829"/>
                        </a:cubicBezTo>
                        <a:cubicBezTo>
                          <a:pt x="417" y="784"/>
                          <a:pt x="421" y="730"/>
                          <a:pt x="429" y="674"/>
                        </a:cubicBezTo>
                        <a:cubicBezTo>
                          <a:pt x="435" y="631"/>
                          <a:pt x="447" y="575"/>
                          <a:pt x="471" y="538"/>
                        </a:cubicBezTo>
                        <a:cubicBezTo>
                          <a:pt x="494" y="502"/>
                          <a:pt x="520" y="487"/>
                          <a:pt x="534" y="445"/>
                        </a:cubicBezTo>
                        <a:cubicBezTo>
                          <a:pt x="544" y="414"/>
                          <a:pt x="557" y="388"/>
                          <a:pt x="560" y="355"/>
                        </a:cubicBezTo>
                        <a:cubicBezTo>
                          <a:pt x="566" y="305"/>
                          <a:pt x="541" y="281"/>
                          <a:pt x="514" y="238"/>
                        </a:cubicBezTo>
                        <a:cubicBezTo>
                          <a:pt x="487" y="197"/>
                          <a:pt x="453" y="170"/>
                          <a:pt x="436" y="124"/>
                        </a:cubicBezTo>
                        <a:cubicBezTo>
                          <a:pt x="413" y="64"/>
                          <a:pt x="396" y="10"/>
                          <a:pt x="322" y="4"/>
                        </a:cubicBezTo>
                        <a:cubicBezTo>
                          <a:pt x="271" y="0"/>
                          <a:pt x="227" y="27"/>
                          <a:pt x="179" y="3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1" name="Freeform 271"/>
                  <p:cNvSpPr>
                    <a:spLocks/>
                  </p:cNvSpPr>
                  <p:nvPr/>
                </p:nvSpPr>
                <p:spPr bwMode="gray">
                  <a:xfrm>
                    <a:off x="-304800" y="23855363"/>
                    <a:ext cx="1431925" cy="2400300"/>
                  </a:xfrm>
                  <a:custGeom>
                    <a:avLst/>
                    <a:gdLst/>
                    <a:ahLst/>
                    <a:cxnLst>
                      <a:cxn ang="0">
                        <a:pos x="99" y="26"/>
                      </a:cxn>
                      <a:cxn ang="0">
                        <a:pos x="29" y="111"/>
                      </a:cxn>
                      <a:cxn ang="0">
                        <a:pos x="8" y="172"/>
                      </a:cxn>
                      <a:cxn ang="0">
                        <a:pos x="31" y="239"/>
                      </a:cxn>
                      <a:cxn ang="0">
                        <a:pos x="78" y="368"/>
                      </a:cxn>
                      <a:cxn ang="0">
                        <a:pos x="93" y="429"/>
                      </a:cxn>
                      <a:cxn ang="0">
                        <a:pos x="99" y="508"/>
                      </a:cxn>
                      <a:cxn ang="0">
                        <a:pos x="209" y="588"/>
                      </a:cxn>
                      <a:cxn ang="0">
                        <a:pos x="370" y="639"/>
                      </a:cxn>
                      <a:cxn ang="0">
                        <a:pos x="377" y="496"/>
                      </a:cxn>
                      <a:cxn ang="0">
                        <a:pos x="362" y="438"/>
                      </a:cxn>
                      <a:cxn ang="0">
                        <a:pos x="327" y="390"/>
                      </a:cxn>
                      <a:cxn ang="0">
                        <a:pos x="279" y="275"/>
                      </a:cxn>
                      <a:cxn ang="0">
                        <a:pos x="238" y="146"/>
                      </a:cxn>
                      <a:cxn ang="0">
                        <a:pos x="186" y="38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382" h="640">
                        <a:moveTo>
                          <a:pt x="99" y="26"/>
                        </a:moveTo>
                        <a:cubicBezTo>
                          <a:pt x="49" y="19"/>
                          <a:pt x="36" y="75"/>
                          <a:pt x="29" y="111"/>
                        </a:cubicBezTo>
                        <a:cubicBezTo>
                          <a:pt x="25" y="132"/>
                          <a:pt x="13" y="152"/>
                          <a:pt x="8" y="172"/>
                        </a:cubicBezTo>
                        <a:cubicBezTo>
                          <a:pt x="0" y="203"/>
                          <a:pt x="19" y="212"/>
                          <a:pt x="31" y="239"/>
                        </a:cubicBezTo>
                        <a:cubicBezTo>
                          <a:pt x="49" y="281"/>
                          <a:pt x="70" y="324"/>
                          <a:pt x="78" y="368"/>
                        </a:cubicBezTo>
                        <a:cubicBezTo>
                          <a:pt x="82" y="389"/>
                          <a:pt x="89" y="408"/>
                          <a:pt x="93" y="429"/>
                        </a:cubicBezTo>
                        <a:cubicBezTo>
                          <a:pt x="98" y="453"/>
                          <a:pt x="91" y="484"/>
                          <a:pt x="99" y="508"/>
                        </a:cubicBezTo>
                        <a:cubicBezTo>
                          <a:pt x="113" y="556"/>
                          <a:pt x="168" y="570"/>
                          <a:pt x="209" y="588"/>
                        </a:cubicBezTo>
                        <a:cubicBezTo>
                          <a:pt x="259" y="609"/>
                          <a:pt x="315" y="640"/>
                          <a:pt x="370" y="639"/>
                        </a:cubicBezTo>
                        <a:cubicBezTo>
                          <a:pt x="376" y="592"/>
                          <a:pt x="382" y="545"/>
                          <a:pt x="377" y="496"/>
                        </a:cubicBezTo>
                        <a:cubicBezTo>
                          <a:pt x="375" y="474"/>
                          <a:pt x="372" y="457"/>
                          <a:pt x="362" y="438"/>
                        </a:cubicBezTo>
                        <a:cubicBezTo>
                          <a:pt x="352" y="421"/>
                          <a:pt x="338" y="407"/>
                          <a:pt x="327" y="390"/>
                        </a:cubicBezTo>
                        <a:cubicBezTo>
                          <a:pt x="306" y="355"/>
                          <a:pt x="294" y="313"/>
                          <a:pt x="279" y="275"/>
                        </a:cubicBezTo>
                        <a:cubicBezTo>
                          <a:pt x="263" y="233"/>
                          <a:pt x="245" y="189"/>
                          <a:pt x="238" y="146"/>
                        </a:cubicBezTo>
                        <a:cubicBezTo>
                          <a:pt x="232" y="107"/>
                          <a:pt x="215" y="66"/>
                          <a:pt x="186" y="38"/>
                        </a:cubicBezTo>
                        <a:cubicBezTo>
                          <a:pt x="162" y="15"/>
                          <a:pt x="107" y="0"/>
                          <a:pt x="81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2" name="Freeform 272"/>
                  <p:cNvSpPr>
                    <a:spLocks/>
                  </p:cNvSpPr>
                  <p:nvPr/>
                </p:nvSpPr>
                <p:spPr bwMode="gray">
                  <a:xfrm>
                    <a:off x="-117475" y="15621001"/>
                    <a:ext cx="1766888" cy="10001250"/>
                  </a:xfrm>
                  <a:custGeom>
                    <a:avLst/>
                    <a:gdLst/>
                    <a:ahLst/>
                    <a:cxnLst>
                      <a:cxn ang="0">
                        <a:pos x="66" y="16"/>
                      </a:cxn>
                      <a:cxn ang="0">
                        <a:pos x="48" y="498"/>
                      </a:cxn>
                      <a:cxn ang="0">
                        <a:pos x="84" y="980"/>
                      </a:cxn>
                      <a:cxn ang="0">
                        <a:pos x="89" y="1181"/>
                      </a:cxn>
                      <a:cxn ang="0">
                        <a:pos x="62" y="1388"/>
                      </a:cxn>
                      <a:cxn ang="0">
                        <a:pos x="66" y="1789"/>
                      </a:cxn>
                      <a:cxn ang="0">
                        <a:pos x="20" y="2297"/>
                      </a:cxn>
                      <a:cxn ang="0">
                        <a:pos x="4" y="2358"/>
                      </a:cxn>
                      <a:cxn ang="0">
                        <a:pos x="48" y="2479"/>
                      </a:cxn>
                      <a:cxn ang="0">
                        <a:pos x="91" y="2636"/>
                      </a:cxn>
                      <a:cxn ang="0">
                        <a:pos x="273" y="2631"/>
                      </a:cxn>
                      <a:cxn ang="0">
                        <a:pos x="201" y="2214"/>
                      </a:cxn>
                      <a:cxn ang="0">
                        <a:pos x="364" y="1357"/>
                      </a:cxn>
                      <a:cxn ang="0">
                        <a:pos x="353" y="1118"/>
                      </a:cxn>
                      <a:cxn ang="0">
                        <a:pos x="407" y="761"/>
                      </a:cxn>
                      <a:cxn ang="0">
                        <a:pos x="434" y="515"/>
                      </a:cxn>
                      <a:cxn ang="0">
                        <a:pos x="407" y="8"/>
                      </a:cxn>
                      <a:cxn ang="0">
                        <a:pos x="66" y="7"/>
                      </a:cxn>
                    </a:cxnLst>
                    <a:rect l="0" t="0" r="r" b="b"/>
                    <a:pathLst>
                      <a:path w="471" h="2667">
                        <a:moveTo>
                          <a:pt x="66" y="16"/>
                        </a:moveTo>
                        <a:cubicBezTo>
                          <a:pt x="97" y="171"/>
                          <a:pt x="48" y="335"/>
                          <a:pt x="48" y="498"/>
                        </a:cubicBezTo>
                        <a:cubicBezTo>
                          <a:pt x="48" y="668"/>
                          <a:pt x="53" y="823"/>
                          <a:pt x="84" y="980"/>
                        </a:cubicBezTo>
                        <a:cubicBezTo>
                          <a:pt x="97" y="1046"/>
                          <a:pt x="92" y="1111"/>
                          <a:pt x="89" y="1181"/>
                        </a:cubicBezTo>
                        <a:cubicBezTo>
                          <a:pt x="85" y="1254"/>
                          <a:pt x="89" y="1324"/>
                          <a:pt x="62" y="1388"/>
                        </a:cubicBezTo>
                        <a:cubicBezTo>
                          <a:pt x="0" y="1540"/>
                          <a:pt x="59" y="1653"/>
                          <a:pt x="66" y="1789"/>
                        </a:cubicBezTo>
                        <a:cubicBezTo>
                          <a:pt x="72" y="1893"/>
                          <a:pt x="35" y="2179"/>
                          <a:pt x="20" y="2297"/>
                        </a:cubicBezTo>
                        <a:cubicBezTo>
                          <a:pt x="19" y="2307"/>
                          <a:pt x="1" y="2333"/>
                          <a:pt x="4" y="2358"/>
                        </a:cubicBezTo>
                        <a:cubicBezTo>
                          <a:pt x="8" y="2405"/>
                          <a:pt x="36" y="2460"/>
                          <a:pt x="48" y="2479"/>
                        </a:cubicBezTo>
                        <a:cubicBezTo>
                          <a:pt x="75" y="2521"/>
                          <a:pt x="52" y="2613"/>
                          <a:pt x="91" y="2636"/>
                        </a:cubicBezTo>
                        <a:cubicBezTo>
                          <a:pt x="144" y="2667"/>
                          <a:pt x="273" y="2631"/>
                          <a:pt x="273" y="2631"/>
                        </a:cubicBezTo>
                        <a:cubicBezTo>
                          <a:pt x="232" y="2565"/>
                          <a:pt x="185" y="2354"/>
                          <a:pt x="201" y="2214"/>
                        </a:cubicBezTo>
                        <a:cubicBezTo>
                          <a:pt x="216" y="2078"/>
                          <a:pt x="371" y="1520"/>
                          <a:pt x="364" y="1357"/>
                        </a:cubicBezTo>
                        <a:cubicBezTo>
                          <a:pt x="359" y="1232"/>
                          <a:pt x="343" y="1241"/>
                          <a:pt x="353" y="1118"/>
                        </a:cubicBezTo>
                        <a:cubicBezTo>
                          <a:pt x="359" y="1043"/>
                          <a:pt x="391" y="831"/>
                          <a:pt x="407" y="761"/>
                        </a:cubicBezTo>
                        <a:cubicBezTo>
                          <a:pt x="426" y="679"/>
                          <a:pt x="434" y="601"/>
                          <a:pt x="434" y="515"/>
                        </a:cubicBezTo>
                        <a:cubicBezTo>
                          <a:pt x="434" y="360"/>
                          <a:pt x="471" y="144"/>
                          <a:pt x="407" y="8"/>
                        </a:cubicBezTo>
                        <a:cubicBezTo>
                          <a:pt x="295" y="0"/>
                          <a:pt x="179" y="7"/>
                          <a:pt x="66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3" name="Freeform 273"/>
                  <p:cNvSpPr>
                    <a:spLocks/>
                  </p:cNvSpPr>
                  <p:nvPr/>
                </p:nvSpPr>
                <p:spPr bwMode="gray">
                  <a:xfrm>
                    <a:off x="-71438" y="19408776"/>
                    <a:ext cx="1577975" cy="2628900"/>
                  </a:xfrm>
                  <a:custGeom>
                    <a:avLst/>
                    <a:gdLst/>
                    <a:ahLst/>
                    <a:cxnLst>
                      <a:cxn ang="0">
                        <a:pos x="54" y="701"/>
                      </a:cxn>
                      <a:cxn ang="0">
                        <a:pos x="71" y="427"/>
                      </a:cxn>
                      <a:cxn ang="0">
                        <a:pos x="195" y="194"/>
                      </a:cxn>
                      <a:cxn ang="0">
                        <a:pos x="329" y="35"/>
                      </a:cxn>
                      <a:cxn ang="0">
                        <a:pos x="88" y="121"/>
                      </a:cxn>
                      <a:cxn ang="0">
                        <a:pos x="72" y="275"/>
                      </a:cxn>
                      <a:cxn ang="0">
                        <a:pos x="24" y="409"/>
                      </a:cxn>
                      <a:cxn ang="0">
                        <a:pos x="54" y="701"/>
                      </a:cxn>
                    </a:cxnLst>
                    <a:rect l="0" t="0" r="r" b="b"/>
                    <a:pathLst>
                      <a:path w="421" h="701">
                        <a:moveTo>
                          <a:pt x="54" y="701"/>
                        </a:moveTo>
                        <a:cubicBezTo>
                          <a:pt x="64" y="608"/>
                          <a:pt x="46" y="519"/>
                          <a:pt x="71" y="427"/>
                        </a:cubicBezTo>
                        <a:cubicBezTo>
                          <a:pt x="89" y="362"/>
                          <a:pt x="145" y="234"/>
                          <a:pt x="195" y="194"/>
                        </a:cubicBezTo>
                        <a:cubicBezTo>
                          <a:pt x="230" y="166"/>
                          <a:pt x="421" y="104"/>
                          <a:pt x="329" y="35"/>
                        </a:cubicBezTo>
                        <a:cubicBezTo>
                          <a:pt x="283" y="0"/>
                          <a:pt x="115" y="77"/>
                          <a:pt x="88" y="121"/>
                        </a:cubicBezTo>
                        <a:cubicBezTo>
                          <a:pt x="65" y="159"/>
                          <a:pt x="78" y="232"/>
                          <a:pt x="72" y="275"/>
                        </a:cubicBezTo>
                        <a:cubicBezTo>
                          <a:pt x="64" y="323"/>
                          <a:pt x="34" y="361"/>
                          <a:pt x="24" y="409"/>
                        </a:cubicBezTo>
                        <a:cubicBezTo>
                          <a:pt x="0" y="523"/>
                          <a:pt x="41" y="601"/>
                          <a:pt x="54" y="7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4" name="Freeform 274"/>
                  <p:cNvSpPr>
                    <a:spLocks/>
                  </p:cNvSpPr>
                  <p:nvPr/>
                </p:nvSpPr>
                <p:spPr bwMode="gray">
                  <a:xfrm>
                    <a:off x="-1557338" y="19745326"/>
                    <a:ext cx="1219200" cy="1957388"/>
                  </a:xfrm>
                  <a:custGeom>
                    <a:avLst/>
                    <a:gdLst/>
                    <a:ahLst/>
                    <a:cxnLst>
                      <a:cxn ang="0">
                        <a:pos x="23" y="109"/>
                      </a:cxn>
                      <a:cxn ang="0">
                        <a:pos x="107" y="178"/>
                      </a:cxn>
                      <a:cxn ang="0">
                        <a:pos x="205" y="237"/>
                      </a:cxn>
                      <a:cxn ang="0">
                        <a:pos x="210" y="390"/>
                      </a:cxn>
                      <a:cxn ang="0">
                        <a:pos x="216" y="522"/>
                      </a:cxn>
                      <a:cxn ang="0">
                        <a:pos x="246" y="337"/>
                      </a:cxn>
                      <a:cxn ang="0">
                        <a:pos x="300" y="163"/>
                      </a:cxn>
                      <a:cxn ang="0">
                        <a:pos x="199" y="43"/>
                      </a:cxn>
                      <a:cxn ang="0">
                        <a:pos x="0" y="62"/>
                      </a:cxn>
                    </a:cxnLst>
                    <a:rect l="0" t="0" r="r" b="b"/>
                    <a:pathLst>
                      <a:path w="325" h="522">
                        <a:moveTo>
                          <a:pt x="23" y="109"/>
                        </a:moveTo>
                        <a:cubicBezTo>
                          <a:pt x="61" y="126"/>
                          <a:pt x="76" y="155"/>
                          <a:pt x="107" y="178"/>
                        </a:cubicBezTo>
                        <a:cubicBezTo>
                          <a:pt x="135" y="199"/>
                          <a:pt x="186" y="202"/>
                          <a:pt x="205" y="237"/>
                        </a:cubicBezTo>
                        <a:cubicBezTo>
                          <a:pt x="226" y="276"/>
                          <a:pt x="204" y="345"/>
                          <a:pt x="210" y="390"/>
                        </a:cubicBezTo>
                        <a:cubicBezTo>
                          <a:pt x="217" y="436"/>
                          <a:pt x="241" y="473"/>
                          <a:pt x="216" y="522"/>
                        </a:cubicBezTo>
                        <a:cubicBezTo>
                          <a:pt x="263" y="493"/>
                          <a:pt x="243" y="387"/>
                          <a:pt x="246" y="337"/>
                        </a:cubicBezTo>
                        <a:cubicBezTo>
                          <a:pt x="249" y="268"/>
                          <a:pt x="280" y="226"/>
                          <a:pt x="300" y="163"/>
                        </a:cubicBezTo>
                        <a:cubicBezTo>
                          <a:pt x="325" y="84"/>
                          <a:pt x="269" y="64"/>
                          <a:pt x="199" y="43"/>
                        </a:cubicBezTo>
                        <a:cubicBezTo>
                          <a:pt x="152" y="29"/>
                          <a:pt x="25" y="0"/>
                          <a:pt x="0" y="6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5" name="Freeform 275"/>
                  <p:cNvSpPr>
                    <a:spLocks/>
                  </p:cNvSpPr>
                  <p:nvPr/>
                </p:nvSpPr>
                <p:spPr bwMode="gray">
                  <a:xfrm>
                    <a:off x="-1920875" y="9531351"/>
                    <a:ext cx="4233863" cy="5718175"/>
                  </a:xfrm>
                  <a:custGeom>
                    <a:avLst/>
                    <a:gdLst/>
                    <a:ahLst/>
                    <a:cxnLst>
                      <a:cxn ang="0">
                        <a:pos x="22" y="1482"/>
                      </a:cxn>
                      <a:cxn ang="0">
                        <a:pos x="50" y="1171"/>
                      </a:cxn>
                      <a:cxn ang="0">
                        <a:pos x="103" y="1012"/>
                      </a:cxn>
                      <a:cxn ang="0">
                        <a:pos x="220" y="880"/>
                      </a:cxn>
                      <a:cxn ang="0">
                        <a:pos x="268" y="712"/>
                      </a:cxn>
                      <a:cxn ang="0">
                        <a:pos x="237" y="502"/>
                      </a:cxn>
                      <a:cxn ang="0">
                        <a:pos x="190" y="437"/>
                      </a:cxn>
                      <a:cxn ang="0">
                        <a:pos x="227" y="56"/>
                      </a:cxn>
                      <a:cxn ang="0">
                        <a:pos x="390" y="296"/>
                      </a:cxn>
                      <a:cxn ang="0">
                        <a:pos x="507" y="220"/>
                      </a:cxn>
                      <a:cxn ang="0">
                        <a:pos x="642" y="179"/>
                      </a:cxn>
                      <a:cxn ang="0">
                        <a:pos x="792" y="489"/>
                      </a:cxn>
                      <a:cxn ang="0">
                        <a:pos x="954" y="897"/>
                      </a:cxn>
                      <a:cxn ang="0">
                        <a:pos x="1032" y="950"/>
                      </a:cxn>
                      <a:cxn ang="0">
                        <a:pos x="1051" y="1086"/>
                      </a:cxn>
                      <a:cxn ang="0">
                        <a:pos x="1111" y="1312"/>
                      </a:cxn>
                      <a:cxn ang="0">
                        <a:pos x="1126" y="1481"/>
                      </a:cxn>
                      <a:cxn ang="0">
                        <a:pos x="870" y="1517"/>
                      </a:cxn>
                      <a:cxn ang="0">
                        <a:pos x="624" y="1499"/>
                      </a:cxn>
                      <a:cxn ang="0">
                        <a:pos x="344" y="1505"/>
                      </a:cxn>
                      <a:cxn ang="0">
                        <a:pos x="222" y="1504"/>
                      </a:cxn>
                      <a:cxn ang="0">
                        <a:pos x="122" y="1395"/>
                      </a:cxn>
                      <a:cxn ang="0">
                        <a:pos x="22" y="1476"/>
                      </a:cxn>
                    </a:cxnLst>
                    <a:rect l="0" t="0" r="r" b="b"/>
                    <a:pathLst>
                      <a:path w="1129" h="1525">
                        <a:moveTo>
                          <a:pt x="22" y="1482"/>
                        </a:moveTo>
                        <a:cubicBezTo>
                          <a:pt x="57" y="1380"/>
                          <a:pt x="0" y="1268"/>
                          <a:pt x="50" y="1171"/>
                        </a:cubicBezTo>
                        <a:cubicBezTo>
                          <a:pt x="78" y="1116"/>
                          <a:pt x="86" y="1070"/>
                          <a:pt x="103" y="1012"/>
                        </a:cubicBezTo>
                        <a:cubicBezTo>
                          <a:pt x="127" y="930"/>
                          <a:pt x="156" y="924"/>
                          <a:pt x="220" y="880"/>
                        </a:cubicBezTo>
                        <a:cubicBezTo>
                          <a:pt x="287" y="833"/>
                          <a:pt x="283" y="799"/>
                          <a:pt x="268" y="712"/>
                        </a:cubicBezTo>
                        <a:cubicBezTo>
                          <a:pt x="256" y="646"/>
                          <a:pt x="263" y="566"/>
                          <a:pt x="237" y="502"/>
                        </a:cubicBezTo>
                        <a:cubicBezTo>
                          <a:pt x="226" y="474"/>
                          <a:pt x="204" y="462"/>
                          <a:pt x="190" y="437"/>
                        </a:cubicBezTo>
                        <a:cubicBezTo>
                          <a:pt x="147" y="359"/>
                          <a:pt x="119" y="106"/>
                          <a:pt x="227" y="56"/>
                        </a:cubicBezTo>
                        <a:cubicBezTo>
                          <a:pt x="346" y="0"/>
                          <a:pt x="336" y="256"/>
                          <a:pt x="390" y="296"/>
                        </a:cubicBezTo>
                        <a:cubicBezTo>
                          <a:pt x="455" y="344"/>
                          <a:pt x="484" y="256"/>
                          <a:pt x="507" y="220"/>
                        </a:cubicBezTo>
                        <a:cubicBezTo>
                          <a:pt x="534" y="178"/>
                          <a:pt x="590" y="161"/>
                          <a:pt x="642" y="179"/>
                        </a:cubicBezTo>
                        <a:cubicBezTo>
                          <a:pt x="769" y="223"/>
                          <a:pt x="784" y="376"/>
                          <a:pt x="792" y="489"/>
                        </a:cubicBezTo>
                        <a:cubicBezTo>
                          <a:pt x="804" y="649"/>
                          <a:pt x="825" y="792"/>
                          <a:pt x="954" y="897"/>
                        </a:cubicBezTo>
                        <a:cubicBezTo>
                          <a:pt x="976" y="915"/>
                          <a:pt x="1018" y="925"/>
                          <a:pt x="1032" y="950"/>
                        </a:cubicBezTo>
                        <a:cubicBezTo>
                          <a:pt x="1050" y="982"/>
                          <a:pt x="1046" y="1048"/>
                          <a:pt x="1051" y="1086"/>
                        </a:cubicBezTo>
                        <a:cubicBezTo>
                          <a:pt x="1060" y="1168"/>
                          <a:pt x="1091" y="1231"/>
                          <a:pt x="1111" y="1312"/>
                        </a:cubicBezTo>
                        <a:cubicBezTo>
                          <a:pt x="1125" y="1367"/>
                          <a:pt x="1129" y="1423"/>
                          <a:pt x="1126" y="1481"/>
                        </a:cubicBezTo>
                        <a:cubicBezTo>
                          <a:pt x="1041" y="1476"/>
                          <a:pt x="952" y="1509"/>
                          <a:pt x="870" y="1517"/>
                        </a:cubicBezTo>
                        <a:cubicBezTo>
                          <a:pt x="789" y="1525"/>
                          <a:pt x="705" y="1503"/>
                          <a:pt x="624" y="1499"/>
                        </a:cubicBezTo>
                        <a:cubicBezTo>
                          <a:pt x="530" y="1496"/>
                          <a:pt x="437" y="1506"/>
                          <a:pt x="344" y="1505"/>
                        </a:cubicBezTo>
                        <a:cubicBezTo>
                          <a:pt x="316" y="1505"/>
                          <a:pt x="244" y="1518"/>
                          <a:pt x="222" y="1504"/>
                        </a:cubicBezTo>
                        <a:cubicBezTo>
                          <a:pt x="164" y="1467"/>
                          <a:pt x="229" y="1376"/>
                          <a:pt x="122" y="1395"/>
                        </a:cubicBezTo>
                        <a:cubicBezTo>
                          <a:pt x="130" y="1436"/>
                          <a:pt x="58" y="1476"/>
                          <a:pt x="22" y="14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6" name="Freeform 276"/>
                  <p:cNvSpPr>
                    <a:spLocks/>
                  </p:cNvSpPr>
                  <p:nvPr/>
                </p:nvSpPr>
                <p:spPr bwMode="gray">
                  <a:xfrm>
                    <a:off x="-1741488" y="14217651"/>
                    <a:ext cx="4021138" cy="6184900"/>
                  </a:xfrm>
                  <a:custGeom>
                    <a:avLst/>
                    <a:gdLst/>
                    <a:ahLst/>
                    <a:cxnLst>
                      <a:cxn ang="0">
                        <a:pos x="49" y="197"/>
                      </a:cxn>
                      <a:cxn ang="0">
                        <a:pos x="5" y="390"/>
                      </a:cxn>
                      <a:cxn ang="0">
                        <a:pos x="15" y="591"/>
                      </a:cxn>
                      <a:cxn ang="0">
                        <a:pos x="40" y="1036"/>
                      </a:cxn>
                      <a:cxn ang="0">
                        <a:pos x="40" y="1450"/>
                      </a:cxn>
                      <a:cxn ang="0">
                        <a:pos x="93" y="1609"/>
                      </a:cxn>
                      <a:cxn ang="0">
                        <a:pos x="338" y="1617"/>
                      </a:cxn>
                      <a:cxn ang="0">
                        <a:pos x="522" y="1555"/>
                      </a:cxn>
                      <a:cxn ang="0">
                        <a:pos x="741" y="1503"/>
                      </a:cxn>
                      <a:cxn ang="0">
                        <a:pos x="917" y="1442"/>
                      </a:cxn>
                      <a:cxn ang="0">
                        <a:pos x="932" y="1343"/>
                      </a:cxn>
                      <a:cxn ang="0">
                        <a:pos x="972" y="1249"/>
                      </a:cxn>
                      <a:cxn ang="0">
                        <a:pos x="1014" y="820"/>
                      </a:cxn>
                      <a:cxn ang="0">
                        <a:pos x="1039" y="379"/>
                      </a:cxn>
                      <a:cxn ang="0">
                        <a:pos x="987" y="100"/>
                      </a:cxn>
                      <a:cxn ang="0">
                        <a:pos x="680" y="21"/>
                      </a:cxn>
                      <a:cxn ang="0">
                        <a:pos x="338" y="30"/>
                      </a:cxn>
                      <a:cxn ang="0">
                        <a:pos x="40" y="109"/>
                      </a:cxn>
                    </a:cxnLst>
                    <a:rect l="0" t="0" r="r" b="b"/>
                    <a:pathLst>
                      <a:path w="1072" h="1649">
                        <a:moveTo>
                          <a:pt x="49" y="197"/>
                        </a:moveTo>
                        <a:cubicBezTo>
                          <a:pt x="49" y="268"/>
                          <a:pt x="9" y="321"/>
                          <a:pt x="5" y="390"/>
                        </a:cubicBezTo>
                        <a:cubicBezTo>
                          <a:pt x="1" y="463"/>
                          <a:pt x="23" y="516"/>
                          <a:pt x="15" y="591"/>
                        </a:cubicBezTo>
                        <a:cubicBezTo>
                          <a:pt x="0" y="742"/>
                          <a:pt x="40" y="880"/>
                          <a:pt x="40" y="1036"/>
                        </a:cubicBezTo>
                        <a:cubicBezTo>
                          <a:pt x="40" y="1175"/>
                          <a:pt x="58" y="1322"/>
                          <a:pt x="40" y="1450"/>
                        </a:cubicBezTo>
                        <a:cubicBezTo>
                          <a:pt x="30" y="1526"/>
                          <a:pt x="4" y="1558"/>
                          <a:pt x="93" y="1609"/>
                        </a:cubicBezTo>
                        <a:cubicBezTo>
                          <a:pt x="163" y="1649"/>
                          <a:pt x="272" y="1628"/>
                          <a:pt x="338" y="1617"/>
                        </a:cubicBezTo>
                        <a:cubicBezTo>
                          <a:pt x="401" y="1607"/>
                          <a:pt x="459" y="1564"/>
                          <a:pt x="522" y="1555"/>
                        </a:cubicBezTo>
                        <a:cubicBezTo>
                          <a:pt x="611" y="1543"/>
                          <a:pt x="669" y="1531"/>
                          <a:pt x="741" y="1503"/>
                        </a:cubicBezTo>
                        <a:cubicBezTo>
                          <a:pt x="801" y="1480"/>
                          <a:pt x="887" y="1491"/>
                          <a:pt x="917" y="1442"/>
                        </a:cubicBezTo>
                        <a:cubicBezTo>
                          <a:pt x="926" y="1426"/>
                          <a:pt x="927" y="1364"/>
                          <a:pt x="932" y="1343"/>
                        </a:cubicBezTo>
                        <a:cubicBezTo>
                          <a:pt x="942" y="1309"/>
                          <a:pt x="962" y="1280"/>
                          <a:pt x="972" y="1249"/>
                        </a:cubicBezTo>
                        <a:cubicBezTo>
                          <a:pt x="1013" y="1120"/>
                          <a:pt x="986" y="953"/>
                          <a:pt x="1014" y="820"/>
                        </a:cubicBezTo>
                        <a:cubicBezTo>
                          <a:pt x="1044" y="674"/>
                          <a:pt x="1047" y="525"/>
                          <a:pt x="1039" y="379"/>
                        </a:cubicBezTo>
                        <a:cubicBezTo>
                          <a:pt x="1035" y="279"/>
                          <a:pt x="1072" y="163"/>
                          <a:pt x="987" y="100"/>
                        </a:cubicBezTo>
                        <a:cubicBezTo>
                          <a:pt x="918" y="49"/>
                          <a:pt x="767" y="37"/>
                          <a:pt x="680" y="21"/>
                        </a:cubicBezTo>
                        <a:cubicBezTo>
                          <a:pt x="564" y="0"/>
                          <a:pt x="454" y="26"/>
                          <a:pt x="338" y="30"/>
                        </a:cubicBezTo>
                        <a:cubicBezTo>
                          <a:pt x="253" y="34"/>
                          <a:pt x="102" y="49"/>
                          <a:pt x="40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7" name="Freeform 277"/>
                  <p:cNvSpPr>
                    <a:spLocks/>
                  </p:cNvSpPr>
                  <p:nvPr/>
                </p:nvSpPr>
                <p:spPr bwMode="gray">
                  <a:xfrm>
                    <a:off x="-1141413" y="14004926"/>
                    <a:ext cx="1987550" cy="806450"/>
                  </a:xfrm>
                  <a:custGeom>
                    <a:avLst/>
                    <a:gdLst/>
                    <a:ahLst/>
                    <a:cxnLst>
                      <a:cxn ang="0">
                        <a:pos x="35" y="132"/>
                      </a:cxn>
                      <a:cxn ang="0">
                        <a:pos x="251" y="195"/>
                      </a:cxn>
                      <a:cxn ang="0">
                        <a:pos x="252" y="168"/>
                      </a:cxn>
                      <a:cxn ang="0">
                        <a:pos x="345" y="208"/>
                      </a:cxn>
                      <a:cxn ang="0">
                        <a:pos x="462" y="196"/>
                      </a:cxn>
                      <a:cxn ang="0">
                        <a:pos x="526" y="132"/>
                      </a:cxn>
                      <a:cxn ang="0">
                        <a:pos x="440" y="60"/>
                      </a:cxn>
                      <a:cxn ang="0">
                        <a:pos x="221" y="9"/>
                      </a:cxn>
                      <a:cxn ang="0">
                        <a:pos x="0" y="108"/>
                      </a:cxn>
                    </a:cxnLst>
                    <a:rect l="0" t="0" r="r" b="b"/>
                    <a:pathLst>
                      <a:path w="530" h="215">
                        <a:moveTo>
                          <a:pt x="35" y="132"/>
                        </a:moveTo>
                        <a:cubicBezTo>
                          <a:pt x="56" y="196"/>
                          <a:pt x="194" y="198"/>
                          <a:pt x="251" y="195"/>
                        </a:cubicBezTo>
                        <a:cubicBezTo>
                          <a:pt x="250" y="187"/>
                          <a:pt x="253" y="176"/>
                          <a:pt x="252" y="168"/>
                        </a:cubicBezTo>
                        <a:cubicBezTo>
                          <a:pt x="306" y="141"/>
                          <a:pt x="309" y="199"/>
                          <a:pt x="345" y="208"/>
                        </a:cubicBezTo>
                        <a:cubicBezTo>
                          <a:pt x="371" y="215"/>
                          <a:pt x="434" y="201"/>
                          <a:pt x="462" y="196"/>
                        </a:cubicBezTo>
                        <a:cubicBezTo>
                          <a:pt x="500" y="189"/>
                          <a:pt x="530" y="182"/>
                          <a:pt x="526" y="132"/>
                        </a:cubicBezTo>
                        <a:cubicBezTo>
                          <a:pt x="522" y="79"/>
                          <a:pt x="479" y="76"/>
                          <a:pt x="440" y="60"/>
                        </a:cubicBezTo>
                        <a:cubicBezTo>
                          <a:pt x="364" y="31"/>
                          <a:pt x="304" y="16"/>
                          <a:pt x="221" y="9"/>
                        </a:cubicBezTo>
                        <a:cubicBezTo>
                          <a:pt x="115" y="0"/>
                          <a:pt x="78" y="59"/>
                          <a:pt x="0" y="1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8" name="Freeform 278"/>
                  <p:cNvSpPr>
                    <a:spLocks/>
                  </p:cNvSpPr>
                  <p:nvPr/>
                </p:nvSpPr>
                <p:spPr bwMode="gray">
                  <a:xfrm>
                    <a:off x="-1774825" y="8439151"/>
                    <a:ext cx="3055938" cy="6232525"/>
                  </a:xfrm>
                  <a:custGeom>
                    <a:avLst/>
                    <a:gdLst/>
                    <a:ahLst/>
                    <a:cxnLst>
                      <a:cxn ang="0">
                        <a:pos x="256" y="0"/>
                      </a:cxn>
                      <a:cxn ang="0">
                        <a:pos x="124" y="102"/>
                      </a:cxn>
                      <a:cxn ang="0">
                        <a:pos x="0" y="191"/>
                      </a:cxn>
                      <a:cxn ang="0">
                        <a:pos x="169" y="149"/>
                      </a:cxn>
                      <a:cxn ang="0">
                        <a:pos x="238" y="254"/>
                      </a:cxn>
                      <a:cxn ang="0">
                        <a:pos x="205" y="535"/>
                      </a:cxn>
                      <a:cxn ang="0">
                        <a:pos x="194" y="880"/>
                      </a:cxn>
                      <a:cxn ang="0">
                        <a:pos x="209" y="1027"/>
                      </a:cxn>
                      <a:cxn ang="0">
                        <a:pos x="213" y="1130"/>
                      </a:cxn>
                      <a:cxn ang="0">
                        <a:pos x="232" y="1246"/>
                      </a:cxn>
                      <a:cxn ang="0">
                        <a:pos x="178" y="1344"/>
                      </a:cxn>
                      <a:cxn ang="0">
                        <a:pos x="198" y="1395"/>
                      </a:cxn>
                      <a:cxn ang="0">
                        <a:pos x="198" y="1467"/>
                      </a:cxn>
                      <a:cxn ang="0">
                        <a:pos x="251" y="1638"/>
                      </a:cxn>
                      <a:cxn ang="0">
                        <a:pos x="338" y="1660"/>
                      </a:cxn>
                      <a:cxn ang="0">
                        <a:pos x="411" y="1585"/>
                      </a:cxn>
                      <a:cxn ang="0">
                        <a:pos x="434" y="1403"/>
                      </a:cxn>
                      <a:cxn ang="0">
                        <a:pos x="454" y="1613"/>
                      </a:cxn>
                      <a:cxn ang="0">
                        <a:pos x="514" y="1660"/>
                      </a:cxn>
                      <a:cxn ang="0">
                        <a:pos x="626" y="1655"/>
                      </a:cxn>
                      <a:cxn ang="0">
                        <a:pos x="615" y="1451"/>
                      </a:cxn>
                      <a:cxn ang="0">
                        <a:pos x="639" y="1083"/>
                      </a:cxn>
                      <a:cxn ang="0">
                        <a:pos x="623" y="546"/>
                      </a:cxn>
                      <a:cxn ang="0">
                        <a:pos x="630" y="346"/>
                      </a:cxn>
                      <a:cxn ang="0">
                        <a:pos x="600" y="215"/>
                      </a:cxn>
                      <a:cxn ang="0">
                        <a:pos x="654" y="176"/>
                      </a:cxn>
                      <a:cxn ang="0">
                        <a:pos x="705" y="202"/>
                      </a:cxn>
                      <a:cxn ang="0">
                        <a:pos x="760" y="225"/>
                      </a:cxn>
                      <a:cxn ang="0">
                        <a:pos x="813" y="265"/>
                      </a:cxn>
                      <a:cxn ang="0">
                        <a:pos x="779" y="202"/>
                      </a:cxn>
                      <a:cxn ang="0">
                        <a:pos x="746" y="129"/>
                      </a:cxn>
                      <a:cxn ang="0">
                        <a:pos x="607" y="23"/>
                      </a:cxn>
                      <a:cxn ang="0">
                        <a:pos x="576" y="191"/>
                      </a:cxn>
                      <a:cxn ang="0">
                        <a:pos x="483" y="316"/>
                      </a:cxn>
                      <a:cxn ang="0">
                        <a:pos x="427" y="480"/>
                      </a:cxn>
                      <a:cxn ang="0">
                        <a:pos x="393" y="654"/>
                      </a:cxn>
                      <a:cxn ang="0">
                        <a:pos x="381" y="479"/>
                      </a:cxn>
                      <a:cxn ang="0">
                        <a:pos x="350" y="331"/>
                      </a:cxn>
                      <a:cxn ang="0">
                        <a:pos x="272" y="187"/>
                      </a:cxn>
                      <a:cxn ang="0">
                        <a:pos x="182" y="78"/>
                      </a:cxn>
                    </a:cxnLst>
                    <a:rect l="0" t="0" r="r" b="b"/>
                    <a:pathLst>
                      <a:path w="815" h="1662">
                        <a:moveTo>
                          <a:pt x="256" y="0"/>
                        </a:moveTo>
                        <a:cubicBezTo>
                          <a:pt x="211" y="40"/>
                          <a:pt x="171" y="69"/>
                          <a:pt x="124" y="102"/>
                        </a:cubicBezTo>
                        <a:cubicBezTo>
                          <a:pt x="87" y="129"/>
                          <a:pt x="50" y="196"/>
                          <a:pt x="0" y="191"/>
                        </a:cubicBezTo>
                        <a:cubicBezTo>
                          <a:pt x="63" y="237"/>
                          <a:pt x="121" y="165"/>
                          <a:pt x="169" y="149"/>
                        </a:cubicBezTo>
                        <a:cubicBezTo>
                          <a:pt x="204" y="186"/>
                          <a:pt x="255" y="201"/>
                          <a:pt x="238" y="254"/>
                        </a:cubicBezTo>
                        <a:cubicBezTo>
                          <a:pt x="209" y="343"/>
                          <a:pt x="205" y="438"/>
                          <a:pt x="205" y="535"/>
                        </a:cubicBezTo>
                        <a:cubicBezTo>
                          <a:pt x="206" y="650"/>
                          <a:pt x="189" y="764"/>
                          <a:pt x="194" y="880"/>
                        </a:cubicBezTo>
                        <a:cubicBezTo>
                          <a:pt x="196" y="931"/>
                          <a:pt x="209" y="976"/>
                          <a:pt x="209" y="1027"/>
                        </a:cubicBezTo>
                        <a:cubicBezTo>
                          <a:pt x="209" y="1062"/>
                          <a:pt x="209" y="1096"/>
                          <a:pt x="213" y="1130"/>
                        </a:cubicBezTo>
                        <a:cubicBezTo>
                          <a:pt x="217" y="1168"/>
                          <a:pt x="234" y="1209"/>
                          <a:pt x="232" y="1246"/>
                        </a:cubicBezTo>
                        <a:cubicBezTo>
                          <a:pt x="212" y="1257"/>
                          <a:pt x="178" y="1320"/>
                          <a:pt x="178" y="1344"/>
                        </a:cubicBezTo>
                        <a:cubicBezTo>
                          <a:pt x="178" y="1362"/>
                          <a:pt x="194" y="1378"/>
                          <a:pt x="198" y="1395"/>
                        </a:cubicBezTo>
                        <a:cubicBezTo>
                          <a:pt x="203" y="1417"/>
                          <a:pt x="196" y="1444"/>
                          <a:pt x="198" y="1467"/>
                        </a:cubicBezTo>
                        <a:cubicBezTo>
                          <a:pt x="200" y="1524"/>
                          <a:pt x="198" y="1610"/>
                          <a:pt x="251" y="1638"/>
                        </a:cubicBezTo>
                        <a:cubicBezTo>
                          <a:pt x="278" y="1652"/>
                          <a:pt x="306" y="1660"/>
                          <a:pt x="338" y="1660"/>
                        </a:cubicBezTo>
                        <a:cubicBezTo>
                          <a:pt x="391" y="1660"/>
                          <a:pt x="400" y="1638"/>
                          <a:pt x="411" y="1585"/>
                        </a:cubicBezTo>
                        <a:cubicBezTo>
                          <a:pt x="423" y="1528"/>
                          <a:pt x="392" y="1448"/>
                          <a:pt x="434" y="1403"/>
                        </a:cubicBezTo>
                        <a:cubicBezTo>
                          <a:pt x="458" y="1464"/>
                          <a:pt x="436" y="1549"/>
                          <a:pt x="454" y="1613"/>
                        </a:cubicBezTo>
                        <a:cubicBezTo>
                          <a:pt x="467" y="1658"/>
                          <a:pt x="471" y="1662"/>
                          <a:pt x="514" y="1660"/>
                        </a:cubicBezTo>
                        <a:cubicBezTo>
                          <a:pt x="550" y="1658"/>
                          <a:pt x="590" y="1654"/>
                          <a:pt x="626" y="1655"/>
                        </a:cubicBezTo>
                        <a:cubicBezTo>
                          <a:pt x="633" y="1591"/>
                          <a:pt x="612" y="1518"/>
                          <a:pt x="615" y="1451"/>
                        </a:cubicBezTo>
                        <a:cubicBezTo>
                          <a:pt x="621" y="1327"/>
                          <a:pt x="650" y="1208"/>
                          <a:pt x="639" y="1083"/>
                        </a:cubicBezTo>
                        <a:cubicBezTo>
                          <a:pt x="623" y="910"/>
                          <a:pt x="596" y="718"/>
                          <a:pt x="623" y="546"/>
                        </a:cubicBezTo>
                        <a:cubicBezTo>
                          <a:pt x="680" y="550"/>
                          <a:pt x="641" y="384"/>
                          <a:pt x="630" y="346"/>
                        </a:cubicBezTo>
                        <a:cubicBezTo>
                          <a:pt x="618" y="305"/>
                          <a:pt x="571" y="247"/>
                          <a:pt x="600" y="215"/>
                        </a:cubicBezTo>
                        <a:cubicBezTo>
                          <a:pt x="608" y="206"/>
                          <a:pt x="646" y="179"/>
                          <a:pt x="654" y="176"/>
                        </a:cubicBezTo>
                        <a:cubicBezTo>
                          <a:pt x="695" y="163"/>
                          <a:pt x="682" y="184"/>
                          <a:pt x="705" y="202"/>
                        </a:cubicBezTo>
                        <a:cubicBezTo>
                          <a:pt x="723" y="216"/>
                          <a:pt x="741" y="215"/>
                          <a:pt x="760" y="225"/>
                        </a:cubicBezTo>
                        <a:cubicBezTo>
                          <a:pt x="779" y="235"/>
                          <a:pt x="792" y="256"/>
                          <a:pt x="813" y="265"/>
                        </a:cubicBezTo>
                        <a:cubicBezTo>
                          <a:pt x="815" y="238"/>
                          <a:pt x="791" y="223"/>
                          <a:pt x="779" y="202"/>
                        </a:cubicBezTo>
                        <a:cubicBezTo>
                          <a:pt x="767" y="180"/>
                          <a:pt x="764" y="150"/>
                          <a:pt x="746" y="129"/>
                        </a:cubicBezTo>
                        <a:cubicBezTo>
                          <a:pt x="708" y="85"/>
                          <a:pt x="641" y="69"/>
                          <a:pt x="607" y="23"/>
                        </a:cubicBezTo>
                        <a:cubicBezTo>
                          <a:pt x="592" y="80"/>
                          <a:pt x="607" y="139"/>
                          <a:pt x="576" y="191"/>
                        </a:cubicBezTo>
                        <a:cubicBezTo>
                          <a:pt x="548" y="236"/>
                          <a:pt x="505" y="268"/>
                          <a:pt x="483" y="316"/>
                        </a:cubicBezTo>
                        <a:cubicBezTo>
                          <a:pt x="459" y="368"/>
                          <a:pt x="446" y="424"/>
                          <a:pt x="427" y="480"/>
                        </a:cubicBezTo>
                        <a:cubicBezTo>
                          <a:pt x="411" y="527"/>
                          <a:pt x="428" y="620"/>
                          <a:pt x="393" y="654"/>
                        </a:cubicBezTo>
                        <a:cubicBezTo>
                          <a:pt x="376" y="608"/>
                          <a:pt x="381" y="529"/>
                          <a:pt x="381" y="479"/>
                        </a:cubicBezTo>
                        <a:cubicBezTo>
                          <a:pt x="380" y="421"/>
                          <a:pt x="381" y="374"/>
                          <a:pt x="350" y="331"/>
                        </a:cubicBezTo>
                        <a:cubicBezTo>
                          <a:pt x="317" y="282"/>
                          <a:pt x="287" y="242"/>
                          <a:pt x="272" y="187"/>
                        </a:cubicBezTo>
                        <a:cubicBezTo>
                          <a:pt x="262" y="153"/>
                          <a:pt x="229" y="68"/>
                          <a:pt x="182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89" name="Freeform 279"/>
                  <p:cNvSpPr>
                    <a:spLocks/>
                  </p:cNvSpPr>
                  <p:nvPr/>
                </p:nvSpPr>
                <p:spPr bwMode="gray">
                  <a:xfrm>
                    <a:off x="-2914650" y="13449301"/>
                    <a:ext cx="1031875" cy="720725"/>
                  </a:xfrm>
                  <a:custGeom>
                    <a:avLst/>
                    <a:gdLst/>
                    <a:ahLst/>
                    <a:cxnLst>
                      <a:cxn ang="0">
                        <a:pos x="135" y="191"/>
                      </a:cxn>
                      <a:cxn ang="0">
                        <a:pos x="188" y="4"/>
                      </a:cxn>
                      <a:cxn ang="0">
                        <a:pos x="234" y="116"/>
                      </a:cxn>
                      <a:cxn ang="0">
                        <a:pos x="129" y="191"/>
                      </a:cxn>
                    </a:cxnLst>
                    <a:rect l="0" t="0" r="r" b="b"/>
                    <a:pathLst>
                      <a:path w="275" h="192">
                        <a:moveTo>
                          <a:pt x="135" y="191"/>
                        </a:moveTo>
                        <a:cubicBezTo>
                          <a:pt x="0" y="192"/>
                          <a:pt x="88" y="10"/>
                          <a:pt x="188" y="4"/>
                        </a:cubicBezTo>
                        <a:cubicBezTo>
                          <a:pt x="259" y="0"/>
                          <a:pt x="275" y="74"/>
                          <a:pt x="234" y="116"/>
                        </a:cubicBezTo>
                        <a:cubicBezTo>
                          <a:pt x="207" y="143"/>
                          <a:pt x="162" y="165"/>
                          <a:pt x="129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0" name="Freeform 280"/>
                  <p:cNvSpPr>
                    <a:spLocks/>
                  </p:cNvSpPr>
                  <p:nvPr/>
                </p:nvSpPr>
                <p:spPr bwMode="gray">
                  <a:xfrm>
                    <a:off x="400050" y="14341476"/>
                    <a:ext cx="1808163" cy="1276350"/>
                  </a:xfrm>
                  <a:custGeom>
                    <a:avLst/>
                    <a:gdLst/>
                    <a:ahLst/>
                    <a:cxnLst>
                      <a:cxn ang="0">
                        <a:pos x="460" y="287"/>
                      </a:cxn>
                      <a:cxn ang="0">
                        <a:pos x="232" y="257"/>
                      </a:cxn>
                      <a:cxn ang="0">
                        <a:pos x="11" y="327"/>
                      </a:cxn>
                      <a:cxn ang="0">
                        <a:pos x="15" y="236"/>
                      </a:cxn>
                      <a:cxn ang="0">
                        <a:pos x="0" y="235"/>
                      </a:cxn>
                      <a:cxn ang="0">
                        <a:pos x="482" y="228"/>
                      </a:cxn>
                      <a:cxn ang="0">
                        <a:pos x="466" y="235"/>
                      </a:cxn>
                    </a:cxnLst>
                    <a:rect l="0" t="0" r="r" b="b"/>
                    <a:pathLst>
                      <a:path w="482" h="340">
                        <a:moveTo>
                          <a:pt x="460" y="287"/>
                        </a:moveTo>
                        <a:cubicBezTo>
                          <a:pt x="386" y="340"/>
                          <a:pt x="304" y="274"/>
                          <a:pt x="232" y="257"/>
                        </a:cubicBezTo>
                        <a:cubicBezTo>
                          <a:pt x="132" y="232"/>
                          <a:pt x="95" y="302"/>
                          <a:pt x="11" y="327"/>
                        </a:cubicBezTo>
                        <a:cubicBezTo>
                          <a:pt x="11" y="297"/>
                          <a:pt x="20" y="267"/>
                          <a:pt x="15" y="236"/>
                        </a:cubicBezTo>
                        <a:cubicBezTo>
                          <a:pt x="11" y="235"/>
                          <a:pt x="4" y="236"/>
                          <a:pt x="0" y="235"/>
                        </a:cubicBezTo>
                        <a:cubicBezTo>
                          <a:pt x="109" y="206"/>
                          <a:pt x="473" y="0"/>
                          <a:pt x="482" y="228"/>
                        </a:cubicBezTo>
                        <a:cubicBezTo>
                          <a:pt x="476" y="229"/>
                          <a:pt x="472" y="232"/>
                          <a:pt x="466" y="23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1" name="Freeform 281"/>
                  <p:cNvSpPr>
                    <a:spLocks/>
                  </p:cNvSpPr>
                  <p:nvPr/>
                </p:nvSpPr>
                <p:spPr bwMode="gray">
                  <a:xfrm>
                    <a:off x="-1665288" y="14825663"/>
                    <a:ext cx="1098550" cy="919163"/>
                  </a:xfrm>
                  <a:custGeom>
                    <a:avLst/>
                    <a:gdLst/>
                    <a:ahLst/>
                    <a:cxnLst>
                      <a:cxn ang="0">
                        <a:pos x="0" y="59"/>
                      </a:cxn>
                      <a:cxn ang="0">
                        <a:pos x="98" y="182"/>
                      </a:cxn>
                      <a:cxn ang="0">
                        <a:pos x="293" y="240"/>
                      </a:cxn>
                      <a:cxn ang="0">
                        <a:pos x="227" y="19"/>
                      </a:cxn>
                      <a:cxn ang="0">
                        <a:pos x="75" y="6"/>
                      </a:cxn>
                      <a:cxn ang="0">
                        <a:pos x="0" y="76"/>
                      </a:cxn>
                    </a:cxnLst>
                    <a:rect l="0" t="0" r="r" b="b"/>
                    <a:pathLst>
                      <a:path w="293" h="245">
                        <a:moveTo>
                          <a:pt x="0" y="59"/>
                        </a:moveTo>
                        <a:cubicBezTo>
                          <a:pt x="40" y="113"/>
                          <a:pt x="22" y="156"/>
                          <a:pt x="98" y="182"/>
                        </a:cubicBezTo>
                        <a:cubicBezTo>
                          <a:pt x="149" y="199"/>
                          <a:pt x="239" y="245"/>
                          <a:pt x="293" y="240"/>
                        </a:cubicBezTo>
                        <a:cubicBezTo>
                          <a:pt x="214" y="196"/>
                          <a:pt x="232" y="106"/>
                          <a:pt x="227" y="19"/>
                        </a:cubicBezTo>
                        <a:cubicBezTo>
                          <a:pt x="177" y="14"/>
                          <a:pt x="128" y="0"/>
                          <a:pt x="75" y="6"/>
                        </a:cubicBezTo>
                        <a:cubicBezTo>
                          <a:pt x="11" y="14"/>
                          <a:pt x="36" y="33"/>
                          <a:pt x="0" y="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2" name="Freeform 282"/>
                  <p:cNvSpPr>
                    <a:spLocks/>
                  </p:cNvSpPr>
                  <p:nvPr/>
                </p:nvSpPr>
                <p:spPr bwMode="gray">
                  <a:xfrm>
                    <a:off x="-739775" y="15628938"/>
                    <a:ext cx="2692400" cy="2411413"/>
                  </a:xfrm>
                  <a:custGeom>
                    <a:avLst/>
                    <a:gdLst/>
                    <a:ahLst/>
                    <a:cxnLst>
                      <a:cxn ang="0">
                        <a:pos x="653" y="225"/>
                      </a:cxn>
                      <a:cxn ang="0">
                        <a:pos x="513" y="353"/>
                      </a:cxn>
                      <a:cxn ang="0">
                        <a:pos x="361" y="480"/>
                      </a:cxn>
                      <a:cxn ang="0">
                        <a:pos x="0" y="621"/>
                      </a:cxn>
                      <a:cxn ang="0">
                        <a:pos x="435" y="305"/>
                      </a:cxn>
                      <a:cxn ang="0">
                        <a:pos x="573" y="104"/>
                      </a:cxn>
                      <a:cxn ang="0">
                        <a:pos x="675" y="21"/>
                      </a:cxn>
                      <a:cxn ang="0">
                        <a:pos x="682" y="153"/>
                      </a:cxn>
                      <a:cxn ang="0">
                        <a:pos x="589" y="283"/>
                      </a:cxn>
                    </a:cxnLst>
                    <a:rect l="0" t="0" r="r" b="b"/>
                    <a:pathLst>
                      <a:path w="718" h="643">
                        <a:moveTo>
                          <a:pt x="653" y="225"/>
                        </a:moveTo>
                        <a:cubicBezTo>
                          <a:pt x="637" y="279"/>
                          <a:pt x="556" y="321"/>
                          <a:pt x="513" y="353"/>
                        </a:cubicBezTo>
                        <a:cubicBezTo>
                          <a:pt x="459" y="393"/>
                          <a:pt x="411" y="438"/>
                          <a:pt x="361" y="480"/>
                        </a:cubicBezTo>
                        <a:cubicBezTo>
                          <a:pt x="264" y="561"/>
                          <a:pt x="132" y="643"/>
                          <a:pt x="0" y="621"/>
                        </a:cubicBezTo>
                        <a:cubicBezTo>
                          <a:pt x="150" y="549"/>
                          <a:pt x="337" y="442"/>
                          <a:pt x="435" y="305"/>
                        </a:cubicBezTo>
                        <a:cubicBezTo>
                          <a:pt x="483" y="238"/>
                          <a:pt x="524" y="167"/>
                          <a:pt x="573" y="104"/>
                        </a:cubicBezTo>
                        <a:cubicBezTo>
                          <a:pt x="593" y="77"/>
                          <a:pt x="630" y="0"/>
                          <a:pt x="675" y="21"/>
                        </a:cubicBezTo>
                        <a:cubicBezTo>
                          <a:pt x="718" y="41"/>
                          <a:pt x="695" y="127"/>
                          <a:pt x="682" y="153"/>
                        </a:cubicBezTo>
                        <a:cubicBezTo>
                          <a:pt x="663" y="191"/>
                          <a:pt x="626" y="263"/>
                          <a:pt x="589" y="28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3" name="Freeform 283"/>
                  <p:cNvSpPr>
                    <a:spLocks/>
                  </p:cNvSpPr>
                  <p:nvPr/>
                </p:nvSpPr>
                <p:spPr bwMode="gray">
                  <a:xfrm>
                    <a:off x="-477838" y="16422688"/>
                    <a:ext cx="2482850" cy="3222625"/>
                  </a:xfrm>
                  <a:custGeom>
                    <a:avLst/>
                    <a:gdLst/>
                    <a:ahLst/>
                    <a:cxnLst>
                      <a:cxn ang="0">
                        <a:pos x="554" y="112"/>
                      </a:cxn>
                      <a:cxn ang="0">
                        <a:pos x="436" y="323"/>
                      </a:cxn>
                      <a:cxn ang="0">
                        <a:pos x="315" y="511"/>
                      </a:cxn>
                      <a:cxn ang="0">
                        <a:pos x="0" y="859"/>
                      </a:cxn>
                      <a:cxn ang="0">
                        <a:pos x="223" y="732"/>
                      </a:cxn>
                      <a:cxn ang="0">
                        <a:pos x="459" y="529"/>
                      </a:cxn>
                      <a:cxn ang="0">
                        <a:pos x="344" y="782"/>
                      </a:cxn>
                      <a:cxn ang="0">
                        <a:pos x="548" y="387"/>
                      </a:cxn>
                      <a:cxn ang="0">
                        <a:pos x="596" y="169"/>
                      </a:cxn>
                      <a:cxn ang="0">
                        <a:pos x="652" y="8"/>
                      </a:cxn>
                      <a:cxn ang="0">
                        <a:pos x="542" y="137"/>
                      </a:cxn>
                      <a:cxn ang="0">
                        <a:pos x="449" y="258"/>
                      </a:cxn>
                    </a:cxnLst>
                    <a:rect l="0" t="0" r="r" b="b"/>
                    <a:pathLst>
                      <a:path w="662" h="859">
                        <a:moveTo>
                          <a:pt x="554" y="112"/>
                        </a:moveTo>
                        <a:cubicBezTo>
                          <a:pt x="559" y="166"/>
                          <a:pt x="462" y="270"/>
                          <a:pt x="436" y="323"/>
                        </a:cubicBezTo>
                        <a:cubicBezTo>
                          <a:pt x="401" y="390"/>
                          <a:pt x="359" y="448"/>
                          <a:pt x="315" y="511"/>
                        </a:cubicBezTo>
                        <a:cubicBezTo>
                          <a:pt x="222" y="646"/>
                          <a:pt x="129" y="762"/>
                          <a:pt x="0" y="859"/>
                        </a:cubicBezTo>
                        <a:cubicBezTo>
                          <a:pt x="79" y="822"/>
                          <a:pt x="156" y="788"/>
                          <a:pt x="223" y="732"/>
                        </a:cubicBezTo>
                        <a:cubicBezTo>
                          <a:pt x="301" y="667"/>
                          <a:pt x="376" y="588"/>
                          <a:pt x="459" y="529"/>
                        </a:cubicBezTo>
                        <a:cubicBezTo>
                          <a:pt x="464" y="635"/>
                          <a:pt x="411" y="705"/>
                          <a:pt x="344" y="782"/>
                        </a:cubicBezTo>
                        <a:cubicBezTo>
                          <a:pt x="477" y="691"/>
                          <a:pt x="524" y="541"/>
                          <a:pt x="548" y="387"/>
                        </a:cubicBezTo>
                        <a:cubicBezTo>
                          <a:pt x="561" y="307"/>
                          <a:pt x="569" y="239"/>
                          <a:pt x="596" y="169"/>
                        </a:cubicBezTo>
                        <a:cubicBezTo>
                          <a:pt x="616" y="117"/>
                          <a:pt x="662" y="68"/>
                          <a:pt x="652" y="8"/>
                        </a:cubicBezTo>
                        <a:cubicBezTo>
                          <a:pt x="607" y="0"/>
                          <a:pt x="572" y="106"/>
                          <a:pt x="542" y="137"/>
                        </a:cubicBezTo>
                        <a:cubicBezTo>
                          <a:pt x="507" y="173"/>
                          <a:pt x="454" y="204"/>
                          <a:pt x="449" y="25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4" name="Freeform 284"/>
                  <p:cNvSpPr>
                    <a:spLocks/>
                  </p:cNvSpPr>
                  <p:nvPr/>
                </p:nvSpPr>
                <p:spPr bwMode="gray">
                  <a:xfrm>
                    <a:off x="1765300" y="14338301"/>
                    <a:ext cx="817563" cy="2287588"/>
                  </a:xfrm>
                  <a:custGeom>
                    <a:avLst/>
                    <a:gdLst/>
                    <a:ahLst/>
                    <a:cxnLst>
                      <a:cxn ang="0">
                        <a:pos x="99" y="1"/>
                      </a:cxn>
                      <a:cxn ang="0">
                        <a:pos x="61" y="160"/>
                      </a:cxn>
                      <a:cxn ang="0">
                        <a:pos x="40" y="273"/>
                      </a:cxn>
                      <a:cxn ang="0">
                        <a:pos x="23" y="348"/>
                      </a:cxn>
                      <a:cxn ang="0">
                        <a:pos x="7" y="447"/>
                      </a:cxn>
                      <a:cxn ang="0">
                        <a:pos x="79" y="361"/>
                      </a:cxn>
                      <a:cxn ang="0">
                        <a:pos x="56" y="501"/>
                      </a:cxn>
                      <a:cxn ang="0">
                        <a:pos x="48" y="556"/>
                      </a:cxn>
                      <a:cxn ang="0">
                        <a:pos x="58" y="610"/>
                      </a:cxn>
                      <a:cxn ang="0">
                        <a:pos x="109" y="467"/>
                      </a:cxn>
                      <a:cxn ang="0">
                        <a:pos x="109" y="594"/>
                      </a:cxn>
                      <a:cxn ang="0">
                        <a:pos x="147" y="493"/>
                      </a:cxn>
                      <a:cxn ang="0">
                        <a:pos x="155" y="570"/>
                      </a:cxn>
                      <a:cxn ang="0">
                        <a:pos x="211" y="327"/>
                      </a:cxn>
                      <a:cxn ang="0">
                        <a:pos x="206" y="178"/>
                      </a:cxn>
                      <a:cxn ang="0">
                        <a:pos x="208" y="124"/>
                      </a:cxn>
                      <a:cxn ang="0">
                        <a:pos x="201" y="89"/>
                      </a:cxn>
                      <a:cxn ang="0">
                        <a:pos x="191" y="35"/>
                      </a:cxn>
                      <a:cxn ang="0">
                        <a:pos x="100" y="1"/>
                      </a:cxn>
                    </a:cxnLst>
                    <a:rect l="0" t="0" r="r" b="b"/>
                    <a:pathLst>
                      <a:path w="218" h="610">
                        <a:moveTo>
                          <a:pt x="99" y="1"/>
                        </a:moveTo>
                        <a:cubicBezTo>
                          <a:pt x="91" y="55"/>
                          <a:pt x="75" y="107"/>
                          <a:pt x="61" y="160"/>
                        </a:cubicBezTo>
                        <a:cubicBezTo>
                          <a:pt x="51" y="197"/>
                          <a:pt x="46" y="235"/>
                          <a:pt x="40" y="273"/>
                        </a:cubicBezTo>
                        <a:cubicBezTo>
                          <a:pt x="36" y="298"/>
                          <a:pt x="27" y="323"/>
                          <a:pt x="23" y="348"/>
                        </a:cubicBezTo>
                        <a:cubicBezTo>
                          <a:pt x="21" y="356"/>
                          <a:pt x="0" y="440"/>
                          <a:pt x="7" y="447"/>
                        </a:cubicBezTo>
                        <a:cubicBezTo>
                          <a:pt x="37" y="449"/>
                          <a:pt x="71" y="360"/>
                          <a:pt x="79" y="361"/>
                        </a:cubicBezTo>
                        <a:cubicBezTo>
                          <a:pt x="83" y="379"/>
                          <a:pt x="59" y="484"/>
                          <a:pt x="56" y="501"/>
                        </a:cubicBezTo>
                        <a:cubicBezTo>
                          <a:pt x="53" y="519"/>
                          <a:pt x="50" y="538"/>
                          <a:pt x="48" y="556"/>
                        </a:cubicBezTo>
                        <a:cubicBezTo>
                          <a:pt x="46" y="571"/>
                          <a:pt x="36" y="609"/>
                          <a:pt x="58" y="610"/>
                        </a:cubicBezTo>
                        <a:cubicBezTo>
                          <a:pt x="69" y="610"/>
                          <a:pt x="101" y="480"/>
                          <a:pt x="109" y="467"/>
                        </a:cubicBezTo>
                        <a:cubicBezTo>
                          <a:pt x="115" y="476"/>
                          <a:pt x="96" y="592"/>
                          <a:pt x="109" y="594"/>
                        </a:cubicBezTo>
                        <a:cubicBezTo>
                          <a:pt x="130" y="596"/>
                          <a:pt x="143" y="502"/>
                          <a:pt x="147" y="493"/>
                        </a:cubicBezTo>
                        <a:cubicBezTo>
                          <a:pt x="147" y="495"/>
                          <a:pt x="141" y="559"/>
                          <a:pt x="155" y="570"/>
                        </a:cubicBezTo>
                        <a:cubicBezTo>
                          <a:pt x="172" y="569"/>
                          <a:pt x="218" y="396"/>
                          <a:pt x="211" y="327"/>
                        </a:cubicBezTo>
                        <a:cubicBezTo>
                          <a:pt x="205" y="276"/>
                          <a:pt x="204" y="228"/>
                          <a:pt x="206" y="178"/>
                        </a:cubicBezTo>
                        <a:cubicBezTo>
                          <a:pt x="207" y="161"/>
                          <a:pt x="209" y="142"/>
                          <a:pt x="208" y="124"/>
                        </a:cubicBezTo>
                        <a:cubicBezTo>
                          <a:pt x="207" y="112"/>
                          <a:pt x="202" y="101"/>
                          <a:pt x="201" y="89"/>
                        </a:cubicBezTo>
                        <a:cubicBezTo>
                          <a:pt x="199" y="74"/>
                          <a:pt x="200" y="49"/>
                          <a:pt x="191" y="35"/>
                        </a:cubicBezTo>
                        <a:cubicBezTo>
                          <a:pt x="173" y="9"/>
                          <a:pt x="130" y="0"/>
                          <a:pt x="100" y="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5" name="Freeform 285"/>
                  <p:cNvSpPr>
                    <a:spLocks/>
                  </p:cNvSpPr>
                  <p:nvPr/>
                </p:nvSpPr>
                <p:spPr bwMode="gray">
                  <a:xfrm>
                    <a:off x="-863600" y="6575426"/>
                    <a:ext cx="1585913" cy="2251075"/>
                  </a:xfrm>
                  <a:custGeom>
                    <a:avLst/>
                    <a:gdLst/>
                    <a:ahLst/>
                    <a:cxnLst>
                      <a:cxn ang="0">
                        <a:pos x="6" y="213"/>
                      </a:cxn>
                      <a:cxn ang="0">
                        <a:pos x="35" y="379"/>
                      </a:cxn>
                      <a:cxn ang="0">
                        <a:pos x="76" y="526"/>
                      </a:cxn>
                      <a:cxn ang="0">
                        <a:pos x="199" y="599"/>
                      </a:cxn>
                      <a:cxn ang="0">
                        <a:pos x="330" y="527"/>
                      </a:cxn>
                      <a:cxn ang="0">
                        <a:pos x="374" y="392"/>
                      </a:cxn>
                      <a:cxn ang="0">
                        <a:pos x="329" y="70"/>
                      </a:cxn>
                      <a:cxn ang="0">
                        <a:pos x="158" y="0"/>
                      </a:cxn>
                      <a:cxn ang="0">
                        <a:pos x="0" y="85"/>
                      </a:cxn>
                    </a:cxnLst>
                    <a:rect l="0" t="0" r="r" b="b"/>
                    <a:pathLst>
                      <a:path w="423" h="600">
                        <a:moveTo>
                          <a:pt x="6" y="213"/>
                        </a:moveTo>
                        <a:cubicBezTo>
                          <a:pt x="0" y="277"/>
                          <a:pt x="15" y="323"/>
                          <a:pt x="35" y="379"/>
                        </a:cubicBezTo>
                        <a:cubicBezTo>
                          <a:pt x="53" y="428"/>
                          <a:pt x="42" y="480"/>
                          <a:pt x="76" y="526"/>
                        </a:cubicBezTo>
                        <a:cubicBezTo>
                          <a:pt x="102" y="561"/>
                          <a:pt x="152" y="597"/>
                          <a:pt x="199" y="599"/>
                        </a:cubicBezTo>
                        <a:cubicBezTo>
                          <a:pt x="244" y="600"/>
                          <a:pt x="305" y="565"/>
                          <a:pt x="330" y="527"/>
                        </a:cubicBezTo>
                        <a:cubicBezTo>
                          <a:pt x="356" y="487"/>
                          <a:pt x="352" y="434"/>
                          <a:pt x="374" y="392"/>
                        </a:cubicBezTo>
                        <a:cubicBezTo>
                          <a:pt x="423" y="295"/>
                          <a:pt x="402" y="146"/>
                          <a:pt x="329" y="70"/>
                        </a:cubicBezTo>
                        <a:cubicBezTo>
                          <a:pt x="281" y="20"/>
                          <a:pt x="227" y="0"/>
                          <a:pt x="158" y="0"/>
                        </a:cubicBezTo>
                        <a:cubicBezTo>
                          <a:pt x="115" y="0"/>
                          <a:pt x="3" y="73"/>
                          <a:pt x="0" y="8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6" name="Freeform 286"/>
                  <p:cNvSpPr>
                    <a:spLocks/>
                  </p:cNvSpPr>
                  <p:nvPr/>
                </p:nvSpPr>
                <p:spPr bwMode="gray">
                  <a:xfrm>
                    <a:off x="-971550" y="5983288"/>
                    <a:ext cx="1795463" cy="2549525"/>
                  </a:xfrm>
                  <a:custGeom>
                    <a:avLst/>
                    <a:gdLst/>
                    <a:ahLst/>
                    <a:cxnLst>
                      <a:cxn ang="0">
                        <a:pos x="7" y="242"/>
                      </a:cxn>
                      <a:cxn ang="0">
                        <a:pos x="39" y="429"/>
                      </a:cxn>
                      <a:cxn ang="0">
                        <a:pos x="86" y="596"/>
                      </a:cxn>
                      <a:cxn ang="0">
                        <a:pos x="225" y="678"/>
                      </a:cxn>
                      <a:cxn ang="0">
                        <a:pos x="373" y="597"/>
                      </a:cxn>
                      <a:cxn ang="0">
                        <a:pos x="423" y="444"/>
                      </a:cxn>
                      <a:cxn ang="0">
                        <a:pos x="372" y="79"/>
                      </a:cxn>
                      <a:cxn ang="0">
                        <a:pos x="178" y="0"/>
                      </a:cxn>
                      <a:cxn ang="0">
                        <a:pos x="0" y="97"/>
                      </a:cxn>
                    </a:cxnLst>
                    <a:rect l="0" t="0" r="r" b="b"/>
                    <a:pathLst>
                      <a:path w="479" h="680">
                        <a:moveTo>
                          <a:pt x="7" y="242"/>
                        </a:moveTo>
                        <a:cubicBezTo>
                          <a:pt x="0" y="314"/>
                          <a:pt x="16" y="366"/>
                          <a:pt x="39" y="429"/>
                        </a:cubicBezTo>
                        <a:cubicBezTo>
                          <a:pt x="59" y="485"/>
                          <a:pt x="47" y="544"/>
                          <a:pt x="86" y="596"/>
                        </a:cubicBezTo>
                        <a:cubicBezTo>
                          <a:pt x="115" y="635"/>
                          <a:pt x="172" y="677"/>
                          <a:pt x="225" y="678"/>
                        </a:cubicBezTo>
                        <a:cubicBezTo>
                          <a:pt x="276" y="680"/>
                          <a:pt x="346" y="640"/>
                          <a:pt x="373" y="597"/>
                        </a:cubicBezTo>
                        <a:cubicBezTo>
                          <a:pt x="403" y="552"/>
                          <a:pt x="398" y="492"/>
                          <a:pt x="423" y="444"/>
                        </a:cubicBezTo>
                        <a:cubicBezTo>
                          <a:pt x="479" y="334"/>
                          <a:pt x="455" y="166"/>
                          <a:pt x="372" y="79"/>
                        </a:cubicBezTo>
                        <a:cubicBezTo>
                          <a:pt x="318" y="23"/>
                          <a:pt x="257" y="0"/>
                          <a:pt x="178" y="0"/>
                        </a:cubicBezTo>
                        <a:cubicBezTo>
                          <a:pt x="130" y="0"/>
                          <a:pt x="3" y="83"/>
                          <a:pt x="0" y="9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7" name="Freeform 287"/>
                  <p:cNvSpPr>
                    <a:spLocks/>
                  </p:cNvSpPr>
                  <p:nvPr/>
                </p:nvSpPr>
                <p:spPr bwMode="gray">
                  <a:xfrm>
                    <a:off x="-117475" y="11623676"/>
                    <a:ext cx="1038225" cy="2324100"/>
                  </a:xfrm>
                  <a:custGeom>
                    <a:avLst/>
                    <a:gdLst/>
                    <a:ahLst/>
                    <a:cxnLst>
                      <a:cxn ang="0">
                        <a:pos x="200" y="59"/>
                      </a:cxn>
                      <a:cxn ang="0">
                        <a:pos x="101" y="65"/>
                      </a:cxn>
                      <a:cxn ang="0">
                        <a:pos x="38" y="19"/>
                      </a:cxn>
                      <a:cxn ang="0">
                        <a:pos x="61" y="201"/>
                      </a:cxn>
                      <a:cxn ang="0">
                        <a:pos x="95" y="293"/>
                      </a:cxn>
                      <a:cxn ang="0">
                        <a:pos x="54" y="404"/>
                      </a:cxn>
                      <a:cxn ang="0">
                        <a:pos x="78" y="522"/>
                      </a:cxn>
                      <a:cxn ang="0">
                        <a:pos x="176" y="615"/>
                      </a:cxn>
                      <a:cxn ang="0">
                        <a:pos x="253" y="464"/>
                      </a:cxn>
                      <a:cxn ang="0">
                        <a:pos x="276" y="286"/>
                      </a:cxn>
                      <a:cxn ang="0">
                        <a:pos x="203" y="78"/>
                      </a:cxn>
                      <a:cxn ang="0">
                        <a:pos x="85" y="57"/>
                      </a:cxn>
                      <a:cxn ang="0">
                        <a:pos x="25" y="48"/>
                      </a:cxn>
                    </a:cxnLst>
                    <a:rect l="0" t="0" r="r" b="b"/>
                    <a:pathLst>
                      <a:path w="277" h="620">
                        <a:moveTo>
                          <a:pt x="200" y="59"/>
                        </a:moveTo>
                        <a:cubicBezTo>
                          <a:pt x="175" y="76"/>
                          <a:pt x="127" y="78"/>
                          <a:pt x="101" y="65"/>
                        </a:cubicBezTo>
                        <a:cubicBezTo>
                          <a:pt x="75" y="52"/>
                          <a:pt x="68" y="17"/>
                          <a:pt x="38" y="19"/>
                        </a:cubicBezTo>
                        <a:cubicBezTo>
                          <a:pt x="26" y="65"/>
                          <a:pt x="135" y="171"/>
                          <a:pt x="61" y="201"/>
                        </a:cubicBezTo>
                        <a:cubicBezTo>
                          <a:pt x="46" y="250"/>
                          <a:pt x="96" y="253"/>
                          <a:pt x="95" y="293"/>
                        </a:cubicBezTo>
                        <a:cubicBezTo>
                          <a:pt x="95" y="334"/>
                          <a:pt x="49" y="349"/>
                          <a:pt x="54" y="404"/>
                        </a:cubicBezTo>
                        <a:cubicBezTo>
                          <a:pt x="57" y="438"/>
                          <a:pt x="68" y="488"/>
                          <a:pt x="78" y="522"/>
                        </a:cubicBezTo>
                        <a:cubicBezTo>
                          <a:pt x="89" y="562"/>
                          <a:pt x="124" y="620"/>
                          <a:pt x="176" y="615"/>
                        </a:cubicBezTo>
                        <a:cubicBezTo>
                          <a:pt x="249" y="607"/>
                          <a:pt x="253" y="521"/>
                          <a:pt x="253" y="464"/>
                        </a:cubicBezTo>
                        <a:cubicBezTo>
                          <a:pt x="253" y="398"/>
                          <a:pt x="276" y="352"/>
                          <a:pt x="276" y="286"/>
                        </a:cubicBezTo>
                        <a:cubicBezTo>
                          <a:pt x="276" y="197"/>
                          <a:pt x="277" y="138"/>
                          <a:pt x="203" y="78"/>
                        </a:cubicBezTo>
                        <a:cubicBezTo>
                          <a:pt x="173" y="54"/>
                          <a:pt x="115" y="6"/>
                          <a:pt x="85" y="57"/>
                        </a:cubicBezTo>
                        <a:cubicBezTo>
                          <a:pt x="70" y="18"/>
                          <a:pt x="0" y="0"/>
                          <a:pt x="25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8" name="Freeform 288"/>
                  <p:cNvSpPr>
                    <a:spLocks/>
                  </p:cNvSpPr>
                  <p:nvPr/>
                </p:nvSpPr>
                <p:spPr bwMode="gray">
                  <a:xfrm>
                    <a:off x="-219075" y="10855326"/>
                    <a:ext cx="657225" cy="704850"/>
                  </a:xfrm>
                  <a:custGeom>
                    <a:avLst/>
                    <a:gdLst/>
                    <a:ahLst/>
                    <a:cxnLst>
                      <a:cxn ang="0">
                        <a:pos x="157" y="183"/>
                      </a:cxn>
                      <a:cxn ang="0">
                        <a:pos x="75" y="20"/>
                      </a:cxn>
                      <a:cxn ang="0">
                        <a:pos x="87" y="118"/>
                      </a:cxn>
                      <a:cxn ang="0">
                        <a:pos x="175" y="188"/>
                      </a:cxn>
                    </a:cxnLst>
                    <a:rect l="0" t="0" r="r" b="b"/>
                    <a:pathLst>
                      <a:path w="175" h="188">
                        <a:moveTo>
                          <a:pt x="157" y="183"/>
                        </a:moveTo>
                        <a:cubicBezTo>
                          <a:pt x="117" y="174"/>
                          <a:pt x="0" y="57"/>
                          <a:pt x="75" y="20"/>
                        </a:cubicBezTo>
                        <a:cubicBezTo>
                          <a:pt x="116" y="0"/>
                          <a:pt x="82" y="106"/>
                          <a:pt x="87" y="118"/>
                        </a:cubicBezTo>
                        <a:cubicBezTo>
                          <a:pt x="99" y="149"/>
                          <a:pt x="147" y="167"/>
                          <a:pt x="175" y="18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99" name="Freeform 289"/>
                  <p:cNvSpPr>
                    <a:spLocks/>
                  </p:cNvSpPr>
                  <p:nvPr/>
                </p:nvSpPr>
                <p:spPr bwMode="gray">
                  <a:xfrm>
                    <a:off x="-1287463" y="11717338"/>
                    <a:ext cx="1196975" cy="3367088"/>
                  </a:xfrm>
                  <a:custGeom>
                    <a:avLst/>
                    <a:gdLst/>
                    <a:ahLst/>
                    <a:cxnLst>
                      <a:cxn ang="0">
                        <a:pos x="127" y="122"/>
                      </a:cxn>
                      <a:cxn ang="0">
                        <a:pos x="144" y="227"/>
                      </a:cxn>
                      <a:cxn ang="0">
                        <a:pos x="198" y="308"/>
                      </a:cxn>
                      <a:cxn ang="0">
                        <a:pos x="319" y="472"/>
                      </a:cxn>
                      <a:cxn ang="0">
                        <a:pos x="157" y="339"/>
                      </a:cxn>
                      <a:cxn ang="0">
                        <a:pos x="169" y="594"/>
                      </a:cxn>
                      <a:cxn ang="0">
                        <a:pos x="238" y="695"/>
                      </a:cxn>
                      <a:cxn ang="0">
                        <a:pos x="259" y="829"/>
                      </a:cxn>
                      <a:cxn ang="0">
                        <a:pos x="74" y="397"/>
                      </a:cxn>
                      <a:cxn ang="0">
                        <a:pos x="4" y="128"/>
                      </a:cxn>
                      <a:cxn ang="0">
                        <a:pos x="161" y="35"/>
                      </a:cxn>
                      <a:cxn ang="0">
                        <a:pos x="92" y="134"/>
                      </a:cxn>
                      <a:cxn ang="0">
                        <a:pos x="156" y="210"/>
                      </a:cxn>
                    </a:cxnLst>
                    <a:rect l="0" t="0" r="r" b="b"/>
                    <a:pathLst>
                      <a:path w="319" h="898">
                        <a:moveTo>
                          <a:pt x="127" y="122"/>
                        </a:moveTo>
                        <a:cubicBezTo>
                          <a:pt x="148" y="154"/>
                          <a:pt x="133" y="189"/>
                          <a:pt x="144" y="227"/>
                        </a:cubicBezTo>
                        <a:cubicBezTo>
                          <a:pt x="152" y="254"/>
                          <a:pt x="181" y="284"/>
                          <a:pt x="198" y="308"/>
                        </a:cubicBezTo>
                        <a:cubicBezTo>
                          <a:pt x="238" y="364"/>
                          <a:pt x="288" y="410"/>
                          <a:pt x="319" y="472"/>
                        </a:cubicBezTo>
                        <a:cubicBezTo>
                          <a:pt x="273" y="430"/>
                          <a:pt x="238" y="326"/>
                          <a:pt x="157" y="339"/>
                        </a:cubicBezTo>
                        <a:cubicBezTo>
                          <a:pt x="137" y="420"/>
                          <a:pt x="112" y="529"/>
                          <a:pt x="169" y="594"/>
                        </a:cubicBezTo>
                        <a:cubicBezTo>
                          <a:pt x="198" y="626"/>
                          <a:pt x="227" y="651"/>
                          <a:pt x="238" y="695"/>
                        </a:cubicBezTo>
                        <a:cubicBezTo>
                          <a:pt x="249" y="737"/>
                          <a:pt x="209" y="810"/>
                          <a:pt x="259" y="829"/>
                        </a:cubicBezTo>
                        <a:cubicBezTo>
                          <a:pt x="43" y="898"/>
                          <a:pt x="109" y="499"/>
                          <a:pt x="74" y="397"/>
                        </a:cubicBezTo>
                        <a:cubicBezTo>
                          <a:pt x="43" y="305"/>
                          <a:pt x="0" y="232"/>
                          <a:pt x="4" y="128"/>
                        </a:cubicBezTo>
                        <a:cubicBezTo>
                          <a:pt x="9" y="0"/>
                          <a:pt x="83" y="57"/>
                          <a:pt x="161" y="35"/>
                        </a:cubicBezTo>
                        <a:cubicBezTo>
                          <a:pt x="179" y="98"/>
                          <a:pt x="85" y="76"/>
                          <a:pt x="92" y="134"/>
                        </a:cubicBezTo>
                        <a:cubicBezTo>
                          <a:pt x="93" y="151"/>
                          <a:pt x="147" y="202"/>
                          <a:pt x="156" y="21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0" name="Freeform 290"/>
                  <p:cNvSpPr>
                    <a:spLocks/>
                  </p:cNvSpPr>
                  <p:nvPr/>
                </p:nvSpPr>
                <p:spPr bwMode="gray">
                  <a:xfrm>
                    <a:off x="193675" y="8870951"/>
                    <a:ext cx="919163" cy="884238"/>
                  </a:xfrm>
                  <a:custGeom>
                    <a:avLst/>
                    <a:gdLst/>
                    <a:ahLst/>
                    <a:cxnLst>
                      <a:cxn ang="0">
                        <a:pos x="123" y="39"/>
                      </a:cxn>
                      <a:cxn ang="0">
                        <a:pos x="6" y="236"/>
                      </a:cxn>
                      <a:cxn ang="0">
                        <a:pos x="166" y="139"/>
                      </a:cxn>
                      <a:cxn ang="0">
                        <a:pos x="77" y="69"/>
                      </a:cxn>
                    </a:cxnLst>
                    <a:rect l="0" t="0" r="r" b="b"/>
                    <a:pathLst>
                      <a:path w="245" h="236">
                        <a:moveTo>
                          <a:pt x="123" y="39"/>
                        </a:moveTo>
                        <a:cubicBezTo>
                          <a:pt x="55" y="75"/>
                          <a:pt x="0" y="158"/>
                          <a:pt x="6" y="236"/>
                        </a:cubicBezTo>
                        <a:cubicBezTo>
                          <a:pt x="33" y="141"/>
                          <a:pt x="109" y="197"/>
                          <a:pt x="166" y="139"/>
                        </a:cubicBezTo>
                        <a:cubicBezTo>
                          <a:pt x="245" y="58"/>
                          <a:pt x="100" y="0"/>
                          <a:pt x="77" y="6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1" name="Freeform 291"/>
                  <p:cNvSpPr>
                    <a:spLocks/>
                  </p:cNvSpPr>
                  <p:nvPr/>
                </p:nvSpPr>
                <p:spPr bwMode="gray">
                  <a:xfrm>
                    <a:off x="1919287" y="14533563"/>
                    <a:ext cx="655638" cy="809625"/>
                  </a:xfrm>
                  <a:custGeom>
                    <a:avLst/>
                    <a:gdLst/>
                    <a:ahLst/>
                    <a:cxnLst>
                      <a:cxn ang="0">
                        <a:pos x="172" y="35"/>
                      </a:cxn>
                      <a:cxn ang="0">
                        <a:pos x="143" y="88"/>
                      </a:cxn>
                      <a:cxn ang="0">
                        <a:pos x="87" y="125"/>
                      </a:cxn>
                      <a:cxn ang="0">
                        <a:pos x="43" y="172"/>
                      </a:cxn>
                      <a:cxn ang="0">
                        <a:pos x="1" y="216"/>
                      </a:cxn>
                      <a:cxn ang="0">
                        <a:pos x="9" y="154"/>
                      </a:cxn>
                      <a:cxn ang="0">
                        <a:pos x="39" y="100"/>
                      </a:cxn>
                      <a:cxn ang="0">
                        <a:pos x="55" y="65"/>
                      </a:cxn>
                      <a:cxn ang="0">
                        <a:pos x="119" y="20"/>
                      </a:cxn>
                      <a:cxn ang="0">
                        <a:pos x="158" y="13"/>
                      </a:cxn>
                      <a:cxn ang="0">
                        <a:pos x="175" y="33"/>
                      </a:cxn>
                      <a:cxn ang="0">
                        <a:pos x="169" y="33"/>
                      </a:cxn>
                    </a:cxnLst>
                    <a:rect l="0" t="0" r="r" b="b"/>
                    <a:pathLst>
                      <a:path w="175" h="216">
                        <a:moveTo>
                          <a:pt x="172" y="35"/>
                        </a:moveTo>
                        <a:cubicBezTo>
                          <a:pt x="174" y="49"/>
                          <a:pt x="152" y="77"/>
                          <a:pt x="143" y="88"/>
                        </a:cubicBezTo>
                        <a:cubicBezTo>
                          <a:pt x="128" y="106"/>
                          <a:pt x="103" y="110"/>
                          <a:pt x="87" y="125"/>
                        </a:cubicBezTo>
                        <a:cubicBezTo>
                          <a:pt x="70" y="141"/>
                          <a:pt x="57" y="153"/>
                          <a:pt x="43" y="172"/>
                        </a:cubicBezTo>
                        <a:cubicBezTo>
                          <a:pt x="30" y="188"/>
                          <a:pt x="19" y="207"/>
                          <a:pt x="1" y="216"/>
                        </a:cubicBezTo>
                        <a:cubicBezTo>
                          <a:pt x="0" y="196"/>
                          <a:pt x="6" y="174"/>
                          <a:pt x="9" y="154"/>
                        </a:cubicBezTo>
                        <a:cubicBezTo>
                          <a:pt x="12" y="132"/>
                          <a:pt x="30" y="120"/>
                          <a:pt x="39" y="100"/>
                        </a:cubicBezTo>
                        <a:cubicBezTo>
                          <a:pt x="45" y="88"/>
                          <a:pt x="48" y="76"/>
                          <a:pt x="55" y="65"/>
                        </a:cubicBezTo>
                        <a:cubicBezTo>
                          <a:pt x="71" y="41"/>
                          <a:pt x="95" y="34"/>
                          <a:pt x="119" y="20"/>
                        </a:cubicBezTo>
                        <a:cubicBezTo>
                          <a:pt x="135" y="10"/>
                          <a:pt x="141" y="0"/>
                          <a:pt x="158" y="13"/>
                        </a:cubicBezTo>
                        <a:cubicBezTo>
                          <a:pt x="164" y="18"/>
                          <a:pt x="168" y="29"/>
                          <a:pt x="175" y="33"/>
                        </a:cubicBezTo>
                        <a:cubicBezTo>
                          <a:pt x="173" y="33"/>
                          <a:pt x="171" y="33"/>
                          <a:pt x="169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2" name="Freeform 292"/>
                  <p:cNvSpPr>
                    <a:spLocks/>
                  </p:cNvSpPr>
                  <p:nvPr/>
                </p:nvSpPr>
                <p:spPr bwMode="gray">
                  <a:xfrm>
                    <a:off x="-4095750" y="8386763"/>
                    <a:ext cx="6791325" cy="7204075"/>
                  </a:xfrm>
                  <a:custGeom>
                    <a:avLst/>
                    <a:gdLst/>
                    <a:ahLst/>
                    <a:cxnLst>
                      <a:cxn ang="0">
                        <a:pos x="1156" y="1557"/>
                      </a:cxn>
                      <a:cxn ang="0">
                        <a:pos x="1157" y="1117"/>
                      </a:cxn>
                      <a:cxn ang="0">
                        <a:pos x="1207" y="345"/>
                      </a:cxn>
                      <a:cxn ang="0">
                        <a:pos x="1346" y="124"/>
                      </a:cxn>
                      <a:cxn ang="0">
                        <a:pos x="1642" y="268"/>
                      </a:cxn>
                      <a:cxn ang="0">
                        <a:pos x="1689" y="578"/>
                      </a:cxn>
                      <a:cxn ang="0">
                        <a:pos x="1731" y="1101"/>
                      </a:cxn>
                      <a:cxn ang="0">
                        <a:pos x="1767" y="1289"/>
                      </a:cxn>
                      <a:cxn ang="0">
                        <a:pos x="1788" y="1685"/>
                      </a:cxn>
                      <a:cxn ang="0">
                        <a:pos x="1359" y="1806"/>
                      </a:cxn>
                      <a:cxn ang="0">
                        <a:pos x="993" y="1908"/>
                      </a:cxn>
                      <a:cxn ang="0">
                        <a:pos x="575" y="1568"/>
                      </a:cxn>
                      <a:cxn ang="0">
                        <a:pos x="611" y="1378"/>
                      </a:cxn>
                      <a:cxn ang="0">
                        <a:pos x="603" y="1284"/>
                      </a:cxn>
                      <a:cxn ang="0">
                        <a:pos x="618" y="1144"/>
                      </a:cxn>
                      <a:cxn ang="0">
                        <a:pos x="559" y="922"/>
                      </a:cxn>
                      <a:cxn ang="0">
                        <a:pos x="493" y="703"/>
                      </a:cxn>
                      <a:cxn ang="0">
                        <a:pos x="412" y="759"/>
                      </a:cxn>
                      <a:cxn ang="0">
                        <a:pos x="330" y="915"/>
                      </a:cxn>
                      <a:cxn ang="0">
                        <a:pos x="345" y="1062"/>
                      </a:cxn>
                      <a:cxn ang="0">
                        <a:pos x="472" y="1291"/>
                      </a:cxn>
                      <a:cxn ang="0">
                        <a:pos x="571" y="1381"/>
                      </a:cxn>
                      <a:cxn ang="0">
                        <a:pos x="487" y="1410"/>
                      </a:cxn>
                      <a:cxn ang="0">
                        <a:pos x="480" y="1558"/>
                      </a:cxn>
                      <a:cxn ang="0">
                        <a:pos x="282" y="1383"/>
                      </a:cxn>
                      <a:cxn ang="0">
                        <a:pos x="143" y="1207"/>
                      </a:cxn>
                      <a:cxn ang="0">
                        <a:pos x="79" y="1097"/>
                      </a:cxn>
                      <a:cxn ang="0">
                        <a:pos x="100" y="755"/>
                      </a:cxn>
                      <a:cxn ang="0">
                        <a:pos x="276" y="475"/>
                      </a:cxn>
                      <a:cxn ang="0">
                        <a:pos x="384" y="353"/>
                      </a:cxn>
                      <a:cxn ang="0">
                        <a:pos x="477" y="185"/>
                      </a:cxn>
                      <a:cxn ang="0">
                        <a:pos x="741" y="87"/>
                      </a:cxn>
                      <a:cxn ang="0">
                        <a:pos x="851" y="189"/>
                      </a:cxn>
                      <a:cxn ang="0">
                        <a:pos x="817" y="548"/>
                      </a:cxn>
                      <a:cxn ang="0">
                        <a:pos x="848" y="856"/>
                      </a:cxn>
                      <a:cxn ang="0">
                        <a:pos x="898" y="1421"/>
                      </a:cxn>
                      <a:cxn ang="0">
                        <a:pos x="993" y="1908"/>
                      </a:cxn>
                    </a:cxnLst>
                    <a:rect l="0" t="0" r="r" b="b"/>
                    <a:pathLst>
                      <a:path w="1811" h="1921">
                        <a:moveTo>
                          <a:pt x="1143" y="1908"/>
                        </a:moveTo>
                        <a:cubicBezTo>
                          <a:pt x="1187" y="1827"/>
                          <a:pt x="1155" y="1642"/>
                          <a:pt x="1156" y="1557"/>
                        </a:cubicBezTo>
                        <a:cubicBezTo>
                          <a:pt x="1156" y="1504"/>
                          <a:pt x="1169" y="1457"/>
                          <a:pt x="1171" y="1405"/>
                        </a:cubicBezTo>
                        <a:cubicBezTo>
                          <a:pt x="1176" y="1314"/>
                          <a:pt x="1164" y="1210"/>
                          <a:pt x="1157" y="1117"/>
                        </a:cubicBezTo>
                        <a:cubicBezTo>
                          <a:pt x="1144" y="955"/>
                          <a:pt x="1127" y="801"/>
                          <a:pt x="1151" y="642"/>
                        </a:cubicBezTo>
                        <a:cubicBezTo>
                          <a:pt x="1166" y="540"/>
                          <a:pt x="1176" y="444"/>
                          <a:pt x="1207" y="345"/>
                        </a:cubicBezTo>
                        <a:cubicBezTo>
                          <a:pt x="1231" y="269"/>
                          <a:pt x="1215" y="188"/>
                          <a:pt x="1232" y="111"/>
                        </a:cubicBezTo>
                        <a:cubicBezTo>
                          <a:pt x="1251" y="26"/>
                          <a:pt x="1303" y="94"/>
                          <a:pt x="1346" y="124"/>
                        </a:cubicBezTo>
                        <a:cubicBezTo>
                          <a:pt x="1380" y="148"/>
                          <a:pt x="1405" y="164"/>
                          <a:pt x="1444" y="185"/>
                        </a:cubicBezTo>
                        <a:cubicBezTo>
                          <a:pt x="1510" y="219"/>
                          <a:pt x="1571" y="248"/>
                          <a:pt x="1642" y="268"/>
                        </a:cubicBezTo>
                        <a:cubicBezTo>
                          <a:pt x="1655" y="321"/>
                          <a:pt x="1645" y="379"/>
                          <a:pt x="1667" y="430"/>
                        </a:cubicBezTo>
                        <a:cubicBezTo>
                          <a:pt x="1689" y="480"/>
                          <a:pt x="1686" y="520"/>
                          <a:pt x="1689" y="578"/>
                        </a:cubicBezTo>
                        <a:cubicBezTo>
                          <a:pt x="1693" y="635"/>
                          <a:pt x="1709" y="688"/>
                          <a:pt x="1709" y="749"/>
                        </a:cubicBezTo>
                        <a:cubicBezTo>
                          <a:pt x="1709" y="805"/>
                          <a:pt x="1723" y="1043"/>
                          <a:pt x="1731" y="1101"/>
                        </a:cubicBezTo>
                        <a:cubicBezTo>
                          <a:pt x="1735" y="1130"/>
                          <a:pt x="1723" y="1157"/>
                          <a:pt x="1737" y="1184"/>
                        </a:cubicBezTo>
                        <a:cubicBezTo>
                          <a:pt x="1755" y="1221"/>
                          <a:pt x="1763" y="1248"/>
                          <a:pt x="1767" y="1289"/>
                        </a:cubicBezTo>
                        <a:cubicBezTo>
                          <a:pt x="1773" y="1343"/>
                          <a:pt x="1758" y="1392"/>
                          <a:pt x="1780" y="1443"/>
                        </a:cubicBezTo>
                        <a:cubicBezTo>
                          <a:pt x="1811" y="1510"/>
                          <a:pt x="1788" y="1606"/>
                          <a:pt x="1788" y="1685"/>
                        </a:cubicBezTo>
                        <a:cubicBezTo>
                          <a:pt x="1788" y="1712"/>
                          <a:pt x="1603" y="1756"/>
                          <a:pt x="1605" y="1823"/>
                        </a:cubicBezTo>
                        <a:cubicBezTo>
                          <a:pt x="1457" y="1829"/>
                          <a:pt x="1505" y="1792"/>
                          <a:pt x="1359" y="1806"/>
                        </a:cubicBezTo>
                        <a:cubicBezTo>
                          <a:pt x="1319" y="1810"/>
                          <a:pt x="1240" y="1879"/>
                          <a:pt x="1143" y="1908"/>
                        </a:cubicBezTo>
                        <a:cubicBezTo>
                          <a:pt x="1097" y="1921"/>
                          <a:pt x="1043" y="1908"/>
                          <a:pt x="993" y="1908"/>
                        </a:cubicBezTo>
                        <a:cubicBezTo>
                          <a:pt x="820" y="1907"/>
                          <a:pt x="643" y="1809"/>
                          <a:pt x="572" y="1806"/>
                        </a:cubicBezTo>
                        <a:cubicBezTo>
                          <a:pt x="567" y="1725"/>
                          <a:pt x="575" y="1645"/>
                          <a:pt x="575" y="1568"/>
                        </a:cubicBezTo>
                        <a:cubicBezTo>
                          <a:pt x="575" y="1529"/>
                          <a:pt x="555" y="1500"/>
                          <a:pt x="559" y="1460"/>
                        </a:cubicBezTo>
                        <a:cubicBezTo>
                          <a:pt x="564" y="1421"/>
                          <a:pt x="591" y="1408"/>
                          <a:pt x="611" y="1378"/>
                        </a:cubicBezTo>
                        <a:cubicBezTo>
                          <a:pt x="620" y="1364"/>
                          <a:pt x="650" y="1313"/>
                          <a:pt x="641" y="1297"/>
                        </a:cubicBezTo>
                        <a:cubicBezTo>
                          <a:pt x="631" y="1281"/>
                          <a:pt x="612" y="1296"/>
                          <a:pt x="603" y="1284"/>
                        </a:cubicBezTo>
                        <a:cubicBezTo>
                          <a:pt x="597" y="1275"/>
                          <a:pt x="602" y="1244"/>
                          <a:pt x="602" y="1234"/>
                        </a:cubicBezTo>
                        <a:cubicBezTo>
                          <a:pt x="604" y="1202"/>
                          <a:pt x="620" y="1177"/>
                          <a:pt x="618" y="1144"/>
                        </a:cubicBezTo>
                        <a:cubicBezTo>
                          <a:pt x="615" y="1108"/>
                          <a:pt x="597" y="1065"/>
                          <a:pt x="586" y="1031"/>
                        </a:cubicBezTo>
                        <a:cubicBezTo>
                          <a:pt x="575" y="996"/>
                          <a:pt x="561" y="963"/>
                          <a:pt x="559" y="922"/>
                        </a:cubicBezTo>
                        <a:cubicBezTo>
                          <a:pt x="557" y="867"/>
                          <a:pt x="557" y="827"/>
                          <a:pt x="539" y="775"/>
                        </a:cubicBezTo>
                        <a:cubicBezTo>
                          <a:pt x="533" y="757"/>
                          <a:pt x="522" y="701"/>
                          <a:pt x="493" y="703"/>
                        </a:cubicBezTo>
                        <a:cubicBezTo>
                          <a:pt x="480" y="704"/>
                          <a:pt x="468" y="733"/>
                          <a:pt x="459" y="740"/>
                        </a:cubicBezTo>
                        <a:cubicBezTo>
                          <a:pt x="446" y="749"/>
                          <a:pt x="427" y="752"/>
                          <a:pt x="412" y="759"/>
                        </a:cubicBezTo>
                        <a:cubicBezTo>
                          <a:pt x="409" y="783"/>
                          <a:pt x="385" y="811"/>
                          <a:pt x="369" y="832"/>
                        </a:cubicBezTo>
                        <a:cubicBezTo>
                          <a:pt x="349" y="860"/>
                          <a:pt x="347" y="887"/>
                          <a:pt x="330" y="915"/>
                        </a:cubicBezTo>
                        <a:cubicBezTo>
                          <a:pt x="314" y="943"/>
                          <a:pt x="284" y="944"/>
                          <a:pt x="297" y="985"/>
                        </a:cubicBezTo>
                        <a:cubicBezTo>
                          <a:pt x="306" y="1013"/>
                          <a:pt x="331" y="1037"/>
                          <a:pt x="345" y="1062"/>
                        </a:cubicBezTo>
                        <a:cubicBezTo>
                          <a:pt x="376" y="1117"/>
                          <a:pt x="387" y="1181"/>
                          <a:pt x="426" y="1230"/>
                        </a:cubicBezTo>
                        <a:cubicBezTo>
                          <a:pt x="442" y="1250"/>
                          <a:pt x="454" y="1272"/>
                          <a:pt x="472" y="1291"/>
                        </a:cubicBezTo>
                        <a:cubicBezTo>
                          <a:pt x="492" y="1314"/>
                          <a:pt x="514" y="1324"/>
                          <a:pt x="537" y="1347"/>
                        </a:cubicBezTo>
                        <a:cubicBezTo>
                          <a:pt x="548" y="1358"/>
                          <a:pt x="562" y="1368"/>
                          <a:pt x="571" y="1381"/>
                        </a:cubicBezTo>
                        <a:cubicBezTo>
                          <a:pt x="546" y="1382"/>
                          <a:pt x="522" y="1371"/>
                          <a:pt x="500" y="1385"/>
                        </a:cubicBezTo>
                        <a:cubicBezTo>
                          <a:pt x="496" y="1387"/>
                          <a:pt x="490" y="1406"/>
                          <a:pt x="487" y="1410"/>
                        </a:cubicBezTo>
                        <a:cubicBezTo>
                          <a:pt x="478" y="1420"/>
                          <a:pt x="460" y="1431"/>
                          <a:pt x="455" y="1445"/>
                        </a:cubicBezTo>
                        <a:cubicBezTo>
                          <a:pt x="445" y="1471"/>
                          <a:pt x="445" y="1555"/>
                          <a:pt x="480" y="1558"/>
                        </a:cubicBezTo>
                        <a:cubicBezTo>
                          <a:pt x="413" y="1576"/>
                          <a:pt x="366" y="1524"/>
                          <a:pt x="330" y="1475"/>
                        </a:cubicBezTo>
                        <a:cubicBezTo>
                          <a:pt x="308" y="1444"/>
                          <a:pt x="298" y="1414"/>
                          <a:pt x="282" y="1383"/>
                        </a:cubicBezTo>
                        <a:cubicBezTo>
                          <a:pt x="266" y="1354"/>
                          <a:pt x="236" y="1333"/>
                          <a:pt x="217" y="1308"/>
                        </a:cubicBezTo>
                        <a:cubicBezTo>
                          <a:pt x="192" y="1273"/>
                          <a:pt x="170" y="1239"/>
                          <a:pt x="143" y="1207"/>
                        </a:cubicBezTo>
                        <a:cubicBezTo>
                          <a:pt x="124" y="1186"/>
                          <a:pt x="113" y="1183"/>
                          <a:pt x="100" y="1158"/>
                        </a:cubicBezTo>
                        <a:cubicBezTo>
                          <a:pt x="91" y="1138"/>
                          <a:pt x="90" y="1117"/>
                          <a:pt x="79" y="1097"/>
                        </a:cubicBezTo>
                        <a:cubicBezTo>
                          <a:pt x="50" y="1043"/>
                          <a:pt x="0" y="1002"/>
                          <a:pt x="6" y="934"/>
                        </a:cubicBezTo>
                        <a:cubicBezTo>
                          <a:pt x="12" y="858"/>
                          <a:pt x="60" y="813"/>
                          <a:pt x="100" y="755"/>
                        </a:cubicBezTo>
                        <a:cubicBezTo>
                          <a:pt x="146" y="688"/>
                          <a:pt x="165" y="616"/>
                          <a:pt x="232" y="564"/>
                        </a:cubicBezTo>
                        <a:cubicBezTo>
                          <a:pt x="271" y="535"/>
                          <a:pt x="257" y="517"/>
                          <a:pt x="276" y="475"/>
                        </a:cubicBezTo>
                        <a:cubicBezTo>
                          <a:pt x="288" y="448"/>
                          <a:pt x="310" y="432"/>
                          <a:pt x="333" y="411"/>
                        </a:cubicBezTo>
                        <a:cubicBezTo>
                          <a:pt x="354" y="391"/>
                          <a:pt x="372" y="386"/>
                          <a:pt x="384" y="353"/>
                        </a:cubicBezTo>
                        <a:cubicBezTo>
                          <a:pt x="395" y="323"/>
                          <a:pt x="404" y="294"/>
                          <a:pt x="418" y="264"/>
                        </a:cubicBezTo>
                        <a:cubicBezTo>
                          <a:pt x="430" y="237"/>
                          <a:pt x="453" y="198"/>
                          <a:pt x="477" y="185"/>
                        </a:cubicBezTo>
                        <a:cubicBezTo>
                          <a:pt x="506" y="171"/>
                          <a:pt x="536" y="183"/>
                          <a:pt x="567" y="178"/>
                        </a:cubicBezTo>
                        <a:cubicBezTo>
                          <a:pt x="633" y="166"/>
                          <a:pt x="686" y="122"/>
                          <a:pt x="741" y="87"/>
                        </a:cubicBezTo>
                        <a:cubicBezTo>
                          <a:pt x="777" y="64"/>
                          <a:pt x="893" y="0"/>
                          <a:pt x="887" y="85"/>
                        </a:cubicBezTo>
                        <a:cubicBezTo>
                          <a:pt x="884" y="118"/>
                          <a:pt x="859" y="155"/>
                          <a:pt x="851" y="189"/>
                        </a:cubicBezTo>
                        <a:cubicBezTo>
                          <a:pt x="842" y="225"/>
                          <a:pt x="840" y="262"/>
                          <a:pt x="836" y="299"/>
                        </a:cubicBezTo>
                        <a:cubicBezTo>
                          <a:pt x="827" y="383"/>
                          <a:pt x="813" y="461"/>
                          <a:pt x="817" y="548"/>
                        </a:cubicBezTo>
                        <a:cubicBezTo>
                          <a:pt x="819" y="607"/>
                          <a:pt x="824" y="667"/>
                          <a:pt x="824" y="728"/>
                        </a:cubicBezTo>
                        <a:cubicBezTo>
                          <a:pt x="825" y="777"/>
                          <a:pt x="840" y="808"/>
                          <a:pt x="848" y="856"/>
                        </a:cubicBezTo>
                        <a:cubicBezTo>
                          <a:pt x="870" y="995"/>
                          <a:pt x="855" y="1139"/>
                          <a:pt x="876" y="1280"/>
                        </a:cubicBezTo>
                        <a:cubicBezTo>
                          <a:pt x="882" y="1324"/>
                          <a:pt x="896" y="1372"/>
                          <a:pt x="898" y="1421"/>
                        </a:cubicBezTo>
                        <a:cubicBezTo>
                          <a:pt x="901" y="1479"/>
                          <a:pt x="897" y="1538"/>
                          <a:pt x="902" y="1596"/>
                        </a:cubicBezTo>
                        <a:cubicBezTo>
                          <a:pt x="910" y="1675"/>
                          <a:pt x="896" y="1821"/>
                          <a:pt x="993" y="19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3" name="Freeform 293"/>
                  <p:cNvSpPr>
                    <a:spLocks/>
                  </p:cNvSpPr>
                  <p:nvPr/>
                </p:nvSpPr>
                <p:spPr bwMode="gray">
                  <a:xfrm>
                    <a:off x="490537" y="8915401"/>
                    <a:ext cx="633413" cy="593725"/>
                  </a:xfrm>
                  <a:custGeom>
                    <a:avLst/>
                    <a:gdLst/>
                    <a:ahLst/>
                    <a:cxnLst>
                      <a:cxn ang="0">
                        <a:pos x="4" y="103"/>
                      </a:cxn>
                      <a:cxn ang="0">
                        <a:pos x="86" y="106"/>
                      </a:cxn>
                      <a:cxn ang="0">
                        <a:pos x="163" y="158"/>
                      </a:cxn>
                      <a:cxn ang="0">
                        <a:pos x="109" y="28"/>
                      </a:cxn>
                      <a:cxn ang="0">
                        <a:pos x="35" y="6"/>
                      </a:cxn>
                      <a:cxn ang="0">
                        <a:pos x="0" y="68"/>
                      </a:cxn>
                    </a:cxnLst>
                    <a:rect l="0" t="0" r="r" b="b"/>
                    <a:pathLst>
                      <a:path w="169" h="158">
                        <a:moveTo>
                          <a:pt x="4" y="103"/>
                        </a:moveTo>
                        <a:cubicBezTo>
                          <a:pt x="49" y="98"/>
                          <a:pt x="42" y="81"/>
                          <a:pt x="86" y="106"/>
                        </a:cubicBezTo>
                        <a:cubicBezTo>
                          <a:pt x="114" y="122"/>
                          <a:pt x="137" y="140"/>
                          <a:pt x="163" y="158"/>
                        </a:cubicBezTo>
                        <a:cubicBezTo>
                          <a:pt x="169" y="119"/>
                          <a:pt x="141" y="50"/>
                          <a:pt x="109" y="28"/>
                        </a:cubicBezTo>
                        <a:cubicBezTo>
                          <a:pt x="98" y="21"/>
                          <a:pt x="47" y="0"/>
                          <a:pt x="35" y="6"/>
                        </a:cubicBezTo>
                        <a:cubicBezTo>
                          <a:pt x="15" y="14"/>
                          <a:pt x="17" y="56"/>
                          <a:pt x="0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4" name="Freeform 294"/>
                  <p:cNvSpPr>
                    <a:spLocks/>
                  </p:cNvSpPr>
                  <p:nvPr/>
                </p:nvSpPr>
                <p:spPr bwMode="gray">
                  <a:xfrm>
                    <a:off x="-1816100" y="8859838"/>
                    <a:ext cx="866775" cy="465138"/>
                  </a:xfrm>
                  <a:custGeom>
                    <a:avLst/>
                    <a:gdLst/>
                    <a:ahLst/>
                    <a:cxnLst>
                      <a:cxn ang="0">
                        <a:pos x="65" y="64"/>
                      </a:cxn>
                      <a:cxn ang="0">
                        <a:pos x="0" y="114"/>
                      </a:cxn>
                      <a:cxn ang="0">
                        <a:pos x="108" y="103"/>
                      </a:cxn>
                      <a:cxn ang="0">
                        <a:pos x="191" y="71"/>
                      </a:cxn>
                      <a:cxn ang="0">
                        <a:pos x="225" y="60"/>
                      </a:cxn>
                      <a:cxn ang="0">
                        <a:pos x="209" y="18"/>
                      </a:cxn>
                      <a:cxn ang="0">
                        <a:pos x="112" y="25"/>
                      </a:cxn>
                    </a:cxnLst>
                    <a:rect l="0" t="0" r="r" b="b"/>
                    <a:pathLst>
                      <a:path w="231" h="124">
                        <a:moveTo>
                          <a:pt x="65" y="64"/>
                        </a:moveTo>
                        <a:cubicBezTo>
                          <a:pt x="50" y="98"/>
                          <a:pt x="31" y="101"/>
                          <a:pt x="0" y="114"/>
                        </a:cubicBezTo>
                        <a:cubicBezTo>
                          <a:pt x="37" y="124"/>
                          <a:pt x="75" y="121"/>
                          <a:pt x="108" y="103"/>
                        </a:cubicBezTo>
                        <a:cubicBezTo>
                          <a:pt x="145" y="82"/>
                          <a:pt x="149" y="74"/>
                          <a:pt x="191" y="71"/>
                        </a:cubicBezTo>
                        <a:cubicBezTo>
                          <a:pt x="208" y="69"/>
                          <a:pt x="216" y="84"/>
                          <a:pt x="225" y="60"/>
                        </a:cubicBezTo>
                        <a:cubicBezTo>
                          <a:pt x="231" y="44"/>
                          <a:pt x="219" y="25"/>
                          <a:pt x="209" y="18"/>
                        </a:cubicBezTo>
                        <a:cubicBezTo>
                          <a:pt x="185" y="0"/>
                          <a:pt x="132" y="6"/>
                          <a:pt x="112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5" name="Freeform 295"/>
                  <p:cNvSpPr>
                    <a:spLocks/>
                  </p:cNvSpPr>
                  <p:nvPr/>
                </p:nvSpPr>
                <p:spPr bwMode="gray">
                  <a:xfrm>
                    <a:off x="823912" y="8807451"/>
                    <a:ext cx="1225550" cy="828675"/>
                  </a:xfrm>
                  <a:custGeom>
                    <a:avLst/>
                    <a:gdLst/>
                    <a:ahLst/>
                    <a:cxnLst>
                      <a:cxn ang="0">
                        <a:pos x="55" y="74"/>
                      </a:cxn>
                      <a:cxn ang="0">
                        <a:pos x="128" y="114"/>
                      </a:cxn>
                      <a:cxn ang="0">
                        <a:pos x="183" y="167"/>
                      </a:cxn>
                      <a:cxn ang="0">
                        <a:pos x="164" y="125"/>
                      </a:cxn>
                      <a:cxn ang="0">
                        <a:pos x="327" y="15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27" h="221">
                        <a:moveTo>
                          <a:pt x="55" y="74"/>
                        </a:moveTo>
                        <a:cubicBezTo>
                          <a:pt x="78" y="91"/>
                          <a:pt x="106" y="95"/>
                          <a:pt x="128" y="114"/>
                        </a:cubicBezTo>
                        <a:cubicBezTo>
                          <a:pt x="146" y="131"/>
                          <a:pt x="159" y="161"/>
                          <a:pt x="183" y="167"/>
                        </a:cubicBezTo>
                        <a:cubicBezTo>
                          <a:pt x="178" y="152"/>
                          <a:pt x="167" y="141"/>
                          <a:pt x="164" y="125"/>
                        </a:cubicBezTo>
                        <a:cubicBezTo>
                          <a:pt x="209" y="117"/>
                          <a:pt x="280" y="221"/>
                          <a:pt x="327" y="153"/>
                        </a:cubicBezTo>
                        <a:cubicBezTo>
                          <a:pt x="209" y="137"/>
                          <a:pt x="122" y="16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6" name="Freeform 296"/>
                  <p:cNvSpPr>
                    <a:spLocks/>
                  </p:cNvSpPr>
                  <p:nvPr/>
                </p:nvSpPr>
                <p:spPr bwMode="gray">
                  <a:xfrm>
                    <a:off x="-1804988" y="8394701"/>
                    <a:ext cx="3055938" cy="2590800"/>
                  </a:xfrm>
                  <a:custGeom>
                    <a:avLst/>
                    <a:gdLst/>
                    <a:ahLst/>
                    <a:cxnLst>
                      <a:cxn ang="0">
                        <a:pos x="130" y="73"/>
                      </a:cxn>
                      <a:cxn ang="0">
                        <a:pos x="0" y="192"/>
                      </a:cxn>
                      <a:cxn ang="0">
                        <a:pos x="170" y="150"/>
                      </a:cxn>
                      <a:cxn ang="0">
                        <a:pos x="238" y="256"/>
                      </a:cxn>
                      <a:cxn ang="0">
                        <a:pos x="213" y="547"/>
                      </a:cxn>
                      <a:cxn ang="0">
                        <a:pos x="580" y="403"/>
                      </a:cxn>
                      <a:cxn ang="0">
                        <a:pos x="600" y="217"/>
                      </a:cxn>
                      <a:cxn ang="0">
                        <a:pos x="655" y="177"/>
                      </a:cxn>
                      <a:cxn ang="0">
                        <a:pos x="705" y="203"/>
                      </a:cxn>
                      <a:cxn ang="0">
                        <a:pos x="760" y="226"/>
                      </a:cxn>
                      <a:cxn ang="0">
                        <a:pos x="813" y="266"/>
                      </a:cxn>
                      <a:cxn ang="0">
                        <a:pos x="779" y="203"/>
                      </a:cxn>
                      <a:cxn ang="0">
                        <a:pos x="746" y="131"/>
                      </a:cxn>
                      <a:cxn ang="0">
                        <a:pos x="619" y="7"/>
                      </a:cxn>
                      <a:cxn ang="0">
                        <a:pos x="576" y="192"/>
                      </a:cxn>
                      <a:cxn ang="0">
                        <a:pos x="483" y="318"/>
                      </a:cxn>
                      <a:cxn ang="0">
                        <a:pos x="407" y="480"/>
                      </a:cxn>
                      <a:cxn ang="0">
                        <a:pos x="407" y="691"/>
                      </a:cxn>
                      <a:cxn ang="0">
                        <a:pos x="381" y="481"/>
                      </a:cxn>
                      <a:cxn ang="0">
                        <a:pos x="350" y="332"/>
                      </a:cxn>
                      <a:cxn ang="0">
                        <a:pos x="272" y="188"/>
                      </a:cxn>
                      <a:cxn ang="0">
                        <a:pos x="260" y="0"/>
                      </a:cxn>
                    </a:cxnLst>
                    <a:rect l="0" t="0" r="r" b="b"/>
                    <a:pathLst>
                      <a:path w="815" h="691">
                        <a:moveTo>
                          <a:pt x="130" y="73"/>
                        </a:moveTo>
                        <a:cubicBezTo>
                          <a:pt x="93" y="100"/>
                          <a:pt x="50" y="197"/>
                          <a:pt x="0" y="192"/>
                        </a:cubicBezTo>
                        <a:cubicBezTo>
                          <a:pt x="64" y="238"/>
                          <a:pt x="121" y="166"/>
                          <a:pt x="170" y="150"/>
                        </a:cubicBezTo>
                        <a:cubicBezTo>
                          <a:pt x="204" y="188"/>
                          <a:pt x="255" y="202"/>
                          <a:pt x="238" y="256"/>
                        </a:cubicBezTo>
                        <a:cubicBezTo>
                          <a:pt x="209" y="344"/>
                          <a:pt x="213" y="450"/>
                          <a:pt x="213" y="547"/>
                        </a:cubicBezTo>
                        <a:cubicBezTo>
                          <a:pt x="214" y="662"/>
                          <a:pt x="591" y="441"/>
                          <a:pt x="580" y="403"/>
                        </a:cubicBezTo>
                        <a:cubicBezTo>
                          <a:pt x="567" y="362"/>
                          <a:pt x="571" y="248"/>
                          <a:pt x="600" y="217"/>
                        </a:cubicBezTo>
                        <a:cubicBezTo>
                          <a:pt x="609" y="207"/>
                          <a:pt x="646" y="180"/>
                          <a:pt x="655" y="177"/>
                        </a:cubicBezTo>
                        <a:cubicBezTo>
                          <a:pt x="695" y="164"/>
                          <a:pt x="682" y="185"/>
                          <a:pt x="705" y="203"/>
                        </a:cubicBezTo>
                        <a:cubicBezTo>
                          <a:pt x="723" y="217"/>
                          <a:pt x="741" y="217"/>
                          <a:pt x="760" y="226"/>
                        </a:cubicBezTo>
                        <a:cubicBezTo>
                          <a:pt x="779" y="236"/>
                          <a:pt x="792" y="257"/>
                          <a:pt x="813" y="266"/>
                        </a:cubicBezTo>
                        <a:cubicBezTo>
                          <a:pt x="815" y="239"/>
                          <a:pt x="791" y="224"/>
                          <a:pt x="779" y="203"/>
                        </a:cubicBezTo>
                        <a:cubicBezTo>
                          <a:pt x="767" y="182"/>
                          <a:pt x="764" y="151"/>
                          <a:pt x="746" y="131"/>
                        </a:cubicBezTo>
                        <a:cubicBezTo>
                          <a:pt x="708" y="87"/>
                          <a:pt x="652" y="52"/>
                          <a:pt x="619" y="7"/>
                        </a:cubicBezTo>
                        <a:cubicBezTo>
                          <a:pt x="603" y="63"/>
                          <a:pt x="607" y="140"/>
                          <a:pt x="576" y="192"/>
                        </a:cubicBezTo>
                        <a:cubicBezTo>
                          <a:pt x="549" y="237"/>
                          <a:pt x="505" y="270"/>
                          <a:pt x="483" y="318"/>
                        </a:cubicBezTo>
                        <a:cubicBezTo>
                          <a:pt x="459" y="369"/>
                          <a:pt x="425" y="424"/>
                          <a:pt x="407" y="480"/>
                        </a:cubicBezTo>
                        <a:cubicBezTo>
                          <a:pt x="390" y="527"/>
                          <a:pt x="571" y="551"/>
                          <a:pt x="407" y="691"/>
                        </a:cubicBezTo>
                        <a:cubicBezTo>
                          <a:pt x="389" y="645"/>
                          <a:pt x="381" y="530"/>
                          <a:pt x="381" y="481"/>
                        </a:cubicBezTo>
                        <a:cubicBezTo>
                          <a:pt x="380" y="423"/>
                          <a:pt x="381" y="376"/>
                          <a:pt x="350" y="332"/>
                        </a:cubicBezTo>
                        <a:cubicBezTo>
                          <a:pt x="317" y="283"/>
                          <a:pt x="287" y="244"/>
                          <a:pt x="272" y="188"/>
                        </a:cubicBezTo>
                        <a:cubicBezTo>
                          <a:pt x="262" y="154"/>
                          <a:pt x="292" y="7"/>
                          <a:pt x="2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7" name="Freeform 297"/>
                  <p:cNvSpPr>
                    <a:spLocks/>
                  </p:cNvSpPr>
                  <p:nvPr/>
                </p:nvSpPr>
                <p:spPr bwMode="gray">
                  <a:xfrm>
                    <a:off x="-1519238" y="8405813"/>
                    <a:ext cx="812800" cy="487363"/>
                  </a:xfrm>
                  <a:custGeom>
                    <a:avLst/>
                    <a:gdLst/>
                    <a:ahLst/>
                    <a:cxnLst>
                      <a:cxn ang="0">
                        <a:pos x="0" y="130"/>
                      </a:cxn>
                      <a:cxn ang="0">
                        <a:pos x="86" y="76"/>
                      </a:cxn>
                      <a:cxn ang="0">
                        <a:pos x="74" y="103"/>
                      </a:cxn>
                      <a:cxn ang="0">
                        <a:pos x="124" y="62"/>
                      </a:cxn>
                      <a:cxn ang="0">
                        <a:pos x="127" y="91"/>
                      </a:cxn>
                      <a:cxn ang="0">
                        <a:pos x="163" y="64"/>
                      </a:cxn>
                      <a:cxn ang="0">
                        <a:pos x="173" y="91"/>
                      </a:cxn>
                      <a:cxn ang="0">
                        <a:pos x="187" y="71"/>
                      </a:cxn>
                      <a:cxn ang="0">
                        <a:pos x="208" y="93"/>
                      </a:cxn>
                      <a:cxn ang="0">
                        <a:pos x="176" y="22"/>
                      </a:cxn>
                      <a:cxn ang="0">
                        <a:pos x="107" y="26"/>
                      </a:cxn>
                      <a:cxn ang="0">
                        <a:pos x="15" y="101"/>
                      </a:cxn>
                    </a:cxnLst>
                    <a:rect l="0" t="0" r="r" b="b"/>
                    <a:pathLst>
                      <a:path w="217" h="130">
                        <a:moveTo>
                          <a:pt x="0" y="130"/>
                        </a:moveTo>
                        <a:cubicBezTo>
                          <a:pt x="23" y="129"/>
                          <a:pt x="76" y="97"/>
                          <a:pt x="86" y="76"/>
                        </a:cubicBezTo>
                        <a:cubicBezTo>
                          <a:pt x="87" y="87"/>
                          <a:pt x="82" y="97"/>
                          <a:pt x="74" y="103"/>
                        </a:cubicBezTo>
                        <a:cubicBezTo>
                          <a:pt x="105" y="108"/>
                          <a:pt x="94" y="54"/>
                          <a:pt x="124" y="62"/>
                        </a:cubicBezTo>
                        <a:cubicBezTo>
                          <a:pt x="128" y="71"/>
                          <a:pt x="126" y="81"/>
                          <a:pt x="127" y="91"/>
                        </a:cubicBezTo>
                        <a:cubicBezTo>
                          <a:pt x="143" y="91"/>
                          <a:pt x="150" y="71"/>
                          <a:pt x="163" y="64"/>
                        </a:cubicBezTo>
                        <a:cubicBezTo>
                          <a:pt x="162" y="74"/>
                          <a:pt x="166" y="85"/>
                          <a:pt x="173" y="91"/>
                        </a:cubicBezTo>
                        <a:cubicBezTo>
                          <a:pt x="176" y="84"/>
                          <a:pt x="180" y="76"/>
                          <a:pt x="187" y="71"/>
                        </a:cubicBezTo>
                        <a:cubicBezTo>
                          <a:pt x="187" y="85"/>
                          <a:pt x="190" y="97"/>
                          <a:pt x="208" y="93"/>
                        </a:cubicBezTo>
                        <a:cubicBezTo>
                          <a:pt x="217" y="68"/>
                          <a:pt x="196" y="37"/>
                          <a:pt x="176" y="22"/>
                        </a:cubicBezTo>
                        <a:cubicBezTo>
                          <a:pt x="149" y="0"/>
                          <a:pt x="132" y="11"/>
                          <a:pt x="107" y="26"/>
                        </a:cubicBezTo>
                        <a:cubicBezTo>
                          <a:pt x="69" y="50"/>
                          <a:pt x="40" y="62"/>
                          <a:pt x="15" y="1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8" name="Freeform 298"/>
                  <p:cNvSpPr>
                    <a:spLocks/>
                  </p:cNvSpPr>
                  <p:nvPr/>
                </p:nvSpPr>
                <p:spPr bwMode="gray">
                  <a:xfrm>
                    <a:off x="411162" y="8405813"/>
                    <a:ext cx="735013" cy="803275"/>
                  </a:xfrm>
                  <a:custGeom>
                    <a:avLst/>
                    <a:gdLst/>
                    <a:ahLst/>
                    <a:cxnLst>
                      <a:cxn ang="0">
                        <a:pos x="11" y="66"/>
                      </a:cxn>
                      <a:cxn ang="0">
                        <a:pos x="9" y="126"/>
                      </a:cxn>
                      <a:cxn ang="0">
                        <a:pos x="40" y="105"/>
                      </a:cxn>
                      <a:cxn ang="0">
                        <a:pos x="69" y="78"/>
                      </a:cxn>
                      <a:cxn ang="0">
                        <a:pos x="142" y="142"/>
                      </a:cxn>
                      <a:cxn ang="0">
                        <a:pos x="196" y="212"/>
                      </a:cxn>
                      <a:cxn ang="0">
                        <a:pos x="165" y="144"/>
                      </a:cxn>
                      <a:cxn ang="0">
                        <a:pos x="124" y="71"/>
                      </a:cxn>
                      <a:cxn ang="0">
                        <a:pos x="54" y="7"/>
                      </a:cxn>
                      <a:cxn ang="0">
                        <a:pos x="3" y="72"/>
                      </a:cxn>
                      <a:cxn ang="0">
                        <a:pos x="13" y="78"/>
                      </a:cxn>
                    </a:cxnLst>
                    <a:rect l="0" t="0" r="r" b="b"/>
                    <a:pathLst>
                      <a:path w="196" h="214">
                        <a:moveTo>
                          <a:pt x="11" y="66"/>
                        </a:moveTo>
                        <a:cubicBezTo>
                          <a:pt x="20" y="73"/>
                          <a:pt x="13" y="114"/>
                          <a:pt x="9" y="126"/>
                        </a:cubicBezTo>
                        <a:cubicBezTo>
                          <a:pt x="20" y="122"/>
                          <a:pt x="31" y="112"/>
                          <a:pt x="40" y="105"/>
                        </a:cubicBezTo>
                        <a:cubicBezTo>
                          <a:pt x="49" y="98"/>
                          <a:pt x="60" y="81"/>
                          <a:pt x="69" y="78"/>
                        </a:cubicBezTo>
                        <a:cubicBezTo>
                          <a:pt x="86" y="109"/>
                          <a:pt x="122" y="118"/>
                          <a:pt x="142" y="142"/>
                        </a:cubicBezTo>
                        <a:cubicBezTo>
                          <a:pt x="155" y="158"/>
                          <a:pt x="171" y="214"/>
                          <a:pt x="196" y="212"/>
                        </a:cubicBezTo>
                        <a:cubicBezTo>
                          <a:pt x="189" y="191"/>
                          <a:pt x="175" y="165"/>
                          <a:pt x="165" y="144"/>
                        </a:cubicBezTo>
                        <a:cubicBezTo>
                          <a:pt x="153" y="120"/>
                          <a:pt x="138" y="95"/>
                          <a:pt x="124" y="71"/>
                        </a:cubicBezTo>
                        <a:cubicBezTo>
                          <a:pt x="108" y="45"/>
                          <a:pt x="85" y="13"/>
                          <a:pt x="54" y="7"/>
                        </a:cubicBezTo>
                        <a:cubicBezTo>
                          <a:pt x="17" y="0"/>
                          <a:pt x="0" y="40"/>
                          <a:pt x="3" y="72"/>
                        </a:cubicBezTo>
                        <a:cubicBezTo>
                          <a:pt x="7" y="73"/>
                          <a:pt x="10" y="77"/>
                          <a:pt x="13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09" name="Freeform 299"/>
                  <p:cNvSpPr>
                    <a:spLocks/>
                  </p:cNvSpPr>
                  <p:nvPr/>
                </p:nvSpPr>
                <p:spPr bwMode="gray">
                  <a:xfrm>
                    <a:off x="-1095375" y="9036051"/>
                    <a:ext cx="547688" cy="80962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46" y="216"/>
                      </a:cxn>
                      <a:cxn ang="0">
                        <a:pos x="53" y="131"/>
                      </a:cxn>
                      <a:cxn ang="0">
                        <a:pos x="28" y="193"/>
                      </a:cxn>
                    </a:cxnLst>
                    <a:rect l="0" t="0" r="r" b="b"/>
                    <a:pathLst>
                      <a:path w="146" h="216">
                        <a:moveTo>
                          <a:pt x="0" y="0"/>
                        </a:moveTo>
                        <a:cubicBezTo>
                          <a:pt x="40" y="3"/>
                          <a:pt x="144" y="168"/>
                          <a:pt x="146" y="216"/>
                        </a:cubicBezTo>
                        <a:cubicBezTo>
                          <a:pt x="134" y="178"/>
                          <a:pt x="97" y="126"/>
                          <a:pt x="53" y="131"/>
                        </a:cubicBezTo>
                        <a:cubicBezTo>
                          <a:pt x="54" y="153"/>
                          <a:pt x="29" y="170"/>
                          <a:pt x="28" y="19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0" name="Freeform 300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1" name="Freeform 301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2" name="Freeform 302"/>
                  <p:cNvSpPr>
                    <a:spLocks/>
                  </p:cNvSpPr>
                  <p:nvPr/>
                </p:nvSpPr>
                <p:spPr bwMode="gray">
                  <a:xfrm>
                    <a:off x="-1965325" y="13963651"/>
                    <a:ext cx="746125" cy="757238"/>
                  </a:xfrm>
                  <a:custGeom>
                    <a:avLst/>
                    <a:gdLst/>
                    <a:ahLst/>
                    <a:cxnLst>
                      <a:cxn ang="0">
                        <a:pos x="4" y="47"/>
                      </a:cxn>
                      <a:cxn ang="0">
                        <a:pos x="16" y="105"/>
                      </a:cxn>
                      <a:cxn ang="0">
                        <a:pos x="128" y="168"/>
                      </a:cxn>
                      <a:cxn ang="0">
                        <a:pos x="176" y="188"/>
                      </a:cxn>
                      <a:cxn ang="0">
                        <a:pos x="171" y="138"/>
                      </a:cxn>
                      <a:cxn ang="0">
                        <a:pos x="86" y="71"/>
                      </a:cxn>
                      <a:cxn ang="0">
                        <a:pos x="186" y="58"/>
                      </a:cxn>
                      <a:cxn ang="0">
                        <a:pos x="97" y="16"/>
                      </a:cxn>
                      <a:cxn ang="0">
                        <a:pos x="39" y="4"/>
                      </a:cxn>
                      <a:cxn ang="0">
                        <a:pos x="0" y="43"/>
                      </a:cxn>
                    </a:cxnLst>
                    <a:rect l="0" t="0" r="r" b="b"/>
                    <a:pathLst>
                      <a:path w="199" h="202">
                        <a:moveTo>
                          <a:pt x="4" y="47"/>
                        </a:moveTo>
                        <a:cubicBezTo>
                          <a:pt x="14" y="65"/>
                          <a:pt x="16" y="85"/>
                          <a:pt x="16" y="105"/>
                        </a:cubicBezTo>
                        <a:cubicBezTo>
                          <a:pt x="64" y="87"/>
                          <a:pt x="95" y="139"/>
                          <a:pt x="128" y="168"/>
                        </a:cubicBezTo>
                        <a:cubicBezTo>
                          <a:pt x="142" y="181"/>
                          <a:pt x="157" y="202"/>
                          <a:pt x="176" y="188"/>
                        </a:cubicBezTo>
                        <a:cubicBezTo>
                          <a:pt x="193" y="176"/>
                          <a:pt x="181" y="151"/>
                          <a:pt x="171" y="138"/>
                        </a:cubicBezTo>
                        <a:cubicBezTo>
                          <a:pt x="154" y="117"/>
                          <a:pt x="88" y="99"/>
                          <a:pt x="86" y="71"/>
                        </a:cubicBezTo>
                        <a:cubicBezTo>
                          <a:pt x="83" y="30"/>
                          <a:pt x="159" y="61"/>
                          <a:pt x="186" y="58"/>
                        </a:cubicBezTo>
                        <a:cubicBezTo>
                          <a:pt x="199" y="12"/>
                          <a:pt x="125" y="20"/>
                          <a:pt x="97" y="16"/>
                        </a:cubicBezTo>
                        <a:cubicBezTo>
                          <a:pt x="82" y="14"/>
                          <a:pt x="53" y="0"/>
                          <a:pt x="39" y="4"/>
                        </a:cubicBezTo>
                        <a:cubicBezTo>
                          <a:pt x="22" y="9"/>
                          <a:pt x="12" y="35"/>
                          <a:pt x="0" y="4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3" name="Freeform 303"/>
                  <p:cNvSpPr>
                    <a:spLocks/>
                  </p:cNvSpPr>
                  <p:nvPr/>
                </p:nvSpPr>
                <p:spPr bwMode="gray">
                  <a:xfrm>
                    <a:off x="-2424113" y="13239751"/>
                    <a:ext cx="1387475" cy="993775"/>
                  </a:xfrm>
                  <a:custGeom>
                    <a:avLst/>
                    <a:gdLst/>
                    <a:ahLst/>
                    <a:cxnLst>
                      <a:cxn ang="0">
                        <a:pos x="4" y="216"/>
                      </a:cxn>
                      <a:cxn ang="0">
                        <a:pos x="1" y="259"/>
                      </a:cxn>
                      <a:cxn ang="0">
                        <a:pos x="78" y="255"/>
                      </a:cxn>
                      <a:cxn ang="0">
                        <a:pos x="144" y="224"/>
                      </a:cxn>
                      <a:cxn ang="0">
                        <a:pos x="185" y="214"/>
                      </a:cxn>
                      <a:cxn ang="0">
                        <a:pos x="299" y="219"/>
                      </a:cxn>
                      <a:cxn ang="0">
                        <a:pos x="193" y="179"/>
                      </a:cxn>
                      <a:cxn ang="0">
                        <a:pos x="180" y="165"/>
                      </a:cxn>
                      <a:cxn ang="0">
                        <a:pos x="335" y="197"/>
                      </a:cxn>
                      <a:cxn ang="0">
                        <a:pos x="265" y="146"/>
                      </a:cxn>
                      <a:cxn ang="0">
                        <a:pos x="184" y="122"/>
                      </a:cxn>
                      <a:cxn ang="0">
                        <a:pos x="284" y="114"/>
                      </a:cxn>
                      <a:cxn ang="0">
                        <a:pos x="370" y="142"/>
                      </a:cxn>
                      <a:cxn ang="0">
                        <a:pos x="285" y="82"/>
                      </a:cxn>
                      <a:cxn ang="0">
                        <a:pos x="191" y="66"/>
                      </a:cxn>
                      <a:cxn ang="0">
                        <a:pos x="339" y="34"/>
                      </a:cxn>
                      <a:cxn ang="0">
                        <a:pos x="241" y="3"/>
                      </a:cxn>
                      <a:cxn ang="0">
                        <a:pos x="143" y="48"/>
                      </a:cxn>
                      <a:cxn ang="0">
                        <a:pos x="4" y="216"/>
                      </a:cxn>
                    </a:cxnLst>
                    <a:rect l="0" t="0" r="r" b="b"/>
                    <a:pathLst>
                      <a:path w="370" h="265">
                        <a:moveTo>
                          <a:pt x="4" y="216"/>
                        </a:moveTo>
                        <a:cubicBezTo>
                          <a:pt x="2" y="231"/>
                          <a:pt x="0" y="243"/>
                          <a:pt x="1" y="259"/>
                        </a:cubicBezTo>
                        <a:cubicBezTo>
                          <a:pt x="28" y="265"/>
                          <a:pt x="53" y="263"/>
                          <a:pt x="78" y="255"/>
                        </a:cubicBezTo>
                        <a:cubicBezTo>
                          <a:pt x="98" y="250"/>
                          <a:pt x="133" y="240"/>
                          <a:pt x="144" y="224"/>
                        </a:cubicBezTo>
                        <a:cubicBezTo>
                          <a:pt x="147" y="219"/>
                          <a:pt x="175" y="214"/>
                          <a:pt x="185" y="214"/>
                        </a:cubicBezTo>
                        <a:cubicBezTo>
                          <a:pt x="229" y="214"/>
                          <a:pt x="302" y="248"/>
                          <a:pt x="299" y="219"/>
                        </a:cubicBezTo>
                        <a:cubicBezTo>
                          <a:pt x="296" y="213"/>
                          <a:pt x="226" y="193"/>
                          <a:pt x="193" y="179"/>
                        </a:cubicBezTo>
                        <a:cubicBezTo>
                          <a:pt x="181" y="173"/>
                          <a:pt x="178" y="167"/>
                          <a:pt x="180" y="165"/>
                        </a:cubicBezTo>
                        <a:cubicBezTo>
                          <a:pt x="200" y="139"/>
                          <a:pt x="329" y="219"/>
                          <a:pt x="335" y="197"/>
                        </a:cubicBezTo>
                        <a:cubicBezTo>
                          <a:pt x="334" y="181"/>
                          <a:pt x="293" y="161"/>
                          <a:pt x="265" y="146"/>
                        </a:cubicBezTo>
                        <a:cubicBezTo>
                          <a:pt x="241" y="133"/>
                          <a:pt x="214" y="125"/>
                          <a:pt x="184" y="122"/>
                        </a:cubicBezTo>
                        <a:cubicBezTo>
                          <a:pt x="186" y="93"/>
                          <a:pt x="237" y="103"/>
                          <a:pt x="284" y="114"/>
                        </a:cubicBezTo>
                        <a:cubicBezTo>
                          <a:pt x="326" y="127"/>
                          <a:pt x="367" y="149"/>
                          <a:pt x="370" y="142"/>
                        </a:cubicBezTo>
                        <a:cubicBezTo>
                          <a:pt x="370" y="119"/>
                          <a:pt x="306" y="92"/>
                          <a:pt x="285" y="82"/>
                        </a:cubicBezTo>
                        <a:cubicBezTo>
                          <a:pt x="262" y="72"/>
                          <a:pt x="204" y="81"/>
                          <a:pt x="191" y="66"/>
                        </a:cubicBezTo>
                        <a:cubicBezTo>
                          <a:pt x="212" y="5"/>
                          <a:pt x="338" y="49"/>
                          <a:pt x="339" y="34"/>
                        </a:cubicBezTo>
                        <a:cubicBezTo>
                          <a:pt x="336" y="15"/>
                          <a:pt x="265" y="4"/>
                          <a:pt x="241" y="3"/>
                        </a:cubicBezTo>
                        <a:cubicBezTo>
                          <a:pt x="191" y="0"/>
                          <a:pt x="179" y="20"/>
                          <a:pt x="143" y="48"/>
                        </a:cubicBezTo>
                        <a:cubicBezTo>
                          <a:pt x="89" y="90"/>
                          <a:pt x="0" y="130"/>
                          <a:pt x="4" y="21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4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-417513" y="15395576"/>
                    <a:ext cx="668338" cy="671513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5" name="Freeform 305"/>
                  <p:cNvSpPr>
                    <a:spLocks/>
                  </p:cNvSpPr>
                  <p:nvPr/>
                </p:nvSpPr>
                <p:spPr bwMode="gray">
                  <a:xfrm>
                    <a:off x="-533400" y="15692438"/>
                    <a:ext cx="2347913" cy="1858963"/>
                  </a:xfrm>
                  <a:custGeom>
                    <a:avLst/>
                    <a:gdLst/>
                    <a:ahLst/>
                    <a:cxnLst>
                      <a:cxn ang="0">
                        <a:pos x="24" y="461"/>
                      </a:cxn>
                      <a:cxn ang="0">
                        <a:pos x="189" y="375"/>
                      </a:cxn>
                      <a:cxn ang="0">
                        <a:pos x="347" y="276"/>
                      </a:cxn>
                      <a:cxn ang="0">
                        <a:pos x="497" y="157"/>
                      </a:cxn>
                      <a:cxn ang="0">
                        <a:pos x="625" y="12"/>
                      </a:cxn>
                      <a:cxn ang="0">
                        <a:pos x="452" y="111"/>
                      </a:cxn>
                      <a:cxn ang="0">
                        <a:pos x="268" y="240"/>
                      </a:cxn>
                      <a:cxn ang="0">
                        <a:pos x="0" y="496"/>
                      </a:cxn>
                    </a:cxnLst>
                    <a:rect l="0" t="0" r="r" b="b"/>
                    <a:pathLst>
                      <a:path w="626" h="496">
                        <a:moveTo>
                          <a:pt x="24" y="461"/>
                        </a:moveTo>
                        <a:cubicBezTo>
                          <a:pt x="83" y="466"/>
                          <a:pt x="144" y="404"/>
                          <a:pt x="189" y="375"/>
                        </a:cubicBezTo>
                        <a:cubicBezTo>
                          <a:pt x="240" y="343"/>
                          <a:pt x="297" y="313"/>
                          <a:pt x="347" y="276"/>
                        </a:cubicBezTo>
                        <a:cubicBezTo>
                          <a:pt x="397" y="237"/>
                          <a:pt x="450" y="200"/>
                          <a:pt x="497" y="157"/>
                        </a:cubicBezTo>
                        <a:cubicBezTo>
                          <a:pt x="535" y="123"/>
                          <a:pt x="626" y="64"/>
                          <a:pt x="625" y="12"/>
                        </a:cubicBezTo>
                        <a:cubicBezTo>
                          <a:pt x="557" y="0"/>
                          <a:pt x="498" y="71"/>
                          <a:pt x="452" y="111"/>
                        </a:cubicBezTo>
                        <a:cubicBezTo>
                          <a:pt x="395" y="159"/>
                          <a:pt x="326" y="191"/>
                          <a:pt x="268" y="240"/>
                        </a:cubicBezTo>
                        <a:cubicBezTo>
                          <a:pt x="172" y="320"/>
                          <a:pt x="62" y="387"/>
                          <a:pt x="0" y="49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6" name="Freeform 306"/>
                  <p:cNvSpPr>
                    <a:spLocks/>
                  </p:cNvSpPr>
                  <p:nvPr/>
                </p:nvSpPr>
                <p:spPr bwMode="gray">
                  <a:xfrm>
                    <a:off x="-1835150" y="15640051"/>
                    <a:ext cx="1890713" cy="989013"/>
                  </a:xfrm>
                  <a:custGeom>
                    <a:avLst/>
                    <a:gdLst/>
                    <a:ahLst/>
                    <a:cxnLst>
                      <a:cxn ang="0">
                        <a:pos x="103" y="46"/>
                      </a:cxn>
                      <a:cxn ang="0">
                        <a:pos x="179" y="82"/>
                      </a:cxn>
                      <a:cxn ang="0">
                        <a:pos x="290" y="87"/>
                      </a:cxn>
                      <a:cxn ang="0">
                        <a:pos x="500" y="41"/>
                      </a:cxn>
                      <a:cxn ang="0">
                        <a:pos x="354" y="146"/>
                      </a:cxn>
                      <a:cxn ang="0">
                        <a:pos x="91" y="90"/>
                      </a:cxn>
                      <a:cxn ang="0">
                        <a:pos x="202" y="238"/>
                      </a:cxn>
                      <a:cxn ang="0">
                        <a:pos x="86" y="0"/>
                      </a:cxn>
                    </a:cxnLst>
                    <a:rect l="0" t="0" r="r" b="b"/>
                    <a:pathLst>
                      <a:path w="504" h="264">
                        <a:moveTo>
                          <a:pt x="103" y="46"/>
                        </a:moveTo>
                        <a:cubicBezTo>
                          <a:pt x="131" y="56"/>
                          <a:pt x="151" y="74"/>
                          <a:pt x="179" y="82"/>
                        </a:cubicBezTo>
                        <a:cubicBezTo>
                          <a:pt x="213" y="90"/>
                          <a:pt x="253" y="88"/>
                          <a:pt x="290" y="87"/>
                        </a:cubicBezTo>
                        <a:cubicBezTo>
                          <a:pt x="369" y="86"/>
                          <a:pt x="426" y="47"/>
                          <a:pt x="500" y="41"/>
                        </a:cubicBezTo>
                        <a:cubicBezTo>
                          <a:pt x="504" y="138"/>
                          <a:pt x="442" y="146"/>
                          <a:pt x="354" y="146"/>
                        </a:cubicBezTo>
                        <a:cubicBezTo>
                          <a:pt x="248" y="146"/>
                          <a:pt x="177" y="138"/>
                          <a:pt x="91" y="90"/>
                        </a:cubicBezTo>
                        <a:cubicBezTo>
                          <a:pt x="93" y="164"/>
                          <a:pt x="164" y="188"/>
                          <a:pt x="202" y="238"/>
                        </a:cubicBezTo>
                        <a:cubicBezTo>
                          <a:pt x="89" y="264"/>
                          <a:pt x="0" y="69"/>
                          <a:pt x="8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7" name="Freeform 307"/>
                  <p:cNvSpPr>
                    <a:spLocks/>
                  </p:cNvSpPr>
                  <p:nvPr/>
                </p:nvSpPr>
                <p:spPr bwMode="gray">
                  <a:xfrm>
                    <a:off x="246062" y="17765713"/>
                    <a:ext cx="1792288" cy="2166938"/>
                  </a:xfrm>
                  <a:custGeom>
                    <a:avLst/>
                    <a:gdLst/>
                    <a:ahLst/>
                    <a:cxnLst>
                      <a:cxn ang="0">
                        <a:pos x="437" y="187"/>
                      </a:cxn>
                      <a:cxn ang="0">
                        <a:pos x="383" y="519"/>
                      </a:cxn>
                      <a:cxn ang="0">
                        <a:pos x="192" y="543"/>
                      </a:cxn>
                      <a:cxn ang="0">
                        <a:pos x="0" y="577"/>
                      </a:cxn>
                      <a:cxn ang="0">
                        <a:pos x="197" y="484"/>
                      </a:cxn>
                      <a:cxn ang="0">
                        <a:pos x="330" y="356"/>
                      </a:cxn>
                      <a:cxn ang="0">
                        <a:pos x="408" y="175"/>
                      </a:cxn>
                      <a:cxn ang="0">
                        <a:pos x="443" y="0"/>
                      </a:cxn>
                    </a:cxnLst>
                    <a:rect l="0" t="0" r="r" b="b"/>
                    <a:pathLst>
                      <a:path w="478" h="578">
                        <a:moveTo>
                          <a:pt x="437" y="187"/>
                        </a:moveTo>
                        <a:cubicBezTo>
                          <a:pt x="478" y="282"/>
                          <a:pt x="415" y="429"/>
                          <a:pt x="383" y="519"/>
                        </a:cubicBezTo>
                        <a:cubicBezTo>
                          <a:pt x="320" y="532"/>
                          <a:pt x="254" y="532"/>
                          <a:pt x="192" y="543"/>
                        </a:cubicBezTo>
                        <a:cubicBezTo>
                          <a:pt x="129" y="555"/>
                          <a:pt x="64" y="578"/>
                          <a:pt x="0" y="577"/>
                        </a:cubicBezTo>
                        <a:cubicBezTo>
                          <a:pt x="46" y="530"/>
                          <a:pt x="137" y="510"/>
                          <a:pt x="197" y="484"/>
                        </a:cubicBezTo>
                        <a:cubicBezTo>
                          <a:pt x="264" y="456"/>
                          <a:pt x="295" y="423"/>
                          <a:pt x="330" y="356"/>
                        </a:cubicBezTo>
                        <a:cubicBezTo>
                          <a:pt x="359" y="301"/>
                          <a:pt x="389" y="237"/>
                          <a:pt x="408" y="175"/>
                        </a:cubicBezTo>
                        <a:cubicBezTo>
                          <a:pt x="425" y="118"/>
                          <a:pt x="419" y="53"/>
                          <a:pt x="44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8" name="Freeform 308"/>
                  <p:cNvSpPr>
                    <a:spLocks/>
                  </p:cNvSpPr>
                  <p:nvPr/>
                </p:nvSpPr>
                <p:spPr bwMode="gray">
                  <a:xfrm>
                    <a:off x="1371600" y="10360026"/>
                    <a:ext cx="363538" cy="3490913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12" y="235"/>
                      </a:cxn>
                      <a:cxn ang="0">
                        <a:pos x="30" y="450"/>
                      </a:cxn>
                      <a:cxn ang="0">
                        <a:pos x="18" y="666"/>
                      </a:cxn>
                      <a:cxn ang="0">
                        <a:pos x="12" y="771"/>
                      </a:cxn>
                      <a:cxn ang="0">
                        <a:pos x="94" y="931"/>
                      </a:cxn>
                      <a:cxn ang="0">
                        <a:pos x="94" y="666"/>
                      </a:cxn>
                      <a:cxn ang="0">
                        <a:pos x="83" y="399"/>
                      </a:cxn>
                      <a:cxn ang="0">
                        <a:pos x="29" y="15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97" h="931">
                        <a:moveTo>
                          <a:pt x="0" y="29"/>
                        </a:moveTo>
                        <a:cubicBezTo>
                          <a:pt x="33" y="79"/>
                          <a:pt x="3" y="174"/>
                          <a:pt x="12" y="235"/>
                        </a:cubicBezTo>
                        <a:cubicBezTo>
                          <a:pt x="23" y="307"/>
                          <a:pt x="19" y="379"/>
                          <a:pt x="30" y="450"/>
                        </a:cubicBezTo>
                        <a:cubicBezTo>
                          <a:pt x="41" y="525"/>
                          <a:pt x="24" y="593"/>
                          <a:pt x="18" y="666"/>
                        </a:cubicBezTo>
                        <a:cubicBezTo>
                          <a:pt x="15" y="694"/>
                          <a:pt x="7" y="748"/>
                          <a:pt x="12" y="771"/>
                        </a:cubicBezTo>
                        <a:cubicBezTo>
                          <a:pt x="20" y="804"/>
                          <a:pt x="76" y="906"/>
                          <a:pt x="94" y="931"/>
                        </a:cubicBezTo>
                        <a:cubicBezTo>
                          <a:pt x="97" y="875"/>
                          <a:pt x="93" y="728"/>
                          <a:pt x="94" y="666"/>
                        </a:cubicBezTo>
                        <a:cubicBezTo>
                          <a:pt x="95" y="576"/>
                          <a:pt x="90" y="487"/>
                          <a:pt x="83" y="399"/>
                        </a:cubicBezTo>
                        <a:cubicBezTo>
                          <a:pt x="75" y="317"/>
                          <a:pt x="42" y="239"/>
                          <a:pt x="29" y="158"/>
                        </a:cubicBezTo>
                        <a:cubicBezTo>
                          <a:pt x="20" y="97"/>
                          <a:pt x="25" y="55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19" name="Freeform 309"/>
                  <p:cNvSpPr>
                    <a:spLocks/>
                  </p:cNvSpPr>
                  <p:nvPr/>
                </p:nvSpPr>
                <p:spPr bwMode="gray">
                  <a:xfrm>
                    <a:off x="479425" y="13655676"/>
                    <a:ext cx="1484313" cy="1492250"/>
                  </a:xfrm>
                  <a:custGeom>
                    <a:avLst/>
                    <a:gdLst/>
                    <a:ahLst/>
                    <a:cxnLst>
                      <a:cxn ang="0">
                        <a:pos x="330" y="55"/>
                      </a:cxn>
                      <a:cxn ang="0">
                        <a:pos x="318" y="109"/>
                      </a:cxn>
                      <a:cxn ang="0">
                        <a:pos x="108" y="33"/>
                      </a:cxn>
                      <a:cxn ang="0">
                        <a:pos x="209" y="113"/>
                      </a:cxn>
                      <a:cxn ang="0">
                        <a:pos x="243" y="164"/>
                      </a:cxn>
                      <a:cxn ang="0">
                        <a:pos x="287" y="214"/>
                      </a:cxn>
                      <a:cxn ang="0">
                        <a:pos x="221" y="219"/>
                      </a:cxn>
                      <a:cxn ang="0">
                        <a:pos x="256" y="289"/>
                      </a:cxn>
                      <a:cxn ang="0">
                        <a:pos x="170" y="329"/>
                      </a:cxn>
                      <a:cxn ang="0">
                        <a:pos x="0" y="398"/>
                      </a:cxn>
                      <a:cxn ang="0">
                        <a:pos x="194" y="344"/>
                      </a:cxn>
                      <a:cxn ang="0">
                        <a:pos x="314" y="351"/>
                      </a:cxn>
                      <a:cxn ang="0">
                        <a:pos x="396" y="370"/>
                      </a:cxn>
                      <a:cxn ang="0">
                        <a:pos x="357" y="238"/>
                      </a:cxn>
                      <a:cxn ang="0">
                        <a:pos x="330" y="98"/>
                      </a:cxn>
                    </a:cxnLst>
                    <a:rect l="0" t="0" r="r" b="b"/>
                    <a:pathLst>
                      <a:path w="396" h="398">
                        <a:moveTo>
                          <a:pt x="330" y="55"/>
                        </a:moveTo>
                        <a:cubicBezTo>
                          <a:pt x="319" y="72"/>
                          <a:pt x="324" y="91"/>
                          <a:pt x="318" y="109"/>
                        </a:cubicBezTo>
                        <a:cubicBezTo>
                          <a:pt x="238" y="165"/>
                          <a:pt x="183" y="0"/>
                          <a:pt x="108" y="33"/>
                        </a:cubicBezTo>
                        <a:cubicBezTo>
                          <a:pt x="96" y="79"/>
                          <a:pt x="186" y="88"/>
                          <a:pt x="209" y="113"/>
                        </a:cubicBezTo>
                        <a:cubicBezTo>
                          <a:pt x="222" y="129"/>
                          <a:pt x="223" y="147"/>
                          <a:pt x="243" y="164"/>
                        </a:cubicBezTo>
                        <a:cubicBezTo>
                          <a:pt x="262" y="180"/>
                          <a:pt x="285" y="188"/>
                          <a:pt x="287" y="214"/>
                        </a:cubicBezTo>
                        <a:cubicBezTo>
                          <a:pt x="266" y="222"/>
                          <a:pt x="243" y="218"/>
                          <a:pt x="221" y="219"/>
                        </a:cubicBezTo>
                        <a:cubicBezTo>
                          <a:pt x="210" y="261"/>
                          <a:pt x="255" y="250"/>
                          <a:pt x="256" y="289"/>
                        </a:cubicBezTo>
                        <a:cubicBezTo>
                          <a:pt x="257" y="338"/>
                          <a:pt x="204" y="331"/>
                          <a:pt x="170" y="329"/>
                        </a:cubicBezTo>
                        <a:cubicBezTo>
                          <a:pt x="94" y="325"/>
                          <a:pt x="33" y="326"/>
                          <a:pt x="0" y="398"/>
                        </a:cubicBezTo>
                        <a:cubicBezTo>
                          <a:pt x="21" y="350"/>
                          <a:pt x="148" y="348"/>
                          <a:pt x="194" y="344"/>
                        </a:cubicBezTo>
                        <a:cubicBezTo>
                          <a:pt x="237" y="339"/>
                          <a:pt x="273" y="340"/>
                          <a:pt x="314" y="351"/>
                        </a:cubicBezTo>
                        <a:cubicBezTo>
                          <a:pt x="341" y="357"/>
                          <a:pt x="369" y="383"/>
                          <a:pt x="396" y="370"/>
                        </a:cubicBezTo>
                        <a:cubicBezTo>
                          <a:pt x="384" y="326"/>
                          <a:pt x="364" y="287"/>
                          <a:pt x="357" y="238"/>
                        </a:cubicBezTo>
                        <a:cubicBezTo>
                          <a:pt x="351" y="193"/>
                          <a:pt x="326" y="145"/>
                          <a:pt x="330" y="9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0" name="Freeform 310"/>
                  <p:cNvSpPr>
                    <a:spLocks/>
                  </p:cNvSpPr>
                  <p:nvPr/>
                </p:nvSpPr>
                <p:spPr bwMode="gray">
                  <a:xfrm>
                    <a:off x="-3533775" y="11672888"/>
                    <a:ext cx="1027113" cy="1357313"/>
                  </a:xfrm>
                  <a:custGeom>
                    <a:avLst/>
                    <a:gdLst/>
                    <a:ahLst/>
                    <a:cxnLst>
                      <a:cxn ang="0">
                        <a:pos x="173" y="43"/>
                      </a:cxn>
                      <a:cxn ang="0">
                        <a:pos x="47" y="57"/>
                      </a:cxn>
                      <a:cxn ang="0">
                        <a:pos x="133" y="133"/>
                      </a:cxn>
                      <a:cxn ang="0">
                        <a:pos x="181" y="236"/>
                      </a:cxn>
                      <a:cxn ang="0">
                        <a:pos x="122" y="311"/>
                      </a:cxn>
                      <a:cxn ang="0">
                        <a:pos x="211" y="320"/>
                      </a:cxn>
                      <a:cxn ang="0">
                        <a:pos x="274" y="362"/>
                      </a:cxn>
                      <a:cxn ang="0">
                        <a:pos x="197" y="182"/>
                      </a:cxn>
                      <a:cxn ang="0">
                        <a:pos x="144" y="94"/>
                      </a:cxn>
                      <a:cxn ang="0">
                        <a:pos x="192" y="0"/>
                      </a:cxn>
                    </a:cxnLst>
                    <a:rect l="0" t="0" r="r" b="b"/>
                    <a:pathLst>
                      <a:path w="274" h="362">
                        <a:moveTo>
                          <a:pt x="173" y="43"/>
                        </a:moveTo>
                        <a:cubicBezTo>
                          <a:pt x="131" y="91"/>
                          <a:pt x="76" y="24"/>
                          <a:pt x="47" y="57"/>
                        </a:cubicBezTo>
                        <a:cubicBezTo>
                          <a:pt x="0" y="111"/>
                          <a:pt x="107" y="119"/>
                          <a:pt x="133" y="133"/>
                        </a:cubicBezTo>
                        <a:cubicBezTo>
                          <a:pt x="142" y="171"/>
                          <a:pt x="169" y="200"/>
                          <a:pt x="181" y="236"/>
                        </a:cubicBezTo>
                        <a:cubicBezTo>
                          <a:pt x="206" y="307"/>
                          <a:pt x="107" y="248"/>
                          <a:pt x="122" y="311"/>
                        </a:cubicBezTo>
                        <a:cubicBezTo>
                          <a:pt x="156" y="316"/>
                          <a:pt x="179" y="302"/>
                          <a:pt x="211" y="320"/>
                        </a:cubicBezTo>
                        <a:cubicBezTo>
                          <a:pt x="235" y="334"/>
                          <a:pt x="245" y="354"/>
                          <a:pt x="274" y="362"/>
                        </a:cubicBezTo>
                        <a:cubicBezTo>
                          <a:pt x="232" y="335"/>
                          <a:pt x="223" y="229"/>
                          <a:pt x="197" y="182"/>
                        </a:cubicBezTo>
                        <a:cubicBezTo>
                          <a:pt x="181" y="153"/>
                          <a:pt x="150" y="128"/>
                          <a:pt x="144" y="94"/>
                        </a:cubicBezTo>
                        <a:cubicBezTo>
                          <a:pt x="136" y="43"/>
                          <a:pt x="186" y="43"/>
                          <a:pt x="19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1" name="Freeform 311"/>
                  <p:cNvSpPr>
                    <a:spLocks/>
                  </p:cNvSpPr>
                  <p:nvPr/>
                </p:nvSpPr>
                <p:spPr bwMode="gray">
                  <a:xfrm>
                    <a:off x="-2686050" y="10748963"/>
                    <a:ext cx="685800" cy="747713"/>
                  </a:xfrm>
                  <a:custGeom>
                    <a:avLst/>
                    <a:gdLst/>
                    <a:ahLst/>
                    <a:cxnLst>
                      <a:cxn ang="0">
                        <a:pos x="180" y="199"/>
                      </a:cxn>
                      <a:cxn ang="0">
                        <a:pos x="162" y="77"/>
                      </a:cxn>
                      <a:cxn ang="0">
                        <a:pos x="76" y="28"/>
                      </a:cxn>
                      <a:cxn ang="0">
                        <a:pos x="28" y="94"/>
                      </a:cxn>
                      <a:cxn ang="0">
                        <a:pos x="2" y="175"/>
                      </a:cxn>
                      <a:cxn ang="0">
                        <a:pos x="20" y="148"/>
                      </a:cxn>
                      <a:cxn ang="0">
                        <a:pos x="52" y="125"/>
                      </a:cxn>
                      <a:cxn ang="0">
                        <a:pos x="114" y="78"/>
                      </a:cxn>
                      <a:cxn ang="0">
                        <a:pos x="180" y="191"/>
                      </a:cxn>
                    </a:cxnLst>
                    <a:rect l="0" t="0" r="r" b="b"/>
                    <a:pathLst>
                      <a:path w="183" h="199">
                        <a:moveTo>
                          <a:pt x="180" y="199"/>
                        </a:moveTo>
                        <a:cubicBezTo>
                          <a:pt x="180" y="154"/>
                          <a:pt x="183" y="115"/>
                          <a:pt x="162" y="77"/>
                        </a:cubicBezTo>
                        <a:cubicBezTo>
                          <a:pt x="145" y="47"/>
                          <a:pt x="112" y="0"/>
                          <a:pt x="76" y="28"/>
                        </a:cubicBezTo>
                        <a:cubicBezTo>
                          <a:pt x="72" y="76"/>
                          <a:pt x="57" y="67"/>
                          <a:pt x="28" y="94"/>
                        </a:cubicBezTo>
                        <a:cubicBezTo>
                          <a:pt x="0" y="120"/>
                          <a:pt x="25" y="147"/>
                          <a:pt x="2" y="175"/>
                        </a:cubicBezTo>
                        <a:cubicBezTo>
                          <a:pt x="12" y="169"/>
                          <a:pt x="14" y="155"/>
                          <a:pt x="20" y="148"/>
                        </a:cubicBezTo>
                        <a:cubicBezTo>
                          <a:pt x="34" y="135"/>
                          <a:pt x="36" y="135"/>
                          <a:pt x="52" y="125"/>
                        </a:cubicBezTo>
                        <a:cubicBezTo>
                          <a:pt x="66" y="117"/>
                          <a:pt x="101" y="80"/>
                          <a:pt x="114" y="78"/>
                        </a:cubicBezTo>
                        <a:cubicBezTo>
                          <a:pt x="164" y="70"/>
                          <a:pt x="158" y="165"/>
                          <a:pt x="180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2" name="Freeform 312"/>
                  <p:cNvSpPr>
                    <a:spLocks/>
                  </p:cNvSpPr>
                  <p:nvPr/>
                </p:nvSpPr>
                <p:spPr bwMode="gray">
                  <a:xfrm>
                    <a:off x="-3184525" y="10048876"/>
                    <a:ext cx="209550" cy="603250"/>
                  </a:xfrm>
                  <a:custGeom>
                    <a:avLst/>
                    <a:gdLst/>
                    <a:ahLst/>
                    <a:cxnLst>
                      <a:cxn ang="0">
                        <a:pos x="56" y="0"/>
                      </a:cxn>
                      <a:cxn ang="0">
                        <a:pos x="34" y="89"/>
                      </a:cxn>
                      <a:cxn ang="0">
                        <a:pos x="10" y="155"/>
                      </a:cxn>
                      <a:cxn ang="0">
                        <a:pos x="21" y="78"/>
                      </a:cxn>
                    </a:cxnLst>
                    <a:rect l="0" t="0" r="r" b="b"/>
                    <a:pathLst>
                      <a:path w="56" h="161">
                        <a:moveTo>
                          <a:pt x="56" y="0"/>
                        </a:moveTo>
                        <a:cubicBezTo>
                          <a:pt x="49" y="35"/>
                          <a:pt x="30" y="47"/>
                          <a:pt x="34" y="89"/>
                        </a:cubicBezTo>
                        <a:cubicBezTo>
                          <a:pt x="36" y="112"/>
                          <a:pt x="55" y="161"/>
                          <a:pt x="10" y="155"/>
                        </a:cubicBezTo>
                        <a:cubicBezTo>
                          <a:pt x="0" y="123"/>
                          <a:pt x="14" y="107"/>
                          <a:pt x="21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3" name="Freeform 313"/>
                  <p:cNvSpPr>
                    <a:spLocks/>
                  </p:cNvSpPr>
                  <p:nvPr/>
                </p:nvSpPr>
                <p:spPr bwMode="gray">
                  <a:xfrm>
                    <a:off x="2098675" y="12576176"/>
                    <a:ext cx="338138" cy="584200"/>
                  </a:xfrm>
                  <a:custGeom>
                    <a:avLst/>
                    <a:gdLst/>
                    <a:ahLst/>
                    <a:cxnLst>
                      <a:cxn ang="0">
                        <a:pos x="77" y="0"/>
                      </a:cxn>
                      <a:cxn ang="0">
                        <a:pos x="12" y="144"/>
                      </a:cxn>
                      <a:cxn ang="0">
                        <a:pos x="73" y="20"/>
                      </a:cxn>
                    </a:cxnLst>
                    <a:rect l="0" t="0" r="r" b="b"/>
                    <a:pathLst>
                      <a:path w="90" h="156">
                        <a:moveTo>
                          <a:pt x="77" y="0"/>
                        </a:moveTo>
                        <a:cubicBezTo>
                          <a:pt x="90" y="55"/>
                          <a:pt x="0" y="75"/>
                          <a:pt x="12" y="144"/>
                        </a:cubicBezTo>
                        <a:cubicBezTo>
                          <a:pt x="69" y="156"/>
                          <a:pt x="57" y="50"/>
                          <a:pt x="73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4" name="Freeform 314"/>
                  <p:cNvSpPr>
                    <a:spLocks/>
                  </p:cNvSpPr>
                  <p:nvPr/>
                </p:nvSpPr>
                <p:spPr bwMode="gray">
                  <a:xfrm>
                    <a:off x="-2006600" y="11877676"/>
                    <a:ext cx="688975" cy="1328738"/>
                  </a:xfrm>
                  <a:custGeom>
                    <a:avLst/>
                    <a:gdLst/>
                    <a:ahLst/>
                    <a:cxnLst>
                      <a:cxn ang="0">
                        <a:pos x="46" y="323"/>
                      </a:cxn>
                      <a:cxn ang="0">
                        <a:pos x="81" y="249"/>
                      </a:cxn>
                      <a:cxn ang="0">
                        <a:pos x="166" y="244"/>
                      </a:cxn>
                      <a:cxn ang="0">
                        <a:pos x="74" y="139"/>
                      </a:cxn>
                      <a:cxn ang="0">
                        <a:pos x="0" y="0"/>
                      </a:cxn>
                      <a:cxn ang="0">
                        <a:pos x="30" y="85"/>
                      </a:cxn>
                      <a:cxn ang="0">
                        <a:pos x="49" y="179"/>
                      </a:cxn>
                      <a:cxn ang="0">
                        <a:pos x="50" y="272"/>
                      </a:cxn>
                      <a:cxn ang="0">
                        <a:pos x="50" y="354"/>
                      </a:cxn>
                    </a:cxnLst>
                    <a:rect l="0" t="0" r="r" b="b"/>
                    <a:pathLst>
                      <a:path w="184" h="354">
                        <a:moveTo>
                          <a:pt x="46" y="323"/>
                        </a:moveTo>
                        <a:cubicBezTo>
                          <a:pt x="53" y="297"/>
                          <a:pt x="55" y="264"/>
                          <a:pt x="81" y="249"/>
                        </a:cubicBezTo>
                        <a:cubicBezTo>
                          <a:pt x="108" y="232"/>
                          <a:pt x="137" y="249"/>
                          <a:pt x="166" y="244"/>
                        </a:cubicBezTo>
                        <a:cubicBezTo>
                          <a:pt x="184" y="213"/>
                          <a:pt x="93" y="159"/>
                          <a:pt x="74" y="139"/>
                        </a:cubicBezTo>
                        <a:cubicBezTo>
                          <a:pt x="48" y="109"/>
                          <a:pt x="33" y="11"/>
                          <a:pt x="0" y="0"/>
                        </a:cubicBezTo>
                        <a:cubicBezTo>
                          <a:pt x="1" y="28"/>
                          <a:pt x="21" y="59"/>
                          <a:pt x="30" y="85"/>
                        </a:cubicBezTo>
                        <a:cubicBezTo>
                          <a:pt x="41" y="115"/>
                          <a:pt x="43" y="150"/>
                          <a:pt x="49" y="179"/>
                        </a:cubicBezTo>
                        <a:cubicBezTo>
                          <a:pt x="56" y="213"/>
                          <a:pt x="59" y="237"/>
                          <a:pt x="50" y="272"/>
                        </a:cubicBezTo>
                        <a:cubicBezTo>
                          <a:pt x="44" y="296"/>
                          <a:pt x="23" y="334"/>
                          <a:pt x="50" y="35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5" name="Freeform 315"/>
                  <p:cNvSpPr>
                    <a:spLocks/>
                  </p:cNvSpPr>
                  <p:nvPr/>
                </p:nvSpPr>
                <p:spPr bwMode="gray">
                  <a:xfrm>
                    <a:off x="1614487" y="9932988"/>
                    <a:ext cx="654050" cy="1104900"/>
                  </a:xfrm>
                  <a:custGeom>
                    <a:avLst/>
                    <a:gdLst/>
                    <a:ahLst/>
                    <a:cxnLst>
                      <a:cxn ang="0">
                        <a:pos x="128" y="0"/>
                      </a:cxn>
                      <a:cxn ang="0">
                        <a:pos x="79" y="98"/>
                      </a:cxn>
                      <a:cxn ang="0">
                        <a:pos x="20" y="175"/>
                      </a:cxn>
                      <a:cxn ang="0">
                        <a:pos x="109" y="179"/>
                      </a:cxn>
                      <a:cxn ang="0">
                        <a:pos x="74" y="238"/>
                      </a:cxn>
                      <a:cxn ang="0">
                        <a:pos x="82" y="288"/>
                      </a:cxn>
                      <a:cxn ang="0">
                        <a:pos x="136" y="8"/>
                      </a:cxn>
                    </a:cxnLst>
                    <a:rect l="0" t="0" r="r" b="b"/>
                    <a:pathLst>
                      <a:path w="174" h="295">
                        <a:moveTo>
                          <a:pt x="128" y="0"/>
                        </a:moveTo>
                        <a:cubicBezTo>
                          <a:pt x="134" y="41"/>
                          <a:pt x="105" y="72"/>
                          <a:pt x="79" y="98"/>
                        </a:cubicBezTo>
                        <a:cubicBezTo>
                          <a:pt x="60" y="117"/>
                          <a:pt x="0" y="144"/>
                          <a:pt x="20" y="175"/>
                        </a:cubicBezTo>
                        <a:cubicBezTo>
                          <a:pt x="45" y="214"/>
                          <a:pt x="99" y="149"/>
                          <a:pt x="109" y="179"/>
                        </a:cubicBezTo>
                        <a:cubicBezTo>
                          <a:pt x="115" y="197"/>
                          <a:pt x="77" y="221"/>
                          <a:pt x="74" y="238"/>
                        </a:cubicBezTo>
                        <a:cubicBezTo>
                          <a:pt x="72" y="248"/>
                          <a:pt x="83" y="273"/>
                          <a:pt x="82" y="288"/>
                        </a:cubicBezTo>
                        <a:cubicBezTo>
                          <a:pt x="174" y="295"/>
                          <a:pt x="147" y="64"/>
                          <a:pt x="136" y="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6" name="Freeform 316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7" name="Freeform 317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8" name="Freeform 318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29" name="Freeform 319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0" name="Freeform 320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1" name="Freeform 321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2" name="Freeform 322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3" name="Freeform 323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4" name="Freeform 324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5" name="Freeform 325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6" name="Freeform 326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7" name="Freeform 327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8" name="Freeform 328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39" name="Freeform 329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0" name="Freeform 330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1" name="Freeform 331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2" name="Freeform 332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3" name="Freeform 333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4" name="Freeform 334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5" name="Freeform 335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6" name="Freeform 336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7" name="Freeform 337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8" name="Freeform 338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49" name="Freeform 339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0" name="Freeform 340"/>
                  <p:cNvSpPr>
                    <a:spLocks/>
                  </p:cNvSpPr>
                  <p:nvPr/>
                </p:nvSpPr>
                <p:spPr bwMode="gray">
                  <a:xfrm>
                    <a:off x="-1662113" y="24028401"/>
                    <a:ext cx="319088" cy="892175"/>
                  </a:xfrm>
                  <a:custGeom>
                    <a:avLst/>
                    <a:gdLst/>
                    <a:ahLst/>
                    <a:cxnLst>
                      <a:cxn ang="0">
                        <a:pos x="72" y="9"/>
                      </a:cxn>
                      <a:cxn ang="0">
                        <a:pos x="65" y="71"/>
                      </a:cxn>
                      <a:cxn ang="0">
                        <a:pos x="66" y="137"/>
                      </a:cxn>
                      <a:cxn ang="0">
                        <a:pos x="33" y="187"/>
                      </a:cxn>
                      <a:cxn ang="0">
                        <a:pos x="0" y="238"/>
                      </a:cxn>
                      <a:cxn ang="0">
                        <a:pos x="82" y="134"/>
                      </a:cxn>
                      <a:cxn ang="0">
                        <a:pos x="84" y="61"/>
                      </a:cxn>
                      <a:cxn ang="0">
                        <a:pos x="78" y="31"/>
                      </a:cxn>
                      <a:cxn ang="0">
                        <a:pos x="69" y="0"/>
                      </a:cxn>
                    </a:cxnLst>
                    <a:rect l="0" t="0" r="r" b="b"/>
                    <a:pathLst>
                      <a:path w="85" h="238">
                        <a:moveTo>
                          <a:pt x="72" y="9"/>
                        </a:moveTo>
                        <a:cubicBezTo>
                          <a:pt x="72" y="31"/>
                          <a:pt x="66" y="50"/>
                          <a:pt x="65" y="71"/>
                        </a:cubicBezTo>
                        <a:cubicBezTo>
                          <a:pt x="64" y="93"/>
                          <a:pt x="73" y="117"/>
                          <a:pt x="66" y="137"/>
                        </a:cubicBezTo>
                        <a:cubicBezTo>
                          <a:pt x="60" y="157"/>
                          <a:pt x="42" y="170"/>
                          <a:pt x="33" y="187"/>
                        </a:cubicBezTo>
                        <a:cubicBezTo>
                          <a:pt x="23" y="206"/>
                          <a:pt x="13" y="224"/>
                          <a:pt x="0" y="238"/>
                        </a:cubicBezTo>
                        <a:cubicBezTo>
                          <a:pt x="38" y="219"/>
                          <a:pt x="77" y="177"/>
                          <a:pt x="82" y="134"/>
                        </a:cubicBezTo>
                        <a:cubicBezTo>
                          <a:pt x="85" y="111"/>
                          <a:pt x="84" y="86"/>
                          <a:pt x="84" y="61"/>
                        </a:cubicBezTo>
                        <a:cubicBezTo>
                          <a:pt x="84" y="49"/>
                          <a:pt x="83" y="41"/>
                          <a:pt x="78" y="31"/>
                        </a:cubicBezTo>
                        <a:cubicBezTo>
                          <a:pt x="73" y="21"/>
                          <a:pt x="68" y="13"/>
                          <a:pt x="6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1" name="Freeform 341"/>
                  <p:cNvSpPr>
                    <a:spLocks/>
                  </p:cNvSpPr>
                  <p:nvPr/>
                </p:nvSpPr>
                <p:spPr bwMode="gray">
                  <a:xfrm>
                    <a:off x="-2741613" y="25190451"/>
                    <a:ext cx="911225" cy="300038"/>
                  </a:xfrm>
                  <a:custGeom>
                    <a:avLst/>
                    <a:gdLst/>
                    <a:ahLst/>
                    <a:cxnLst>
                      <a:cxn ang="0">
                        <a:pos x="0" y="4"/>
                      </a:cxn>
                      <a:cxn ang="0">
                        <a:pos x="66" y="26"/>
                      </a:cxn>
                      <a:cxn ang="0">
                        <a:pos x="129" y="42"/>
                      </a:cxn>
                      <a:cxn ang="0">
                        <a:pos x="243" y="0"/>
                      </a:cxn>
                      <a:cxn ang="0">
                        <a:pos x="208" y="61"/>
                      </a:cxn>
                      <a:cxn ang="0">
                        <a:pos x="180" y="75"/>
                      </a:cxn>
                      <a:cxn ang="0">
                        <a:pos x="145" y="66"/>
                      </a:cxn>
                      <a:cxn ang="0">
                        <a:pos x="82" y="50"/>
                      </a:cxn>
                      <a:cxn ang="0">
                        <a:pos x="19" y="2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243" h="80">
                        <a:moveTo>
                          <a:pt x="0" y="4"/>
                        </a:moveTo>
                        <a:cubicBezTo>
                          <a:pt x="17" y="19"/>
                          <a:pt x="44" y="21"/>
                          <a:pt x="66" y="26"/>
                        </a:cubicBezTo>
                        <a:cubicBezTo>
                          <a:pt x="87" y="31"/>
                          <a:pt x="108" y="40"/>
                          <a:pt x="129" y="42"/>
                        </a:cubicBezTo>
                        <a:cubicBezTo>
                          <a:pt x="173" y="46"/>
                          <a:pt x="214" y="35"/>
                          <a:pt x="243" y="0"/>
                        </a:cubicBezTo>
                        <a:cubicBezTo>
                          <a:pt x="235" y="23"/>
                          <a:pt x="222" y="41"/>
                          <a:pt x="208" y="61"/>
                        </a:cubicBezTo>
                        <a:cubicBezTo>
                          <a:pt x="198" y="75"/>
                          <a:pt x="198" y="80"/>
                          <a:pt x="180" y="75"/>
                        </a:cubicBezTo>
                        <a:cubicBezTo>
                          <a:pt x="168" y="71"/>
                          <a:pt x="157" y="69"/>
                          <a:pt x="145" y="66"/>
                        </a:cubicBezTo>
                        <a:cubicBezTo>
                          <a:pt x="125" y="61"/>
                          <a:pt x="102" y="57"/>
                          <a:pt x="82" y="50"/>
                        </a:cubicBezTo>
                        <a:cubicBezTo>
                          <a:pt x="62" y="43"/>
                          <a:pt x="38" y="38"/>
                          <a:pt x="19" y="27"/>
                        </a:cubicBezTo>
                        <a:cubicBezTo>
                          <a:pt x="12" y="23"/>
                          <a:pt x="4" y="16"/>
                          <a:pt x="0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2" name="Freeform 342"/>
                  <p:cNvSpPr>
                    <a:spLocks/>
                  </p:cNvSpPr>
                  <p:nvPr/>
                </p:nvSpPr>
                <p:spPr bwMode="gray">
                  <a:xfrm>
                    <a:off x="-98425" y="24039513"/>
                    <a:ext cx="203200" cy="941388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12" y="60"/>
                      </a:cxn>
                      <a:cxn ang="0">
                        <a:pos x="1" y="127"/>
                      </a:cxn>
                      <a:cxn ang="0">
                        <a:pos x="13" y="158"/>
                      </a:cxn>
                      <a:cxn ang="0">
                        <a:pos x="26" y="194"/>
                      </a:cxn>
                      <a:cxn ang="0">
                        <a:pos x="43" y="218"/>
                      </a:cxn>
                      <a:cxn ang="0">
                        <a:pos x="54" y="251"/>
                      </a:cxn>
                      <a:cxn ang="0">
                        <a:pos x="21" y="125"/>
                      </a:cxn>
                      <a:cxn ang="0">
                        <a:pos x="27" y="61"/>
                      </a:cxn>
                      <a:cxn ang="0">
                        <a:pos x="26" y="6"/>
                      </a:cxn>
                      <a:cxn ang="0">
                        <a:pos x="20" y="33"/>
                      </a:cxn>
                    </a:cxnLst>
                    <a:rect l="0" t="0" r="r" b="b"/>
                    <a:pathLst>
                      <a:path w="54" h="251">
                        <a:moveTo>
                          <a:pt x="28" y="0"/>
                        </a:moveTo>
                        <a:cubicBezTo>
                          <a:pt x="28" y="26"/>
                          <a:pt x="24" y="39"/>
                          <a:pt x="12" y="60"/>
                        </a:cubicBezTo>
                        <a:cubicBezTo>
                          <a:pt x="0" y="81"/>
                          <a:pt x="0" y="102"/>
                          <a:pt x="1" y="127"/>
                        </a:cubicBezTo>
                        <a:cubicBezTo>
                          <a:pt x="2" y="141"/>
                          <a:pt x="6" y="146"/>
                          <a:pt x="13" y="158"/>
                        </a:cubicBezTo>
                        <a:cubicBezTo>
                          <a:pt x="19" y="169"/>
                          <a:pt x="19" y="183"/>
                          <a:pt x="26" y="194"/>
                        </a:cubicBezTo>
                        <a:cubicBezTo>
                          <a:pt x="31" y="203"/>
                          <a:pt x="39" y="209"/>
                          <a:pt x="43" y="218"/>
                        </a:cubicBezTo>
                        <a:cubicBezTo>
                          <a:pt x="49" y="228"/>
                          <a:pt x="51" y="240"/>
                          <a:pt x="54" y="251"/>
                        </a:cubicBezTo>
                        <a:cubicBezTo>
                          <a:pt x="53" y="206"/>
                          <a:pt x="29" y="167"/>
                          <a:pt x="21" y="125"/>
                        </a:cubicBezTo>
                        <a:cubicBezTo>
                          <a:pt x="16" y="102"/>
                          <a:pt x="19" y="82"/>
                          <a:pt x="27" y="61"/>
                        </a:cubicBezTo>
                        <a:cubicBezTo>
                          <a:pt x="34" y="43"/>
                          <a:pt x="37" y="24"/>
                          <a:pt x="26" y="6"/>
                        </a:cubicBezTo>
                        <a:cubicBezTo>
                          <a:pt x="22" y="15"/>
                          <a:pt x="22" y="24"/>
                          <a:pt x="20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3" name="Freeform 343"/>
                  <p:cNvSpPr>
                    <a:spLocks/>
                  </p:cNvSpPr>
                  <p:nvPr/>
                </p:nvSpPr>
                <p:spPr bwMode="gray">
                  <a:xfrm>
                    <a:off x="231775" y="25336501"/>
                    <a:ext cx="655638" cy="195263"/>
                  </a:xfrm>
                  <a:custGeom>
                    <a:avLst/>
                    <a:gdLst/>
                    <a:ahLst/>
                    <a:cxnLst>
                      <a:cxn ang="0">
                        <a:pos x="159" y="0"/>
                      </a:cxn>
                      <a:cxn ang="0">
                        <a:pos x="145" y="35"/>
                      </a:cxn>
                      <a:cxn ang="0">
                        <a:pos x="93" y="45"/>
                      </a:cxn>
                      <a:cxn ang="0">
                        <a:pos x="0" y="25"/>
                      </a:cxn>
                      <a:cxn ang="0">
                        <a:pos x="35" y="45"/>
                      </a:cxn>
                      <a:cxn ang="0">
                        <a:pos x="87" y="51"/>
                      </a:cxn>
                      <a:cxn ang="0">
                        <a:pos x="134" y="50"/>
                      </a:cxn>
                      <a:cxn ang="0">
                        <a:pos x="175" y="38"/>
                      </a:cxn>
                      <a:cxn ang="0">
                        <a:pos x="168" y="26"/>
                      </a:cxn>
                    </a:cxnLst>
                    <a:rect l="0" t="0" r="r" b="b"/>
                    <a:pathLst>
                      <a:path w="175" h="52">
                        <a:moveTo>
                          <a:pt x="159" y="0"/>
                        </a:moveTo>
                        <a:cubicBezTo>
                          <a:pt x="161" y="18"/>
                          <a:pt x="162" y="27"/>
                          <a:pt x="145" y="35"/>
                        </a:cubicBezTo>
                        <a:cubicBezTo>
                          <a:pt x="130" y="43"/>
                          <a:pt x="111" y="45"/>
                          <a:pt x="93" y="45"/>
                        </a:cubicBezTo>
                        <a:cubicBezTo>
                          <a:pt x="60" y="47"/>
                          <a:pt x="28" y="37"/>
                          <a:pt x="0" y="25"/>
                        </a:cubicBezTo>
                        <a:cubicBezTo>
                          <a:pt x="13" y="32"/>
                          <a:pt x="20" y="42"/>
                          <a:pt x="35" y="45"/>
                        </a:cubicBezTo>
                        <a:cubicBezTo>
                          <a:pt x="51" y="49"/>
                          <a:pt x="70" y="50"/>
                          <a:pt x="87" y="51"/>
                        </a:cubicBezTo>
                        <a:cubicBezTo>
                          <a:pt x="102" y="52"/>
                          <a:pt x="120" y="52"/>
                          <a:pt x="134" y="50"/>
                        </a:cubicBezTo>
                        <a:cubicBezTo>
                          <a:pt x="148" y="48"/>
                          <a:pt x="161" y="41"/>
                          <a:pt x="175" y="38"/>
                        </a:cubicBezTo>
                        <a:cubicBezTo>
                          <a:pt x="174" y="33"/>
                          <a:pt x="171" y="29"/>
                          <a:pt x="168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4" name="Freeform 344"/>
                  <p:cNvSpPr>
                    <a:spLocks/>
                  </p:cNvSpPr>
                  <p:nvPr/>
                </p:nvSpPr>
                <p:spPr bwMode="gray">
                  <a:xfrm>
                    <a:off x="104775" y="25633363"/>
                    <a:ext cx="430213" cy="407988"/>
                  </a:xfrm>
                  <a:custGeom>
                    <a:avLst/>
                    <a:gdLst/>
                    <a:ahLst/>
                    <a:cxnLst>
                      <a:cxn ang="0">
                        <a:pos x="15" y="15"/>
                      </a:cxn>
                      <a:cxn ang="0">
                        <a:pos x="53" y="38"/>
                      </a:cxn>
                      <a:cxn ang="0">
                        <a:pos x="114" y="60"/>
                      </a:cxn>
                      <a:cxn ang="0">
                        <a:pos x="114" y="64"/>
                      </a:cxn>
                      <a:cxn ang="0">
                        <a:pos x="67" y="69"/>
                      </a:cxn>
                      <a:cxn ang="0">
                        <a:pos x="115" y="92"/>
                      </a:cxn>
                      <a:cxn ang="0">
                        <a:pos x="35" y="6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5" h="109">
                        <a:moveTo>
                          <a:pt x="15" y="15"/>
                        </a:moveTo>
                        <a:cubicBezTo>
                          <a:pt x="28" y="21"/>
                          <a:pt x="40" y="30"/>
                          <a:pt x="53" y="38"/>
                        </a:cubicBezTo>
                        <a:cubicBezTo>
                          <a:pt x="73" y="51"/>
                          <a:pt x="91" y="53"/>
                          <a:pt x="114" y="60"/>
                        </a:cubicBezTo>
                        <a:cubicBezTo>
                          <a:pt x="114" y="61"/>
                          <a:pt x="114" y="63"/>
                          <a:pt x="114" y="64"/>
                        </a:cubicBezTo>
                        <a:cubicBezTo>
                          <a:pt x="99" y="67"/>
                          <a:pt x="82" y="69"/>
                          <a:pt x="67" y="69"/>
                        </a:cubicBezTo>
                        <a:cubicBezTo>
                          <a:pt x="78" y="79"/>
                          <a:pt x="103" y="81"/>
                          <a:pt x="115" y="92"/>
                        </a:cubicBezTo>
                        <a:cubicBezTo>
                          <a:pt x="88" y="109"/>
                          <a:pt x="56" y="78"/>
                          <a:pt x="35" y="65"/>
                        </a:cubicBezTo>
                        <a:cubicBezTo>
                          <a:pt x="9" y="50"/>
                          <a:pt x="16" y="2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955" name="Freeform 345"/>
                  <p:cNvSpPr>
                    <a:spLocks/>
                  </p:cNvSpPr>
                  <p:nvPr/>
                </p:nvSpPr>
                <p:spPr bwMode="gray">
                  <a:xfrm>
                    <a:off x="-3090863" y="25314276"/>
                    <a:ext cx="468313" cy="60007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42" y="76"/>
                      </a:cxn>
                      <a:cxn ang="0">
                        <a:pos x="0" y="160"/>
                      </a:cxn>
                      <a:cxn ang="0">
                        <a:pos x="62" y="88"/>
                      </a:cxn>
                      <a:cxn ang="0">
                        <a:pos x="85" y="73"/>
                      </a:cxn>
                      <a:cxn ang="0">
                        <a:pos x="87" y="47"/>
                      </a:cxn>
                      <a:cxn ang="0">
                        <a:pos x="125" y="29"/>
                      </a:cxn>
                      <a:cxn ang="0">
                        <a:pos x="125" y="21"/>
                      </a:cxn>
                      <a:cxn ang="0">
                        <a:pos x="91" y="12"/>
                      </a:cxn>
                    </a:cxnLst>
                    <a:rect l="0" t="0" r="r" b="b"/>
                    <a:pathLst>
                      <a:path w="125" h="160">
                        <a:moveTo>
                          <a:pt x="85" y="0"/>
                        </a:moveTo>
                        <a:cubicBezTo>
                          <a:pt x="55" y="15"/>
                          <a:pt x="56" y="50"/>
                          <a:pt x="42" y="76"/>
                        </a:cubicBezTo>
                        <a:cubicBezTo>
                          <a:pt x="28" y="101"/>
                          <a:pt x="1" y="133"/>
                          <a:pt x="0" y="160"/>
                        </a:cubicBezTo>
                        <a:cubicBezTo>
                          <a:pt x="17" y="132"/>
                          <a:pt x="36" y="108"/>
                          <a:pt x="62" y="88"/>
                        </a:cubicBezTo>
                        <a:cubicBezTo>
                          <a:pt x="70" y="81"/>
                          <a:pt x="79" y="83"/>
                          <a:pt x="85" y="73"/>
                        </a:cubicBezTo>
                        <a:cubicBezTo>
                          <a:pt x="90" y="66"/>
                          <a:pt x="83" y="54"/>
                          <a:pt x="87" y="47"/>
                        </a:cubicBezTo>
                        <a:cubicBezTo>
                          <a:pt x="96" y="33"/>
                          <a:pt x="108" y="27"/>
                          <a:pt x="125" y="29"/>
                        </a:cubicBezTo>
                        <a:cubicBezTo>
                          <a:pt x="125" y="28"/>
                          <a:pt x="125" y="22"/>
                          <a:pt x="125" y="21"/>
                        </a:cubicBezTo>
                        <a:cubicBezTo>
                          <a:pt x="114" y="16"/>
                          <a:pt x="103" y="11"/>
                          <a:pt x="91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  <p:grpSp>
              <p:nvGrpSpPr>
                <p:cNvPr id="20" name="Gruppieren 158"/>
                <p:cNvGrpSpPr/>
                <p:nvPr/>
              </p:nvGrpSpPr>
              <p:grpSpPr bwMode="gray">
                <a:xfrm>
                  <a:off x="925081" y="1575807"/>
                  <a:ext cx="626524" cy="2292056"/>
                  <a:chOff x="-3870325" y="-19711987"/>
                  <a:chExt cx="5864225" cy="21453475"/>
                </a:xfrm>
                <a:solidFill>
                  <a:srgbClr val="C8C8C8"/>
                </a:solidFill>
              </p:grpSpPr>
              <p:sp>
                <p:nvSpPr>
                  <p:cNvPr id="808" name="Freeform 81"/>
                  <p:cNvSpPr>
                    <a:spLocks/>
                  </p:cNvSpPr>
                  <p:nvPr/>
                </p:nvSpPr>
                <p:spPr bwMode="gray">
                  <a:xfrm>
                    <a:off x="-3076575" y="-676275"/>
                    <a:ext cx="3457575" cy="1844675"/>
                  </a:xfrm>
                  <a:custGeom>
                    <a:avLst/>
                    <a:gdLst/>
                    <a:ahLst/>
                    <a:cxnLst>
                      <a:cxn ang="0">
                        <a:pos x="429" y="101"/>
                      </a:cxn>
                      <a:cxn ang="0">
                        <a:pos x="355" y="179"/>
                      </a:cxn>
                      <a:cxn ang="0">
                        <a:pos x="276" y="240"/>
                      </a:cxn>
                      <a:cxn ang="0">
                        <a:pos x="188" y="309"/>
                      </a:cxn>
                      <a:cxn ang="0">
                        <a:pos x="14" y="421"/>
                      </a:cxn>
                      <a:cxn ang="0">
                        <a:pos x="76" y="477"/>
                      </a:cxn>
                      <a:cxn ang="0">
                        <a:pos x="159" y="490"/>
                      </a:cxn>
                      <a:cxn ang="0">
                        <a:pos x="323" y="467"/>
                      </a:cxn>
                      <a:cxn ang="0">
                        <a:pos x="470" y="412"/>
                      </a:cxn>
                      <a:cxn ang="0">
                        <a:pos x="699" y="376"/>
                      </a:cxn>
                      <a:cxn ang="0">
                        <a:pos x="452" y="112"/>
                      </a:cxn>
                    </a:cxnLst>
                    <a:rect l="0" t="0" r="r" b="b"/>
                    <a:pathLst>
                      <a:path w="922" h="492">
                        <a:moveTo>
                          <a:pt x="429" y="101"/>
                        </a:moveTo>
                        <a:cubicBezTo>
                          <a:pt x="402" y="122"/>
                          <a:pt x="363" y="146"/>
                          <a:pt x="355" y="179"/>
                        </a:cubicBezTo>
                        <a:cubicBezTo>
                          <a:pt x="335" y="183"/>
                          <a:pt x="296" y="222"/>
                          <a:pt x="276" y="240"/>
                        </a:cubicBezTo>
                        <a:cubicBezTo>
                          <a:pt x="247" y="266"/>
                          <a:pt x="226" y="294"/>
                          <a:pt x="188" y="309"/>
                        </a:cubicBezTo>
                        <a:cubicBezTo>
                          <a:pt x="149" y="324"/>
                          <a:pt x="0" y="364"/>
                          <a:pt x="14" y="421"/>
                        </a:cubicBezTo>
                        <a:cubicBezTo>
                          <a:pt x="42" y="435"/>
                          <a:pt x="50" y="466"/>
                          <a:pt x="76" y="477"/>
                        </a:cubicBezTo>
                        <a:cubicBezTo>
                          <a:pt x="92" y="484"/>
                          <a:pt x="143" y="489"/>
                          <a:pt x="159" y="490"/>
                        </a:cubicBezTo>
                        <a:cubicBezTo>
                          <a:pt x="216" y="492"/>
                          <a:pt x="263" y="467"/>
                          <a:pt x="323" y="467"/>
                        </a:cubicBezTo>
                        <a:cubicBezTo>
                          <a:pt x="396" y="467"/>
                          <a:pt x="411" y="447"/>
                          <a:pt x="470" y="412"/>
                        </a:cubicBezTo>
                        <a:cubicBezTo>
                          <a:pt x="539" y="371"/>
                          <a:pt x="622" y="392"/>
                          <a:pt x="699" y="376"/>
                        </a:cubicBezTo>
                        <a:cubicBezTo>
                          <a:pt x="922" y="224"/>
                          <a:pt x="494" y="0"/>
                          <a:pt x="452" y="1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09" name="Freeform 82"/>
                  <p:cNvSpPr>
                    <a:spLocks/>
                  </p:cNvSpPr>
                  <p:nvPr/>
                </p:nvSpPr>
                <p:spPr bwMode="gray">
                  <a:xfrm>
                    <a:off x="-101600" y="-522287"/>
                    <a:ext cx="2095500" cy="2263775"/>
                  </a:xfrm>
                  <a:custGeom>
                    <a:avLst/>
                    <a:gdLst/>
                    <a:ahLst/>
                    <a:cxnLst>
                      <a:cxn ang="0">
                        <a:pos x="36" y="184"/>
                      </a:cxn>
                      <a:cxn ang="0">
                        <a:pos x="99" y="402"/>
                      </a:cxn>
                      <a:cxn ang="0">
                        <a:pos x="156" y="413"/>
                      </a:cxn>
                      <a:cxn ang="0">
                        <a:pos x="183" y="465"/>
                      </a:cxn>
                      <a:cxn ang="0">
                        <a:pos x="261" y="538"/>
                      </a:cxn>
                      <a:cxn ang="0">
                        <a:pos x="532" y="527"/>
                      </a:cxn>
                      <a:cxn ang="0">
                        <a:pos x="409" y="317"/>
                      </a:cxn>
                      <a:cxn ang="0">
                        <a:pos x="341" y="212"/>
                      </a:cxn>
                      <a:cxn ang="0">
                        <a:pos x="257" y="77"/>
                      </a:cxn>
                      <a:cxn ang="0">
                        <a:pos x="48" y="184"/>
                      </a:cxn>
                    </a:cxnLst>
                    <a:rect l="0" t="0" r="r" b="b"/>
                    <a:pathLst>
                      <a:path w="559" h="604">
                        <a:moveTo>
                          <a:pt x="36" y="184"/>
                        </a:moveTo>
                        <a:cubicBezTo>
                          <a:pt x="36" y="271"/>
                          <a:pt x="0" y="373"/>
                          <a:pt x="99" y="402"/>
                        </a:cubicBezTo>
                        <a:cubicBezTo>
                          <a:pt x="122" y="409"/>
                          <a:pt x="136" y="401"/>
                          <a:pt x="156" y="413"/>
                        </a:cubicBezTo>
                        <a:cubicBezTo>
                          <a:pt x="190" y="435"/>
                          <a:pt x="167" y="433"/>
                          <a:pt x="183" y="465"/>
                        </a:cubicBezTo>
                        <a:cubicBezTo>
                          <a:pt x="202" y="505"/>
                          <a:pt x="221" y="523"/>
                          <a:pt x="261" y="538"/>
                        </a:cubicBezTo>
                        <a:cubicBezTo>
                          <a:pt x="323" y="562"/>
                          <a:pt x="501" y="604"/>
                          <a:pt x="532" y="527"/>
                        </a:cubicBezTo>
                        <a:cubicBezTo>
                          <a:pt x="559" y="459"/>
                          <a:pt x="449" y="364"/>
                          <a:pt x="409" y="317"/>
                        </a:cubicBezTo>
                        <a:cubicBezTo>
                          <a:pt x="375" y="277"/>
                          <a:pt x="361" y="259"/>
                          <a:pt x="341" y="212"/>
                        </a:cubicBezTo>
                        <a:cubicBezTo>
                          <a:pt x="323" y="171"/>
                          <a:pt x="292" y="106"/>
                          <a:pt x="257" y="77"/>
                        </a:cubicBezTo>
                        <a:cubicBezTo>
                          <a:pt x="168" y="0"/>
                          <a:pt x="73" y="105"/>
                          <a:pt x="48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0" name="Freeform 83"/>
                  <p:cNvSpPr>
                    <a:spLocks/>
                  </p:cNvSpPr>
                  <p:nvPr/>
                </p:nvSpPr>
                <p:spPr bwMode="gray">
                  <a:xfrm>
                    <a:off x="-1706563" y="61913"/>
                    <a:ext cx="382588" cy="393700"/>
                  </a:xfrm>
                  <a:custGeom>
                    <a:avLst/>
                    <a:gdLst/>
                    <a:ahLst/>
                    <a:cxnLst>
                      <a:cxn ang="0">
                        <a:pos x="31" y="41"/>
                      </a:cxn>
                      <a:cxn ang="0">
                        <a:pos x="2" y="74"/>
                      </a:cxn>
                      <a:cxn ang="0">
                        <a:pos x="30" y="76"/>
                      </a:cxn>
                      <a:cxn ang="0">
                        <a:pos x="31" y="91"/>
                      </a:cxn>
                      <a:cxn ang="0">
                        <a:pos x="31" y="45"/>
                      </a:cxn>
                    </a:cxnLst>
                    <a:rect l="0" t="0" r="r" b="b"/>
                    <a:pathLst>
                      <a:path w="102" h="105">
                        <a:moveTo>
                          <a:pt x="31" y="41"/>
                        </a:moveTo>
                        <a:cubicBezTo>
                          <a:pt x="12" y="42"/>
                          <a:pt x="0" y="55"/>
                          <a:pt x="2" y="74"/>
                        </a:cubicBezTo>
                        <a:cubicBezTo>
                          <a:pt x="10" y="72"/>
                          <a:pt x="22" y="77"/>
                          <a:pt x="30" y="76"/>
                        </a:cubicBezTo>
                        <a:cubicBezTo>
                          <a:pt x="30" y="80"/>
                          <a:pt x="31" y="86"/>
                          <a:pt x="31" y="91"/>
                        </a:cubicBezTo>
                        <a:cubicBezTo>
                          <a:pt x="102" y="105"/>
                          <a:pt x="90" y="0"/>
                          <a:pt x="31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1" name="Freeform 84"/>
                  <p:cNvSpPr>
                    <a:spLocks/>
                  </p:cNvSpPr>
                  <p:nvPr/>
                </p:nvSpPr>
                <p:spPr bwMode="gray">
                  <a:xfrm>
                    <a:off x="-1651000" y="249238"/>
                    <a:ext cx="1304925" cy="495300"/>
                  </a:xfrm>
                  <a:custGeom>
                    <a:avLst/>
                    <a:gdLst/>
                    <a:ahLst/>
                    <a:cxnLst>
                      <a:cxn ang="0">
                        <a:pos x="315" y="16"/>
                      </a:cxn>
                      <a:cxn ang="0">
                        <a:pos x="146" y="79"/>
                      </a:cxn>
                      <a:cxn ang="0">
                        <a:pos x="0" y="131"/>
                      </a:cxn>
                      <a:cxn ang="0">
                        <a:pos x="167" y="32"/>
                      </a:cxn>
                      <a:cxn ang="0">
                        <a:pos x="252" y="4"/>
                      </a:cxn>
                      <a:cxn ang="0">
                        <a:pos x="299" y="26"/>
                      </a:cxn>
                      <a:cxn ang="0">
                        <a:pos x="307" y="38"/>
                      </a:cxn>
                    </a:cxnLst>
                    <a:rect l="0" t="0" r="r" b="b"/>
                    <a:pathLst>
                      <a:path w="348" h="132">
                        <a:moveTo>
                          <a:pt x="315" y="16"/>
                        </a:moveTo>
                        <a:cubicBezTo>
                          <a:pt x="238" y="16"/>
                          <a:pt x="205" y="34"/>
                          <a:pt x="146" y="79"/>
                        </a:cubicBezTo>
                        <a:cubicBezTo>
                          <a:pt x="99" y="115"/>
                          <a:pt x="61" y="132"/>
                          <a:pt x="0" y="131"/>
                        </a:cubicBezTo>
                        <a:cubicBezTo>
                          <a:pt x="58" y="101"/>
                          <a:pt x="117" y="75"/>
                          <a:pt x="167" y="32"/>
                        </a:cubicBezTo>
                        <a:cubicBezTo>
                          <a:pt x="196" y="8"/>
                          <a:pt x="212" y="9"/>
                          <a:pt x="252" y="4"/>
                        </a:cubicBezTo>
                        <a:cubicBezTo>
                          <a:pt x="264" y="2"/>
                          <a:pt x="348" y="0"/>
                          <a:pt x="299" y="26"/>
                        </a:cubicBezTo>
                        <a:cubicBezTo>
                          <a:pt x="301" y="29"/>
                          <a:pt x="305" y="33"/>
                          <a:pt x="307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2" name="Freeform 85"/>
                  <p:cNvSpPr>
                    <a:spLocks/>
                  </p:cNvSpPr>
                  <p:nvPr/>
                </p:nvSpPr>
                <p:spPr bwMode="gray">
                  <a:xfrm>
                    <a:off x="1000125" y="419100"/>
                    <a:ext cx="949325" cy="911225"/>
                  </a:xfrm>
                  <a:custGeom>
                    <a:avLst/>
                    <a:gdLst/>
                    <a:ahLst/>
                    <a:cxnLst>
                      <a:cxn ang="0">
                        <a:pos x="35" y="35"/>
                      </a:cxn>
                      <a:cxn ang="0">
                        <a:pos x="68" y="106"/>
                      </a:cxn>
                      <a:cxn ang="0">
                        <a:pos x="10" y="135"/>
                      </a:cxn>
                      <a:cxn ang="0">
                        <a:pos x="72" y="162"/>
                      </a:cxn>
                      <a:cxn ang="0">
                        <a:pos x="187" y="220"/>
                      </a:cxn>
                      <a:cxn ang="0">
                        <a:pos x="135" y="124"/>
                      </a:cxn>
                      <a:cxn ang="0">
                        <a:pos x="55" y="10"/>
                      </a:cxn>
                      <a:cxn ang="0">
                        <a:pos x="14" y="14"/>
                      </a:cxn>
                    </a:cxnLst>
                    <a:rect l="0" t="0" r="r" b="b"/>
                    <a:pathLst>
                      <a:path w="253" h="243">
                        <a:moveTo>
                          <a:pt x="35" y="35"/>
                        </a:moveTo>
                        <a:cubicBezTo>
                          <a:pt x="52" y="54"/>
                          <a:pt x="67" y="81"/>
                          <a:pt x="68" y="106"/>
                        </a:cubicBezTo>
                        <a:cubicBezTo>
                          <a:pt x="50" y="105"/>
                          <a:pt x="0" y="104"/>
                          <a:pt x="10" y="135"/>
                        </a:cubicBezTo>
                        <a:cubicBezTo>
                          <a:pt x="15" y="150"/>
                          <a:pt x="61" y="156"/>
                          <a:pt x="72" y="162"/>
                        </a:cubicBezTo>
                        <a:cubicBezTo>
                          <a:pt x="102" y="180"/>
                          <a:pt x="143" y="243"/>
                          <a:pt x="187" y="220"/>
                        </a:cubicBezTo>
                        <a:cubicBezTo>
                          <a:pt x="253" y="185"/>
                          <a:pt x="156" y="138"/>
                          <a:pt x="135" y="124"/>
                        </a:cubicBezTo>
                        <a:cubicBezTo>
                          <a:pt x="96" y="98"/>
                          <a:pt x="79" y="53"/>
                          <a:pt x="55" y="10"/>
                        </a:cubicBezTo>
                        <a:cubicBezTo>
                          <a:pt x="40" y="5"/>
                          <a:pt x="21" y="0"/>
                          <a:pt x="14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3" name="Freeform 86"/>
                  <p:cNvSpPr>
                    <a:spLocks/>
                  </p:cNvSpPr>
                  <p:nvPr/>
                </p:nvSpPr>
                <p:spPr bwMode="gray">
                  <a:xfrm>
                    <a:off x="47625" y="452438"/>
                    <a:ext cx="809625" cy="919163"/>
                  </a:xfrm>
                  <a:custGeom>
                    <a:avLst/>
                    <a:gdLst/>
                    <a:ahLst/>
                    <a:cxnLst>
                      <a:cxn ang="0">
                        <a:pos x="36" y="13"/>
                      </a:cxn>
                      <a:cxn ang="0">
                        <a:pos x="216" y="237"/>
                      </a:cxn>
                      <a:cxn ang="0">
                        <a:pos x="108" y="13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216" h="245">
                        <a:moveTo>
                          <a:pt x="36" y="13"/>
                        </a:moveTo>
                        <a:cubicBezTo>
                          <a:pt x="156" y="33"/>
                          <a:pt x="104" y="200"/>
                          <a:pt x="216" y="237"/>
                        </a:cubicBezTo>
                        <a:cubicBezTo>
                          <a:pt x="163" y="245"/>
                          <a:pt x="127" y="165"/>
                          <a:pt x="108" y="130"/>
                        </a:cubicBezTo>
                        <a:cubicBezTo>
                          <a:pt x="94" y="104"/>
                          <a:pt x="0" y="23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4" name="Freeform 87"/>
                  <p:cNvSpPr>
                    <a:spLocks/>
                  </p:cNvSpPr>
                  <p:nvPr/>
                </p:nvSpPr>
                <p:spPr bwMode="gray">
                  <a:xfrm>
                    <a:off x="1427163" y="1300163"/>
                    <a:ext cx="180975" cy="130175"/>
                  </a:xfrm>
                  <a:custGeom>
                    <a:avLst/>
                    <a:gdLst/>
                    <a:ahLst/>
                    <a:cxnLst>
                      <a:cxn ang="0">
                        <a:pos x="31" y="2"/>
                      </a:cxn>
                      <a:cxn ang="0">
                        <a:pos x="2" y="3"/>
                      </a:cxn>
                      <a:cxn ang="0">
                        <a:pos x="43" y="31"/>
                      </a:cxn>
                      <a:cxn ang="0">
                        <a:pos x="47" y="7"/>
                      </a:cxn>
                      <a:cxn ang="0">
                        <a:pos x="35" y="2"/>
                      </a:cxn>
                    </a:cxnLst>
                    <a:rect l="0" t="0" r="r" b="b"/>
                    <a:pathLst>
                      <a:path w="48" h="35">
                        <a:moveTo>
                          <a:pt x="31" y="2"/>
                        </a:moveTo>
                        <a:cubicBezTo>
                          <a:pt x="22" y="0"/>
                          <a:pt x="10" y="2"/>
                          <a:pt x="2" y="3"/>
                        </a:cubicBezTo>
                        <a:cubicBezTo>
                          <a:pt x="0" y="27"/>
                          <a:pt x="21" y="35"/>
                          <a:pt x="43" y="31"/>
                        </a:cubicBezTo>
                        <a:cubicBezTo>
                          <a:pt x="47" y="24"/>
                          <a:pt x="48" y="16"/>
                          <a:pt x="47" y="7"/>
                        </a:cubicBezTo>
                        <a:cubicBezTo>
                          <a:pt x="40" y="9"/>
                          <a:pt x="38" y="4"/>
                          <a:pt x="35" y="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5" name="Freeform 88"/>
                  <p:cNvSpPr>
                    <a:spLocks/>
                  </p:cNvSpPr>
                  <p:nvPr/>
                </p:nvSpPr>
                <p:spPr bwMode="gray">
                  <a:xfrm>
                    <a:off x="614363" y="265113"/>
                    <a:ext cx="280988" cy="330200"/>
                  </a:xfrm>
                  <a:custGeom>
                    <a:avLst/>
                    <a:gdLst/>
                    <a:ahLst/>
                    <a:cxnLst>
                      <a:cxn ang="0">
                        <a:pos x="62" y="4"/>
                      </a:cxn>
                      <a:cxn ang="0">
                        <a:pos x="41" y="5"/>
                      </a:cxn>
                      <a:cxn ang="0">
                        <a:pos x="53" y="88"/>
                      </a:cxn>
                      <a:cxn ang="0">
                        <a:pos x="50" y="38"/>
                      </a:cxn>
                      <a:cxn ang="0">
                        <a:pos x="58" y="0"/>
                      </a:cxn>
                    </a:cxnLst>
                    <a:rect l="0" t="0" r="r" b="b"/>
                    <a:pathLst>
                      <a:path w="75" h="88">
                        <a:moveTo>
                          <a:pt x="62" y="4"/>
                        </a:moveTo>
                        <a:cubicBezTo>
                          <a:pt x="56" y="3"/>
                          <a:pt x="48" y="4"/>
                          <a:pt x="41" y="5"/>
                        </a:cubicBezTo>
                        <a:cubicBezTo>
                          <a:pt x="46" y="28"/>
                          <a:pt x="0" y="86"/>
                          <a:pt x="53" y="88"/>
                        </a:cubicBezTo>
                        <a:cubicBezTo>
                          <a:pt x="56" y="71"/>
                          <a:pt x="53" y="53"/>
                          <a:pt x="50" y="38"/>
                        </a:cubicBezTo>
                        <a:cubicBezTo>
                          <a:pt x="72" y="33"/>
                          <a:pt x="75" y="13"/>
                          <a:pt x="5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6" name="Freeform 89"/>
                  <p:cNvSpPr>
                    <a:spLocks/>
                  </p:cNvSpPr>
                  <p:nvPr/>
                </p:nvSpPr>
                <p:spPr bwMode="gray">
                  <a:xfrm>
                    <a:off x="-2847975" y="-150812"/>
                    <a:ext cx="1328738" cy="963613"/>
                  </a:xfrm>
                  <a:custGeom>
                    <a:avLst/>
                    <a:gdLst/>
                    <a:ahLst/>
                    <a:cxnLst>
                      <a:cxn ang="0">
                        <a:pos x="39" y="233"/>
                      </a:cxn>
                      <a:cxn ang="0">
                        <a:pos x="179" y="201"/>
                      </a:cxn>
                      <a:cxn ang="0">
                        <a:pos x="271" y="132"/>
                      </a:cxn>
                      <a:cxn ang="0">
                        <a:pos x="259" y="131"/>
                      </a:cxn>
                      <a:cxn ang="0">
                        <a:pos x="329" y="23"/>
                      </a:cxn>
                      <a:cxn ang="0">
                        <a:pos x="230" y="112"/>
                      </a:cxn>
                      <a:cxn ang="0">
                        <a:pos x="98" y="195"/>
                      </a:cxn>
                      <a:cxn ang="0">
                        <a:pos x="27" y="217"/>
                      </a:cxn>
                      <a:cxn ang="0">
                        <a:pos x="52" y="242"/>
                      </a:cxn>
                    </a:cxnLst>
                    <a:rect l="0" t="0" r="r" b="b"/>
                    <a:pathLst>
                      <a:path w="354" h="257">
                        <a:moveTo>
                          <a:pt x="39" y="233"/>
                        </a:moveTo>
                        <a:cubicBezTo>
                          <a:pt x="93" y="233"/>
                          <a:pt x="133" y="229"/>
                          <a:pt x="179" y="201"/>
                        </a:cubicBezTo>
                        <a:cubicBezTo>
                          <a:pt x="210" y="182"/>
                          <a:pt x="274" y="175"/>
                          <a:pt x="271" y="132"/>
                        </a:cubicBezTo>
                        <a:cubicBezTo>
                          <a:pt x="267" y="131"/>
                          <a:pt x="263" y="132"/>
                          <a:pt x="259" y="131"/>
                        </a:cubicBezTo>
                        <a:cubicBezTo>
                          <a:pt x="257" y="108"/>
                          <a:pt x="354" y="52"/>
                          <a:pt x="329" y="23"/>
                        </a:cubicBezTo>
                        <a:cubicBezTo>
                          <a:pt x="310" y="0"/>
                          <a:pt x="240" y="96"/>
                          <a:pt x="230" y="112"/>
                        </a:cubicBezTo>
                        <a:cubicBezTo>
                          <a:pt x="199" y="158"/>
                          <a:pt x="149" y="179"/>
                          <a:pt x="98" y="195"/>
                        </a:cubicBezTo>
                        <a:cubicBezTo>
                          <a:pt x="80" y="201"/>
                          <a:pt x="40" y="205"/>
                          <a:pt x="27" y="217"/>
                        </a:cubicBezTo>
                        <a:cubicBezTo>
                          <a:pt x="0" y="241"/>
                          <a:pt x="21" y="257"/>
                          <a:pt x="52" y="2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7" name="Freeform 90"/>
                  <p:cNvSpPr>
                    <a:spLocks/>
                  </p:cNvSpPr>
                  <p:nvPr/>
                </p:nvSpPr>
                <p:spPr bwMode="gray">
                  <a:xfrm>
                    <a:off x="-3046413" y="-11569700"/>
                    <a:ext cx="4418013" cy="12044363"/>
                  </a:xfrm>
                  <a:custGeom>
                    <a:avLst/>
                    <a:gdLst/>
                    <a:ahLst/>
                    <a:cxnLst>
                      <a:cxn ang="0">
                        <a:pos x="55" y="151"/>
                      </a:cxn>
                      <a:cxn ang="0">
                        <a:pos x="78" y="281"/>
                      </a:cxn>
                      <a:cxn ang="0">
                        <a:pos x="37" y="382"/>
                      </a:cxn>
                      <a:cxn ang="0">
                        <a:pos x="33" y="686"/>
                      </a:cxn>
                      <a:cxn ang="0">
                        <a:pos x="72" y="1082"/>
                      </a:cxn>
                      <a:cxn ang="0">
                        <a:pos x="100" y="1473"/>
                      </a:cxn>
                      <a:cxn ang="0">
                        <a:pos x="203" y="2087"/>
                      </a:cxn>
                      <a:cxn ang="0">
                        <a:pos x="268" y="2377"/>
                      </a:cxn>
                      <a:cxn ang="0">
                        <a:pos x="331" y="2676"/>
                      </a:cxn>
                      <a:cxn ang="0">
                        <a:pos x="331" y="2712"/>
                      </a:cxn>
                      <a:cxn ang="0">
                        <a:pos x="360" y="2865"/>
                      </a:cxn>
                      <a:cxn ang="0">
                        <a:pos x="398" y="3028"/>
                      </a:cxn>
                      <a:cxn ang="0">
                        <a:pos x="465" y="3046"/>
                      </a:cxn>
                      <a:cxn ang="0">
                        <a:pos x="551" y="3097"/>
                      </a:cxn>
                      <a:cxn ang="0">
                        <a:pos x="746" y="3164"/>
                      </a:cxn>
                      <a:cxn ang="0">
                        <a:pos x="765" y="2895"/>
                      </a:cxn>
                      <a:cxn ang="0">
                        <a:pos x="699" y="2595"/>
                      </a:cxn>
                      <a:cxn ang="0">
                        <a:pos x="664" y="2318"/>
                      </a:cxn>
                      <a:cxn ang="0">
                        <a:pos x="668" y="2009"/>
                      </a:cxn>
                      <a:cxn ang="0">
                        <a:pos x="635" y="1824"/>
                      </a:cxn>
                      <a:cxn ang="0">
                        <a:pos x="658" y="1638"/>
                      </a:cxn>
                      <a:cxn ang="0">
                        <a:pos x="613" y="1458"/>
                      </a:cxn>
                      <a:cxn ang="0">
                        <a:pos x="614" y="1261"/>
                      </a:cxn>
                      <a:cxn ang="0">
                        <a:pos x="681" y="1356"/>
                      </a:cxn>
                      <a:cxn ang="0">
                        <a:pos x="699" y="1501"/>
                      </a:cxn>
                      <a:cxn ang="0">
                        <a:pos x="742" y="1767"/>
                      </a:cxn>
                      <a:cxn ang="0">
                        <a:pos x="709" y="2110"/>
                      </a:cxn>
                      <a:cxn ang="0">
                        <a:pos x="720" y="2437"/>
                      </a:cxn>
                      <a:cxn ang="0">
                        <a:pos x="708" y="2657"/>
                      </a:cxn>
                      <a:cxn ang="0">
                        <a:pos x="681" y="2858"/>
                      </a:cxn>
                      <a:cxn ang="0">
                        <a:pos x="761" y="3062"/>
                      </a:cxn>
                      <a:cxn ang="0">
                        <a:pos x="888" y="3206"/>
                      </a:cxn>
                      <a:cxn ang="0">
                        <a:pos x="1108" y="3109"/>
                      </a:cxn>
                      <a:cxn ang="0">
                        <a:pos x="1125" y="2843"/>
                      </a:cxn>
                      <a:cxn ang="0">
                        <a:pos x="1125" y="2765"/>
                      </a:cxn>
                      <a:cxn ang="0">
                        <a:pos x="1108" y="2702"/>
                      </a:cxn>
                      <a:cxn ang="0">
                        <a:pos x="1148" y="2578"/>
                      </a:cxn>
                      <a:cxn ang="0">
                        <a:pos x="1148" y="2229"/>
                      </a:cxn>
                      <a:cxn ang="0">
                        <a:pos x="1153" y="2071"/>
                      </a:cxn>
                      <a:cxn ang="0">
                        <a:pos x="1125" y="1914"/>
                      </a:cxn>
                      <a:cxn ang="0">
                        <a:pos x="1148" y="1587"/>
                      </a:cxn>
                      <a:cxn ang="0">
                        <a:pos x="1142" y="1282"/>
                      </a:cxn>
                      <a:cxn ang="0">
                        <a:pos x="1153" y="1092"/>
                      </a:cxn>
                      <a:cxn ang="0">
                        <a:pos x="1125" y="911"/>
                      </a:cxn>
                      <a:cxn ang="0">
                        <a:pos x="1107" y="541"/>
                      </a:cxn>
                      <a:cxn ang="0">
                        <a:pos x="1024" y="168"/>
                      </a:cxn>
                      <a:cxn ang="0">
                        <a:pos x="731" y="17"/>
                      </a:cxn>
                      <a:cxn ang="0">
                        <a:pos x="152" y="79"/>
                      </a:cxn>
                      <a:cxn ang="0">
                        <a:pos x="72" y="151"/>
                      </a:cxn>
                    </a:cxnLst>
                    <a:rect l="0" t="0" r="r" b="b"/>
                    <a:pathLst>
                      <a:path w="1178" h="3212">
                        <a:moveTo>
                          <a:pt x="55" y="151"/>
                        </a:moveTo>
                        <a:cubicBezTo>
                          <a:pt x="49" y="196"/>
                          <a:pt x="81" y="231"/>
                          <a:pt x="78" y="281"/>
                        </a:cubicBezTo>
                        <a:cubicBezTo>
                          <a:pt x="75" y="326"/>
                          <a:pt x="52" y="346"/>
                          <a:pt x="37" y="382"/>
                        </a:cubicBezTo>
                        <a:cubicBezTo>
                          <a:pt x="0" y="468"/>
                          <a:pt x="24" y="594"/>
                          <a:pt x="33" y="686"/>
                        </a:cubicBezTo>
                        <a:cubicBezTo>
                          <a:pt x="45" y="819"/>
                          <a:pt x="58" y="950"/>
                          <a:pt x="72" y="1082"/>
                        </a:cubicBezTo>
                        <a:cubicBezTo>
                          <a:pt x="86" y="1213"/>
                          <a:pt x="107" y="1338"/>
                          <a:pt x="100" y="1473"/>
                        </a:cubicBezTo>
                        <a:cubicBezTo>
                          <a:pt x="90" y="1687"/>
                          <a:pt x="167" y="1885"/>
                          <a:pt x="203" y="2087"/>
                        </a:cubicBezTo>
                        <a:cubicBezTo>
                          <a:pt x="221" y="2184"/>
                          <a:pt x="253" y="2275"/>
                          <a:pt x="268" y="2377"/>
                        </a:cubicBezTo>
                        <a:cubicBezTo>
                          <a:pt x="282" y="2471"/>
                          <a:pt x="342" y="2574"/>
                          <a:pt x="331" y="2676"/>
                        </a:cubicBezTo>
                        <a:cubicBezTo>
                          <a:pt x="330" y="2688"/>
                          <a:pt x="331" y="2700"/>
                          <a:pt x="331" y="2712"/>
                        </a:cubicBezTo>
                        <a:cubicBezTo>
                          <a:pt x="268" y="2741"/>
                          <a:pt x="351" y="2832"/>
                          <a:pt x="360" y="2865"/>
                        </a:cubicBezTo>
                        <a:cubicBezTo>
                          <a:pt x="375" y="2925"/>
                          <a:pt x="339" y="2982"/>
                          <a:pt x="398" y="3028"/>
                        </a:cubicBezTo>
                        <a:cubicBezTo>
                          <a:pt x="420" y="3045"/>
                          <a:pt x="440" y="3037"/>
                          <a:pt x="465" y="3046"/>
                        </a:cubicBezTo>
                        <a:cubicBezTo>
                          <a:pt x="487" y="3054"/>
                          <a:pt x="527" y="3085"/>
                          <a:pt x="551" y="3097"/>
                        </a:cubicBezTo>
                        <a:cubicBezTo>
                          <a:pt x="609" y="3126"/>
                          <a:pt x="681" y="3156"/>
                          <a:pt x="746" y="3164"/>
                        </a:cubicBezTo>
                        <a:cubicBezTo>
                          <a:pt x="725" y="3072"/>
                          <a:pt x="773" y="2987"/>
                          <a:pt x="765" y="2895"/>
                        </a:cubicBezTo>
                        <a:cubicBezTo>
                          <a:pt x="757" y="2795"/>
                          <a:pt x="726" y="2690"/>
                          <a:pt x="699" y="2595"/>
                        </a:cubicBezTo>
                        <a:cubicBezTo>
                          <a:pt x="673" y="2503"/>
                          <a:pt x="654" y="2417"/>
                          <a:pt x="664" y="2318"/>
                        </a:cubicBezTo>
                        <a:cubicBezTo>
                          <a:pt x="673" y="2225"/>
                          <a:pt x="695" y="2102"/>
                          <a:pt x="668" y="2009"/>
                        </a:cubicBezTo>
                        <a:cubicBezTo>
                          <a:pt x="650" y="1949"/>
                          <a:pt x="625" y="1893"/>
                          <a:pt x="635" y="1824"/>
                        </a:cubicBezTo>
                        <a:cubicBezTo>
                          <a:pt x="646" y="1757"/>
                          <a:pt x="672" y="1710"/>
                          <a:pt x="658" y="1638"/>
                        </a:cubicBezTo>
                        <a:cubicBezTo>
                          <a:pt x="645" y="1572"/>
                          <a:pt x="613" y="1532"/>
                          <a:pt x="613" y="1458"/>
                        </a:cubicBezTo>
                        <a:cubicBezTo>
                          <a:pt x="613" y="1392"/>
                          <a:pt x="610" y="1326"/>
                          <a:pt x="614" y="1261"/>
                        </a:cubicBezTo>
                        <a:cubicBezTo>
                          <a:pt x="645" y="1296"/>
                          <a:pt x="669" y="1309"/>
                          <a:pt x="681" y="1356"/>
                        </a:cubicBezTo>
                        <a:cubicBezTo>
                          <a:pt x="693" y="1402"/>
                          <a:pt x="692" y="1455"/>
                          <a:pt x="699" y="1501"/>
                        </a:cubicBezTo>
                        <a:cubicBezTo>
                          <a:pt x="712" y="1593"/>
                          <a:pt x="742" y="1668"/>
                          <a:pt x="742" y="1767"/>
                        </a:cubicBezTo>
                        <a:cubicBezTo>
                          <a:pt x="742" y="1887"/>
                          <a:pt x="727" y="1996"/>
                          <a:pt x="709" y="2110"/>
                        </a:cubicBezTo>
                        <a:cubicBezTo>
                          <a:pt x="692" y="2218"/>
                          <a:pt x="720" y="2327"/>
                          <a:pt x="720" y="2437"/>
                        </a:cubicBezTo>
                        <a:cubicBezTo>
                          <a:pt x="720" y="2509"/>
                          <a:pt x="719" y="2585"/>
                          <a:pt x="708" y="2657"/>
                        </a:cubicBezTo>
                        <a:cubicBezTo>
                          <a:pt x="698" y="2726"/>
                          <a:pt x="676" y="2784"/>
                          <a:pt x="681" y="2858"/>
                        </a:cubicBezTo>
                        <a:cubicBezTo>
                          <a:pt x="685" y="2936"/>
                          <a:pt x="733" y="2993"/>
                          <a:pt x="761" y="3062"/>
                        </a:cubicBezTo>
                        <a:cubicBezTo>
                          <a:pt x="779" y="3106"/>
                          <a:pt x="832" y="3212"/>
                          <a:pt x="888" y="3206"/>
                        </a:cubicBezTo>
                        <a:cubicBezTo>
                          <a:pt x="920" y="3108"/>
                          <a:pt x="1051" y="3169"/>
                          <a:pt x="1108" y="3109"/>
                        </a:cubicBezTo>
                        <a:cubicBezTo>
                          <a:pt x="1178" y="3035"/>
                          <a:pt x="1133" y="2934"/>
                          <a:pt x="1125" y="2843"/>
                        </a:cubicBezTo>
                        <a:cubicBezTo>
                          <a:pt x="1123" y="2817"/>
                          <a:pt x="1129" y="2790"/>
                          <a:pt x="1125" y="2765"/>
                        </a:cubicBezTo>
                        <a:cubicBezTo>
                          <a:pt x="1122" y="2744"/>
                          <a:pt x="1107" y="2723"/>
                          <a:pt x="1108" y="2702"/>
                        </a:cubicBezTo>
                        <a:cubicBezTo>
                          <a:pt x="1111" y="2665"/>
                          <a:pt x="1139" y="2616"/>
                          <a:pt x="1148" y="2578"/>
                        </a:cubicBezTo>
                        <a:cubicBezTo>
                          <a:pt x="1175" y="2463"/>
                          <a:pt x="1153" y="2350"/>
                          <a:pt x="1148" y="2229"/>
                        </a:cubicBezTo>
                        <a:cubicBezTo>
                          <a:pt x="1145" y="2175"/>
                          <a:pt x="1151" y="2124"/>
                          <a:pt x="1153" y="2071"/>
                        </a:cubicBezTo>
                        <a:cubicBezTo>
                          <a:pt x="1156" y="2014"/>
                          <a:pt x="1131" y="1968"/>
                          <a:pt x="1125" y="1914"/>
                        </a:cubicBezTo>
                        <a:cubicBezTo>
                          <a:pt x="1112" y="1802"/>
                          <a:pt x="1143" y="1694"/>
                          <a:pt x="1148" y="1587"/>
                        </a:cubicBezTo>
                        <a:cubicBezTo>
                          <a:pt x="1153" y="1484"/>
                          <a:pt x="1137" y="1386"/>
                          <a:pt x="1142" y="1282"/>
                        </a:cubicBezTo>
                        <a:cubicBezTo>
                          <a:pt x="1145" y="1218"/>
                          <a:pt x="1154" y="1157"/>
                          <a:pt x="1153" y="1092"/>
                        </a:cubicBezTo>
                        <a:cubicBezTo>
                          <a:pt x="1153" y="1028"/>
                          <a:pt x="1131" y="969"/>
                          <a:pt x="1125" y="911"/>
                        </a:cubicBezTo>
                        <a:cubicBezTo>
                          <a:pt x="1114" y="786"/>
                          <a:pt x="1151" y="664"/>
                          <a:pt x="1107" y="541"/>
                        </a:cubicBezTo>
                        <a:cubicBezTo>
                          <a:pt x="1063" y="418"/>
                          <a:pt x="1051" y="297"/>
                          <a:pt x="1024" y="168"/>
                        </a:cubicBezTo>
                        <a:cubicBezTo>
                          <a:pt x="1000" y="52"/>
                          <a:pt x="839" y="26"/>
                          <a:pt x="731" y="17"/>
                        </a:cubicBezTo>
                        <a:cubicBezTo>
                          <a:pt x="534" y="0"/>
                          <a:pt x="335" y="29"/>
                          <a:pt x="152" y="79"/>
                        </a:cubicBezTo>
                        <a:cubicBezTo>
                          <a:pt x="146" y="114"/>
                          <a:pt x="107" y="143"/>
                          <a:pt x="72" y="15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8" name="Freeform 91"/>
                  <p:cNvSpPr>
                    <a:spLocks/>
                  </p:cNvSpPr>
                  <p:nvPr/>
                </p:nvSpPr>
                <p:spPr bwMode="gray">
                  <a:xfrm>
                    <a:off x="-2055813" y="-18129250"/>
                    <a:ext cx="1924050" cy="2647950"/>
                  </a:xfrm>
                  <a:custGeom>
                    <a:avLst/>
                    <a:gdLst/>
                    <a:ahLst/>
                    <a:cxnLst>
                      <a:cxn ang="0">
                        <a:pos x="122" y="205"/>
                      </a:cxn>
                      <a:cxn ang="0">
                        <a:pos x="141" y="437"/>
                      </a:cxn>
                      <a:cxn ang="0">
                        <a:pos x="214" y="683"/>
                      </a:cxn>
                      <a:cxn ang="0">
                        <a:pos x="488" y="510"/>
                      </a:cxn>
                      <a:cxn ang="0">
                        <a:pos x="407" y="124"/>
                      </a:cxn>
                      <a:cxn ang="0">
                        <a:pos x="143" y="184"/>
                      </a:cxn>
                    </a:cxnLst>
                    <a:rect l="0" t="0" r="r" b="b"/>
                    <a:pathLst>
                      <a:path w="513" h="706">
                        <a:moveTo>
                          <a:pt x="122" y="205"/>
                        </a:moveTo>
                        <a:cubicBezTo>
                          <a:pt x="137" y="280"/>
                          <a:pt x="146" y="354"/>
                          <a:pt x="141" y="437"/>
                        </a:cubicBezTo>
                        <a:cubicBezTo>
                          <a:pt x="0" y="522"/>
                          <a:pt x="74" y="660"/>
                          <a:pt x="214" y="683"/>
                        </a:cubicBezTo>
                        <a:cubicBezTo>
                          <a:pt x="351" y="706"/>
                          <a:pt x="455" y="646"/>
                          <a:pt x="488" y="510"/>
                        </a:cubicBezTo>
                        <a:cubicBezTo>
                          <a:pt x="513" y="407"/>
                          <a:pt x="455" y="214"/>
                          <a:pt x="407" y="124"/>
                        </a:cubicBezTo>
                        <a:cubicBezTo>
                          <a:pt x="342" y="0"/>
                          <a:pt x="146" y="43"/>
                          <a:pt x="143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19" name="Freeform 92"/>
                  <p:cNvSpPr>
                    <a:spLocks/>
                  </p:cNvSpPr>
                  <p:nvPr/>
                </p:nvSpPr>
                <p:spPr bwMode="gray">
                  <a:xfrm>
                    <a:off x="-409575" y="-17097375"/>
                    <a:ext cx="157163" cy="258763"/>
                  </a:xfrm>
                  <a:custGeom>
                    <a:avLst/>
                    <a:gdLst/>
                    <a:ahLst/>
                    <a:cxnLst>
                      <a:cxn ang="0">
                        <a:pos x="20" y="45"/>
                      </a:cxn>
                      <a:cxn ang="0">
                        <a:pos x="42" y="69"/>
                      </a:cxn>
                      <a:cxn ang="0">
                        <a:pos x="37" y="42"/>
                      </a:cxn>
                      <a:cxn ang="0">
                        <a:pos x="26" y="12"/>
                      </a:cxn>
                      <a:cxn ang="0">
                        <a:pos x="14" y="4"/>
                      </a:cxn>
                      <a:cxn ang="0">
                        <a:pos x="5" y="17"/>
                      </a:cxn>
                      <a:cxn ang="0">
                        <a:pos x="18" y="45"/>
                      </a:cxn>
                    </a:cxnLst>
                    <a:rect l="0" t="0" r="r" b="b"/>
                    <a:pathLst>
                      <a:path w="42" h="69">
                        <a:moveTo>
                          <a:pt x="20" y="45"/>
                        </a:moveTo>
                        <a:cubicBezTo>
                          <a:pt x="26" y="51"/>
                          <a:pt x="34" y="66"/>
                          <a:pt x="42" y="69"/>
                        </a:cubicBezTo>
                        <a:cubicBezTo>
                          <a:pt x="42" y="59"/>
                          <a:pt x="39" y="51"/>
                          <a:pt x="37" y="42"/>
                        </a:cubicBezTo>
                        <a:cubicBezTo>
                          <a:pt x="34" y="29"/>
                          <a:pt x="30" y="22"/>
                          <a:pt x="26" y="12"/>
                        </a:cubicBezTo>
                        <a:cubicBezTo>
                          <a:pt x="22" y="5"/>
                          <a:pt x="22" y="0"/>
                          <a:pt x="14" y="4"/>
                        </a:cubicBezTo>
                        <a:cubicBezTo>
                          <a:pt x="11" y="5"/>
                          <a:pt x="6" y="14"/>
                          <a:pt x="5" y="17"/>
                        </a:cubicBezTo>
                        <a:cubicBezTo>
                          <a:pt x="0" y="32"/>
                          <a:pt x="16" y="37"/>
                          <a:pt x="18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0" name="Freeform 93"/>
                  <p:cNvSpPr>
                    <a:spLocks/>
                  </p:cNvSpPr>
                  <p:nvPr/>
                </p:nvSpPr>
                <p:spPr bwMode="gray">
                  <a:xfrm>
                    <a:off x="-1587500" y="-17067212"/>
                    <a:ext cx="1296988" cy="76835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3" y="45"/>
                      </a:cxn>
                      <a:cxn ang="0">
                        <a:pos x="45" y="97"/>
                      </a:cxn>
                      <a:cxn ang="0">
                        <a:pos x="125" y="177"/>
                      </a:cxn>
                      <a:cxn ang="0">
                        <a:pos x="246" y="190"/>
                      </a:cxn>
                      <a:cxn ang="0">
                        <a:pos x="346" y="14"/>
                      </a:cxn>
                    </a:cxnLst>
                    <a:rect l="0" t="0" r="r" b="b"/>
                    <a:pathLst>
                      <a:path w="346" h="205">
                        <a:moveTo>
                          <a:pt x="0" y="0"/>
                        </a:moveTo>
                        <a:cubicBezTo>
                          <a:pt x="7" y="19"/>
                          <a:pt x="13" y="29"/>
                          <a:pt x="23" y="45"/>
                        </a:cubicBezTo>
                        <a:cubicBezTo>
                          <a:pt x="33" y="62"/>
                          <a:pt x="33" y="82"/>
                          <a:pt x="45" y="97"/>
                        </a:cubicBezTo>
                        <a:cubicBezTo>
                          <a:pt x="70" y="127"/>
                          <a:pt x="87" y="157"/>
                          <a:pt x="125" y="177"/>
                        </a:cubicBezTo>
                        <a:cubicBezTo>
                          <a:pt x="150" y="191"/>
                          <a:pt x="216" y="205"/>
                          <a:pt x="246" y="190"/>
                        </a:cubicBezTo>
                        <a:cubicBezTo>
                          <a:pt x="303" y="163"/>
                          <a:pt x="346" y="38"/>
                          <a:pt x="346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1" name="Freeform 94"/>
                  <p:cNvSpPr>
                    <a:spLocks/>
                  </p:cNvSpPr>
                  <p:nvPr/>
                </p:nvSpPr>
                <p:spPr bwMode="gray">
                  <a:xfrm>
                    <a:off x="-2055813" y="-19629437"/>
                    <a:ext cx="2047875" cy="3203575"/>
                  </a:xfrm>
                  <a:custGeom>
                    <a:avLst/>
                    <a:gdLst/>
                    <a:ahLst/>
                    <a:cxnLst>
                      <a:cxn ang="0">
                        <a:pos x="48" y="367"/>
                      </a:cxn>
                      <a:cxn ang="0">
                        <a:pos x="1" y="422"/>
                      </a:cxn>
                      <a:cxn ang="0">
                        <a:pos x="43" y="495"/>
                      </a:cxn>
                      <a:cxn ang="0">
                        <a:pos x="63" y="525"/>
                      </a:cxn>
                      <a:cxn ang="0">
                        <a:pos x="76" y="578"/>
                      </a:cxn>
                      <a:cxn ang="0">
                        <a:pos x="132" y="702"/>
                      </a:cxn>
                      <a:cxn ang="0">
                        <a:pos x="171" y="746"/>
                      </a:cxn>
                      <a:cxn ang="0">
                        <a:pos x="251" y="827"/>
                      </a:cxn>
                      <a:cxn ang="0">
                        <a:pos x="372" y="840"/>
                      </a:cxn>
                      <a:cxn ang="0">
                        <a:pos x="473" y="692"/>
                      </a:cxn>
                      <a:cxn ang="0">
                        <a:pos x="511" y="599"/>
                      </a:cxn>
                      <a:cxn ang="0">
                        <a:pos x="529" y="410"/>
                      </a:cxn>
                      <a:cxn ang="0">
                        <a:pos x="372" y="60"/>
                      </a:cxn>
                      <a:cxn ang="0">
                        <a:pos x="112" y="89"/>
                      </a:cxn>
                      <a:cxn ang="0">
                        <a:pos x="40" y="216"/>
                      </a:cxn>
                      <a:cxn ang="0">
                        <a:pos x="48" y="367"/>
                      </a:cxn>
                    </a:cxnLst>
                    <a:rect l="0" t="0" r="r" b="b"/>
                    <a:pathLst>
                      <a:path w="546" h="854">
                        <a:moveTo>
                          <a:pt x="48" y="367"/>
                        </a:moveTo>
                        <a:cubicBezTo>
                          <a:pt x="6" y="358"/>
                          <a:pt x="2" y="391"/>
                          <a:pt x="1" y="422"/>
                        </a:cubicBezTo>
                        <a:cubicBezTo>
                          <a:pt x="0" y="467"/>
                          <a:pt x="17" y="469"/>
                          <a:pt x="43" y="495"/>
                        </a:cubicBezTo>
                        <a:cubicBezTo>
                          <a:pt x="51" y="503"/>
                          <a:pt x="54" y="517"/>
                          <a:pt x="63" y="525"/>
                        </a:cubicBezTo>
                        <a:cubicBezTo>
                          <a:pt x="75" y="534"/>
                          <a:pt x="67" y="564"/>
                          <a:pt x="76" y="578"/>
                        </a:cubicBezTo>
                        <a:cubicBezTo>
                          <a:pt x="92" y="600"/>
                          <a:pt x="122" y="686"/>
                          <a:pt x="132" y="702"/>
                        </a:cubicBezTo>
                        <a:cubicBezTo>
                          <a:pt x="142" y="719"/>
                          <a:pt x="159" y="731"/>
                          <a:pt x="171" y="746"/>
                        </a:cubicBezTo>
                        <a:cubicBezTo>
                          <a:pt x="196" y="777"/>
                          <a:pt x="213" y="806"/>
                          <a:pt x="251" y="827"/>
                        </a:cubicBezTo>
                        <a:cubicBezTo>
                          <a:pt x="277" y="840"/>
                          <a:pt x="342" y="854"/>
                          <a:pt x="372" y="840"/>
                        </a:cubicBezTo>
                        <a:cubicBezTo>
                          <a:pt x="400" y="826"/>
                          <a:pt x="464" y="716"/>
                          <a:pt x="473" y="692"/>
                        </a:cubicBezTo>
                        <a:cubicBezTo>
                          <a:pt x="485" y="660"/>
                          <a:pt x="498" y="628"/>
                          <a:pt x="511" y="599"/>
                        </a:cubicBezTo>
                        <a:cubicBezTo>
                          <a:pt x="537" y="542"/>
                          <a:pt x="521" y="470"/>
                          <a:pt x="529" y="410"/>
                        </a:cubicBezTo>
                        <a:cubicBezTo>
                          <a:pt x="546" y="285"/>
                          <a:pt x="466" y="132"/>
                          <a:pt x="372" y="60"/>
                        </a:cubicBezTo>
                        <a:cubicBezTo>
                          <a:pt x="294" y="0"/>
                          <a:pt x="170" y="12"/>
                          <a:pt x="112" y="89"/>
                        </a:cubicBezTo>
                        <a:cubicBezTo>
                          <a:pt x="88" y="120"/>
                          <a:pt x="55" y="179"/>
                          <a:pt x="40" y="216"/>
                        </a:cubicBezTo>
                        <a:cubicBezTo>
                          <a:pt x="28" y="248"/>
                          <a:pt x="1" y="298"/>
                          <a:pt x="48" y="3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2" name="Freeform 95"/>
                  <p:cNvSpPr>
                    <a:spLocks/>
                  </p:cNvSpPr>
                  <p:nvPr/>
                </p:nvSpPr>
                <p:spPr bwMode="gray">
                  <a:xfrm>
                    <a:off x="-3870325" y="-16865596"/>
                    <a:ext cx="5691179" cy="6361109"/>
                  </a:xfrm>
                  <a:custGeom>
                    <a:avLst/>
                    <a:gdLst/>
                    <a:ahLst/>
                    <a:cxnLst>
                      <a:cxn ang="0">
                        <a:pos x="568" y="110"/>
                      </a:cxn>
                      <a:cxn ang="0">
                        <a:pos x="365" y="239"/>
                      </a:cxn>
                      <a:cxn ang="0">
                        <a:pos x="185" y="357"/>
                      </a:cxn>
                      <a:cxn ang="0">
                        <a:pos x="67" y="567"/>
                      </a:cxn>
                      <a:cxn ang="0">
                        <a:pos x="74" y="680"/>
                      </a:cxn>
                      <a:cxn ang="0">
                        <a:pos x="62" y="820"/>
                      </a:cxn>
                      <a:cxn ang="0">
                        <a:pos x="5" y="1011"/>
                      </a:cxn>
                      <a:cxn ang="0">
                        <a:pos x="16" y="1237"/>
                      </a:cxn>
                      <a:cxn ang="0">
                        <a:pos x="101" y="1406"/>
                      </a:cxn>
                      <a:cxn ang="0">
                        <a:pos x="264" y="1417"/>
                      </a:cxn>
                      <a:cxn ang="0">
                        <a:pos x="276" y="1591"/>
                      </a:cxn>
                      <a:cxn ang="0">
                        <a:pos x="731" y="1681"/>
                      </a:cxn>
                      <a:cxn ang="0">
                        <a:pos x="968" y="1655"/>
                      </a:cxn>
                      <a:cxn ang="0">
                        <a:pos x="1154" y="1631"/>
                      </a:cxn>
                      <a:cxn ang="0">
                        <a:pos x="1283" y="1569"/>
                      </a:cxn>
                      <a:cxn ang="0">
                        <a:pos x="1447" y="1147"/>
                      </a:cxn>
                      <a:cxn ang="0">
                        <a:pos x="1509" y="617"/>
                      </a:cxn>
                      <a:cxn ang="0">
                        <a:pos x="1492" y="398"/>
                      </a:cxn>
                      <a:cxn ang="0">
                        <a:pos x="1417" y="202"/>
                      </a:cxn>
                      <a:cxn ang="0">
                        <a:pos x="1014" y="53"/>
                      </a:cxn>
                      <a:cxn ang="0">
                        <a:pos x="745" y="222"/>
                      </a:cxn>
                      <a:cxn ang="0">
                        <a:pos x="608" y="70"/>
                      </a:cxn>
                      <a:cxn ang="0">
                        <a:pos x="535" y="133"/>
                      </a:cxn>
                    </a:cxnLst>
                    <a:rect l="0" t="0" r="r" b="b"/>
                    <a:pathLst>
                      <a:path w="1518" h="1696">
                        <a:moveTo>
                          <a:pt x="568" y="110"/>
                        </a:moveTo>
                        <a:cubicBezTo>
                          <a:pt x="491" y="130"/>
                          <a:pt x="436" y="199"/>
                          <a:pt x="365" y="239"/>
                        </a:cubicBezTo>
                        <a:cubicBezTo>
                          <a:pt x="303" y="273"/>
                          <a:pt x="246" y="311"/>
                          <a:pt x="185" y="357"/>
                        </a:cubicBezTo>
                        <a:cubicBezTo>
                          <a:pt x="127" y="401"/>
                          <a:pt x="49" y="492"/>
                          <a:pt x="67" y="567"/>
                        </a:cubicBezTo>
                        <a:cubicBezTo>
                          <a:pt x="79" y="619"/>
                          <a:pt x="85" y="626"/>
                          <a:pt x="74" y="680"/>
                        </a:cubicBezTo>
                        <a:cubicBezTo>
                          <a:pt x="65" y="726"/>
                          <a:pt x="69" y="773"/>
                          <a:pt x="62" y="820"/>
                        </a:cubicBezTo>
                        <a:cubicBezTo>
                          <a:pt x="52" y="884"/>
                          <a:pt x="11" y="945"/>
                          <a:pt x="5" y="1011"/>
                        </a:cubicBezTo>
                        <a:cubicBezTo>
                          <a:pt x="0" y="1079"/>
                          <a:pt x="9" y="1168"/>
                          <a:pt x="16" y="1237"/>
                        </a:cubicBezTo>
                        <a:cubicBezTo>
                          <a:pt x="22" y="1288"/>
                          <a:pt x="46" y="1388"/>
                          <a:pt x="101" y="1406"/>
                        </a:cubicBezTo>
                        <a:cubicBezTo>
                          <a:pt x="173" y="1429"/>
                          <a:pt x="202" y="1362"/>
                          <a:pt x="264" y="1417"/>
                        </a:cubicBezTo>
                        <a:cubicBezTo>
                          <a:pt x="255" y="1448"/>
                          <a:pt x="169" y="1479"/>
                          <a:pt x="276" y="1591"/>
                        </a:cubicBezTo>
                        <a:cubicBezTo>
                          <a:pt x="319" y="1637"/>
                          <a:pt x="670" y="1696"/>
                          <a:pt x="731" y="1681"/>
                        </a:cubicBezTo>
                        <a:cubicBezTo>
                          <a:pt x="804" y="1663"/>
                          <a:pt x="915" y="1665"/>
                          <a:pt x="968" y="1655"/>
                        </a:cubicBezTo>
                        <a:cubicBezTo>
                          <a:pt x="1014" y="1646"/>
                          <a:pt x="1154" y="1630"/>
                          <a:pt x="1154" y="1631"/>
                        </a:cubicBezTo>
                        <a:cubicBezTo>
                          <a:pt x="1151" y="1611"/>
                          <a:pt x="1278" y="1590"/>
                          <a:pt x="1283" y="1569"/>
                        </a:cubicBezTo>
                        <a:cubicBezTo>
                          <a:pt x="1362" y="1451"/>
                          <a:pt x="1355" y="1386"/>
                          <a:pt x="1447" y="1147"/>
                        </a:cubicBezTo>
                        <a:cubicBezTo>
                          <a:pt x="1509" y="985"/>
                          <a:pt x="1518" y="806"/>
                          <a:pt x="1509" y="617"/>
                        </a:cubicBezTo>
                        <a:cubicBezTo>
                          <a:pt x="1505" y="543"/>
                          <a:pt x="1492" y="476"/>
                          <a:pt x="1492" y="398"/>
                        </a:cubicBezTo>
                        <a:cubicBezTo>
                          <a:pt x="1492" y="311"/>
                          <a:pt x="1485" y="256"/>
                          <a:pt x="1417" y="202"/>
                        </a:cubicBezTo>
                        <a:cubicBezTo>
                          <a:pt x="1308" y="115"/>
                          <a:pt x="1156" y="67"/>
                          <a:pt x="1014" y="53"/>
                        </a:cubicBezTo>
                        <a:cubicBezTo>
                          <a:pt x="988" y="0"/>
                          <a:pt x="813" y="250"/>
                          <a:pt x="745" y="222"/>
                        </a:cubicBezTo>
                        <a:cubicBezTo>
                          <a:pt x="667" y="189"/>
                          <a:pt x="574" y="100"/>
                          <a:pt x="608" y="70"/>
                        </a:cubicBezTo>
                        <a:cubicBezTo>
                          <a:pt x="588" y="98"/>
                          <a:pt x="551" y="100"/>
                          <a:pt x="535" y="1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3" name="Freeform 96"/>
                  <p:cNvSpPr>
                    <a:spLocks/>
                  </p:cNvSpPr>
                  <p:nvPr/>
                </p:nvSpPr>
                <p:spPr bwMode="gray">
                  <a:xfrm>
                    <a:off x="-577850" y="-16665575"/>
                    <a:ext cx="1341438" cy="857250"/>
                  </a:xfrm>
                  <a:custGeom>
                    <a:avLst/>
                    <a:gdLst/>
                    <a:ahLst/>
                    <a:cxnLst>
                      <a:cxn ang="0">
                        <a:pos x="97" y="0"/>
                      </a:cxn>
                      <a:cxn ang="0">
                        <a:pos x="303" y="60"/>
                      </a:cxn>
                      <a:cxn ang="0">
                        <a:pos x="358" y="106"/>
                      </a:cxn>
                      <a:cxn ang="0">
                        <a:pos x="203" y="76"/>
                      </a:cxn>
                      <a:cxn ang="0">
                        <a:pos x="136" y="173"/>
                      </a:cxn>
                      <a:cxn ang="0">
                        <a:pos x="21" y="223"/>
                      </a:cxn>
                      <a:cxn ang="0">
                        <a:pos x="58" y="105"/>
                      </a:cxn>
                      <a:cxn ang="0">
                        <a:pos x="131" y="13"/>
                      </a:cxn>
                    </a:cxnLst>
                    <a:rect l="0" t="0" r="r" b="b"/>
                    <a:pathLst>
                      <a:path w="358" h="229">
                        <a:moveTo>
                          <a:pt x="97" y="0"/>
                        </a:moveTo>
                        <a:cubicBezTo>
                          <a:pt x="155" y="28"/>
                          <a:pt x="241" y="50"/>
                          <a:pt x="303" y="60"/>
                        </a:cubicBezTo>
                        <a:cubicBezTo>
                          <a:pt x="315" y="77"/>
                          <a:pt x="339" y="97"/>
                          <a:pt x="358" y="106"/>
                        </a:cubicBezTo>
                        <a:cubicBezTo>
                          <a:pt x="309" y="97"/>
                          <a:pt x="254" y="70"/>
                          <a:pt x="203" y="76"/>
                        </a:cubicBezTo>
                        <a:cubicBezTo>
                          <a:pt x="136" y="84"/>
                          <a:pt x="190" y="147"/>
                          <a:pt x="136" y="173"/>
                        </a:cubicBezTo>
                        <a:cubicBezTo>
                          <a:pt x="106" y="119"/>
                          <a:pt x="62" y="229"/>
                          <a:pt x="21" y="223"/>
                        </a:cubicBezTo>
                        <a:cubicBezTo>
                          <a:pt x="0" y="173"/>
                          <a:pt x="31" y="144"/>
                          <a:pt x="58" y="105"/>
                        </a:cubicBezTo>
                        <a:cubicBezTo>
                          <a:pt x="76" y="79"/>
                          <a:pt x="92" y="8"/>
                          <a:pt x="131" y="1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4" name="Freeform 97"/>
                  <p:cNvSpPr>
                    <a:spLocks/>
                  </p:cNvSpPr>
                  <p:nvPr/>
                </p:nvSpPr>
                <p:spPr bwMode="gray">
                  <a:xfrm>
                    <a:off x="-1238250" y="-13482637"/>
                    <a:ext cx="390525" cy="850900"/>
                  </a:xfrm>
                  <a:custGeom>
                    <a:avLst/>
                    <a:gdLst/>
                    <a:ahLst/>
                    <a:cxnLst>
                      <a:cxn ang="0">
                        <a:pos x="79" y="17"/>
                      </a:cxn>
                      <a:cxn ang="0">
                        <a:pos x="3" y="131"/>
                      </a:cxn>
                      <a:cxn ang="0">
                        <a:pos x="45" y="227"/>
                      </a:cxn>
                      <a:cxn ang="0">
                        <a:pos x="99" y="21"/>
                      </a:cxn>
                      <a:cxn ang="0">
                        <a:pos x="87" y="0"/>
                      </a:cxn>
                    </a:cxnLst>
                    <a:rect l="0" t="0" r="r" b="b"/>
                    <a:pathLst>
                      <a:path w="104" h="227">
                        <a:moveTo>
                          <a:pt x="79" y="17"/>
                        </a:moveTo>
                        <a:cubicBezTo>
                          <a:pt x="44" y="66"/>
                          <a:pt x="6" y="63"/>
                          <a:pt x="3" y="131"/>
                        </a:cubicBezTo>
                        <a:cubicBezTo>
                          <a:pt x="0" y="185"/>
                          <a:pt x="11" y="194"/>
                          <a:pt x="45" y="227"/>
                        </a:cubicBezTo>
                        <a:cubicBezTo>
                          <a:pt x="42" y="170"/>
                          <a:pt x="3" y="39"/>
                          <a:pt x="99" y="21"/>
                        </a:cubicBezTo>
                        <a:cubicBezTo>
                          <a:pt x="104" y="6"/>
                          <a:pt x="97" y="5"/>
                          <a:pt x="8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5" name="Freeform 98"/>
                  <p:cNvSpPr>
                    <a:spLocks/>
                  </p:cNvSpPr>
                  <p:nvPr/>
                </p:nvSpPr>
                <p:spPr bwMode="gray">
                  <a:xfrm>
                    <a:off x="-3536950" y="-14465300"/>
                    <a:ext cx="738188" cy="492125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197" y="131"/>
                      </a:cxn>
                      <a:cxn ang="0">
                        <a:pos x="84" y="73"/>
                      </a:cxn>
                      <a:cxn ang="0">
                        <a:pos x="12" y="5"/>
                      </a:cxn>
                      <a:cxn ang="0">
                        <a:pos x="41" y="5"/>
                      </a:cxn>
                    </a:cxnLst>
                    <a:rect l="0" t="0" r="r" b="b"/>
                    <a:pathLst>
                      <a:path w="197" h="131">
                        <a:moveTo>
                          <a:pt x="12" y="0"/>
                        </a:moveTo>
                        <a:cubicBezTo>
                          <a:pt x="72" y="19"/>
                          <a:pt x="176" y="59"/>
                          <a:pt x="197" y="131"/>
                        </a:cubicBezTo>
                        <a:cubicBezTo>
                          <a:pt x="156" y="116"/>
                          <a:pt x="123" y="90"/>
                          <a:pt x="84" y="73"/>
                        </a:cubicBezTo>
                        <a:cubicBezTo>
                          <a:pt x="54" y="61"/>
                          <a:pt x="0" y="51"/>
                          <a:pt x="12" y="5"/>
                        </a:cubicBezTo>
                        <a:cubicBezTo>
                          <a:pt x="21" y="4"/>
                          <a:pt x="33" y="2"/>
                          <a:pt x="41" y="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6" name="Freeform 99"/>
                  <p:cNvSpPr>
                    <a:spLocks/>
                  </p:cNvSpPr>
                  <p:nvPr/>
                </p:nvSpPr>
                <p:spPr bwMode="gray">
                  <a:xfrm>
                    <a:off x="-2806700" y="-10966450"/>
                    <a:ext cx="3787775" cy="825500"/>
                  </a:xfrm>
                  <a:custGeom>
                    <a:avLst/>
                    <a:gdLst/>
                    <a:ahLst/>
                    <a:cxnLst>
                      <a:cxn ang="0">
                        <a:pos x="37" y="13"/>
                      </a:cxn>
                      <a:cxn ang="0">
                        <a:pos x="132" y="45"/>
                      </a:cxn>
                      <a:cxn ang="0">
                        <a:pos x="245" y="69"/>
                      </a:cxn>
                      <a:cxn ang="0">
                        <a:pos x="470" y="86"/>
                      </a:cxn>
                      <a:cxn ang="0">
                        <a:pos x="735" y="69"/>
                      </a:cxn>
                      <a:cxn ang="0">
                        <a:pos x="976" y="37"/>
                      </a:cxn>
                      <a:cxn ang="0">
                        <a:pos x="986" y="148"/>
                      </a:cxn>
                      <a:cxn ang="0">
                        <a:pos x="842" y="187"/>
                      </a:cxn>
                      <a:cxn ang="0">
                        <a:pos x="577" y="215"/>
                      </a:cxn>
                      <a:cxn ang="0">
                        <a:pos x="311" y="194"/>
                      </a:cxn>
                      <a:cxn ang="0">
                        <a:pos x="183" y="159"/>
                      </a:cxn>
                      <a:cxn ang="0">
                        <a:pos x="29" y="121"/>
                      </a:cxn>
                      <a:cxn ang="0">
                        <a:pos x="14" y="120"/>
                      </a:cxn>
                      <a:cxn ang="0">
                        <a:pos x="3" y="24"/>
                      </a:cxn>
                    </a:cxnLst>
                    <a:rect l="0" t="0" r="r" b="b"/>
                    <a:pathLst>
                      <a:path w="1010" h="220">
                        <a:moveTo>
                          <a:pt x="37" y="13"/>
                        </a:moveTo>
                        <a:cubicBezTo>
                          <a:pt x="73" y="16"/>
                          <a:pt x="98" y="32"/>
                          <a:pt x="132" y="45"/>
                        </a:cubicBezTo>
                        <a:cubicBezTo>
                          <a:pt x="171" y="59"/>
                          <a:pt x="206" y="60"/>
                          <a:pt x="245" y="69"/>
                        </a:cubicBezTo>
                        <a:cubicBezTo>
                          <a:pt x="317" y="84"/>
                          <a:pt x="391" y="82"/>
                          <a:pt x="470" y="86"/>
                        </a:cubicBezTo>
                        <a:cubicBezTo>
                          <a:pt x="563" y="90"/>
                          <a:pt x="652" y="100"/>
                          <a:pt x="735" y="69"/>
                        </a:cubicBezTo>
                        <a:cubicBezTo>
                          <a:pt x="797" y="46"/>
                          <a:pt x="909" y="0"/>
                          <a:pt x="976" y="37"/>
                        </a:cubicBezTo>
                        <a:cubicBezTo>
                          <a:pt x="975" y="87"/>
                          <a:pt x="1010" y="114"/>
                          <a:pt x="986" y="148"/>
                        </a:cubicBezTo>
                        <a:cubicBezTo>
                          <a:pt x="970" y="172"/>
                          <a:pt x="869" y="180"/>
                          <a:pt x="842" y="187"/>
                        </a:cubicBezTo>
                        <a:cubicBezTo>
                          <a:pt x="756" y="211"/>
                          <a:pt x="672" y="215"/>
                          <a:pt x="577" y="215"/>
                        </a:cubicBezTo>
                        <a:cubicBezTo>
                          <a:pt x="485" y="215"/>
                          <a:pt x="395" y="220"/>
                          <a:pt x="311" y="194"/>
                        </a:cubicBezTo>
                        <a:cubicBezTo>
                          <a:pt x="267" y="180"/>
                          <a:pt x="226" y="169"/>
                          <a:pt x="183" y="159"/>
                        </a:cubicBezTo>
                        <a:cubicBezTo>
                          <a:pt x="140" y="150"/>
                          <a:pt x="67" y="141"/>
                          <a:pt x="29" y="121"/>
                        </a:cubicBezTo>
                        <a:cubicBezTo>
                          <a:pt x="18" y="115"/>
                          <a:pt x="26" y="124"/>
                          <a:pt x="14" y="120"/>
                        </a:cubicBezTo>
                        <a:cubicBezTo>
                          <a:pt x="9" y="91"/>
                          <a:pt x="0" y="52"/>
                          <a:pt x="3" y="2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7" name="Freeform 100"/>
                  <p:cNvSpPr>
                    <a:spLocks/>
                  </p:cNvSpPr>
                  <p:nvPr/>
                </p:nvSpPr>
                <p:spPr bwMode="gray">
                  <a:xfrm>
                    <a:off x="-1778000" y="-10768012"/>
                    <a:ext cx="884238" cy="638175"/>
                  </a:xfrm>
                  <a:custGeom>
                    <a:avLst/>
                    <a:gdLst/>
                    <a:ahLst/>
                    <a:cxnLst>
                      <a:cxn ang="0">
                        <a:pos x="32" y="131"/>
                      </a:cxn>
                      <a:cxn ang="0">
                        <a:pos x="170" y="141"/>
                      </a:cxn>
                      <a:cxn ang="0">
                        <a:pos x="184" y="39"/>
                      </a:cxn>
                      <a:cxn ang="0">
                        <a:pos x="137" y="26"/>
                      </a:cxn>
                      <a:cxn ang="0">
                        <a:pos x="206" y="20"/>
                      </a:cxn>
                      <a:cxn ang="0">
                        <a:pos x="198" y="152"/>
                      </a:cxn>
                      <a:cxn ang="0">
                        <a:pos x="156" y="168"/>
                      </a:cxn>
                      <a:cxn ang="0">
                        <a:pos x="13" y="151"/>
                      </a:cxn>
                      <a:cxn ang="0">
                        <a:pos x="12" y="40"/>
                      </a:cxn>
                      <a:cxn ang="0">
                        <a:pos x="156" y="13"/>
                      </a:cxn>
                      <a:cxn ang="0">
                        <a:pos x="141" y="37"/>
                      </a:cxn>
                      <a:cxn ang="0">
                        <a:pos x="37" y="61"/>
                      </a:cxn>
                    </a:cxnLst>
                    <a:rect l="0" t="0" r="r" b="b"/>
                    <a:pathLst>
                      <a:path w="236" h="170">
                        <a:moveTo>
                          <a:pt x="32" y="131"/>
                        </a:moveTo>
                        <a:cubicBezTo>
                          <a:pt x="61" y="144"/>
                          <a:pt x="154" y="156"/>
                          <a:pt x="170" y="141"/>
                        </a:cubicBezTo>
                        <a:cubicBezTo>
                          <a:pt x="171" y="124"/>
                          <a:pt x="186" y="58"/>
                          <a:pt x="184" y="39"/>
                        </a:cubicBezTo>
                        <a:cubicBezTo>
                          <a:pt x="164" y="29"/>
                          <a:pt x="137" y="52"/>
                          <a:pt x="137" y="26"/>
                        </a:cubicBezTo>
                        <a:cubicBezTo>
                          <a:pt x="137" y="2"/>
                          <a:pt x="198" y="20"/>
                          <a:pt x="206" y="20"/>
                        </a:cubicBezTo>
                        <a:cubicBezTo>
                          <a:pt x="236" y="20"/>
                          <a:pt x="202" y="124"/>
                          <a:pt x="198" y="152"/>
                        </a:cubicBezTo>
                        <a:cubicBezTo>
                          <a:pt x="195" y="170"/>
                          <a:pt x="180" y="166"/>
                          <a:pt x="156" y="168"/>
                        </a:cubicBezTo>
                        <a:cubicBezTo>
                          <a:pt x="123" y="169"/>
                          <a:pt x="46" y="162"/>
                          <a:pt x="13" y="151"/>
                        </a:cubicBezTo>
                        <a:cubicBezTo>
                          <a:pt x="0" y="147"/>
                          <a:pt x="2" y="88"/>
                          <a:pt x="12" y="40"/>
                        </a:cubicBezTo>
                        <a:cubicBezTo>
                          <a:pt x="20" y="0"/>
                          <a:pt x="123" y="20"/>
                          <a:pt x="156" y="13"/>
                        </a:cubicBezTo>
                        <a:cubicBezTo>
                          <a:pt x="172" y="10"/>
                          <a:pt x="143" y="23"/>
                          <a:pt x="141" y="37"/>
                        </a:cubicBezTo>
                        <a:cubicBezTo>
                          <a:pt x="124" y="38"/>
                          <a:pt x="30" y="30"/>
                          <a:pt x="37" y="6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8" name="Freeform 101"/>
                  <p:cNvSpPr>
                    <a:spLocks/>
                  </p:cNvSpPr>
                  <p:nvPr/>
                </p:nvSpPr>
                <p:spPr bwMode="gray">
                  <a:xfrm>
                    <a:off x="-2228850" y="-19711987"/>
                    <a:ext cx="2320925" cy="2089150"/>
                  </a:xfrm>
                  <a:custGeom>
                    <a:avLst/>
                    <a:gdLst/>
                    <a:ahLst/>
                    <a:cxnLst>
                      <a:cxn ang="0">
                        <a:pos x="111" y="540"/>
                      </a:cxn>
                      <a:cxn ang="0">
                        <a:pos x="94" y="541"/>
                      </a:cxn>
                      <a:cxn ang="0">
                        <a:pos x="81" y="432"/>
                      </a:cxn>
                      <a:cxn ang="0">
                        <a:pos x="67" y="390"/>
                      </a:cxn>
                      <a:cxn ang="0">
                        <a:pos x="33" y="348"/>
                      </a:cxn>
                      <a:cxn ang="0">
                        <a:pos x="81" y="145"/>
                      </a:cxn>
                      <a:cxn ang="0">
                        <a:pos x="48" y="144"/>
                      </a:cxn>
                      <a:cxn ang="0">
                        <a:pos x="131" y="76"/>
                      </a:cxn>
                      <a:cxn ang="0">
                        <a:pos x="115" y="57"/>
                      </a:cxn>
                      <a:cxn ang="0">
                        <a:pos x="190" y="34"/>
                      </a:cxn>
                      <a:cxn ang="0">
                        <a:pos x="263" y="1"/>
                      </a:cxn>
                      <a:cxn ang="0">
                        <a:pos x="426" y="51"/>
                      </a:cxn>
                      <a:cxn ang="0">
                        <a:pos x="428" y="27"/>
                      </a:cxn>
                      <a:cxn ang="0">
                        <a:pos x="469" y="77"/>
                      </a:cxn>
                      <a:cxn ang="0">
                        <a:pos x="530" y="110"/>
                      </a:cxn>
                      <a:cxn ang="0">
                        <a:pos x="596" y="229"/>
                      </a:cxn>
                      <a:cxn ang="0">
                        <a:pos x="608" y="388"/>
                      </a:cxn>
                      <a:cxn ang="0">
                        <a:pos x="572" y="557"/>
                      </a:cxn>
                      <a:cxn ang="0">
                        <a:pos x="546" y="457"/>
                      </a:cxn>
                      <a:cxn ang="0">
                        <a:pos x="550" y="313"/>
                      </a:cxn>
                      <a:cxn ang="0">
                        <a:pos x="482" y="216"/>
                      </a:cxn>
                      <a:cxn ang="0">
                        <a:pos x="348" y="216"/>
                      </a:cxn>
                      <a:cxn ang="0">
                        <a:pos x="327" y="191"/>
                      </a:cxn>
                      <a:cxn ang="0">
                        <a:pos x="334" y="228"/>
                      </a:cxn>
                      <a:cxn ang="0">
                        <a:pos x="250" y="188"/>
                      </a:cxn>
                      <a:cxn ang="0">
                        <a:pos x="179" y="230"/>
                      </a:cxn>
                      <a:cxn ang="0">
                        <a:pos x="127" y="322"/>
                      </a:cxn>
                      <a:cxn ang="0">
                        <a:pos x="123" y="377"/>
                      </a:cxn>
                      <a:cxn ang="0">
                        <a:pos x="111" y="426"/>
                      </a:cxn>
                      <a:cxn ang="0">
                        <a:pos x="111" y="540"/>
                      </a:cxn>
                    </a:cxnLst>
                    <a:rect l="0" t="0" r="r" b="b"/>
                    <a:pathLst>
                      <a:path w="619" h="557">
                        <a:moveTo>
                          <a:pt x="111" y="540"/>
                        </a:moveTo>
                        <a:cubicBezTo>
                          <a:pt x="85" y="549"/>
                          <a:pt x="102" y="543"/>
                          <a:pt x="94" y="541"/>
                        </a:cubicBezTo>
                        <a:cubicBezTo>
                          <a:pt x="82" y="499"/>
                          <a:pt x="79" y="474"/>
                          <a:pt x="81" y="432"/>
                        </a:cubicBezTo>
                        <a:cubicBezTo>
                          <a:pt x="82" y="415"/>
                          <a:pt x="95" y="378"/>
                          <a:pt x="67" y="390"/>
                        </a:cubicBezTo>
                        <a:cubicBezTo>
                          <a:pt x="56" y="395"/>
                          <a:pt x="44" y="366"/>
                          <a:pt x="33" y="348"/>
                        </a:cubicBezTo>
                        <a:cubicBezTo>
                          <a:pt x="0" y="293"/>
                          <a:pt x="48" y="189"/>
                          <a:pt x="81" y="145"/>
                        </a:cubicBezTo>
                        <a:cubicBezTo>
                          <a:pt x="71" y="147"/>
                          <a:pt x="58" y="142"/>
                          <a:pt x="48" y="144"/>
                        </a:cubicBezTo>
                        <a:cubicBezTo>
                          <a:pt x="52" y="107"/>
                          <a:pt x="97" y="82"/>
                          <a:pt x="131" y="76"/>
                        </a:cubicBezTo>
                        <a:cubicBezTo>
                          <a:pt x="125" y="71"/>
                          <a:pt x="121" y="61"/>
                          <a:pt x="115" y="57"/>
                        </a:cubicBezTo>
                        <a:cubicBezTo>
                          <a:pt x="142" y="51"/>
                          <a:pt x="168" y="47"/>
                          <a:pt x="190" y="34"/>
                        </a:cubicBezTo>
                        <a:cubicBezTo>
                          <a:pt x="220" y="15"/>
                          <a:pt x="222" y="1"/>
                          <a:pt x="263" y="1"/>
                        </a:cubicBezTo>
                        <a:cubicBezTo>
                          <a:pt x="327" y="0"/>
                          <a:pt x="377" y="13"/>
                          <a:pt x="426" y="51"/>
                        </a:cubicBezTo>
                        <a:cubicBezTo>
                          <a:pt x="426" y="44"/>
                          <a:pt x="429" y="34"/>
                          <a:pt x="428" y="27"/>
                        </a:cubicBezTo>
                        <a:cubicBezTo>
                          <a:pt x="443" y="40"/>
                          <a:pt x="453" y="63"/>
                          <a:pt x="469" y="77"/>
                        </a:cubicBezTo>
                        <a:cubicBezTo>
                          <a:pt x="489" y="96"/>
                          <a:pt x="509" y="94"/>
                          <a:pt x="530" y="110"/>
                        </a:cubicBezTo>
                        <a:cubicBezTo>
                          <a:pt x="558" y="130"/>
                          <a:pt x="581" y="197"/>
                          <a:pt x="596" y="229"/>
                        </a:cubicBezTo>
                        <a:cubicBezTo>
                          <a:pt x="617" y="274"/>
                          <a:pt x="619" y="337"/>
                          <a:pt x="608" y="388"/>
                        </a:cubicBezTo>
                        <a:cubicBezTo>
                          <a:pt x="599" y="429"/>
                          <a:pt x="611" y="534"/>
                          <a:pt x="572" y="557"/>
                        </a:cubicBezTo>
                        <a:cubicBezTo>
                          <a:pt x="575" y="530"/>
                          <a:pt x="547" y="490"/>
                          <a:pt x="546" y="457"/>
                        </a:cubicBezTo>
                        <a:cubicBezTo>
                          <a:pt x="544" y="409"/>
                          <a:pt x="556" y="362"/>
                          <a:pt x="550" y="313"/>
                        </a:cubicBezTo>
                        <a:cubicBezTo>
                          <a:pt x="545" y="273"/>
                          <a:pt x="525" y="227"/>
                          <a:pt x="482" y="216"/>
                        </a:cubicBezTo>
                        <a:cubicBezTo>
                          <a:pt x="438" y="205"/>
                          <a:pt x="391" y="230"/>
                          <a:pt x="348" y="216"/>
                        </a:cubicBezTo>
                        <a:cubicBezTo>
                          <a:pt x="343" y="205"/>
                          <a:pt x="333" y="200"/>
                          <a:pt x="327" y="191"/>
                        </a:cubicBezTo>
                        <a:cubicBezTo>
                          <a:pt x="328" y="206"/>
                          <a:pt x="326" y="217"/>
                          <a:pt x="334" y="228"/>
                        </a:cubicBezTo>
                        <a:cubicBezTo>
                          <a:pt x="306" y="232"/>
                          <a:pt x="273" y="204"/>
                          <a:pt x="250" y="188"/>
                        </a:cubicBezTo>
                        <a:cubicBezTo>
                          <a:pt x="267" y="225"/>
                          <a:pt x="201" y="212"/>
                          <a:pt x="179" y="230"/>
                        </a:cubicBezTo>
                        <a:cubicBezTo>
                          <a:pt x="152" y="252"/>
                          <a:pt x="134" y="290"/>
                          <a:pt x="127" y="322"/>
                        </a:cubicBezTo>
                        <a:cubicBezTo>
                          <a:pt x="124" y="339"/>
                          <a:pt x="130" y="360"/>
                          <a:pt x="123" y="377"/>
                        </a:cubicBezTo>
                        <a:cubicBezTo>
                          <a:pt x="116" y="396"/>
                          <a:pt x="116" y="408"/>
                          <a:pt x="111" y="426"/>
                        </a:cubicBezTo>
                        <a:cubicBezTo>
                          <a:pt x="102" y="466"/>
                          <a:pt x="123" y="521"/>
                          <a:pt x="111" y="54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29" name="Freeform 102"/>
                  <p:cNvSpPr>
                    <a:spLocks/>
                  </p:cNvSpPr>
                  <p:nvPr/>
                </p:nvSpPr>
                <p:spPr bwMode="gray">
                  <a:xfrm>
                    <a:off x="-2928938" y="-12233275"/>
                    <a:ext cx="4244975" cy="1217613"/>
                  </a:xfrm>
                  <a:custGeom>
                    <a:avLst/>
                    <a:gdLst/>
                    <a:ahLst/>
                    <a:cxnLst>
                      <a:cxn ang="0">
                        <a:pos x="638" y="9"/>
                      </a:cxn>
                      <a:cxn ang="0">
                        <a:pos x="47" y="123"/>
                      </a:cxn>
                      <a:cxn ang="0">
                        <a:pos x="2" y="190"/>
                      </a:cxn>
                      <a:cxn ang="0">
                        <a:pos x="70" y="218"/>
                      </a:cxn>
                      <a:cxn ang="0">
                        <a:pos x="146" y="221"/>
                      </a:cxn>
                      <a:cxn ang="0">
                        <a:pos x="208" y="208"/>
                      </a:cxn>
                      <a:cxn ang="0">
                        <a:pos x="275" y="196"/>
                      </a:cxn>
                      <a:cxn ang="0">
                        <a:pos x="319" y="164"/>
                      </a:cxn>
                      <a:cxn ang="0">
                        <a:pos x="408" y="142"/>
                      </a:cxn>
                      <a:cxn ang="0">
                        <a:pos x="552" y="92"/>
                      </a:cxn>
                      <a:cxn ang="0">
                        <a:pos x="630" y="77"/>
                      </a:cxn>
                      <a:cxn ang="0">
                        <a:pos x="645" y="122"/>
                      </a:cxn>
                      <a:cxn ang="0">
                        <a:pos x="794" y="120"/>
                      </a:cxn>
                      <a:cxn ang="0">
                        <a:pos x="785" y="229"/>
                      </a:cxn>
                      <a:cxn ang="0">
                        <a:pos x="869" y="199"/>
                      </a:cxn>
                      <a:cxn ang="0">
                        <a:pos x="943" y="241"/>
                      </a:cxn>
                      <a:cxn ang="0">
                        <a:pos x="1008" y="325"/>
                      </a:cxn>
                      <a:cxn ang="0">
                        <a:pos x="1077" y="230"/>
                      </a:cxn>
                      <a:cxn ang="0">
                        <a:pos x="1107" y="121"/>
                      </a:cxn>
                      <a:cxn ang="0">
                        <a:pos x="661" y="15"/>
                      </a:cxn>
                    </a:cxnLst>
                    <a:rect l="0" t="0" r="r" b="b"/>
                    <a:pathLst>
                      <a:path w="1132" h="325">
                        <a:moveTo>
                          <a:pt x="638" y="9"/>
                        </a:moveTo>
                        <a:cubicBezTo>
                          <a:pt x="608" y="0"/>
                          <a:pt x="87" y="112"/>
                          <a:pt x="47" y="123"/>
                        </a:cubicBezTo>
                        <a:cubicBezTo>
                          <a:pt x="1" y="135"/>
                          <a:pt x="0" y="143"/>
                          <a:pt x="2" y="190"/>
                        </a:cubicBezTo>
                        <a:cubicBezTo>
                          <a:pt x="27" y="195"/>
                          <a:pt x="45" y="213"/>
                          <a:pt x="70" y="218"/>
                        </a:cubicBezTo>
                        <a:cubicBezTo>
                          <a:pt x="93" y="222"/>
                          <a:pt x="120" y="221"/>
                          <a:pt x="146" y="221"/>
                        </a:cubicBezTo>
                        <a:cubicBezTo>
                          <a:pt x="172" y="221"/>
                          <a:pt x="185" y="215"/>
                          <a:pt x="208" y="208"/>
                        </a:cubicBezTo>
                        <a:cubicBezTo>
                          <a:pt x="230" y="201"/>
                          <a:pt x="254" y="205"/>
                          <a:pt x="275" y="196"/>
                        </a:cubicBezTo>
                        <a:cubicBezTo>
                          <a:pt x="291" y="189"/>
                          <a:pt x="304" y="174"/>
                          <a:pt x="319" y="164"/>
                        </a:cubicBezTo>
                        <a:cubicBezTo>
                          <a:pt x="348" y="144"/>
                          <a:pt x="372" y="145"/>
                          <a:pt x="408" y="142"/>
                        </a:cubicBezTo>
                        <a:cubicBezTo>
                          <a:pt x="462" y="139"/>
                          <a:pt x="503" y="113"/>
                          <a:pt x="552" y="92"/>
                        </a:cubicBezTo>
                        <a:cubicBezTo>
                          <a:pt x="576" y="82"/>
                          <a:pt x="598" y="73"/>
                          <a:pt x="630" y="77"/>
                        </a:cubicBezTo>
                        <a:cubicBezTo>
                          <a:pt x="667" y="83"/>
                          <a:pt x="672" y="100"/>
                          <a:pt x="645" y="122"/>
                        </a:cubicBezTo>
                        <a:cubicBezTo>
                          <a:pt x="695" y="127"/>
                          <a:pt x="744" y="83"/>
                          <a:pt x="794" y="120"/>
                        </a:cubicBezTo>
                        <a:cubicBezTo>
                          <a:pt x="850" y="162"/>
                          <a:pt x="786" y="184"/>
                          <a:pt x="785" y="229"/>
                        </a:cubicBezTo>
                        <a:cubicBezTo>
                          <a:pt x="815" y="220"/>
                          <a:pt x="835" y="204"/>
                          <a:pt x="869" y="199"/>
                        </a:cubicBezTo>
                        <a:cubicBezTo>
                          <a:pt x="898" y="195"/>
                          <a:pt x="958" y="201"/>
                          <a:pt x="943" y="241"/>
                        </a:cubicBezTo>
                        <a:cubicBezTo>
                          <a:pt x="987" y="214"/>
                          <a:pt x="1045" y="292"/>
                          <a:pt x="1008" y="325"/>
                        </a:cubicBezTo>
                        <a:cubicBezTo>
                          <a:pt x="1040" y="304"/>
                          <a:pt x="1072" y="267"/>
                          <a:pt x="1077" y="230"/>
                        </a:cubicBezTo>
                        <a:cubicBezTo>
                          <a:pt x="1080" y="207"/>
                          <a:pt x="1132" y="121"/>
                          <a:pt x="1107" y="121"/>
                        </a:cubicBezTo>
                        <a:cubicBezTo>
                          <a:pt x="931" y="121"/>
                          <a:pt x="680" y="24"/>
                          <a:pt x="661" y="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0" name="Freeform 103"/>
                  <p:cNvSpPr>
                    <a:spLocks/>
                  </p:cNvSpPr>
                  <p:nvPr/>
                </p:nvSpPr>
                <p:spPr bwMode="gray">
                  <a:xfrm>
                    <a:off x="985838" y="-13890625"/>
                    <a:ext cx="704850" cy="1952625"/>
                  </a:xfrm>
                  <a:custGeom>
                    <a:avLst/>
                    <a:gdLst/>
                    <a:ahLst/>
                    <a:cxnLst>
                      <a:cxn ang="0">
                        <a:pos x="0" y="387"/>
                      </a:cxn>
                      <a:cxn ang="0">
                        <a:pos x="27" y="416"/>
                      </a:cxn>
                      <a:cxn ang="0">
                        <a:pos x="159" y="275"/>
                      </a:cxn>
                      <a:cxn ang="0">
                        <a:pos x="185" y="0"/>
                      </a:cxn>
                      <a:cxn ang="0">
                        <a:pos x="184" y="32"/>
                      </a:cxn>
                      <a:cxn ang="0">
                        <a:pos x="79" y="45"/>
                      </a:cxn>
                      <a:cxn ang="0">
                        <a:pos x="145" y="101"/>
                      </a:cxn>
                      <a:cxn ang="0">
                        <a:pos x="79" y="167"/>
                      </a:cxn>
                      <a:cxn ang="0">
                        <a:pos x="78" y="147"/>
                      </a:cxn>
                      <a:cxn ang="0">
                        <a:pos x="123" y="229"/>
                      </a:cxn>
                      <a:cxn ang="0">
                        <a:pos x="45" y="208"/>
                      </a:cxn>
                      <a:cxn ang="0">
                        <a:pos x="57" y="310"/>
                      </a:cxn>
                      <a:cxn ang="0">
                        <a:pos x="39" y="415"/>
                      </a:cxn>
                    </a:cxnLst>
                    <a:rect l="0" t="0" r="r" b="b"/>
                    <a:pathLst>
                      <a:path w="188" h="521">
                        <a:moveTo>
                          <a:pt x="0" y="387"/>
                        </a:moveTo>
                        <a:cubicBezTo>
                          <a:pt x="3" y="405"/>
                          <a:pt x="5" y="416"/>
                          <a:pt x="27" y="416"/>
                        </a:cubicBezTo>
                        <a:cubicBezTo>
                          <a:pt x="65" y="521"/>
                          <a:pt x="154" y="307"/>
                          <a:pt x="159" y="275"/>
                        </a:cubicBezTo>
                        <a:cubicBezTo>
                          <a:pt x="172" y="182"/>
                          <a:pt x="185" y="98"/>
                          <a:pt x="185" y="0"/>
                        </a:cubicBezTo>
                        <a:cubicBezTo>
                          <a:pt x="188" y="10"/>
                          <a:pt x="185" y="22"/>
                          <a:pt x="184" y="32"/>
                        </a:cubicBezTo>
                        <a:cubicBezTo>
                          <a:pt x="152" y="49"/>
                          <a:pt x="115" y="43"/>
                          <a:pt x="79" y="45"/>
                        </a:cubicBezTo>
                        <a:cubicBezTo>
                          <a:pt x="72" y="81"/>
                          <a:pt x="114" y="101"/>
                          <a:pt x="145" y="101"/>
                        </a:cubicBezTo>
                        <a:cubicBezTo>
                          <a:pt x="156" y="149"/>
                          <a:pt x="126" y="176"/>
                          <a:pt x="79" y="167"/>
                        </a:cubicBezTo>
                        <a:cubicBezTo>
                          <a:pt x="78" y="160"/>
                          <a:pt x="78" y="154"/>
                          <a:pt x="78" y="147"/>
                        </a:cubicBezTo>
                        <a:cubicBezTo>
                          <a:pt x="84" y="180"/>
                          <a:pt x="120" y="198"/>
                          <a:pt x="123" y="229"/>
                        </a:cubicBezTo>
                        <a:cubicBezTo>
                          <a:pt x="86" y="236"/>
                          <a:pt x="82" y="201"/>
                          <a:pt x="45" y="208"/>
                        </a:cubicBezTo>
                        <a:cubicBezTo>
                          <a:pt x="72" y="270"/>
                          <a:pt x="99" y="239"/>
                          <a:pt x="57" y="310"/>
                        </a:cubicBezTo>
                        <a:cubicBezTo>
                          <a:pt x="37" y="345"/>
                          <a:pt x="24" y="373"/>
                          <a:pt x="39" y="4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1" name="Freeform 104"/>
                  <p:cNvSpPr>
                    <a:spLocks/>
                  </p:cNvSpPr>
                  <p:nvPr/>
                </p:nvSpPr>
                <p:spPr bwMode="gray">
                  <a:xfrm>
                    <a:off x="-3746500" y="-11974512"/>
                    <a:ext cx="715963" cy="4572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191" y="8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1" h="122">
                        <a:moveTo>
                          <a:pt x="0" y="6"/>
                        </a:moveTo>
                        <a:cubicBezTo>
                          <a:pt x="46" y="112"/>
                          <a:pt x="71" y="122"/>
                          <a:pt x="191" y="83"/>
                        </a:cubicBezTo>
                        <a:cubicBezTo>
                          <a:pt x="131" y="41"/>
                          <a:pt x="34" y="9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2" name="Freeform 105"/>
                  <p:cNvSpPr>
                    <a:spLocks/>
                  </p:cNvSpPr>
                  <p:nvPr/>
                </p:nvSpPr>
                <p:spPr bwMode="gray">
                  <a:xfrm>
                    <a:off x="798513" y="-15954375"/>
                    <a:ext cx="1109663" cy="1612900"/>
                  </a:xfrm>
                  <a:custGeom>
                    <a:avLst/>
                    <a:gdLst/>
                    <a:ahLst/>
                    <a:cxnLst>
                      <a:cxn ang="0">
                        <a:pos x="241" y="346"/>
                      </a:cxn>
                      <a:cxn ang="0">
                        <a:pos x="101" y="430"/>
                      </a:cxn>
                      <a:cxn ang="0">
                        <a:pos x="180" y="359"/>
                      </a:cxn>
                      <a:cxn ang="0">
                        <a:pos x="223" y="257"/>
                      </a:cxn>
                      <a:cxn ang="0">
                        <a:pos x="140" y="316"/>
                      </a:cxn>
                      <a:cxn ang="0">
                        <a:pos x="39" y="356"/>
                      </a:cxn>
                      <a:cxn ang="0">
                        <a:pos x="207" y="194"/>
                      </a:cxn>
                      <a:cxn ang="0">
                        <a:pos x="0" y="272"/>
                      </a:cxn>
                      <a:cxn ang="0">
                        <a:pos x="151" y="156"/>
                      </a:cxn>
                      <a:cxn ang="0">
                        <a:pos x="169" y="20"/>
                      </a:cxn>
                      <a:cxn ang="0">
                        <a:pos x="235" y="352"/>
                      </a:cxn>
                    </a:cxnLst>
                    <a:rect l="0" t="0" r="r" b="b"/>
                    <a:pathLst>
                      <a:path w="296" h="430">
                        <a:moveTo>
                          <a:pt x="241" y="346"/>
                        </a:moveTo>
                        <a:cubicBezTo>
                          <a:pt x="189" y="354"/>
                          <a:pt x="151" y="409"/>
                          <a:pt x="101" y="430"/>
                        </a:cubicBezTo>
                        <a:cubicBezTo>
                          <a:pt x="111" y="403"/>
                          <a:pt x="157" y="381"/>
                          <a:pt x="180" y="359"/>
                        </a:cubicBezTo>
                        <a:cubicBezTo>
                          <a:pt x="218" y="323"/>
                          <a:pt x="217" y="308"/>
                          <a:pt x="223" y="257"/>
                        </a:cubicBezTo>
                        <a:cubicBezTo>
                          <a:pt x="184" y="250"/>
                          <a:pt x="168" y="297"/>
                          <a:pt x="140" y="316"/>
                        </a:cubicBezTo>
                        <a:cubicBezTo>
                          <a:pt x="111" y="337"/>
                          <a:pt x="72" y="351"/>
                          <a:pt x="39" y="356"/>
                        </a:cubicBezTo>
                        <a:cubicBezTo>
                          <a:pt x="74" y="291"/>
                          <a:pt x="247" y="304"/>
                          <a:pt x="207" y="194"/>
                        </a:cubicBezTo>
                        <a:cubicBezTo>
                          <a:pt x="179" y="117"/>
                          <a:pt x="51" y="243"/>
                          <a:pt x="0" y="272"/>
                        </a:cubicBezTo>
                        <a:cubicBezTo>
                          <a:pt x="44" y="228"/>
                          <a:pt x="97" y="189"/>
                          <a:pt x="151" y="156"/>
                        </a:cubicBezTo>
                        <a:cubicBezTo>
                          <a:pt x="234" y="106"/>
                          <a:pt x="185" y="93"/>
                          <a:pt x="169" y="20"/>
                        </a:cubicBezTo>
                        <a:cubicBezTo>
                          <a:pt x="266" y="0"/>
                          <a:pt x="296" y="307"/>
                          <a:pt x="235" y="3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3" name="Freeform 106"/>
                  <p:cNvSpPr>
                    <a:spLocks/>
                  </p:cNvSpPr>
                  <p:nvPr/>
                </p:nvSpPr>
                <p:spPr bwMode="gray">
                  <a:xfrm>
                    <a:off x="-2224088" y="-12871450"/>
                    <a:ext cx="1916113" cy="985838"/>
                  </a:xfrm>
                  <a:custGeom>
                    <a:avLst/>
                    <a:gdLst/>
                    <a:ahLst/>
                    <a:cxnLst>
                      <a:cxn ang="0">
                        <a:pos x="45" y="8"/>
                      </a:cxn>
                      <a:cxn ang="0">
                        <a:pos x="249" y="97"/>
                      </a:cxn>
                      <a:cxn ang="0">
                        <a:pos x="511" y="195"/>
                      </a:cxn>
                      <a:cxn ang="0">
                        <a:pos x="394" y="176"/>
                      </a:cxn>
                      <a:cxn ang="0">
                        <a:pos x="252" y="117"/>
                      </a:cxn>
                      <a:cxn ang="0">
                        <a:pos x="0" y="3"/>
                      </a:cxn>
                    </a:cxnLst>
                    <a:rect l="0" t="0" r="r" b="b"/>
                    <a:pathLst>
                      <a:path w="511" h="263">
                        <a:moveTo>
                          <a:pt x="45" y="8"/>
                        </a:moveTo>
                        <a:cubicBezTo>
                          <a:pt x="120" y="0"/>
                          <a:pt x="186" y="70"/>
                          <a:pt x="249" y="97"/>
                        </a:cubicBezTo>
                        <a:cubicBezTo>
                          <a:pt x="327" y="130"/>
                          <a:pt x="427" y="177"/>
                          <a:pt x="511" y="195"/>
                        </a:cubicBezTo>
                        <a:cubicBezTo>
                          <a:pt x="494" y="263"/>
                          <a:pt x="420" y="190"/>
                          <a:pt x="394" y="176"/>
                        </a:cubicBezTo>
                        <a:cubicBezTo>
                          <a:pt x="349" y="152"/>
                          <a:pt x="299" y="136"/>
                          <a:pt x="252" y="117"/>
                        </a:cubicBezTo>
                        <a:cubicBezTo>
                          <a:pt x="166" y="82"/>
                          <a:pt x="61" y="69"/>
                          <a:pt x="0" y="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4" name="Freeform 107"/>
                  <p:cNvSpPr>
                    <a:spLocks/>
                  </p:cNvSpPr>
                  <p:nvPr/>
                </p:nvSpPr>
                <p:spPr bwMode="gray">
                  <a:xfrm>
                    <a:off x="-1689100" y="-16235362"/>
                    <a:ext cx="1609725" cy="784225"/>
                  </a:xfrm>
                  <a:custGeom>
                    <a:avLst/>
                    <a:gdLst/>
                    <a:ahLst/>
                    <a:cxnLst>
                      <a:cxn ang="0">
                        <a:pos x="51" y="147"/>
                      </a:cxn>
                      <a:cxn ang="0">
                        <a:pos x="46" y="209"/>
                      </a:cxn>
                      <a:cxn ang="0">
                        <a:pos x="103" y="160"/>
                      </a:cxn>
                      <a:cxn ang="0">
                        <a:pos x="178" y="177"/>
                      </a:cxn>
                      <a:cxn ang="0">
                        <a:pos x="220" y="172"/>
                      </a:cxn>
                      <a:cxn ang="0">
                        <a:pos x="254" y="161"/>
                      </a:cxn>
                      <a:cxn ang="0">
                        <a:pos x="309" y="192"/>
                      </a:cxn>
                      <a:cxn ang="0">
                        <a:pos x="309" y="122"/>
                      </a:cxn>
                      <a:cxn ang="0">
                        <a:pos x="394" y="23"/>
                      </a:cxn>
                      <a:cxn ang="0">
                        <a:pos x="262" y="71"/>
                      </a:cxn>
                      <a:cxn ang="0">
                        <a:pos x="106" y="63"/>
                      </a:cxn>
                      <a:cxn ang="0">
                        <a:pos x="14" y="54"/>
                      </a:cxn>
                      <a:cxn ang="0">
                        <a:pos x="47" y="109"/>
                      </a:cxn>
                    </a:cxnLst>
                    <a:rect l="0" t="0" r="r" b="b"/>
                    <a:pathLst>
                      <a:path w="429" h="209">
                        <a:moveTo>
                          <a:pt x="51" y="147"/>
                        </a:moveTo>
                        <a:cubicBezTo>
                          <a:pt x="51" y="168"/>
                          <a:pt x="52" y="189"/>
                          <a:pt x="46" y="209"/>
                        </a:cubicBezTo>
                        <a:cubicBezTo>
                          <a:pt x="56" y="199"/>
                          <a:pt x="91" y="163"/>
                          <a:pt x="103" y="160"/>
                        </a:cubicBezTo>
                        <a:cubicBezTo>
                          <a:pt x="123" y="156"/>
                          <a:pt x="152" y="177"/>
                          <a:pt x="178" y="177"/>
                        </a:cubicBezTo>
                        <a:cubicBezTo>
                          <a:pt x="193" y="177"/>
                          <a:pt x="206" y="175"/>
                          <a:pt x="220" y="172"/>
                        </a:cubicBezTo>
                        <a:cubicBezTo>
                          <a:pt x="224" y="172"/>
                          <a:pt x="260" y="161"/>
                          <a:pt x="254" y="161"/>
                        </a:cubicBezTo>
                        <a:cubicBezTo>
                          <a:pt x="281" y="162"/>
                          <a:pt x="280" y="184"/>
                          <a:pt x="309" y="192"/>
                        </a:cubicBezTo>
                        <a:cubicBezTo>
                          <a:pt x="308" y="169"/>
                          <a:pt x="308" y="145"/>
                          <a:pt x="309" y="122"/>
                        </a:cubicBezTo>
                        <a:cubicBezTo>
                          <a:pt x="341" y="127"/>
                          <a:pt x="429" y="56"/>
                          <a:pt x="394" y="23"/>
                        </a:cubicBezTo>
                        <a:cubicBezTo>
                          <a:pt x="369" y="0"/>
                          <a:pt x="289" y="64"/>
                          <a:pt x="262" y="71"/>
                        </a:cubicBezTo>
                        <a:cubicBezTo>
                          <a:pt x="212" y="84"/>
                          <a:pt x="153" y="86"/>
                          <a:pt x="106" y="63"/>
                        </a:cubicBezTo>
                        <a:cubicBezTo>
                          <a:pt x="86" y="53"/>
                          <a:pt x="32" y="18"/>
                          <a:pt x="14" y="54"/>
                        </a:cubicBezTo>
                        <a:cubicBezTo>
                          <a:pt x="0" y="81"/>
                          <a:pt x="33" y="99"/>
                          <a:pt x="47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5" name="Freeform 108"/>
                  <p:cNvSpPr>
                    <a:spLocks/>
                  </p:cNvSpPr>
                  <p:nvPr/>
                </p:nvSpPr>
                <p:spPr bwMode="gray">
                  <a:xfrm>
                    <a:off x="-1463675" y="-15713075"/>
                    <a:ext cx="768350" cy="2320925"/>
                  </a:xfrm>
                  <a:custGeom>
                    <a:avLst/>
                    <a:gdLst/>
                    <a:ahLst/>
                    <a:cxnLst>
                      <a:cxn ang="0">
                        <a:pos x="181" y="8"/>
                      </a:cxn>
                      <a:cxn ang="0">
                        <a:pos x="160" y="135"/>
                      </a:cxn>
                      <a:cxn ang="0">
                        <a:pos x="184" y="283"/>
                      </a:cxn>
                      <a:cxn ang="0">
                        <a:pos x="177" y="607"/>
                      </a:cxn>
                      <a:cxn ang="0">
                        <a:pos x="89" y="578"/>
                      </a:cxn>
                      <a:cxn ang="0">
                        <a:pos x="80" y="359"/>
                      </a:cxn>
                      <a:cxn ang="0">
                        <a:pos x="89" y="142"/>
                      </a:cxn>
                      <a:cxn ang="0">
                        <a:pos x="160" y="0"/>
                      </a:cxn>
                    </a:cxnLst>
                    <a:rect l="0" t="0" r="r" b="b"/>
                    <a:pathLst>
                      <a:path w="205" h="619">
                        <a:moveTo>
                          <a:pt x="181" y="8"/>
                        </a:moveTo>
                        <a:cubicBezTo>
                          <a:pt x="205" y="54"/>
                          <a:pt x="155" y="85"/>
                          <a:pt x="160" y="135"/>
                        </a:cubicBezTo>
                        <a:cubicBezTo>
                          <a:pt x="164" y="182"/>
                          <a:pt x="179" y="232"/>
                          <a:pt x="184" y="283"/>
                        </a:cubicBezTo>
                        <a:cubicBezTo>
                          <a:pt x="194" y="382"/>
                          <a:pt x="205" y="514"/>
                          <a:pt x="177" y="607"/>
                        </a:cubicBezTo>
                        <a:cubicBezTo>
                          <a:pt x="200" y="619"/>
                          <a:pt x="122" y="584"/>
                          <a:pt x="89" y="578"/>
                        </a:cubicBezTo>
                        <a:cubicBezTo>
                          <a:pt x="0" y="563"/>
                          <a:pt x="72" y="442"/>
                          <a:pt x="80" y="359"/>
                        </a:cubicBezTo>
                        <a:cubicBezTo>
                          <a:pt x="86" y="286"/>
                          <a:pt x="78" y="214"/>
                          <a:pt x="89" y="142"/>
                        </a:cubicBezTo>
                        <a:cubicBezTo>
                          <a:pt x="96" y="92"/>
                          <a:pt x="103" y="15"/>
                          <a:pt x="1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6" name="Freeform 109"/>
                  <p:cNvSpPr>
                    <a:spLocks/>
                  </p:cNvSpPr>
                  <p:nvPr/>
                </p:nvSpPr>
                <p:spPr bwMode="gray">
                  <a:xfrm>
                    <a:off x="-1673225" y="-12009437"/>
                    <a:ext cx="955675" cy="1216025"/>
                  </a:xfrm>
                  <a:custGeom>
                    <a:avLst/>
                    <a:gdLst/>
                    <a:ahLst/>
                    <a:cxnLst>
                      <a:cxn ang="0">
                        <a:pos x="26" y="291"/>
                      </a:cxn>
                      <a:cxn ang="0">
                        <a:pos x="22" y="324"/>
                      </a:cxn>
                      <a:cxn ang="0">
                        <a:pos x="203" y="218"/>
                      </a:cxn>
                      <a:cxn ang="0">
                        <a:pos x="241" y="118"/>
                      </a:cxn>
                      <a:cxn ang="0">
                        <a:pos x="249" y="1"/>
                      </a:cxn>
                      <a:cxn ang="0">
                        <a:pos x="119" y="151"/>
                      </a:cxn>
                      <a:cxn ang="0">
                        <a:pos x="0" y="308"/>
                      </a:cxn>
                    </a:cxnLst>
                    <a:rect l="0" t="0" r="r" b="b"/>
                    <a:pathLst>
                      <a:path w="255" h="324">
                        <a:moveTo>
                          <a:pt x="26" y="291"/>
                        </a:moveTo>
                        <a:cubicBezTo>
                          <a:pt x="22" y="301"/>
                          <a:pt x="23" y="314"/>
                          <a:pt x="22" y="324"/>
                        </a:cubicBezTo>
                        <a:cubicBezTo>
                          <a:pt x="74" y="321"/>
                          <a:pt x="165" y="255"/>
                          <a:pt x="203" y="218"/>
                        </a:cubicBezTo>
                        <a:cubicBezTo>
                          <a:pt x="237" y="187"/>
                          <a:pt x="239" y="163"/>
                          <a:pt x="241" y="118"/>
                        </a:cubicBezTo>
                        <a:cubicBezTo>
                          <a:pt x="243" y="81"/>
                          <a:pt x="255" y="36"/>
                          <a:pt x="249" y="1"/>
                        </a:cubicBezTo>
                        <a:cubicBezTo>
                          <a:pt x="195" y="0"/>
                          <a:pt x="144" y="111"/>
                          <a:pt x="119" y="151"/>
                        </a:cubicBezTo>
                        <a:cubicBezTo>
                          <a:pt x="83" y="207"/>
                          <a:pt x="30" y="254"/>
                          <a:pt x="0" y="3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7" name="Freeform 110"/>
                  <p:cNvSpPr>
                    <a:spLocks/>
                  </p:cNvSpPr>
                  <p:nvPr/>
                </p:nvSpPr>
                <p:spPr bwMode="gray">
                  <a:xfrm>
                    <a:off x="-593725" y="-14671675"/>
                    <a:ext cx="574675" cy="1274763"/>
                  </a:xfrm>
                  <a:custGeom>
                    <a:avLst/>
                    <a:gdLst/>
                    <a:ahLst/>
                    <a:cxnLst>
                      <a:cxn ang="0">
                        <a:pos x="101" y="300"/>
                      </a:cxn>
                      <a:cxn ang="0">
                        <a:pos x="152" y="103"/>
                      </a:cxn>
                      <a:cxn ang="0">
                        <a:pos x="59" y="250"/>
                      </a:cxn>
                      <a:cxn ang="0">
                        <a:pos x="84" y="0"/>
                      </a:cxn>
                      <a:cxn ang="0">
                        <a:pos x="5" y="332"/>
                      </a:cxn>
                      <a:cxn ang="0">
                        <a:pos x="93" y="334"/>
                      </a:cxn>
                    </a:cxnLst>
                    <a:rect l="0" t="0" r="r" b="b"/>
                    <a:pathLst>
                      <a:path w="153" h="340">
                        <a:moveTo>
                          <a:pt x="101" y="300"/>
                        </a:moveTo>
                        <a:cubicBezTo>
                          <a:pt x="98" y="233"/>
                          <a:pt x="153" y="169"/>
                          <a:pt x="152" y="103"/>
                        </a:cubicBezTo>
                        <a:cubicBezTo>
                          <a:pt x="119" y="151"/>
                          <a:pt x="76" y="194"/>
                          <a:pt x="59" y="250"/>
                        </a:cubicBezTo>
                        <a:cubicBezTo>
                          <a:pt x="59" y="196"/>
                          <a:pt x="68" y="55"/>
                          <a:pt x="84" y="0"/>
                        </a:cubicBezTo>
                        <a:cubicBezTo>
                          <a:pt x="43" y="50"/>
                          <a:pt x="0" y="290"/>
                          <a:pt x="5" y="332"/>
                        </a:cubicBezTo>
                        <a:cubicBezTo>
                          <a:pt x="52" y="340"/>
                          <a:pt x="44" y="336"/>
                          <a:pt x="93" y="33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8" name="Freeform 111"/>
                  <p:cNvSpPr>
                    <a:spLocks/>
                  </p:cNvSpPr>
                  <p:nvPr/>
                </p:nvSpPr>
                <p:spPr bwMode="gray">
                  <a:xfrm>
                    <a:off x="-1819275" y="-16100425"/>
                    <a:ext cx="1258888" cy="2697163"/>
                  </a:xfrm>
                  <a:custGeom>
                    <a:avLst/>
                    <a:gdLst/>
                    <a:ahLst/>
                    <a:cxnLst>
                      <a:cxn ang="0">
                        <a:pos x="173" y="120"/>
                      </a:cxn>
                      <a:cxn ang="0">
                        <a:pos x="146" y="37"/>
                      </a:cxn>
                      <a:cxn ang="0">
                        <a:pos x="287" y="110"/>
                      </a:cxn>
                      <a:cxn ang="0">
                        <a:pos x="246" y="222"/>
                      </a:cxn>
                      <a:cxn ang="0">
                        <a:pos x="263" y="351"/>
                      </a:cxn>
                      <a:cxn ang="0">
                        <a:pos x="269" y="650"/>
                      </a:cxn>
                      <a:cxn ang="0">
                        <a:pos x="207" y="701"/>
                      </a:cxn>
                      <a:cxn ang="0">
                        <a:pos x="89" y="672"/>
                      </a:cxn>
                      <a:cxn ang="0">
                        <a:pos x="5" y="660"/>
                      </a:cxn>
                      <a:cxn ang="0">
                        <a:pos x="44" y="362"/>
                      </a:cxn>
                      <a:cxn ang="0">
                        <a:pos x="173" y="120"/>
                      </a:cxn>
                    </a:cxnLst>
                    <a:rect l="0" t="0" r="r" b="b"/>
                    <a:pathLst>
                      <a:path w="336" h="719">
                        <a:moveTo>
                          <a:pt x="173" y="120"/>
                        </a:moveTo>
                        <a:cubicBezTo>
                          <a:pt x="153" y="99"/>
                          <a:pt x="142" y="70"/>
                          <a:pt x="146" y="37"/>
                        </a:cubicBezTo>
                        <a:cubicBezTo>
                          <a:pt x="218" y="0"/>
                          <a:pt x="336" y="3"/>
                          <a:pt x="287" y="110"/>
                        </a:cubicBezTo>
                        <a:cubicBezTo>
                          <a:pt x="268" y="154"/>
                          <a:pt x="242" y="168"/>
                          <a:pt x="246" y="222"/>
                        </a:cubicBezTo>
                        <a:cubicBezTo>
                          <a:pt x="249" y="265"/>
                          <a:pt x="263" y="304"/>
                          <a:pt x="263" y="351"/>
                        </a:cubicBezTo>
                        <a:cubicBezTo>
                          <a:pt x="263" y="452"/>
                          <a:pt x="269" y="550"/>
                          <a:pt x="269" y="650"/>
                        </a:cubicBezTo>
                        <a:cubicBezTo>
                          <a:pt x="269" y="716"/>
                          <a:pt x="265" y="719"/>
                          <a:pt x="207" y="701"/>
                        </a:cubicBezTo>
                        <a:cubicBezTo>
                          <a:pt x="168" y="688"/>
                          <a:pt x="130" y="681"/>
                          <a:pt x="89" y="672"/>
                        </a:cubicBezTo>
                        <a:cubicBezTo>
                          <a:pt x="61" y="666"/>
                          <a:pt x="34" y="663"/>
                          <a:pt x="5" y="660"/>
                        </a:cubicBezTo>
                        <a:cubicBezTo>
                          <a:pt x="0" y="563"/>
                          <a:pt x="10" y="449"/>
                          <a:pt x="44" y="362"/>
                        </a:cubicBezTo>
                        <a:cubicBezTo>
                          <a:pt x="72" y="289"/>
                          <a:pt x="189" y="204"/>
                          <a:pt x="173" y="1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39" name="Freeform 112"/>
                  <p:cNvSpPr>
                    <a:spLocks/>
                  </p:cNvSpPr>
                  <p:nvPr/>
                </p:nvSpPr>
                <p:spPr bwMode="gray">
                  <a:xfrm>
                    <a:off x="-2124075" y="-12166600"/>
                    <a:ext cx="1339850" cy="1365250"/>
                  </a:xfrm>
                  <a:custGeom>
                    <a:avLst/>
                    <a:gdLst/>
                    <a:ahLst/>
                    <a:cxnLst>
                      <a:cxn ang="0">
                        <a:pos x="66" y="53"/>
                      </a:cxn>
                      <a:cxn ang="0">
                        <a:pos x="28" y="270"/>
                      </a:cxn>
                      <a:cxn ang="0">
                        <a:pos x="121" y="364"/>
                      </a:cxn>
                      <a:cxn ang="0">
                        <a:pos x="323" y="227"/>
                      </a:cxn>
                      <a:cxn ang="0">
                        <a:pos x="343" y="0"/>
                      </a:cxn>
                      <a:cxn ang="0">
                        <a:pos x="66" y="53"/>
                      </a:cxn>
                    </a:cxnLst>
                    <a:rect l="0" t="0" r="r" b="b"/>
                    <a:pathLst>
                      <a:path w="357" h="364">
                        <a:moveTo>
                          <a:pt x="66" y="53"/>
                        </a:moveTo>
                        <a:cubicBezTo>
                          <a:pt x="73" y="113"/>
                          <a:pt x="0" y="234"/>
                          <a:pt x="28" y="270"/>
                        </a:cubicBezTo>
                        <a:cubicBezTo>
                          <a:pt x="56" y="307"/>
                          <a:pt x="103" y="349"/>
                          <a:pt x="121" y="364"/>
                        </a:cubicBezTo>
                        <a:cubicBezTo>
                          <a:pt x="121" y="364"/>
                          <a:pt x="302" y="256"/>
                          <a:pt x="323" y="227"/>
                        </a:cubicBezTo>
                        <a:cubicBezTo>
                          <a:pt x="357" y="182"/>
                          <a:pt x="346" y="58"/>
                          <a:pt x="343" y="0"/>
                        </a:cubicBezTo>
                        <a:cubicBezTo>
                          <a:pt x="241" y="17"/>
                          <a:pt x="183" y="36"/>
                          <a:pt x="66" y="5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0" name="Freeform 113"/>
                  <p:cNvSpPr>
                    <a:spLocks/>
                  </p:cNvSpPr>
                  <p:nvPr/>
                </p:nvSpPr>
                <p:spPr bwMode="gray">
                  <a:xfrm>
                    <a:off x="-1755775" y="-16681450"/>
                    <a:ext cx="633413" cy="1219200"/>
                  </a:xfrm>
                  <a:custGeom>
                    <a:avLst/>
                    <a:gdLst/>
                    <a:ahLst/>
                    <a:cxnLst>
                      <a:cxn ang="0">
                        <a:pos x="62" y="0"/>
                      </a:cxn>
                      <a:cxn ang="0">
                        <a:pos x="95" y="84"/>
                      </a:cxn>
                      <a:cxn ang="0">
                        <a:pos x="167" y="164"/>
                      </a:cxn>
                      <a:cxn ang="0">
                        <a:pos x="42" y="325"/>
                      </a:cxn>
                      <a:cxn ang="0">
                        <a:pos x="62" y="0"/>
                      </a:cxn>
                    </a:cxnLst>
                    <a:rect l="0" t="0" r="r" b="b"/>
                    <a:pathLst>
                      <a:path w="169" h="325">
                        <a:moveTo>
                          <a:pt x="62" y="0"/>
                        </a:moveTo>
                        <a:cubicBezTo>
                          <a:pt x="66" y="35"/>
                          <a:pt x="73" y="58"/>
                          <a:pt x="95" y="84"/>
                        </a:cubicBezTo>
                        <a:cubicBezTo>
                          <a:pt x="105" y="97"/>
                          <a:pt x="169" y="155"/>
                          <a:pt x="167" y="164"/>
                        </a:cubicBezTo>
                        <a:cubicBezTo>
                          <a:pt x="161" y="183"/>
                          <a:pt x="63" y="289"/>
                          <a:pt x="42" y="325"/>
                        </a:cubicBezTo>
                        <a:cubicBezTo>
                          <a:pt x="0" y="295"/>
                          <a:pt x="10" y="21"/>
                          <a:pt x="6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1" name="Freeform 114"/>
                  <p:cNvSpPr>
                    <a:spLocks/>
                  </p:cNvSpPr>
                  <p:nvPr/>
                </p:nvSpPr>
                <p:spPr bwMode="gray">
                  <a:xfrm>
                    <a:off x="-1020763" y="-16843375"/>
                    <a:ext cx="1027113" cy="1193800"/>
                  </a:xfrm>
                  <a:custGeom>
                    <a:avLst/>
                    <a:gdLst/>
                    <a:ahLst/>
                    <a:cxnLst>
                      <a:cxn ang="0">
                        <a:pos x="0" y="206"/>
                      </a:cxn>
                      <a:cxn ang="0">
                        <a:pos x="152" y="318"/>
                      </a:cxn>
                      <a:cxn ang="0">
                        <a:pos x="246" y="132"/>
                      </a:cxn>
                      <a:cxn ang="0">
                        <a:pos x="206" y="0"/>
                      </a:cxn>
                      <a:cxn ang="0">
                        <a:pos x="0" y="206"/>
                      </a:cxn>
                    </a:cxnLst>
                    <a:rect l="0" t="0" r="r" b="b"/>
                    <a:pathLst>
                      <a:path w="274" h="318">
                        <a:moveTo>
                          <a:pt x="0" y="206"/>
                        </a:moveTo>
                        <a:cubicBezTo>
                          <a:pt x="43" y="235"/>
                          <a:pt x="108" y="288"/>
                          <a:pt x="152" y="318"/>
                        </a:cubicBezTo>
                        <a:cubicBezTo>
                          <a:pt x="181" y="255"/>
                          <a:pt x="222" y="196"/>
                          <a:pt x="246" y="132"/>
                        </a:cubicBezTo>
                        <a:cubicBezTo>
                          <a:pt x="273" y="61"/>
                          <a:pt x="274" y="51"/>
                          <a:pt x="206" y="0"/>
                        </a:cubicBezTo>
                        <a:cubicBezTo>
                          <a:pt x="166" y="79"/>
                          <a:pt x="89" y="176"/>
                          <a:pt x="0" y="20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2" name="Freeform 115"/>
                  <p:cNvSpPr>
                    <a:spLocks/>
                  </p:cNvSpPr>
                  <p:nvPr/>
                </p:nvSpPr>
                <p:spPr bwMode="gray">
                  <a:xfrm>
                    <a:off x="-2689225" y="-14930437"/>
                    <a:ext cx="322263" cy="1849438"/>
                  </a:xfrm>
                  <a:custGeom>
                    <a:avLst/>
                    <a:gdLst/>
                    <a:ahLst/>
                    <a:cxnLst>
                      <a:cxn ang="0">
                        <a:pos x="84" y="355"/>
                      </a:cxn>
                      <a:cxn ang="0">
                        <a:pos x="62" y="283"/>
                      </a:cxn>
                      <a:cxn ang="0">
                        <a:pos x="56" y="186"/>
                      </a:cxn>
                      <a:cxn ang="0">
                        <a:pos x="39" y="0"/>
                      </a:cxn>
                      <a:cxn ang="0">
                        <a:pos x="28" y="298"/>
                      </a:cxn>
                      <a:cxn ang="0">
                        <a:pos x="22" y="446"/>
                      </a:cxn>
                      <a:cxn ang="0">
                        <a:pos x="79" y="349"/>
                      </a:cxn>
                    </a:cxnLst>
                    <a:rect l="0" t="0" r="r" b="b"/>
                    <a:pathLst>
                      <a:path w="86" h="493">
                        <a:moveTo>
                          <a:pt x="84" y="355"/>
                        </a:moveTo>
                        <a:cubicBezTo>
                          <a:pt x="86" y="322"/>
                          <a:pt x="68" y="310"/>
                          <a:pt x="62" y="283"/>
                        </a:cubicBezTo>
                        <a:cubicBezTo>
                          <a:pt x="57" y="259"/>
                          <a:pt x="58" y="217"/>
                          <a:pt x="56" y="186"/>
                        </a:cubicBezTo>
                        <a:cubicBezTo>
                          <a:pt x="54" y="132"/>
                          <a:pt x="72" y="37"/>
                          <a:pt x="39" y="0"/>
                        </a:cubicBezTo>
                        <a:cubicBezTo>
                          <a:pt x="6" y="91"/>
                          <a:pt x="23" y="203"/>
                          <a:pt x="28" y="298"/>
                        </a:cubicBezTo>
                        <a:cubicBezTo>
                          <a:pt x="30" y="331"/>
                          <a:pt x="0" y="422"/>
                          <a:pt x="22" y="446"/>
                        </a:cubicBezTo>
                        <a:cubicBezTo>
                          <a:pt x="64" y="493"/>
                          <a:pt x="83" y="381"/>
                          <a:pt x="79" y="34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3" name="Freeform 116"/>
                  <p:cNvSpPr>
                    <a:spLocks/>
                  </p:cNvSpPr>
                  <p:nvPr/>
                </p:nvSpPr>
                <p:spPr bwMode="gray">
                  <a:xfrm>
                    <a:off x="55563" y="-15409862"/>
                    <a:ext cx="742950" cy="1765300"/>
                  </a:xfrm>
                  <a:custGeom>
                    <a:avLst/>
                    <a:gdLst/>
                    <a:ahLst/>
                    <a:cxnLst>
                      <a:cxn ang="0">
                        <a:pos x="51" y="415"/>
                      </a:cxn>
                      <a:cxn ang="0">
                        <a:pos x="101" y="195"/>
                      </a:cxn>
                      <a:cxn ang="0">
                        <a:pos x="198" y="0"/>
                      </a:cxn>
                      <a:cxn ang="0">
                        <a:pos x="84" y="201"/>
                      </a:cxn>
                      <a:cxn ang="0">
                        <a:pos x="12" y="420"/>
                      </a:cxn>
                      <a:cxn ang="0">
                        <a:pos x="73" y="426"/>
                      </a:cxn>
                    </a:cxnLst>
                    <a:rect l="0" t="0" r="r" b="b"/>
                    <a:pathLst>
                      <a:path w="198" h="471">
                        <a:moveTo>
                          <a:pt x="51" y="415"/>
                        </a:moveTo>
                        <a:cubicBezTo>
                          <a:pt x="95" y="346"/>
                          <a:pt x="66" y="265"/>
                          <a:pt x="101" y="195"/>
                        </a:cubicBezTo>
                        <a:cubicBezTo>
                          <a:pt x="135" y="128"/>
                          <a:pt x="176" y="73"/>
                          <a:pt x="198" y="0"/>
                        </a:cubicBezTo>
                        <a:cubicBezTo>
                          <a:pt x="139" y="59"/>
                          <a:pt x="110" y="125"/>
                          <a:pt x="84" y="201"/>
                        </a:cubicBezTo>
                        <a:cubicBezTo>
                          <a:pt x="64" y="262"/>
                          <a:pt x="0" y="357"/>
                          <a:pt x="12" y="420"/>
                        </a:cubicBezTo>
                        <a:cubicBezTo>
                          <a:pt x="34" y="430"/>
                          <a:pt x="65" y="471"/>
                          <a:pt x="73" y="4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4" name="Freeform 117"/>
                  <p:cNvSpPr>
                    <a:spLocks/>
                  </p:cNvSpPr>
                  <p:nvPr/>
                </p:nvSpPr>
                <p:spPr bwMode="gray">
                  <a:xfrm>
                    <a:off x="-2835275" y="-13689012"/>
                    <a:ext cx="922338" cy="858838"/>
                  </a:xfrm>
                  <a:custGeom>
                    <a:avLst/>
                    <a:gdLst/>
                    <a:ahLst/>
                    <a:cxnLst>
                      <a:cxn ang="0">
                        <a:pos x="191" y="226"/>
                      </a:cxn>
                      <a:cxn ang="0">
                        <a:pos x="246" y="45"/>
                      </a:cxn>
                      <a:cxn ang="0">
                        <a:pos x="94" y="51"/>
                      </a:cxn>
                      <a:cxn ang="0">
                        <a:pos x="55" y="135"/>
                      </a:cxn>
                      <a:cxn ang="0">
                        <a:pos x="60" y="211"/>
                      </a:cxn>
                      <a:cxn ang="0">
                        <a:pos x="197" y="221"/>
                      </a:cxn>
                    </a:cxnLst>
                    <a:rect l="0" t="0" r="r" b="b"/>
                    <a:pathLst>
                      <a:path w="246" h="229">
                        <a:moveTo>
                          <a:pt x="191" y="226"/>
                        </a:moveTo>
                        <a:cubicBezTo>
                          <a:pt x="186" y="181"/>
                          <a:pt x="206" y="61"/>
                          <a:pt x="246" y="45"/>
                        </a:cubicBezTo>
                        <a:cubicBezTo>
                          <a:pt x="243" y="3"/>
                          <a:pt x="105" y="0"/>
                          <a:pt x="94" y="51"/>
                        </a:cubicBezTo>
                        <a:cubicBezTo>
                          <a:pt x="29" y="52"/>
                          <a:pt x="54" y="92"/>
                          <a:pt x="55" y="135"/>
                        </a:cubicBezTo>
                        <a:cubicBezTo>
                          <a:pt x="0" y="149"/>
                          <a:pt x="26" y="194"/>
                          <a:pt x="60" y="211"/>
                        </a:cubicBezTo>
                        <a:cubicBezTo>
                          <a:pt x="97" y="229"/>
                          <a:pt x="153" y="221"/>
                          <a:pt x="197" y="2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5" name="Freeform 118"/>
                  <p:cNvSpPr>
                    <a:spLocks/>
                  </p:cNvSpPr>
                  <p:nvPr/>
                </p:nvSpPr>
                <p:spPr bwMode="gray">
                  <a:xfrm>
                    <a:off x="-387350" y="-13857287"/>
                    <a:ext cx="649288" cy="449263"/>
                  </a:xfrm>
                  <a:custGeom>
                    <a:avLst/>
                    <a:gdLst/>
                    <a:ahLst/>
                    <a:cxnLst>
                      <a:cxn ang="0">
                        <a:pos x="17" y="119"/>
                      </a:cxn>
                      <a:cxn ang="0">
                        <a:pos x="173" y="102"/>
                      </a:cxn>
                      <a:cxn ang="0">
                        <a:pos x="162" y="7"/>
                      </a:cxn>
                      <a:cxn ang="0">
                        <a:pos x="74" y="36"/>
                      </a:cxn>
                      <a:cxn ang="0">
                        <a:pos x="0" y="114"/>
                      </a:cxn>
                    </a:cxnLst>
                    <a:rect l="0" t="0" r="r" b="b"/>
                    <a:pathLst>
                      <a:path w="173" h="120">
                        <a:moveTo>
                          <a:pt x="17" y="119"/>
                        </a:moveTo>
                        <a:cubicBezTo>
                          <a:pt x="67" y="120"/>
                          <a:pt x="119" y="104"/>
                          <a:pt x="173" y="102"/>
                        </a:cubicBezTo>
                        <a:cubicBezTo>
                          <a:pt x="170" y="72"/>
                          <a:pt x="171" y="37"/>
                          <a:pt x="162" y="7"/>
                        </a:cubicBezTo>
                        <a:cubicBezTo>
                          <a:pt x="108" y="3"/>
                          <a:pt x="110" y="0"/>
                          <a:pt x="74" y="36"/>
                        </a:cubicBezTo>
                        <a:cubicBezTo>
                          <a:pt x="53" y="57"/>
                          <a:pt x="19" y="88"/>
                          <a:pt x="0" y="1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6" name="Freeform 119"/>
                  <p:cNvSpPr>
                    <a:spLocks/>
                  </p:cNvSpPr>
                  <p:nvPr/>
                </p:nvSpPr>
                <p:spPr bwMode="gray">
                  <a:xfrm>
                    <a:off x="-2798763" y="-13155612"/>
                    <a:ext cx="742950" cy="355600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95" y="65"/>
                      </a:cxn>
                      <a:cxn ang="0">
                        <a:pos x="162" y="65"/>
                      </a:cxn>
                      <a:cxn ang="0">
                        <a:pos x="183" y="26"/>
                      </a:cxn>
                      <a:cxn ang="0">
                        <a:pos x="177" y="86"/>
                      </a:cxn>
                      <a:cxn ang="0">
                        <a:pos x="32" y="59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198" h="95">
                        <a:moveTo>
                          <a:pt x="27" y="0"/>
                        </a:moveTo>
                        <a:cubicBezTo>
                          <a:pt x="14" y="38"/>
                          <a:pt x="64" y="59"/>
                          <a:pt x="95" y="65"/>
                        </a:cubicBezTo>
                        <a:cubicBezTo>
                          <a:pt x="111" y="67"/>
                          <a:pt x="147" y="70"/>
                          <a:pt x="162" y="65"/>
                        </a:cubicBezTo>
                        <a:cubicBezTo>
                          <a:pt x="179" y="58"/>
                          <a:pt x="180" y="41"/>
                          <a:pt x="183" y="26"/>
                        </a:cubicBezTo>
                        <a:cubicBezTo>
                          <a:pt x="185" y="52"/>
                          <a:pt x="198" y="77"/>
                          <a:pt x="177" y="86"/>
                        </a:cubicBezTo>
                        <a:cubicBezTo>
                          <a:pt x="157" y="95"/>
                          <a:pt x="55" y="79"/>
                          <a:pt x="32" y="59"/>
                        </a:cubicBezTo>
                        <a:cubicBezTo>
                          <a:pt x="18" y="45"/>
                          <a:pt x="0" y="16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7" name="Freeform 120"/>
                  <p:cNvSpPr>
                    <a:spLocks/>
                  </p:cNvSpPr>
                  <p:nvPr/>
                </p:nvSpPr>
                <p:spPr bwMode="gray">
                  <a:xfrm>
                    <a:off x="-304800" y="-13796962"/>
                    <a:ext cx="581025" cy="446088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97" y="79"/>
                      </a:cxn>
                      <a:cxn ang="0">
                        <a:pos x="0" y="106"/>
                      </a:cxn>
                      <a:cxn ang="0">
                        <a:pos x="66" y="107"/>
                      </a:cxn>
                      <a:cxn ang="0">
                        <a:pos x="125" y="95"/>
                      </a:cxn>
                      <a:cxn ang="0">
                        <a:pos x="151" y="56"/>
                      </a:cxn>
                      <a:cxn ang="0">
                        <a:pos x="139" y="0"/>
                      </a:cxn>
                    </a:cxnLst>
                    <a:rect l="0" t="0" r="r" b="b"/>
                    <a:pathLst>
                      <a:path w="155" h="119">
                        <a:moveTo>
                          <a:pt x="134" y="0"/>
                        </a:moveTo>
                        <a:cubicBezTo>
                          <a:pt x="134" y="41"/>
                          <a:pt x="139" y="64"/>
                          <a:pt x="97" y="79"/>
                        </a:cubicBezTo>
                        <a:cubicBezTo>
                          <a:pt x="68" y="88"/>
                          <a:pt x="23" y="82"/>
                          <a:pt x="0" y="106"/>
                        </a:cubicBezTo>
                        <a:cubicBezTo>
                          <a:pt x="16" y="119"/>
                          <a:pt x="48" y="113"/>
                          <a:pt x="66" y="107"/>
                        </a:cubicBezTo>
                        <a:cubicBezTo>
                          <a:pt x="88" y="101"/>
                          <a:pt x="102" y="99"/>
                          <a:pt x="125" y="95"/>
                        </a:cubicBezTo>
                        <a:cubicBezTo>
                          <a:pt x="155" y="91"/>
                          <a:pt x="154" y="85"/>
                          <a:pt x="151" y="56"/>
                        </a:cubicBezTo>
                        <a:cubicBezTo>
                          <a:pt x="149" y="37"/>
                          <a:pt x="149" y="13"/>
                          <a:pt x="13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8" name="Freeform 121"/>
                  <p:cNvSpPr>
                    <a:spLocks/>
                  </p:cNvSpPr>
                  <p:nvPr/>
                </p:nvSpPr>
                <p:spPr bwMode="gray">
                  <a:xfrm>
                    <a:off x="-1882775" y="-12166600"/>
                    <a:ext cx="1046163" cy="322263"/>
                  </a:xfrm>
                  <a:custGeom>
                    <a:avLst/>
                    <a:gdLst/>
                    <a:ahLst/>
                    <a:cxnLst>
                      <a:cxn ang="0">
                        <a:pos x="3" y="53"/>
                      </a:cxn>
                      <a:cxn ang="0">
                        <a:pos x="0" y="84"/>
                      </a:cxn>
                      <a:cxn ang="0">
                        <a:pos x="160" y="64"/>
                      </a:cxn>
                      <a:cxn ang="0">
                        <a:pos x="239" y="50"/>
                      </a:cxn>
                      <a:cxn ang="0">
                        <a:pos x="278" y="3"/>
                      </a:cxn>
                      <a:cxn ang="0">
                        <a:pos x="141" y="22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279" h="86">
                        <a:moveTo>
                          <a:pt x="3" y="53"/>
                        </a:moveTo>
                        <a:cubicBezTo>
                          <a:pt x="4" y="64"/>
                          <a:pt x="2" y="75"/>
                          <a:pt x="0" y="84"/>
                        </a:cubicBezTo>
                        <a:cubicBezTo>
                          <a:pt x="53" y="86"/>
                          <a:pt x="113" y="82"/>
                          <a:pt x="160" y="64"/>
                        </a:cubicBezTo>
                        <a:cubicBezTo>
                          <a:pt x="187" y="53"/>
                          <a:pt x="208" y="55"/>
                          <a:pt x="239" y="50"/>
                        </a:cubicBezTo>
                        <a:cubicBezTo>
                          <a:pt x="274" y="45"/>
                          <a:pt x="279" y="39"/>
                          <a:pt x="278" y="3"/>
                        </a:cubicBezTo>
                        <a:cubicBezTo>
                          <a:pt x="229" y="0"/>
                          <a:pt x="186" y="13"/>
                          <a:pt x="141" y="22"/>
                        </a:cubicBezTo>
                        <a:cubicBezTo>
                          <a:pt x="95" y="32"/>
                          <a:pt x="46" y="37"/>
                          <a:pt x="0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49" name="Freeform 122"/>
                  <p:cNvSpPr>
                    <a:spLocks/>
                  </p:cNvSpPr>
                  <p:nvPr/>
                </p:nvSpPr>
                <p:spPr bwMode="gray">
                  <a:xfrm>
                    <a:off x="-1695450" y="-7954962"/>
                    <a:ext cx="2128838" cy="3386138"/>
                  </a:xfrm>
                  <a:custGeom>
                    <a:avLst/>
                    <a:gdLst/>
                    <a:ahLst/>
                    <a:cxnLst>
                      <a:cxn ang="0">
                        <a:pos x="133" y="38"/>
                      </a:cxn>
                      <a:cxn ang="0">
                        <a:pos x="301" y="292"/>
                      </a:cxn>
                      <a:cxn ang="0">
                        <a:pos x="568" y="540"/>
                      </a:cxn>
                      <a:cxn ang="0">
                        <a:pos x="508" y="490"/>
                      </a:cxn>
                      <a:cxn ang="0">
                        <a:pos x="430" y="429"/>
                      </a:cxn>
                      <a:cxn ang="0">
                        <a:pos x="319" y="372"/>
                      </a:cxn>
                      <a:cxn ang="0">
                        <a:pos x="373" y="448"/>
                      </a:cxn>
                      <a:cxn ang="0">
                        <a:pos x="415" y="515"/>
                      </a:cxn>
                      <a:cxn ang="0">
                        <a:pos x="513" y="648"/>
                      </a:cxn>
                      <a:cxn ang="0">
                        <a:pos x="375" y="524"/>
                      </a:cxn>
                      <a:cxn ang="0">
                        <a:pos x="430" y="653"/>
                      </a:cxn>
                      <a:cxn ang="0">
                        <a:pos x="478" y="768"/>
                      </a:cxn>
                      <a:cxn ang="0">
                        <a:pos x="388" y="646"/>
                      </a:cxn>
                      <a:cxn ang="0">
                        <a:pos x="332" y="541"/>
                      </a:cxn>
                      <a:cxn ang="0">
                        <a:pos x="252" y="296"/>
                      </a:cxn>
                      <a:cxn ang="0">
                        <a:pos x="257" y="642"/>
                      </a:cxn>
                      <a:cxn ang="0">
                        <a:pos x="208" y="718"/>
                      </a:cxn>
                      <a:cxn ang="0">
                        <a:pos x="175" y="781"/>
                      </a:cxn>
                      <a:cxn ang="0">
                        <a:pos x="41" y="903"/>
                      </a:cxn>
                      <a:cxn ang="0">
                        <a:pos x="99" y="803"/>
                      </a:cxn>
                      <a:cxn ang="0">
                        <a:pos x="10" y="736"/>
                      </a:cxn>
                      <a:cxn ang="0">
                        <a:pos x="87" y="642"/>
                      </a:cxn>
                      <a:cxn ang="0">
                        <a:pos x="71" y="498"/>
                      </a:cxn>
                      <a:cxn ang="0">
                        <a:pos x="54" y="334"/>
                      </a:cxn>
                      <a:cxn ang="0">
                        <a:pos x="112" y="489"/>
                      </a:cxn>
                      <a:cxn ang="0">
                        <a:pos x="167" y="363"/>
                      </a:cxn>
                      <a:cxn ang="0">
                        <a:pos x="151" y="172"/>
                      </a:cxn>
                      <a:cxn ang="0">
                        <a:pos x="117" y="0"/>
                      </a:cxn>
                      <a:cxn ang="0">
                        <a:pos x="129" y="42"/>
                      </a:cxn>
                    </a:cxnLst>
                    <a:rect l="0" t="0" r="r" b="b"/>
                    <a:pathLst>
                      <a:path w="568" h="903">
                        <a:moveTo>
                          <a:pt x="133" y="38"/>
                        </a:moveTo>
                        <a:cubicBezTo>
                          <a:pt x="146" y="122"/>
                          <a:pt x="232" y="241"/>
                          <a:pt x="301" y="292"/>
                        </a:cubicBezTo>
                        <a:cubicBezTo>
                          <a:pt x="401" y="367"/>
                          <a:pt x="496" y="440"/>
                          <a:pt x="568" y="540"/>
                        </a:cubicBezTo>
                        <a:cubicBezTo>
                          <a:pt x="537" y="529"/>
                          <a:pt x="530" y="512"/>
                          <a:pt x="508" y="490"/>
                        </a:cubicBezTo>
                        <a:cubicBezTo>
                          <a:pt x="486" y="467"/>
                          <a:pt x="454" y="454"/>
                          <a:pt x="430" y="429"/>
                        </a:cubicBezTo>
                        <a:cubicBezTo>
                          <a:pt x="415" y="414"/>
                          <a:pt x="325" y="293"/>
                          <a:pt x="319" y="372"/>
                        </a:cubicBezTo>
                        <a:cubicBezTo>
                          <a:pt x="316" y="408"/>
                          <a:pt x="352" y="428"/>
                          <a:pt x="373" y="448"/>
                        </a:cubicBezTo>
                        <a:cubicBezTo>
                          <a:pt x="394" y="468"/>
                          <a:pt x="400" y="487"/>
                          <a:pt x="415" y="515"/>
                        </a:cubicBezTo>
                        <a:cubicBezTo>
                          <a:pt x="439" y="560"/>
                          <a:pt x="478" y="604"/>
                          <a:pt x="513" y="648"/>
                        </a:cubicBezTo>
                        <a:cubicBezTo>
                          <a:pt x="464" y="628"/>
                          <a:pt x="411" y="567"/>
                          <a:pt x="375" y="524"/>
                        </a:cubicBezTo>
                        <a:cubicBezTo>
                          <a:pt x="370" y="573"/>
                          <a:pt x="407" y="615"/>
                          <a:pt x="430" y="653"/>
                        </a:cubicBezTo>
                        <a:cubicBezTo>
                          <a:pt x="452" y="690"/>
                          <a:pt x="456" y="733"/>
                          <a:pt x="478" y="768"/>
                        </a:cubicBezTo>
                        <a:cubicBezTo>
                          <a:pt x="430" y="762"/>
                          <a:pt x="407" y="682"/>
                          <a:pt x="388" y="646"/>
                        </a:cubicBezTo>
                        <a:cubicBezTo>
                          <a:pt x="365" y="606"/>
                          <a:pt x="341" y="586"/>
                          <a:pt x="332" y="541"/>
                        </a:cubicBezTo>
                        <a:cubicBezTo>
                          <a:pt x="313" y="451"/>
                          <a:pt x="310" y="365"/>
                          <a:pt x="252" y="296"/>
                        </a:cubicBezTo>
                        <a:cubicBezTo>
                          <a:pt x="268" y="402"/>
                          <a:pt x="308" y="535"/>
                          <a:pt x="257" y="642"/>
                        </a:cubicBezTo>
                        <a:cubicBezTo>
                          <a:pt x="242" y="672"/>
                          <a:pt x="229" y="692"/>
                          <a:pt x="208" y="718"/>
                        </a:cubicBezTo>
                        <a:cubicBezTo>
                          <a:pt x="189" y="742"/>
                          <a:pt x="189" y="756"/>
                          <a:pt x="175" y="781"/>
                        </a:cubicBezTo>
                        <a:cubicBezTo>
                          <a:pt x="156" y="818"/>
                          <a:pt x="83" y="902"/>
                          <a:pt x="41" y="903"/>
                        </a:cubicBezTo>
                        <a:cubicBezTo>
                          <a:pt x="55" y="863"/>
                          <a:pt x="107" y="862"/>
                          <a:pt x="99" y="803"/>
                        </a:cubicBezTo>
                        <a:cubicBezTo>
                          <a:pt x="61" y="803"/>
                          <a:pt x="17" y="776"/>
                          <a:pt x="10" y="736"/>
                        </a:cubicBezTo>
                        <a:cubicBezTo>
                          <a:pt x="0" y="684"/>
                          <a:pt x="63" y="680"/>
                          <a:pt x="87" y="642"/>
                        </a:cubicBezTo>
                        <a:cubicBezTo>
                          <a:pt x="115" y="596"/>
                          <a:pt x="88" y="545"/>
                          <a:pt x="71" y="498"/>
                        </a:cubicBezTo>
                        <a:cubicBezTo>
                          <a:pt x="51" y="445"/>
                          <a:pt x="50" y="392"/>
                          <a:pt x="54" y="334"/>
                        </a:cubicBezTo>
                        <a:cubicBezTo>
                          <a:pt x="95" y="325"/>
                          <a:pt x="87" y="460"/>
                          <a:pt x="112" y="489"/>
                        </a:cubicBezTo>
                        <a:cubicBezTo>
                          <a:pt x="166" y="551"/>
                          <a:pt x="167" y="403"/>
                          <a:pt x="167" y="363"/>
                        </a:cubicBezTo>
                        <a:cubicBezTo>
                          <a:pt x="168" y="296"/>
                          <a:pt x="170" y="232"/>
                          <a:pt x="151" y="172"/>
                        </a:cubicBezTo>
                        <a:cubicBezTo>
                          <a:pt x="134" y="120"/>
                          <a:pt x="115" y="56"/>
                          <a:pt x="117" y="0"/>
                        </a:cubicBezTo>
                        <a:cubicBezTo>
                          <a:pt x="121" y="11"/>
                          <a:pt x="126" y="29"/>
                          <a:pt x="129" y="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0" name="Freeform 123"/>
                  <p:cNvSpPr>
                    <a:spLocks/>
                  </p:cNvSpPr>
                  <p:nvPr/>
                </p:nvSpPr>
                <p:spPr bwMode="gray">
                  <a:xfrm>
                    <a:off x="-1717675" y="-1122362"/>
                    <a:ext cx="854075" cy="655638"/>
                  </a:xfrm>
                  <a:custGeom>
                    <a:avLst/>
                    <a:gdLst/>
                    <a:ahLst/>
                    <a:cxnLst>
                      <a:cxn ang="0">
                        <a:pos x="228" y="175"/>
                      </a:cxn>
                      <a:cxn ang="0">
                        <a:pos x="130" y="75"/>
                      </a:cxn>
                      <a:cxn ang="0">
                        <a:pos x="0" y="0"/>
                      </a:cxn>
                      <a:cxn ang="0">
                        <a:pos x="54" y="54"/>
                      </a:cxn>
                      <a:cxn ang="0">
                        <a:pos x="60" y="137"/>
                      </a:cxn>
                      <a:cxn ang="0">
                        <a:pos x="152" y="137"/>
                      </a:cxn>
                      <a:cxn ang="0">
                        <a:pos x="228" y="167"/>
                      </a:cxn>
                    </a:cxnLst>
                    <a:rect l="0" t="0" r="r" b="b"/>
                    <a:pathLst>
                      <a:path w="228" h="175">
                        <a:moveTo>
                          <a:pt x="228" y="175"/>
                        </a:moveTo>
                        <a:cubicBezTo>
                          <a:pt x="209" y="136"/>
                          <a:pt x="165" y="105"/>
                          <a:pt x="130" y="75"/>
                        </a:cubicBezTo>
                        <a:cubicBezTo>
                          <a:pt x="90" y="42"/>
                          <a:pt x="34" y="30"/>
                          <a:pt x="0" y="0"/>
                        </a:cubicBezTo>
                        <a:cubicBezTo>
                          <a:pt x="4" y="32"/>
                          <a:pt x="37" y="32"/>
                          <a:pt x="54" y="54"/>
                        </a:cubicBezTo>
                        <a:cubicBezTo>
                          <a:pt x="72" y="77"/>
                          <a:pt x="70" y="113"/>
                          <a:pt x="60" y="137"/>
                        </a:cubicBezTo>
                        <a:cubicBezTo>
                          <a:pt x="90" y="149"/>
                          <a:pt x="120" y="134"/>
                          <a:pt x="152" y="137"/>
                        </a:cubicBezTo>
                        <a:cubicBezTo>
                          <a:pt x="180" y="141"/>
                          <a:pt x="203" y="157"/>
                          <a:pt x="228" y="1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1" name="Freeform 124"/>
                  <p:cNvSpPr>
                    <a:spLocks/>
                  </p:cNvSpPr>
                  <p:nvPr/>
                </p:nvSpPr>
                <p:spPr bwMode="gray">
                  <a:xfrm>
                    <a:off x="-87313" y="-639762"/>
                    <a:ext cx="1308100" cy="571500"/>
                  </a:xfrm>
                  <a:custGeom>
                    <a:avLst/>
                    <a:gdLst/>
                    <a:ahLst/>
                    <a:cxnLst>
                      <a:cxn ang="0">
                        <a:pos x="42" y="122"/>
                      </a:cxn>
                      <a:cxn ang="0">
                        <a:pos x="232" y="0"/>
                      </a:cxn>
                      <a:cxn ang="0">
                        <a:pos x="324" y="43"/>
                      </a:cxn>
                      <a:cxn ang="0">
                        <a:pos x="309" y="147"/>
                      </a:cxn>
                      <a:cxn ang="0">
                        <a:pos x="271" y="66"/>
                      </a:cxn>
                      <a:cxn ang="0">
                        <a:pos x="186" y="56"/>
                      </a:cxn>
                      <a:cxn ang="0">
                        <a:pos x="93" y="89"/>
                      </a:cxn>
                      <a:cxn ang="0">
                        <a:pos x="0" y="152"/>
                      </a:cxn>
                    </a:cxnLst>
                    <a:rect l="0" t="0" r="r" b="b"/>
                    <a:pathLst>
                      <a:path w="349" h="152">
                        <a:moveTo>
                          <a:pt x="42" y="122"/>
                        </a:moveTo>
                        <a:cubicBezTo>
                          <a:pt x="99" y="79"/>
                          <a:pt x="159" y="0"/>
                          <a:pt x="232" y="0"/>
                        </a:cubicBezTo>
                        <a:cubicBezTo>
                          <a:pt x="263" y="0"/>
                          <a:pt x="304" y="17"/>
                          <a:pt x="324" y="43"/>
                        </a:cubicBezTo>
                        <a:cubicBezTo>
                          <a:pt x="344" y="70"/>
                          <a:pt x="349" y="138"/>
                          <a:pt x="309" y="147"/>
                        </a:cubicBezTo>
                        <a:cubicBezTo>
                          <a:pt x="303" y="117"/>
                          <a:pt x="295" y="86"/>
                          <a:pt x="271" y="66"/>
                        </a:cubicBezTo>
                        <a:cubicBezTo>
                          <a:pt x="239" y="41"/>
                          <a:pt x="220" y="47"/>
                          <a:pt x="186" y="56"/>
                        </a:cubicBezTo>
                        <a:cubicBezTo>
                          <a:pt x="152" y="65"/>
                          <a:pt x="122" y="71"/>
                          <a:pt x="93" y="89"/>
                        </a:cubicBezTo>
                        <a:cubicBezTo>
                          <a:pt x="62" y="107"/>
                          <a:pt x="34" y="141"/>
                          <a:pt x="0" y="1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2" name="Freeform 125"/>
                  <p:cNvSpPr>
                    <a:spLocks/>
                  </p:cNvSpPr>
                  <p:nvPr/>
                </p:nvSpPr>
                <p:spPr bwMode="gray">
                  <a:xfrm>
                    <a:off x="-2501900" y="-6432550"/>
                    <a:ext cx="2092325" cy="4953000"/>
                  </a:xfrm>
                  <a:custGeom>
                    <a:avLst/>
                    <a:gdLst/>
                    <a:ahLst/>
                    <a:cxnLst>
                      <a:cxn ang="0">
                        <a:pos x="542" y="1169"/>
                      </a:cxn>
                      <a:cxn ang="0">
                        <a:pos x="541" y="1266"/>
                      </a:cxn>
                      <a:cxn ang="0">
                        <a:pos x="455" y="1312"/>
                      </a:cxn>
                      <a:cxn ang="0">
                        <a:pos x="398" y="1245"/>
                      </a:cxn>
                      <a:cxn ang="0">
                        <a:pos x="336" y="1160"/>
                      </a:cxn>
                      <a:cxn ang="0">
                        <a:pos x="233" y="990"/>
                      </a:cxn>
                      <a:cxn ang="0">
                        <a:pos x="155" y="793"/>
                      </a:cxn>
                      <a:cxn ang="0">
                        <a:pos x="27" y="404"/>
                      </a:cxn>
                      <a:cxn ang="0">
                        <a:pos x="23" y="185"/>
                      </a:cxn>
                      <a:cxn ang="0">
                        <a:pos x="6" y="0"/>
                      </a:cxn>
                      <a:cxn ang="0">
                        <a:pos x="10" y="170"/>
                      </a:cxn>
                      <a:cxn ang="0">
                        <a:pos x="44" y="346"/>
                      </a:cxn>
                      <a:cxn ang="0">
                        <a:pos x="106" y="591"/>
                      </a:cxn>
                      <a:cxn ang="0">
                        <a:pos x="276" y="1025"/>
                      </a:cxn>
                      <a:cxn ang="0">
                        <a:pos x="386" y="1213"/>
                      </a:cxn>
                      <a:cxn ang="0">
                        <a:pos x="482" y="1240"/>
                      </a:cxn>
                      <a:cxn ang="0">
                        <a:pos x="530" y="1148"/>
                      </a:cxn>
                    </a:cxnLst>
                    <a:rect l="0" t="0" r="r" b="b"/>
                    <a:pathLst>
                      <a:path w="558" h="1321">
                        <a:moveTo>
                          <a:pt x="542" y="1169"/>
                        </a:moveTo>
                        <a:cubicBezTo>
                          <a:pt x="558" y="1191"/>
                          <a:pt x="555" y="1242"/>
                          <a:pt x="541" y="1266"/>
                        </a:cubicBezTo>
                        <a:cubicBezTo>
                          <a:pt x="530" y="1287"/>
                          <a:pt x="479" y="1321"/>
                          <a:pt x="455" y="1312"/>
                        </a:cubicBezTo>
                        <a:cubicBezTo>
                          <a:pt x="444" y="1308"/>
                          <a:pt x="405" y="1254"/>
                          <a:pt x="398" y="1245"/>
                        </a:cubicBezTo>
                        <a:cubicBezTo>
                          <a:pt x="377" y="1220"/>
                          <a:pt x="353" y="1189"/>
                          <a:pt x="336" y="1160"/>
                        </a:cubicBezTo>
                        <a:cubicBezTo>
                          <a:pt x="303" y="1104"/>
                          <a:pt x="260" y="1050"/>
                          <a:pt x="233" y="990"/>
                        </a:cubicBezTo>
                        <a:cubicBezTo>
                          <a:pt x="205" y="927"/>
                          <a:pt x="177" y="855"/>
                          <a:pt x="155" y="793"/>
                        </a:cubicBezTo>
                        <a:cubicBezTo>
                          <a:pt x="111" y="667"/>
                          <a:pt x="41" y="541"/>
                          <a:pt x="27" y="404"/>
                        </a:cubicBezTo>
                        <a:cubicBezTo>
                          <a:pt x="20" y="326"/>
                          <a:pt x="43" y="261"/>
                          <a:pt x="23" y="185"/>
                        </a:cubicBezTo>
                        <a:cubicBezTo>
                          <a:pt x="6" y="123"/>
                          <a:pt x="0" y="66"/>
                          <a:pt x="6" y="0"/>
                        </a:cubicBezTo>
                        <a:cubicBezTo>
                          <a:pt x="6" y="58"/>
                          <a:pt x="11" y="114"/>
                          <a:pt x="10" y="170"/>
                        </a:cubicBezTo>
                        <a:cubicBezTo>
                          <a:pt x="10" y="236"/>
                          <a:pt x="29" y="286"/>
                          <a:pt x="44" y="346"/>
                        </a:cubicBezTo>
                        <a:cubicBezTo>
                          <a:pt x="65" y="427"/>
                          <a:pt x="79" y="511"/>
                          <a:pt x="106" y="591"/>
                        </a:cubicBezTo>
                        <a:cubicBezTo>
                          <a:pt x="157" y="739"/>
                          <a:pt x="225" y="885"/>
                          <a:pt x="276" y="1025"/>
                        </a:cubicBezTo>
                        <a:cubicBezTo>
                          <a:pt x="306" y="1106"/>
                          <a:pt x="317" y="1165"/>
                          <a:pt x="386" y="1213"/>
                        </a:cubicBezTo>
                        <a:cubicBezTo>
                          <a:pt x="412" y="1230"/>
                          <a:pt x="449" y="1254"/>
                          <a:pt x="482" y="1240"/>
                        </a:cubicBezTo>
                        <a:cubicBezTo>
                          <a:pt x="523" y="1224"/>
                          <a:pt x="518" y="1182"/>
                          <a:pt x="530" y="11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3" name="Freeform 126"/>
                  <p:cNvSpPr>
                    <a:spLocks/>
                  </p:cNvSpPr>
                  <p:nvPr/>
                </p:nvSpPr>
                <p:spPr bwMode="gray">
                  <a:xfrm>
                    <a:off x="-1466850" y="-1479550"/>
                    <a:ext cx="854075" cy="693738"/>
                  </a:xfrm>
                  <a:custGeom>
                    <a:avLst/>
                    <a:gdLst/>
                    <a:ahLst/>
                    <a:cxnLst>
                      <a:cxn ang="0">
                        <a:pos x="13" y="30"/>
                      </a:cxn>
                      <a:cxn ang="0">
                        <a:pos x="228" y="181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28" h="185">
                        <a:moveTo>
                          <a:pt x="13" y="30"/>
                        </a:moveTo>
                        <a:cubicBezTo>
                          <a:pt x="80" y="65"/>
                          <a:pt x="145" y="185"/>
                          <a:pt x="228" y="181"/>
                        </a:cubicBezTo>
                        <a:cubicBezTo>
                          <a:pt x="216" y="68"/>
                          <a:pt x="79" y="3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4" name="Freeform 127"/>
                  <p:cNvSpPr>
                    <a:spLocks/>
                  </p:cNvSpPr>
                  <p:nvPr/>
                </p:nvSpPr>
                <p:spPr bwMode="gray">
                  <a:xfrm>
                    <a:off x="-1069975" y="-7924800"/>
                    <a:ext cx="1316038" cy="647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56" y="77"/>
                      </a:cxn>
                      <a:cxn ang="0">
                        <a:pos x="351" y="12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51" h="173">
                        <a:moveTo>
                          <a:pt x="4" y="0"/>
                        </a:moveTo>
                        <a:cubicBezTo>
                          <a:pt x="61" y="17"/>
                          <a:pt x="98" y="62"/>
                          <a:pt x="156" y="77"/>
                        </a:cubicBezTo>
                        <a:cubicBezTo>
                          <a:pt x="212" y="92"/>
                          <a:pt x="304" y="90"/>
                          <a:pt x="351" y="123"/>
                        </a:cubicBezTo>
                        <a:cubicBezTo>
                          <a:pt x="231" y="173"/>
                          <a:pt x="90" y="6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5" name="Freeform 128"/>
                  <p:cNvSpPr>
                    <a:spLocks/>
                  </p:cNvSpPr>
                  <p:nvPr/>
                </p:nvSpPr>
                <p:spPr bwMode="gray">
                  <a:xfrm>
                    <a:off x="22225" y="-1809750"/>
                    <a:ext cx="441325" cy="627063"/>
                  </a:xfrm>
                  <a:custGeom>
                    <a:avLst/>
                    <a:gdLst/>
                    <a:ahLst/>
                    <a:cxnLst>
                      <a:cxn ang="0">
                        <a:pos x="5" y="71"/>
                      </a:cxn>
                      <a:cxn ang="0">
                        <a:pos x="97" y="4"/>
                      </a:cxn>
                      <a:cxn ang="0">
                        <a:pos x="25" y="167"/>
                      </a:cxn>
                      <a:cxn ang="0">
                        <a:pos x="46" y="64"/>
                      </a:cxn>
                      <a:cxn ang="0">
                        <a:pos x="0" y="80"/>
                      </a:cxn>
                    </a:cxnLst>
                    <a:rect l="0" t="0" r="r" b="b"/>
                    <a:pathLst>
                      <a:path w="118" h="167">
                        <a:moveTo>
                          <a:pt x="5" y="71"/>
                        </a:moveTo>
                        <a:cubicBezTo>
                          <a:pt x="22" y="46"/>
                          <a:pt x="63" y="0"/>
                          <a:pt x="97" y="4"/>
                        </a:cubicBezTo>
                        <a:cubicBezTo>
                          <a:pt x="118" y="70"/>
                          <a:pt x="64" y="119"/>
                          <a:pt x="25" y="167"/>
                        </a:cubicBezTo>
                        <a:cubicBezTo>
                          <a:pt x="38" y="136"/>
                          <a:pt x="85" y="96"/>
                          <a:pt x="46" y="64"/>
                        </a:cubicBezTo>
                        <a:cubicBezTo>
                          <a:pt x="27" y="58"/>
                          <a:pt x="9" y="63"/>
                          <a:pt x="0" y="8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6" name="Freeform 129"/>
                  <p:cNvSpPr>
                    <a:spLocks/>
                  </p:cNvSpPr>
                  <p:nvPr/>
                </p:nvSpPr>
                <p:spPr bwMode="gray">
                  <a:xfrm>
                    <a:off x="969963" y="-4073525"/>
                    <a:ext cx="304800" cy="2241550"/>
                  </a:xfrm>
                  <a:custGeom>
                    <a:avLst/>
                    <a:gdLst/>
                    <a:ahLst/>
                    <a:cxnLst>
                      <a:cxn ang="0">
                        <a:pos x="26" y="17"/>
                      </a:cxn>
                      <a:cxn ang="0">
                        <a:pos x="5" y="295"/>
                      </a:cxn>
                      <a:cxn ang="0">
                        <a:pos x="9" y="460"/>
                      </a:cxn>
                      <a:cxn ang="0">
                        <a:pos x="18" y="598"/>
                      </a:cxn>
                      <a:cxn ang="0">
                        <a:pos x="64" y="309"/>
                      </a:cxn>
                      <a:cxn ang="0">
                        <a:pos x="26" y="0"/>
                      </a:cxn>
                    </a:cxnLst>
                    <a:rect l="0" t="0" r="r" b="b"/>
                    <a:pathLst>
                      <a:path w="81" h="598">
                        <a:moveTo>
                          <a:pt x="26" y="17"/>
                        </a:moveTo>
                        <a:cubicBezTo>
                          <a:pt x="26" y="112"/>
                          <a:pt x="0" y="198"/>
                          <a:pt x="5" y="295"/>
                        </a:cubicBezTo>
                        <a:cubicBezTo>
                          <a:pt x="8" y="348"/>
                          <a:pt x="4" y="406"/>
                          <a:pt x="9" y="460"/>
                        </a:cubicBezTo>
                        <a:cubicBezTo>
                          <a:pt x="13" y="505"/>
                          <a:pt x="31" y="551"/>
                          <a:pt x="18" y="598"/>
                        </a:cubicBezTo>
                        <a:cubicBezTo>
                          <a:pt x="81" y="529"/>
                          <a:pt x="65" y="399"/>
                          <a:pt x="64" y="309"/>
                        </a:cubicBezTo>
                        <a:cubicBezTo>
                          <a:pt x="63" y="204"/>
                          <a:pt x="15" y="103"/>
                          <a:pt x="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7" name="Freeform 130"/>
                  <p:cNvSpPr>
                    <a:spLocks/>
                  </p:cNvSpPr>
                  <p:nvPr/>
                </p:nvSpPr>
                <p:spPr bwMode="gray">
                  <a:xfrm>
                    <a:off x="708025" y="-8191500"/>
                    <a:ext cx="501650" cy="3529013"/>
                  </a:xfrm>
                  <a:custGeom>
                    <a:avLst/>
                    <a:gdLst/>
                    <a:ahLst/>
                    <a:cxnLst>
                      <a:cxn ang="0">
                        <a:pos x="134" y="67"/>
                      </a:cxn>
                      <a:cxn ang="0">
                        <a:pos x="0" y="182"/>
                      </a:cxn>
                      <a:cxn ang="0">
                        <a:pos x="104" y="333"/>
                      </a:cxn>
                      <a:cxn ang="0">
                        <a:pos x="66" y="544"/>
                      </a:cxn>
                      <a:cxn ang="0">
                        <a:pos x="92" y="760"/>
                      </a:cxn>
                      <a:cxn ang="0">
                        <a:pos x="100" y="857"/>
                      </a:cxn>
                      <a:cxn ang="0">
                        <a:pos x="46" y="941"/>
                      </a:cxn>
                      <a:cxn ang="0">
                        <a:pos x="130" y="751"/>
                      </a:cxn>
                      <a:cxn ang="0">
                        <a:pos x="126" y="498"/>
                      </a:cxn>
                      <a:cxn ang="0">
                        <a:pos x="126" y="0"/>
                      </a:cxn>
                    </a:cxnLst>
                    <a:rect l="0" t="0" r="r" b="b"/>
                    <a:pathLst>
                      <a:path w="134" h="941">
                        <a:moveTo>
                          <a:pt x="134" y="67"/>
                        </a:moveTo>
                        <a:cubicBezTo>
                          <a:pt x="99" y="118"/>
                          <a:pt x="41" y="139"/>
                          <a:pt x="0" y="182"/>
                        </a:cubicBezTo>
                        <a:cubicBezTo>
                          <a:pt x="74" y="171"/>
                          <a:pt x="105" y="277"/>
                          <a:pt x="104" y="333"/>
                        </a:cubicBezTo>
                        <a:cubicBezTo>
                          <a:pt x="104" y="412"/>
                          <a:pt x="83" y="473"/>
                          <a:pt x="66" y="544"/>
                        </a:cubicBezTo>
                        <a:cubicBezTo>
                          <a:pt x="49" y="619"/>
                          <a:pt x="82" y="689"/>
                          <a:pt x="92" y="760"/>
                        </a:cubicBezTo>
                        <a:cubicBezTo>
                          <a:pt x="96" y="789"/>
                          <a:pt x="103" y="828"/>
                          <a:pt x="100" y="857"/>
                        </a:cubicBezTo>
                        <a:cubicBezTo>
                          <a:pt x="96" y="902"/>
                          <a:pt x="66" y="902"/>
                          <a:pt x="46" y="941"/>
                        </a:cubicBezTo>
                        <a:cubicBezTo>
                          <a:pt x="123" y="926"/>
                          <a:pt x="133" y="817"/>
                          <a:pt x="130" y="751"/>
                        </a:cubicBezTo>
                        <a:cubicBezTo>
                          <a:pt x="126" y="669"/>
                          <a:pt x="126" y="582"/>
                          <a:pt x="126" y="498"/>
                        </a:cubicBezTo>
                        <a:cubicBezTo>
                          <a:pt x="126" y="332"/>
                          <a:pt x="126" y="166"/>
                          <a:pt x="1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8" name="Freeform 131"/>
                  <p:cNvSpPr>
                    <a:spLocks/>
                  </p:cNvSpPr>
                  <p:nvPr/>
                </p:nvSpPr>
                <p:spPr bwMode="gray">
                  <a:xfrm>
                    <a:off x="198438" y="-10363200"/>
                    <a:ext cx="1046163" cy="1816100"/>
                  </a:xfrm>
                  <a:custGeom>
                    <a:avLst/>
                    <a:gdLst/>
                    <a:ahLst/>
                    <a:cxnLst>
                      <a:cxn ang="0">
                        <a:pos x="160" y="42"/>
                      </a:cxn>
                      <a:cxn ang="0">
                        <a:pos x="98" y="97"/>
                      </a:cxn>
                      <a:cxn ang="0">
                        <a:pos x="0" y="135"/>
                      </a:cxn>
                      <a:cxn ang="0">
                        <a:pos x="113" y="136"/>
                      </a:cxn>
                      <a:cxn ang="0">
                        <a:pos x="38" y="244"/>
                      </a:cxn>
                      <a:cxn ang="0">
                        <a:pos x="152" y="244"/>
                      </a:cxn>
                      <a:cxn ang="0">
                        <a:pos x="173" y="358"/>
                      </a:cxn>
                      <a:cxn ang="0">
                        <a:pos x="106" y="430"/>
                      </a:cxn>
                      <a:cxn ang="0">
                        <a:pos x="186" y="448"/>
                      </a:cxn>
                      <a:cxn ang="0">
                        <a:pos x="207" y="477"/>
                      </a:cxn>
                      <a:cxn ang="0">
                        <a:pos x="257" y="481"/>
                      </a:cxn>
                      <a:cxn ang="0">
                        <a:pos x="236" y="233"/>
                      </a:cxn>
                      <a:cxn ang="0">
                        <a:pos x="194" y="131"/>
                      </a:cxn>
                      <a:cxn ang="0">
                        <a:pos x="173" y="0"/>
                      </a:cxn>
                    </a:cxnLst>
                    <a:rect l="0" t="0" r="r" b="b"/>
                    <a:pathLst>
                      <a:path w="279" h="484">
                        <a:moveTo>
                          <a:pt x="160" y="42"/>
                        </a:moveTo>
                        <a:cubicBezTo>
                          <a:pt x="137" y="59"/>
                          <a:pt x="123" y="82"/>
                          <a:pt x="98" y="97"/>
                        </a:cubicBezTo>
                        <a:cubicBezTo>
                          <a:pt x="67" y="115"/>
                          <a:pt x="23" y="110"/>
                          <a:pt x="0" y="135"/>
                        </a:cubicBezTo>
                        <a:cubicBezTo>
                          <a:pt x="27" y="146"/>
                          <a:pt x="84" y="151"/>
                          <a:pt x="113" y="136"/>
                        </a:cubicBezTo>
                        <a:cubicBezTo>
                          <a:pt x="109" y="175"/>
                          <a:pt x="67" y="217"/>
                          <a:pt x="38" y="244"/>
                        </a:cubicBezTo>
                        <a:cubicBezTo>
                          <a:pt x="71" y="268"/>
                          <a:pt x="117" y="259"/>
                          <a:pt x="152" y="244"/>
                        </a:cubicBezTo>
                        <a:cubicBezTo>
                          <a:pt x="168" y="277"/>
                          <a:pt x="184" y="320"/>
                          <a:pt x="173" y="358"/>
                        </a:cubicBezTo>
                        <a:cubicBezTo>
                          <a:pt x="163" y="391"/>
                          <a:pt x="129" y="404"/>
                          <a:pt x="106" y="430"/>
                        </a:cubicBezTo>
                        <a:cubicBezTo>
                          <a:pt x="142" y="433"/>
                          <a:pt x="162" y="428"/>
                          <a:pt x="186" y="448"/>
                        </a:cubicBezTo>
                        <a:cubicBezTo>
                          <a:pt x="197" y="457"/>
                          <a:pt x="188" y="467"/>
                          <a:pt x="207" y="477"/>
                        </a:cubicBezTo>
                        <a:cubicBezTo>
                          <a:pt x="220" y="484"/>
                          <a:pt x="242" y="483"/>
                          <a:pt x="257" y="481"/>
                        </a:cubicBezTo>
                        <a:cubicBezTo>
                          <a:pt x="279" y="401"/>
                          <a:pt x="265" y="309"/>
                          <a:pt x="236" y="233"/>
                        </a:cubicBezTo>
                        <a:cubicBezTo>
                          <a:pt x="223" y="198"/>
                          <a:pt x="203" y="165"/>
                          <a:pt x="194" y="131"/>
                        </a:cubicBezTo>
                        <a:cubicBezTo>
                          <a:pt x="183" y="88"/>
                          <a:pt x="190" y="41"/>
                          <a:pt x="17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59" name="Freeform 132"/>
                  <p:cNvSpPr>
                    <a:spLocks/>
                  </p:cNvSpPr>
                  <p:nvPr/>
                </p:nvSpPr>
                <p:spPr bwMode="gray">
                  <a:xfrm>
                    <a:off x="-1928813" y="-10028237"/>
                    <a:ext cx="690563" cy="1974850"/>
                  </a:xfrm>
                  <a:custGeom>
                    <a:avLst/>
                    <a:gdLst/>
                    <a:ahLst/>
                    <a:cxnLst>
                      <a:cxn ang="0">
                        <a:pos x="153" y="21"/>
                      </a:cxn>
                      <a:cxn ang="0">
                        <a:pos x="149" y="307"/>
                      </a:cxn>
                      <a:cxn ang="0">
                        <a:pos x="148" y="423"/>
                      </a:cxn>
                      <a:cxn ang="0">
                        <a:pos x="173" y="527"/>
                      </a:cxn>
                      <a:cxn ang="0">
                        <a:pos x="127" y="334"/>
                      </a:cxn>
                      <a:cxn ang="0">
                        <a:pos x="0" y="219"/>
                      </a:cxn>
                      <a:cxn ang="0">
                        <a:pos x="111" y="219"/>
                      </a:cxn>
                      <a:cxn ang="0">
                        <a:pos x="128" y="159"/>
                      </a:cxn>
                      <a:cxn ang="0">
                        <a:pos x="76" y="118"/>
                      </a:cxn>
                      <a:cxn ang="0">
                        <a:pos x="146" y="89"/>
                      </a:cxn>
                      <a:cxn ang="0">
                        <a:pos x="166" y="0"/>
                      </a:cxn>
                    </a:cxnLst>
                    <a:rect l="0" t="0" r="r" b="b"/>
                    <a:pathLst>
                      <a:path w="184" h="527">
                        <a:moveTo>
                          <a:pt x="153" y="21"/>
                        </a:moveTo>
                        <a:cubicBezTo>
                          <a:pt x="184" y="90"/>
                          <a:pt x="153" y="230"/>
                          <a:pt x="149" y="307"/>
                        </a:cubicBezTo>
                        <a:cubicBezTo>
                          <a:pt x="147" y="346"/>
                          <a:pt x="141" y="385"/>
                          <a:pt x="148" y="423"/>
                        </a:cubicBezTo>
                        <a:cubicBezTo>
                          <a:pt x="156" y="460"/>
                          <a:pt x="180" y="487"/>
                          <a:pt x="173" y="527"/>
                        </a:cubicBezTo>
                        <a:cubicBezTo>
                          <a:pt x="136" y="491"/>
                          <a:pt x="143" y="384"/>
                          <a:pt x="127" y="334"/>
                        </a:cubicBezTo>
                        <a:cubicBezTo>
                          <a:pt x="112" y="284"/>
                          <a:pt x="51" y="241"/>
                          <a:pt x="0" y="219"/>
                        </a:cubicBezTo>
                        <a:cubicBezTo>
                          <a:pt x="34" y="218"/>
                          <a:pt x="84" y="248"/>
                          <a:pt x="111" y="219"/>
                        </a:cubicBezTo>
                        <a:cubicBezTo>
                          <a:pt x="121" y="208"/>
                          <a:pt x="131" y="174"/>
                          <a:pt x="128" y="159"/>
                        </a:cubicBezTo>
                        <a:cubicBezTo>
                          <a:pt x="120" y="128"/>
                          <a:pt x="97" y="140"/>
                          <a:pt x="76" y="118"/>
                        </a:cubicBezTo>
                        <a:cubicBezTo>
                          <a:pt x="93" y="93"/>
                          <a:pt x="125" y="108"/>
                          <a:pt x="146" y="89"/>
                        </a:cubicBezTo>
                        <a:cubicBezTo>
                          <a:pt x="165" y="70"/>
                          <a:pt x="168" y="25"/>
                          <a:pt x="16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0" name="Freeform 133"/>
                  <p:cNvSpPr>
                    <a:spLocks/>
                  </p:cNvSpPr>
                  <p:nvPr/>
                </p:nvSpPr>
                <p:spPr bwMode="gray">
                  <a:xfrm>
                    <a:off x="-3011488" y="-10186987"/>
                    <a:ext cx="482600" cy="506413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129" y="34"/>
                      </a:cxn>
                      <a:cxn ang="0">
                        <a:pos x="67" y="59"/>
                      </a:cxn>
                      <a:cxn ang="0">
                        <a:pos x="101" y="105"/>
                      </a:cxn>
                      <a:cxn ang="0">
                        <a:pos x="8" y="130"/>
                      </a:cxn>
                      <a:cxn ang="0">
                        <a:pos x="49" y="4"/>
                      </a:cxn>
                    </a:cxnLst>
                    <a:rect l="0" t="0" r="r" b="b"/>
                    <a:pathLst>
                      <a:path w="129" h="135">
                        <a:moveTo>
                          <a:pt x="53" y="0"/>
                        </a:moveTo>
                        <a:cubicBezTo>
                          <a:pt x="72" y="15"/>
                          <a:pt x="106" y="33"/>
                          <a:pt x="129" y="34"/>
                        </a:cubicBezTo>
                        <a:cubicBezTo>
                          <a:pt x="125" y="56"/>
                          <a:pt x="88" y="55"/>
                          <a:pt x="67" y="59"/>
                        </a:cubicBezTo>
                        <a:cubicBezTo>
                          <a:pt x="59" y="85"/>
                          <a:pt x="72" y="107"/>
                          <a:pt x="101" y="105"/>
                        </a:cubicBezTo>
                        <a:cubicBezTo>
                          <a:pt x="76" y="109"/>
                          <a:pt x="36" y="135"/>
                          <a:pt x="8" y="130"/>
                        </a:cubicBezTo>
                        <a:cubicBezTo>
                          <a:pt x="0" y="92"/>
                          <a:pt x="19" y="27"/>
                          <a:pt x="49" y="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1" name="Freeform 134"/>
                  <p:cNvSpPr>
                    <a:spLocks/>
                  </p:cNvSpPr>
                  <p:nvPr/>
                </p:nvSpPr>
                <p:spPr bwMode="gray">
                  <a:xfrm>
                    <a:off x="-668338" y="-1020762"/>
                    <a:ext cx="517525" cy="1327150"/>
                  </a:xfrm>
                  <a:custGeom>
                    <a:avLst/>
                    <a:gdLst/>
                    <a:ahLst/>
                    <a:cxnLst>
                      <a:cxn ang="0">
                        <a:pos x="113" y="220"/>
                      </a:cxn>
                      <a:cxn ang="0">
                        <a:pos x="83" y="0"/>
                      </a:cxn>
                      <a:cxn ang="0">
                        <a:pos x="29" y="190"/>
                      </a:cxn>
                      <a:cxn ang="0">
                        <a:pos x="20" y="250"/>
                      </a:cxn>
                      <a:cxn ang="0">
                        <a:pos x="27" y="300"/>
                      </a:cxn>
                      <a:cxn ang="0">
                        <a:pos x="8" y="305"/>
                      </a:cxn>
                      <a:cxn ang="0">
                        <a:pos x="112" y="351"/>
                      </a:cxn>
                      <a:cxn ang="0">
                        <a:pos x="121" y="203"/>
                      </a:cxn>
                    </a:cxnLst>
                    <a:rect l="0" t="0" r="r" b="b"/>
                    <a:pathLst>
                      <a:path w="138" h="354">
                        <a:moveTo>
                          <a:pt x="113" y="220"/>
                        </a:moveTo>
                        <a:cubicBezTo>
                          <a:pt x="84" y="153"/>
                          <a:pt x="83" y="76"/>
                          <a:pt x="83" y="0"/>
                        </a:cubicBezTo>
                        <a:cubicBezTo>
                          <a:pt x="71" y="48"/>
                          <a:pt x="22" y="132"/>
                          <a:pt x="29" y="190"/>
                        </a:cubicBezTo>
                        <a:cubicBezTo>
                          <a:pt x="67" y="202"/>
                          <a:pt x="68" y="259"/>
                          <a:pt x="20" y="250"/>
                        </a:cubicBezTo>
                        <a:cubicBezTo>
                          <a:pt x="18" y="269"/>
                          <a:pt x="25" y="283"/>
                          <a:pt x="27" y="300"/>
                        </a:cubicBezTo>
                        <a:cubicBezTo>
                          <a:pt x="20" y="301"/>
                          <a:pt x="16" y="305"/>
                          <a:pt x="8" y="305"/>
                        </a:cubicBezTo>
                        <a:cubicBezTo>
                          <a:pt x="0" y="345"/>
                          <a:pt x="83" y="354"/>
                          <a:pt x="112" y="351"/>
                        </a:cubicBezTo>
                        <a:cubicBezTo>
                          <a:pt x="114" y="306"/>
                          <a:pt x="138" y="244"/>
                          <a:pt x="121" y="20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2" name="Freeform 135"/>
                  <p:cNvSpPr>
                    <a:spLocks/>
                  </p:cNvSpPr>
                  <p:nvPr/>
                </p:nvSpPr>
                <p:spPr bwMode="gray">
                  <a:xfrm>
                    <a:off x="-604838" y="-2014537"/>
                    <a:ext cx="479425" cy="1439863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44" y="237"/>
                      </a:cxn>
                      <a:cxn ang="0">
                        <a:pos x="104" y="313"/>
                      </a:cxn>
                      <a:cxn ang="0">
                        <a:pos x="87" y="122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128" h="384">
                        <a:moveTo>
                          <a:pt x="24" y="4"/>
                        </a:moveTo>
                        <a:cubicBezTo>
                          <a:pt x="0" y="68"/>
                          <a:pt x="31" y="173"/>
                          <a:pt x="44" y="237"/>
                        </a:cubicBezTo>
                        <a:cubicBezTo>
                          <a:pt x="49" y="263"/>
                          <a:pt x="60" y="384"/>
                          <a:pt x="104" y="313"/>
                        </a:cubicBezTo>
                        <a:cubicBezTo>
                          <a:pt x="128" y="274"/>
                          <a:pt x="104" y="160"/>
                          <a:pt x="87" y="122"/>
                        </a:cubicBezTo>
                        <a:cubicBezTo>
                          <a:pt x="67" y="76"/>
                          <a:pt x="36" y="50"/>
                          <a:pt x="2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3" name="Freeform 136"/>
                  <p:cNvSpPr>
                    <a:spLocks/>
                  </p:cNvSpPr>
                  <p:nvPr/>
                </p:nvSpPr>
                <p:spPr bwMode="gray">
                  <a:xfrm>
                    <a:off x="-2559050" y="-12211050"/>
                    <a:ext cx="1046163" cy="311150"/>
                  </a:xfrm>
                  <a:custGeom>
                    <a:avLst/>
                    <a:gdLst/>
                    <a:ahLst/>
                    <a:cxnLst>
                      <a:cxn ang="0">
                        <a:pos x="258" y="20"/>
                      </a:cxn>
                      <a:cxn ang="0">
                        <a:pos x="110" y="7"/>
                      </a:cxn>
                      <a:cxn ang="0">
                        <a:pos x="0" y="83"/>
                      </a:cxn>
                      <a:cxn ang="0">
                        <a:pos x="122" y="41"/>
                      </a:cxn>
                      <a:cxn ang="0">
                        <a:pos x="279" y="20"/>
                      </a:cxn>
                    </a:cxnLst>
                    <a:rect l="0" t="0" r="r" b="b"/>
                    <a:pathLst>
                      <a:path w="279" h="83">
                        <a:moveTo>
                          <a:pt x="258" y="20"/>
                        </a:moveTo>
                        <a:cubicBezTo>
                          <a:pt x="206" y="20"/>
                          <a:pt x="162" y="0"/>
                          <a:pt x="110" y="7"/>
                        </a:cubicBezTo>
                        <a:cubicBezTo>
                          <a:pt x="77" y="12"/>
                          <a:pt x="7" y="47"/>
                          <a:pt x="0" y="83"/>
                        </a:cubicBezTo>
                        <a:cubicBezTo>
                          <a:pt x="44" y="75"/>
                          <a:pt x="78" y="45"/>
                          <a:pt x="122" y="41"/>
                        </a:cubicBezTo>
                        <a:cubicBezTo>
                          <a:pt x="168" y="37"/>
                          <a:pt x="243" y="51"/>
                          <a:pt x="279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4" name="Freeform 137"/>
                  <p:cNvSpPr>
                    <a:spLocks/>
                  </p:cNvSpPr>
                  <p:nvPr/>
                </p:nvSpPr>
                <p:spPr bwMode="gray">
                  <a:xfrm>
                    <a:off x="-3270250" y="-12414250"/>
                    <a:ext cx="600075" cy="454025"/>
                  </a:xfrm>
                  <a:custGeom>
                    <a:avLst/>
                    <a:gdLst/>
                    <a:ahLst/>
                    <a:cxnLst>
                      <a:cxn ang="0">
                        <a:pos x="4" y="116"/>
                      </a:cxn>
                      <a:cxn ang="0">
                        <a:pos x="160" y="0"/>
                      </a:cxn>
                      <a:cxn ang="0">
                        <a:pos x="0" y="121"/>
                      </a:cxn>
                    </a:cxnLst>
                    <a:rect l="0" t="0" r="r" b="b"/>
                    <a:pathLst>
                      <a:path w="160" h="121">
                        <a:moveTo>
                          <a:pt x="4" y="116"/>
                        </a:moveTo>
                        <a:cubicBezTo>
                          <a:pt x="36" y="75"/>
                          <a:pt x="109" y="19"/>
                          <a:pt x="160" y="0"/>
                        </a:cubicBezTo>
                        <a:cubicBezTo>
                          <a:pt x="136" y="36"/>
                          <a:pt x="44" y="115"/>
                          <a:pt x="0" y="1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5" name="Freeform 138"/>
                  <p:cNvSpPr>
                    <a:spLocks/>
                  </p:cNvSpPr>
                  <p:nvPr/>
                </p:nvSpPr>
                <p:spPr bwMode="gray">
                  <a:xfrm>
                    <a:off x="-3713163" y="-13385800"/>
                    <a:ext cx="944563" cy="746125"/>
                  </a:xfrm>
                  <a:custGeom>
                    <a:avLst/>
                    <a:gdLst/>
                    <a:ahLst/>
                    <a:cxnLst>
                      <a:cxn ang="0">
                        <a:pos x="207" y="101"/>
                      </a:cxn>
                      <a:cxn ang="0">
                        <a:pos x="30" y="0"/>
                      </a:cxn>
                      <a:cxn ang="0">
                        <a:pos x="101" y="114"/>
                      </a:cxn>
                      <a:cxn ang="0">
                        <a:pos x="0" y="152"/>
                      </a:cxn>
                      <a:cxn ang="0">
                        <a:pos x="126" y="138"/>
                      </a:cxn>
                      <a:cxn ang="0">
                        <a:pos x="252" y="126"/>
                      </a:cxn>
                      <a:cxn ang="0">
                        <a:pos x="223" y="92"/>
                      </a:cxn>
                    </a:cxnLst>
                    <a:rect l="0" t="0" r="r" b="b"/>
                    <a:pathLst>
                      <a:path w="252" h="199">
                        <a:moveTo>
                          <a:pt x="207" y="101"/>
                        </a:moveTo>
                        <a:cubicBezTo>
                          <a:pt x="131" y="101"/>
                          <a:pt x="92" y="34"/>
                          <a:pt x="30" y="0"/>
                        </a:cubicBezTo>
                        <a:cubicBezTo>
                          <a:pt x="40" y="43"/>
                          <a:pt x="84" y="73"/>
                          <a:pt x="101" y="114"/>
                        </a:cubicBezTo>
                        <a:cubicBezTo>
                          <a:pt x="70" y="130"/>
                          <a:pt x="38" y="157"/>
                          <a:pt x="0" y="152"/>
                        </a:cubicBezTo>
                        <a:cubicBezTo>
                          <a:pt x="11" y="199"/>
                          <a:pt x="102" y="157"/>
                          <a:pt x="126" y="138"/>
                        </a:cubicBezTo>
                        <a:cubicBezTo>
                          <a:pt x="175" y="100"/>
                          <a:pt x="199" y="115"/>
                          <a:pt x="252" y="126"/>
                        </a:cubicBezTo>
                        <a:cubicBezTo>
                          <a:pt x="250" y="111"/>
                          <a:pt x="236" y="100"/>
                          <a:pt x="223" y="9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6" name="Freeform 139"/>
                  <p:cNvSpPr>
                    <a:spLocks/>
                  </p:cNvSpPr>
                  <p:nvPr/>
                </p:nvSpPr>
                <p:spPr bwMode="gray">
                  <a:xfrm>
                    <a:off x="-3349625" y="-15114587"/>
                    <a:ext cx="498475" cy="495300"/>
                  </a:xfrm>
                  <a:custGeom>
                    <a:avLst/>
                    <a:gdLst/>
                    <a:ahLst/>
                    <a:cxnLst>
                      <a:cxn ang="0">
                        <a:pos x="0" y="13"/>
                      </a:cxn>
                      <a:cxn ang="0">
                        <a:pos x="126" y="126"/>
                      </a:cxn>
                      <a:cxn ang="0">
                        <a:pos x="66" y="77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133" h="132">
                        <a:moveTo>
                          <a:pt x="0" y="13"/>
                        </a:moveTo>
                        <a:cubicBezTo>
                          <a:pt x="26" y="71"/>
                          <a:pt x="52" y="132"/>
                          <a:pt x="126" y="126"/>
                        </a:cubicBezTo>
                        <a:cubicBezTo>
                          <a:pt x="133" y="95"/>
                          <a:pt x="87" y="89"/>
                          <a:pt x="66" y="77"/>
                        </a:cubicBezTo>
                        <a:cubicBezTo>
                          <a:pt x="34" y="59"/>
                          <a:pt x="12" y="43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7" name="Freeform 140"/>
                  <p:cNvSpPr>
                    <a:spLocks/>
                  </p:cNvSpPr>
                  <p:nvPr/>
                </p:nvSpPr>
                <p:spPr bwMode="gray">
                  <a:xfrm>
                    <a:off x="-3035300" y="-11566525"/>
                    <a:ext cx="304800" cy="600075"/>
                  </a:xfrm>
                  <a:custGeom>
                    <a:avLst/>
                    <a:gdLst/>
                    <a:ahLst/>
                    <a:cxnLst>
                      <a:cxn ang="0">
                        <a:pos x="72" y="55"/>
                      </a:cxn>
                      <a:cxn ang="0">
                        <a:pos x="76" y="151"/>
                      </a:cxn>
                      <a:cxn ang="0">
                        <a:pos x="4" y="80"/>
                      </a:cxn>
                      <a:cxn ang="0">
                        <a:pos x="68" y="68"/>
                      </a:cxn>
                    </a:cxnLst>
                    <a:rect l="0" t="0" r="r" b="b"/>
                    <a:pathLst>
                      <a:path w="81" h="160">
                        <a:moveTo>
                          <a:pt x="72" y="55"/>
                        </a:moveTo>
                        <a:cubicBezTo>
                          <a:pt x="61" y="108"/>
                          <a:pt x="27" y="104"/>
                          <a:pt x="76" y="151"/>
                        </a:cubicBezTo>
                        <a:cubicBezTo>
                          <a:pt x="37" y="160"/>
                          <a:pt x="0" y="117"/>
                          <a:pt x="4" y="80"/>
                        </a:cubicBezTo>
                        <a:cubicBezTo>
                          <a:pt x="10" y="31"/>
                          <a:pt x="81" y="0"/>
                          <a:pt x="68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8" name="Freeform 141"/>
                  <p:cNvSpPr>
                    <a:spLocks/>
                  </p:cNvSpPr>
                  <p:nvPr/>
                </p:nvSpPr>
                <p:spPr bwMode="gray">
                  <a:xfrm>
                    <a:off x="-1174750" y="-15687675"/>
                    <a:ext cx="423863" cy="173038"/>
                  </a:xfrm>
                  <a:custGeom>
                    <a:avLst/>
                    <a:gdLst/>
                    <a:ahLst/>
                    <a:cxnLst>
                      <a:cxn ang="0">
                        <a:pos x="5" y="13"/>
                      </a:cxn>
                      <a:cxn ang="0">
                        <a:pos x="113" y="0"/>
                      </a:cxn>
                      <a:cxn ang="0">
                        <a:pos x="92" y="32"/>
                      </a:cxn>
                      <a:cxn ang="0">
                        <a:pos x="56" y="45"/>
                      </a:cxn>
                      <a:cxn ang="0">
                        <a:pos x="42" y="40"/>
                      </a:cxn>
                      <a:cxn ang="0">
                        <a:pos x="20" y="37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13" h="46">
                        <a:moveTo>
                          <a:pt x="5" y="13"/>
                        </a:moveTo>
                        <a:cubicBezTo>
                          <a:pt x="41" y="29"/>
                          <a:pt x="80" y="18"/>
                          <a:pt x="113" y="0"/>
                        </a:cubicBezTo>
                        <a:cubicBezTo>
                          <a:pt x="107" y="10"/>
                          <a:pt x="102" y="26"/>
                          <a:pt x="92" y="32"/>
                        </a:cubicBezTo>
                        <a:cubicBezTo>
                          <a:pt x="84" y="37"/>
                          <a:pt x="66" y="46"/>
                          <a:pt x="56" y="45"/>
                        </a:cubicBezTo>
                        <a:cubicBezTo>
                          <a:pt x="50" y="45"/>
                          <a:pt x="47" y="42"/>
                          <a:pt x="42" y="40"/>
                        </a:cubicBezTo>
                        <a:cubicBezTo>
                          <a:pt x="35" y="38"/>
                          <a:pt x="27" y="39"/>
                          <a:pt x="20" y="37"/>
                        </a:cubicBezTo>
                        <a:cubicBezTo>
                          <a:pt x="11" y="34"/>
                          <a:pt x="3" y="21"/>
                          <a:pt x="0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69" name="Freeform 142"/>
                  <p:cNvSpPr>
                    <a:spLocks/>
                  </p:cNvSpPr>
                  <p:nvPr/>
                </p:nvSpPr>
                <p:spPr bwMode="gray">
                  <a:xfrm>
                    <a:off x="-1246188" y="-11239500"/>
                    <a:ext cx="1897063" cy="614363"/>
                  </a:xfrm>
                  <a:custGeom>
                    <a:avLst/>
                    <a:gdLst/>
                    <a:ahLst/>
                    <a:cxnLst>
                      <a:cxn ang="0">
                        <a:pos x="433" y="0"/>
                      </a:cxn>
                      <a:cxn ang="0">
                        <a:pos x="331" y="121"/>
                      </a:cxn>
                      <a:cxn ang="0">
                        <a:pos x="135" y="122"/>
                      </a:cxn>
                      <a:cxn ang="0">
                        <a:pos x="17" y="73"/>
                      </a:cxn>
                      <a:cxn ang="0">
                        <a:pos x="95" y="95"/>
                      </a:cxn>
                    </a:cxnLst>
                    <a:rect l="0" t="0" r="r" b="b"/>
                    <a:pathLst>
                      <a:path w="506" h="164">
                        <a:moveTo>
                          <a:pt x="433" y="0"/>
                        </a:moveTo>
                        <a:cubicBezTo>
                          <a:pt x="506" y="50"/>
                          <a:pt x="358" y="108"/>
                          <a:pt x="331" y="121"/>
                        </a:cubicBezTo>
                        <a:cubicBezTo>
                          <a:pt x="253" y="160"/>
                          <a:pt x="212" y="126"/>
                          <a:pt x="135" y="122"/>
                        </a:cubicBezTo>
                        <a:cubicBezTo>
                          <a:pt x="91" y="119"/>
                          <a:pt x="0" y="164"/>
                          <a:pt x="17" y="73"/>
                        </a:cubicBezTo>
                        <a:cubicBezTo>
                          <a:pt x="48" y="50"/>
                          <a:pt x="76" y="69"/>
                          <a:pt x="95" y="9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0" name="Freeform 143"/>
                  <p:cNvSpPr>
                    <a:spLocks/>
                  </p:cNvSpPr>
                  <p:nvPr/>
                </p:nvSpPr>
                <p:spPr bwMode="gray">
                  <a:xfrm>
                    <a:off x="-825500" y="-11150600"/>
                    <a:ext cx="592138" cy="203200"/>
                  </a:xfrm>
                  <a:custGeom>
                    <a:avLst/>
                    <a:gdLst/>
                    <a:ahLst/>
                    <a:cxnLst>
                      <a:cxn ang="0">
                        <a:pos x="0" y="54"/>
                      </a:cxn>
                      <a:cxn ang="0">
                        <a:pos x="106" y="0"/>
                      </a:cxn>
                      <a:cxn ang="0">
                        <a:pos x="90" y="42"/>
                      </a:cxn>
                      <a:cxn ang="0">
                        <a:pos x="156" y="5"/>
                      </a:cxn>
                      <a:cxn ang="0">
                        <a:pos x="158" y="25"/>
                      </a:cxn>
                    </a:cxnLst>
                    <a:rect l="0" t="0" r="r" b="b"/>
                    <a:pathLst>
                      <a:path w="158" h="54">
                        <a:moveTo>
                          <a:pt x="0" y="54"/>
                        </a:moveTo>
                        <a:cubicBezTo>
                          <a:pt x="44" y="50"/>
                          <a:pt x="68" y="17"/>
                          <a:pt x="106" y="0"/>
                        </a:cubicBezTo>
                        <a:cubicBezTo>
                          <a:pt x="100" y="16"/>
                          <a:pt x="103" y="28"/>
                          <a:pt x="90" y="42"/>
                        </a:cubicBezTo>
                        <a:cubicBezTo>
                          <a:pt x="115" y="37"/>
                          <a:pt x="136" y="19"/>
                          <a:pt x="156" y="5"/>
                        </a:cubicBezTo>
                        <a:cubicBezTo>
                          <a:pt x="157" y="11"/>
                          <a:pt x="158" y="18"/>
                          <a:pt x="158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1" name="Freeform 144"/>
                  <p:cNvSpPr>
                    <a:spLocks/>
                  </p:cNvSpPr>
                  <p:nvPr/>
                </p:nvSpPr>
                <p:spPr bwMode="gray">
                  <a:xfrm>
                    <a:off x="-417513" y="-19359562"/>
                    <a:ext cx="180975" cy="488950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1" y="30"/>
                      </a:cxn>
                      <a:cxn ang="0">
                        <a:pos x="15" y="26"/>
                      </a:cxn>
                      <a:cxn ang="0">
                        <a:pos x="6" y="53"/>
                      </a:cxn>
                      <a:cxn ang="0">
                        <a:pos x="12" y="75"/>
                      </a:cxn>
                      <a:cxn ang="0">
                        <a:pos x="4" y="72"/>
                      </a:cxn>
                      <a:cxn ang="0">
                        <a:pos x="7" y="108"/>
                      </a:cxn>
                      <a:cxn ang="0">
                        <a:pos x="3" y="105"/>
                      </a:cxn>
                      <a:cxn ang="0">
                        <a:pos x="1" y="122"/>
                      </a:cxn>
                      <a:cxn ang="0">
                        <a:pos x="16" y="130"/>
                      </a:cxn>
                      <a:cxn ang="0">
                        <a:pos x="16" y="114"/>
                      </a:cxn>
                      <a:cxn ang="0">
                        <a:pos x="26" y="121"/>
                      </a:cxn>
                      <a:cxn ang="0">
                        <a:pos x="27" y="100"/>
                      </a:cxn>
                      <a:cxn ang="0">
                        <a:pos x="34" y="105"/>
                      </a:cxn>
                      <a:cxn ang="0">
                        <a:pos x="34" y="69"/>
                      </a:cxn>
                      <a:cxn ang="0">
                        <a:pos x="48" y="78"/>
                      </a:cxn>
                      <a:cxn ang="0">
                        <a:pos x="39" y="48"/>
                      </a:cxn>
                      <a:cxn ang="0">
                        <a:pos x="37" y="23"/>
                      </a:cxn>
                      <a:cxn ang="0">
                        <a:pos x="42" y="23"/>
                      </a:cxn>
                      <a:cxn ang="0">
                        <a:pos x="40" y="13"/>
                      </a:cxn>
                      <a:cxn ang="0">
                        <a:pos x="33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48" h="130">
                        <a:moveTo>
                          <a:pt x="12" y="0"/>
                        </a:moveTo>
                        <a:cubicBezTo>
                          <a:pt x="22" y="7"/>
                          <a:pt x="21" y="18"/>
                          <a:pt x="21" y="30"/>
                        </a:cubicBezTo>
                        <a:cubicBezTo>
                          <a:pt x="19" y="29"/>
                          <a:pt x="17" y="28"/>
                          <a:pt x="15" y="26"/>
                        </a:cubicBezTo>
                        <a:cubicBezTo>
                          <a:pt x="14" y="30"/>
                          <a:pt x="20" y="66"/>
                          <a:pt x="6" y="53"/>
                        </a:cubicBezTo>
                        <a:cubicBezTo>
                          <a:pt x="6" y="61"/>
                          <a:pt x="8" y="68"/>
                          <a:pt x="12" y="75"/>
                        </a:cubicBezTo>
                        <a:cubicBezTo>
                          <a:pt x="9" y="76"/>
                          <a:pt x="7" y="74"/>
                          <a:pt x="4" y="72"/>
                        </a:cubicBezTo>
                        <a:cubicBezTo>
                          <a:pt x="3" y="84"/>
                          <a:pt x="5" y="97"/>
                          <a:pt x="7" y="108"/>
                        </a:cubicBezTo>
                        <a:cubicBezTo>
                          <a:pt x="6" y="107"/>
                          <a:pt x="5" y="107"/>
                          <a:pt x="3" y="105"/>
                        </a:cubicBezTo>
                        <a:cubicBezTo>
                          <a:pt x="3" y="113"/>
                          <a:pt x="0" y="115"/>
                          <a:pt x="1" y="122"/>
                        </a:cubicBezTo>
                        <a:cubicBezTo>
                          <a:pt x="5" y="124"/>
                          <a:pt x="11" y="127"/>
                          <a:pt x="16" y="130"/>
                        </a:cubicBezTo>
                        <a:cubicBezTo>
                          <a:pt x="16" y="125"/>
                          <a:pt x="16" y="120"/>
                          <a:pt x="16" y="114"/>
                        </a:cubicBezTo>
                        <a:cubicBezTo>
                          <a:pt x="19" y="116"/>
                          <a:pt x="22" y="119"/>
                          <a:pt x="26" y="121"/>
                        </a:cubicBezTo>
                        <a:cubicBezTo>
                          <a:pt x="26" y="114"/>
                          <a:pt x="27" y="107"/>
                          <a:pt x="27" y="100"/>
                        </a:cubicBezTo>
                        <a:cubicBezTo>
                          <a:pt x="30" y="101"/>
                          <a:pt x="32" y="103"/>
                          <a:pt x="34" y="105"/>
                        </a:cubicBezTo>
                        <a:cubicBezTo>
                          <a:pt x="39" y="97"/>
                          <a:pt x="35" y="78"/>
                          <a:pt x="34" y="69"/>
                        </a:cubicBezTo>
                        <a:cubicBezTo>
                          <a:pt x="35" y="73"/>
                          <a:pt x="44" y="76"/>
                          <a:pt x="48" y="78"/>
                        </a:cubicBezTo>
                        <a:cubicBezTo>
                          <a:pt x="48" y="68"/>
                          <a:pt x="40" y="59"/>
                          <a:pt x="39" y="48"/>
                        </a:cubicBezTo>
                        <a:cubicBezTo>
                          <a:pt x="46" y="47"/>
                          <a:pt x="38" y="28"/>
                          <a:pt x="37" y="23"/>
                        </a:cubicBezTo>
                        <a:cubicBezTo>
                          <a:pt x="38" y="23"/>
                          <a:pt x="40" y="23"/>
                          <a:pt x="42" y="23"/>
                        </a:cubicBezTo>
                        <a:cubicBezTo>
                          <a:pt x="42" y="23"/>
                          <a:pt x="40" y="14"/>
                          <a:pt x="40" y="13"/>
                        </a:cubicBezTo>
                        <a:cubicBezTo>
                          <a:pt x="38" y="11"/>
                          <a:pt x="36" y="9"/>
                          <a:pt x="33" y="8"/>
                        </a:cubicBezTo>
                        <a:cubicBezTo>
                          <a:pt x="28" y="5"/>
                          <a:pt x="17" y="1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2" name="Freeform 145"/>
                  <p:cNvSpPr>
                    <a:spLocks/>
                  </p:cNvSpPr>
                  <p:nvPr/>
                </p:nvSpPr>
                <p:spPr bwMode="gray">
                  <a:xfrm>
                    <a:off x="-95250" y="-19073812"/>
                    <a:ext cx="184150" cy="145097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9" y="38"/>
                      </a:cxn>
                      <a:cxn ang="0">
                        <a:pos x="22" y="74"/>
                      </a:cxn>
                      <a:cxn ang="0">
                        <a:pos x="32" y="176"/>
                      </a:cxn>
                      <a:cxn ang="0">
                        <a:pos x="26" y="162"/>
                      </a:cxn>
                      <a:cxn ang="0">
                        <a:pos x="25" y="188"/>
                      </a:cxn>
                      <a:cxn ang="0">
                        <a:pos x="25" y="222"/>
                      </a:cxn>
                      <a:cxn ang="0">
                        <a:pos x="15" y="250"/>
                      </a:cxn>
                      <a:cxn ang="0">
                        <a:pos x="19" y="273"/>
                      </a:cxn>
                      <a:cxn ang="0">
                        <a:pos x="14" y="252"/>
                      </a:cxn>
                      <a:cxn ang="0">
                        <a:pos x="11" y="328"/>
                      </a:cxn>
                      <a:cxn ang="0">
                        <a:pos x="8" y="362"/>
                      </a:cxn>
                      <a:cxn ang="0">
                        <a:pos x="2" y="387"/>
                      </a:cxn>
                      <a:cxn ang="0">
                        <a:pos x="21" y="363"/>
                      </a:cxn>
                      <a:cxn ang="0">
                        <a:pos x="31" y="328"/>
                      </a:cxn>
                      <a:cxn ang="0">
                        <a:pos x="34" y="285"/>
                      </a:cxn>
                      <a:cxn ang="0">
                        <a:pos x="38" y="241"/>
                      </a:cxn>
                      <a:cxn ang="0">
                        <a:pos x="45" y="196"/>
                      </a:cxn>
                      <a:cxn ang="0">
                        <a:pos x="46" y="157"/>
                      </a:cxn>
                      <a:cxn ang="0">
                        <a:pos x="43" y="117"/>
                      </a:cxn>
                      <a:cxn ang="0">
                        <a:pos x="36" y="81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49" h="387">
                        <a:moveTo>
                          <a:pt x="1" y="0"/>
                        </a:moveTo>
                        <a:cubicBezTo>
                          <a:pt x="0" y="12"/>
                          <a:pt x="8" y="27"/>
                          <a:pt x="9" y="38"/>
                        </a:cubicBezTo>
                        <a:cubicBezTo>
                          <a:pt x="11" y="50"/>
                          <a:pt x="18" y="62"/>
                          <a:pt x="22" y="74"/>
                        </a:cubicBezTo>
                        <a:cubicBezTo>
                          <a:pt x="33" y="104"/>
                          <a:pt x="38" y="143"/>
                          <a:pt x="32" y="176"/>
                        </a:cubicBezTo>
                        <a:cubicBezTo>
                          <a:pt x="31" y="171"/>
                          <a:pt x="26" y="168"/>
                          <a:pt x="26" y="162"/>
                        </a:cubicBezTo>
                        <a:cubicBezTo>
                          <a:pt x="27" y="171"/>
                          <a:pt x="25" y="180"/>
                          <a:pt x="25" y="188"/>
                        </a:cubicBezTo>
                        <a:cubicBezTo>
                          <a:pt x="25" y="199"/>
                          <a:pt x="27" y="212"/>
                          <a:pt x="25" y="222"/>
                        </a:cubicBezTo>
                        <a:cubicBezTo>
                          <a:pt x="23" y="231"/>
                          <a:pt x="16" y="241"/>
                          <a:pt x="15" y="250"/>
                        </a:cubicBezTo>
                        <a:cubicBezTo>
                          <a:pt x="14" y="258"/>
                          <a:pt x="17" y="266"/>
                          <a:pt x="19" y="273"/>
                        </a:cubicBezTo>
                        <a:cubicBezTo>
                          <a:pt x="19" y="267"/>
                          <a:pt x="16" y="258"/>
                          <a:pt x="14" y="252"/>
                        </a:cubicBezTo>
                        <a:cubicBezTo>
                          <a:pt x="2" y="276"/>
                          <a:pt x="11" y="303"/>
                          <a:pt x="11" y="328"/>
                        </a:cubicBezTo>
                        <a:cubicBezTo>
                          <a:pt x="11" y="340"/>
                          <a:pt x="10" y="351"/>
                          <a:pt x="8" y="362"/>
                        </a:cubicBezTo>
                        <a:cubicBezTo>
                          <a:pt x="7" y="370"/>
                          <a:pt x="6" y="380"/>
                          <a:pt x="2" y="387"/>
                        </a:cubicBezTo>
                        <a:cubicBezTo>
                          <a:pt x="7" y="378"/>
                          <a:pt x="17" y="373"/>
                          <a:pt x="21" y="363"/>
                        </a:cubicBezTo>
                        <a:cubicBezTo>
                          <a:pt x="26" y="351"/>
                          <a:pt x="29" y="340"/>
                          <a:pt x="31" y="328"/>
                        </a:cubicBezTo>
                        <a:cubicBezTo>
                          <a:pt x="33" y="314"/>
                          <a:pt x="32" y="299"/>
                          <a:pt x="34" y="285"/>
                        </a:cubicBezTo>
                        <a:cubicBezTo>
                          <a:pt x="35" y="270"/>
                          <a:pt x="38" y="256"/>
                          <a:pt x="38" y="241"/>
                        </a:cubicBezTo>
                        <a:cubicBezTo>
                          <a:pt x="39" y="226"/>
                          <a:pt x="41" y="210"/>
                          <a:pt x="45" y="196"/>
                        </a:cubicBezTo>
                        <a:cubicBezTo>
                          <a:pt x="49" y="182"/>
                          <a:pt x="46" y="172"/>
                          <a:pt x="46" y="157"/>
                        </a:cubicBezTo>
                        <a:cubicBezTo>
                          <a:pt x="46" y="143"/>
                          <a:pt x="46" y="131"/>
                          <a:pt x="43" y="117"/>
                        </a:cubicBezTo>
                        <a:cubicBezTo>
                          <a:pt x="42" y="106"/>
                          <a:pt x="40" y="92"/>
                          <a:pt x="36" y="81"/>
                        </a:cubicBezTo>
                        <a:cubicBezTo>
                          <a:pt x="30" y="67"/>
                          <a:pt x="9" y="10"/>
                          <a:pt x="1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3" name="Freeform 146"/>
                  <p:cNvSpPr>
                    <a:spLocks/>
                  </p:cNvSpPr>
                  <p:nvPr/>
                </p:nvSpPr>
                <p:spPr bwMode="gray">
                  <a:xfrm>
                    <a:off x="-2160588" y="-18788062"/>
                    <a:ext cx="220663" cy="557213"/>
                  </a:xfrm>
                  <a:custGeom>
                    <a:avLst/>
                    <a:gdLst/>
                    <a:ahLst/>
                    <a:cxnLst>
                      <a:cxn ang="0">
                        <a:pos x="59" y="142"/>
                      </a:cxn>
                      <a:cxn ang="0">
                        <a:pos x="50" y="113"/>
                      </a:cxn>
                      <a:cxn ang="0">
                        <a:pos x="54" y="79"/>
                      </a:cxn>
                      <a:cxn ang="0">
                        <a:pos x="39" y="97"/>
                      </a:cxn>
                      <a:cxn ang="0">
                        <a:pos x="38" y="63"/>
                      </a:cxn>
                      <a:cxn ang="0">
                        <a:pos x="18" y="73"/>
                      </a:cxn>
                      <a:cxn ang="0">
                        <a:pos x="21" y="0"/>
                      </a:cxn>
                      <a:cxn ang="0">
                        <a:pos x="2" y="34"/>
                      </a:cxn>
                      <a:cxn ang="0">
                        <a:pos x="1" y="72"/>
                      </a:cxn>
                      <a:cxn ang="0">
                        <a:pos x="14" y="106"/>
                      </a:cxn>
                      <a:cxn ang="0">
                        <a:pos x="22" y="122"/>
                      </a:cxn>
                      <a:cxn ang="0">
                        <a:pos x="29" y="140"/>
                      </a:cxn>
                      <a:cxn ang="0">
                        <a:pos x="38" y="147"/>
                      </a:cxn>
                      <a:cxn ang="0">
                        <a:pos x="38" y="149"/>
                      </a:cxn>
                      <a:cxn ang="0">
                        <a:pos x="49" y="144"/>
                      </a:cxn>
                      <a:cxn ang="0">
                        <a:pos x="59" y="142"/>
                      </a:cxn>
                    </a:cxnLst>
                    <a:rect l="0" t="0" r="r" b="b"/>
                    <a:pathLst>
                      <a:path w="59" h="149">
                        <a:moveTo>
                          <a:pt x="59" y="142"/>
                        </a:moveTo>
                        <a:cubicBezTo>
                          <a:pt x="57" y="132"/>
                          <a:pt x="50" y="124"/>
                          <a:pt x="50" y="113"/>
                        </a:cubicBezTo>
                        <a:cubicBezTo>
                          <a:pt x="49" y="101"/>
                          <a:pt x="52" y="90"/>
                          <a:pt x="54" y="79"/>
                        </a:cubicBezTo>
                        <a:cubicBezTo>
                          <a:pt x="46" y="78"/>
                          <a:pt x="38" y="90"/>
                          <a:pt x="39" y="97"/>
                        </a:cubicBezTo>
                        <a:cubicBezTo>
                          <a:pt x="34" y="86"/>
                          <a:pt x="31" y="73"/>
                          <a:pt x="38" y="63"/>
                        </a:cubicBezTo>
                        <a:cubicBezTo>
                          <a:pt x="29" y="59"/>
                          <a:pt x="23" y="68"/>
                          <a:pt x="18" y="73"/>
                        </a:cubicBezTo>
                        <a:cubicBezTo>
                          <a:pt x="11" y="49"/>
                          <a:pt x="16" y="24"/>
                          <a:pt x="21" y="0"/>
                        </a:cubicBezTo>
                        <a:cubicBezTo>
                          <a:pt x="9" y="4"/>
                          <a:pt x="3" y="23"/>
                          <a:pt x="2" y="34"/>
                        </a:cubicBezTo>
                        <a:cubicBezTo>
                          <a:pt x="1" y="46"/>
                          <a:pt x="0" y="61"/>
                          <a:pt x="1" y="72"/>
                        </a:cubicBezTo>
                        <a:cubicBezTo>
                          <a:pt x="3" y="85"/>
                          <a:pt x="7" y="95"/>
                          <a:pt x="14" y="106"/>
                        </a:cubicBezTo>
                        <a:cubicBezTo>
                          <a:pt x="17" y="111"/>
                          <a:pt x="20" y="117"/>
                          <a:pt x="22" y="122"/>
                        </a:cubicBezTo>
                        <a:cubicBezTo>
                          <a:pt x="25" y="127"/>
                          <a:pt x="26" y="135"/>
                          <a:pt x="29" y="140"/>
                        </a:cubicBezTo>
                        <a:cubicBezTo>
                          <a:pt x="31" y="144"/>
                          <a:pt x="34" y="146"/>
                          <a:pt x="38" y="147"/>
                        </a:cubicBezTo>
                        <a:cubicBezTo>
                          <a:pt x="38" y="148"/>
                          <a:pt x="38" y="148"/>
                          <a:pt x="38" y="149"/>
                        </a:cubicBezTo>
                        <a:cubicBezTo>
                          <a:pt x="43" y="149"/>
                          <a:pt x="45" y="146"/>
                          <a:pt x="49" y="144"/>
                        </a:cubicBezTo>
                        <a:cubicBezTo>
                          <a:pt x="52" y="143"/>
                          <a:pt x="57" y="142"/>
                          <a:pt x="59" y="1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4" name="Freeform 147"/>
                  <p:cNvSpPr>
                    <a:spLocks/>
                  </p:cNvSpPr>
                  <p:nvPr/>
                </p:nvSpPr>
                <p:spPr bwMode="gray">
                  <a:xfrm>
                    <a:off x="-2044700" y="-19318287"/>
                    <a:ext cx="280988" cy="176213"/>
                  </a:xfrm>
                  <a:custGeom>
                    <a:avLst/>
                    <a:gdLst/>
                    <a:ahLst/>
                    <a:cxnLst>
                      <a:cxn ang="0">
                        <a:pos x="0" y="38"/>
                      </a:cxn>
                      <a:cxn ang="0">
                        <a:pos x="75" y="1"/>
                      </a:cxn>
                      <a:cxn ang="0">
                        <a:pos x="58" y="18"/>
                      </a:cxn>
                      <a:cxn ang="0">
                        <a:pos x="40" y="34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75" h="47">
                        <a:moveTo>
                          <a:pt x="0" y="38"/>
                        </a:moveTo>
                        <a:cubicBezTo>
                          <a:pt x="20" y="17"/>
                          <a:pt x="45" y="0"/>
                          <a:pt x="75" y="1"/>
                        </a:cubicBezTo>
                        <a:cubicBezTo>
                          <a:pt x="75" y="7"/>
                          <a:pt x="62" y="15"/>
                          <a:pt x="58" y="18"/>
                        </a:cubicBezTo>
                        <a:cubicBezTo>
                          <a:pt x="52" y="23"/>
                          <a:pt x="46" y="28"/>
                          <a:pt x="40" y="34"/>
                        </a:cubicBezTo>
                        <a:cubicBezTo>
                          <a:pt x="27" y="47"/>
                          <a:pt x="16" y="38"/>
                          <a:pt x="0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5" name="Freeform 148"/>
                  <p:cNvSpPr>
                    <a:spLocks/>
                  </p:cNvSpPr>
                  <p:nvPr/>
                </p:nvSpPr>
                <p:spPr bwMode="gray">
                  <a:xfrm>
                    <a:off x="-1789113" y="-19535775"/>
                    <a:ext cx="295275" cy="117475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39" y="16"/>
                      </a:cxn>
                      <a:cxn ang="0">
                        <a:pos x="79" y="0"/>
                      </a:cxn>
                      <a:cxn ang="0">
                        <a:pos x="55" y="14"/>
                      </a:cxn>
                      <a:cxn ang="0">
                        <a:pos x="41" y="20"/>
                      </a:cxn>
                      <a:cxn ang="0">
                        <a:pos x="13" y="29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9" h="31">
                        <a:moveTo>
                          <a:pt x="0" y="10"/>
                        </a:moveTo>
                        <a:cubicBezTo>
                          <a:pt x="5" y="19"/>
                          <a:pt x="31" y="17"/>
                          <a:pt x="39" y="16"/>
                        </a:cubicBezTo>
                        <a:cubicBezTo>
                          <a:pt x="53" y="13"/>
                          <a:pt x="66" y="4"/>
                          <a:pt x="79" y="0"/>
                        </a:cubicBezTo>
                        <a:cubicBezTo>
                          <a:pt x="77" y="5"/>
                          <a:pt x="61" y="11"/>
                          <a:pt x="55" y="14"/>
                        </a:cubicBezTo>
                        <a:cubicBezTo>
                          <a:pt x="51" y="17"/>
                          <a:pt x="46" y="18"/>
                          <a:pt x="41" y="20"/>
                        </a:cubicBezTo>
                        <a:cubicBezTo>
                          <a:pt x="33" y="24"/>
                          <a:pt x="23" y="31"/>
                          <a:pt x="13" y="29"/>
                        </a:cubicBezTo>
                        <a:cubicBezTo>
                          <a:pt x="10" y="22"/>
                          <a:pt x="7" y="14"/>
                          <a:pt x="0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876" name="Freeform 149"/>
                  <p:cNvSpPr>
                    <a:spLocks/>
                  </p:cNvSpPr>
                  <p:nvPr/>
                </p:nvSpPr>
                <p:spPr bwMode="gray">
                  <a:xfrm>
                    <a:off x="-2052638" y="-19335750"/>
                    <a:ext cx="652463" cy="704850"/>
                  </a:xfrm>
                  <a:custGeom>
                    <a:avLst/>
                    <a:gdLst/>
                    <a:ahLst/>
                    <a:cxnLst>
                      <a:cxn ang="0">
                        <a:pos x="42" y="93"/>
                      </a:cxn>
                      <a:cxn ang="0">
                        <a:pos x="94" y="38"/>
                      </a:cxn>
                      <a:cxn ang="0">
                        <a:pos x="174" y="20"/>
                      </a:cxn>
                      <a:cxn ang="0">
                        <a:pos x="117" y="11"/>
                      </a:cxn>
                      <a:cxn ang="0">
                        <a:pos x="152" y="7"/>
                      </a:cxn>
                      <a:cxn ang="0">
                        <a:pos x="0" y="160"/>
                      </a:cxn>
                      <a:cxn ang="0">
                        <a:pos x="11" y="142"/>
                      </a:cxn>
                      <a:cxn ang="0">
                        <a:pos x="14" y="188"/>
                      </a:cxn>
                      <a:cxn ang="0">
                        <a:pos x="76" y="74"/>
                      </a:cxn>
                    </a:cxnLst>
                    <a:rect l="0" t="0" r="r" b="b"/>
                    <a:pathLst>
                      <a:path w="174" h="188">
                        <a:moveTo>
                          <a:pt x="42" y="93"/>
                        </a:moveTo>
                        <a:cubicBezTo>
                          <a:pt x="64" y="80"/>
                          <a:pt x="71" y="52"/>
                          <a:pt x="94" y="38"/>
                        </a:cubicBezTo>
                        <a:cubicBezTo>
                          <a:pt x="120" y="21"/>
                          <a:pt x="148" y="30"/>
                          <a:pt x="174" y="20"/>
                        </a:cubicBezTo>
                        <a:cubicBezTo>
                          <a:pt x="164" y="5"/>
                          <a:pt x="134" y="6"/>
                          <a:pt x="117" y="11"/>
                        </a:cubicBezTo>
                        <a:cubicBezTo>
                          <a:pt x="128" y="11"/>
                          <a:pt x="140" y="9"/>
                          <a:pt x="152" y="7"/>
                        </a:cubicBezTo>
                        <a:cubicBezTo>
                          <a:pt x="65" y="0"/>
                          <a:pt x="0" y="79"/>
                          <a:pt x="0" y="160"/>
                        </a:cubicBezTo>
                        <a:cubicBezTo>
                          <a:pt x="2" y="148"/>
                          <a:pt x="3" y="151"/>
                          <a:pt x="11" y="142"/>
                        </a:cubicBezTo>
                        <a:cubicBezTo>
                          <a:pt x="12" y="158"/>
                          <a:pt x="4" y="174"/>
                          <a:pt x="14" y="188"/>
                        </a:cubicBezTo>
                        <a:cubicBezTo>
                          <a:pt x="24" y="154"/>
                          <a:pt x="39" y="86"/>
                          <a:pt x="76" y="7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sp>
            <p:nvSpPr>
              <p:cNvPr id="10" name="Stern mit 5 Zacken 9"/>
              <p:cNvSpPr/>
              <p:nvPr/>
            </p:nvSpPr>
            <p:spPr bwMode="gray">
              <a:xfrm>
                <a:off x="5030994" y="2127638"/>
                <a:ext cx="427680" cy="427680"/>
              </a:xfrm>
              <a:prstGeom prst="star5">
                <a:avLst/>
              </a:prstGeom>
              <a:solidFill>
                <a:srgbClr val="FFC000"/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grpSp>
          <p:nvGrpSpPr>
            <p:cNvPr id="21" name="Gruppieren 985"/>
            <p:cNvGrpSpPr/>
            <p:nvPr/>
          </p:nvGrpSpPr>
          <p:grpSpPr>
            <a:xfrm>
              <a:off x="7398351" y="1506517"/>
              <a:ext cx="1410832" cy="2133511"/>
              <a:chOff x="7398351" y="1506517"/>
              <a:chExt cx="1410832" cy="2133511"/>
            </a:xfrm>
          </p:grpSpPr>
          <p:sp>
            <p:nvSpPr>
              <p:cNvPr id="34" name="Ellipse 33" descr="© INSCALE GmbH, 26.05.2010&#10;http://www.presentationload.com/"/>
              <p:cNvSpPr/>
              <p:nvPr/>
            </p:nvSpPr>
            <p:spPr bwMode="gray">
              <a:xfrm>
                <a:off x="7398351" y="2675156"/>
                <a:ext cx="1410832" cy="96487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698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22" name="Gruppieren 28"/>
              <p:cNvGrpSpPr/>
              <p:nvPr/>
            </p:nvGrpSpPr>
            <p:grpSpPr bwMode="gray">
              <a:xfrm>
                <a:off x="7689562" y="1574284"/>
                <a:ext cx="549436" cy="1663975"/>
                <a:chOff x="-4095750" y="5688013"/>
                <a:chExt cx="6791325" cy="20567650"/>
              </a:xfrm>
            </p:grpSpPr>
            <p:sp>
              <p:nvSpPr>
                <p:cNvPr id="1570" name="Freeform 267"/>
                <p:cNvSpPr>
                  <a:spLocks/>
                </p:cNvSpPr>
                <p:nvPr/>
              </p:nvSpPr>
              <p:spPr bwMode="gray">
                <a:xfrm>
                  <a:off x="1247775" y="10442576"/>
                  <a:ext cx="641350" cy="3325813"/>
                </a:xfrm>
                <a:custGeom>
                  <a:avLst/>
                  <a:gdLst/>
                  <a:ahLst/>
                  <a:cxnLst>
                    <a:cxn ang="0">
                      <a:pos x="12" y="41"/>
                    </a:cxn>
                    <a:cxn ang="0">
                      <a:pos x="0" y="275"/>
                    </a:cxn>
                    <a:cxn ang="0">
                      <a:pos x="34" y="498"/>
                    </a:cxn>
                    <a:cxn ang="0">
                      <a:pos x="1" y="887"/>
                    </a:cxn>
                    <a:cxn ang="0">
                      <a:pos x="35" y="736"/>
                    </a:cxn>
                    <a:cxn ang="0">
                      <a:pos x="18" y="415"/>
                    </a:cxn>
                    <a:cxn ang="0">
                      <a:pos x="24" y="211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171" h="887">
                      <a:moveTo>
                        <a:pt x="12" y="41"/>
                      </a:moveTo>
                      <a:cubicBezTo>
                        <a:pt x="37" y="97"/>
                        <a:pt x="0" y="207"/>
                        <a:pt x="0" y="275"/>
                      </a:cubicBezTo>
                      <a:cubicBezTo>
                        <a:pt x="0" y="361"/>
                        <a:pt x="6" y="422"/>
                        <a:pt x="34" y="498"/>
                      </a:cubicBezTo>
                      <a:cubicBezTo>
                        <a:pt x="80" y="621"/>
                        <a:pt x="171" y="811"/>
                        <a:pt x="1" y="887"/>
                      </a:cubicBezTo>
                      <a:cubicBezTo>
                        <a:pt x="13" y="832"/>
                        <a:pt x="35" y="802"/>
                        <a:pt x="35" y="736"/>
                      </a:cubicBezTo>
                      <a:cubicBezTo>
                        <a:pt x="35" y="631"/>
                        <a:pt x="28" y="520"/>
                        <a:pt x="18" y="415"/>
                      </a:cubicBezTo>
                      <a:cubicBezTo>
                        <a:pt x="11" y="345"/>
                        <a:pt x="18" y="278"/>
                        <a:pt x="24" y="211"/>
                      </a:cubicBezTo>
                      <a:cubicBezTo>
                        <a:pt x="30" y="144"/>
                        <a:pt x="7" y="62"/>
                        <a:pt x="29" y="0"/>
                      </a:cubicBezTo>
                    </a:path>
                  </a:pathLst>
                </a:custGeom>
                <a:solidFill>
                  <a:srgbClr val="1B242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1" name="Freeform 268"/>
                <p:cNvSpPr>
                  <a:spLocks/>
                </p:cNvSpPr>
                <p:nvPr/>
              </p:nvSpPr>
              <p:spPr bwMode="gray">
                <a:xfrm>
                  <a:off x="-3135313" y="23976013"/>
                  <a:ext cx="1889125" cy="2017713"/>
                </a:xfrm>
                <a:custGeom>
                  <a:avLst/>
                  <a:gdLst/>
                  <a:ahLst/>
                  <a:cxnLst>
                    <a:cxn ang="0">
                      <a:pos x="453" y="0"/>
                    </a:cxn>
                    <a:cxn ang="0">
                      <a:pos x="491" y="43"/>
                    </a:cxn>
                    <a:cxn ang="0">
                      <a:pos x="503" y="116"/>
                    </a:cxn>
                    <a:cxn ang="0">
                      <a:pos x="451" y="228"/>
                    </a:cxn>
                    <a:cxn ang="0">
                      <a:pos x="385" y="327"/>
                    </a:cxn>
                    <a:cxn ang="0">
                      <a:pos x="343" y="382"/>
                    </a:cxn>
                    <a:cxn ang="0">
                      <a:pos x="324" y="452"/>
                    </a:cxn>
                    <a:cxn ang="0">
                      <a:pos x="196" y="515"/>
                    </a:cxn>
                    <a:cxn ang="0">
                      <a:pos x="56" y="537"/>
                    </a:cxn>
                    <a:cxn ang="0">
                      <a:pos x="4" y="531"/>
                    </a:cxn>
                    <a:cxn ang="0">
                      <a:pos x="44" y="415"/>
                    </a:cxn>
                    <a:cxn ang="0">
                      <a:pos x="94" y="301"/>
                    </a:cxn>
                    <a:cxn ang="0">
                      <a:pos x="205" y="239"/>
                    </a:cxn>
                    <a:cxn ang="0">
                      <a:pos x="318" y="133"/>
                    </a:cxn>
                    <a:cxn ang="0">
                      <a:pos x="372" y="26"/>
                    </a:cxn>
                    <a:cxn ang="0">
                      <a:pos x="471" y="11"/>
                    </a:cxn>
                  </a:cxnLst>
                  <a:rect l="0" t="0" r="r" b="b"/>
                  <a:pathLst>
                    <a:path w="504" h="538">
                      <a:moveTo>
                        <a:pt x="453" y="0"/>
                      </a:moveTo>
                      <a:cubicBezTo>
                        <a:pt x="468" y="18"/>
                        <a:pt x="482" y="20"/>
                        <a:pt x="491" y="43"/>
                      </a:cubicBezTo>
                      <a:cubicBezTo>
                        <a:pt x="500" y="66"/>
                        <a:pt x="502" y="91"/>
                        <a:pt x="503" y="116"/>
                      </a:cubicBezTo>
                      <a:cubicBezTo>
                        <a:pt x="504" y="156"/>
                        <a:pt x="497" y="220"/>
                        <a:pt x="451" y="228"/>
                      </a:cubicBezTo>
                      <a:cubicBezTo>
                        <a:pt x="427" y="259"/>
                        <a:pt x="408" y="295"/>
                        <a:pt x="385" y="327"/>
                      </a:cubicBezTo>
                      <a:cubicBezTo>
                        <a:pt x="373" y="344"/>
                        <a:pt x="349" y="362"/>
                        <a:pt x="343" y="382"/>
                      </a:cubicBezTo>
                      <a:cubicBezTo>
                        <a:pt x="334" y="411"/>
                        <a:pt x="345" y="427"/>
                        <a:pt x="324" y="452"/>
                      </a:cubicBezTo>
                      <a:cubicBezTo>
                        <a:pt x="289" y="493"/>
                        <a:pt x="242" y="495"/>
                        <a:pt x="196" y="515"/>
                      </a:cubicBezTo>
                      <a:cubicBezTo>
                        <a:pt x="151" y="535"/>
                        <a:pt x="109" y="535"/>
                        <a:pt x="56" y="537"/>
                      </a:cubicBezTo>
                      <a:cubicBezTo>
                        <a:pt x="42" y="538"/>
                        <a:pt x="19" y="532"/>
                        <a:pt x="4" y="531"/>
                      </a:cubicBezTo>
                      <a:cubicBezTo>
                        <a:pt x="0" y="499"/>
                        <a:pt x="30" y="441"/>
                        <a:pt x="44" y="415"/>
                      </a:cubicBezTo>
                      <a:cubicBezTo>
                        <a:pt x="62" y="381"/>
                        <a:pt x="70" y="333"/>
                        <a:pt x="94" y="301"/>
                      </a:cubicBezTo>
                      <a:cubicBezTo>
                        <a:pt x="120" y="267"/>
                        <a:pt x="170" y="258"/>
                        <a:pt x="205" y="239"/>
                      </a:cubicBezTo>
                      <a:cubicBezTo>
                        <a:pt x="250" y="213"/>
                        <a:pt x="288" y="178"/>
                        <a:pt x="318" y="133"/>
                      </a:cubicBezTo>
                      <a:cubicBezTo>
                        <a:pt x="340" y="101"/>
                        <a:pt x="341" y="52"/>
                        <a:pt x="372" y="26"/>
                      </a:cubicBezTo>
                      <a:cubicBezTo>
                        <a:pt x="398" y="5"/>
                        <a:pt x="439" y="6"/>
                        <a:pt x="471" y="11"/>
                      </a:cubicBezTo>
                    </a:path>
                  </a:pathLst>
                </a:custGeom>
                <a:solidFill>
                  <a:srgbClr val="2B2B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2" name="Freeform 269"/>
                <p:cNvSpPr>
                  <a:spLocks/>
                </p:cNvSpPr>
                <p:nvPr/>
              </p:nvSpPr>
              <p:spPr bwMode="gray">
                <a:xfrm>
                  <a:off x="-2787650" y="15524163"/>
                  <a:ext cx="2917825" cy="9955213"/>
                </a:xfrm>
                <a:custGeom>
                  <a:avLst/>
                  <a:gdLst/>
                  <a:ahLst/>
                  <a:cxnLst>
                    <a:cxn ang="0">
                      <a:pos x="751" y="46"/>
                    </a:cxn>
                    <a:cxn ang="0">
                      <a:pos x="715" y="302"/>
                    </a:cxn>
                    <a:cxn ang="0">
                      <a:pos x="696" y="587"/>
                    </a:cxn>
                    <a:cxn ang="0">
                      <a:pos x="681" y="884"/>
                    </a:cxn>
                    <a:cxn ang="0">
                      <a:pos x="689" y="1016"/>
                    </a:cxn>
                    <a:cxn ang="0">
                      <a:pos x="651" y="1113"/>
                    </a:cxn>
                    <a:cxn ang="0">
                      <a:pos x="622" y="1298"/>
                    </a:cxn>
                    <a:cxn ang="0">
                      <a:pos x="568" y="1465"/>
                    </a:cxn>
                    <a:cxn ang="0">
                      <a:pos x="547" y="1679"/>
                    </a:cxn>
                    <a:cxn ang="0">
                      <a:pos x="424" y="2026"/>
                    </a:cxn>
                    <a:cxn ang="0">
                      <a:pos x="377" y="2201"/>
                    </a:cxn>
                    <a:cxn ang="0">
                      <a:pos x="377" y="2291"/>
                    </a:cxn>
                    <a:cxn ang="0">
                      <a:pos x="374" y="2408"/>
                    </a:cxn>
                    <a:cxn ang="0">
                      <a:pos x="286" y="2521"/>
                    </a:cxn>
                    <a:cxn ang="0">
                      <a:pos x="211" y="2655"/>
                    </a:cxn>
                    <a:cxn ang="0">
                      <a:pos x="12" y="2581"/>
                    </a:cxn>
                    <a:cxn ang="0">
                      <a:pos x="113" y="2475"/>
                    </a:cxn>
                    <a:cxn ang="0">
                      <a:pos x="210" y="2354"/>
                    </a:cxn>
                    <a:cxn ang="0">
                      <a:pos x="252" y="1741"/>
                    </a:cxn>
                    <a:cxn ang="0">
                      <a:pos x="270" y="1473"/>
                    </a:cxn>
                    <a:cxn ang="0">
                      <a:pos x="283" y="1380"/>
                    </a:cxn>
                    <a:cxn ang="0">
                      <a:pos x="345" y="1184"/>
                    </a:cxn>
                    <a:cxn ang="0">
                      <a:pos x="354" y="1079"/>
                    </a:cxn>
                    <a:cxn ang="0">
                      <a:pos x="372" y="967"/>
                    </a:cxn>
                    <a:cxn ang="0">
                      <a:pos x="357" y="676"/>
                    </a:cxn>
                    <a:cxn ang="0">
                      <a:pos x="358" y="8"/>
                    </a:cxn>
                    <a:cxn ang="0">
                      <a:pos x="778" y="50"/>
                    </a:cxn>
                  </a:cxnLst>
                  <a:rect l="0" t="0" r="r" b="b"/>
                  <a:pathLst>
                    <a:path w="778" h="2655">
                      <a:moveTo>
                        <a:pt x="751" y="46"/>
                      </a:moveTo>
                      <a:cubicBezTo>
                        <a:pt x="750" y="133"/>
                        <a:pt x="733" y="218"/>
                        <a:pt x="715" y="302"/>
                      </a:cubicBezTo>
                      <a:cubicBezTo>
                        <a:pt x="694" y="393"/>
                        <a:pt x="701" y="495"/>
                        <a:pt x="696" y="587"/>
                      </a:cubicBezTo>
                      <a:cubicBezTo>
                        <a:pt x="692" y="687"/>
                        <a:pt x="680" y="784"/>
                        <a:pt x="681" y="884"/>
                      </a:cubicBezTo>
                      <a:cubicBezTo>
                        <a:pt x="681" y="929"/>
                        <a:pt x="689" y="970"/>
                        <a:pt x="689" y="1016"/>
                      </a:cubicBezTo>
                      <a:cubicBezTo>
                        <a:pt x="688" y="1062"/>
                        <a:pt x="669" y="1075"/>
                        <a:pt x="651" y="1113"/>
                      </a:cubicBezTo>
                      <a:cubicBezTo>
                        <a:pt x="634" y="1151"/>
                        <a:pt x="641" y="1272"/>
                        <a:pt x="622" y="1298"/>
                      </a:cubicBezTo>
                      <a:cubicBezTo>
                        <a:pt x="592" y="1340"/>
                        <a:pt x="568" y="1404"/>
                        <a:pt x="568" y="1465"/>
                      </a:cubicBezTo>
                      <a:cubicBezTo>
                        <a:pt x="568" y="1538"/>
                        <a:pt x="568" y="1609"/>
                        <a:pt x="547" y="1679"/>
                      </a:cubicBezTo>
                      <a:cubicBezTo>
                        <a:pt x="529" y="1741"/>
                        <a:pt x="445" y="1972"/>
                        <a:pt x="424" y="2026"/>
                      </a:cubicBezTo>
                      <a:cubicBezTo>
                        <a:pt x="402" y="2084"/>
                        <a:pt x="382" y="2137"/>
                        <a:pt x="377" y="2201"/>
                      </a:cubicBezTo>
                      <a:cubicBezTo>
                        <a:pt x="374" y="2231"/>
                        <a:pt x="370" y="2262"/>
                        <a:pt x="377" y="2291"/>
                      </a:cubicBezTo>
                      <a:cubicBezTo>
                        <a:pt x="384" y="2320"/>
                        <a:pt x="384" y="2374"/>
                        <a:pt x="374" y="2408"/>
                      </a:cubicBezTo>
                      <a:cubicBezTo>
                        <a:pt x="358" y="2461"/>
                        <a:pt x="327" y="2480"/>
                        <a:pt x="286" y="2521"/>
                      </a:cubicBezTo>
                      <a:cubicBezTo>
                        <a:pt x="255" y="2552"/>
                        <a:pt x="255" y="2616"/>
                        <a:pt x="211" y="2655"/>
                      </a:cubicBezTo>
                      <a:cubicBezTo>
                        <a:pt x="211" y="2655"/>
                        <a:pt x="0" y="2611"/>
                        <a:pt x="12" y="2581"/>
                      </a:cubicBezTo>
                      <a:cubicBezTo>
                        <a:pt x="29" y="2541"/>
                        <a:pt x="79" y="2502"/>
                        <a:pt x="113" y="2475"/>
                      </a:cubicBezTo>
                      <a:cubicBezTo>
                        <a:pt x="148" y="2445"/>
                        <a:pt x="189" y="2396"/>
                        <a:pt x="210" y="2354"/>
                      </a:cubicBezTo>
                      <a:cubicBezTo>
                        <a:pt x="236" y="2303"/>
                        <a:pt x="255" y="1803"/>
                        <a:pt x="252" y="1741"/>
                      </a:cubicBezTo>
                      <a:cubicBezTo>
                        <a:pt x="251" y="1710"/>
                        <a:pt x="264" y="1503"/>
                        <a:pt x="270" y="1473"/>
                      </a:cubicBezTo>
                      <a:cubicBezTo>
                        <a:pt x="277" y="1436"/>
                        <a:pt x="286" y="1414"/>
                        <a:pt x="283" y="1380"/>
                      </a:cubicBezTo>
                      <a:cubicBezTo>
                        <a:pt x="278" y="1310"/>
                        <a:pt x="329" y="1249"/>
                        <a:pt x="345" y="1184"/>
                      </a:cubicBezTo>
                      <a:cubicBezTo>
                        <a:pt x="354" y="1152"/>
                        <a:pt x="350" y="1112"/>
                        <a:pt x="354" y="1079"/>
                      </a:cubicBezTo>
                      <a:cubicBezTo>
                        <a:pt x="357" y="1041"/>
                        <a:pt x="368" y="1005"/>
                        <a:pt x="372" y="967"/>
                      </a:cubicBezTo>
                      <a:cubicBezTo>
                        <a:pt x="382" y="870"/>
                        <a:pt x="373" y="768"/>
                        <a:pt x="357" y="676"/>
                      </a:cubicBezTo>
                      <a:cubicBezTo>
                        <a:pt x="321" y="456"/>
                        <a:pt x="347" y="227"/>
                        <a:pt x="358" y="8"/>
                      </a:cubicBezTo>
                      <a:cubicBezTo>
                        <a:pt x="506" y="0"/>
                        <a:pt x="644" y="5"/>
                        <a:pt x="778" y="5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3" name="Freeform 270"/>
                <p:cNvSpPr>
                  <a:spLocks/>
                </p:cNvSpPr>
                <p:nvPr/>
              </p:nvSpPr>
              <p:spPr bwMode="gray">
                <a:xfrm>
                  <a:off x="-1133475" y="7926388"/>
                  <a:ext cx="2122488" cy="3573463"/>
                </a:xfrm>
                <a:custGeom>
                  <a:avLst/>
                  <a:gdLst/>
                  <a:ahLst/>
                  <a:cxnLst>
                    <a:cxn ang="0">
                      <a:pos x="136" y="59"/>
                    </a:cxn>
                    <a:cxn ang="0">
                      <a:pos x="84" y="133"/>
                    </a:cxn>
                    <a:cxn ang="0">
                      <a:pos x="53" y="222"/>
                    </a:cxn>
                    <a:cxn ang="0">
                      <a:pos x="12" y="339"/>
                    </a:cxn>
                    <a:cxn ang="0">
                      <a:pos x="3" y="386"/>
                    </a:cxn>
                    <a:cxn ang="0">
                      <a:pos x="46" y="494"/>
                    </a:cxn>
                    <a:cxn ang="0">
                      <a:pos x="96" y="654"/>
                    </a:cxn>
                    <a:cxn ang="0">
                      <a:pos x="136" y="714"/>
                    </a:cxn>
                    <a:cxn ang="0">
                      <a:pos x="142" y="820"/>
                    </a:cxn>
                    <a:cxn ang="0">
                      <a:pos x="260" y="931"/>
                    </a:cxn>
                    <a:cxn ang="0">
                      <a:pos x="377" y="829"/>
                    </a:cxn>
                    <a:cxn ang="0">
                      <a:pos x="429" y="674"/>
                    </a:cxn>
                    <a:cxn ang="0">
                      <a:pos x="471" y="538"/>
                    </a:cxn>
                    <a:cxn ang="0">
                      <a:pos x="534" y="445"/>
                    </a:cxn>
                    <a:cxn ang="0">
                      <a:pos x="560" y="355"/>
                    </a:cxn>
                    <a:cxn ang="0">
                      <a:pos x="514" y="238"/>
                    </a:cxn>
                    <a:cxn ang="0">
                      <a:pos x="436" y="124"/>
                    </a:cxn>
                    <a:cxn ang="0">
                      <a:pos x="322" y="4"/>
                    </a:cxn>
                    <a:cxn ang="0">
                      <a:pos x="179" y="36"/>
                    </a:cxn>
                  </a:cxnLst>
                  <a:rect l="0" t="0" r="r" b="b"/>
                  <a:pathLst>
                    <a:path w="566" h="953">
                      <a:moveTo>
                        <a:pt x="136" y="59"/>
                      </a:moveTo>
                      <a:cubicBezTo>
                        <a:pt x="136" y="88"/>
                        <a:pt x="99" y="110"/>
                        <a:pt x="84" y="133"/>
                      </a:cubicBezTo>
                      <a:cubicBezTo>
                        <a:pt x="65" y="163"/>
                        <a:pt x="62" y="189"/>
                        <a:pt x="53" y="222"/>
                      </a:cubicBezTo>
                      <a:cubicBezTo>
                        <a:pt x="43" y="258"/>
                        <a:pt x="23" y="300"/>
                        <a:pt x="12" y="339"/>
                      </a:cubicBezTo>
                      <a:cubicBezTo>
                        <a:pt x="7" y="356"/>
                        <a:pt x="4" y="368"/>
                        <a:pt x="3" y="386"/>
                      </a:cubicBezTo>
                      <a:cubicBezTo>
                        <a:pt x="0" y="439"/>
                        <a:pt x="30" y="452"/>
                        <a:pt x="46" y="494"/>
                      </a:cubicBezTo>
                      <a:cubicBezTo>
                        <a:pt x="66" y="547"/>
                        <a:pt x="69" y="601"/>
                        <a:pt x="96" y="654"/>
                      </a:cubicBezTo>
                      <a:cubicBezTo>
                        <a:pt x="106" y="675"/>
                        <a:pt x="127" y="692"/>
                        <a:pt x="136" y="714"/>
                      </a:cubicBezTo>
                      <a:cubicBezTo>
                        <a:pt x="148" y="744"/>
                        <a:pt x="137" y="786"/>
                        <a:pt x="142" y="820"/>
                      </a:cubicBezTo>
                      <a:cubicBezTo>
                        <a:pt x="153" y="889"/>
                        <a:pt x="176" y="953"/>
                        <a:pt x="260" y="931"/>
                      </a:cubicBezTo>
                      <a:cubicBezTo>
                        <a:pt x="282" y="880"/>
                        <a:pt x="342" y="868"/>
                        <a:pt x="377" y="829"/>
                      </a:cubicBezTo>
                      <a:cubicBezTo>
                        <a:pt x="417" y="784"/>
                        <a:pt x="421" y="730"/>
                        <a:pt x="429" y="674"/>
                      </a:cubicBezTo>
                      <a:cubicBezTo>
                        <a:pt x="435" y="631"/>
                        <a:pt x="447" y="575"/>
                        <a:pt x="471" y="538"/>
                      </a:cubicBezTo>
                      <a:cubicBezTo>
                        <a:pt x="494" y="502"/>
                        <a:pt x="520" y="487"/>
                        <a:pt x="534" y="445"/>
                      </a:cubicBezTo>
                      <a:cubicBezTo>
                        <a:pt x="544" y="414"/>
                        <a:pt x="557" y="388"/>
                        <a:pt x="560" y="355"/>
                      </a:cubicBezTo>
                      <a:cubicBezTo>
                        <a:pt x="566" y="305"/>
                        <a:pt x="541" y="281"/>
                        <a:pt x="514" y="238"/>
                      </a:cubicBezTo>
                      <a:cubicBezTo>
                        <a:pt x="487" y="197"/>
                        <a:pt x="453" y="170"/>
                        <a:pt x="436" y="124"/>
                      </a:cubicBezTo>
                      <a:cubicBezTo>
                        <a:pt x="413" y="64"/>
                        <a:pt x="396" y="10"/>
                        <a:pt x="322" y="4"/>
                      </a:cubicBezTo>
                      <a:cubicBezTo>
                        <a:pt x="271" y="0"/>
                        <a:pt x="227" y="27"/>
                        <a:pt x="179" y="3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4" name="Freeform 271"/>
                <p:cNvSpPr>
                  <a:spLocks/>
                </p:cNvSpPr>
                <p:nvPr/>
              </p:nvSpPr>
              <p:spPr bwMode="gray">
                <a:xfrm>
                  <a:off x="-304800" y="23855363"/>
                  <a:ext cx="1431925" cy="2400300"/>
                </a:xfrm>
                <a:custGeom>
                  <a:avLst/>
                  <a:gdLst/>
                  <a:ahLst/>
                  <a:cxnLst>
                    <a:cxn ang="0">
                      <a:pos x="99" y="26"/>
                    </a:cxn>
                    <a:cxn ang="0">
                      <a:pos x="29" y="111"/>
                    </a:cxn>
                    <a:cxn ang="0">
                      <a:pos x="8" y="172"/>
                    </a:cxn>
                    <a:cxn ang="0">
                      <a:pos x="31" y="239"/>
                    </a:cxn>
                    <a:cxn ang="0">
                      <a:pos x="78" y="368"/>
                    </a:cxn>
                    <a:cxn ang="0">
                      <a:pos x="93" y="429"/>
                    </a:cxn>
                    <a:cxn ang="0">
                      <a:pos x="99" y="508"/>
                    </a:cxn>
                    <a:cxn ang="0">
                      <a:pos x="209" y="588"/>
                    </a:cxn>
                    <a:cxn ang="0">
                      <a:pos x="370" y="639"/>
                    </a:cxn>
                    <a:cxn ang="0">
                      <a:pos x="377" y="496"/>
                    </a:cxn>
                    <a:cxn ang="0">
                      <a:pos x="362" y="438"/>
                    </a:cxn>
                    <a:cxn ang="0">
                      <a:pos x="327" y="390"/>
                    </a:cxn>
                    <a:cxn ang="0">
                      <a:pos x="279" y="275"/>
                    </a:cxn>
                    <a:cxn ang="0">
                      <a:pos x="238" y="146"/>
                    </a:cxn>
                    <a:cxn ang="0">
                      <a:pos x="186" y="38"/>
                    </a:cxn>
                    <a:cxn ang="0">
                      <a:pos x="81" y="26"/>
                    </a:cxn>
                  </a:cxnLst>
                  <a:rect l="0" t="0" r="r" b="b"/>
                  <a:pathLst>
                    <a:path w="382" h="640">
                      <a:moveTo>
                        <a:pt x="99" y="26"/>
                      </a:moveTo>
                      <a:cubicBezTo>
                        <a:pt x="49" y="19"/>
                        <a:pt x="36" y="75"/>
                        <a:pt x="29" y="111"/>
                      </a:cubicBezTo>
                      <a:cubicBezTo>
                        <a:pt x="25" y="132"/>
                        <a:pt x="13" y="152"/>
                        <a:pt x="8" y="172"/>
                      </a:cubicBezTo>
                      <a:cubicBezTo>
                        <a:pt x="0" y="203"/>
                        <a:pt x="19" y="212"/>
                        <a:pt x="31" y="239"/>
                      </a:cubicBezTo>
                      <a:cubicBezTo>
                        <a:pt x="49" y="281"/>
                        <a:pt x="70" y="324"/>
                        <a:pt x="78" y="368"/>
                      </a:cubicBezTo>
                      <a:cubicBezTo>
                        <a:pt x="82" y="389"/>
                        <a:pt x="89" y="408"/>
                        <a:pt x="93" y="429"/>
                      </a:cubicBezTo>
                      <a:cubicBezTo>
                        <a:pt x="98" y="453"/>
                        <a:pt x="91" y="484"/>
                        <a:pt x="99" y="508"/>
                      </a:cubicBezTo>
                      <a:cubicBezTo>
                        <a:pt x="113" y="556"/>
                        <a:pt x="168" y="570"/>
                        <a:pt x="209" y="588"/>
                      </a:cubicBezTo>
                      <a:cubicBezTo>
                        <a:pt x="259" y="609"/>
                        <a:pt x="315" y="640"/>
                        <a:pt x="370" y="639"/>
                      </a:cubicBezTo>
                      <a:cubicBezTo>
                        <a:pt x="376" y="592"/>
                        <a:pt x="382" y="545"/>
                        <a:pt x="377" y="496"/>
                      </a:cubicBezTo>
                      <a:cubicBezTo>
                        <a:pt x="375" y="474"/>
                        <a:pt x="372" y="457"/>
                        <a:pt x="362" y="438"/>
                      </a:cubicBezTo>
                      <a:cubicBezTo>
                        <a:pt x="352" y="421"/>
                        <a:pt x="338" y="407"/>
                        <a:pt x="327" y="390"/>
                      </a:cubicBezTo>
                      <a:cubicBezTo>
                        <a:pt x="306" y="355"/>
                        <a:pt x="294" y="313"/>
                        <a:pt x="279" y="275"/>
                      </a:cubicBezTo>
                      <a:cubicBezTo>
                        <a:pt x="263" y="233"/>
                        <a:pt x="245" y="189"/>
                        <a:pt x="238" y="146"/>
                      </a:cubicBezTo>
                      <a:cubicBezTo>
                        <a:pt x="232" y="107"/>
                        <a:pt x="215" y="66"/>
                        <a:pt x="186" y="38"/>
                      </a:cubicBezTo>
                      <a:cubicBezTo>
                        <a:pt x="162" y="15"/>
                        <a:pt x="107" y="0"/>
                        <a:pt x="81" y="26"/>
                      </a:cubicBezTo>
                    </a:path>
                  </a:pathLst>
                </a:custGeom>
                <a:solidFill>
                  <a:srgbClr val="2B2B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5" name="Freeform 272"/>
                <p:cNvSpPr>
                  <a:spLocks/>
                </p:cNvSpPr>
                <p:nvPr/>
              </p:nvSpPr>
              <p:spPr bwMode="gray">
                <a:xfrm>
                  <a:off x="-117475" y="15621001"/>
                  <a:ext cx="1766888" cy="10001250"/>
                </a:xfrm>
                <a:custGeom>
                  <a:avLst/>
                  <a:gdLst/>
                  <a:ahLst/>
                  <a:cxnLst>
                    <a:cxn ang="0">
                      <a:pos x="66" y="16"/>
                    </a:cxn>
                    <a:cxn ang="0">
                      <a:pos x="48" y="498"/>
                    </a:cxn>
                    <a:cxn ang="0">
                      <a:pos x="84" y="980"/>
                    </a:cxn>
                    <a:cxn ang="0">
                      <a:pos x="89" y="1181"/>
                    </a:cxn>
                    <a:cxn ang="0">
                      <a:pos x="62" y="1388"/>
                    </a:cxn>
                    <a:cxn ang="0">
                      <a:pos x="66" y="1789"/>
                    </a:cxn>
                    <a:cxn ang="0">
                      <a:pos x="20" y="2297"/>
                    </a:cxn>
                    <a:cxn ang="0">
                      <a:pos x="4" y="2358"/>
                    </a:cxn>
                    <a:cxn ang="0">
                      <a:pos x="48" y="2479"/>
                    </a:cxn>
                    <a:cxn ang="0">
                      <a:pos x="91" y="2636"/>
                    </a:cxn>
                    <a:cxn ang="0">
                      <a:pos x="273" y="2631"/>
                    </a:cxn>
                    <a:cxn ang="0">
                      <a:pos x="201" y="2214"/>
                    </a:cxn>
                    <a:cxn ang="0">
                      <a:pos x="364" y="1357"/>
                    </a:cxn>
                    <a:cxn ang="0">
                      <a:pos x="353" y="1118"/>
                    </a:cxn>
                    <a:cxn ang="0">
                      <a:pos x="407" y="761"/>
                    </a:cxn>
                    <a:cxn ang="0">
                      <a:pos x="434" y="515"/>
                    </a:cxn>
                    <a:cxn ang="0">
                      <a:pos x="407" y="8"/>
                    </a:cxn>
                    <a:cxn ang="0">
                      <a:pos x="66" y="7"/>
                    </a:cxn>
                  </a:cxnLst>
                  <a:rect l="0" t="0" r="r" b="b"/>
                  <a:pathLst>
                    <a:path w="471" h="2667">
                      <a:moveTo>
                        <a:pt x="66" y="16"/>
                      </a:moveTo>
                      <a:cubicBezTo>
                        <a:pt x="97" y="171"/>
                        <a:pt x="48" y="335"/>
                        <a:pt x="48" y="498"/>
                      </a:cubicBezTo>
                      <a:cubicBezTo>
                        <a:pt x="48" y="668"/>
                        <a:pt x="53" y="823"/>
                        <a:pt x="84" y="980"/>
                      </a:cubicBezTo>
                      <a:cubicBezTo>
                        <a:pt x="97" y="1046"/>
                        <a:pt x="92" y="1111"/>
                        <a:pt x="89" y="1181"/>
                      </a:cubicBezTo>
                      <a:cubicBezTo>
                        <a:pt x="85" y="1254"/>
                        <a:pt x="89" y="1324"/>
                        <a:pt x="62" y="1388"/>
                      </a:cubicBezTo>
                      <a:cubicBezTo>
                        <a:pt x="0" y="1540"/>
                        <a:pt x="59" y="1653"/>
                        <a:pt x="66" y="1789"/>
                      </a:cubicBezTo>
                      <a:cubicBezTo>
                        <a:pt x="72" y="1893"/>
                        <a:pt x="35" y="2179"/>
                        <a:pt x="20" y="2297"/>
                      </a:cubicBezTo>
                      <a:cubicBezTo>
                        <a:pt x="19" y="2307"/>
                        <a:pt x="1" y="2333"/>
                        <a:pt x="4" y="2358"/>
                      </a:cubicBezTo>
                      <a:cubicBezTo>
                        <a:pt x="8" y="2405"/>
                        <a:pt x="36" y="2460"/>
                        <a:pt x="48" y="2479"/>
                      </a:cubicBezTo>
                      <a:cubicBezTo>
                        <a:pt x="75" y="2521"/>
                        <a:pt x="52" y="2613"/>
                        <a:pt x="91" y="2636"/>
                      </a:cubicBezTo>
                      <a:cubicBezTo>
                        <a:pt x="144" y="2667"/>
                        <a:pt x="273" y="2631"/>
                        <a:pt x="273" y="2631"/>
                      </a:cubicBezTo>
                      <a:cubicBezTo>
                        <a:pt x="232" y="2565"/>
                        <a:pt x="185" y="2354"/>
                        <a:pt x="201" y="2214"/>
                      </a:cubicBezTo>
                      <a:cubicBezTo>
                        <a:pt x="216" y="2078"/>
                        <a:pt x="371" y="1520"/>
                        <a:pt x="364" y="1357"/>
                      </a:cubicBezTo>
                      <a:cubicBezTo>
                        <a:pt x="359" y="1232"/>
                        <a:pt x="343" y="1241"/>
                        <a:pt x="353" y="1118"/>
                      </a:cubicBezTo>
                      <a:cubicBezTo>
                        <a:pt x="359" y="1043"/>
                        <a:pt x="391" y="831"/>
                        <a:pt x="407" y="761"/>
                      </a:cubicBezTo>
                      <a:cubicBezTo>
                        <a:pt x="426" y="679"/>
                        <a:pt x="434" y="601"/>
                        <a:pt x="434" y="515"/>
                      </a:cubicBezTo>
                      <a:cubicBezTo>
                        <a:pt x="434" y="360"/>
                        <a:pt x="471" y="144"/>
                        <a:pt x="407" y="8"/>
                      </a:cubicBezTo>
                      <a:cubicBezTo>
                        <a:pt x="295" y="0"/>
                        <a:pt x="179" y="7"/>
                        <a:pt x="66" y="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6" name="Freeform 273"/>
                <p:cNvSpPr>
                  <a:spLocks/>
                </p:cNvSpPr>
                <p:nvPr/>
              </p:nvSpPr>
              <p:spPr bwMode="gray">
                <a:xfrm>
                  <a:off x="-71438" y="19408776"/>
                  <a:ext cx="1577975" cy="2628900"/>
                </a:xfrm>
                <a:custGeom>
                  <a:avLst/>
                  <a:gdLst/>
                  <a:ahLst/>
                  <a:cxnLst>
                    <a:cxn ang="0">
                      <a:pos x="54" y="701"/>
                    </a:cxn>
                    <a:cxn ang="0">
                      <a:pos x="71" y="427"/>
                    </a:cxn>
                    <a:cxn ang="0">
                      <a:pos x="195" y="194"/>
                    </a:cxn>
                    <a:cxn ang="0">
                      <a:pos x="329" y="35"/>
                    </a:cxn>
                    <a:cxn ang="0">
                      <a:pos x="88" y="121"/>
                    </a:cxn>
                    <a:cxn ang="0">
                      <a:pos x="72" y="275"/>
                    </a:cxn>
                    <a:cxn ang="0">
                      <a:pos x="24" y="409"/>
                    </a:cxn>
                    <a:cxn ang="0">
                      <a:pos x="54" y="701"/>
                    </a:cxn>
                  </a:cxnLst>
                  <a:rect l="0" t="0" r="r" b="b"/>
                  <a:pathLst>
                    <a:path w="421" h="701">
                      <a:moveTo>
                        <a:pt x="54" y="701"/>
                      </a:moveTo>
                      <a:cubicBezTo>
                        <a:pt x="64" y="608"/>
                        <a:pt x="46" y="519"/>
                        <a:pt x="71" y="427"/>
                      </a:cubicBezTo>
                      <a:cubicBezTo>
                        <a:pt x="89" y="362"/>
                        <a:pt x="145" y="234"/>
                        <a:pt x="195" y="194"/>
                      </a:cubicBezTo>
                      <a:cubicBezTo>
                        <a:pt x="230" y="166"/>
                        <a:pt x="421" y="104"/>
                        <a:pt x="329" y="35"/>
                      </a:cubicBezTo>
                      <a:cubicBezTo>
                        <a:pt x="283" y="0"/>
                        <a:pt x="115" y="77"/>
                        <a:pt x="88" y="121"/>
                      </a:cubicBezTo>
                      <a:cubicBezTo>
                        <a:pt x="65" y="159"/>
                        <a:pt x="78" y="232"/>
                        <a:pt x="72" y="275"/>
                      </a:cubicBezTo>
                      <a:cubicBezTo>
                        <a:pt x="64" y="323"/>
                        <a:pt x="34" y="361"/>
                        <a:pt x="24" y="409"/>
                      </a:cubicBezTo>
                      <a:cubicBezTo>
                        <a:pt x="0" y="523"/>
                        <a:pt x="41" y="601"/>
                        <a:pt x="54" y="701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7" name="Freeform 274"/>
                <p:cNvSpPr>
                  <a:spLocks/>
                </p:cNvSpPr>
                <p:nvPr/>
              </p:nvSpPr>
              <p:spPr bwMode="gray">
                <a:xfrm>
                  <a:off x="-1557338" y="19745326"/>
                  <a:ext cx="1219200" cy="1957388"/>
                </a:xfrm>
                <a:custGeom>
                  <a:avLst/>
                  <a:gdLst/>
                  <a:ahLst/>
                  <a:cxnLst>
                    <a:cxn ang="0">
                      <a:pos x="23" y="109"/>
                    </a:cxn>
                    <a:cxn ang="0">
                      <a:pos x="107" y="178"/>
                    </a:cxn>
                    <a:cxn ang="0">
                      <a:pos x="205" y="237"/>
                    </a:cxn>
                    <a:cxn ang="0">
                      <a:pos x="210" y="390"/>
                    </a:cxn>
                    <a:cxn ang="0">
                      <a:pos x="216" y="522"/>
                    </a:cxn>
                    <a:cxn ang="0">
                      <a:pos x="246" y="337"/>
                    </a:cxn>
                    <a:cxn ang="0">
                      <a:pos x="300" y="163"/>
                    </a:cxn>
                    <a:cxn ang="0">
                      <a:pos x="199" y="43"/>
                    </a:cxn>
                    <a:cxn ang="0">
                      <a:pos x="0" y="62"/>
                    </a:cxn>
                  </a:cxnLst>
                  <a:rect l="0" t="0" r="r" b="b"/>
                  <a:pathLst>
                    <a:path w="325" h="522">
                      <a:moveTo>
                        <a:pt x="23" y="109"/>
                      </a:moveTo>
                      <a:cubicBezTo>
                        <a:pt x="61" y="126"/>
                        <a:pt x="76" y="155"/>
                        <a:pt x="107" y="178"/>
                      </a:cubicBezTo>
                      <a:cubicBezTo>
                        <a:pt x="135" y="199"/>
                        <a:pt x="186" y="202"/>
                        <a:pt x="205" y="237"/>
                      </a:cubicBezTo>
                      <a:cubicBezTo>
                        <a:pt x="226" y="276"/>
                        <a:pt x="204" y="345"/>
                        <a:pt x="210" y="390"/>
                      </a:cubicBezTo>
                      <a:cubicBezTo>
                        <a:pt x="217" y="436"/>
                        <a:pt x="241" y="473"/>
                        <a:pt x="216" y="522"/>
                      </a:cubicBezTo>
                      <a:cubicBezTo>
                        <a:pt x="263" y="493"/>
                        <a:pt x="243" y="387"/>
                        <a:pt x="246" y="337"/>
                      </a:cubicBezTo>
                      <a:cubicBezTo>
                        <a:pt x="249" y="268"/>
                        <a:pt x="280" y="226"/>
                        <a:pt x="300" y="163"/>
                      </a:cubicBezTo>
                      <a:cubicBezTo>
                        <a:pt x="325" y="84"/>
                        <a:pt x="269" y="64"/>
                        <a:pt x="199" y="43"/>
                      </a:cubicBezTo>
                      <a:cubicBezTo>
                        <a:pt x="152" y="29"/>
                        <a:pt x="25" y="0"/>
                        <a:pt x="0" y="62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8" name="Freeform 275"/>
                <p:cNvSpPr>
                  <a:spLocks/>
                </p:cNvSpPr>
                <p:nvPr/>
              </p:nvSpPr>
              <p:spPr bwMode="gray">
                <a:xfrm>
                  <a:off x="-1920875" y="9531351"/>
                  <a:ext cx="4233863" cy="5718175"/>
                </a:xfrm>
                <a:custGeom>
                  <a:avLst/>
                  <a:gdLst/>
                  <a:ahLst/>
                  <a:cxnLst>
                    <a:cxn ang="0">
                      <a:pos x="22" y="1482"/>
                    </a:cxn>
                    <a:cxn ang="0">
                      <a:pos x="50" y="1171"/>
                    </a:cxn>
                    <a:cxn ang="0">
                      <a:pos x="103" y="1012"/>
                    </a:cxn>
                    <a:cxn ang="0">
                      <a:pos x="220" y="880"/>
                    </a:cxn>
                    <a:cxn ang="0">
                      <a:pos x="268" y="712"/>
                    </a:cxn>
                    <a:cxn ang="0">
                      <a:pos x="237" y="502"/>
                    </a:cxn>
                    <a:cxn ang="0">
                      <a:pos x="190" y="437"/>
                    </a:cxn>
                    <a:cxn ang="0">
                      <a:pos x="227" y="56"/>
                    </a:cxn>
                    <a:cxn ang="0">
                      <a:pos x="390" y="296"/>
                    </a:cxn>
                    <a:cxn ang="0">
                      <a:pos x="507" y="220"/>
                    </a:cxn>
                    <a:cxn ang="0">
                      <a:pos x="642" y="179"/>
                    </a:cxn>
                    <a:cxn ang="0">
                      <a:pos x="792" y="489"/>
                    </a:cxn>
                    <a:cxn ang="0">
                      <a:pos x="954" y="897"/>
                    </a:cxn>
                    <a:cxn ang="0">
                      <a:pos x="1032" y="950"/>
                    </a:cxn>
                    <a:cxn ang="0">
                      <a:pos x="1051" y="1086"/>
                    </a:cxn>
                    <a:cxn ang="0">
                      <a:pos x="1111" y="1312"/>
                    </a:cxn>
                    <a:cxn ang="0">
                      <a:pos x="1126" y="1481"/>
                    </a:cxn>
                    <a:cxn ang="0">
                      <a:pos x="870" y="1517"/>
                    </a:cxn>
                    <a:cxn ang="0">
                      <a:pos x="624" y="1499"/>
                    </a:cxn>
                    <a:cxn ang="0">
                      <a:pos x="344" y="1505"/>
                    </a:cxn>
                    <a:cxn ang="0">
                      <a:pos x="222" y="1504"/>
                    </a:cxn>
                    <a:cxn ang="0">
                      <a:pos x="122" y="1395"/>
                    </a:cxn>
                    <a:cxn ang="0">
                      <a:pos x="22" y="1476"/>
                    </a:cxn>
                  </a:cxnLst>
                  <a:rect l="0" t="0" r="r" b="b"/>
                  <a:pathLst>
                    <a:path w="1129" h="1525">
                      <a:moveTo>
                        <a:pt x="22" y="1482"/>
                      </a:moveTo>
                      <a:cubicBezTo>
                        <a:pt x="57" y="1380"/>
                        <a:pt x="0" y="1268"/>
                        <a:pt x="50" y="1171"/>
                      </a:cubicBezTo>
                      <a:cubicBezTo>
                        <a:pt x="78" y="1116"/>
                        <a:pt x="86" y="1070"/>
                        <a:pt x="103" y="1012"/>
                      </a:cubicBezTo>
                      <a:cubicBezTo>
                        <a:pt x="127" y="930"/>
                        <a:pt x="156" y="924"/>
                        <a:pt x="220" y="880"/>
                      </a:cubicBezTo>
                      <a:cubicBezTo>
                        <a:pt x="287" y="833"/>
                        <a:pt x="283" y="799"/>
                        <a:pt x="268" y="712"/>
                      </a:cubicBezTo>
                      <a:cubicBezTo>
                        <a:pt x="256" y="646"/>
                        <a:pt x="263" y="566"/>
                        <a:pt x="237" y="502"/>
                      </a:cubicBezTo>
                      <a:cubicBezTo>
                        <a:pt x="226" y="474"/>
                        <a:pt x="204" y="462"/>
                        <a:pt x="190" y="437"/>
                      </a:cubicBezTo>
                      <a:cubicBezTo>
                        <a:pt x="147" y="359"/>
                        <a:pt x="119" y="106"/>
                        <a:pt x="227" y="56"/>
                      </a:cubicBezTo>
                      <a:cubicBezTo>
                        <a:pt x="346" y="0"/>
                        <a:pt x="336" y="256"/>
                        <a:pt x="390" y="296"/>
                      </a:cubicBezTo>
                      <a:cubicBezTo>
                        <a:pt x="455" y="344"/>
                        <a:pt x="484" y="256"/>
                        <a:pt x="507" y="220"/>
                      </a:cubicBezTo>
                      <a:cubicBezTo>
                        <a:pt x="534" y="178"/>
                        <a:pt x="590" y="161"/>
                        <a:pt x="642" y="179"/>
                      </a:cubicBezTo>
                      <a:cubicBezTo>
                        <a:pt x="769" y="223"/>
                        <a:pt x="784" y="376"/>
                        <a:pt x="792" y="489"/>
                      </a:cubicBezTo>
                      <a:cubicBezTo>
                        <a:pt x="804" y="649"/>
                        <a:pt x="825" y="792"/>
                        <a:pt x="954" y="897"/>
                      </a:cubicBezTo>
                      <a:cubicBezTo>
                        <a:pt x="976" y="915"/>
                        <a:pt x="1018" y="925"/>
                        <a:pt x="1032" y="950"/>
                      </a:cubicBezTo>
                      <a:cubicBezTo>
                        <a:pt x="1050" y="982"/>
                        <a:pt x="1046" y="1048"/>
                        <a:pt x="1051" y="1086"/>
                      </a:cubicBezTo>
                      <a:cubicBezTo>
                        <a:pt x="1060" y="1168"/>
                        <a:pt x="1091" y="1231"/>
                        <a:pt x="1111" y="1312"/>
                      </a:cubicBezTo>
                      <a:cubicBezTo>
                        <a:pt x="1125" y="1367"/>
                        <a:pt x="1129" y="1423"/>
                        <a:pt x="1126" y="1481"/>
                      </a:cubicBezTo>
                      <a:cubicBezTo>
                        <a:pt x="1041" y="1476"/>
                        <a:pt x="952" y="1509"/>
                        <a:pt x="870" y="1517"/>
                      </a:cubicBezTo>
                      <a:cubicBezTo>
                        <a:pt x="789" y="1525"/>
                        <a:pt x="705" y="1503"/>
                        <a:pt x="624" y="1499"/>
                      </a:cubicBezTo>
                      <a:cubicBezTo>
                        <a:pt x="530" y="1496"/>
                        <a:pt x="437" y="1506"/>
                        <a:pt x="344" y="1505"/>
                      </a:cubicBezTo>
                      <a:cubicBezTo>
                        <a:pt x="316" y="1505"/>
                        <a:pt x="244" y="1518"/>
                        <a:pt x="222" y="1504"/>
                      </a:cubicBezTo>
                      <a:cubicBezTo>
                        <a:pt x="164" y="1467"/>
                        <a:pt x="229" y="1376"/>
                        <a:pt x="122" y="1395"/>
                      </a:cubicBezTo>
                      <a:cubicBezTo>
                        <a:pt x="130" y="1436"/>
                        <a:pt x="58" y="1476"/>
                        <a:pt x="22" y="1476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79" name="Freeform 276"/>
                <p:cNvSpPr>
                  <a:spLocks/>
                </p:cNvSpPr>
                <p:nvPr/>
              </p:nvSpPr>
              <p:spPr bwMode="gray">
                <a:xfrm>
                  <a:off x="-1741488" y="14217651"/>
                  <a:ext cx="4021138" cy="6184900"/>
                </a:xfrm>
                <a:custGeom>
                  <a:avLst/>
                  <a:gdLst/>
                  <a:ahLst/>
                  <a:cxnLst>
                    <a:cxn ang="0">
                      <a:pos x="49" y="197"/>
                    </a:cxn>
                    <a:cxn ang="0">
                      <a:pos x="5" y="390"/>
                    </a:cxn>
                    <a:cxn ang="0">
                      <a:pos x="15" y="591"/>
                    </a:cxn>
                    <a:cxn ang="0">
                      <a:pos x="40" y="1036"/>
                    </a:cxn>
                    <a:cxn ang="0">
                      <a:pos x="40" y="1450"/>
                    </a:cxn>
                    <a:cxn ang="0">
                      <a:pos x="93" y="1609"/>
                    </a:cxn>
                    <a:cxn ang="0">
                      <a:pos x="338" y="1617"/>
                    </a:cxn>
                    <a:cxn ang="0">
                      <a:pos x="522" y="1555"/>
                    </a:cxn>
                    <a:cxn ang="0">
                      <a:pos x="741" y="1503"/>
                    </a:cxn>
                    <a:cxn ang="0">
                      <a:pos x="917" y="1442"/>
                    </a:cxn>
                    <a:cxn ang="0">
                      <a:pos x="932" y="1343"/>
                    </a:cxn>
                    <a:cxn ang="0">
                      <a:pos x="972" y="1249"/>
                    </a:cxn>
                    <a:cxn ang="0">
                      <a:pos x="1014" y="820"/>
                    </a:cxn>
                    <a:cxn ang="0">
                      <a:pos x="1039" y="379"/>
                    </a:cxn>
                    <a:cxn ang="0">
                      <a:pos x="987" y="100"/>
                    </a:cxn>
                    <a:cxn ang="0">
                      <a:pos x="680" y="21"/>
                    </a:cxn>
                    <a:cxn ang="0">
                      <a:pos x="338" y="30"/>
                    </a:cxn>
                    <a:cxn ang="0">
                      <a:pos x="40" y="109"/>
                    </a:cxn>
                  </a:cxnLst>
                  <a:rect l="0" t="0" r="r" b="b"/>
                  <a:pathLst>
                    <a:path w="1072" h="1649">
                      <a:moveTo>
                        <a:pt x="49" y="197"/>
                      </a:moveTo>
                      <a:cubicBezTo>
                        <a:pt x="49" y="268"/>
                        <a:pt x="9" y="321"/>
                        <a:pt x="5" y="390"/>
                      </a:cubicBezTo>
                      <a:cubicBezTo>
                        <a:pt x="1" y="463"/>
                        <a:pt x="23" y="516"/>
                        <a:pt x="15" y="591"/>
                      </a:cubicBezTo>
                      <a:cubicBezTo>
                        <a:pt x="0" y="742"/>
                        <a:pt x="40" y="880"/>
                        <a:pt x="40" y="1036"/>
                      </a:cubicBezTo>
                      <a:cubicBezTo>
                        <a:pt x="40" y="1175"/>
                        <a:pt x="58" y="1322"/>
                        <a:pt x="40" y="1450"/>
                      </a:cubicBezTo>
                      <a:cubicBezTo>
                        <a:pt x="30" y="1526"/>
                        <a:pt x="4" y="1558"/>
                        <a:pt x="93" y="1609"/>
                      </a:cubicBezTo>
                      <a:cubicBezTo>
                        <a:pt x="163" y="1649"/>
                        <a:pt x="272" y="1628"/>
                        <a:pt x="338" y="1617"/>
                      </a:cubicBezTo>
                      <a:cubicBezTo>
                        <a:pt x="401" y="1607"/>
                        <a:pt x="459" y="1564"/>
                        <a:pt x="522" y="1555"/>
                      </a:cubicBezTo>
                      <a:cubicBezTo>
                        <a:pt x="611" y="1543"/>
                        <a:pt x="669" y="1531"/>
                        <a:pt x="741" y="1503"/>
                      </a:cubicBezTo>
                      <a:cubicBezTo>
                        <a:pt x="801" y="1480"/>
                        <a:pt x="887" y="1491"/>
                        <a:pt x="917" y="1442"/>
                      </a:cubicBezTo>
                      <a:cubicBezTo>
                        <a:pt x="926" y="1426"/>
                        <a:pt x="927" y="1364"/>
                        <a:pt x="932" y="1343"/>
                      </a:cubicBezTo>
                      <a:cubicBezTo>
                        <a:pt x="942" y="1309"/>
                        <a:pt x="962" y="1280"/>
                        <a:pt x="972" y="1249"/>
                      </a:cubicBezTo>
                      <a:cubicBezTo>
                        <a:pt x="1013" y="1120"/>
                        <a:pt x="986" y="953"/>
                        <a:pt x="1014" y="820"/>
                      </a:cubicBezTo>
                      <a:cubicBezTo>
                        <a:pt x="1044" y="674"/>
                        <a:pt x="1047" y="525"/>
                        <a:pt x="1039" y="379"/>
                      </a:cubicBezTo>
                      <a:cubicBezTo>
                        <a:pt x="1035" y="279"/>
                        <a:pt x="1072" y="163"/>
                        <a:pt x="987" y="100"/>
                      </a:cubicBezTo>
                      <a:cubicBezTo>
                        <a:pt x="918" y="49"/>
                        <a:pt x="767" y="37"/>
                        <a:pt x="680" y="21"/>
                      </a:cubicBezTo>
                      <a:cubicBezTo>
                        <a:pt x="564" y="0"/>
                        <a:pt x="454" y="26"/>
                        <a:pt x="338" y="30"/>
                      </a:cubicBezTo>
                      <a:cubicBezTo>
                        <a:pt x="253" y="34"/>
                        <a:pt x="102" y="49"/>
                        <a:pt x="40" y="109"/>
                      </a:cubicBezTo>
                    </a:path>
                  </a:pathLst>
                </a:custGeom>
                <a:solidFill>
                  <a:srgbClr val="3F3B3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0" name="Freeform 277"/>
                <p:cNvSpPr>
                  <a:spLocks/>
                </p:cNvSpPr>
                <p:nvPr/>
              </p:nvSpPr>
              <p:spPr bwMode="gray">
                <a:xfrm>
                  <a:off x="-1141413" y="14004926"/>
                  <a:ext cx="1987550" cy="806450"/>
                </a:xfrm>
                <a:custGeom>
                  <a:avLst/>
                  <a:gdLst/>
                  <a:ahLst/>
                  <a:cxnLst>
                    <a:cxn ang="0">
                      <a:pos x="35" y="132"/>
                    </a:cxn>
                    <a:cxn ang="0">
                      <a:pos x="251" y="195"/>
                    </a:cxn>
                    <a:cxn ang="0">
                      <a:pos x="252" y="168"/>
                    </a:cxn>
                    <a:cxn ang="0">
                      <a:pos x="345" y="208"/>
                    </a:cxn>
                    <a:cxn ang="0">
                      <a:pos x="462" y="196"/>
                    </a:cxn>
                    <a:cxn ang="0">
                      <a:pos x="526" y="132"/>
                    </a:cxn>
                    <a:cxn ang="0">
                      <a:pos x="440" y="60"/>
                    </a:cxn>
                    <a:cxn ang="0">
                      <a:pos x="221" y="9"/>
                    </a:cxn>
                    <a:cxn ang="0">
                      <a:pos x="0" y="108"/>
                    </a:cxn>
                  </a:cxnLst>
                  <a:rect l="0" t="0" r="r" b="b"/>
                  <a:pathLst>
                    <a:path w="530" h="215">
                      <a:moveTo>
                        <a:pt x="35" y="132"/>
                      </a:moveTo>
                      <a:cubicBezTo>
                        <a:pt x="56" y="196"/>
                        <a:pt x="194" y="198"/>
                        <a:pt x="251" y="195"/>
                      </a:cubicBezTo>
                      <a:cubicBezTo>
                        <a:pt x="250" y="187"/>
                        <a:pt x="253" y="176"/>
                        <a:pt x="252" y="168"/>
                      </a:cubicBezTo>
                      <a:cubicBezTo>
                        <a:pt x="306" y="141"/>
                        <a:pt x="309" y="199"/>
                        <a:pt x="345" y="208"/>
                      </a:cubicBezTo>
                      <a:cubicBezTo>
                        <a:pt x="371" y="215"/>
                        <a:pt x="434" y="201"/>
                        <a:pt x="462" y="196"/>
                      </a:cubicBezTo>
                      <a:cubicBezTo>
                        <a:pt x="500" y="189"/>
                        <a:pt x="530" y="182"/>
                        <a:pt x="526" y="132"/>
                      </a:cubicBezTo>
                      <a:cubicBezTo>
                        <a:pt x="522" y="79"/>
                        <a:pt x="479" y="76"/>
                        <a:pt x="440" y="60"/>
                      </a:cubicBezTo>
                      <a:cubicBezTo>
                        <a:pt x="364" y="31"/>
                        <a:pt x="304" y="16"/>
                        <a:pt x="221" y="9"/>
                      </a:cubicBezTo>
                      <a:cubicBezTo>
                        <a:pt x="115" y="0"/>
                        <a:pt x="78" y="59"/>
                        <a:pt x="0" y="108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1" name="Freeform 278"/>
                <p:cNvSpPr>
                  <a:spLocks/>
                </p:cNvSpPr>
                <p:nvPr/>
              </p:nvSpPr>
              <p:spPr bwMode="gray">
                <a:xfrm>
                  <a:off x="-1774825" y="8439151"/>
                  <a:ext cx="3055938" cy="6232525"/>
                </a:xfrm>
                <a:custGeom>
                  <a:avLst/>
                  <a:gdLst/>
                  <a:ahLst/>
                  <a:cxnLst>
                    <a:cxn ang="0">
                      <a:pos x="256" y="0"/>
                    </a:cxn>
                    <a:cxn ang="0">
                      <a:pos x="124" y="102"/>
                    </a:cxn>
                    <a:cxn ang="0">
                      <a:pos x="0" y="191"/>
                    </a:cxn>
                    <a:cxn ang="0">
                      <a:pos x="169" y="149"/>
                    </a:cxn>
                    <a:cxn ang="0">
                      <a:pos x="238" y="254"/>
                    </a:cxn>
                    <a:cxn ang="0">
                      <a:pos x="205" y="535"/>
                    </a:cxn>
                    <a:cxn ang="0">
                      <a:pos x="194" y="880"/>
                    </a:cxn>
                    <a:cxn ang="0">
                      <a:pos x="209" y="1027"/>
                    </a:cxn>
                    <a:cxn ang="0">
                      <a:pos x="213" y="1130"/>
                    </a:cxn>
                    <a:cxn ang="0">
                      <a:pos x="232" y="1246"/>
                    </a:cxn>
                    <a:cxn ang="0">
                      <a:pos x="178" y="1344"/>
                    </a:cxn>
                    <a:cxn ang="0">
                      <a:pos x="198" y="1395"/>
                    </a:cxn>
                    <a:cxn ang="0">
                      <a:pos x="198" y="1467"/>
                    </a:cxn>
                    <a:cxn ang="0">
                      <a:pos x="251" y="1638"/>
                    </a:cxn>
                    <a:cxn ang="0">
                      <a:pos x="338" y="1660"/>
                    </a:cxn>
                    <a:cxn ang="0">
                      <a:pos x="411" y="1585"/>
                    </a:cxn>
                    <a:cxn ang="0">
                      <a:pos x="434" y="1403"/>
                    </a:cxn>
                    <a:cxn ang="0">
                      <a:pos x="454" y="1613"/>
                    </a:cxn>
                    <a:cxn ang="0">
                      <a:pos x="514" y="1660"/>
                    </a:cxn>
                    <a:cxn ang="0">
                      <a:pos x="626" y="1655"/>
                    </a:cxn>
                    <a:cxn ang="0">
                      <a:pos x="615" y="1451"/>
                    </a:cxn>
                    <a:cxn ang="0">
                      <a:pos x="639" y="1083"/>
                    </a:cxn>
                    <a:cxn ang="0">
                      <a:pos x="623" y="546"/>
                    </a:cxn>
                    <a:cxn ang="0">
                      <a:pos x="630" y="346"/>
                    </a:cxn>
                    <a:cxn ang="0">
                      <a:pos x="600" y="215"/>
                    </a:cxn>
                    <a:cxn ang="0">
                      <a:pos x="654" y="176"/>
                    </a:cxn>
                    <a:cxn ang="0">
                      <a:pos x="705" y="202"/>
                    </a:cxn>
                    <a:cxn ang="0">
                      <a:pos x="760" y="225"/>
                    </a:cxn>
                    <a:cxn ang="0">
                      <a:pos x="813" y="265"/>
                    </a:cxn>
                    <a:cxn ang="0">
                      <a:pos x="779" y="202"/>
                    </a:cxn>
                    <a:cxn ang="0">
                      <a:pos x="746" y="129"/>
                    </a:cxn>
                    <a:cxn ang="0">
                      <a:pos x="607" y="23"/>
                    </a:cxn>
                    <a:cxn ang="0">
                      <a:pos x="576" y="191"/>
                    </a:cxn>
                    <a:cxn ang="0">
                      <a:pos x="483" y="316"/>
                    </a:cxn>
                    <a:cxn ang="0">
                      <a:pos x="427" y="480"/>
                    </a:cxn>
                    <a:cxn ang="0">
                      <a:pos x="393" y="654"/>
                    </a:cxn>
                    <a:cxn ang="0">
                      <a:pos x="381" y="479"/>
                    </a:cxn>
                    <a:cxn ang="0">
                      <a:pos x="350" y="331"/>
                    </a:cxn>
                    <a:cxn ang="0">
                      <a:pos x="272" y="187"/>
                    </a:cxn>
                    <a:cxn ang="0">
                      <a:pos x="182" y="78"/>
                    </a:cxn>
                  </a:cxnLst>
                  <a:rect l="0" t="0" r="r" b="b"/>
                  <a:pathLst>
                    <a:path w="815" h="1662">
                      <a:moveTo>
                        <a:pt x="256" y="0"/>
                      </a:moveTo>
                      <a:cubicBezTo>
                        <a:pt x="211" y="40"/>
                        <a:pt x="171" y="69"/>
                        <a:pt x="124" y="102"/>
                      </a:cubicBezTo>
                      <a:cubicBezTo>
                        <a:pt x="87" y="129"/>
                        <a:pt x="50" y="196"/>
                        <a:pt x="0" y="191"/>
                      </a:cubicBezTo>
                      <a:cubicBezTo>
                        <a:pt x="63" y="237"/>
                        <a:pt x="121" y="165"/>
                        <a:pt x="169" y="149"/>
                      </a:cubicBezTo>
                      <a:cubicBezTo>
                        <a:pt x="204" y="186"/>
                        <a:pt x="255" y="201"/>
                        <a:pt x="238" y="254"/>
                      </a:cubicBezTo>
                      <a:cubicBezTo>
                        <a:pt x="209" y="343"/>
                        <a:pt x="205" y="438"/>
                        <a:pt x="205" y="535"/>
                      </a:cubicBezTo>
                      <a:cubicBezTo>
                        <a:pt x="206" y="650"/>
                        <a:pt x="189" y="764"/>
                        <a:pt x="194" y="880"/>
                      </a:cubicBezTo>
                      <a:cubicBezTo>
                        <a:pt x="196" y="931"/>
                        <a:pt x="209" y="976"/>
                        <a:pt x="209" y="1027"/>
                      </a:cubicBezTo>
                      <a:cubicBezTo>
                        <a:pt x="209" y="1062"/>
                        <a:pt x="209" y="1096"/>
                        <a:pt x="213" y="1130"/>
                      </a:cubicBezTo>
                      <a:cubicBezTo>
                        <a:pt x="217" y="1168"/>
                        <a:pt x="234" y="1209"/>
                        <a:pt x="232" y="1246"/>
                      </a:cubicBezTo>
                      <a:cubicBezTo>
                        <a:pt x="212" y="1257"/>
                        <a:pt x="178" y="1320"/>
                        <a:pt x="178" y="1344"/>
                      </a:cubicBezTo>
                      <a:cubicBezTo>
                        <a:pt x="178" y="1362"/>
                        <a:pt x="194" y="1378"/>
                        <a:pt x="198" y="1395"/>
                      </a:cubicBezTo>
                      <a:cubicBezTo>
                        <a:pt x="203" y="1417"/>
                        <a:pt x="196" y="1444"/>
                        <a:pt x="198" y="1467"/>
                      </a:cubicBezTo>
                      <a:cubicBezTo>
                        <a:pt x="200" y="1524"/>
                        <a:pt x="198" y="1610"/>
                        <a:pt x="251" y="1638"/>
                      </a:cubicBezTo>
                      <a:cubicBezTo>
                        <a:pt x="278" y="1652"/>
                        <a:pt x="306" y="1660"/>
                        <a:pt x="338" y="1660"/>
                      </a:cubicBezTo>
                      <a:cubicBezTo>
                        <a:pt x="391" y="1660"/>
                        <a:pt x="400" y="1638"/>
                        <a:pt x="411" y="1585"/>
                      </a:cubicBezTo>
                      <a:cubicBezTo>
                        <a:pt x="423" y="1528"/>
                        <a:pt x="392" y="1448"/>
                        <a:pt x="434" y="1403"/>
                      </a:cubicBezTo>
                      <a:cubicBezTo>
                        <a:pt x="458" y="1464"/>
                        <a:pt x="436" y="1549"/>
                        <a:pt x="454" y="1613"/>
                      </a:cubicBezTo>
                      <a:cubicBezTo>
                        <a:pt x="467" y="1658"/>
                        <a:pt x="471" y="1662"/>
                        <a:pt x="514" y="1660"/>
                      </a:cubicBezTo>
                      <a:cubicBezTo>
                        <a:pt x="550" y="1658"/>
                        <a:pt x="590" y="1654"/>
                        <a:pt x="626" y="1655"/>
                      </a:cubicBezTo>
                      <a:cubicBezTo>
                        <a:pt x="633" y="1591"/>
                        <a:pt x="612" y="1518"/>
                        <a:pt x="615" y="1451"/>
                      </a:cubicBezTo>
                      <a:cubicBezTo>
                        <a:pt x="621" y="1327"/>
                        <a:pt x="650" y="1208"/>
                        <a:pt x="639" y="1083"/>
                      </a:cubicBezTo>
                      <a:cubicBezTo>
                        <a:pt x="623" y="910"/>
                        <a:pt x="596" y="718"/>
                        <a:pt x="623" y="546"/>
                      </a:cubicBezTo>
                      <a:cubicBezTo>
                        <a:pt x="680" y="550"/>
                        <a:pt x="641" y="384"/>
                        <a:pt x="630" y="346"/>
                      </a:cubicBezTo>
                      <a:cubicBezTo>
                        <a:pt x="618" y="305"/>
                        <a:pt x="571" y="247"/>
                        <a:pt x="600" y="215"/>
                      </a:cubicBezTo>
                      <a:cubicBezTo>
                        <a:pt x="608" y="206"/>
                        <a:pt x="646" y="179"/>
                        <a:pt x="654" y="176"/>
                      </a:cubicBezTo>
                      <a:cubicBezTo>
                        <a:pt x="695" y="163"/>
                        <a:pt x="682" y="184"/>
                        <a:pt x="705" y="202"/>
                      </a:cubicBezTo>
                      <a:cubicBezTo>
                        <a:pt x="723" y="216"/>
                        <a:pt x="741" y="215"/>
                        <a:pt x="760" y="225"/>
                      </a:cubicBezTo>
                      <a:cubicBezTo>
                        <a:pt x="779" y="235"/>
                        <a:pt x="792" y="256"/>
                        <a:pt x="813" y="265"/>
                      </a:cubicBezTo>
                      <a:cubicBezTo>
                        <a:pt x="815" y="238"/>
                        <a:pt x="791" y="223"/>
                        <a:pt x="779" y="202"/>
                      </a:cubicBezTo>
                      <a:cubicBezTo>
                        <a:pt x="767" y="180"/>
                        <a:pt x="764" y="150"/>
                        <a:pt x="746" y="129"/>
                      </a:cubicBezTo>
                      <a:cubicBezTo>
                        <a:pt x="708" y="85"/>
                        <a:pt x="641" y="69"/>
                        <a:pt x="607" y="23"/>
                      </a:cubicBezTo>
                      <a:cubicBezTo>
                        <a:pt x="592" y="80"/>
                        <a:pt x="607" y="139"/>
                        <a:pt x="576" y="191"/>
                      </a:cubicBezTo>
                      <a:cubicBezTo>
                        <a:pt x="548" y="236"/>
                        <a:pt x="505" y="268"/>
                        <a:pt x="483" y="316"/>
                      </a:cubicBezTo>
                      <a:cubicBezTo>
                        <a:pt x="459" y="368"/>
                        <a:pt x="446" y="424"/>
                        <a:pt x="427" y="480"/>
                      </a:cubicBezTo>
                      <a:cubicBezTo>
                        <a:pt x="411" y="527"/>
                        <a:pt x="428" y="620"/>
                        <a:pt x="393" y="654"/>
                      </a:cubicBezTo>
                      <a:cubicBezTo>
                        <a:pt x="376" y="608"/>
                        <a:pt x="381" y="529"/>
                        <a:pt x="381" y="479"/>
                      </a:cubicBezTo>
                      <a:cubicBezTo>
                        <a:pt x="380" y="421"/>
                        <a:pt x="381" y="374"/>
                        <a:pt x="350" y="331"/>
                      </a:cubicBezTo>
                      <a:cubicBezTo>
                        <a:pt x="317" y="282"/>
                        <a:pt x="287" y="242"/>
                        <a:pt x="272" y="187"/>
                      </a:cubicBezTo>
                      <a:cubicBezTo>
                        <a:pt x="262" y="153"/>
                        <a:pt x="229" y="68"/>
                        <a:pt x="182" y="78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2" name="Freeform 279"/>
                <p:cNvSpPr>
                  <a:spLocks/>
                </p:cNvSpPr>
                <p:nvPr/>
              </p:nvSpPr>
              <p:spPr bwMode="gray">
                <a:xfrm>
                  <a:off x="-2914650" y="13449301"/>
                  <a:ext cx="1031875" cy="720725"/>
                </a:xfrm>
                <a:custGeom>
                  <a:avLst/>
                  <a:gdLst/>
                  <a:ahLst/>
                  <a:cxnLst>
                    <a:cxn ang="0">
                      <a:pos x="135" y="191"/>
                    </a:cxn>
                    <a:cxn ang="0">
                      <a:pos x="188" y="4"/>
                    </a:cxn>
                    <a:cxn ang="0">
                      <a:pos x="234" y="116"/>
                    </a:cxn>
                    <a:cxn ang="0">
                      <a:pos x="129" y="191"/>
                    </a:cxn>
                  </a:cxnLst>
                  <a:rect l="0" t="0" r="r" b="b"/>
                  <a:pathLst>
                    <a:path w="275" h="192">
                      <a:moveTo>
                        <a:pt x="135" y="191"/>
                      </a:moveTo>
                      <a:cubicBezTo>
                        <a:pt x="0" y="192"/>
                        <a:pt x="88" y="10"/>
                        <a:pt x="188" y="4"/>
                      </a:cubicBezTo>
                      <a:cubicBezTo>
                        <a:pt x="259" y="0"/>
                        <a:pt x="275" y="74"/>
                        <a:pt x="234" y="116"/>
                      </a:cubicBezTo>
                      <a:cubicBezTo>
                        <a:pt x="207" y="143"/>
                        <a:pt x="162" y="165"/>
                        <a:pt x="129" y="19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3" name="Freeform 280"/>
                <p:cNvSpPr>
                  <a:spLocks/>
                </p:cNvSpPr>
                <p:nvPr/>
              </p:nvSpPr>
              <p:spPr bwMode="gray">
                <a:xfrm>
                  <a:off x="400050" y="14341476"/>
                  <a:ext cx="1808163" cy="1276350"/>
                </a:xfrm>
                <a:custGeom>
                  <a:avLst/>
                  <a:gdLst/>
                  <a:ahLst/>
                  <a:cxnLst>
                    <a:cxn ang="0">
                      <a:pos x="460" y="287"/>
                    </a:cxn>
                    <a:cxn ang="0">
                      <a:pos x="232" y="257"/>
                    </a:cxn>
                    <a:cxn ang="0">
                      <a:pos x="11" y="327"/>
                    </a:cxn>
                    <a:cxn ang="0">
                      <a:pos x="15" y="236"/>
                    </a:cxn>
                    <a:cxn ang="0">
                      <a:pos x="0" y="235"/>
                    </a:cxn>
                    <a:cxn ang="0">
                      <a:pos x="482" y="228"/>
                    </a:cxn>
                    <a:cxn ang="0">
                      <a:pos x="466" y="235"/>
                    </a:cxn>
                  </a:cxnLst>
                  <a:rect l="0" t="0" r="r" b="b"/>
                  <a:pathLst>
                    <a:path w="482" h="340">
                      <a:moveTo>
                        <a:pt x="460" y="287"/>
                      </a:moveTo>
                      <a:cubicBezTo>
                        <a:pt x="386" y="340"/>
                        <a:pt x="304" y="274"/>
                        <a:pt x="232" y="257"/>
                      </a:cubicBezTo>
                      <a:cubicBezTo>
                        <a:pt x="132" y="232"/>
                        <a:pt x="95" y="302"/>
                        <a:pt x="11" y="327"/>
                      </a:cubicBezTo>
                      <a:cubicBezTo>
                        <a:pt x="11" y="297"/>
                        <a:pt x="20" y="267"/>
                        <a:pt x="15" y="236"/>
                      </a:cubicBezTo>
                      <a:cubicBezTo>
                        <a:pt x="11" y="235"/>
                        <a:pt x="4" y="236"/>
                        <a:pt x="0" y="235"/>
                      </a:cubicBezTo>
                      <a:cubicBezTo>
                        <a:pt x="109" y="206"/>
                        <a:pt x="473" y="0"/>
                        <a:pt x="482" y="228"/>
                      </a:cubicBezTo>
                      <a:cubicBezTo>
                        <a:pt x="476" y="229"/>
                        <a:pt x="472" y="232"/>
                        <a:pt x="466" y="235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4" name="Freeform 281"/>
                <p:cNvSpPr>
                  <a:spLocks/>
                </p:cNvSpPr>
                <p:nvPr/>
              </p:nvSpPr>
              <p:spPr bwMode="gray">
                <a:xfrm>
                  <a:off x="-1665288" y="14825663"/>
                  <a:ext cx="1098550" cy="919163"/>
                </a:xfrm>
                <a:custGeom>
                  <a:avLst/>
                  <a:gdLst/>
                  <a:ahLst/>
                  <a:cxnLst>
                    <a:cxn ang="0">
                      <a:pos x="0" y="59"/>
                    </a:cxn>
                    <a:cxn ang="0">
                      <a:pos x="98" y="182"/>
                    </a:cxn>
                    <a:cxn ang="0">
                      <a:pos x="293" y="240"/>
                    </a:cxn>
                    <a:cxn ang="0">
                      <a:pos x="227" y="19"/>
                    </a:cxn>
                    <a:cxn ang="0">
                      <a:pos x="75" y="6"/>
                    </a:cxn>
                    <a:cxn ang="0">
                      <a:pos x="0" y="76"/>
                    </a:cxn>
                  </a:cxnLst>
                  <a:rect l="0" t="0" r="r" b="b"/>
                  <a:pathLst>
                    <a:path w="293" h="245">
                      <a:moveTo>
                        <a:pt x="0" y="59"/>
                      </a:moveTo>
                      <a:cubicBezTo>
                        <a:pt x="40" y="113"/>
                        <a:pt x="22" y="156"/>
                        <a:pt x="98" y="182"/>
                      </a:cubicBezTo>
                      <a:cubicBezTo>
                        <a:pt x="149" y="199"/>
                        <a:pt x="239" y="245"/>
                        <a:pt x="293" y="240"/>
                      </a:cubicBezTo>
                      <a:cubicBezTo>
                        <a:pt x="214" y="196"/>
                        <a:pt x="232" y="106"/>
                        <a:pt x="227" y="19"/>
                      </a:cubicBezTo>
                      <a:cubicBezTo>
                        <a:pt x="177" y="14"/>
                        <a:pt x="128" y="0"/>
                        <a:pt x="75" y="6"/>
                      </a:cubicBezTo>
                      <a:cubicBezTo>
                        <a:pt x="11" y="14"/>
                        <a:pt x="36" y="33"/>
                        <a:pt x="0" y="76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5" name="Freeform 282"/>
                <p:cNvSpPr>
                  <a:spLocks/>
                </p:cNvSpPr>
                <p:nvPr/>
              </p:nvSpPr>
              <p:spPr bwMode="gray">
                <a:xfrm>
                  <a:off x="-739775" y="15628938"/>
                  <a:ext cx="2692400" cy="2411413"/>
                </a:xfrm>
                <a:custGeom>
                  <a:avLst/>
                  <a:gdLst/>
                  <a:ahLst/>
                  <a:cxnLst>
                    <a:cxn ang="0">
                      <a:pos x="653" y="225"/>
                    </a:cxn>
                    <a:cxn ang="0">
                      <a:pos x="513" y="353"/>
                    </a:cxn>
                    <a:cxn ang="0">
                      <a:pos x="361" y="480"/>
                    </a:cxn>
                    <a:cxn ang="0">
                      <a:pos x="0" y="621"/>
                    </a:cxn>
                    <a:cxn ang="0">
                      <a:pos x="435" y="305"/>
                    </a:cxn>
                    <a:cxn ang="0">
                      <a:pos x="573" y="104"/>
                    </a:cxn>
                    <a:cxn ang="0">
                      <a:pos x="675" y="21"/>
                    </a:cxn>
                    <a:cxn ang="0">
                      <a:pos x="682" y="153"/>
                    </a:cxn>
                    <a:cxn ang="0">
                      <a:pos x="589" y="283"/>
                    </a:cxn>
                  </a:cxnLst>
                  <a:rect l="0" t="0" r="r" b="b"/>
                  <a:pathLst>
                    <a:path w="718" h="643">
                      <a:moveTo>
                        <a:pt x="653" y="225"/>
                      </a:moveTo>
                      <a:cubicBezTo>
                        <a:pt x="637" y="279"/>
                        <a:pt x="556" y="321"/>
                        <a:pt x="513" y="353"/>
                      </a:cubicBezTo>
                      <a:cubicBezTo>
                        <a:pt x="459" y="393"/>
                        <a:pt x="411" y="438"/>
                        <a:pt x="361" y="480"/>
                      </a:cubicBezTo>
                      <a:cubicBezTo>
                        <a:pt x="264" y="561"/>
                        <a:pt x="132" y="643"/>
                        <a:pt x="0" y="621"/>
                      </a:cubicBezTo>
                      <a:cubicBezTo>
                        <a:pt x="150" y="549"/>
                        <a:pt x="337" y="442"/>
                        <a:pt x="435" y="305"/>
                      </a:cubicBezTo>
                      <a:cubicBezTo>
                        <a:pt x="483" y="238"/>
                        <a:pt x="524" y="167"/>
                        <a:pt x="573" y="104"/>
                      </a:cubicBezTo>
                      <a:cubicBezTo>
                        <a:pt x="593" y="77"/>
                        <a:pt x="630" y="0"/>
                        <a:pt x="675" y="21"/>
                      </a:cubicBezTo>
                      <a:cubicBezTo>
                        <a:pt x="718" y="41"/>
                        <a:pt x="695" y="127"/>
                        <a:pt x="682" y="153"/>
                      </a:cubicBezTo>
                      <a:cubicBezTo>
                        <a:pt x="663" y="191"/>
                        <a:pt x="626" y="263"/>
                        <a:pt x="589" y="283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6" name="Freeform 283"/>
                <p:cNvSpPr>
                  <a:spLocks/>
                </p:cNvSpPr>
                <p:nvPr/>
              </p:nvSpPr>
              <p:spPr bwMode="gray">
                <a:xfrm>
                  <a:off x="-477838" y="16422688"/>
                  <a:ext cx="2482850" cy="3222625"/>
                </a:xfrm>
                <a:custGeom>
                  <a:avLst/>
                  <a:gdLst/>
                  <a:ahLst/>
                  <a:cxnLst>
                    <a:cxn ang="0">
                      <a:pos x="554" y="112"/>
                    </a:cxn>
                    <a:cxn ang="0">
                      <a:pos x="436" y="323"/>
                    </a:cxn>
                    <a:cxn ang="0">
                      <a:pos x="315" y="511"/>
                    </a:cxn>
                    <a:cxn ang="0">
                      <a:pos x="0" y="859"/>
                    </a:cxn>
                    <a:cxn ang="0">
                      <a:pos x="223" y="732"/>
                    </a:cxn>
                    <a:cxn ang="0">
                      <a:pos x="459" y="529"/>
                    </a:cxn>
                    <a:cxn ang="0">
                      <a:pos x="344" y="782"/>
                    </a:cxn>
                    <a:cxn ang="0">
                      <a:pos x="548" y="387"/>
                    </a:cxn>
                    <a:cxn ang="0">
                      <a:pos x="596" y="169"/>
                    </a:cxn>
                    <a:cxn ang="0">
                      <a:pos x="652" y="8"/>
                    </a:cxn>
                    <a:cxn ang="0">
                      <a:pos x="542" y="137"/>
                    </a:cxn>
                    <a:cxn ang="0">
                      <a:pos x="449" y="258"/>
                    </a:cxn>
                  </a:cxnLst>
                  <a:rect l="0" t="0" r="r" b="b"/>
                  <a:pathLst>
                    <a:path w="662" h="859">
                      <a:moveTo>
                        <a:pt x="554" y="112"/>
                      </a:moveTo>
                      <a:cubicBezTo>
                        <a:pt x="559" y="166"/>
                        <a:pt x="462" y="270"/>
                        <a:pt x="436" y="323"/>
                      </a:cubicBezTo>
                      <a:cubicBezTo>
                        <a:pt x="401" y="390"/>
                        <a:pt x="359" y="448"/>
                        <a:pt x="315" y="511"/>
                      </a:cubicBezTo>
                      <a:cubicBezTo>
                        <a:pt x="222" y="646"/>
                        <a:pt x="129" y="762"/>
                        <a:pt x="0" y="859"/>
                      </a:cubicBezTo>
                      <a:cubicBezTo>
                        <a:pt x="79" y="822"/>
                        <a:pt x="156" y="788"/>
                        <a:pt x="223" y="732"/>
                      </a:cubicBezTo>
                      <a:cubicBezTo>
                        <a:pt x="301" y="667"/>
                        <a:pt x="376" y="588"/>
                        <a:pt x="459" y="529"/>
                      </a:cubicBezTo>
                      <a:cubicBezTo>
                        <a:pt x="464" y="635"/>
                        <a:pt x="411" y="705"/>
                        <a:pt x="344" y="782"/>
                      </a:cubicBezTo>
                      <a:cubicBezTo>
                        <a:pt x="477" y="691"/>
                        <a:pt x="524" y="541"/>
                        <a:pt x="548" y="387"/>
                      </a:cubicBezTo>
                      <a:cubicBezTo>
                        <a:pt x="561" y="307"/>
                        <a:pt x="569" y="239"/>
                        <a:pt x="596" y="169"/>
                      </a:cubicBezTo>
                      <a:cubicBezTo>
                        <a:pt x="616" y="117"/>
                        <a:pt x="662" y="68"/>
                        <a:pt x="652" y="8"/>
                      </a:cubicBezTo>
                      <a:cubicBezTo>
                        <a:pt x="607" y="0"/>
                        <a:pt x="572" y="106"/>
                        <a:pt x="542" y="137"/>
                      </a:cubicBezTo>
                      <a:cubicBezTo>
                        <a:pt x="507" y="173"/>
                        <a:pt x="454" y="204"/>
                        <a:pt x="449" y="258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7" name="Freeform 284"/>
                <p:cNvSpPr>
                  <a:spLocks/>
                </p:cNvSpPr>
                <p:nvPr/>
              </p:nvSpPr>
              <p:spPr bwMode="gray">
                <a:xfrm>
                  <a:off x="1765300" y="14338301"/>
                  <a:ext cx="817563" cy="2287588"/>
                </a:xfrm>
                <a:custGeom>
                  <a:avLst/>
                  <a:gdLst/>
                  <a:ahLst/>
                  <a:cxnLst>
                    <a:cxn ang="0">
                      <a:pos x="99" y="1"/>
                    </a:cxn>
                    <a:cxn ang="0">
                      <a:pos x="61" y="160"/>
                    </a:cxn>
                    <a:cxn ang="0">
                      <a:pos x="40" y="273"/>
                    </a:cxn>
                    <a:cxn ang="0">
                      <a:pos x="23" y="348"/>
                    </a:cxn>
                    <a:cxn ang="0">
                      <a:pos x="7" y="447"/>
                    </a:cxn>
                    <a:cxn ang="0">
                      <a:pos x="79" y="361"/>
                    </a:cxn>
                    <a:cxn ang="0">
                      <a:pos x="56" y="501"/>
                    </a:cxn>
                    <a:cxn ang="0">
                      <a:pos x="48" y="556"/>
                    </a:cxn>
                    <a:cxn ang="0">
                      <a:pos x="58" y="610"/>
                    </a:cxn>
                    <a:cxn ang="0">
                      <a:pos x="109" y="467"/>
                    </a:cxn>
                    <a:cxn ang="0">
                      <a:pos x="109" y="594"/>
                    </a:cxn>
                    <a:cxn ang="0">
                      <a:pos x="147" y="493"/>
                    </a:cxn>
                    <a:cxn ang="0">
                      <a:pos x="155" y="570"/>
                    </a:cxn>
                    <a:cxn ang="0">
                      <a:pos x="211" y="327"/>
                    </a:cxn>
                    <a:cxn ang="0">
                      <a:pos x="206" y="178"/>
                    </a:cxn>
                    <a:cxn ang="0">
                      <a:pos x="208" y="124"/>
                    </a:cxn>
                    <a:cxn ang="0">
                      <a:pos x="201" y="89"/>
                    </a:cxn>
                    <a:cxn ang="0">
                      <a:pos x="191" y="35"/>
                    </a:cxn>
                    <a:cxn ang="0">
                      <a:pos x="100" y="1"/>
                    </a:cxn>
                  </a:cxnLst>
                  <a:rect l="0" t="0" r="r" b="b"/>
                  <a:pathLst>
                    <a:path w="218" h="610">
                      <a:moveTo>
                        <a:pt x="99" y="1"/>
                      </a:moveTo>
                      <a:cubicBezTo>
                        <a:pt x="91" y="55"/>
                        <a:pt x="75" y="107"/>
                        <a:pt x="61" y="160"/>
                      </a:cubicBezTo>
                      <a:cubicBezTo>
                        <a:pt x="51" y="197"/>
                        <a:pt x="46" y="235"/>
                        <a:pt x="40" y="273"/>
                      </a:cubicBezTo>
                      <a:cubicBezTo>
                        <a:pt x="36" y="298"/>
                        <a:pt x="27" y="323"/>
                        <a:pt x="23" y="348"/>
                      </a:cubicBezTo>
                      <a:cubicBezTo>
                        <a:pt x="21" y="356"/>
                        <a:pt x="0" y="440"/>
                        <a:pt x="7" y="447"/>
                      </a:cubicBezTo>
                      <a:cubicBezTo>
                        <a:pt x="37" y="449"/>
                        <a:pt x="71" y="360"/>
                        <a:pt x="79" y="361"/>
                      </a:cubicBezTo>
                      <a:cubicBezTo>
                        <a:pt x="83" y="379"/>
                        <a:pt x="59" y="484"/>
                        <a:pt x="56" y="501"/>
                      </a:cubicBezTo>
                      <a:cubicBezTo>
                        <a:pt x="53" y="519"/>
                        <a:pt x="50" y="538"/>
                        <a:pt x="48" y="556"/>
                      </a:cubicBezTo>
                      <a:cubicBezTo>
                        <a:pt x="46" y="571"/>
                        <a:pt x="36" y="609"/>
                        <a:pt x="58" y="610"/>
                      </a:cubicBezTo>
                      <a:cubicBezTo>
                        <a:pt x="69" y="610"/>
                        <a:pt x="101" y="480"/>
                        <a:pt x="109" y="467"/>
                      </a:cubicBezTo>
                      <a:cubicBezTo>
                        <a:pt x="115" y="476"/>
                        <a:pt x="96" y="592"/>
                        <a:pt x="109" y="594"/>
                      </a:cubicBezTo>
                      <a:cubicBezTo>
                        <a:pt x="130" y="596"/>
                        <a:pt x="143" y="502"/>
                        <a:pt x="147" y="493"/>
                      </a:cubicBezTo>
                      <a:cubicBezTo>
                        <a:pt x="147" y="495"/>
                        <a:pt x="141" y="559"/>
                        <a:pt x="155" y="570"/>
                      </a:cubicBezTo>
                      <a:cubicBezTo>
                        <a:pt x="172" y="569"/>
                        <a:pt x="218" y="396"/>
                        <a:pt x="211" y="327"/>
                      </a:cubicBezTo>
                      <a:cubicBezTo>
                        <a:pt x="205" y="276"/>
                        <a:pt x="204" y="228"/>
                        <a:pt x="206" y="178"/>
                      </a:cubicBezTo>
                      <a:cubicBezTo>
                        <a:pt x="207" y="161"/>
                        <a:pt x="209" y="142"/>
                        <a:pt x="208" y="124"/>
                      </a:cubicBezTo>
                      <a:cubicBezTo>
                        <a:pt x="207" y="112"/>
                        <a:pt x="202" y="101"/>
                        <a:pt x="201" y="89"/>
                      </a:cubicBezTo>
                      <a:cubicBezTo>
                        <a:pt x="199" y="74"/>
                        <a:pt x="200" y="49"/>
                        <a:pt x="191" y="35"/>
                      </a:cubicBezTo>
                      <a:cubicBezTo>
                        <a:pt x="173" y="9"/>
                        <a:pt x="130" y="0"/>
                        <a:pt x="100" y="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8" name="Freeform 285"/>
                <p:cNvSpPr>
                  <a:spLocks/>
                </p:cNvSpPr>
                <p:nvPr/>
              </p:nvSpPr>
              <p:spPr bwMode="gray">
                <a:xfrm>
                  <a:off x="-863600" y="6575426"/>
                  <a:ext cx="1585913" cy="2251075"/>
                </a:xfrm>
                <a:custGeom>
                  <a:avLst/>
                  <a:gdLst/>
                  <a:ahLst/>
                  <a:cxnLst>
                    <a:cxn ang="0">
                      <a:pos x="6" y="213"/>
                    </a:cxn>
                    <a:cxn ang="0">
                      <a:pos x="35" y="379"/>
                    </a:cxn>
                    <a:cxn ang="0">
                      <a:pos x="76" y="526"/>
                    </a:cxn>
                    <a:cxn ang="0">
                      <a:pos x="199" y="599"/>
                    </a:cxn>
                    <a:cxn ang="0">
                      <a:pos x="330" y="527"/>
                    </a:cxn>
                    <a:cxn ang="0">
                      <a:pos x="374" y="392"/>
                    </a:cxn>
                    <a:cxn ang="0">
                      <a:pos x="329" y="70"/>
                    </a:cxn>
                    <a:cxn ang="0">
                      <a:pos x="158" y="0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23" h="600">
                      <a:moveTo>
                        <a:pt x="6" y="213"/>
                      </a:moveTo>
                      <a:cubicBezTo>
                        <a:pt x="0" y="277"/>
                        <a:pt x="15" y="323"/>
                        <a:pt x="35" y="379"/>
                      </a:cubicBezTo>
                      <a:cubicBezTo>
                        <a:pt x="53" y="428"/>
                        <a:pt x="42" y="480"/>
                        <a:pt x="76" y="526"/>
                      </a:cubicBezTo>
                      <a:cubicBezTo>
                        <a:pt x="102" y="561"/>
                        <a:pt x="152" y="597"/>
                        <a:pt x="199" y="599"/>
                      </a:cubicBezTo>
                      <a:cubicBezTo>
                        <a:pt x="244" y="600"/>
                        <a:pt x="305" y="565"/>
                        <a:pt x="330" y="527"/>
                      </a:cubicBezTo>
                      <a:cubicBezTo>
                        <a:pt x="356" y="487"/>
                        <a:pt x="352" y="434"/>
                        <a:pt x="374" y="392"/>
                      </a:cubicBezTo>
                      <a:cubicBezTo>
                        <a:pt x="423" y="295"/>
                        <a:pt x="402" y="146"/>
                        <a:pt x="329" y="70"/>
                      </a:cubicBezTo>
                      <a:cubicBezTo>
                        <a:pt x="281" y="20"/>
                        <a:pt x="227" y="0"/>
                        <a:pt x="158" y="0"/>
                      </a:cubicBezTo>
                      <a:cubicBezTo>
                        <a:pt x="115" y="0"/>
                        <a:pt x="3" y="73"/>
                        <a:pt x="0" y="85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89" name="Freeform 286"/>
                <p:cNvSpPr>
                  <a:spLocks/>
                </p:cNvSpPr>
                <p:nvPr/>
              </p:nvSpPr>
              <p:spPr bwMode="gray">
                <a:xfrm>
                  <a:off x="-971550" y="5983288"/>
                  <a:ext cx="1795463" cy="2549525"/>
                </a:xfrm>
                <a:custGeom>
                  <a:avLst/>
                  <a:gdLst/>
                  <a:ahLst/>
                  <a:cxnLst>
                    <a:cxn ang="0">
                      <a:pos x="7" y="242"/>
                    </a:cxn>
                    <a:cxn ang="0">
                      <a:pos x="39" y="429"/>
                    </a:cxn>
                    <a:cxn ang="0">
                      <a:pos x="86" y="596"/>
                    </a:cxn>
                    <a:cxn ang="0">
                      <a:pos x="225" y="678"/>
                    </a:cxn>
                    <a:cxn ang="0">
                      <a:pos x="373" y="597"/>
                    </a:cxn>
                    <a:cxn ang="0">
                      <a:pos x="423" y="444"/>
                    </a:cxn>
                    <a:cxn ang="0">
                      <a:pos x="372" y="79"/>
                    </a:cxn>
                    <a:cxn ang="0">
                      <a:pos x="178" y="0"/>
                    </a:cxn>
                    <a:cxn ang="0">
                      <a:pos x="0" y="97"/>
                    </a:cxn>
                  </a:cxnLst>
                  <a:rect l="0" t="0" r="r" b="b"/>
                  <a:pathLst>
                    <a:path w="479" h="680">
                      <a:moveTo>
                        <a:pt x="7" y="242"/>
                      </a:moveTo>
                      <a:cubicBezTo>
                        <a:pt x="0" y="314"/>
                        <a:pt x="16" y="366"/>
                        <a:pt x="39" y="429"/>
                      </a:cubicBezTo>
                      <a:cubicBezTo>
                        <a:pt x="59" y="485"/>
                        <a:pt x="47" y="544"/>
                        <a:pt x="86" y="596"/>
                      </a:cubicBezTo>
                      <a:cubicBezTo>
                        <a:pt x="115" y="635"/>
                        <a:pt x="172" y="677"/>
                        <a:pt x="225" y="678"/>
                      </a:cubicBezTo>
                      <a:cubicBezTo>
                        <a:pt x="276" y="680"/>
                        <a:pt x="346" y="640"/>
                        <a:pt x="373" y="597"/>
                      </a:cubicBezTo>
                      <a:cubicBezTo>
                        <a:pt x="403" y="552"/>
                        <a:pt x="398" y="492"/>
                        <a:pt x="423" y="444"/>
                      </a:cubicBezTo>
                      <a:cubicBezTo>
                        <a:pt x="479" y="334"/>
                        <a:pt x="455" y="166"/>
                        <a:pt x="372" y="79"/>
                      </a:cubicBezTo>
                      <a:cubicBezTo>
                        <a:pt x="318" y="23"/>
                        <a:pt x="257" y="0"/>
                        <a:pt x="178" y="0"/>
                      </a:cubicBezTo>
                      <a:cubicBezTo>
                        <a:pt x="130" y="0"/>
                        <a:pt x="3" y="83"/>
                        <a:pt x="0" y="9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0" name="Freeform 287"/>
                <p:cNvSpPr>
                  <a:spLocks/>
                </p:cNvSpPr>
                <p:nvPr/>
              </p:nvSpPr>
              <p:spPr bwMode="gray">
                <a:xfrm>
                  <a:off x="-117475" y="11623676"/>
                  <a:ext cx="1038225" cy="2324100"/>
                </a:xfrm>
                <a:custGeom>
                  <a:avLst/>
                  <a:gdLst/>
                  <a:ahLst/>
                  <a:cxnLst>
                    <a:cxn ang="0">
                      <a:pos x="200" y="59"/>
                    </a:cxn>
                    <a:cxn ang="0">
                      <a:pos x="101" y="65"/>
                    </a:cxn>
                    <a:cxn ang="0">
                      <a:pos x="38" y="19"/>
                    </a:cxn>
                    <a:cxn ang="0">
                      <a:pos x="61" y="201"/>
                    </a:cxn>
                    <a:cxn ang="0">
                      <a:pos x="95" y="293"/>
                    </a:cxn>
                    <a:cxn ang="0">
                      <a:pos x="54" y="404"/>
                    </a:cxn>
                    <a:cxn ang="0">
                      <a:pos x="78" y="522"/>
                    </a:cxn>
                    <a:cxn ang="0">
                      <a:pos x="176" y="615"/>
                    </a:cxn>
                    <a:cxn ang="0">
                      <a:pos x="253" y="464"/>
                    </a:cxn>
                    <a:cxn ang="0">
                      <a:pos x="276" y="286"/>
                    </a:cxn>
                    <a:cxn ang="0">
                      <a:pos x="203" y="78"/>
                    </a:cxn>
                    <a:cxn ang="0">
                      <a:pos x="85" y="57"/>
                    </a:cxn>
                    <a:cxn ang="0">
                      <a:pos x="25" y="48"/>
                    </a:cxn>
                  </a:cxnLst>
                  <a:rect l="0" t="0" r="r" b="b"/>
                  <a:pathLst>
                    <a:path w="277" h="620">
                      <a:moveTo>
                        <a:pt x="200" y="59"/>
                      </a:moveTo>
                      <a:cubicBezTo>
                        <a:pt x="175" y="76"/>
                        <a:pt x="127" y="78"/>
                        <a:pt x="101" y="65"/>
                      </a:cubicBezTo>
                      <a:cubicBezTo>
                        <a:pt x="75" y="52"/>
                        <a:pt x="68" y="17"/>
                        <a:pt x="38" y="19"/>
                      </a:cubicBezTo>
                      <a:cubicBezTo>
                        <a:pt x="26" y="65"/>
                        <a:pt x="135" y="171"/>
                        <a:pt x="61" y="201"/>
                      </a:cubicBezTo>
                      <a:cubicBezTo>
                        <a:pt x="46" y="250"/>
                        <a:pt x="96" y="253"/>
                        <a:pt x="95" y="293"/>
                      </a:cubicBezTo>
                      <a:cubicBezTo>
                        <a:pt x="95" y="334"/>
                        <a:pt x="49" y="349"/>
                        <a:pt x="54" y="404"/>
                      </a:cubicBezTo>
                      <a:cubicBezTo>
                        <a:pt x="57" y="438"/>
                        <a:pt x="68" y="488"/>
                        <a:pt x="78" y="522"/>
                      </a:cubicBezTo>
                      <a:cubicBezTo>
                        <a:pt x="89" y="562"/>
                        <a:pt x="124" y="620"/>
                        <a:pt x="176" y="615"/>
                      </a:cubicBezTo>
                      <a:cubicBezTo>
                        <a:pt x="249" y="607"/>
                        <a:pt x="253" y="521"/>
                        <a:pt x="253" y="464"/>
                      </a:cubicBezTo>
                      <a:cubicBezTo>
                        <a:pt x="253" y="398"/>
                        <a:pt x="276" y="352"/>
                        <a:pt x="276" y="286"/>
                      </a:cubicBezTo>
                      <a:cubicBezTo>
                        <a:pt x="276" y="197"/>
                        <a:pt x="277" y="138"/>
                        <a:pt x="203" y="78"/>
                      </a:cubicBezTo>
                      <a:cubicBezTo>
                        <a:pt x="173" y="54"/>
                        <a:pt x="115" y="6"/>
                        <a:pt x="85" y="57"/>
                      </a:cubicBezTo>
                      <a:cubicBezTo>
                        <a:pt x="70" y="18"/>
                        <a:pt x="0" y="0"/>
                        <a:pt x="25" y="4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1" name="Freeform 288"/>
                <p:cNvSpPr>
                  <a:spLocks/>
                </p:cNvSpPr>
                <p:nvPr/>
              </p:nvSpPr>
              <p:spPr bwMode="gray">
                <a:xfrm>
                  <a:off x="-219075" y="10855326"/>
                  <a:ext cx="657225" cy="704850"/>
                </a:xfrm>
                <a:custGeom>
                  <a:avLst/>
                  <a:gdLst/>
                  <a:ahLst/>
                  <a:cxnLst>
                    <a:cxn ang="0">
                      <a:pos x="157" y="183"/>
                    </a:cxn>
                    <a:cxn ang="0">
                      <a:pos x="75" y="20"/>
                    </a:cxn>
                    <a:cxn ang="0">
                      <a:pos x="87" y="118"/>
                    </a:cxn>
                    <a:cxn ang="0">
                      <a:pos x="175" y="188"/>
                    </a:cxn>
                  </a:cxnLst>
                  <a:rect l="0" t="0" r="r" b="b"/>
                  <a:pathLst>
                    <a:path w="175" h="188">
                      <a:moveTo>
                        <a:pt x="157" y="183"/>
                      </a:moveTo>
                      <a:cubicBezTo>
                        <a:pt x="117" y="174"/>
                        <a:pt x="0" y="57"/>
                        <a:pt x="75" y="20"/>
                      </a:cubicBezTo>
                      <a:cubicBezTo>
                        <a:pt x="116" y="0"/>
                        <a:pt x="82" y="106"/>
                        <a:pt x="87" y="118"/>
                      </a:cubicBezTo>
                      <a:cubicBezTo>
                        <a:pt x="99" y="149"/>
                        <a:pt x="147" y="167"/>
                        <a:pt x="175" y="18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2" name="Freeform 289"/>
                <p:cNvSpPr>
                  <a:spLocks/>
                </p:cNvSpPr>
                <p:nvPr/>
              </p:nvSpPr>
              <p:spPr bwMode="gray">
                <a:xfrm>
                  <a:off x="-1287463" y="11717338"/>
                  <a:ext cx="1196975" cy="3367088"/>
                </a:xfrm>
                <a:custGeom>
                  <a:avLst/>
                  <a:gdLst/>
                  <a:ahLst/>
                  <a:cxnLst>
                    <a:cxn ang="0">
                      <a:pos x="127" y="122"/>
                    </a:cxn>
                    <a:cxn ang="0">
                      <a:pos x="144" y="227"/>
                    </a:cxn>
                    <a:cxn ang="0">
                      <a:pos x="198" y="308"/>
                    </a:cxn>
                    <a:cxn ang="0">
                      <a:pos x="319" y="472"/>
                    </a:cxn>
                    <a:cxn ang="0">
                      <a:pos x="157" y="339"/>
                    </a:cxn>
                    <a:cxn ang="0">
                      <a:pos x="169" y="594"/>
                    </a:cxn>
                    <a:cxn ang="0">
                      <a:pos x="238" y="695"/>
                    </a:cxn>
                    <a:cxn ang="0">
                      <a:pos x="259" y="829"/>
                    </a:cxn>
                    <a:cxn ang="0">
                      <a:pos x="74" y="397"/>
                    </a:cxn>
                    <a:cxn ang="0">
                      <a:pos x="4" y="128"/>
                    </a:cxn>
                    <a:cxn ang="0">
                      <a:pos x="161" y="35"/>
                    </a:cxn>
                    <a:cxn ang="0">
                      <a:pos x="92" y="134"/>
                    </a:cxn>
                    <a:cxn ang="0">
                      <a:pos x="156" y="210"/>
                    </a:cxn>
                  </a:cxnLst>
                  <a:rect l="0" t="0" r="r" b="b"/>
                  <a:pathLst>
                    <a:path w="319" h="898">
                      <a:moveTo>
                        <a:pt x="127" y="122"/>
                      </a:moveTo>
                      <a:cubicBezTo>
                        <a:pt x="148" y="154"/>
                        <a:pt x="133" y="189"/>
                        <a:pt x="144" y="227"/>
                      </a:cubicBezTo>
                      <a:cubicBezTo>
                        <a:pt x="152" y="254"/>
                        <a:pt x="181" y="284"/>
                        <a:pt x="198" y="308"/>
                      </a:cubicBezTo>
                      <a:cubicBezTo>
                        <a:pt x="238" y="364"/>
                        <a:pt x="288" y="410"/>
                        <a:pt x="319" y="472"/>
                      </a:cubicBezTo>
                      <a:cubicBezTo>
                        <a:pt x="273" y="430"/>
                        <a:pt x="238" y="326"/>
                        <a:pt x="157" y="339"/>
                      </a:cubicBezTo>
                      <a:cubicBezTo>
                        <a:pt x="137" y="420"/>
                        <a:pt x="112" y="529"/>
                        <a:pt x="169" y="594"/>
                      </a:cubicBezTo>
                      <a:cubicBezTo>
                        <a:pt x="198" y="626"/>
                        <a:pt x="227" y="651"/>
                        <a:pt x="238" y="695"/>
                      </a:cubicBezTo>
                      <a:cubicBezTo>
                        <a:pt x="249" y="737"/>
                        <a:pt x="209" y="810"/>
                        <a:pt x="259" y="829"/>
                      </a:cubicBezTo>
                      <a:cubicBezTo>
                        <a:pt x="43" y="898"/>
                        <a:pt x="109" y="499"/>
                        <a:pt x="74" y="397"/>
                      </a:cubicBezTo>
                      <a:cubicBezTo>
                        <a:pt x="43" y="305"/>
                        <a:pt x="0" y="232"/>
                        <a:pt x="4" y="128"/>
                      </a:cubicBezTo>
                      <a:cubicBezTo>
                        <a:pt x="9" y="0"/>
                        <a:pt x="83" y="57"/>
                        <a:pt x="161" y="35"/>
                      </a:cubicBezTo>
                      <a:cubicBezTo>
                        <a:pt x="179" y="98"/>
                        <a:pt x="85" y="76"/>
                        <a:pt x="92" y="134"/>
                      </a:cubicBezTo>
                      <a:cubicBezTo>
                        <a:pt x="93" y="151"/>
                        <a:pt x="147" y="202"/>
                        <a:pt x="156" y="210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3" name="Freeform 290"/>
                <p:cNvSpPr>
                  <a:spLocks/>
                </p:cNvSpPr>
                <p:nvPr/>
              </p:nvSpPr>
              <p:spPr bwMode="gray">
                <a:xfrm>
                  <a:off x="193675" y="8870951"/>
                  <a:ext cx="919163" cy="884238"/>
                </a:xfrm>
                <a:custGeom>
                  <a:avLst/>
                  <a:gdLst/>
                  <a:ahLst/>
                  <a:cxnLst>
                    <a:cxn ang="0">
                      <a:pos x="123" y="39"/>
                    </a:cxn>
                    <a:cxn ang="0">
                      <a:pos x="6" y="236"/>
                    </a:cxn>
                    <a:cxn ang="0">
                      <a:pos x="166" y="139"/>
                    </a:cxn>
                    <a:cxn ang="0">
                      <a:pos x="77" y="69"/>
                    </a:cxn>
                  </a:cxnLst>
                  <a:rect l="0" t="0" r="r" b="b"/>
                  <a:pathLst>
                    <a:path w="245" h="236">
                      <a:moveTo>
                        <a:pt x="123" y="39"/>
                      </a:moveTo>
                      <a:cubicBezTo>
                        <a:pt x="55" y="75"/>
                        <a:pt x="0" y="158"/>
                        <a:pt x="6" y="236"/>
                      </a:cubicBezTo>
                      <a:cubicBezTo>
                        <a:pt x="33" y="141"/>
                        <a:pt x="109" y="197"/>
                        <a:pt x="166" y="139"/>
                      </a:cubicBezTo>
                      <a:cubicBezTo>
                        <a:pt x="245" y="58"/>
                        <a:pt x="100" y="0"/>
                        <a:pt x="77" y="69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4" name="Freeform 291"/>
                <p:cNvSpPr>
                  <a:spLocks/>
                </p:cNvSpPr>
                <p:nvPr/>
              </p:nvSpPr>
              <p:spPr bwMode="gray">
                <a:xfrm>
                  <a:off x="1919287" y="14533563"/>
                  <a:ext cx="655638" cy="809625"/>
                </a:xfrm>
                <a:custGeom>
                  <a:avLst/>
                  <a:gdLst/>
                  <a:ahLst/>
                  <a:cxnLst>
                    <a:cxn ang="0">
                      <a:pos x="172" y="35"/>
                    </a:cxn>
                    <a:cxn ang="0">
                      <a:pos x="143" y="88"/>
                    </a:cxn>
                    <a:cxn ang="0">
                      <a:pos x="87" y="125"/>
                    </a:cxn>
                    <a:cxn ang="0">
                      <a:pos x="43" y="172"/>
                    </a:cxn>
                    <a:cxn ang="0">
                      <a:pos x="1" y="216"/>
                    </a:cxn>
                    <a:cxn ang="0">
                      <a:pos x="9" y="154"/>
                    </a:cxn>
                    <a:cxn ang="0">
                      <a:pos x="39" y="100"/>
                    </a:cxn>
                    <a:cxn ang="0">
                      <a:pos x="55" y="65"/>
                    </a:cxn>
                    <a:cxn ang="0">
                      <a:pos x="119" y="20"/>
                    </a:cxn>
                    <a:cxn ang="0">
                      <a:pos x="158" y="13"/>
                    </a:cxn>
                    <a:cxn ang="0">
                      <a:pos x="175" y="33"/>
                    </a:cxn>
                    <a:cxn ang="0">
                      <a:pos x="169" y="33"/>
                    </a:cxn>
                  </a:cxnLst>
                  <a:rect l="0" t="0" r="r" b="b"/>
                  <a:pathLst>
                    <a:path w="175" h="216">
                      <a:moveTo>
                        <a:pt x="172" y="35"/>
                      </a:moveTo>
                      <a:cubicBezTo>
                        <a:pt x="174" y="49"/>
                        <a:pt x="152" y="77"/>
                        <a:pt x="143" y="88"/>
                      </a:cubicBezTo>
                      <a:cubicBezTo>
                        <a:pt x="128" y="106"/>
                        <a:pt x="103" y="110"/>
                        <a:pt x="87" y="125"/>
                      </a:cubicBezTo>
                      <a:cubicBezTo>
                        <a:pt x="70" y="141"/>
                        <a:pt x="57" y="153"/>
                        <a:pt x="43" y="172"/>
                      </a:cubicBezTo>
                      <a:cubicBezTo>
                        <a:pt x="30" y="188"/>
                        <a:pt x="19" y="207"/>
                        <a:pt x="1" y="216"/>
                      </a:cubicBezTo>
                      <a:cubicBezTo>
                        <a:pt x="0" y="196"/>
                        <a:pt x="6" y="174"/>
                        <a:pt x="9" y="154"/>
                      </a:cubicBezTo>
                      <a:cubicBezTo>
                        <a:pt x="12" y="132"/>
                        <a:pt x="30" y="120"/>
                        <a:pt x="39" y="100"/>
                      </a:cubicBezTo>
                      <a:cubicBezTo>
                        <a:pt x="45" y="88"/>
                        <a:pt x="48" y="76"/>
                        <a:pt x="55" y="65"/>
                      </a:cubicBezTo>
                      <a:cubicBezTo>
                        <a:pt x="71" y="41"/>
                        <a:pt x="95" y="34"/>
                        <a:pt x="119" y="20"/>
                      </a:cubicBezTo>
                      <a:cubicBezTo>
                        <a:pt x="135" y="10"/>
                        <a:pt x="141" y="0"/>
                        <a:pt x="158" y="13"/>
                      </a:cubicBezTo>
                      <a:cubicBezTo>
                        <a:pt x="164" y="18"/>
                        <a:pt x="168" y="29"/>
                        <a:pt x="175" y="33"/>
                      </a:cubicBezTo>
                      <a:cubicBezTo>
                        <a:pt x="173" y="33"/>
                        <a:pt x="171" y="33"/>
                        <a:pt x="169" y="33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5" name="Freeform 292"/>
                <p:cNvSpPr>
                  <a:spLocks/>
                </p:cNvSpPr>
                <p:nvPr/>
              </p:nvSpPr>
              <p:spPr bwMode="gray">
                <a:xfrm>
                  <a:off x="-4095750" y="8386763"/>
                  <a:ext cx="6791325" cy="7204075"/>
                </a:xfrm>
                <a:custGeom>
                  <a:avLst/>
                  <a:gdLst/>
                  <a:ahLst/>
                  <a:cxnLst>
                    <a:cxn ang="0">
                      <a:pos x="1156" y="1557"/>
                    </a:cxn>
                    <a:cxn ang="0">
                      <a:pos x="1157" y="1117"/>
                    </a:cxn>
                    <a:cxn ang="0">
                      <a:pos x="1207" y="345"/>
                    </a:cxn>
                    <a:cxn ang="0">
                      <a:pos x="1346" y="124"/>
                    </a:cxn>
                    <a:cxn ang="0">
                      <a:pos x="1642" y="268"/>
                    </a:cxn>
                    <a:cxn ang="0">
                      <a:pos x="1689" y="578"/>
                    </a:cxn>
                    <a:cxn ang="0">
                      <a:pos x="1731" y="1101"/>
                    </a:cxn>
                    <a:cxn ang="0">
                      <a:pos x="1767" y="1289"/>
                    </a:cxn>
                    <a:cxn ang="0">
                      <a:pos x="1788" y="1685"/>
                    </a:cxn>
                    <a:cxn ang="0">
                      <a:pos x="1359" y="1806"/>
                    </a:cxn>
                    <a:cxn ang="0">
                      <a:pos x="993" y="1908"/>
                    </a:cxn>
                    <a:cxn ang="0">
                      <a:pos x="575" y="1568"/>
                    </a:cxn>
                    <a:cxn ang="0">
                      <a:pos x="611" y="1378"/>
                    </a:cxn>
                    <a:cxn ang="0">
                      <a:pos x="603" y="1284"/>
                    </a:cxn>
                    <a:cxn ang="0">
                      <a:pos x="618" y="1144"/>
                    </a:cxn>
                    <a:cxn ang="0">
                      <a:pos x="559" y="922"/>
                    </a:cxn>
                    <a:cxn ang="0">
                      <a:pos x="493" y="703"/>
                    </a:cxn>
                    <a:cxn ang="0">
                      <a:pos x="412" y="759"/>
                    </a:cxn>
                    <a:cxn ang="0">
                      <a:pos x="330" y="915"/>
                    </a:cxn>
                    <a:cxn ang="0">
                      <a:pos x="345" y="1062"/>
                    </a:cxn>
                    <a:cxn ang="0">
                      <a:pos x="472" y="1291"/>
                    </a:cxn>
                    <a:cxn ang="0">
                      <a:pos x="571" y="1381"/>
                    </a:cxn>
                    <a:cxn ang="0">
                      <a:pos x="487" y="1410"/>
                    </a:cxn>
                    <a:cxn ang="0">
                      <a:pos x="480" y="1558"/>
                    </a:cxn>
                    <a:cxn ang="0">
                      <a:pos x="282" y="1383"/>
                    </a:cxn>
                    <a:cxn ang="0">
                      <a:pos x="143" y="1207"/>
                    </a:cxn>
                    <a:cxn ang="0">
                      <a:pos x="79" y="1097"/>
                    </a:cxn>
                    <a:cxn ang="0">
                      <a:pos x="100" y="755"/>
                    </a:cxn>
                    <a:cxn ang="0">
                      <a:pos x="276" y="475"/>
                    </a:cxn>
                    <a:cxn ang="0">
                      <a:pos x="384" y="353"/>
                    </a:cxn>
                    <a:cxn ang="0">
                      <a:pos x="477" y="185"/>
                    </a:cxn>
                    <a:cxn ang="0">
                      <a:pos x="741" y="87"/>
                    </a:cxn>
                    <a:cxn ang="0">
                      <a:pos x="851" y="189"/>
                    </a:cxn>
                    <a:cxn ang="0">
                      <a:pos x="817" y="548"/>
                    </a:cxn>
                    <a:cxn ang="0">
                      <a:pos x="848" y="856"/>
                    </a:cxn>
                    <a:cxn ang="0">
                      <a:pos x="898" y="1421"/>
                    </a:cxn>
                    <a:cxn ang="0">
                      <a:pos x="993" y="1908"/>
                    </a:cxn>
                  </a:cxnLst>
                  <a:rect l="0" t="0" r="r" b="b"/>
                  <a:pathLst>
                    <a:path w="1811" h="1921">
                      <a:moveTo>
                        <a:pt x="1143" y="1908"/>
                      </a:moveTo>
                      <a:cubicBezTo>
                        <a:pt x="1187" y="1827"/>
                        <a:pt x="1155" y="1642"/>
                        <a:pt x="1156" y="1557"/>
                      </a:cubicBezTo>
                      <a:cubicBezTo>
                        <a:pt x="1156" y="1504"/>
                        <a:pt x="1169" y="1457"/>
                        <a:pt x="1171" y="1405"/>
                      </a:cubicBezTo>
                      <a:cubicBezTo>
                        <a:pt x="1176" y="1314"/>
                        <a:pt x="1164" y="1210"/>
                        <a:pt x="1157" y="1117"/>
                      </a:cubicBezTo>
                      <a:cubicBezTo>
                        <a:pt x="1144" y="955"/>
                        <a:pt x="1127" y="801"/>
                        <a:pt x="1151" y="642"/>
                      </a:cubicBezTo>
                      <a:cubicBezTo>
                        <a:pt x="1166" y="540"/>
                        <a:pt x="1176" y="444"/>
                        <a:pt x="1207" y="345"/>
                      </a:cubicBezTo>
                      <a:cubicBezTo>
                        <a:pt x="1231" y="269"/>
                        <a:pt x="1215" y="188"/>
                        <a:pt x="1232" y="111"/>
                      </a:cubicBezTo>
                      <a:cubicBezTo>
                        <a:pt x="1251" y="26"/>
                        <a:pt x="1303" y="94"/>
                        <a:pt x="1346" y="124"/>
                      </a:cubicBezTo>
                      <a:cubicBezTo>
                        <a:pt x="1380" y="148"/>
                        <a:pt x="1405" y="164"/>
                        <a:pt x="1444" y="185"/>
                      </a:cubicBezTo>
                      <a:cubicBezTo>
                        <a:pt x="1510" y="219"/>
                        <a:pt x="1571" y="248"/>
                        <a:pt x="1642" y="268"/>
                      </a:cubicBezTo>
                      <a:cubicBezTo>
                        <a:pt x="1655" y="321"/>
                        <a:pt x="1645" y="379"/>
                        <a:pt x="1667" y="430"/>
                      </a:cubicBezTo>
                      <a:cubicBezTo>
                        <a:pt x="1689" y="480"/>
                        <a:pt x="1686" y="520"/>
                        <a:pt x="1689" y="578"/>
                      </a:cubicBezTo>
                      <a:cubicBezTo>
                        <a:pt x="1693" y="635"/>
                        <a:pt x="1709" y="688"/>
                        <a:pt x="1709" y="749"/>
                      </a:cubicBezTo>
                      <a:cubicBezTo>
                        <a:pt x="1709" y="805"/>
                        <a:pt x="1723" y="1043"/>
                        <a:pt x="1731" y="1101"/>
                      </a:cubicBezTo>
                      <a:cubicBezTo>
                        <a:pt x="1735" y="1130"/>
                        <a:pt x="1723" y="1157"/>
                        <a:pt x="1737" y="1184"/>
                      </a:cubicBezTo>
                      <a:cubicBezTo>
                        <a:pt x="1755" y="1221"/>
                        <a:pt x="1763" y="1248"/>
                        <a:pt x="1767" y="1289"/>
                      </a:cubicBezTo>
                      <a:cubicBezTo>
                        <a:pt x="1773" y="1343"/>
                        <a:pt x="1758" y="1392"/>
                        <a:pt x="1780" y="1443"/>
                      </a:cubicBezTo>
                      <a:cubicBezTo>
                        <a:pt x="1811" y="1510"/>
                        <a:pt x="1788" y="1606"/>
                        <a:pt x="1788" y="1685"/>
                      </a:cubicBezTo>
                      <a:cubicBezTo>
                        <a:pt x="1788" y="1712"/>
                        <a:pt x="1603" y="1756"/>
                        <a:pt x="1605" y="1823"/>
                      </a:cubicBezTo>
                      <a:cubicBezTo>
                        <a:pt x="1457" y="1829"/>
                        <a:pt x="1505" y="1792"/>
                        <a:pt x="1359" y="1806"/>
                      </a:cubicBezTo>
                      <a:cubicBezTo>
                        <a:pt x="1319" y="1810"/>
                        <a:pt x="1240" y="1879"/>
                        <a:pt x="1143" y="1908"/>
                      </a:cubicBezTo>
                      <a:cubicBezTo>
                        <a:pt x="1097" y="1921"/>
                        <a:pt x="1043" y="1908"/>
                        <a:pt x="993" y="1908"/>
                      </a:cubicBezTo>
                      <a:cubicBezTo>
                        <a:pt x="820" y="1907"/>
                        <a:pt x="643" y="1809"/>
                        <a:pt x="572" y="1806"/>
                      </a:cubicBezTo>
                      <a:cubicBezTo>
                        <a:pt x="567" y="1725"/>
                        <a:pt x="575" y="1645"/>
                        <a:pt x="575" y="1568"/>
                      </a:cubicBezTo>
                      <a:cubicBezTo>
                        <a:pt x="575" y="1529"/>
                        <a:pt x="555" y="1500"/>
                        <a:pt x="559" y="1460"/>
                      </a:cubicBezTo>
                      <a:cubicBezTo>
                        <a:pt x="564" y="1421"/>
                        <a:pt x="591" y="1408"/>
                        <a:pt x="611" y="1378"/>
                      </a:cubicBezTo>
                      <a:cubicBezTo>
                        <a:pt x="620" y="1364"/>
                        <a:pt x="650" y="1313"/>
                        <a:pt x="641" y="1297"/>
                      </a:cubicBezTo>
                      <a:cubicBezTo>
                        <a:pt x="631" y="1281"/>
                        <a:pt x="612" y="1296"/>
                        <a:pt x="603" y="1284"/>
                      </a:cubicBezTo>
                      <a:cubicBezTo>
                        <a:pt x="597" y="1275"/>
                        <a:pt x="602" y="1244"/>
                        <a:pt x="602" y="1234"/>
                      </a:cubicBezTo>
                      <a:cubicBezTo>
                        <a:pt x="604" y="1202"/>
                        <a:pt x="620" y="1177"/>
                        <a:pt x="618" y="1144"/>
                      </a:cubicBezTo>
                      <a:cubicBezTo>
                        <a:pt x="615" y="1108"/>
                        <a:pt x="597" y="1065"/>
                        <a:pt x="586" y="1031"/>
                      </a:cubicBezTo>
                      <a:cubicBezTo>
                        <a:pt x="575" y="996"/>
                        <a:pt x="561" y="963"/>
                        <a:pt x="559" y="922"/>
                      </a:cubicBezTo>
                      <a:cubicBezTo>
                        <a:pt x="557" y="867"/>
                        <a:pt x="557" y="827"/>
                        <a:pt x="539" y="775"/>
                      </a:cubicBezTo>
                      <a:cubicBezTo>
                        <a:pt x="533" y="757"/>
                        <a:pt x="522" y="701"/>
                        <a:pt x="493" y="703"/>
                      </a:cubicBezTo>
                      <a:cubicBezTo>
                        <a:pt x="480" y="704"/>
                        <a:pt x="468" y="733"/>
                        <a:pt x="459" y="740"/>
                      </a:cubicBezTo>
                      <a:cubicBezTo>
                        <a:pt x="446" y="749"/>
                        <a:pt x="427" y="752"/>
                        <a:pt x="412" y="759"/>
                      </a:cubicBezTo>
                      <a:cubicBezTo>
                        <a:pt x="409" y="783"/>
                        <a:pt x="385" y="811"/>
                        <a:pt x="369" y="832"/>
                      </a:cubicBezTo>
                      <a:cubicBezTo>
                        <a:pt x="349" y="860"/>
                        <a:pt x="347" y="887"/>
                        <a:pt x="330" y="915"/>
                      </a:cubicBezTo>
                      <a:cubicBezTo>
                        <a:pt x="314" y="943"/>
                        <a:pt x="284" y="944"/>
                        <a:pt x="297" y="985"/>
                      </a:cubicBezTo>
                      <a:cubicBezTo>
                        <a:pt x="306" y="1013"/>
                        <a:pt x="331" y="1037"/>
                        <a:pt x="345" y="1062"/>
                      </a:cubicBezTo>
                      <a:cubicBezTo>
                        <a:pt x="376" y="1117"/>
                        <a:pt x="387" y="1181"/>
                        <a:pt x="426" y="1230"/>
                      </a:cubicBezTo>
                      <a:cubicBezTo>
                        <a:pt x="442" y="1250"/>
                        <a:pt x="454" y="1272"/>
                        <a:pt x="472" y="1291"/>
                      </a:cubicBezTo>
                      <a:cubicBezTo>
                        <a:pt x="492" y="1314"/>
                        <a:pt x="514" y="1324"/>
                        <a:pt x="537" y="1347"/>
                      </a:cubicBezTo>
                      <a:cubicBezTo>
                        <a:pt x="548" y="1358"/>
                        <a:pt x="562" y="1368"/>
                        <a:pt x="571" y="1381"/>
                      </a:cubicBezTo>
                      <a:cubicBezTo>
                        <a:pt x="546" y="1382"/>
                        <a:pt x="522" y="1371"/>
                        <a:pt x="500" y="1385"/>
                      </a:cubicBezTo>
                      <a:cubicBezTo>
                        <a:pt x="496" y="1387"/>
                        <a:pt x="490" y="1406"/>
                        <a:pt x="487" y="1410"/>
                      </a:cubicBezTo>
                      <a:cubicBezTo>
                        <a:pt x="478" y="1420"/>
                        <a:pt x="460" y="1431"/>
                        <a:pt x="455" y="1445"/>
                      </a:cubicBezTo>
                      <a:cubicBezTo>
                        <a:pt x="445" y="1471"/>
                        <a:pt x="445" y="1555"/>
                        <a:pt x="480" y="1558"/>
                      </a:cubicBezTo>
                      <a:cubicBezTo>
                        <a:pt x="413" y="1576"/>
                        <a:pt x="366" y="1524"/>
                        <a:pt x="330" y="1475"/>
                      </a:cubicBezTo>
                      <a:cubicBezTo>
                        <a:pt x="308" y="1444"/>
                        <a:pt x="298" y="1414"/>
                        <a:pt x="282" y="1383"/>
                      </a:cubicBezTo>
                      <a:cubicBezTo>
                        <a:pt x="266" y="1354"/>
                        <a:pt x="236" y="1333"/>
                        <a:pt x="217" y="1308"/>
                      </a:cubicBezTo>
                      <a:cubicBezTo>
                        <a:pt x="192" y="1273"/>
                        <a:pt x="170" y="1239"/>
                        <a:pt x="143" y="1207"/>
                      </a:cubicBezTo>
                      <a:cubicBezTo>
                        <a:pt x="124" y="1186"/>
                        <a:pt x="113" y="1183"/>
                        <a:pt x="100" y="1158"/>
                      </a:cubicBezTo>
                      <a:cubicBezTo>
                        <a:pt x="91" y="1138"/>
                        <a:pt x="90" y="1117"/>
                        <a:pt x="79" y="1097"/>
                      </a:cubicBezTo>
                      <a:cubicBezTo>
                        <a:pt x="50" y="1043"/>
                        <a:pt x="0" y="1002"/>
                        <a:pt x="6" y="934"/>
                      </a:cubicBezTo>
                      <a:cubicBezTo>
                        <a:pt x="12" y="858"/>
                        <a:pt x="60" y="813"/>
                        <a:pt x="100" y="755"/>
                      </a:cubicBezTo>
                      <a:cubicBezTo>
                        <a:pt x="146" y="688"/>
                        <a:pt x="165" y="616"/>
                        <a:pt x="232" y="564"/>
                      </a:cubicBezTo>
                      <a:cubicBezTo>
                        <a:pt x="271" y="535"/>
                        <a:pt x="257" y="517"/>
                        <a:pt x="276" y="475"/>
                      </a:cubicBezTo>
                      <a:cubicBezTo>
                        <a:pt x="288" y="448"/>
                        <a:pt x="310" y="432"/>
                        <a:pt x="333" y="411"/>
                      </a:cubicBezTo>
                      <a:cubicBezTo>
                        <a:pt x="354" y="391"/>
                        <a:pt x="372" y="386"/>
                        <a:pt x="384" y="353"/>
                      </a:cubicBezTo>
                      <a:cubicBezTo>
                        <a:pt x="395" y="323"/>
                        <a:pt x="404" y="294"/>
                        <a:pt x="418" y="264"/>
                      </a:cubicBezTo>
                      <a:cubicBezTo>
                        <a:pt x="430" y="237"/>
                        <a:pt x="453" y="198"/>
                        <a:pt x="477" y="185"/>
                      </a:cubicBezTo>
                      <a:cubicBezTo>
                        <a:pt x="506" y="171"/>
                        <a:pt x="536" y="183"/>
                        <a:pt x="567" y="178"/>
                      </a:cubicBezTo>
                      <a:cubicBezTo>
                        <a:pt x="633" y="166"/>
                        <a:pt x="686" y="122"/>
                        <a:pt x="741" y="87"/>
                      </a:cubicBezTo>
                      <a:cubicBezTo>
                        <a:pt x="777" y="64"/>
                        <a:pt x="893" y="0"/>
                        <a:pt x="887" y="85"/>
                      </a:cubicBezTo>
                      <a:cubicBezTo>
                        <a:pt x="884" y="118"/>
                        <a:pt x="859" y="155"/>
                        <a:pt x="851" y="189"/>
                      </a:cubicBezTo>
                      <a:cubicBezTo>
                        <a:pt x="842" y="225"/>
                        <a:pt x="840" y="262"/>
                        <a:pt x="836" y="299"/>
                      </a:cubicBezTo>
                      <a:cubicBezTo>
                        <a:pt x="827" y="383"/>
                        <a:pt x="813" y="461"/>
                        <a:pt x="817" y="548"/>
                      </a:cubicBezTo>
                      <a:cubicBezTo>
                        <a:pt x="819" y="607"/>
                        <a:pt x="824" y="667"/>
                        <a:pt x="824" y="728"/>
                      </a:cubicBezTo>
                      <a:cubicBezTo>
                        <a:pt x="825" y="777"/>
                        <a:pt x="840" y="808"/>
                        <a:pt x="848" y="856"/>
                      </a:cubicBezTo>
                      <a:cubicBezTo>
                        <a:pt x="870" y="995"/>
                        <a:pt x="855" y="1139"/>
                        <a:pt x="876" y="1280"/>
                      </a:cubicBezTo>
                      <a:cubicBezTo>
                        <a:pt x="882" y="1324"/>
                        <a:pt x="896" y="1372"/>
                        <a:pt x="898" y="1421"/>
                      </a:cubicBezTo>
                      <a:cubicBezTo>
                        <a:pt x="901" y="1479"/>
                        <a:pt x="897" y="1538"/>
                        <a:pt x="902" y="1596"/>
                      </a:cubicBezTo>
                      <a:cubicBezTo>
                        <a:pt x="910" y="1675"/>
                        <a:pt x="896" y="1821"/>
                        <a:pt x="993" y="1908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6" name="Freeform 293"/>
                <p:cNvSpPr>
                  <a:spLocks/>
                </p:cNvSpPr>
                <p:nvPr/>
              </p:nvSpPr>
              <p:spPr bwMode="gray">
                <a:xfrm>
                  <a:off x="490537" y="8915401"/>
                  <a:ext cx="633413" cy="593725"/>
                </a:xfrm>
                <a:custGeom>
                  <a:avLst/>
                  <a:gdLst/>
                  <a:ahLst/>
                  <a:cxnLst>
                    <a:cxn ang="0">
                      <a:pos x="4" y="103"/>
                    </a:cxn>
                    <a:cxn ang="0">
                      <a:pos x="86" y="106"/>
                    </a:cxn>
                    <a:cxn ang="0">
                      <a:pos x="163" y="158"/>
                    </a:cxn>
                    <a:cxn ang="0">
                      <a:pos x="109" y="28"/>
                    </a:cxn>
                    <a:cxn ang="0">
                      <a:pos x="35" y="6"/>
                    </a:cxn>
                    <a:cxn ang="0">
                      <a:pos x="0" y="68"/>
                    </a:cxn>
                  </a:cxnLst>
                  <a:rect l="0" t="0" r="r" b="b"/>
                  <a:pathLst>
                    <a:path w="169" h="158">
                      <a:moveTo>
                        <a:pt x="4" y="103"/>
                      </a:moveTo>
                      <a:cubicBezTo>
                        <a:pt x="49" y="98"/>
                        <a:pt x="42" y="81"/>
                        <a:pt x="86" y="106"/>
                      </a:cubicBezTo>
                      <a:cubicBezTo>
                        <a:pt x="114" y="122"/>
                        <a:pt x="137" y="140"/>
                        <a:pt x="163" y="158"/>
                      </a:cubicBezTo>
                      <a:cubicBezTo>
                        <a:pt x="169" y="119"/>
                        <a:pt x="141" y="50"/>
                        <a:pt x="109" y="28"/>
                      </a:cubicBezTo>
                      <a:cubicBezTo>
                        <a:pt x="98" y="21"/>
                        <a:pt x="47" y="0"/>
                        <a:pt x="35" y="6"/>
                      </a:cubicBezTo>
                      <a:cubicBezTo>
                        <a:pt x="15" y="14"/>
                        <a:pt x="17" y="56"/>
                        <a:pt x="0" y="68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7" name="Freeform 294"/>
                <p:cNvSpPr>
                  <a:spLocks/>
                </p:cNvSpPr>
                <p:nvPr/>
              </p:nvSpPr>
              <p:spPr bwMode="gray">
                <a:xfrm>
                  <a:off x="-1816100" y="8859838"/>
                  <a:ext cx="866775" cy="465138"/>
                </a:xfrm>
                <a:custGeom>
                  <a:avLst/>
                  <a:gdLst/>
                  <a:ahLst/>
                  <a:cxnLst>
                    <a:cxn ang="0">
                      <a:pos x="65" y="64"/>
                    </a:cxn>
                    <a:cxn ang="0">
                      <a:pos x="0" y="114"/>
                    </a:cxn>
                    <a:cxn ang="0">
                      <a:pos x="108" y="103"/>
                    </a:cxn>
                    <a:cxn ang="0">
                      <a:pos x="191" y="71"/>
                    </a:cxn>
                    <a:cxn ang="0">
                      <a:pos x="225" y="60"/>
                    </a:cxn>
                    <a:cxn ang="0">
                      <a:pos x="209" y="18"/>
                    </a:cxn>
                    <a:cxn ang="0">
                      <a:pos x="112" y="25"/>
                    </a:cxn>
                  </a:cxnLst>
                  <a:rect l="0" t="0" r="r" b="b"/>
                  <a:pathLst>
                    <a:path w="231" h="124">
                      <a:moveTo>
                        <a:pt x="65" y="64"/>
                      </a:moveTo>
                      <a:cubicBezTo>
                        <a:pt x="50" y="98"/>
                        <a:pt x="31" y="101"/>
                        <a:pt x="0" y="114"/>
                      </a:cubicBezTo>
                      <a:cubicBezTo>
                        <a:pt x="37" y="124"/>
                        <a:pt x="75" y="121"/>
                        <a:pt x="108" y="103"/>
                      </a:cubicBezTo>
                      <a:cubicBezTo>
                        <a:pt x="145" y="82"/>
                        <a:pt x="149" y="74"/>
                        <a:pt x="191" y="71"/>
                      </a:cubicBezTo>
                      <a:cubicBezTo>
                        <a:pt x="208" y="69"/>
                        <a:pt x="216" y="84"/>
                        <a:pt x="225" y="60"/>
                      </a:cubicBezTo>
                      <a:cubicBezTo>
                        <a:pt x="231" y="44"/>
                        <a:pt x="219" y="25"/>
                        <a:pt x="209" y="18"/>
                      </a:cubicBezTo>
                      <a:cubicBezTo>
                        <a:pt x="185" y="0"/>
                        <a:pt x="132" y="6"/>
                        <a:pt x="112" y="25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8" name="Freeform 295"/>
                <p:cNvSpPr>
                  <a:spLocks/>
                </p:cNvSpPr>
                <p:nvPr/>
              </p:nvSpPr>
              <p:spPr bwMode="gray">
                <a:xfrm>
                  <a:off x="823912" y="8807451"/>
                  <a:ext cx="1225550" cy="828675"/>
                </a:xfrm>
                <a:custGeom>
                  <a:avLst/>
                  <a:gdLst/>
                  <a:ahLst/>
                  <a:cxnLst>
                    <a:cxn ang="0">
                      <a:pos x="55" y="74"/>
                    </a:cxn>
                    <a:cxn ang="0">
                      <a:pos x="128" y="114"/>
                    </a:cxn>
                    <a:cxn ang="0">
                      <a:pos x="183" y="167"/>
                    </a:cxn>
                    <a:cxn ang="0">
                      <a:pos x="164" y="125"/>
                    </a:cxn>
                    <a:cxn ang="0">
                      <a:pos x="327" y="1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27" h="221">
                      <a:moveTo>
                        <a:pt x="55" y="74"/>
                      </a:moveTo>
                      <a:cubicBezTo>
                        <a:pt x="78" y="91"/>
                        <a:pt x="106" y="95"/>
                        <a:pt x="128" y="114"/>
                      </a:cubicBezTo>
                      <a:cubicBezTo>
                        <a:pt x="146" y="131"/>
                        <a:pt x="159" y="161"/>
                        <a:pt x="183" y="167"/>
                      </a:cubicBezTo>
                      <a:cubicBezTo>
                        <a:pt x="178" y="152"/>
                        <a:pt x="167" y="141"/>
                        <a:pt x="164" y="125"/>
                      </a:cubicBezTo>
                      <a:cubicBezTo>
                        <a:pt x="209" y="117"/>
                        <a:pt x="280" y="221"/>
                        <a:pt x="327" y="153"/>
                      </a:cubicBezTo>
                      <a:cubicBezTo>
                        <a:pt x="209" y="137"/>
                        <a:pt x="122" y="16"/>
                        <a:pt x="0" y="0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599" name="Freeform 296"/>
                <p:cNvSpPr>
                  <a:spLocks/>
                </p:cNvSpPr>
                <p:nvPr/>
              </p:nvSpPr>
              <p:spPr bwMode="gray">
                <a:xfrm>
                  <a:off x="-1804984" y="8394702"/>
                  <a:ext cx="3055933" cy="2590796"/>
                </a:xfrm>
                <a:custGeom>
                  <a:avLst/>
                  <a:gdLst/>
                  <a:ahLst/>
                  <a:cxnLst>
                    <a:cxn ang="0">
                      <a:pos x="130" y="73"/>
                    </a:cxn>
                    <a:cxn ang="0">
                      <a:pos x="0" y="192"/>
                    </a:cxn>
                    <a:cxn ang="0">
                      <a:pos x="170" y="150"/>
                    </a:cxn>
                    <a:cxn ang="0">
                      <a:pos x="238" y="256"/>
                    </a:cxn>
                    <a:cxn ang="0">
                      <a:pos x="213" y="547"/>
                    </a:cxn>
                    <a:cxn ang="0">
                      <a:pos x="580" y="403"/>
                    </a:cxn>
                    <a:cxn ang="0">
                      <a:pos x="600" y="217"/>
                    </a:cxn>
                    <a:cxn ang="0">
                      <a:pos x="655" y="177"/>
                    </a:cxn>
                    <a:cxn ang="0">
                      <a:pos x="705" y="203"/>
                    </a:cxn>
                    <a:cxn ang="0">
                      <a:pos x="760" y="226"/>
                    </a:cxn>
                    <a:cxn ang="0">
                      <a:pos x="813" y="266"/>
                    </a:cxn>
                    <a:cxn ang="0">
                      <a:pos x="779" y="203"/>
                    </a:cxn>
                    <a:cxn ang="0">
                      <a:pos x="746" y="131"/>
                    </a:cxn>
                    <a:cxn ang="0">
                      <a:pos x="619" y="7"/>
                    </a:cxn>
                    <a:cxn ang="0">
                      <a:pos x="576" y="192"/>
                    </a:cxn>
                    <a:cxn ang="0">
                      <a:pos x="483" y="318"/>
                    </a:cxn>
                    <a:cxn ang="0">
                      <a:pos x="407" y="480"/>
                    </a:cxn>
                    <a:cxn ang="0">
                      <a:pos x="407" y="691"/>
                    </a:cxn>
                    <a:cxn ang="0">
                      <a:pos x="381" y="481"/>
                    </a:cxn>
                    <a:cxn ang="0">
                      <a:pos x="350" y="332"/>
                    </a:cxn>
                    <a:cxn ang="0">
                      <a:pos x="272" y="188"/>
                    </a:cxn>
                    <a:cxn ang="0">
                      <a:pos x="260" y="0"/>
                    </a:cxn>
                  </a:cxnLst>
                  <a:rect l="0" t="0" r="r" b="b"/>
                  <a:pathLst>
                    <a:path w="815" h="691">
                      <a:moveTo>
                        <a:pt x="130" y="73"/>
                      </a:moveTo>
                      <a:cubicBezTo>
                        <a:pt x="93" y="100"/>
                        <a:pt x="50" y="197"/>
                        <a:pt x="0" y="192"/>
                      </a:cubicBezTo>
                      <a:cubicBezTo>
                        <a:pt x="64" y="238"/>
                        <a:pt x="121" y="166"/>
                        <a:pt x="170" y="150"/>
                      </a:cubicBezTo>
                      <a:cubicBezTo>
                        <a:pt x="204" y="188"/>
                        <a:pt x="255" y="202"/>
                        <a:pt x="238" y="256"/>
                      </a:cubicBezTo>
                      <a:cubicBezTo>
                        <a:pt x="209" y="344"/>
                        <a:pt x="213" y="450"/>
                        <a:pt x="213" y="547"/>
                      </a:cubicBezTo>
                      <a:cubicBezTo>
                        <a:pt x="214" y="662"/>
                        <a:pt x="591" y="441"/>
                        <a:pt x="580" y="403"/>
                      </a:cubicBezTo>
                      <a:cubicBezTo>
                        <a:pt x="567" y="362"/>
                        <a:pt x="571" y="248"/>
                        <a:pt x="600" y="217"/>
                      </a:cubicBezTo>
                      <a:cubicBezTo>
                        <a:pt x="609" y="207"/>
                        <a:pt x="646" y="180"/>
                        <a:pt x="655" y="177"/>
                      </a:cubicBezTo>
                      <a:cubicBezTo>
                        <a:pt x="695" y="164"/>
                        <a:pt x="682" y="185"/>
                        <a:pt x="705" y="203"/>
                      </a:cubicBezTo>
                      <a:cubicBezTo>
                        <a:pt x="723" y="217"/>
                        <a:pt x="741" y="217"/>
                        <a:pt x="760" y="226"/>
                      </a:cubicBezTo>
                      <a:cubicBezTo>
                        <a:pt x="779" y="236"/>
                        <a:pt x="792" y="257"/>
                        <a:pt x="813" y="266"/>
                      </a:cubicBezTo>
                      <a:cubicBezTo>
                        <a:pt x="815" y="239"/>
                        <a:pt x="791" y="224"/>
                        <a:pt x="779" y="203"/>
                      </a:cubicBezTo>
                      <a:cubicBezTo>
                        <a:pt x="767" y="182"/>
                        <a:pt x="764" y="151"/>
                        <a:pt x="746" y="131"/>
                      </a:cubicBezTo>
                      <a:cubicBezTo>
                        <a:pt x="708" y="87"/>
                        <a:pt x="652" y="52"/>
                        <a:pt x="619" y="7"/>
                      </a:cubicBezTo>
                      <a:cubicBezTo>
                        <a:pt x="603" y="63"/>
                        <a:pt x="607" y="140"/>
                        <a:pt x="576" y="192"/>
                      </a:cubicBezTo>
                      <a:cubicBezTo>
                        <a:pt x="549" y="237"/>
                        <a:pt x="505" y="270"/>
                        <a:pt x="483" y="318"/>
                      </a:cubicBezTo>
                      <a:cubicBezTo>
                        <a:pt x="459" y="369"/>
                        <a:pt x="425" y="424"/>
                        <a:pt x="407" y="480"/>
                      </a:cubicBezTo>
                      <a:cubicBezTo>
                        <a:pt x="390" y="527"/>
                        <a:pt x="571" y="551"/>
                        <a:pt x="407" y="691"/>
                      </a:cubicBezTo>
                      <a:cubicBezTo>
                        <a:pt x="389" y="645"/>
                        <a:pt x="381" y="530"/>
                        <a:pt x="381" y="481"/>
                      </a:cubicBezTo>
                      <a:cubicBezTo>
                        <a:pt x="380" y="423"/>
                        <a:pt x="381" y="376"/>
                        <a:pt x="350" y="332"/>
                      </a:cubicBezTo>
                      <a:cubicBezTo>
                        <a:pt x="317" y="283"/>
                        <a:pt x="287" y="244"/>
                        <a:pt x="272" y="188"/>
                      </a:cubicBezTo>
                      <a:cubicBezTo>
                        <a:pt x="262" y="154"/>
                        <a:pt x="292" y="7"/>
                        <a:pt x="260" y="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0" name="Freeform 297"/>
                <p:cNvSpPr>
                  <a:spLocks/>
                </p:cNvSpPr>
                <p:nvPr/>
              </p:nvSpPr>
              <p:spPr bwMode="gray">
                <a:xfrm>
                  <a:off x="-1519238" y="8405813"/>
                  <a:ext cx="812800" cy="487363"/>
                </a:xfrm>
                <a:custGeom>
                  <a:avLst/>
                  <a:gdLst/>
                  <a:ahLst/>
                  <a:cxnLst>
                    <a:cxn ang="0">
                      <a:pos x="0" y="130"/>
                    </a:cxn>
                    <a:cxn ang="0">
                      <a:pos x="86" y="76"/>
                    </a:cxn>
                    <a:cxn ang="0">
                      <a:pos x="74" y="103"/>
                    </a:cxn>
                    <a:cxn ang="0">
                      <a:pos x="124" y="62"/>
                    </a:cxn>
                    <a:cxn ang="0">
                      <a:pos x="127" y="91"/>
                    </a:cxn>
                    <a:cxn ang="0">
                      <a:pos x="163" y="64"/>
                    </a:cxn>
                    <a:cxn ang="0">
                      <a:pos x="173" y="91"/>
                    </a:cxn>
                    <a:cxn ang="0">
                      <a:pos x="187" y="71"/>
                    </a:cxn>
                    <a:cxn ang="0">
                      <a:pos x="208" y="93"/>
                    </a:cxn>
                    <a:cxn ang="0">
                      <a:pos x="176" y="22"/>
                    </a:cxn>
                    <a:cxn ang="0">
                      <a:pos x="107" y="26"/>
                    </a:cxn>
                    <a:cxn ang="0">
                      <a:pos x="15" y="101"/>
                    </a:cxn>
                  </a:cxnLst>
                  <a:rect l="0" t="0" r="r" b="b"/>
                  <a:pathLst>
                    <a:path w="217" h="130">
                      <a:moveTo>
                        <a:pt x="0" y="130"/>
                      </a:moveTo>
                      <a:cubicBezTo>
                        <a:pt x="23" y="129"/>
                        <a:pt x="76" y="97"/>
                        <a:pt x="86" y="76"/>
                      </a:cubicBezTo>
                      <a:cubicBezTo>
                        <a:pt x="87" y="87"/>
                        <a:pt x="82" y="97"/>
                        <a:pt x="74" y="103"/>
                      </a:cubicBezTo>
                      <a:cubicBezTo>
                        <a:pt x="105" y="108"/>
                        <a:pt x="94" y="54"/>
                        <a:pt x="124" y="62"/>
                      </a:cubicBezTo>
                      <a:cubicBezTo>
                        <a:pt x="128" y="71"/>
                        <a:pt x="126" y="81"/>
                        <a:pt x="127" y="91"/>
                      </a:cubicBezTo>
                      <a:cubicBezTo>
                        <a:pt x="143" y="91"/>
                        <a:pt x="150" y="71"/>
                        <a:pt x="163" y="64"/>
                      </a:cubicBezTo>
                      <a:cubicBezTo>
                        <a:pt x="162" y="74"/>
                        <a:pt x="166" y="85"/>
                        <a:pt x="173" y="91"/>
                      </a:cubicBezTo>
                      <a:cubicBezTo>
                        <a:pt x="176" y="84"/>
                        <a:pt x="180" y="76"/>
                        <a:pt x="187" y="71"/>
                      </a:cubicBezTo>
                      <a:cubicBezTo>
                        <a:pt x="187" y="85"/>
                        <a:pt x="190" y="97"/>
                        <a:pt x="208" y="93"/>
                      </a:cubicBezTo>
                      <a:cubicBezTo>
                        <a:pt x="217" y="68"/>
                        <a:pt x="196" y="37"/>
                        <a:pt x="176" y="22"/>
                      </a:cubicBezTo>
                      <a:cubicBezTo>
                        <a:pt x="149" y="0"/>
                        <a:pt x="132" y="11"/>
                        <a:pt x="107" y="26"/>
                      </a:cubicBezTo>
                      <a:cubicBezTo>
                        <a:pt x="69" y="50"/>
                        <a:pt x="40" y="62"/>
                        <a:pt x="15" y="101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1" name="Freeform 298"/>
                <p:cNvSpPr>
                  <a:spLocks/>
                </p:cNvSpPr>
                <p:nvPr/>
              </p:nvSpPr>
              <p:spPr bwMode="gray">
                <a:xfrm>
                  <a:off x="411162" y="8405813"/>
                  <a:ext cx="735013" cy="803275"/>
                </a:xfrm>
                <a:custGeom>
                  <a:avLst/>
                  <a:gdLst/>
                  <a:ahLst/>
                  <a:cxnLst>
                    <a:cxn ang="0">
                      <a:pos x="11" y="66"/>
                    </a:cxn>
                    <a:cxn ang="0">
                      <a:pos x="9" y="126"/>
                    </a:cxn>
                    <a:cxn ang="0">
                      <a:pos x="40" y="105"/>
                    </a:cxn>
                    <a:cxn ang="0">
                      <a:pos x="69" y="78"/>
                    </a:cxn>
                    <a:cxn ang="0">
                      <a:pos x="142" y="142"/>
                    </a:cxn>
                    <a:cxn ang="0">
                      <a:pos x="196" y="212"/>
                    </a:cxn>
                    <a:cxn ang="0">
                      <a:pos x="165" y="144"/>
                    </a:cxn>
                    <a:cxn ang="0">
                      <a:pos x="124" y="71"/>
                    </a:cxn>
                    <a:cxn ang="0">
                      <a:pos x="54" y="7"/>
                    </a:cxn>
                    <a:cxn ang="0">
                      <a:pos x="3" y="72"/>
                    </a:cxn>
                    <a:cxn ang="0">
                      <a:pos x="13" y="78"/>
                    </a:cxn>
                  </a:cxnLst>
                  <a:rect l="0" t="0" r="r" b="b"/>
                  <a:pathLst>
                    <a:path w="196" h="214">
                      <a:moveTo>
                        <a:pt x="11" y="66"/>
                      </a:moveTo>
                      <a:cubicBezTo>
                        <a:pt x="20" y="73"/>
                        <a:pt x="13" y="114"/>
                        <a:pt x="9" y="126"/>
                      </a:cubicBezTo>
                      <a:cubicBezTo>
                        <a:pt x="20" y="122"/>
                        <a:pt x="31" y="112"/>
                        <a:pt x="40" y="105"/>
                      </a:cubicBezTo>
                      <a:cubicBezTo>
                        <a:pt x="49" y="98"/>
                        <a:pt x="60" y="81"/>
                        <a:pt x="69" y="78"/>
                      </a:cubicBezTo>
                      <a:cubicBezTo>
                        <a:pt x="86" y="109"/>
                        <a:pt x="122" y="118"/>
                        <a:pt x="142" y="142"/>
                      </a:cubicBezTo>
                      <a:cubicBezTo>
                        <a:pt x="155" y="158"/>
                        <a:pt x="171" y="214"/>
                        <a:pt x="196" y="212"/>
                      </a:cubicBezTo>
                      <a:cubicBezTo>
                        <a:pt x="189" y="191"/>
                        <a:pt x="175" y="165"/>
                        <a:pt x="165" y="144"/>
                      </a:cubicBezTo>
                      <a:cubicBezTo>
                        <a:pt x="153" y="120"/>
                        <a:pt x="138" y="95"/>
                        <a:pt x="124" y="71"/>
                      </a:cubicBezTo>
                      <a:cubicBezTo>
                        <a:pt x="108" y="45"/>
                        <a:pt x="85" y="13"/>
                        <a:pt x="54" y="7"/>
                      </a:cubicBezTo>
                      <a:cubicBezTo>
                        <a:pt x="17" y="0"/>
                        <a:pt x="0" y="40"/>
                        <a:pt x="3" y="72"/>
                      </a:cubicBezTo>
                      <a:cubicBezTo>
                        <a:pt x="7" y="73"/>
                        <a:pt x="10" y="77"/>
                        <a:pt x="13" y="7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2" name="Freeform 299"/>
                <p:cNvSpPr>
                  <a:spLocks/>
                </p:cNvSpPr>
                <p:nvPr/>
              </p:nvSpPr>
              <p:spPr bwMode="gray">
                <a:xfrm>
                  <a:off x="-1095375" y="9036051"/>
                  <a:ext cx="547688" cy="809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6" y="216"/>
                    </a:cxn>
                    <a:cxn ang="0">
                      <a:pos x="53" y="131"/>
                    </a:cxn>
                    <a:cxn ang="0">
                      <a:pos x="28" y="193"/>
                    </a:cxn>
                  </a:cxnLst>
                  <a:rect l="0" t="0" r="r" b="b"/>
                  <a:pathLst>
                    <a:path w="146" h="216">
                      <a:moveTo>
                        <a:pt x="0" y="0"/>
                      </a:moveTo>
                      <a:cubicBezTo>
                        <a:pt x="40" y="3"/>
                        <a:pt x="144" y="168"/>
                        <a:pt x="146" y="216"/>
                      </a:cubicBezTo>
                      <a:cubicBezTo>
                        <a:pt x="134" y="178"/>
                        <a:pt x="97" y="126"/>
                        <a:pt x="53" y="131"/>
                      </a:cubicBezTo>
                      <a:cubicBezTo>
                        <a:pt x="54" y="153"/>
                        <a:pt x="29" y="170"/>
                        <a:pt x="28" y="193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3" name="Freeform 300"/>
                <p:cNvSpPr>
                  <a:spLocks/>
                </p:cNvSpPr>
                <p:nvPr/>
              </p:nvSpPr>
              <p:spPr bwMode="gray">
                <a:xfrm>
                  <a:off x="-2127250" y="5688013"/>
                  <a:ext cx="3724275" cy="3937000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solidFill>
                  <a:srgbClr val="736357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4" name="Freeform 301"/>
                <p:cNvSpPr>
                  <a:spLocks/>
                </p:cNvSpPr>
                <p:nvPr/>
              </p:nvSpPr>
              <p:spPr bwMode="gray">
                <a:xfrm>
                  <a:off x="-2127250" y="5688013"/>
                  <a:ext cx="3724275" cy="3937000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5" name="Freeform 302"/>
                <p:cNvSpPr>
                  <a:spLocks/>
                </p:cNvSpPr>
                <p:nvPr/>
              </p:nvSpPr>
              <p:spPr bwMode="gray">
                <a:xfrm>
                  <a:off x="-1965325" y="13963651"/>
                  <a:ext cx="746125" cy="757238"/>
                </a:xfrm>
                <a:custGeom>
                  <a:avLst/>
                  <a:gdLst/>
                  <a:ahLst/>
                  <a:cxnLst>
                    <a:cxn ang="0">
                      <a:pos x="4" y="47"/>
                    </a:cxn>
                    <a:cxn ang="0">
                      <a:pos x="16" y="105"/>
                    </a:cxn>
                    <a:cxn ang="0">
                      <a:pos x="128" y="168"/>
                    </a:cxn>
                    <a:cxn ang="0">
                      <a:pos x="176" y="188"/>
                    </a:cxn>
                    <a:cxn ang="0">
                      <a:pos x="171" y="138"/>
                    </a:cxn>
                    <a:cxn ang="0">
                      <a:pos x="86" y="71"/>
                    </a:cxn>
                    <a:cxn ang="0">
                      <a:pos x="186" y="58"/>
                    </a:cxn>
                    <a:cxn ang="0">
                      <a:pos x="97" y="16"/>
                    </a:cxn>
                    <a:cxn ang="0">
                      <a:pos x="39" y="4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199" h="202">
                      <a:moveTo>
                        <a:pt x="4" y="47"/>
                      </a:moveTo>
                      <a:cubicBezTo>
                        <a:pt x="14" y="65"/>
                        <a:pt x="16" y="85"/>
                        <a:pt x="16" y="105"/>
                      </a:cubicBezTo>
                      <a:cubicBezTo>
                        <a:pt x="64" y="87"/>
                        <a:pt x="95" y="139"/>
                        <a:pt x="128" y="168"/>
                      </a:cubicBezTo>
                      <a:cubicBezTo>
                        <a:pt x="142" y="181"/>
                        <a:pt x="157" y="202"/>
                        <a:pt x="176" y="188"/>
                      </a:cubicBezTo>
                      <a:cubicBezTo>
                        <a:pt x="193" y="176"/>
                        <a:pt x="181" y="151"/>
                        <a:pt x="171" y="138"/>
                      </a:cubicBezTo>
                      <a:cubicBezTo>
                        <a:pt x="154" y="117"/>
                        <a:pt x="88" y="99"/>
                        <a:pt x="86" y="71"/>
                      </a:cubicBezTo>
                      <a:cubicBezTo>
                        <a:pt x="83" y="30"/>
                        <a:pt x="159" y="61"/>
                        <a:pt x="186" y="58"/>
                      </a:cubicBezTo>
                      <a:cubicBezTo>
                        <a:pt x="199" y="12"/>
                        <a:pt x="125" y="20"/>
                        <a:pt x="97" y="16"/>
                      </a:cubicBezTo>
                      <a:cubicBezTo>
                        <a:pt x="82" y="14"/>
                        <a:pt x="53" y="0"/>
                        <a:pt x="39" y="4"/>
                      </a:cubicBezTo>
                      <a:cubicBezTo>
                        <a:pt x="22" y="9"/>
                        <a:pt x="12" y="35"/>
                        <a:pt x="0" y="43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6" name="Freeform 303"/>
                <p:cNvSpPr>
                  <a:spLocks/>
                </p:cNvSpPr>
                <p:nvPr/>
              </p:nvSpPr>
              <p:spPr bwMode="gray">
                <a:xfrm>
                  <a:off x="-2424113" y="13239751"/>
                  <a:ext cx="1387475" cy="993775"/>
                </a:xfrm>
                <a:custGeom>
                  <a:avLst/>
                  <a:gdLst/>
                  <a:ahLst/>
                  <a:cxnLst>
                    <a:cxn ang="0">
                      <a:pos x="4" y="216"/>
                    </a:cxn>
                    <a:cxn ang="0">
                      <a:pos x="1" y="259"/>
                    </a:cxn>
                    <a:cxn ang="0">
                      <a:pos x="78" y="255"/>
                    </a:cxn>
                    <a:cxn ang="0">
                      <a:pos x="144" y="224"/>
                    </a:cxn>
                    <a:cxn ang="0">
                      <a:pos x="185" y="214"/>
                    </a:cxn>
                    <a:cxn ang="0">
                      <a:pos x="299" y="219"/>
                    </a:cxn>
                    <a:cxn ang="0">
                      <a:pos x="193" y="179"/>
                    </a:cxn>
                    <a:cxn ang="0">
                      <a:pos x="180" y="165"/>
                    </a:cxn>
                    <a:cxn ang="0">
                      <a:pos x="335" y="197"/>
                    </a:cxn>
                    <a:cxn ang="0">
                      <a:pos x="265" y="146"/>
                    </a:cxn>
                    <a:cxn ang="0">
                      <a:pos x="184" y="122"/>
                    </a:cxn>
                    <a:cxn ang="0">
                      <a:pos x="284" y="114"/>
                    </a:cxn>
                    <a:cxn ang="0">
                      <a:pos x="370" y="142"/>
                    </a:cxn>
                    <a:cxn ang="0">
                      <a:pos x="285" y="82"/>
                    </a:cxn>
                    <a:cxn ang="0">
                      <a:pos x="191" y="66"/>
                    </a:cxn>
                    <a:cxn ang="0">
                      <a:pos x="339" y="34"/>
                    </a:cxn>
                    <a:cxn ang="0">
                      <a:pos x="241" y="3"/>
                    </a:cxn>
                    <a:cxn ang="0">
                      <a:pos x="143" y="48"/>
                    </a:cxn>
                    <a:cxn ang="0">
                      <a:pos x="4" y="216"/>
                    </a:cxn>
                  </a:cxnLst>
                  <a:rect l="0" t="0" r="r" b="b"/>
                  <a:pathLst>
                    <a:path w="370" h="265">
                      <a:moveTo>
                        <a:pt x="4" y="216"/>
                      </a:moveTo>
                      <a:cubicBezTo>
                        <a:pt x="2" y="231"/>
                        <a:pt x="0" y="243"/>
                        <a:pt x="1" y="259"/>
                      </a:cubicBezTo>
                      <a:cubicBezTo>
                        <a:pt x="28" y="265"/>
                        <a:pt x="53" y="263"/>
                        <a:pt x="78" y="255"/>
                      </a:cubicBezTo>
                      <a:cubicBezTo>
                        <a:pt x="98" y="250"/>
                        <a:pt x="133" y="240"/>
                        <a:pt x="144" y="224"/>
                      </a:cubicBezTo>
                      <a:cubicBezTo>
                        <a:pt x="147" y="219"/>
                        <a:pt x="175" y="214"/>
                        <a:pt x="185" y="214"/>
                      </a:cubicBezTo>
                      <a:cubicBezTo>
                        <a:pt x="229" y="214"/>
                        <a:pt x="302" y="248"/>
                        <a:pt x="299" y="219"/>
                      </a:cubicBezTo>
                      <a:cubicBezTo>
                        <a:pt x="296" y="213"/>
                        <a:pt x="226" y="193"/>
                        <a:pt x="193" y="179"/>
                      </a:cubicBezTo>
                      <a:cubicBezTo>
                        <a:pt x="181" y="173"/>
                        <a:pt x="178" y="167"/>
                        <a:pt x="180" y="165"/>
                      </a:cubicBezTo>
                      <a:cubicBezTo>
                        <a:pt x="200" y="139"/>
                        <a:pt x="329" y="219"/>
                        <a:pt x="335" y="197"/>
                      </a:cubicBezTo>
                      <a:cubicBezTo>
                        <a:pt x="334" y="181"/>
                        <a:pt x="293" y="161"/>
                        <a:pt x="265" y="146"/>
                      </a:cubicBezTo>
                      <a:cubicBezTo>
                        <a:pt x="241" y="133"/>
                        <a:pt x="214" y="125"/>
                        <a:pt x="184" y="122"/>
                      </a:cubicBezTo>
                      <a:cubicBezTo>
                        <a:pt x="186" y="93"/>
                        <a:pt x="237" y="103"/>
                        <a:pt x="284" y="114"/>
                      </a:cubicBezTo>
                      <a:cubicBezTo>
                        <a:pt x="326" y="127"/>
                        <a:pt x="367" y="149"/>
                        <a:pt x="370" y="142"/>
                      </a:cubicBezTo>
                      <a:cubicBezTo>
                        <a:pt x="370" y="119"/>
                        <a:pt x="306" y="92"/>
                        <a:pt x="285" y="82"/>
                      </a:cubicBezTo>
                      <a:cubicBezTo>
                        <a:pt x="262" y="72"/>
                        <a:pt x="204" y="81"/>
                        <a:pt x="191" y="66"/>
                      </a:cubicBezTo>
                      <a:cubicBezTo>
                        <a:pt x="212" y="5"/>
                        <a:pt x="338" y="49"/>
                        <a:pt x="339" y="34"/>
                      </a:cubicBezTo>
                      <a:cubicBezTo>
                        <a:pt x="336" y="15"/>
                        <a:pt x="265" y="4"/>
                        <a:pt x="241" y="3"/>
                      </a:cubicBezTo>
                      <a:cubicBezTo>
                        <a:pt x="191" y="0"/>
                        <a:pt x="179" y="20"/>
                        <a:pt x="143" y="48"/>
                      </a:cubicBezTo>
                      <a:cubicBezTo>
                        <a:pt x="89" y="90"/>
                        <a:pt x="0" y="130"/>
                        <a:pt x="4" y="21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7" name="Oval 304"/>
                <p:cNvSpPr>
                  <a:spLocks noChangeArrowheads="1"/>
                </p:cNvSpPr>
                <p:nvPr/>
              </p:nvSpPr>
              <p:spPr bwMode="gray">
                <a:xfrm>
                  <a:off x="-417513" y="15395576"/>
                  <a:ext cx="668338" cy="671513"/>
                </a:xfrm>
                <a:prstGeom prst="ellipse">
                  <a:avLst/>
                </a:prstGeom>
                <a:solidFill>
                  <a:srgbClr val="3F3B3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8" name="Freeform 305"/>
                <p:cNvSpPr>
                  <a:spLocks/>
                </p:cNvSpPr>
                <p:nvPr/>
              </p:nvSpPr>
              <p:spPr bwMode="gray">
                <a:xfrm>
                  <a:off x="-533400" y="15692438"/>
                  <a:ext cx="2347913" cy="1858963"/>
                </a:xfrm>
                <a:custGeom>
                  <a:avLst/>
                  <a:gdLst/>
                  <a:ahLst/>
                  <a:cxnLst>
                    <a:cxn ang="0">
                      <a:pos x="24" y="461"/>
                    </a:cxn>
                    <a:cxn ang="0">
                      <a:pos x="189" y="375"/>
                    </a:cxn>
                    <a:cxn ang="0">
                      <a:pos x="347" y="276"/>
                    </a:cxn>
                    <a:cxn ang="0">
                      <a:pos x="497" y="157"/>
                    </a:cxn>
                    <a:cxn ang="0">
                      <a:pos x="625" y="12"/>
                    </a:cxn>
                    <a:cxn ang="0">
                      <a:pos x="452" y="111"/>
                    </a:cxn>
                    <a:cxn ang="0">
                      <a:pos x="268" y="240"/>
                    </a:cxn>
                    <a:cxn ang="0">
                      <a:pos x="0" y="496"/>
                    </a:cxn>
                  </a:cxnLst>
                  <a:rect l="0" t="0" r="r" b="b"/>
                  <a:pathLst>
                    <a:path w="626" h="496">
                      <a:moveTo>
                        <a:pt x="24" y="461"/>
                      </a:moveTo>
                      <a:cubicBezTo>
                        <a:pt x="83" y="466"/>
                        <a:pt x="144" y="404"/>
                        <a:pt x="189" y="375"/>
                      </a:cubicBezTo>
                      <a:cubicBezTo>
                        <a:pt x="240" y="343"/>
                        <a:pt x="297" y="313"/>
                        <a:pt x="347" y="276"/>
                      </a:cubicBezTo>
                      <a:cubicBezTo>
                        <a:pt x="397" y="237"/>
                        <a:pt x="450" y="200"/>
                        <a:pt x="497" y="157"/>
                      </a:cubicBezTo>
                      <a:cubicBezTo>
                        <a:pt x="535" y="123"/>
                        <a:pt x="626" y="64"/>
                        <a:pt x="625" y="12"/>
                      </a:cubicBezTo>
                      <a:cubicBezTo>
                        <a:pt x="557" y="0"/>
                        <a:pt x="498" y="71"/>
                        <a:pt x="452" y="111"/>
                      </a:cubicBezTo>
                      <a:cubicBezTo>
                        <a:pt x="395" y="159"/>
                        <a:pt x="326" y="191"/>
                        <a:pt x="268" y="240"/>
                      </a:cubicBezTo>
                      <a:cubicBezTo>
                        <a:pt x="172" y="320"/>
                        <a:pt x="62" y="387"/>
                        <a:pt x="0" y="496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9" name="Freeform 306"/>
                <p:cNvSpPr>
                  <a:spLocks/>
                </p:cNvSpPr>
                <p:nvPr/>
              </p:nvSpPr>
              <p:spPr bwMode="gray">
                <a:xfrm>
                  <a:off x="-1835150" y="15640051"/>
                  <a:ext cx="1890713" cy="989013"/>
                </a:xfrm>
                <a:custGeom>
                  <a:avLst/>
                  <a:gdLst/>
                  <a:ahLst/>
                  <a:cxnLst>
                    <a:cxn ang="0">
                      <a:pos x="103" y="46"/>
                    </a:cxn>
                    <a:cxn ang="0">
                      <a:pos x="179" y="82"/>
                    </a:cxn>
                    <a:cxn ang="0">
                      <a:pos x="290" y="87"/>
                    </a:cxn>
                    <a:cxn ang="0">
                      <a:pos x="500" y="41"/>
                    </a:cxn>
                    <a:cxn ang="0">
                      <a:pos x="354" y="146"/>
                    </a:cxn>
                    <a:cxn ang="0">
                      <a:pos x="91" y="90"/>
                    </a:cxn>
                    <a:cxn ang="0">
                      <a:pos x="202" y="238"/>
                    </a:cxn>
                    <a:cxn ang="0">
                      <a:pos x="86" y="0"/>
                    </a:cxn>
                  </a:cxnLst>
                  <a:rect l="0" t="0" r="r" b="b"/>
                  <a:pathLst>
                    <a:path w="504" h="264">
                      <a:moveTo>
                        <a:pt x="103" y="46"/>
                      </a:moveTo>
                      <a:cubicBezTo>
                        <a:pt x="131" y="56"/>
                        <a:pt x="151" y="74"/>
                        <a:pt x="179" y="82"/>
                      </a:cubicBezTo>
                      <a:cubicBezTo>
                        <a:pt x="213" y="90"/>
                        <a:pt x="253" y="88"/>
                        <a:pt x="290" y="87"/>
                      </a:cubicBezTo>
                      <a:cubicBezTo>
                        <a:pt x="369" y="86"/>
                        <a:pt x="426" y="47"/>
                        <a:pt x="500" y="41"/>
                      </a:cubicBezTo>
                      <a:cubicBezTo>
                        <a:pt x="504" y="138"/>
                        <a:pt x="442" y="146"/>
                        <a:pt x="354" y="146"/>
                      </a:cubicBezTo>
                      <a:cubicBezTo>
                        <a:pt x="248" y="146"/>
                        <a:pt x="177" y="138"/>
                        <a:pt x="91" y="90"/>
                      </a:cubicBezTo>
                      <a:cubicBezTo>
                        <a:pt x="93" y="164"/>
                        <a:pt x="164" y="188"/>
                        <a:pt x="202" y="238"/>
                      </a:cubicBezTo>
                      <a:cubicBezTo>
                        <a:pt x="89" y="264"/>
                        <a:pt x="0" y="69"/>
                        <a:pt x="86" y="0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0" name="Freeform 307"/>
                <p:cNvSpPr>
                  <a:spLocks/>
                </p:cNvSpPr>
                <p:nvPr/>
              </p:nvSpPr>
              <p:spPr bwMode="gray">
                <a:xfrm>
                  <a:off x="246062" y="17765713"/>
                  <a:ext cx="1792288" cy="2166938"/>
                </a:xfrm>
                <a:custGeom>
                  <a:avLst/>
                  <a:gdLst/>
                  <a:ahLst/>
                  <a:cxnLst>
                    <a:cxn ang="0">
                      <a:pos x="437" y="187"/>
                    </a:cxn>
                    <a:cxn ang="0">
                      <a:pos x="383" y="519"/>
                    </a:cxn>
                    <a:cxn ang="0">
                      <a:pos x="192" y="543"/>
                    </a:cxn>
                    <a:cxn ang="0">
                      <a:pos x="0" y="577"/>
                    </a:cxn>
                    <a:cxn ang="0">
                      <a:pos x="197" y="484"/>
                    </a:cxn>
                    <a:cxn ang="0">
                      <a:pos x="330" y="356"/>
                    </a:cxn>
                    <a:cxn ang="0">
                      <a:pos x="408" y="175"/>
                    </a:cxn>
                    <a:cxn ang="0">
                      <a:pos x="443" y="0"/>
                    </a:cxn>
                  </a:cxnLst>
                  <a:rect l="0" t="0" r="r" b="b"/>
                  <a:pathLst>
                    <a:path w="478" h="578">
                      <a:moveTo>
                        <a:pt x="437" y="187"/>
                      </a:moveTo>
                      <a:cubicBezTo>
                        <a:pt x="478" y="282"/>
                        <a:pt x="415" y="429"/>
                        <a:pt x="383" y="519"/>
                      </a:cubicBezTo>
                      <a:cubicBezTo>
                        <a:pt x="320" y="532"/>
                        <a:pt x="254" y="532"/>
                        <a:pt x="192" y="543"/>
                      </a:cubicBezTo>
                      <a:cubicBezTo>
                        <a:pt x="129" y="555"/>
                        <a:pt x="64" y="578"/>
                        <a:pt x="0" y="577"/>
                      </a:cubicBezTo>
                      <a:cubicBezTo>
                        <a:pt x="46" y="530"/>
                        <a:pt x="137" y="510"/>
                        <a:pt x="197" y="484"/>
                      </a:cubicBezTo>
                      <a:cubicBezTo>
                        <a:pt x="264" y="456"/>
                        <a:pt x="295" y="423"/>
                        <a:pt x="330" y="356"/>
                      </a:cubicBezTo>
                      <a:cubicBezTo>
                        <a:pt x="359" y="301"/>
                        <a:pt x="389" y="237"/>
                        <a:pt x="408" y="175"/>
                      </a:cubicBezTo>
                      <a:cubicBezTo>
                        <a:pt x="425" y="118"/>
                        <a:pt x="419" y="53"/>
                        <a:pt x="443" y="0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1" name="Freeform 308"/>
                <p:cNvSpPr>
                  <a:spLocks/>
                </p:cNvSpPr>
                <p:nvPr/>
              </p:nvSpPr>
              <p:spPr bwMode="gray">
                <a:xfrm>
                  <a:off x="1371600" y="10360026"/>
                  <a:ext cx="363538" cy="3490913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12" y="235"/>
                    </a:cxn>
                    <a:cxn ang="0">
                      <a:pos x="30" y="450"/>
                    </a:cxn>
                    <a:cxn ang="0">
                      <a:pos x="18" y="666"/>
                    </a:cxn>
                    <a:cxn ang="0">
                      <a:pos x="12" y="771"/>
                    </a:cxn>
                    <a:cxn ang="0">
                      <a:pos x="94" y="931"/>
                    </a:cxn>
                    <a:cxn ang="0">
                      <a:pos x="94" y="666"/>
                    </a:cxn>
                    <a:cxn ang="0">
                      <a:pos x="83" y="399"/>
                    </a:cxn>
                    <a:cxn ang="0">
                      <a:pos x="29" y="15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7" h="931">
                      <a:moveTo>
                        <a:pt x="0" y="29"/>
                      </a:moveTo>
                      <a:cubicBezTo>
                        <a:pt x="33" y="79"/>
                        <a:pt x="3" y="174"/>
                        <a:pt x="12" y="235"/>
                      </a:cubicBezTo>
                      <a:cubicBezTo>
                        <a:pt x="23" y="307"/>
                        <a:pt x="19" y="379"/>
                        <a:pt x="30" y="450"/>
                      </a:cubicBezTo>
                      <a:cubicBezTo>
                        <a:pt x="41" y="525"/>
                        <a:pt x="24" y="593"/>
                        <a:pt x="18" y="666"/>
                      </a:cubicBezTo>
                      <a:cubicBezTo>
                        <a:pt x="15" y="694"/>
                        <a:pt x="7" y="748"/>
                        <a:pt x="12" y="771"/>
                      </a:cubicBezTo>
                      <a:cubicBezTo>
                        <a:pt x="20" y="804"/>
                        <a:pt x="76" y="906"/>
                        <a:pt x="94" y="931"/>
                      </a:cubicBezTo>
                      <a:cubicBezTo>
                        <a:pt x="97" y="875"/>
                        <a:pt x="93" y="728"/>
                        <a:pt x="94" y="666"/>
                      </a:cubicBezTo>
                      <a:cubicBezTo>
                        <a:pt x="95" y="576"/>
                        <a:pt x="90" y="487"/>
                        <a:pt x="83" y="399"/>
                      </a:cubicBezTo>
                      <a:cubicBezTo>
                        <a:pt x="75" y="317"/>
                        <a:pt x="42" y="239"/>
                        <a:pt x="29" y="158"/>
                      </a:cubicBezTo>
                      <a:cubicBezTo>
                        <a:pt x="20" y="97"/>
                        <a:pt x="25" y="55"/>
                        <a:pt x="0" y="0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2" name="Freeform 309"/>
                <p:cNvSpPr>
                  <a:spLocks/>
                </p:cNvSpPr>
                <p:nvPr/>
              </p:nvSpPr>
              <p:spPr bwMode="gray">
                <a:xfrm>
                  <a:off x="479425" y="13655676"/>
                  <a:ext cx="1484313" cy="1492250"/>
                </a:xfrm>
                <a:custGeom>
                  <a:avLst/>
                  <a:gdLst/>
                  <a:ahLst/>
                  <a:cxnLst>
                    <a:cxn ang="0">
                      <a:pos x="330" y="55"/>
                    </a:cxn>
                    <a:cxn ang="0">
                      <a:pos x="318" y="109"/>
                    </a:cxn>
                    <a:cxn ang="0">
                      <a:pos x="108" y="33"/>
                    </a:cxn>
                    <a:cxn ang="0">
                      <a:pos x="209" y="113"/>
                    </a:cxn>
                    <a:cxn ang="0">
                      <a:pos x="243" y="164"/>
                    </a:cxn>
                    <a:cxn ang="0">
                      <a:pos x="287" y="214"/>
                    </a:cxn>
                    <a:cxn ang="0">
                      <a:pos x="221" y="219"/>
                    </a:cxn>
                    <a:cxn ang="0">
                      <a:pos x="256" y="289"/>
                    </a:cxn>
                    <a:cxn ang="0">
                      <a:pos x="170" y="329"/>
                    </a:cxn>
                    <a:cxn ang="0">
                      <a:pos x="0" y="398"/>
                    </a:cxn>
                    <a:cxn ang="0">
                      <a:pos x="194" y="344"/>
                    </a:cxn>
                    <a:cxn ang="0">
                      <a:pos x="314" y="351"/>
                    </a:cxn>
                    <a:cxn ang="0">
                      <a:pos x="396" y="370"/>
                    </a:cxn>
                    <a:cxn ang="0">
                      <a:pos x="357" y="238"/>
                    </a:cxn>
                    <a:cxn ang="0">
                      <a:pos x="330" y="98"/>
                    </a:cxn>
                  </a:cxnLst>
                  <a:rect l="0" t="0" r="r" b="b"/>
                  <a:pathLst>
                    <a:path w="396" h="398">
                      <a:moveTo>
                        <a:pt x="330" y="55"/>
                      </a:moveTo>
                      <a:cubicBezTo>
                        <a:pt x="319" y="72"/>
                        <a:pt x="324" y="91"/>
                        <a:pt x="318" y="109"/>
                      </a:cubicBezTo>
                      <a:cubicBezTo>
                        <a:pt x="238" y="165"/>
                        <a:pt x="183" y="0"/>
                        <a:pt x="108" y="33"/>
                      </a:cubicBezTo>
                      <a:cubicBezTo>
                        <a:pt x="96" y="79"/>
                        <a:pt x="186" y="88"/>
                        <a:pt x="209" y="113"/>
                      </a:cubicBezTo>
                      <a:cubicBezTo>
                        <a:pt x="222" y="129"/>
                        <a:pt x="223" y="147"/>
                        <a:pt x="243" y="164"/>
                      </a:cubicBezTo>
                      <a:cubicBezTo>
                        <a:pt x="262" y="180"/>
                        <a:pt x="285" y="188"/>
                        <a:pt x="287" y="214"/>
                      </a:cubicBezTo>
                      <a:cubicBezTo>
                        <a:pt x="266" y="222"/>
                        <a:pt x="243" y="218"/>
                        <a:pt x="221" y="219"/>
                      </a:cubicBezTo>
                      <a:cubicBezTo>
                        <a:pt x="210" y="261"/>
                        <a:pt x="255" y="250"/>
                        <a:pt x="256" y="289"/>
                      </a:cubicBezTo>
                      <a:cubicBezTo>
                        <a:pt x="257" y="338"/>
                        <a:pt x="204" y="331"/>
                        <a:pt x="170" y="329"/>
                      </a:cubicBezTo>
                      <a:cubicBezTo>
                        <a:pt x="94" y="325"/>
                        <a:pt x="33" y="326"/>
                        <a:pt x="0" y="398"/>
                      </a:cubicBezTo>
                      <a:cubicBezTo>
                        <a:pt x="21" y="350"/>
                        <a:pt x="148" y="348"/>
                        <a:pt x="194" y="344"/>
                      </a:cubicBezTo>
                      <a:cubicBezTo>
                        <a:pt x="237" y="339"/>
                        <a:pt x="273" y="340"/>
                        <a:pt x="314" y="351"/>
                      </a:cubicBezTo>
                      <a:cubicBezTo>
                        <a:pt x="341" y="357"/>
                        <a:pt x="369" y="383"/>
                        <a:pt x="396" y="370"/>
                      </a:cubicBezTo>
                      <a:cubicBezTo>
                        <a:pt x="384" y="326"/>
                        <a:pt x="364" y="287"/>
                        <a:pt x="357" y="238"/>
                      </a:cubicBezTo>
                      <a:cubicBezTo>
                        <a:pt x="351" y="193"/>
                        <a:pt x="326" y="145"/>
                        <a:pt x="330" y="98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3" name="Freeform 310"/>
                <p:cNvSpPr>
                  <a:spLocks/>
                </p:cNvSpPr>
                <p:nvPr/>
              </p:nvSpPr>
              <p:spPr bwMode="gray">
                <a:xfrm>
                  <a:off x="-3533775" y="11672888"/>
                  <a:ext cx="1027113" cy="1357313"/>
                </a:xfrm>
                <a:custGeom>
                  <a:avLst/>
                  <a:gdLst/>
                  <a:ahLst/>
                  <a:cxnLst>
                    <a:cxn ang="0">
                      <a:pos x="173" y="43"/>
                    </a:cxn>
                    <a:cxn ang="0">
                      <a:pos x="47" y="57"/>
                    </a:cxn>
                    <a:cxn ang="0">
                      <a:pos x="133" y="133"/>
                    </a:cxn>
                    <a:cxn ang="0">
                      <a:pos x="181" y="236"/>
                    </a:cxn>
                    <a:cxn ang="0">
                      <a:pos x="122" y="311"/>
                    </a:cxn>
                    <a:cxn ang="0">
                      <a:pos x="211" y="320"/>
                    </a:cxn>
                    <a:cxn ang="0">
                      <a:pos x="274" y="362"/>
                    </a:cxn>
                    <a:cxn ang="0">
                      <a:pos x="197" y="182"/>
                    </a:cxn>
                    <a:cxn ang="0">
                      <a:pos x="144" y="94"/>
                    </a:cxn>
                    <a:cxn ang="0">
                      <a:pos x="192" y="0"/>
                    </a:cxn>
                  </a:cxnLst>
                  <a:rect l="0" t="0" r="r" b="b"/>
                  <a:pathLst>
                    <a:path w="274" h="362">
                      <a:moveTo>
                        <a:pt x="173" y="43"/>
                      </a:moveTo>
                      <a:cubicBezTo>
                        <a:pt x="131" y="91"/>
                        <a:pt x="76" y="24"/>
                        <a:pt x="47" y="57"/>
                      </a:cubicBezTo>
                      <a:cubicBezTo>
                        <a:pt x="0" y="111"/>
                        <a:pt x="107" y="119"/>
                        <a:pt x="133" y="133"/>
                      </a:cubicBezTo>
                      <a:cubicBezTo>
                        <a:pt x="142" y="171"/>
                        <a:pt x="169" y="200"/>
                        <a:pt x="181" y="236"/>
                      </a:cubicBezTo>
                      <a:cubicBezTo>
                        <a:pt x="206" y="307"/>
                        <a:pt x="107" y="248"/>
                        <a:pt x="122" y="311"/>
                      </a:cubicBezTo>
                      <a:cubicBezTo>
                        <a:pt x="156" y="316"/>
                        <a:pt x="179" y="302"/>
                        <a:pt x="211" y="320"/>
                      </a:cubicBezTo>
                      <a:cubicBezTo>
                        <a:pt x="235" y="334"/>
                        <a:pt x="245" y="354"/>
                        <a:pt x="274" y="362"/>
                      </a:cubicBezTo>
                      <a:cubicBezTo>
                        <a:pt x="232" y="335"/>
                        <a:pt x="223" y="229"/>
                        <a:pt x="197" y="182"/>
                      </a:cubicBezTo>
                      <a:cubicBezTo>
                        <a:pt x="181" y="153"/>
                        <a:pt x="150" y="128"/>
                        <a:pt x="144" y="94"/>
                      </a:cubicBezTo>
                      <a:cubicBezTo>
                        <a:pt x="136" y="43"/>
                        <a:pt x="186" y="43"/>
                        <a:pt x="192" y="0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4" name="Freeform 311"/>
                <p:cNvSpPr>
                  <a:spLocks/>
                </p:cNvSpPr>
                <p:nvPr/>
              </p:nvSpPr>
              <p:spPr bwMode="gray">
                <a:xfrm>
                  <a:off x="-2686050" y="10748963"/>
                  <a:ext cx="685800" cy="747713"/>
                </a:xfrm>
                <a:custGeom>
                  <a:avLst/>
                  <a:gdLst/>
                  <a:ahLst/>
                  <a:cxnLst>
                    <a:cxn ang="0">
                      <a:pos x="180" y="199"/>
                    </a:cxn>
                    <a:cxn ang="0">
                      <a:pos x="162" y="77"/>
                    </a:cxn>
                    <a:cxn ang="0">
                      <a:pos x="76" y="28"/>
                    </a:cxn>
                    <a:cxn ang="0">
                      <a:pos x="28" y="94"/>
                    </a:cxn>
                    <a:cxn ang="0">
                      <a:pos x="2" y="175"/>
                    </a:cxn>
                    <a:cxn ang="0">
                      <a:pos x="20" y="148"/>
                    </a:cxn>
                    <a:cxn ang="0">
                      <a:pos x="52" y="125"/>
                    </a:cxn>
                    <a:cxn ang="0">
                      <a:pos x="114" y="78"/>
                    </a:cxn>
                    <a:cxn ang="0">
                      <a:pos x="180" y="191"/>
                    </a:cxn>
                  </a:cxnLst>
                  <a:rect l="0" t="0" r="r" b="b"/>
                  <a:pathLst>
                    <a:path w="183" h="199">
                      <a:moveTo>
                        <a:pt x="180" y="199"/>
                      </a:moveTo>
                      <a:cubicBezTo>
                        <a:pt x="180" y="154"/>
                        <a:pt x="183" y="115"/>
                        <a:pt x="162" y="77"/>
                      </a:cubicBezTo>
                      <a:cubicBezTo>
                        <a:pt x="145" y="47"/>
                        <a:pt x="112" y="0"/>
                        <a:pt x="76" y="28"/>
                      </a:cubicBezTo>
                      <a:cubicBezTo>
                        <a:pt x="72" y="76"/>
                        <a:pt x="57" y="67"/>
                        <a:pt x="28" y="94"/>
                      </a:cubicBezTo>
                      <a:cubicBezTo>
                        <a:pt x="0" y="120"/>
                        <a:pt x="25" y="147"/>
                        <a:pt x="2" y="175"/>
                      </a:cubicBezTo>
                      <a:cubicBezTo>
                        <a:pt x="12" y="169"/>
                        <a:pt x="14" y="155"/>
                        <a:pt x="20" y="148"/>
                      </a:cubicBezTo>
                      <a:cubicBezTo>
                        <a:pt x="34" y="135"/>
                        <a:pt x="36" y="135"/>
                        <a:pt x="52" y="125"/>
                      </a:cubicBezTo>
                      <a:cubicBezTo>
                        <a:pt x="66" y="117"/>
                        <a:pt x="101" y="80"/>
                        <a:pt x="114" y="78"/>
                      </a:cubicBezTo>
                      <a:cubicBezTo>
                        <a:pt x="164" y="70"/>
                        <a:pt x="158" y="165"/>
                        <a:pt x="180" y="191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5" name="Freeform 312"/>
                <p:cNvSpPr>
                  <a:spLocks/>
                </p:cNvSpPr>
                <p:nvPr/>
              </p:nvSpPr>
              <p:spPr bwMode="gray">
                <a:xfrm>
                  <a:off x="-3184525" y="10048876"/>
                  <a:ext cx="209550" cy="603250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34" y="89"/>
                    </a:cxn>
                    <a:cxn ang="0">
                      <a:pos x="10" y="155"/>
                    </a:cxn>
                    <a:cxn ang="0">
                      <a:pos x="21" y="78"/>
                    </a:cxn>
                  </a:cxnLst>
                  <a:rect l="0" t="0" r="r" b="b"/>
                  <a:pathLst>
                    <a:path w="56" h="161">
                      <a:moveTo>
                        <a:pt x="56" y="0"/>
                      </a:moveTo>
                      <a:cubicBezTo>
                        <a:pt x="49" y="35"/>
                        <a:pt x="30" y="47"/>
                        <a:pt x="34" y="89"/>
                      </a:cubicBezTo>
                      <a:cubicBezTo>
                        <a:pt x="36" y="112"/>
                        <a:pt x="55" y="161"/>
                        <a:pt x="10" y="155"/>
                      </a:cubicBezTo>
                      <a:cubicBezTo>
                        <a:pt x="0" y="123"/>
                        <a:pt x="14" y="107"/>
                        <a:pt x="21" y="78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6" name="Freeform 313"/>
                <p:cNvSpPr>
                  <a:spLocks/>
                </p:cNvSpPr>
                <p:nvPr/>
              </p:nvSpPr>
              <p:spPr bwMode="gray">
                <a:xfrm>
                  <a:off x="2098675" y="12576176"/>
                  <a:ext cx="338138" cy="584200"/>
                </a:xfrm>
                <a:custGeom>
                  <a:avLst/>
                  <a:gdLst/>
                  <a:ahLst/>
                  <a:cxnLst>
                    <a:cxn ang="0">
                      <a:pos x="77" y="0"/>
                    </a:cxn>
                    <a:cxn ang="0">
                      <a:pos x="12" y="144"/>
                    </a:cxn>
                    <a:cxn ang="0">
                      <a:pos x="73" y="20"/>
                    </a:cxn>
                  </a:cxnLst>
                  <a:rect l="0" t="0" r="r" b="b"/>
                  <a:pathLst>
                    <a:path w="90" h="156">
                      <a:moveTo>
                        <a:pt x="77" y="0"/>
                      </a:moveTo>
                      <a:cubicBezTo>
                        <a:pt x="90" y="55"/>
                        <a:pt x="0" y="75"/>
                        <a:pt x="12" y="144"/>
                      </a:cubicBezTo>
                      <a:cubicBezTo>
                        <a:pt x="69" y="156"/>
                        <a:pt x="57" y="50"/>
                        <a:pt x="73" y="20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7" name="Freeform 314"/>
                <p:cNvSpPr>
                  <a:spLocks/>
                </p:cNvSpPr>
                <p:nvPr/>
              </p:nvSpPr>
              <p:spPr bwMode="gray">
                <a:xfrm>
                  <a:off x="-2006600" y="11877676"/>
                  <a:ext cx="688975" cy="1328738"/>
                </a:xfrm>
                <a:custGeom>
                  <a:avLst/>
                  <a:gdLst/>
                  <a:ahLst/>
                  <a:cxnLst>
                    <a:cxn ang="0">
                      <a:pos x="46" y="323"/>
                    </a:cxn>
                    <a:cxn ang="0">
                      <a:pos x="81" y="249"/>
                    </a:cxn>
                    <a:cxn ang="0">
                      <a:pos x="166" y="244"/>
                    </a:cxn>
                    <a:cxn ang="0">
                      <a:pos x="74" y="139"/>
                    </a:cxn>
                    <a:cxn ang="0">
                      <a:pos x="0" y="0"/>
                    </a:cxn>
                    <a:cxn ang="0">
                      <a:pos x="30" y="85"/>
                    </a:cxn>
                    <a:cxn ang="0">
                      <a:pos x="49" y="179"/>
                    </a:cxn>
                    <a:cxn ang="0">
                      <a:pos x="50" y="272"/>
                    </a:cxn>
                    <a:cxn ang="0">
                      <a:pos x="50" y="354"/>
                    </a:cxn>
                  </a:cxnLst>
                  <a:rect l="0" t="0" r="r" b="b"/>
                  <a:pathLst>
                    <a:path w="184" h="354">
                      <a:moveTo>
                        <a:pt x="46" y="323"/>
                      </a:moveTo>
                      <a:cubicBezTo>
                        <a:pt x="53" y="297"/>
                        <a:pt x="55" y="264"/>
                        <a:pt x="81" y="249"/>
                      </a:cubicBezTo>
                      <a:cubicBezTo>
                        <a:pt x="108" y="232"/>
                        <a:pt x="137" y="249"/>
                        <a:pt x="166" y="244"/>
                      </a:cubicBezTo>
                      <a:cubicBezTo>
                        <a:pt x="184" y="213"/>
                        <a:pt x="93" y="159"/>
                        <a:pt x="74" y="139"/>
                      </a:cubicBezTo>
                      <a:cubicBezTo>
                        <a:pt x="48" y="109"/>
                        <a:pt x="33" y="11"/>
                        <a:pt x="0" y="0"/>
                      </a:cubicBezTo>
                      <a:cubicBezTo>
                        <a:pt x="1" y="28"/>
                        <a:pt x="21" y="59"/>
                        <a:pt x="30" y="85"/>
                      </a:cubicBezTo>
                      <a:cubicBezTo>
                        <a:pt x="41" y="115"/>
                        <a:pt x="43" y="150"/>
                        <a:pt x="49" y="179"/>
                      </a:cubicBezTo>
                      <a:cubicBezTo>
                        <a:pt x="56" y="213"/>
                        <a:pt x="59" y="237"/>
                        <a:pt x="50" y="272"/>
                      </a:cubicBezTo>
                      <a:cubicBezTo>
                        <a:pt x="44" y="296"/>
                        <a:pt x="23" y="334"/>
                        <a:pt x="50" y="354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8" name="Freeform 315"/>
                <p:cNvSpPr>
                  <a:spLocks/>
                </p:cNvSpPr>
                <p:nvPr/>
              </p:nvSpPr>
              <p:spPr bwMode="gray">
                <a:xfrm>
                  <a:off x="1614487" y="9932988"/>
                  <a:ext cx="654050" cy="1104900"/>
                </a:xfrm>
                <a:custGeom>
                  <a:avLst/>
                  <a:gdLst/>
                  <a:ahLst/>
                  <a:cxnLst>
                    <a:cxn ang="0">
                      <a:pos x="128" y="0"/>
                    </a:cxn>
                    <a:cxn ang="0">
                      <a:pos x="79" y="98"/>
                    </a:cxn>
                    <a:cxn ang="0">
                      <a:pos x="20" y="175"/>
                    </a:cxn>
                    <a:cxn ang="0">
                      <a:pos x="109" y="179"/>
                    </a:cxn>
                    <a:cxn ang="0">
                      <a:pos x="74" y="238"/>
                    </a:cxn>
                    <a:cxn ang="0">
                      <a:pos x="82" y="288"/>
                    </a:cxn>
                    <a:cxn ang="0">
                      <a:pos x="136" y="8"/>
                    </a:cxn>
                  </a:cxnLst>
                  <a:rect l="0" t="0" r="r" b="b"/>
                  <a:pathLst>
                    <a:path w="174" h="295">
                      <a:moveTo>
                        <a:pt x="128" y="0"/>
                      </a:moveTo>
                      <a:cubicBezTo>
                        <a:pt x="134" y="41"/>
                        <a:pt x="105" y="72"/>
                        <a:pt x="79" y="98"/>
                      </a:cubicBezTo>
                      <a:cubicBezTo>
                        <a:pt x="60" y="117"/>
                        <a:pt x="0" y="144"/>
                        <a:pt x="20" y="175"/>
                      </a:cubicBezTo>
                      <a:cubicBezTo>
                        <a:pt x="45" y="214"/>
                        <a:pt x="99" y="149"/>
                        <a:pt x="109" y="179"/>
                      </a:cubicBezTo>
                      <a:cubicBezTo>
                        <a:pt x="115" y="197"/>
                        <a:pt x="77" y="221"/>
                        <a:pt x="74" y="238"/>
                      </a:cubicBezTo>
                      <a:cubicBezTo>
                        <a:pt x="72" y="248"/>
                        <a:pt x="83" y="273"/>
                        <a:pt x="82" y="288"/>
                      </a:cubicBezTo>
                      <a:cubicBezTo>
                        <a:pt x="174" y="295"/>
                        <a:pt x="147" y="64"/>
                        <a:pt x="136" y="8"/>
                      </a:cubicBezTo>
                    </a:path>
                  </a:pathLst>
                </a:custGeom>
                <a:solidFill>
                  <a:srgbClr val="0D12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9" name="Freeform 316"/>
                <p:cNvSpPr>
                  <a:spLocks/>
                </p:cNvSpPr>
                <p:nvPr/>
              </p:nvSpPr>
              <p:spPr bwMode="gray">
                <a:xfrm>
                  <a:off x="-1208088" y="6396038"/>
                  <a:ext cx="584200" cy="2230438"/>
                </a:xfrm>
                <a:custGeom>
                  <a:avLst/>
                  <a:gdLst/>
                  <a:ahLst/>
                  <a:cxnLst>
                    <a:cxn ang="0">
                      <a:pos x="98" y="68"/>
                    </a:cxn>
                    <a:cxn ang="0">
                      <a:pos x="66" y="108"/>
                    </a:cxn>
                    <a:cxn ang="0">
                      <a:pos x="55" y="169"/>
                    </a:cxn>
                    <a:cxn ang="0">
                      <a:pos x="75" y="304"/>
                    </a:cxn>
                    <a:cxn ang="0">
                      <a:pos x="107" y="414"/>
                    </a:cxn>
                    <a:cxn ang="0">
                      <a:pos x="116" y="472"/>
                    </a:cxn>
                    <a:cxn ang="0">
                      <a:pos x="108" y="530"/>
                    </a:cxn>
                    <a:cxn ang="0">
                      <a:pos x="119" y="561"/>
                    </a:cxn>
                    <a:cxn ang="0">
                      <a:pos x="123" y="595"/>
                    </a:cxn>
                    <a:cxn ang="0">
                      <a:pos x="66" y="384"/>
                    </a:cxn>
                    <a:cxn ang="0">
                      <a:pos x="47" y="296"/>
                    </a:cxn>
                    <a:cxn ang="0">
                      <a:pos x="41" y="197"/>
                    </a:cxn>
                    <a:cxn ang="0">
                      <a:pos x="8" y="267"/>
                    </a:cxn>
                    <a:cxn ang="0">
                      <a:pos x="18" y="344"/>
                    </a:cxn>
                    <a:cxn ang="0">
                      <a:pos x="1" y="212"/>
                    </a:cxn>
                    <a:cxn ang="0">
                      <a:pos x="37" y="108"/>
                    </a:cxn>
                    <a:cxn ang="0">
                      <a:pos x="40" y="123"/>
                    </a:cxn>
                    <a:cxn ang="0">
                      <a:pos x="57" y="86"/>
                    </a:cxn>
                    <a:cxn ang="0">
                      <a:pos x="84" y="50"/>
                    </a:cxn>
                    <a:cxn ang="0">
                      <a:pos x="118" y="16"/>
                    </a:cxn>
                    <a:cxn ang="0">
                      <a:pos x="156" y="0"/>
                    </a:cxn>
                    <a:cxn ang="0">
                      <a:pos x="77" y="107"/>
                    </a:cxn>
                  </a:cxnLst>
                  <a:rect l="0" t="0" r="r" b="b"/>
                  <a:pathLst>
                    <a:path w="156" h="595">
                      <a:moveTo>
                        <a:pt x="98" y="68"/>
                      </a:moveTo>
                      <a:cubicBezTo>
                        <a:pt x="93" y="84"/>
                        <a:pt x="74" y="93"/>
                        <a:pt x="66" y="108"/>
                      </a:cubicBezTo>
                      <a:cubicBezTo>
                        <a:pt x="54" y="127"/>
                        <a:pt x="54" y="147"/>
                        <a:pt x="55" y="169"/>
                      </a:cubicBezTo>
                      <a:cubicBezTo>
                        <a:pt x="57" y="215"/>
                        <a:pt x="72" y="259"/>
                        <a:pt x="75" y="304"/>
                      </a:cubicBezTo>
                      <a:cubicBezTo>
                        <a:pt x="77" y="343"/>
                        <a:pt x="94" y="379"/>
                        <a:pt x="107" y="414"/>
                      </a:cubicBezTo>
                      <a:cubicBezTo>
                        <a:pt x="113" y="431"/>
                        <a:pt x="118" y="452"/>
                        <a:pt x="116" y="472"/>
                      </a:cubicBezTo>
                      <a:cubicBezTo>
                        <a:pt x="113" y="491"/>
                        <a:pt x="104" y="509"/>
                        <a:pt x="108" y="530"/>
                      </a:cubicBezTo>
                      <a:cubicBezTo>
                        <a:pt x="110" y="540"/>
                        <a:pt x="117" y="550"/>
                        <a:pt x="119" y="561"/>
                      </a:cubicBezTo>
                      <a:cubicBezTo>
                        <a:pt x="122" y="572"/>
                        <a:pt x="120" y="584"/>
                        <a:pt x="123" y="595"/>
                      </a:cubicBezTo>
                      <a:cubicBezTo>
                        <a:pt x="121" y="524"/>
                        <a:pt x="92" y="450"/>
                        <a:pt x="66" y="384"/>
                      </a:cubicBezTo>
                      <a:cubicBezTo>
                        <a:pt x="55" y="353"/>
                        <a:pt x="49" y="330"/>
                        <a:pt x="47" y="296"/>
                      </a:cubicBezTo>
                      <a:cubicBezTo>
                        <a:pt x="46" y="262"/>
                        <a:pt x="46" y="230"/>
                        <a:pt x="41" y="197"/>
                      </a:cubicBezTo>
                      <a:cubicBezTo>
                        <a:pt x="28" y="213"/>
                        <a:pt x="12" y="245"/>
                        <a:pt x="8" y="267"/>
                      </a:cubicBezTo>
                      <a:cubicBezTo>
                        <a:pt x="4" y="295"/>
                        <a:pt x="22" y="318"/>
                        <a:pt x="18" y="344"/>
                      </a:cubicBezTo>
                      <a:cubicBezTo>
                        <a:pt x="2" y="306"/>
                        <a:pt x="1" y="253"/>
                        <a:pt x="1" y="212"/>
                      </a:cubicBezTo>
                      <a:cubicBezTo>
                        <a:pt x="0" y="180"/>
                        <a:pt x="16" y="132"/>
                        <a:pt x="37" y="108"/>
                      </a:cubicBezTo>
                      <a:cubicBezTo>
                        <a:pt x="37" y="113"/>
                        <a:pt x="40" y="117"/>
                        <a:pt x="40" y="123"/>
                      </a:cubicBezTo>
                      <a:cubicBezTo>
                        <a:pt x="46" y="113"/>
                        <a:pt x="50" y="96"/>
                        <a:pt x="57" y="86"/>
                      </a:cubicBezTo>
                      <a:cubicBezTo>
                        <a:pt x="66" y="73"/>
                        <a:pt x="76" y="63"/>
                        <a:pt x="84" y="50"/>
                      </a:cubicBezTo>
                      <a:cubicBezTo>
                        <a:pt x="94" y="34"/>
                        <a:pt x="102" y="25"/>
                        <a:pt x="118" y="16"/>
                      </a:cubicBezTo>
                      <a:cubicBezTo>
                        <a:pt x="129" y="9"/>
                        <a:pt x="144" y="8"/>
                        <a:pt x="156" y="0"/>
                      </a:cubicBezTo>
                      <a:cubicBezTo>
                        <a:pt x="129" y="36"/>
                        <a:pt x="96" y="70"/>
                        <a:pt x="77" y="107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0" name="Freeform 317"/>
                <p:cNvSpPr>
                  <a:spLocks/>
                </p:cNvSpPr>
                <p:nvPr/>
              </p:nvSpPr>
              <p:spPr bwMode="gray">
                <a:xfrm>
                  <a:off x="-1208088" y="6396038"/>
                  <a:ext cx="584200" cy="2230438"/>
                </a:xfrm>
                <a:custGeom>
                  <a:avLst/>
                  <a:gdLst/>
                  <a:ahLst/>
                  <a:cxnLst>
                    <a:cxn ang="0">
                      <a:pos x="98" y="68"/>
                    </a:cxn>
                    <a:cxn ang="0">
                      <a:pos x="66" y="108"/>
                    </a:cxn>
                    <a:cxn ang="0">
                      <a:pos x="55" y="169"/>
                    </a:cxn>
                    <a:cxn ang="0">
                      <a:pos x="75" y="304"/>
                    </a:cxn>
                    <a:cxn ang="0">
                      <a:pos x="107" y="414"/>
                    </a:cxn>
                    <a:cxn ang="0">
                      <a:pos x="116" y="472"/>
                    </a:cxn>
                    <a:cxn ang="0">
                      <a:pos x="108" y="530"/>
                    </a:cxn>
                    <a:cxn ang="0">
                      <a:pos x="119" y="561"/>
                    </a:cxn>
                    <a:cxn ang="0">
                      <a:pos x="123" y="595"/>
                    </a:cxn>
                    <a:cxn ang="0">
                      <a:pos x="66" y="384"/>
                    </a:cxn>
                    <a:cxn ang="0">
                      <a:pos x="47" y="296"/>
                    </a:cxn>
                    <a:cxn ang="0">
                      <a:pos x="41" y="197"/>
                    </a:cxn>
                    <a:cxn ang="0">
                      <a:pos x="8" y="267"/>
                    </a:cxn>
                    <a:cxn ang="0">
                      <a:pos x="18" y="344"/>
                    </a:cxn>
                    <a:cxn ang="0">
                      <a:pos x="1" y="212"/>
                    </a:cxn>
                    <a:cxn ang="0">
                      <a:pos x="37" y="108"/>
                    </a:cxn>
                    <a:cxn ang="0">
                      <a:pos x="40" y="123"/>
                    </a:cxn>
                    <a:cxn ang="0">
                      <a:pos x="57" y="86"/>
                    </a:cxn>
                    <a:cxn ang="0">
                      <a:pos x="84" y="50"/>
                    </a:cxn>
                    <a:cxn ang="0">
                      <a:pos x="118" y="16"/>
                    </a:cxn>
                    <a:cxn ang="0">
                      <a:pos x="156" y="0"/>
                    </a:cxn>
                    <a:cxn ang="0">
                      <a:pos x="77" y="107"/>
                    </a:cxn>
                  </a:cxnLst>
                  <a:rect l="0" t="0" r="r" b="b"/>
                  <a:pathLst>
                    <a:path w="156" h="595">
                      <a:moveTo>
                        <a:pt x="98" y="68"/>
                      </a:moveTo>
                      <a:cubicBezTo>
                        <a:pt x="93" y="84"/>
                        <a:pt x="74" y="93"/>
                        <a:pt x="66" y="108"/>
                      </a:cubicBezTo>
                      <a:cubicBezTo>
                        <a:pt x="54" y="127"/>
                        <a:pt x="54" y="147"/>
                        <a:pt x="55" y="169"/>
                      </a:cubicBezTo>
                      <a:cubicBezTo>
                        <a:pt x="57" y="215"/>
                        <a:pt x="72" y="259"/>
                        <a:pt x="75" y="304"/>
                      </a:cubicBezTo>
                      <a:cubicBezTo>
                        <a:pt x="77" y="343"/>
                        <a:pt x="94" y="379"/>
                        <a:pt x="107" y="414"/>
                      </a:cubicBezTo>
                      <a:cubicBezTo>
                        <a:pt x="113" y="431"/>
                        <a:pt x="118" y="452"/>
                        <a:pt x="116" y="472"/>
                      </a:cubicBezTo>
                      <a:cubicBezTo>
                        <a:pt x="113" y="491"/>
                        <a:pt x="104" y="509"/>
                        <a:pt x="108" y="530"/>
                      </a:cubicBezTo>
                      <a:cubicBezTo>
                        <a:pt x="110" y="540"/>
                        <a:pt x="117" y="550"/>
                        <a:pt x="119" y="561"/>
                      </a:cubicBezTo>
                      <a:cubicBezTo>
                        <a:pt x="122" y="572"/>
                        <a:pt x="120" y="584"/>
                        <a:pt x="123" y="595"/>
                      </a:cubicBezTo>
                      <a:cubicBezTo>
                        <a:pt x="121" y="524"/>
                        <a:pt x="92" y="450"/>
                        <a:pt x="66" y="384"/>
                      </a:cubicBezTo>
                      <a:cubicBezTo>
                        <a:pt x="55" y="353"/>
                        <a:pt x="49" y="330"/>
                        <a:pt x="47" y="296"/>
                      </a:cubicBezTo>
                      <a:cubicBezTo>
                        <a:pt x="46" y="262"/>
                        <a:pt x="46" y="230"/>
                        <a:pt x="41" y="197"/>
                      </a:cubicBezTo>
                      <a:cubicBezTo>
                        <a:pt x="28" y="213"/>
                        <a:pt x="12" y="245"/>
                        <a:pt x="8" y="267"/>
                      </a:cubicBezTo>
                      <a:cubicBezTo>
                        <a:pt x="4" y="295"/>
                        <a:pt x="22" y="318"/>
                        <a:pt x="18" y="344"/>
                      </a:cubicBezTo>
                      <a:cubicBezTo>
                        <a:pt x="2" y="306"/>
                        <a:pt x="1" y="253"/>
                        <a:pt x="1" y="212"/>
                      </a:cubicBezTo>
                      <a:cubicBezTo>
                        <a:pt x="0" y="180"/>
                        <a:pt x="16" y="132"/>
                        <a:pt x="37" y="108"/>
                      </a:cubicBezTo>
                      <a:cubicBezTo>
                        <a:pt x="37" y="113"/>
                        <a:pt x="40" y="117"/>
                        <a:pt x="40" y="123"/>
                      </a:cubicBezTo>
                      <a:cubicBezTo>
                        <a:pt x="46" y="113"/>
                        <a:pt x="50" y="96"/>
                        <a:pt x="57" y="86"/>
                      </a:cubicBezTo>
                      <a:cubicBezTo>
                        <a:pt x="66" y="73"/>
                        <a:pt x="76" y="63"/>
                        <a:pt x="84" y="50"/>
                      </a:cubicBezTo>
                      <a:cubicBezTo>
                        <a:pt x="94" y="34"/>
                        <a:pt x="102" y="25"/>
                        <a:pt x="118" y="16"/>
                      </a:cubicBezTo>
                      <a:cubicBezTo>
                        <a:pt x="129" y="9"/>
                        <a:pt x="144" y="8"/>
                        <a:pt x="156" y="0"/>
                      </a:cubicBezTo>
                      <a:cubicBezTo>
                        <a:pt x="129" y="36"/>
                        <a:pt x="96" y="70"/>
                        <a:pt x="77" y="107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1" name="Freeform 318"/>
                <p:cNvSpPr>
                  <a:spLocks/>
                </p:cNvSpPr>
                <p:nvPr/>
              </p:nvSpPr>
              <p:spPr bwMode="gray">
                <a:xfrm>
                  <a:off x="-1841500" y="7648576"/>
                  <a:ext cx="730250" cy="1177925"/>
                </a:xfrm>
                <a:custGeom>
                  <a:avLst/>
                  <a:gdLst/>
                  <a:ahLst/>
                  <a:cxnLst>
                    <a:cxn ang="0">
                      <a:pos x="0" y="229"/>
                    </a:cxn>
                    <a:cxn ang="0">
                      <a:pos x="8" y="266"/>
                    </a:cxn>
                    <a:cxn ang="0">
                      <a:pos x="30" y="295"/>
                    </a:cxn>
                    <a:cxn ang="0">
                      <a:pos x="173" y="221"/>
                    </a:cxn>
                    <a:cxn ang="0">
                      <a:pos x="189" y="109"/>
                    </a:cxn>
                    <a:cxn ang="0">
                      <a:pos x="170" y="54"/>
                    </a:cxn>
                    <a:cxn ang="0">
                      <a:pos x="168" y="0"/>
                    </a:cxn>
                    <a:cxn ang="0">
                      <a:pos x="170" y="69"/>
                    </a:cxn>
                    <a:cxn ang="0">
                      <a:pos x="164" y="148"/>
                    </a:cxn>
                    <a:cxn ang="0">
                      <a:pos x="152" y="60"/>
                    </a:cxn>
                    <a:cxn ang="0">
                      <a:pos x="142" y="151"/>
                    </a:cxn>
                    <a:cxn ang="0">
                      <a:pos x="126" y="233"/>
                    </a:cxn>
                    <a:cxn ang="0">
                      <a:pos x="55" y="282"/>
                    </a:cxn>
                    <a:cxn ang="0">
                      <a:pos x="6" y="227"/>
                    </a:cxn>
                  </a:cxnLst>
                  <a:rect l="0" t="0" r="r" b="b"/>
                  <a:pathLst>
                    <a:path w="195" h="314">
                      <a:moveTo>
                        <a:pt x="0" y="229"/>
                      </a:moveTo>
                      <a:cubicBezTo>
                        <a:pt x="2" y="238"/>
                        <a:pt x="4" y="256"/>
                        <a:pt x="8" y="266"/>
                      </a:cubicBezTo>
                      <a:cubicBezTo>
                        <a:pt x="13" y="277"/>
                        <a:pt x="25" y="283"/>
                        <a:pt x="30" y="295"/>
                      </a:cubicBezTo>
                      <a:cubicBezTo>
                        <a:pt x="87" y="314"/>
                        <a:pt x="154" y="274"/>
                        <a:pt x="173" y="221"/>
                      </a:cubicBezTo>
                      <a:cubicBezTo>
                        <a:pt x="184" y="193"/>
                        <a:pt x="195" y="140"/>
                        <a:pt x="189" y="109"/>
                      </a:cubicBezTo>
                      <a:cubicBezTo>
                        <a:pt x="186" y="90"/>
                        <a:pt x="173" y="72"/>
                        <a:pt x="170" y="54"/>
                      </a:cubicBezTo>
                      <a:cubicBezTo>
                        <a:pt x="166" y="36"/>
                        <a:pt x="168" y="18"/>
                        <a:pt x="168" y="0"/>
                      </a:cubicBezTo>
                      <a:cubicBezTo>
                        <a:pt x="168" y="24"/>
                        <a:pt x="171" y="48"/>
                        <a:pt x="170" y="69"/>
                      </a:cubicBezTo>
                      <a:cubicBezTo>
                        <a:pt x="168" y="95"/>
                        <a:pt x="163" y="121"/>
                        <a:pt x="164" y="148"/>
                      </a:cubicBezTo>
                      <a:cubicBezTo>
                        <a:pt x="146" y="127"/>
                        <a:pt x="152" y="86"/>
                        <a:pt x="152" y="60"/>
                      </a:cubicBezTo>
                      <a:cubicBezTo>
                        <a:pt x="145" y="89"/>
                        <a:pt x="142" y="120"/>
                        <a:pt x="142" y="151"/>
                      </a:cubicBezTo>
                      <a:cubicBezTo>
                        <a:pt x="142" y="182"/>
                        <a:pt x="146" y="211"/>
                        <a:pt x="126" y="233"/>
                      </a:cubicBezTo>
                      <a:cubicBezTo>
                        <a:pt x="106" y="255"/>
                        <a:pt x="87" y="277"/>
                        <a:pt x="55" y="282"/>
                      </a:cubicBezTo>
                      <a:cubicBezTo>
                        <a:pt x="23" y="286"/>
                        <a:pt x="9" y="252"/>
                        <a:pt x="6" y="227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2" name="Freeform 319"/>
                <p:cNvSpPr>
                  <a:spLocks/>
                </p:cNvSpPr>
                <p:nvPr/>
              </p:nvSpPr>
              <p:spPr bwMode="gray">
                <a:xfrm>
                  <a:off x="-1841500" y="7648576"/>
                  <a:ext cx="730250" cy="1177925"/>
                </a:xfrm>
                <a:custGeom>
                  <a:avLst/>
                  <a:gdLst/>
                  <a:ahLst/>
                  <a:cxnLst>
                    <a:cxn ang="0">
                      <a:pos x="0" y="229"/>
                    </a:cxn>
                    <a:cxn ang="0">
                      <a:pos x="8" y="266"/>
                    </a:cxn>
                    <a:cxn ang="0">
                      <a:pos x="30" y="295"/>
                    </a:cxn>
                    <a:cxn ang="0">
                      <a:pos x="173" y="221"/>
                    </a:cxn>
                    <a:cxn ang="0">
                      <a:pos x="189" y="109"/>
                    </a:cxn>
                    <a:cxn ang="0">
                      <a:pos x="170" y="54"/>
                    </a:cxn>
                    <a:cxn ang="0">
                      <a:pos x="168" y="0"/>
                    </a:cxn>
                    <a:cxn ang="0">
                      <a:pos x="170" y="69"/>
                    </a:cxn>
                    <a:cxn ang="0">
                      <a:pos x="164" y="148"/>
                    </a:cxn>
                    <a:cxn ang="0">
                      <a:pos x="152" y="60"/>
                    </a:cxn>
                    <a:cxn ang="0">
                      <a:pos x="142" y="151"/>
                    </a:cxn>
                    <a:cxn ang="0">
                      <a:pos x="126" y="233"/>
                    </a:cxn>
                    <a:cxn ang="0">
                      <a:pos x="55" y="282"/>
                    </a:cxn>
                    <a:cxn ang="0">
                      <a:pos x="6" y="227"/>
                    </a:cxn>
                  </a:cxnLst>
                  <a:rect l="0" t="0" r="r" b="b"/>
                  <a:pathLst>
                    <a:path w="195" h="314">
                      <a:moveTo>
                        <a:pt x="0" y="229"/>
                      </a:moveTo>
                      <a:cubicBezTo>
                        <a:pt x="2" y="238"/>
                        <a:pt x="4" y="256"/>
                        <a:pt x="8" y="266"/>
                      </a:cubicBezTo>
                      <a:cubicBezTo>
                        <a:pt x="13" y="277"/>
                        <a:pt x="25" y="283"/>
                        <a:pt x="30" y="295"/>
                      </a:cubicBezTo>
                      <a:cubicBezTo>
                        <a:pt x="87" y="314"/>
                        <a:pt x="154" y="274"/>
                        <a:pt x="173" y="221"/>
                      </a:cubicBezTo>
                      <a:cubicBezTo>
                        <a:pt x="184" y="193"/>
                        <a:pt x="195" y="140"/>
                        <a:pt x="189" y="109"/>
                      </a:cubicBezTo>
                      <a:cubicBezTo>
                        <a:pt x="186" y="90"/>
                        <a:pt x="173" y="72"/>
                        <a:pt x="170" y="54"/>
                      </a:cubicBezTo>
                      <a:cubicBezTo>
                        <a:pt x="166" y="36"/>
                        <a:pt x="168" y="18"/>
                        <a:pt x="168" y="0"/>
                      </a:cubicBezTo>
                      <a:cubicBezTo>
                        <a:pt x="168" y="24"/>
                        <a:pt x="171" y="48"/>
                        <a:pt x="170" y="69"/>
                      </a:cubicBezTo>
                      <a:cubicBezTo>
                        <a:pt x="168" y="95"/>
                        <a:pt x="163" y="121"/>
                        <a:pt x="164" y="148"/>
                      </a:cubicBezTo>
                      <a:cubicBezTo>
                        <a:pt x="146" y="127"/>
                        <a:pt x="152" y="86"/>
                        <a:pt x="152" y="60"/>
                      </a:cubicBezTo>
                      <a:cubicBezTo>
                        <a:pt x="145" y="89"/>
                        <a:pt x="142" y="120"/>
                        <a:pt x="142" y="151"/>
                      </a:cubicBezTo>
                      <a:cubicBezTo>
                        <a:pt x="142" y="182"/>
                        <a:pt x="146" y="211"/>
                        <a:pt x="126" y="233"/>
                      </a:cubicBezTo>
                      <a:cubicBezTo>
                        <a:pt x="106" y="255"/>
                        <a:pt x="87" y="277"/>
                        <a:pt x="55" y="282"/>
                      </a:cubicBezTo>
                      <a:cubicBezTo>
                        <a:pt x="23" y="286"/>
                        <a:pt x="9" y="252"/>
                        <a:pt x="6" y="227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3" name="Freeform 320"/>
                <p:cNvSpPr>
                  <a:spLocks/>
                </p:cNvSpPr>
                <p:nvPr/>
              </p:nvSpPr>
              <p:spPr bwMode="gray">
                <a:xfrm>
                  <a:off x="-2127250" y="8799513"/>
                  <a:ext cx="446088" cy="184150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4" name="Freeform 321"/>
                <p:cNvSpPr>
                  <a:spLocks/>
                </p:cNvSpPr>
                <p:nvPr/>
              </p:nvSpPr>
              <p:spPr bwMode="gray">
                <a:xfrm>
                  <a:off x="-2127250" y="8799513"/>
                  <a:ext cx="446088" cy="184150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5" name="Freeform 322"/>
                <p:cNvSpPr>
                  <a:spLocks/>
                </p:cNvSpPr>
                <p:nvPr/>
              </p:nvSpPr>
              <p:spPr bwMode="gray">
                <a:xfrm>
                  <a:off x="-1103313" y="8147051"/>
                  <a:ext cx="173038" cy="558800"/>
                </a:xfrm>
                <a:custGeom>
                  <a:avLst/>
                  <a:gdLst/>
                  <a:ahLst/>
                  <a:cxnLst>
                    <a:cxn ang="0">
                      <a:pos x="2" y="149"/>
                    </a:cxn>
                    <a:cxn ang="0">
                      <a:pos x="31" y="0"/>
                    </a:cxn>
                    <a:cxn ang="0">
                      <a:pos x="43" y="90"/>
                    </a:cxn>
                    <a:cxn ang="0">
                      <a:pos x="0" y="149"/>
                    </a:cxn>
                  </a:cxnLst>
                  <a:rect l="0" t="0" r="r" b="b"/>
                  <a:pathLst>
                    <a:path w="46" h="149">
                      <a:moveTo>
                        <a:pt x="2" y="149"/>
                      </a:moveTo>
                      <a:cubicBezTo>
                        <a:pt x="44" y="125"/>
                        <a:pt x="31" y="38"/>
                        <a:pt x="31" y="0"/>
                      </a:cubicBezTo>
                      <a:cubicBezTo>
                        <a:pt x="30" y="32"/>
                        <a:pt x="41" y="59"/>
                        <a:pt x="43" y="90"/>
                      </a:cubicBezTo>
                      <a:cubicBezTo>
                        <a:pt x="46" y="121"/>
                        <a:pt x="26" y="137"/>
                        <a:pt x="0" y="149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6" name="Freeform 323"/>
                <p:cNvSpPr>
                  <a:spLocks/>
                </p:cNvSpPr>
                <p:nvPr/>
              </p:nvSpPr>
              <p:spPr bwMode="gray">
                <a:xfrm>
                  <a:off x="-1103313" y="8147051"/>
                  <a:ext cx="173038" cy="558800"/>
                </a:xfrm>
                <a:custGeom>
                  <a:avLst/>
                  <a:gdLst/>
                  <a:ahLst/>
                  <a:cxnLst>
                    <a:cxn ang="0">
                      <a:pos x="2" y="149"/>
                    </a:cxn>
                    <a:cxn ang="0">
                      <a:pos x="31" y="0"/>
                    </a:cxn>
                    <a:cxn ang="0">
                      <a:pos x="43" y="90"/>
                    </a:cxn>
                    <a:cxn ang="0">
                      <a:pos x="0" y="149"/>
                    </a:cxn>
                  </a:cxnLst>
                  <a:rect l="0" t="0" r="r" b="b"/>
                  <a:pathLst>
                    <a:path w="46" h="149">
                      <a:moveTo>
                        <a:pt x="2" y="149"/>
                      </a:moveTo>
                      <a:cubicBezTo>
                        <a:pt x="44" y="125"/>
                        <a:pt x="31" y="38"/>
                        <a:pt x="31" y="0"/>
                      </a:cubicBezTo>
                      <a:cubicBezTo>
                        <a:pt x="30" y="32"/>
                        <a:pt x="41" y="59"/>
                        <a:pt x="43" y="90"/>
                      </a:cubicBezTo>
                      <a:cubicBezTo>
                        <a:pt x="46" y="121"/>
                        <a:pt x="26" y="137"/>
                        <a:pt x="0" y="149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7" name="Freeform 324"/>
                <p:cNvSpPr>
                  <a:spLocks/>
                </p:cNvSpPr>
                <p:nvPr/>
              </p:nvSpPr>
              <p:spPr bwMode="gray">
                <a:xfrm>
                  <a:off x="-847725" y="8450263"/>
                  <a:ext cx="52388" cy="266700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8" name="Freeform 325"/>
                <p:cNvSpPr>
                  <a:spLocks/>
                </p:cNvSpPr>
                <p:nvPr/>
              </p:nvSpPr>
              <p:spPr bwMode="gray">
                <a:xfrm>
                  <a:off x="-847725" y="8450263"/>
                  <a:ext cx="52388" cy="266700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9" name="Freeform 326"/>
                <p:cNvSpPr>
                  <a:spLocks/>
                </p:cNvSpPr>
                <p:nvPr/>
              </p:nvSpPr>
              <p:spPr bwMode="gray">
                <a:xfrm>
                  <a:off x="576262" y="7712076"/>
                  <a:ext cx="352425" cy="1057275"/>
                </a:xfrm>
                <a:custGeom>
                  <a:avLst/>
                  <a:gdLst/>
                  <a:ahLst/>
                  <a:cxnLst>
                    <a:cxn ang="0">
                      <a:pos x="2" y="206"/>
                    </a:cxn>
                    <a:cxn ang="0">
                      <a:pos x="45" y="119"/>
                    </a:cxn>
                    <a:cxn ang="0">
                      <a:pos x="68" y="62"/>
                    </a:cxn>
                    <a:cxn ang="0">
                      <a:pos x="92" y="0"/>
                    </a:cxn>
                    <a:cxn ang="0">
                      <a:pos x="64" y="91"/>
                    </a:cxn>
                    <a:cxn ang="0">
                      <a:pos x="45" y="173"/>
                    </a:cxn>
                    <a:cxn ang="0">
                      <a:pos x="51" y="239"/>
                    </a:cxn>
                    <a:cxn ang="0">
                      <a:pos x="83" y="282"/>
                    </a:cxn>
                    <a:cxn ang="0">
                      <a:pos x="45" y="247"/>
                    </a:cxn>
                    <a:cxn ang="0">
                      <a:pos x="0" y="212"/>
                    </a:cxn>
                  </a:cxnLst>
                  <a:rect l="0" t="0" r="r" b="b"/>
                  <a:pathLst>
                    <a:path w="94" h="282">
                      <a:moveTo>
                        <a:pt x="2" y="206"/>
                      </a:moveTo>
                      <a:cubicBezTo>
                        <a:pt x="16" y="177"/>
                        <a:pt x="32" y="149"/>
                        <a:pt x="45" y="119"/>
                      </a:cubicBezTo>
                      <a:cubicBezTo>
                        <a:pt x="53" y="101"/>
                        <a:pt x="60" y="81"/>
                        <a:pt x="68" y="62"/>
                      </a:cubicBezTo>
                      <a:cubicBezTo>
                        <a:pt x="76" y="43"/>
                        <a:pt x="90" y="21"/>
                        <a:pt x="92" y="0"/>
                      </a:cubicBezTo>
                      <a:cubicBezTo>
                        <a:pt x="94" y="35"/>
                        <a:pt x="76" y="61"/>
                        <a:pt x="64" y="91"/>
                      </a:cubicBezTo>
                      <a:cubicBezTo>
                        <a:pt x="54" y="118"/>
                        <a:pt x="48" y="146"/>
                        <a:pt x="45" y="173"/>
                      </a:cubicBezTo>
                      <a:cubicBezTo>
                        <a:pt x="43" y="195"/>
                        <a:pt x="38" y="221"/>
                        <a:pt x="51" y="239"/>
                      </a:cubicBezTo>
                      <a:cubicBezTo>
                        <a:pt x="61" y="253"/>
                        <a:pt x="79" y="265"/>
                        <a:pt x="83" y="282"/>
                      </a:cubicBezTo>
                      <a:cubicBezTo>
                        <a:pt x="70" y="271"/>
                        <a:pt x="59" y="258"/>
                        <a:pt x="45" y="247"/>
                      </a:cubicBezTo>
                      <a:cubicBezTo>
                        <a:pt x="32" y="237"/>
                        <a:pt x="10" y="225"/>
                        <a:pt x="0" y="212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0" name="Freeform 327"/>
                <p:cNvSpPr>
                  <a:spLocks/>
                </p:cNvSpPr>
                <p:nvPr/>
              </p:nvSpPr>
              <p:spPr bwMode="gray">
                <a:xfrm>
                  <a:off x="576262" y="7712076"/>
                  <a:ext cx="352425" cy="1057275"/>
                </a:xfrm>
                <a:custGeom>
                  <a:avLst/>
                  <a:gdLst/>
                  <a:ahLst/>
                  <a:cxnLst>
                    <a:cxn ang="0">
                      <a:pos x="2" y="206"/>
                    </a:cxn>
                    <a:cxn ang="0">
                      <a:pos x="45" y="119"/>
                    </a:cxn>
                    <a:cxn ang="0">
                      <a:pos x="68" y="62"/>
                    </a:cxn>
                    <a:cxn ang="0">
                      <a:pos x="92" y="0"/>
                    </a:cxn>
                    <a:cxn ang="0">
                      <a:pos x="64" y="91"/>
                    </a:cxn>
                    <a:cxn ang="0">
                      <a:pos x="45" y="173"/>
                    </a:cxn>
                    <a:cxn ang="0">
                      <a:pos x="51" y="239"/>
                    </a:cxn>
                    <a:cxn ang="0">
                      <a:pos x="83" y="282"/>
                    </a:cxn>
                    <a:cxn ang="0">
                      <a:pos x="45" y="247"/>
                    </a:cxn>
                    <a:cxn ang="0">
                      <a:pos x="0" y="212"/>
                    </a:cxn>
                  </a:cxnLst>
                  <a:rect l="0" t="0" r="r" b="b"/>
                  <a:pathLst>
                    <a:path w="94" h="282">
                      <a:moveTo>
                        <a:pt x="2" y="206"/>
                      </a:moveTo>
                      <a:cubicBezTo>
                        <a:pt x="16" y="177"/>
                        <a:pt x="32" y="149"/>
                        <a:pt x="45" y="119"/>
                      </a:cubicBezTo>
                      <a:cubicBezTo>
                        <a:pt x="53" y="101"/>
                        <a:pt x="60" y="81"/>
                        <a:pt x="68" y="62"/>
                      </a:cubicBezTo>
                      <a:cubicBezTo>
                        <a:pt x="76" y="43"/>
                        <a:pt x="90" y="21"/>
                        <a:pt x="92" y="0"/>
                      </a:cubicBezTo>
                      <a:cubicBezTo>
                        <a:pt x="94" y="35"/>
                        <a:pt x="76" y="61"/>
                        <a:pt x="64" y="91"/>
                      </a:cubicBezTo>
                      <a:cubicBezTo>
                        <a:pt x="54" y="118"/>
                        <a:pt x="48" y="146"/>
                        <a:pt x="45" y="173"/>
                      </a:cubicBezTo>
                      <a:cubicBezTo>
                        <a:pt x="43" y="195"/>
                        <a:pt x="38" y="221"/>
                        <a:pt x="51" y="239"/>
                      </a:cubicBezTo>
                      <a:cubicBezTo>
                        <a:pt x="61" y="253"/>
                        <a:pt x="79" y="265"/>
                        <a:pt x="83" y="282"/>
                      </a:cubicBezTo>
                      <a:cubicBezTo>
                        <a:pt x="70" y="271"/>
                        <a:pt x="59" y="258"/>
                        <a:pt x="45" y="247"/>
                      </a:cubicBezTo>
                      <a:cubicBezTo>
                        <a:pt x="32" y="237"/>
                        <a:pt x="10" y="225"/>
                        <a:pt x="0" y="212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1" name="Freeform 328"/>
                <p:cNvSpPr>
                  <a:spLocks/>
                </p:cNvSpPr>
                <p:nvPr/>
              </p:nvSpPr>
              <p:spPr bwMode="gray">
                <a:xfrm>
                  <a:off x="1090612" y="8821738"/>
                  <a:ext cx="385763" cy="131763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2" name="Freeform 329"/>
                <p:cNvSpPr>
                  <a:spLocks/>
                </p:cNvSpPr>
                <p:nvPr/>
              </p:nvSpPr>
              <p:spPr bwMode="gray">
                <a:xfrm>
                  <a:off x="1090612" y="8821738"/>
                  <a:ext cx="385763" cy="131763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3" name="Freeform 330"/>
                <p:cNvSpPr>
                  <a:spLocks/>
                </p:cNvSpPr>
                <p:nvPr/>
              </p:nvSpPr>
              <p:spPr bwMode="gray">
                <a:xfrm>
                  <a:off x="-431800" y="6511926"/>
                  <a:ext cx="641350" cy="638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4" name="Freeform 331"/>
                <p:cNvSpPr>
                  <a:spLocks/>
                </p:cNvSpPr>
                <p:nvPr/>
              </p:nvSpPr>
              <p:spPr bwMode="gray">
                <a:xfrm>
                  <a:off x="-431800" y="6511926"/>
                  <a:ext cx="641350" cy="638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5" name="Freeform 332"/>
                <p:cNvSpPr>
                  <a:spLocks/>
                </p:cNvSpPr>
                <p:nvPr/>
              </p:nvSpPr>
              <p:spPr bwMode="gray">
                <a:xfrm>
                  <a:off x="411162" y="7108826"/>
                  <a:ext cx="285750" cy="944563"/>
                </a:xfrm>
                <a:custGeom>
                  <a:avLst/>
                  <a:gdLst/>
                  <a:ahLst/>
                  <a:cxnLst>
                    <a:cxn ang="0">
                      <a:pos x="18" y="22"/>
                    </a:cxn>
                    <a:cxn ang="0">
                      <a:pos x="38" y="8"/>
                    </a:cxn>
                    <a:cxn ang="0">
                      <a:pos x="56" y="33"/>
                    </a:cxn>
                    <a:cxn ang="0">
                      <a:pos x="71" y="121"/>
                    </a:cxn>
                    <a:cxn ang="0">
                      <a:pos x="1" y="252"/>
                    </a:cxn>
                    <a:cxn ang="0">
                      <a:pos x="23" y="193"/>
                    </a:cxn>
                    <a:cxn ang="0">
                      <a:pos x="44" y="134"/>
                    </a:cxn>
                    <a:cxn ang="0">
                      <a:pos x="47" y="67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76" h="252">
                      <a:moveTo>
                        <a:pt x="18" y="22"/>
                      </a:moveTo>
                      <a:cubicBezTo>
                        <a:pt x="24" y="10"/>
                        <a:pt x="23" y="0"/>
                        <a:pt x="38" y="8"/>
                      </a:cubicBezTo>
                      <a:cubicBezTo>
                        <a:pt x="46" y="11"/>
                        <a:pt x="52" y="26"/>
                        <a:pt x="56" y="33"/>
                      </a:cubicBezTo>
                      <a:cubicBezTo>
                        <a:pt x="68" y="57"/>
                        <a:pt x="76" y="94"/>
                        <a:pt x="71" y="121"/>
                      </a:cubicBezTo>
                      <a:cubicBezTo>
                        <a:pt x="63" y="165"/>
                        <a:pt x="27" y="216"/>
                        <a:pt x="1" y="252"/>
                      </a:cubicBezTo>
                      <a:cubicBezTo>
                        <a:pt x="0" y="233"/>
                        <a:pt x="17" y="209"/>
                        <a:pt x="23" y="193"/>
                      </a:cubicBezTo>
                      <a:cubicBezTo>
                        <a:pt x="30" y="174"/>
                        <a:pt x="39" y="154"/>
                        <a:pt x="44" y="134"/>
                      </a:cubicBezTo>
                      <a:cubicBezTo>
                        <a:pt x="50" y="112"/>
                        <a:pt x="49" y="90"/>
                        <a:pt x="47" y="67"/>
                      </a:cubicBezTo>
                      <a:cubicBezTo>
                        <a:pt x="45" y="44"/>
                        <a:pt x="36" y="37"/>
                        <a:pt x="20" y="24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6" name="Freeform 333"/>
                <p:cNvSpPr>
                  <a:spLocks/>
                </p:cNvSpPr>
                <p:nvPr/>
              </p:nvSpPr>
              <p:spPr bwMode="gray">
                <a:xfrm>
                  <a:off x="411162" y="7108826"/>
                  <a:ext cx="285750" cy="944563"/>
                </a:xfrm>
                <a:custGeom>
                  <a:avLst/>
                  <a:gdLst/>
                  <a:ahLst/>
                  <a:cxnLst>
                    <a:cxn ang="0">
                      <a:pos x="18" y="22"/>
                    </a:cxn>
                    <a:cxn ang="0">
                      <a:pos x="38" y="8"/>
                    </a:cxn>
                    <a:cxn ang="0">
                      <a:pos x="56" y="33"/>
                    </a:cxn>
                    <a:cxn ang="0">
                      <a:pos x="71" y="121"/>
                    </a:cxn>
                    <a:cxn ang="0">
                      <a:pos x="1" y="252"/>
                    </a:cxn>
                    <a:cxn ang="0">
                      <a:pos x="23" y="193"/>
                    </a:cxn>
                    <a:cxn ang="0">
                      <a:pos x="44" y="134"/>
                    </a:cxn>
                    <a:cxn ang="0">
                      <a:pos x="47" y="67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76" h="252">
                      <a:moveTo>
                        <a:pt x="18" y="22"/>
                      </a:moveTo>
                      <a:cubicBezTo>
                        <a:pt x="24" y="10"/>
                        <a:pt x="23" y="0"/>
                        <a:pt x="38" y="8"/>
                      </a:cubicBezTo>
                      <a:cubicBezTo>
                        <a:pt x="46" y="11"/>
                        <a:pt x="52" y="26"/>
                        <a:pt x="56" y="33"/>
                      </a:cubicBezTo>
                      <a:cubicBezTo>
                        <a:pt x="68" y="57"/>
                        <a:pt x="76" y="94"/>
                        <a:pt x="71" y="121"/>
                      </a:cubicBezTo>
                      <a:cubicBezTo>
                        <a:pt x="63" y="165"/>
                        <a:pt x="27" y="216"/>
                        <a:pt x="1" y="252"/>
                      </a:cubicBezTo>
                      <a:cubicBezTo>
                        <a:pt x="0" y="233"/>
                        <a:pt x="17" y="209"/>
                        <a:pt x="23" y="193"/>
                      </a:cubicBezTo>
                      <a:cubicBezTo>
                        <a:pt x="30" y="174"/>
                        <a:pt x="39" y="154"/>
                        <a:pt x="44" y="134"/>
                      </a:cubicBezTo>
                      <a:cubicBezTo>
                        <a:pt x="50" y="112"/>
                        <a:pt x="49" y="90"/>
                        <a:pt x="47" y="67"/>
                      </a:cubicBezTo>
                      <a:cubicBezTo>
                        <a:pt x="45" y="44"/>
                        <a:pt x="36" y="37"/>
                        <a:pt x="20" y="24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7" name="Freeform 334"/>
                <p:cNvSpPr>
                  <a:spLocks/>
                </p:cNvSpPr>
                <p:nvPr/>
              </p:nvSpPr>
              <p:spPr bwMode="gray">
                <a:xfrm>
                  <a:off x="-825500" y="5776913"/>
                  <a:ext cx="1600200" cy="690563"/>
                </a:xfrm>
                <a:custGeom>
                  <a:avLst/>
                  <a:gdLst/>
                  <a:ahLst/>
                  <a:cxnLst>
                    <a:cxn ang="0">
                      <a:pos x="23" y="85"/>
                    </a:cxn>
                    <a:cxn ang="0">
                      <a:pos x="77" y="64"/>
                    </a:cxn>
                    <a:cxn ang="0">
                      <a:pos x="156" y="58"/>
                    </a:cxn>
                    <a:cxn ang="0">
                      <a:pos x="269" y="119"/>
                    </a:cxn>
                    <a:cxn ang="0">
                      <a:pos x="172" y="54"/>
                    </a:cxn>
                    <a:cxn ang="0">
                      <a:pos x="208" y="50"/>
                    </a:cxn>
                    <a:cxn ang="0">
                      <a:pos x="179" y="40"/>
                    </a:cxn>
                    <a:cxn ang="0">
                      <a:pos x="241" y="27"/>
                    </a:cxn>
                    <a:cxn ang="0">
                      <a:pos x="309" y="70"/>
                    </a:cxn>
                    <a:cxn ang="0">
                      <a:pos x="349" y="126"/>
                    </a:cxn>
                    <a:cxn ang="0">
                      <a:pos x="427" y="184"/>
                    </a:cxn>
                    <a:cxn ang="0">
                      <a:pos x="366" y="112"/>
                    </a:cxn>
                    <a:cxn ang="0">
                      <a:pos x="304" y="45"/>
                    </a:cxn>
                    <a:cxn ang="0">
                      <a:pos x="215" y="11"/>
                    </a:cxn>
                    <a:cxn ang="0">
                      <a:pos x="140" y="21"/>
                    </a:cxn>
                    <a:cxn ang="0">
                      <a:pos x="142" y="40"/>
                    </a:cxn>
                    <a:cxn ang="0">
                      <a:pos x="77" y="53"/>
                    </a:cxn>
                    <a:cxn ang="0">
                      <a:pos x="4" y="104"/>
                    </a:cxn>
                    <a:cxn ang="0">
                      <a:pos x="31" y="83"/>
                    </a:cxn>
                  </a:cxnLst>
                  <a:rect l="0" t="0" r="r" b="b"/>
                  <a:pathLst>
                    <a:path w="427" h="184">
                      <a:moveTo>
                        <a:pt x="23" y="85"/>
                      </a:moveTo>
                      <a:cubicBezTo>
                        <a:pt x="37" y="68"/>
                        <a:pt x="57" y="66"/>
                        <a:pt x="77" y="64"/>
                      </a:cubicBezTo>
                      <a:cubicBezTo>
                        <a:pt x="103" y="61"/>
                        <a:pt x="130" y="55"/>
                        <a:pt x="156" y="58"/>
                      </a:cubicBezTo>
                      <a:cubicBezTo>
                        <a:pt x="198" y="62"/>
                        <a:pt x="239" y="91"/>
                        <a:pt x="269" y="119"/>
                      </a:cubicBezTo>
                      <a:cubicBezTo>
                        <a:pt x="273" y="77"/>
                        <a:pt x="194" y="71"/>
                        <a:pt x="172" y="54"/>
                      </a:cubicBezTo>
                      <a:cubicBezTo>
                        <a:pt x="185" y="53"/>
                        <a:pt x="195" y="49"/>
                        <a:pt x="208" y="50"/>
                      </a:cubicBezTo>
                      <a:cubicBezTo>
                        <a:pt x="200" y="44"/>
                        <a:pt x="191" y="39"/>
                        <a:pt x="179" y="40"/>
                      </a:cubicBezTo>
                      <a:cubicBezTo>
                        <a:pt x="188" y="23"/>
                        <a:pt x="224" y="24"/>
                        <a:pt x="241" y="27"/>
                      </a:cubicBezTo>
                      <a:cubicBezTo>
                        <a:pt x="272" y="31"/>
                        <a:pt x="292" y="46"/>
                        <a:pt x="309" y="70"/>
                      </a:cubicBezTo>
                      <a:cubicBezTo>
                        <a:pt x="323" y="87"/>
                        <a:pt x="334" y="110"/>
                        <a:pt x="349" y="126"/>
                      </a:cubicBezTo>
                      <a:cubicBezTo>
                        <a:pt x="371" y="148"/>
                        <a:pt x="404" y="162"/>
                        <a:pt x="427" y="184"/>
                      </a:cubicBezTo>
                      <a:cubicBezTo>
                        <a:pt x="418" y="150"/>
                        <a:pt x="386" y="138"/>
                        <a:pt x="366" y="112"/>
                      </a:cubicBezTo>
                      <a:cubicBezTo>
                        <a:pt x="347" y="87"/>
                        <a:pt x="331" y="64"/>
                        <a:pt x="304" y="45"/>
                      </a:cubicBezTo>
                      <a:cubicBezTo>
                        <a:pt x="277" y="26"/>
                        <a:pt x="245" y="15"/>
                        <a:pt x="215" y="11"/>
                      </a:cubicBezTo>
                      <a:cubicBezTo>
                        <a:pt x="195" y="9"/>
                        <a:pt x="152" y="0"/>
                        <a:pt x="140" y="21"/>
                      </a:cubicBezTo>
                      <a:cubicBezTo>
                        <a:pt x="155" y="31"/>
                        <a:pt x="175" y="38"/>
                        <a:pt x="142" y="40"/>
                      </a:cubicBezTo>
                      <a:cubicBezTo>
                        <a:pt x="116" y="42"/>
                        <a:pt x="101" y="45"/>
                        <a:pt x="77" y="53"/>
                      </a:cubicBezTo>
                      <a:cubicBezTo>
                        <a:pt x="57" y="59"/>
                        <a:pt x="0" y="74"/>
                        <a:pt x="4" y="104"/>
                      </a:cubicBezTo>
                      <a:cubicBezTo>
                        <a:pt x="11" y="95"/>
                        <a:pt x="20" y="87"/>
                        <a:pt x="31" y="83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8" name="Freeform 335"/>
                <p:cNvSpPr>
                  <a:spLocks/>
                </p:cNvSpPr>
                <p:nvPr/>
              </p:nvSpPr>
              <p:spPr bwMode="gray">
                <a:xfrm>
                  <a:off x="-825500" y="5776913"/>
                  <a:ext cx="1600200" cy="690563"/>
                </a:xfrm>
                <a:custGeom>
                  <a:avLst/>
                  <a:gdLst/>
                  <a:ahLst/>
                  <a:cxnLst>
                    <a:cxn ang="0">
                      <a:pos x="23" y="85"/>
                    </a:cxn>
                    <a:cxn ang="0">
                      <a:pos x="77" y="64"/>
                    </a:cxn>
                    <a:cxn ang="0">
                      <a:pos x="156" y="58"/>
                    </a:cxn>
                    <a:cxn ang="0">
                      <a:pos x="269" y="119"/>
                    </a:cxn>
                    <a:cxn ang="0">
                      <a:pos x="172" y="54"/>
                    </a:cxn>
                    <a:cxn ang="0">
                      <a:pos x="208" y="50"/>
                    </a:cxn>
                    <a:cxn ang="0">
                      <a:pos x="179" y="40"/>
                    </a:cxn>
                    <a:cxn ang="0">
                      <a:pos x="241" y="27"/>
                    </a:cxn>
                    <a:cxn ang="0">
                      <a:pos x="309" y="70"/>
                    </a:cxn>
                    <a:cxn ang="0">
                      <a:pos x="349" y="126"/>
                    </a:cxn>
                    <a:cxn ang="0">
                      <a:pos x="427" y="184"/>
                    </a:cxn>
                    <a:cxn ang="0">
                      <a:pos x="366" y="112"/>
                    </a:cxn>
                    <a:cxn ang="0">
                      <a:pos x="304" y="45"/>
                    </a:cxn>
                    <a:cxn ang="0">
                      <a:pos x="215" y="11"/>
                    </a:cxn>
                    <a:cxn ang="0">
                      <a:pos x="140" y="21"/>
                    </a:cxn>
                    <a:cxn ang="0">
                      <a:pos x="142" y="40"/>
                    </a:cxn>
                    <a:cxn ang="0">
                      <a:pos x="77" y="53"/>
                    </a:cxn>
                    <a:cxn ang="0">
                      <a:pos x="4" y="104"/>
                    </a:cxn>
                    <a:cxn ang="0">
                      <a:pos x="31" y="83"/>
                    </a:cxn>
                  </a:cxnLst>
                  <a:rect l="0" t="0" r="r" b="b"/>
                  <a:pathLst>
                    <a:path w="427" h="184">
                      <a:moveTo>
                        <a:pt x="23" y="85"/>
                      </a:moveTo>
                      <a:cubicBezTo>
                        <a:pt x="37" y="68"/>
                        <a:pt x="57" y="66"/>
                        <a:pt x="77" y="64"/>
                      </a:cubicBezTo>
                      <a:cubicBezTo>
                        <a:pt x="103" y="61"/>
                        <a:pt x="130" y="55"/>
                        <a:pt x="156" y="58"/>
                      </a:cubicBezTo>
                      <a:cubicBezTo>
                        <a:pt x="198" y="62"/>
                        <a:pt x="239" y="91"/>
                        <a:pt x="269" y="119"/>
                      </a:cubicBezTo>
                      <a:cubicBezTo>
                        <a:pt x="273" y="77"/>
                        <a:pt x="194" y="71"/>
                        <a:pt x="172" y="54"/>
                      </a:cubicBezTo>
                      <a:cubicBezTo>
                        <a:pt x="185" y="53"/>
                        <a:pt x="195" y="49"/>
                        <a:pt x="208" y="50"/>
                      </a:cubicBezTo>
                      <a:cubicBezTo>
                        <a:pt x="200" y="44"/>
                        <a:pt x="191" y="39"/>
                        <a:pt x="179" y="40"/>
                      </a:cubicBezTo>
                      <a:cubicBezTo>
                        <a:pt x="188" y="23"/>
                        <a:pt x="224" y="24"/>
                        <a:pt x="241" y="27"/>
                      </a:cubicBezTo>
                      <a:cubicBezTo>
                        <a:pt x="272" y="31"/>
                        <a:pt x="292" y="46"/>
                        <a:pt x="309" y="70"/>
                      </a:cubicBezTo>
                      <a:cubicBezTo>
                        <a:pt x="323" y="87"/>
                        <a:pt x="334" y="110"/>
                        <a:pt x="349" y="126"/>
                      </a:cubicBezTo>
                      <a:cubicBezTo>
                        <a:pt x="371" y="148"/>
                        <a:pt x="404" y="162"/>
                        <a:pt x="427" y="184"/>
                      </a:cubicBezTo>
                      <a:cubicBezTo>
                        <a:pt x="418" y="150"/>
                        <a:pt x="386" y="138"/>
                        <a:pt x="366" y="112"/>
                      </a:cubicBezTo>
                      <a:cubicBezTo>
                        <a:pt x="347" y="87"/>
                        <a:pt x="331" y="64"/>
                        <a:pt x="304" y="45"/>
                      </a:cubicBezTo>
                      <a:cubicBezTo>
                        <a:pt x="277" y="26"/>
                        <a:pt x="245" y="15"/>
                        <a:pt x="215" y="11"/>
                      </a:cubicBezTo>
                      <a:cubicBezTo>
                        <a:pt x="195" y="9"/>
                        <a:pt x="152" y="0"/>
                        <a:pt x="140" y="21"/>
                      </a:cubicBezTo>
                      <a:cubicBezTo>
                        <a:pt x="155" y="31"/>
                        <a:pt x="175" y="38"/>
                        <a:pt x="142" y="40"/>
                      </a:cubicBezTo>
                      <a:cubicBezTo>
                        <a:pt x="116" y="42"/>
                        <a:pt x="101" y="45"/>
                        <a:pt x="77" y="53"/>
                      </a:cubicBezTo>
                      <a:cubicBezTo>
                        <a:pt x="57" y="59"/>
                        <a:pt x="0" y="74"/>
                        <a:pt x="4" y="104"/>
                      </a:cubicBezTo>
                      <a:cubicBezTo>
                        <a:pt x="11" y="95"/>
                        <a:pt x="20" y="87"/>
                        <a:pt x="31" y="83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9" name="Freeform 336"/>
                <p:cNvSpPr>
                  <a:spLocks/>
                </p:cNvSpPr>
                <p:nvPr/>
              </p:nvSpPr>
              <p:spPr bwMode="gray">
                <a:xfrm>
                  <a:off x="328612" y="6462713"/>
                  <a:ext cx="600075" cy="1166813"/>
                </a:xfrm>
                <a:custGeom>
                  <a:avLst/>
                  <a:gdLst/>
                  <a:ahLst/>
                  <a:cxnLst>
                    <a:cxn ang="0">
                      <a:pos x="54" y="48"/>
                    </a:cxn>
                    <a:cxn ang="0">
                      <a:pos x="97" y="108"/>
                    </a:cxn>
                    <a:cxn ang="0">
                      <a:pos x="119" y="190"/>
                    </a:cxn>
                    <a:cxn ang="0">
                      <a:pos x="123" y="161"/>
                    </a:cxn>
                    <a:cxn ang="0">
                      <a:pos x="150" y="311"/>
                    </a:cxn>
                    <a:cxn ang="0">
                      <a:pos x="151" y="261"/>
                    </a:cxn>
                    <a:cxn ang="0">
                      <a:pos x="146" y="206"/>
                    </a:cxn>
                    <a:cxn ang="0">
                      <a:pos x="121" y="103"/>
                    </a:cxn>
                    <a:cxn ang="0">
                      <a:pos x="142" y="128"/>
                    </a:cxn>
                    <a:cxn ang="0">
                      <a:pos x="111" y="31"/>
                    </a:cxn>
                    <a:cxn ang="0">
                      <a:pos x="101" y="81"/>
                    </a:cxn>
                    <a:cxn ang="0">
                      <a:pos x="60" y="3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60" h="311">
                      <a:moveTo>
                        <a:pt x="54" y="48"/>
                      </a:moveTo>
                      <a:cubicBezTo>
                        <a:pt x="78" y="45"/>
                        <a:pt x="88" y="91"/>
                        <a:pt x="97" y="108"/>
                      </a:cubicBezTo>
                      <a:cubicBezTo>
                        <a:pt x="109" y="133"/>
                        <a:pt x="120" y="159"/>
                        <a:pt x="119" y="190"/>
                      </a:cubicBezTo>
                      <a:cubicBezTo>
                        <a:pt x="119" y="180"/>
                        <a:pt x="124" y="171"/>
                        <a:pt x="123" y="161"/>
                      </a:cubicBezTo>
                      <a:cubicBezTo>
                        <a:pt x="148" y="198"/>
                        <a:pt x="150" y="265"/>
                        <a:pt x="150" y="311"/>
                      </a:cubicBezTo>
                      <a:cubicBezTo>
                        <a:pt x="160" y="296"/>
                        <a:pt x="155" y="276"/>
                        <a:pt x="151" y="261"/>
                      </a:cubicBezTo>
                      <a:cubicBezTo>
                        <a:pt x="147" y="243"/>
                        <a:pt x="146" y="226"/>
                        <a:pt x="146" y="206"/>
                      </a:cubicBezTo>
                      <a:cubicBezTo>
                        <a:pt x="146" y="169"/>
                        <a:pt x="140" y="133"/>
                        <a:pt x="121" y="103"/>
                      </a:cubicBezTo>
                      <a:cubicBezTo>
                        <a:pt x="132" y="110"/>
                        <a:pt x="137" y="115"/>
                        <a:pt x="142" y="128"/>
                      </a:cubicBezTo>
                      <a:cubicBezTo>
                        <a:pt x="144" y="100"/>
                        <a:pt x="126" y="55"/>
                        <a:pt x="111" y="31"/>
                      </a:cubicBezTo>
                      <a:cubicBezTo>
                        <a:pt x="111" y="52"/>
                        <a:pt x="105" y="63"/>
                        <a:pt x="101" y="81"/>
                      </a:cubicBezTo>
                      <a:cubicBezTo>
                        <a:pt x="78" y="76"/>
                        <a:pt x="73" y="47"/>
                        <a:pt x="60" y="31"/>
                      </a:cubicBezTo>
                      <a:cubicBezTo>
                        <a:pt x="47" y="15"/>
                        <a:pt x="20" y="0"/>
                        <a:pt x="0" y="1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0" name="Freeform 337"/>
                <p:cNvSpPr>
                  <a:spLocks/>
                </p:cNvSpPr>
                <p:nvPr/>
              </p:nvSpPr>
              <p:spPr bwMode="gray">
                <a:xfrm>
                  <a:off x="328612" y="6462713"/>
                  <a:ext cx="600075" cy="1166813"/>
                </a:xfrm>
                <a:custGeom>
                  <a:avLst/>
                  <a:gdLst/>
                  <a:ahLst/>
                  <a:cxnLst>
                    <a:cxn ang="0">
                      <a:pos x="54" y="48"/>
                    </a:cxn>
                    <a:cxn ang="0">
                      <a:pos x="97" y="108"/>
                    </a:cxn>
                    <a:cxn ang="0">
                      <a:pos x="119" y="190"/>
                    </a:cxn>
                    <a:cxn ang="0">
                      <a:pos x="123" y="161"/>
                    </a:cxn>
                    <a:cxn ang="0">
                      <a:pos x="150" y="311"/>
                    </a:cxn>
                    <a:cxn ang="0">
                      <a:pos x="151" y="261"/>
                    </a:cxn>
                    <a:cxn ang="0">
                      <a:pos x="146" y="206"/>
                    </a:cxn>
                    <a:cxn ang="0">
                      <a:pos x="121" y="103"/>
                    </a:cxn>
                    <a:cxn ang="0">
                      <a:pos x="142" y="128"/>
                    </a:cxn>
                    <a:cxn ang="0">
                      <a:pos x="111" y="31"/>
                    </a:cxn>
                    <a:cxn ang="0">
                      <a:pos x="101" y="81"/>
                    </a:cxn>
                    <a:cxn ang="0">
                      <a:pos x="60" y="3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60" h="311">
                      <a:moveTo>
                        <a:pt x="54" y="48"/>
                      </a:moveTo>
                      <a:cubicBezTo>
                        <a:pt x="78" y="45"/>
                        <a:pt x="88" y="91"/>
                        <a:pt x="97" y="108"/>
                      </a:cubicBezTo>
                      <a:cubicBezTo>
                        <a:pt x="109" y="133"/>
                        <a:pt x="120" y="159"/>
                        <a:pt x="119" y="190"/>
                      </a:cubicBezTo>
                      <a:cubicBezTo>
                        <a:pt x="119" y="180"/>
                        <a:pt x="124" y="171"/>
                        <a:pt x="123" y="161"/>
                      </a:cubicBezTo>
                      <a:cubicBezTo>
                        <a:pt x="148" y="198"/>
                        <a:pt x="150" y="265"/>
                        <a:pt x="150" y="311"/>
                      </a:cubicBezTo>
                      <a:cubicBezTo>
                        <a:pt x="160" y="296"/>
                        <a:pt x="155" y="276"/>
                        <a:pt x="151" y="261"/>
                      </a:cubicBezTo>
                      <a:cubicBezTo>
                        <a:pt x="147" y="243"/>
                        <a:pt x="146" y="226"/>
                        <a:pt x="146" y="206"/>
                      </a:cubicBezTo>
                      <a:cubicBezTo>
                        <a:pt x="146" y="169"/>
                        <a:pt x="140" y="133"/>
                        <a:pt x="121" y="103"/>
                      </a:cubicBezTo>
                      <a:cubicBezTo>
                        <a:pt x="132" y="110"/>
                        <a:pt x="137" y="115"/>
                        <a:pt x="142" y="128"/>
                      </a:cubicBezTo>
                      <a:cubicBezTo>
                        <a:pt x="144" y="100"/>
                        <a:pt x="126" y="55"/>
                        <a:pt x="111" y="31"/>
                      </a:cubicBezTo>
                      <a:cubicBezTo>
                        <a:pt x="111" y="52"/>
                        <a:pt x="105" y="63"/>
                        <a:pt x="101" y="81"/>
                      </a:cubicBezTo>
                      <a:cubicBezTo>
                        <a:pt x="78" y="76"/>
                        <a:pt x="73" y="47"/>
                        <a:pt x="60" y="31"/>
                      </a:cubicBezTo>
                      <a:cubicBezTo>
                        <a:pt x="47" y="15"/>
                        <a:pt x="20" y="0"/>
                        <a:pt x="0" y="1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1" name="Freeform 338"/>
                <p:cNvSpPr>
                  <a:spLocks/>
                </p:cNvSpPr>
                <p:nvPr/>
              </p:nvSpPr>
              <p:spPr bwMode="gray">
                <a:xfrm>
                  <a:off x="276225" y="7910513"/>
                  <a:ext cx="558800" cy="974725"/>
                </a:xfrm>
                <a:custGeom>
                  <a:avLst/>
                  <a:gdLst/>
                  <a:ahLst/>
                  <a:cxnLst>
                    <a:cxn ang="0">
                      <a:pos x="137" y="23"/>
                    </a:cxn>
                    <a:cxn ang="0">
                      <a:pos x="149" y="0"/>
                    </a:cxn>
                    <a:cxn ang="0">
                      <a:pos x="70" y="149"/>
                    </a:cxn>
                    <a:cxn ang="0">
                      <a:pos x="32" y="208"/>
                    </a:cxn>
                    <a:cxn ang="0">
                      <a:pos x="0" y="260"/>
                    </a:cxn>
                    <a:cxn ang="0">
                      <a:pos x="23" y="208"/>
                    </a:cxn>
                    <a:cxn ang="0">
                      <a:pos x="65" y="145"/>
                    </a:cxn>
                    <a:cxn ang="0">
                      <a:pos x="86" y="93"/>
                    </a:cxn>
                    <a:cxn ang="0">
                      <a:pos x="110" y="46"/>
                    </a:cxn>
                  </a:cxnLst>
                  <a:rect l="0" t="0" r="r" b="b"/>
                  <a:pathLst>
                    <a:path w="149" h="260">
                      <a:moveTo>
                        <a:pt x="137" y="23"/>
                      </a:moveTo>
                      <a:cubicBezTo>
                        <a:pt x="144" y="17"/>
                        <a:pt x="146" y="9"/>
                        <a:pt x="149" y="0"/>
                      </a:cubicBezTo>
                      <a:cubicBezTo>
                        <a:pt x="120" y="47"/>
                        <a:pt x="103" y="105"/>
                        <a:pt x="70" y="149"/>
                      </a:cubicBezTo>
                      <a:cubicBezTo>
                        <a:pt x="56" y="169"/>
                        <a:pt x="42" y="185"/>
                        <a:pt x="32" y="208"/>
                      </a:cubicBezTo>
                      <a:cubicBezTo>
                        <a:pt x="24" y="229"/>
                        <a:pt x="12" y="241"/>
                        <a:pt x="0" y="260"/>
                      </a:cubicBezTo>
                      <a:cubicBezTo>
                        <a:pt x="9" y="244"/>
                        <a:pt x="13" y="224"/>
                        <a:pt x="23" y="208"/>
                      </a:cubicBezTo>
                      <a:cubicBezTo>
                        <a:pt x="36" y="187"/>
                        <a:pt x="55" y="168"/>
                        <a:pt x="65" y="145"/>
                      </a:cubicBezTo>
                      <a:cubicBezTo>
                        <a:pt x="72" y="128"/>
                        <a:pt x="77" y="108"/>
                        <a:pt x="86" y="93"/>
                      </a:cubicBezTo>
                      <a:cubicBezTo>
                        <a:pt x="96" y="78"/>
                        <a:pt x="113" y="66"/>
                        <a:pt x="110" y="46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2" name="Freeform 339"/>
                <p:cNvSpPr>
                  <a:spLocks/>
                </p:cNvSpPr>
                <p:nvPr/>
              </p:nvSpPr>
              <p:spPr bwMode="gray">
                <a:xfrm>
                  <a:off x="276225" y="7910513"/>
                  <a:ext cx="558800" cy="974725"/>
                </a:xfrm>
                <a:custGeom>
                  <a:avLst/>
                  <a:gdLst/>
                  <a:ahLst/>
                  <a:cxnLst>
                    <a:cxn ang="0">
                      <a:pos x="137" y="23"/>
                    </a:cxn>
                    <a:cxn ang="0">
                      <a:pos x="149" y="0"/>
                    </a:cxn>
                    <a:cxn ang="0">
                      <a:pos x="70" y="149"/>
                    </a:cxn>
                    <a:cxn ang="0">
                      <a:pos x="32" y="208"/>
                    </a:cxn>
                    <a:cxn ang="0">
                      <a:pos x="0" y="260"/>
                    </a:cxn>
                    <a:cxn ang="0">
                      <a:pos x="23" y="208"/>
                    </a:cxn>
                    <a:cxn ang="0">
                      <a:pos x="65" y="145"/>
                    </a:cxn>
                    <a:cxn ang="0">
                      <a:pos x="86" y="93"/>
                    </a:cxn>
                    <a:cxn ang="0">
                      <a:pos x="110" y="46"/>
                    </a:cxn>
                  </a:cxnLst>
                  <a:rect l="0" t="0" r="r" b="b"/>
                  <a:pathLst>
                    <a:path w="149" h="260">
                      <a:moveTo>
                        <a:pt x="137" y="23"/>
                      </a:moveTo>
                      <a:cubicBezTo>
                        <a:pt x="144" y="17"/>
                        <a:pt x="146" y="9"/>
                        <a:pt x="149" y="0"/>
                      </a:cubicBezTo>
                      <a:cubicBezTo>
                        <a:pt x="120" y="47"/>
                        <a:pt x="103" y="105"/>
                        <a:pt x="70" y="149"/>
                      </a:cubicBezTo>
                      <a:cubicBezTo>
                        <a:pt x="56" y="169"/>
                        <a:pt x="42" y="185"/>
                        <a:pt x="32" y="208"/>
                      </a:cubicBezTo>
                      <a:cubicBezTo>
                        <a:pt x="24" y="229"/>
                        <a:pt x="12" y="241"/>
                        <a:pt x="0" y="260"/>
                      </a:cubicBezTo>
                      <a:cubicBezTo>
                        <a:pt x="9" y="244"/>
                        <a:pt x="13" y="224"/>
                        <a:pt x="23" y="208"/>
                      </a:cubicBezTo>
                      <a:cubicBezTo>
                        <a:pt x="36" y="187"/>
                        <a:pt x="55" y="168"/>
                        <a:pt x="65" y="145"/>
                      </a:cubicBezTo>
                      <a:cubicBezTo>
                        <a:pt x="72" y="128"/>
                        <a:pt x="77" y="108"/>
                        <a:pt x="86" y="93"/>
                      </a:cubicBezTo>
                      <a:cubicBezTo>
                        <a:pt x="96" y="78"/>
                        <a:pt x="113" y="66"/>
                        <a:pt x="110" y="46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3" name="Freeform 340"/>
                <p:cNvSpPr>
                  <a:spLocks/>
                </p:cNvSpPr>
                <p:nvPr/>
              </p:nvSpPr>
              <p:spPr bwMode="gray">
                <a:xfrm>
                  <a:off x="-1662113" y="24028401"/>
                  <a:ext cx="319088" cy="892175"/>
                </a:xfrm>
                <a:custGeom>
                  <a:avLst/>
                  <a:gdLst/>
                  <a:ahLst/>
                  <a:cxnLst>
                    <a:cxn ang="0">
                      <a:pos x="72" y="9"/>
                    </a:cxn>
                    <a:cxn ang="0">
                      <a:pos x="65" y="71"/>
                    </a:cxn>
                    <a:cxn ang="0">
                      <a:pos x="66" y="137"/>
                    </a:cxn>
                    <a:cxn ang="0">
                      <a:pos x="33" y="187"/>
                    </a:cxn>
                    <a:cxn ang="0">
                      <a:pos x="0" y="238"/>
                    </a:cxn>
                    <a:cxn ang="0">
                      <a:pos x="82" y="134"/>
                    </a:cxn>
                    <a:cxn ang="0">
                      <a:pos x="84" y="61"/>
                    </a:cxn>
                    <a:cxn ang="0">
                      <a:pos x="78" y="31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238">
                      <a:moveTo>
                        <a:pt x="72" y="9"/>
                      </a:moveTo>
                      <a:cubicBezTo>
                        <a:pt x="72" y="31"/>
                        <a:pt x="66" y="50"/>
                        <a:pt x="65" y="71"/>
                      </a:cubicBezTo>
                      <a:cubicBezTo>
                        <a:pt x="64" y="93"/>
                        <a:pt x="73" y="117"/>
                        <a:pt x="66" y="137"/>
                      </a:cubicBezTo>
                      <a:cubicBezTo>
                        <a:pt x="60" y="157"/>
                        <a:pt x="42" y="170"/>
                        <a:pt x="33" y="187"/>
                      </a:cubicBezTo>
                      <a:cubicBezTo>
                        <a:pt x="23" y="206"/>
                        <a:pt x="13" y="224"/>
                        <a:pt x="0" y="238"/>
                      </a:cubicBezTo>
                      <a:cubicBezTo>
                        <a:pt x="38" y="219"/>
                        <a:pt x="77" y="177"/>
                        <a:pt x="82" y="134"/>
                      </a:cubicBezTo>
                      <a:cubicBezTo>
                        <a:pt x="85" y="111"/>
                        <a:pt x="84" y="86"/>
                        <a:pt x="84" y="61"/>
                      </a:cubicBezTo>
                      <a:cubicBezTo>
                        <a:pt x="84" y="49"/>
                        <a:pt x="83" y="41"/>
                        <a:pt x="78" y="31"/>
                      </a:cubicBezTo>
                      <a:cubicBezTo>
                        <a:pt x="73" y="21"/>
                        <a:pt x="68" y="13"/>
                        <a:pt x="69" y="0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4" name="Freeform 341"/>
                <p:cNvSpPr>
                  <a:spLocks/>
                </p:cNvSpPr>
                <p:nvPr/>
              </p:nvSpPr>
              <p:spPr bwMode="gray">
                <a:xfrm>
                  <a:off x="-2741613" y="25190451"/>
                  <a:ext cx="911225" cy="300038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66" y="26"/>
                    </a:cxn>
                    <a:cxn ang="0">
                      <a:pos x="129" y="42"/>
                    </a:cxn>
                    <a:cxn ang="0">
                      <a:pos x="243" y="0"/>
                    </a:cxn>
                    <a:cxn ang="0">
                      <a:pos x="208" y="61"/>
                    </a:cxn>
                    <a:cxn ang="0">
                      <a:pos x="180" y="75"/>
                    </a:cxn>
                    <a:cxn ang="0">
                      <a:pos x="145" y="66"/>
                    </a:cxn>
                    <a:cxn ang="0">
                      <a:pos x="82" y="50"/>
                    </a:cxn>
                    <a:cxn ang="0">
                      <a:pos x="19" y="2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43" h="80">
                      <a:moveTo>
                        <a:pt x="0" y="4"/>
                      </a:moveTo>
                      <a:cubicBezTo>
                        <a:pt x="17" y="19"/>
                        <a:pt x="44" y="21"/>
                        <a:pt x="66" y="26"/>
                      </a:cubicBezTo>
                      <a:cubicBezTo>
                        <a:pt x="87" y="31"/>
                        <a:pt x="108" y="40"/>
                        <a:pt x="129" y="42"/>
                      </a:cubicBezTo>
                      <a:cubicBezTo>
                        <a:pt x="173" y="46"/>
                        <a:pt x="214" y="35"/>
                        <a:pt x="243" y="0"/>
                      </a:cubicBezTo>
                      <a:cubicBezTo>
                        <a:pt x="235" y="23"/>
                        <a:pt x="222" y="41"/>
                        <a:pt x="208" y="61"/>
                      </a:cubicBezTo>
                      <a:cubicBezTo>
                        <a:pt x="198" y="75"/>
                        <a:pt x="198" y="80"/>
                        <a:pt x="180" y="75"/>
                      </a:cubicBezTo>
                      <a:cubicBezTo>
                        <a:pt x="168" y="71"/>
                        <a:pt x="157" y="69"/>
                        <a:pt x="145" y="66"/>
                      </a:cubicBezTo>
                      <a:cubicBezTo>
                        <a:pt x="125" y="61"/>
                        <a:pt x="102" y="57"/>
                        <a:pt x="82" y="50"/>
                      </a:cubicBezTo>
                      <a:cubicBezTo>
                        <a:pt x="62" y="43"/>
                        <a:pt x="38" y="38"/>
                        <a:pt x="19" y="27"/>
                      </a:cubicBezTo>
                      <a:cubicBezTo>
                        <a:pt x="12" y="23"/>
                        <a:pt x="4" y="16"/>
                        <a:pt x="0" y="7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5" name="Freeform 342"/>
                <p:cNvSpPr>
                  <a:spLocks/>
                </p:cNvSpPr>
                <p:nvPr/>
              </p:nvSpPr>
              <p:spPr bwMode="gray">
                <a:xfrm>
                  <a:off x="-98425" y="24039513"/>
                  <a:ext cx="203200" cy="941388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12" y="60"/>
                    </a:cxn>
                    <a:cxn ang="0">
                      <a:pos x="1" y="127"/>
                    </a:cxn>
                    <a:cxn ang="0">
                      <a:pos x="13" y="158"/>
                    </a:cxn>
                    <a:cxn ang="0">
                      <a:pos x="26" y="194"/>
                    </a:cxn>
                    <a:cxn ang="0">
                      <a:pos x="43" y="218"/>
                    </a:cxn>
                    <a:cxn ang="0">
                      <a:pos x="54" y="251"/>
                    </a:cxn>
                    <a:cxn ang="0">
                      <a:pos x="21" y="125"/>
                    </a:cxn>
                    <a:cxn ang="0">
                      <a:pos x="27" y="61"/>
                    </a:cxn>
                    <a:cxn ang="0">
                      <a:pos x="26" y="6"/>
                    </a:cxn>
                    <a:cxn ang="0">
                      <a:pos x="20" y="33"/>
                    </a:cxn>
                  </a:cxnLst>
                  <a:rect l="0" t="0" r="r" b="b"/>
                  <a:pathLst>
                    <a:path w="54" h="251">
                      <a:moveTo>
                        <a:pt x="28" y="0"/>
                      </a:moveTo>
                      <a:cubicBezTo>
                        <a:pt x="28" y="26"/>
                        <a:pt x="24" y="39"/>
                        <a:pt x="12" y="60"/>
                      </a:cubicBezTo>
                      <a:cubicBezTo>
                        <a:pt x="0" y="81"/>
                        <a:pt x="0" y="102"/>
                        <a:pt x="1" y="127"/>
                      </a:cubicBezTo>
                      <a:cubicBezTo>
                        <a:pt x="2" y="141"/>
                        <a:pt x="6" y="146"/>
                        <a:pt x="13" y="158"/>
                      </a:cubicBezTo>
                      <a:cubicBezTo>
                        <a:pt x="19" y="169"/>
                        <a:pt x="19" y="183"/>
                        <a:pt x="26" y="194"/>
                      </a:cubicBezTo>
                      <a:cubicBezTo>
                        <a:pt x="31" y="203"/>
                        <a:pt x="39" y="209"/>
                        <a:pt x="43" y="218"/>
                      </a:cubicBezTo>
                      <a:cubicBezTo>
                        <a:pt x="49" y="228"/>
                        <a:pt x="51" y="240"/>
                        <a:pt x="54" y="251"/>
                      </a:cubicBezTo>
                      <a:cubicBezTo>
                        <a:pt x="53" y="206"/>
                        <a:pt x="29" y="167"/>
                        <a:pt x="21" y="125"/>
                      </a:cubicBezTo>
                      <a:cubicBezTo>
                        <a:pt x="16" y="102"/>
                        <a:pt x="19" y="82"/>
                        <a:pt x="27" y="61"/>
                      </a:cubicBezTo>
                      <a:cubicBezTo>
                        <a:pt x="34" y="43"/>
                        <a:pt x="37" y="24"/>
                        <a:pt x="26" y="6"/>
                      </a:cubicBezTo>
                      <a:cubicBezTo>
                        <a:pt x="22" y="15"/>
                        <a:pt x="22" y="24"/>
                        <a:pt x="20" y="33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6" name="Freeform 343"/>
                <p:cNvSpPr>
                  <a:spLocks/>
                </p:cNvSpPr>
                <p:nvPr/>
              </p:nvSpPr>
              <p:spPr bwMode="gray">
                <a:xfrm>
                  <a:off x="231775" y="25336501"/>
                  <a:ext cx="655638" cy="195263"/>
                </a:xfrm>
                <a:custGeom>
                  <a:avLst/>
                  <a:gdLst/>
                  <a:ahLst/>
                  <a:cxnLst>
                    <a:cxn ang="0">
                      <a:pos x="159" y="0"/>
                    </a:cxn>
                    <a:cxn ang="0">
                      <a:pos x="145" y="35"/>
                    </a:cxn>
                    <a:cxn ang="0">
                      <a:pos x="93" y="45"/>
                    </a:cxn>
                    <a:cxn ang="0">
                      <a:pos x="0" y="25"/>
                    </a:cxn>
                    <a:cxn ang="0">
                      <a:pos x="35" y="45"/>
                    </a:cxn>
                    <a:cxn ang="0">
                      <a:pos x="87" y="51"/>
                    </a:cxn>
                    <a:cxn ang="0">
                      <a:pos x="134" y="50"/>
                    </a:cxn>
                    <a:cxn ang="0">
                      <a:pos x="175" y="38"/>
                    </a:cxn>
                    <a:cxn ang="0">
                      <a:pos x="168" y="26"/>
                    </a:cxn>
                  </a:cxnLst>
                  <a:rect l="0" t="0" r="r" b="b"/>
                  <a:pathLst>
                    <a:path w="175" h="52">
                      <a:moveTo>
                        <a:pt x="159" y="0"/>
                      </a:moveTo>
                      <a:cubicBezTo>
                        <a:pt x="161" y="18"/>
                        <a:pt x="162" y="27"/>
                        <a:pt x="145" y="35"/>
                      </a:cubicBezTo>
                      <a:cubicBezTo>
                        <a:pt x="130" y="43"/>
                        <a:pt x="111" y="45"/>
                        <a:pt x="93" y="45"/>
                      </a:cubicBezTo>
                      <a:cubicBezTo>
                        <a:pt x="60" y="47"/>
                        <a:pt x="28" y="37"/>
                        <a:pt x="0" y="25"/>
                      </a:cubicBezTo>
                      <a:cubicBezTo>
                        <a:pt x="13" y="32"/>
                        <a:pt x="20" y="42"/>
                        <a:pt x="35" y="45"/>
                      </a:cubicBezTo>
                      <a:cubicBezTo>
                        <a:pt x="51" y="49"/>
                        <a:pt x="70" y="50"/>
                        <a:pt x="87" y="51"/>
                      </a:cubicBezTo>
                      <a:cubicBezTo>
                        <a:pt x="102" y="52"/>
                        <a:pt x="120" y="52"/>
                        <a:pt x="134" y="50"/>
                      </a:cubicBezTo>
                      <a:cubicBezTo>
                        <a:pt x="148" y="48"/>
                        <a:pt x="161" y="41"/>
                        <a:pt x="175" y="38"/>
                      </a:cubicBezTo>
                      <a:cubicBezTo>
                        <a:pt x="174" y="33"/>
                        <a:pt x="171" y="29"/>
                        <a:pt x="168" y="26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7" name="Freeform 344"/>
                <p:cNvSpPr>
                  <a:spLocks/>
                </p:cNvSpPr>
                <p:nvPr/>
              </p:nvSpPr>
              <p:spPr bwMode="gray">
                <a:xfrm>
                  <a:off x="104775" y="25633363"/>
                  <a:ext cx="430213" cy="407988"/>
                </a:xfrm>
                <a:custGeom>
                  <a:avLst/>
                  <a:gdLst/>
                  <a:ahLst/>
                  <a:cxnLst>
                    <a:cxn ang="0">
                      <a:pos x="15" y="15"/>
                    </a:cxn>
                    <a:cxn ang="0">
                      <a:pos x="53" y="38"/>
                    </a:cxn>
                    <a:cxn ang="0">
                      <a:pos x="114" y="60"/>
                    </a:cxn>
                    <a:cxn ang="0">
                      <a:pos x="114" y="64"/>
                    </a:cxn>
                    <a:cxn ang="0">
                      <a:pos x="67" y="69"/>
                    </a:cxn>
                    <a:cxn ang="0">
                      <a:pos x="115" y="92"/>
                    </a:cxn>
                    <a:cxn ang="0">
                      <a:pos x="35" y="6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5" h="109">
                      <a:moveTo>
                        <a:pt x="15" y="15"/>
                      </a:moveTo>
                      <a:cubicBezTo>
                        <a:pt x="28" y="21"/>
                        <a:pt x="40" y="30"/>
                        <a:pt x="53" y="38"/>
                      </a:cubicBezTo>
                      <a:cubicBezTo>
                        <a:pt x="73" y="51"/>
                        <a:pt x="91" y="53"/>
                        <a:pt x="114" y="60"/>
                      </a:cubicBezTo>
                      <a:cubicBezTo>
                        <a:pt x="114" y="61"/>
                        <a:pt x="114" y="63"/>
                        <a:pt x="114" y="64"/>
                      </a:cubicBezTo>
                      <a:cubicBezTo>
                        <a:pt x="99" y="67"/>
                        <a:pt x="82" y="69"/>
                        <a:pt x="67" y="69"/>
                      </a:cubicBezTo>
                      <a:cubicBezTo>
                        <a:pt x="78" y="79"/>
                        <a:pt x="103" y="81"/>
                        <a:pt x="115" y="92"/>
                      </a:cubicBezTo>
                      <a:cubicBezTo>
                        <a:pt x="88" y="109"/>
                        <a:pt x="56" y="78"/>
                        <a:pt x="35" y="65"/>
                      </a:cubicBezTo>
                      <a:cubicBezTo>
                        <a:pt x="9" y="50"/>
                        <a:pt x="16" y="20"/>
                        <a:pt x="0" y="0"/>
                      </a:cubicBezTo>
                    </a:path>
                  </a:pathLst>
                </a:custGeom>
                <a:solidFill>
                  <a:srgbClr val="9B979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48" name="Freeform 345"/>
                <p:cNvSpPr>
                  <a:spLocks/>
                </p:cNvSpPr>
                <p:nvPr/>
              </p:nvSpPr>
              <p:spPr bwMode="gray">
                <a:xfrm>
                  <a:off x="-3090863" y="25314276"/>
                  <a:ext cx="468313" cy="600075"/>
                </a:xfrm>
                <a:custGeom>
                  <a:avLst/>
                  <a:gdLst/>
                  <a:ahLst/>
                  <a:cxnLst>
                    <a:cxn ang="0">
                      <a:pos x="85" y="0"/>
                    </a:cxn>
                    <a:cxn ang="0">
                      <a:pos x="42" y="76"/>
                    </a:cxn>
                    <a:cxn ang="0">
                      <a:pos x="0" y="160"/>
                    </a:cxn>
                    <a:cxn ang="0">
                      <a:pos x="62" y="88"/>
                    </a:cxn>
                    <a:cxn ang="0">
                      <a:pos x="85" y="73"/>
                    </a:cxn>
                    <a:cxn ang="0">
                      <a:pos x="87" y="47"/>
                    </a:cxn>
                    <a:cxn ang="0">
                      <a:pos x="125" y="29"/>
                    </a:cxn>
                    <a:cxn ang="0">
                      <a:pos x="125" y="21"/>
                    </a:cxn>
                    <a:cxn ang="0">
                      <a:pos x="91" y="12"/>
                    </a:cxn>
                  </a:cxnLst>
                  <a:rect l="0" t="0" r="r" b="b"/>
                  <a:pathLst>
                    <a:path w="125" h="160">
                      <a:moveTo>
                        <a:pt x="85" y="0"/>
                      </a:moveTo>
                      <a:cubicBezTo>
                        <a:pt x="55" y="15"/>
                        <a:pt x="56" y="50"/>
                        <a:pt x="42" y="76"/>
                      </a:cubicBezTo>
                      <a:cubicBezTo>
                        <a:pt x="28" y="101"/>
                        <a:pt x="1" y="133"/>
                        <a:pt x="0" y="160"/>
                      </a:cubicBezTo>
                      <a:cubicBezTo>
                        <a:pt x="17" y="132"/>
                        <a:pt x="36" y="108"/>
                        <a:pt x="62" y="88"/>
                      </a:cubicBezTo>
                      <a:cubicBezTo>
                        <a:pt x="70" y="81"/>
                        <a:pt x="79" y="83"/>
                        <a:pt x="85" y="73"/>
                      </a:cubicBezTo>
                      <a:cubicBezTo>
                        <a:pt x="90" y="66"/>
                        <a:pt x="83" y="54"/>
                        <a:pt x="87" y="47"/>
                      </a:cubicBezTo>
                      <a:cubicBezTo>
                        <a:pt x="96" y="33"/>
                        <a:pt x="108" y="27"/>
                        <a:pt x="125" y="29"/>
                      </a:cubicBezTo>
                      <a:cubicBezTo>
                        <a:pt x="125" y="28"/>
                        <a:pt x="125" y="22"/>
                        <a:pt x="125" y="21"/>
                      </a:cubicBezTo>
                      <a:cubicBezTo>
                        <a:pt x="114" y="16"/>
                        <a:pt x="103" y="11"/>
                        <a:pt x="91" y="12"/>
                      </a:cubicBezTo>
                    </a:path>
                  </a:pathLst>
                </a:custGeom>
                <a:solidFill>
                  <a:srgbClr val="9B979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grpSp>
            <p:nvGrpSpPr>
              <p:cNvPr id="23" name="Gruppieren 158"/>
              <p:cNvGrpSpPr/>
              <p:nvPr/>
            </p:nvGrpSpPr>
            <p:grpSpPr bwMode="gray">
              <a:xfrm>
                <a:off x="8037642" y="1506517"/>
                <a:ext cx="478025" cy="1748792"/>
                <a:chOff x="-3870325" y="-19711987"/>
                <a:chExt cx="5864225" cy="21453475"/>
              </a:xfrm>
            </p:grpSpPr>
            <p:sp>
              <p:nvSpPr>
                <p:cNvPr id="1650" name="Freeform 81"/>
                <p:cNvSpPr>
                  <a:spLocks/>
                </p:cNvSpPr>
                <p:nvPr/>
              </p:nvSpPr>
              <p:spPr bwMode="gray">
                <a:xfrm>
                  <a:off x="-3076575" y="-676275"/>
                  <a:ext cx="3457575" cy="1844675"/>
                </a:xfrm>
                <a:custGeom>
                  <a:avLst/>
                  <a:gdLst/>
                  <a:ahLst/>
                  <a:cxnLst>
                    <a:cxn ang="0">
                      <a:pos x="429" y="101"/>
                    </a:cxn>
                    <a:cxn ang="0">
                      <a:pos x="355" y="179"/>
                    </a:cxn>
                    <a:cxn ang="0">
                      <a:pos x="276" y="240"/>
                    </a:cxn>
                    <a:cxn ang="0">
                      <a:pos x="188" y="309"/>
                    </a:cxn>
                    <a:cxn ang="0">
                      <a:pos x="14" y="421"/>
                    </a:cxn>
                    <a:cxn ang="0">
                      <a:pos x="76" y="477"/>
                    </a:cxn>
                    <a:cxn ang="0">
                      <a:pos x="159" y="490"/>
                    </a:cxn>
                    <a:cxn ang="0">
                      <a:pos x="323" y="467"/>
                    </a:cxn>
                    <a:cxn ang="0">
                      <a:pos x="470" y="412"/>
                    </a:cxn>
                    <a:cxn ang="0">
                      <a:pos x="699" y="376"/>
                    </a:cxn>
                    <a:cxn ang="0">
                      <a:pos x="452" y="112"/>
                    </a:cxn>
                  </a:cxnLst>
                  <a:rect l="0" t="0" r="r" b="b"/>
                  <a:pathLst>
                    <a:path w="922" h="492">
                      <a:moveTo>
                        <a:pt x="429" y="101"/>
                      </a:moveTo>
                      <a:cubicBezTo>
                        <a:pt x="402" y="122"/>
                        <a:pt x="363" y="146"/>
                        <a:pt x="355" y="179"/>
                      </a:cubicBezTo>
                      <a:cubicBezTo>
                        <a:pt x="335" y="183"/>
                        <a:pt x="296" y="222"/>
                        <a:pt x="276" y="240"/>
                      </a:cubicBezTo>
                      <a:cubicBezTo>
                        <a:pt x="247" y="266"/>
                        <a:pt x="226" y="294"/>
                        <a:pt x="188" y="309"/>
                      </a:cubicBezTo>
                      <a:cubicBezTo>
                        <a:pt x="149" y="324"/>
                        <a:pt x="0" y="364"/>
                        <a:pt x="14" y="421"/>
                      </a:cubicBezTo>
                      <a:cubicBezTo>
                        <a:pt x="42" y="435"/>
                        <a:pt x="50" y="466"/>
                        <a:pt x="76" y="477"/>
                      </a:cubicBezTo>
                      <a:cubicBezTo>
                        <a:pt x="92" y="484"/>
                        <a:pt x="143" y="489"/>
                        <a:pt x="159" y="490"/>
                      </a:cubicBezTo>
                      <a:cubicBezTo>
                        <a:pt x="216" y="492"/>
                        <a:pt x="263" y="467"/>
                        <a:pt x="323" y="467"/>
                      </a:cubicBezTo>
                      <a:cubicBezTo>
                        <a:pt x="396" y="467"/>
                        <a:pt x="411" y="447"/>
                        <a:pt x="470" y="412"/>
                      </a:cubicBezTo>
                      <a:cubicBezTo>
                        <a:pt x="539" y="371"/>
                        <a:pt x="622" y="392"/>
                        <a:pt x="699" y="376"/>
                      </a:cubicBezTo>
                      <a:cubicBezTo>
                        <a:pt x="922" y="224"/>
                        <a:pt x="494" y="0"/>
                        <a:pt x="452" y="112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1" name="Freeform 82"/>
                <p:cNvSpPr>
                  <a:spLocks/>
                </p:cNvSpPr>
                <p:nvPr/>
              </p:nvSpPr>
              <p:spPr bwMode="gray">
                <a:xfrm>
                  <a:off x="-101600" y="-522287"/>
                  <a:ext cx="2095500" cy="2263775"/>
                </a:xfrm>
                <a:custGeom>
                  <a:avLst/>
                  <a:gdLst/>
                  <a:ahLst/>
                  <a:cxnLst>
                    <a:cxn ang="0">
                      <a:pos x="36" y="184"/>
                    </a:cxn>
                    <a:cxn ang="0">
                      <a:pos x="99" y="402"/>
                    </a:cxn>
                    <a:cxn ang="0">
                      <a:pos x="156" y="413"/>
                    </a:cxn>
                    <a:cxn ang="0">
                      <a:pos x="183" y="465"/>
                    </a:cxn>
                    <a:cxn ang="0">
                      <a:pos x="261" y="538"/>
                    </a:cxn>
                    <a:cxn ang="0">
                      <a:pos x="532" y="527"/>
                    </a:cxn>
                    <a:cxn ang="0">
                      <a:pos x="409" y="317"/>
                    </a:cxn>
                    <a:cxn ang="0">
                      <a:pos x="341" y="212"/>
                    </a:cxn>
                    <a:cxn ang="0">
                      <a:pos x="257" y="77"/>
                    </a:cxn>
                    <a:cxn ang="0">
                      <a:pos x="48" y="184"/>
                    </a:cxn>
                  </a:cxnLst>
                  <a:rect l="0" t="0" r="r" b="b"/>
                  <a:pathLst>
                    <a:path w="559" h="604">
                      <a:moveTo>
                        <a:pt x="36" y="184"/>
                      </a:moveTo>
                      <a:cubicBezTo>
                        <a:pt x="36" y="271"/>
                        <a:pt x="0" y="373"/>
                        <a:pt x="99" y="402"/>
                      </a:cubicBezTo>
                      <a:cubicBezTo>
                        <a:pt x="122" y="409"/>
                        <a:pt x="136" y="401"/>
                        <a:pt x="156" y="413"/>
                      </a:cubicBezTo>
                      <a:cubicBezTo>
                        <a:pt x="190" y="435"/>
                        <a:pt x="167" y="433"/>
                        <a:pt x="183" y="465"/>
                      </a:cubicBezTo>
                      <a:cubicBezTo>
                        <a:pt x="202" y="505"/>
                        <a:pt x="221" y="523"/>
                        <a:pt x="261" y="538"/>
                      </a:cubicBezTo>
                      <a:cubicBezTo>
                        <a:pt x="323" y="562"/>
                        <a:pt x="501" y="604"/>
                        <a:pt x="532" y="527"/>
                      </a:cubicBezTo>
                      <a:cubicBezTo>
                        <a:pt x="559" y="459"/>
                        <a:pt x="449" y="364"/>
                        <a:pt x="409" y="317"/>
                      </a:cubicBezTo>
                      <a:cubicBezTo>
                        <a:pt x="375" y="277"/>
                        <a:pt x="361" y="259"/>
                        <a:pt x="341" y="212"/>
                      </a:cubicBezTo>
                      <a:cubicBezTo>
                        <a:pt x="323" y="171"/>
                        <a:pt x="292" y="106"/>
                        <a:pt x="257" y="77"/>
                      </a:cubicBezTo>
                      <a:cubicBezTo>
                        <a:pt x="168" y="0"/>
                        <a:pt x="73" y="105"/>
                        <a:pt x="48" y="184"/>
                      </a:cubicBezTo>
                    </a:path>
                  </a:pathLst>
                </a:custGeom>
                <a:solidFill>
                  <a:srgbClr val="00040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2" name="Freeform 83"/>
                <p:cNvSpPr>
                  <a:spLocks/>
                </p:cNvSpPr>
                <p:nvPr/>
              </p:nvSpPr>
              <p:spPr bwMode="gray">
                <a:xfrm>
                  <a:off x="-1706563" y="61913"/>
                  <a:ext cx="382588" cy="393700"/>
                </a:xfrm>
                <a:custGeom>
                  <a:avLst/>
                  <a:gdLst/>
                  <a:ahLst/>
                  <a:cxnLst>
                    <a:cxn ang="0">
                      <a:pos x="31" y="41"/>
                    </a:cxn>
                    <a:cxn ang="0">
                      <a:pos x="2" y="74"/>
                    </a:cxn>
                    <a:cxn ang="0">
                      <a:pos x="30" y="76"/>
                    </a:cxn>
                    <a:cxn ang="0">
                      <a:pos x="31" y="91"/>
                    </a:cxn>
                    <a:cxn ang="0">
                      <a:pos x="31" y="45"/>
                    </a:cxn>
                  </a:cxnLst>
                  <a:rect l="0" t="0" r="r" b="b"/>
                  <a:pathLst>
                    <a:path w="102" h="105">
                      <a:moveTo>
                        <a:pt x="31" y="41"/>
                      </a:moveTo>
                      <a:cubicBezTo>
                        <a:pt x="12" y="42"/>
                        <a:pt x="0" y="55"/>
                        <a:pt x="2" y="74"/>
                      </a:cubicBezTo>
                      <a:cubicBezTo>
                        <a:pt x="10" y="72"/>
                        <a:pt x="22" y="77"/>
                        <a:pt x="30" y="76"/>
                      </a:cubicBezTo>
                      <a:cubicBezTo>
                        <a:pt x="30" y="80"/>
                        <a:pt x="31" y="86"/>
                        <a:pt x="31" y="91"/>
                      </a:cubicBezTo>
                      <a:cubicBezTo>
                        <a:pt x="102" y="105"/>
                        <a:pt x="90" y="0"/>
                        <a:pt x="31" y="45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3" name="Freeform 84"/>
                <p:cNvSpPr>
                  <a:spLocks/>
                </p:cNvSpPr>
                <p:nvPr/>
              </p:nvSpPr>
              <p:spPr bwMode="gray">
                <a:xfrm>
                  <a:off x="-1651000" y="249238"/>
                  <a:ext cx="1304925" cy="495300"/>
                </a:xfrm>
                <a:custGeom>
                  <a:avLst/>
                  <a:gdLst/>
                  <a:ahLst/>
                  <a:cxnLst>
                    <a:cxn ang="0">
                      <a:pos x="315" y="16"/>
                    </a:cxn>
                    <a:cxn ang="0">
                      <a:pos x="146" y="79"/>
                    </a:cxn>
                    <a:cxn ang="0">
                      <a:pos x="0" y="131"/>
                    </a:cxn>
                    <a:cxn ang="0">
                      <a:pos x="167" y="32"/>
                    </a:cxn>
                    <a:cxn ang="0">
                      <a:pos x="252" y="4"/>
                    </a:cxn>
                    <a:cxn ang="0">
                      <a:pos x="299" y="26"/>
                    </a:cxn>
                    <a:cxn ang="0">
                      <a:pos x="307" y="38"/>
                    </a:cxn>
                  </a:cxnLst>
                  <a:rect l="0" t="0" r="r" b="b"/>
                  <a:pathLst>
                    <a:path w="348" h="132">
                      <a:moveTo>
                        <a:pt x="315" y="16"/>
                      </a:moveTo>
                      <a:cubicBezTo>
                        <a:pt x="238" y="16"/>
                        <a:pt x="205" y="34"/>
                        <a:pt x="146" y="79"/>
                      </a:cubicBezTo>
                      <a:cubicBezTo>
                        <a:pt x="99" y="115"/>
                        <a:pt x="61" y="132"/>
                        <a:pt x="0" y="131"/>
                      </a:cubicBezTo>
                      <a:cubicBezTo>
                        <a:pt x="58" y="101"/>
                        <a:pt x="117" y="75"/>
                        <a:pt x="167" y="32"/>
                      </a:cubicBezTo>
                      <a:cubicBezTo>
                        <a:pt x="196" y="8"/>
                        <a:pt x="212" y="9"/>
                        <a:pt x="252" y="4"/>
                      </a:cubicBezTo>
                      <a:cubicBezTo>
                        <a:pt x="264" y="2"/>
                        <a:pt x="348" y="0"/>
                        <a:pt x="299" y="26"/>
                      </a:cubicBezTo>
                      <a:cubicBezTo>
                        <a:pt x="301" y="29"/>
                        <a:pt x="305" y="33"/>
                        <a:pt x="307" y="38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4" name="Freeform 85"/>
                <p:cNvSpPr>
                  <a:spLocks/>
                </p:cNvSpPr>
                <p:nvPr/>
              </p:nvSpPr>
              <p:spPr bwMode="gray">
                <a:xfrm>
                  <a:off x="1000125" y="419100"/>
                  <a:ext cx="949325" cy="911225"/>
                </a:xfrm>
                <a:custGeom>
                  <a:avLst/>
                  <a:gdLst/>
                  <a:ahLst/>
                  <a:cxnLst>
                    <a:cxn ang="0">
                      <a:pos x="35" y="35"/>
                    </a:cxn>
                    <a:cxn ang="0">
                      <a:pos x="68" y="106"/>
                    </a:cxn>
                    <a:cxn ang="0">
                      <a:pos x="10" y="135"/>
                    </a:cxn>
                    <a:cxn ang="0">
                      <a:pos x="72" y="162"/>
                    </a:cxn>
                    <a:cxn ang="0">
                      <a:pos x="187" y="220"/>
                    </a:cxn>
                    <a:cxn ang="0">
                      <a:pos x="135" y="124"/>
                    </a:cxn>
                    <a:cxn ang="0">
                      <a:pos x="55" y="10"/>
                    </a:cxn>
                    <a:cxn ang="0">
                      <a:pos x="14" y="14"/>
                    </a:cxn>
                  </a:cxnLst>
                  <a:rect l="0" t="0" r="r" b="b"/>
                  <a:pathLst>
                    <a:path w="253" h="243">
                      <a:moveTo>
                        <a:pt x="35" y="35"/>
                      </a:moveTo>
                      <a:cubicBezTo>
                        <a:pt x="52" y="54"/>
                        <a:pt x="67" y="81"/>
                        <a:pt x="68" y="106"/>
                      </a:cubicBezTo>
                      <a:cubicBezTo>
                        <a:pt x="50" y="105"/>
                        <a:pt x="0" y="104"/>
                        <a:pt x="10" y="135"/>
                      </a:cubicBezTo>
                      <a:cubicBezTo>
                        <a:pt x="15" y="150"/>
                        <a:pt x="61" y="156"/>
                        <a:pt x="72" y="162"/>
                      </a:cubicBezTo>
                      <a:cubicBezTo>
                        <a:pt x="102" y="180"/>
                        <a:pt x="143" y="243"/>
                        <a:pt x="187" y="220"/>
                      </a:cubicBezTo>
                      <a:cubicBezTo>
                        <a:pt x="253" y="185"/>
                        <a:pt x="156" y="138"/>
                        <a:pt x="135" y="124"/>
                      </a:cubicBezTo>
                      <a:cubicBezTo>
                        <a:pt x="96" y="98"/>
                        <a:pt x="79" y="53"/>
                        <a:pt x="55" y="10"/>
                      </a:cubicBezTo>
                      <a:cubicBezTo>
                        <a:pt x="40" y="5"/>
                        <a:pt x="21" y="0"/>
                        <a:pt x="14" y="14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5" name="Freeform 86"/>
                <p:cNvSpPr>
                  <a:spLocks/>
                </p:cNvSpPr>
                <p:nvPr/>
              </p:nvSpPr>
              <p:spPr bwMode="gray">
                <a:xfrm>
                  <a:off x="47625" y="452438"/>
                  <a:ext cx="809625" cy="919163"/>
                </a:xfrm>
                <a:custGeom>
                  <a:avLst/>
                  <a:gdLst/>
                  <a:ahLst/>
                  <a:cxnLst>
                    <a:cxn ang="0">
                      <a:pos x="36" y="13"/>
                    </a:cxn>
                    <a:cxn ang="0">
                      <a:pos x="216" y="237"/>
                    </a:cxn>
                    <a:cxn ang="0">
                      <a:pos x="108" y="130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216" h="245">
                      <a:moveTo>
                        <a:pt x="36" y="13"/>
                      </a:moveTo>
                      <a:cubicBezTo>
                        <a:pt x="156" y="33"/>
                        <a:pt x="104" y="200"/>
                        <a:pt x="216" y="237"/>
                      </a:cubicBezTo>
                      <a:cubicBezTo>
                        <a:pt x="163" y="245"/>
                        <a:pt x="127" y="165"/>
                        <a:pt x="108" y="130"/>
                      </a:cubicBezTo>
                      <a:cubicBezTo>
                        <a:pt x="94" y="104"/>
                        <a:pt x="0" y="23"/>
                        <a:pt x="27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6" name="Freeform 87"/>
                <p:cNvSpPr>
                  <a:spLocks/>
                </p:cNvSpPr>
                <p:nvPr/>
              </p:nvSpPr>
              <p:spPr bwMode="gray">
                <a:xfrm>
                  <a:off x="1427163" y="1300163"/>
                  <a:ext cx="180975" cy="130175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2" y="3"/>
                    </a:cxn>
                    <a:cxn ang="0">
                      <a:pos x="43" y="31"/>
                    </a:cxn>
                    <a:cxn ang="0">
                      <a:pos x="47" y="7"/>
                    </a:cxn>
                    <a:cxn ang="0">
                      <a:pos x="35" y="2"/>
                    </a:cxn>
                  </a:cxnLst>
                  <a:rect l="0" t="0" r="r" b="b"/>
                  <a:pathLst>
                    <a:path w="48" h="35">
                      <a:moveTo>
                        <a:pt x="31" y="2"/>
                      </a:moveTo>
                      <a:cubicBezTo>
                        <a:pt x="22" y="0"/>
                        <a:pt x="10" y="2"/>
                        <a:pt x="2" y="3"/>
                      </a:cubicBezTo>
                      <a:cubicBezTo>
                        <a:pt x="0" y="27"/>
                        <a:pt x="21" y="35"/>
                        <a:pt x="43" y="31"/>
                      </a:cubicBezTo>
                      <a:cubicBezTo>
                        <a:pt x="47" y="24"/>
                        <a:pt x="48" y="16"/>
                        <a:pt x="47" y="7"/>
                      </a:cubicBezTo>
                      <a:cubicBezTo>
                        <a:pt x="40" y="9"/>
                        <a:pt x="38" y="4"/>
                        <a:pt x="35" y="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7" name="Freeform 88"/>
                <p:cNvSpPr>
                  <a:spLocks/>
                </p:cNvSpPr>
                <p:nvPr/>
              </p:nvSpPr>
              <p:spPr bwMode="gray">
                <a:xfrm>
                  <a:off x="614363" y="265113"/>
                  <a:ext cx="280988" cy="330200"/>
                </a:xfrm>
                <a:custGeom>
                  <a:avLst/>
                  <a:gdLst/>
                  <a:ahLst/>
                  <a:cxnLst>
                    <a:cxn ang="0">
                      <a:pos x="62" y="4"/>
                    </a:cxn>
                    <a:cxn ang="0">
                      <a:pos x="41" y="5"/>
                    </a:cxn>
                    <a:cxn ang="0">
                      <a:pos x="53" y="88"/>
                    </a:cxn>
                    <a:cxn ang="0">
                      <a:pos x="50" y="38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75" h="88">
                      <a:moveTo>
                        <a:pt x="62" y="4"/>
                      </a:moveTo>
                      <a:cubicBezTo>
                        <a:pt x="56" y="3"/>
                        <a:pt x="48" y="4"/>
                        <a:pt x="41" y="5"/>
                      </a:cubicBezTo>
                      <a:cubicBezTo>
                        <a:pt x="46" y="28"/>
                        <a:pt x="0" y="86"/>
                        <a:pt x="53" y="88"/>
                      </a:cubicBezTo>
                      <a:cubicBezTo>
                        <a:pt x="56" y="71"/>
                        <a:pt x="53" y="53"/>
                        <a:pt x="50" y="38"/>
                      </a:cubicBezTo>
                      <a:cubicBezTo>
                        <a:pt x="72" y="33"/>
                        <a:pt x="75" y="13"/>
                        <a:pt x="58" y="0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8" name="Freeform 89"/>
                <p:cNvSpPr>
                  <a:spLocks/>
                </p:cNvSpPr>
                <p:nvPr/>
              </p:nvSpPr>
              <p:spPr bwMode="gray">
                <a:xfrm>
                  <a:off x="-2847975" y="-150812"/>
                  <a:ext cx="1328738" cy="963613"/>
                </a:xfrm>
                <a:custGeom>
                  <a:avLst/>
                  <a:gdLst/>
                  <a:ahLst/>
                  <a:cxnLst>
                    <a:cxn ang="0">
                      <a:pos x="39" y="233"/>
                    </a:cxn>
                    <a:cxn ang="0">
                      <a:pos x="179" y="201"/>
                    </a:cxn>
                    <a:cxn ang="0">
                      <a:pos x="271" y="132"/>
                    </a:cxn>
                    <a:cxn ang="0">
                      <a:pos x="259" y="131"/>
                    </a:cxn>
                    <a:cxn ang="0">
                      <a:pos x="329" y="23"/>
                    </a:cxn>
                    <a:cxn ang="0">
                      <a:pos x="230" y="112"/>
                    </a:cxn>
                    <a:cxn ang="0">
                      <a:pos x="98" y="195"/>
                    </a:cxn>
                    <a:cxn ang="0">
                      <a:pos x="27" y="217"/>
                    </a:cxn>
                    <a:cxn ang="0">
                      <a:pos x="52" y="242"/>
                    </a:cxn>
                  </a:cxnLst>
                  <a:rect l="0" t="0" r="r" b="b"/>
                  <a:pathLst>
                    <a:path w="354" h="257">
                      <a:moveTo>
                        <a:pt x="39" y="233"/>
                      </a:moveTo>
                      <a:cubicBezTo>
                        <a:pt x="93" y="233"/>
                        <a:pt x="133" y="229"/>
                        <a:pt x="179" y="201"/>
                      </a:cubicBezTo>
                      <a:cubicBezTo>
                        <a:pt x="210" y="182"/>
                        <a:pt x="274" y="175"/>
                        <a:pt x="271" y="132"/>
                      </a:cubicBezTo>
                      <a:cubicBezTo>
                        <a:pt x="267" y="131"/>
                        <a:pt x="263" y="132"/>
                        <a:pt x="259" y="131"/>
                      </a:cubicBezTo>
                      <a:cubicBezTo>
                        <a:pt x="257" y="108"/>
                        <a:pt x="354" y="52"/>
                        <a:pt x="329" y="23"/>
                      </a:cubicBezTo>
                      <a:cubicBezTo>
                        <a:pt x="310" y="0"/>
                        <a:pt x="240" y="96"/>
                        <a:pt x="230" y="112"/>
                      </a:cubicBezTo>
                      <a:cubicBezTo>
                        <a:pt x="199" y="158"/>
                        <a:pt x="149" y="179"/>
                        <a:pt x="98" y="195"/>
                      </a:cubicBezTo>
                      <a:cubicBezTo>
                        <a:pt x="80" y="201"/>
                        <a:pt x="40" y="205"/>
                        <a:pt x="27" y="217"/>
                      </a:cubicBezTo>
                      <a:cubicBezTo>
                        <a:pt x="0" y="241"/>
                        <a:pt x="21" y="257"/>
                        <a:pt x="52" y="242"/>
                      </a:cubicBezTo>
                    </a:path>
                  </a:pathLst>
                </a:custGeom>
                <a:solidFill>
                  <a:srgbClr val="DEE2E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59" name="Freeform 90"/>
                <p:cNvSpPr>
                  <a:spLocks/>
                </p:cNvSpPr>
                <p:nvPr/>
              </p:nvSpPr>
              <p:spPr bwMode="gray">
                <a:xfrm>
                  <a:off x="-3046413" y="-11569700"/>
                  <a:ext cx="4418013" cy="12044363"/>
                </a:xfrm>
                <a:custGeom>
                  <a:avLst/>
                  <a:gdLst/>
                  <a:ahLst/>
                  <a:cxnLst>
                    <a:cxn ang="0">
                      <a:pos x="55" y="151"/>
                    </a:cxn>
                    <a:cxn ang="0">
                      <a:pos x="78" y="281"/>
                    </a:cxn>
                    <a:cxn ang="0">
                      <a:pos x="37" y="382"/>
                    </a:cxn>
                    <a:cxn ang="0">
                      <a:pos x="33" y="686"/>
                    </a:cxn>
                    <a:cxn ang="0">
                      <a:pos x="72" y="1082"/>
                    </a:cxn>
                    <a:cxn ang="0">
                      <a:pos x="100" y="1473"/>
                    </a:cxn>
                    <a:cxn ang="0">
                      <a:pos x="203" y="2087"/>
                    </a:cxn>
                    <a:cxn ang="0">
                      <a:pos x="268" y="2377"/>
                    </a:cxn>
                    <a:cxn ang="0">
                      <a:pos x="331" y="2676"/>
                    </a:cxn>
                    <a:cxn ang="0">
                      <a:pos x="331" y="2712"/>
                    </a:cxn>
                    <a:cxn ang="0">
                      <a:pos x="360" y="2865"/>
                    </a:cxn>
                    <a:cxn ang="0">
                      <a:pos x="398" y="3028"/>
                    </a:cxn>
                    <a:cxn ang="0">
                      <a:pos x="465" y="3046"/>
                    </a:cxn>
                    <a:cxn ang="0">
                      <a:pos x="551" y="3097"/>
                    </a:cxn>
                    <a:cxn ang="0">
                      <a:pos x="746" y="3164"/>
                    </a:cxn>
                    <a:cxn ang="0">
                      <a:pos x="765" y="2895"/>
                    </a:cxn>
                    <a:cxn ang="0">
                      <a:pos x="699" y="2595"/>
                    </a:cxn>
                    <a:cxn ang="0">
                      <a:pos x="664" y="2318"/>
                    </a:cxn>
                    <a:cxn ang="0">
                      <a:pos x="668" y="2009"/>
                    </a:cxn>
                    <a:cxn ang="0">
                      <a:pos x="635" y="1824"/>
                    </a:cxn>
                    <a:cxn ang="0">
                      <a:pos x="658" y="1638"/>
                    </a:cxn>
                    <a:cxn ang="0">
                      <a:pos x="613" y="1458"/>
                    </a:cxn>
                    <a:cxn ang="0">
                      <a:pos x="614" y="1261"/>
                    </a:cxn>
                    <a:cxn ang="0">
                      <a:pos x="681" y="1356"/>
                    </a:cxn>
                    <a:cxn ang="0">
                      <a:pos x="699" y="1501"/>
                    </a:cxn>
                    <a:cxn ang="0">
                      <a:pos x="742" y="1767"/>
                    </a:cxn>
                    <a:cxn ang="0">
                      <a:pos x="709" y="2110"/>
                    </a:cxn>
                    <a:cxn ang="0">
                      <a:pos x="720" y="2437"/>
                    </a:cxn>
                    <a:cxn ang="0">
                      <a:pos x="708" y="2657"/>
                    </a:cxn>
                    <a:cxn ang="0">
                      <a:pos x="681" y="2858"/>
                    </a:cxn>
                    <a:cxn ang="0">
                      <a:pos x="761" y="3062"/>
                    </a:cxn>
                    <a:cxn ang="0">
                      <a:pos x="888" y="3206"/>
                    </a:cxn>
                    <a:cxn ang="0">
                      <a:pos x="1108" y="3109"/>
                    </a:cxn>
                    <a:cxn ang="0">
                      <a:pos x="1125" y="2843"/>
                    </a:cxn>
                    <a:cxn ang="0">
                      <a:pos x="1125" y="2765"/>
                    </a:cxn>
                    <a:cxn ang="0">
                      <a:pos x="1108" y="2702"/>
                    </a:cxn>
                    <a:cxn ang="0">
                      <a:pos x="1148" y="2578"/>
                    </a:cxn>
                    <a:cxn ang="0">
                      <a:pos x="1148" y="2229"/>
                    </a:cxn>
                    <a:cxn ang="0">
                      <a:pos x="1153" y="2071"/>
                    </a:cxn>
                    <a:cxn ang="0">
                      <a:pos x="1125" y="1914"/>
                    </a:cxn>
                    <a:cxn ang="0">
                      <a:pos x="1148" y="1587"/>
                    </a:cxn>
                    <a:cxn ang="0">
                      <a:pos x="1142" y="1282"/>
                    </a:cxn>
                    <a:cxn ang="0">
                      <a:pos x="1153" y="1092"/>
                    </a:cxn>
                    <a:cxn ang="0">
                      <a:pos x="1125" y="911"/>
                    </a:cxn>
                    <a:cxn ang="0">
                      <a:pos x="1107" y="541"/>
                    </a:cxn>
                    <a:cxn ang="0">
                      <a:pos x="1024" y="168"/>
                    </a:cxn>
                    <a:cxn ang="0">
                      <a:pos x="731" y="17"/>
                    </a:cxn>
                    <a:cxn ang="0">
                      <a:pos x="152" y="79"/>
                    </a:cxn>
                    <a:cxn ang="0">
                      <a:pos x="72" y="151"/>
                    </a:cxn>
                  </a:cxnLst>
                  <a:rect l="0" t="0" r="r" b="b"/>
                  <a:pathLst>
                    <a:path w="1178" h="3212">
                      <a:moveTo>
                        <a:pt x="55" y="151"/>
                      </a:moveTo>
                      <a:cubicBezTo>
                        <a:pt x="49" y="196"/>
                        <a:pt x="81" y="231"/>
                        <a:pt x="78" y="281"/>
                      </a:cubicBezTo>
                      <a:cubicBezTo>
                        <a:pt x="75" y="326"/>
                        <a:pt x="52" y="346"/>
                        <a:pt x="37" y="382"/>
                      </a:cubicBezTo>
                      <a:cubicBezTo>
                        <a:pt x="0" y="468"/>
                        <a:pt x="24" y="594"/>
                        <a:pt x="33" y="686"/>
                      </a:cubicBezTo>
                      <a:cubicBezTo>
                        <a:pt x="45" y="819"/>
                        <a:pt x="58" y="950"/>
                        <a:pt x="72" y="1082"/>
                      </a:cubicBezTo>
                      <a:cubicBezTo>
                        <a:pt x="86" y="1213"/>
                        <a:pt x="107" y="1338"/>
                        <a:pt x="100" y="1473"/>
                      </a:cubicBezTo>
                      <a:cubicBezTo>
                        <a:pt x="90" y="1687"/>
                        <a:pt x="167" y="1885"/>
                        <a:pt x="203" y="2087"/>
                      </a:cubicBezTo>
                      <a:cubicBezTo>
                        <a:pt x="221" y="2184"/>
                        <a:pt x="253" y="2275"/>
                        <a:pt x="268" y="2377"/>
                      </a:cubicBezTo>
                      <a:cubicBezTo>
                        <a:pt x="282" y="2471"/>
                        <a:pt x="342" y="2574"/>
                        <a:pt x="331" y="2676"/>
                      </a:cubicBezTo>
                      <a:cubicBezTo>
                        <a:pt x="330" y="2688"/>
                        <a:pt x="331" y="2700"/>
                        <a:pt x="331" y="2712"/>
                      </a:cubicBezTo>
                      <a:cubicBezTo>
                        <a:pt x="268" y="2741"/>
                        <a:pt x="351" y="2832"/>
                        <a:pt x="360" y="2865"/>
                      </a:cubicBezTo>
                      <a:cubicBezTo>
                        <a:pt x="375" y="2925"/>
                        <a:pt x="339" y="2982"/>
                        <a:pt x="398" y="3028"/>
                      </a:cubicBezTo>
                      <a:cubicBezTo>
                        <a:pt x="420" y="3045"/>
                        <a:pt x="440" y="3037"/>
                        <a:pt x="465" y="3046"/>
                      </a:cubicBezTo>
                      <a:cubicBezTo>
                        <a:pt x="487" y="3054"/>
                        <a:pt x="527" y="3085"/>
                        <a:pt x="551" y="3097"/>
                      </a:cubicBezTo>
                      <a:cubicBezTo>
                        <a:pt x="609" y="3126"/>
                        <a:pt x="681" y="3156"/>
                        <a:pt x="746" y="3164"/>
                      </a:cubicBezTo>
                      <a:cubicBezTo>
                        <a:pt x="725" y="3072"/>
                        <a:pt x="773" y="2987"/>
                        <a:pt x="765" y="2895"/>
                      </a:cubicBezTo>
                      <a:cubicBezTo>
                        <a:pt x="757" y="2795"/>
                        <a:pt x="726" y="2690"/>
                        <a:pt x="699" y="2595"/>
                      </a:cubicBezTo>
                      <a:cubicBezTo>
                        <a:pt x="673" y="2503"/>
                        <a:pt x="654" y="2417"/>
                        <a:pt x="664" y="2318"/>
                      </a:cubicBezTo>
                      <a:cubicBezTo>
                        <a:pt x="673" y="2225"/>
                        <a:pt x="695" y="2102"/>
                        <a:pt x="668" y="2009"/>
                      </a:cubicBezTo>
                      <a:cubicBezTo>
                        <a:pt x="650" y="1949"/>
                        <a:pt x="625" y="1893"/>
                        <a:pt x="635" y="1824"/>
                      </a:cubicBezTo>
                      <a:cubicBezTo>
                        <a:pt x="646" y="1757"/>
                        <a:pt x="672" y="1710"/>
                        <a:pt x="658" y="1638"/>
                      </a:cubicBezTo>
                      <a:cubicBezTo>
                        <a:pt x="645" y="1572"/>
                        <a:pt x="613" y="1532"/>
                        <a:pt x="613" y="1458"/>
                      </a:cubicBezTo>
                      <a:cubicBezTo>
                        <a:pt x="613" y="1392"/>
                        <a:pt x="610" y="1326"/>
                        <a:pt x="614" y="1261"/>
                      </a:cubicBezTo>
                      <a:cubicBezTo>
                        <a:pt x="645" y="1296"/>
                        <a:pt x="669" y="1309"/>
                        <a:pt x="681" y="1356"/>
                      </a:cubicBezTo>
                      <a:cubicBezTo>
                        <a:pt x="693" y="1402"/>
                        <a:pt x="692" y="1455"/>
                        <a:pt x="699" y="1501"/>
                      </a:cubicBezTo>
                      <a:cubicBezTo>
                        <a:pt x="712" y="1593"/>
                        <a:pt x="742" y="1668"/>
                        <a:pt x="742" y="1767"/>
                      </a:cubicBezTo>
                      <a:cubicBezTo>
                        <a:pt x="742" y="1887"/>
                        <a:pt x="727" y="1996"/>
                        <a:pt x="709" y="2110"/>
                      </a:cubicBezTo>
                      <a:cubicBezTo>
                        <a:pt x="692" y="2218"/>
                        <a:pt x="720" y="2327"/>
                        <a:pt x="720" y="2437"/>
                      </a:cubicBezTo>
                      <a:cubicBezTo>
                        <a:pt x="720" y="2509"/>
                        <a:pt x="719" y="2585"/>
                        <a:pt x="708" y="2657"/>
                      </a:cubicBezTo>
                      <a:cubicBezTo>
                        <a:pt x="698" y="2726"/>
                        <a:pt x="676" y="2784"/>
                        <a:pt x="681" y="2858"/>
                      </a:cubicBezTo>
                      <a:cubicBezTo>
                        <a:pt x="685" y="2936"/>
                        <a:pt x="733" y="2993"/>
                        <a:pt x="761" y="3062"/>
                      </a:cubicBezTo>
                      <a:cubicBezTo>
                        <a:pt x="779" y="3106"/>
                        <a:pt x="832" y="3212"/>
                        <a:pt x="888" y="3206"/>
                      </a:cubicBezTo>
                      <a:cubicBezTo>
                        <a:pt x="920" y="3108"/>
                        <a:pt x="1051" y="3169"/>
                        <a:pt x="1108" y="3109"/>
                      </a:cubicBezTo>
                      <a:cubicBezTo>
                        <a:pt x="1178" y="3035"/>
                        <a:pt x="1133" y="2934"/>
                        <a:pt x="1125" y="2843"/>
                      </a:cubicBezTo>
                      <a:cubicBezTo>
                        <a:pt x="1123" y="2817"/>
                        <a:pt x="1129" y="2790"/>
                        <a:pt x="1125" y="2765"/>
                      </a:cubicBezTo>
                      <a:cubicBezTo>
                        <a:pt x="1122" y="2744"/>
                        <a:pt x="1107" y="2723"/>
                        <a:pt x="1108" y="2702"/>
                      </a:cubicBezTo>
                      <a:cubicBezTo>
                        <a:pt x="1111" y="2665"/>
                        <a:pt x="1139" y="2616"/>
                        <a:pt x="1148" y="2578"/>
                      </a:cubicBezTo>
                      <a:cubicBezTo>
                        <a:pt x="1175" y="2463"/>
                        <a:pt x="1153" y="2350"/>
                        <a:pt x="1148" y="2229"/>
                      </a:cubicBezTo>
                      <a:cubicBezTo>
                        <a:pt x="1145" y="2175"/>
                        <a:pt x="1151" y="2124"/>
                        <a:pt x="1153" y="2071"/>
                      </a:cubicBezTo>
                      <a:cubicBezTo>
                        <a:pt x="1156" y="2014"/>
                        <a:pt x="1131" y="1968"/>
                        <a:pt x="1125" y="1914"/>
                      </a:cubicBezTo>
                      <a:cubicBezTo>
                        <a:pt x="1112" y="1802"/>
                        <a:pt x="1143" y="1694"/>
                        <a:pt x="1148" y="1587"/>
                      </a:cubicBezTo>
                      <a:cubicBezTo>
                        <a:pt x="1153" y="1484"/>
                        <a:pt x="1137" y="1386"/>
                        <a:pt x="1142" y="1282"/>
                      </a:cubicBezTo>
                      <a:cubicBezTo>
                        <a:pt x="1145" y="1218"/>
                        <a:pt x="1154" y="1157"/>
                        <a:pt x="1153" y="1092"/>
                      </a:cubicBezTo>
                      <a:cubicBezTo>
                        <a:pt x="1153" y="1028"/>
                        <a:pt x="1131" y="969"/>
                        <a:pt x="1125" y="911"/>
                      </a:cubicBezTo>
                      <a:cubicBezTo>
                        <a:pt x="1114" y="786"/>
                        <a:pt x="1151" y="664"/>
                        <a:pt x="1107" y="541"/>
                      </a:cubicBezTo>
                      <a:cubicBezTo>
                        <a:pt x="1063" y="418"/>
                        <a:pt x="1051" y="297"/>
                        <a:pt x="1024" y="168"/>
                      </a:cubicBezTo>
                      <a:cubicBezTo>
                        <a:pt x="1000" y="52"/>
                        <a:pt x="839" y="26"/>
                        <a:pt x="731" y="17"/>
                      </a:cubicBezTo>
                      <a:cubicBezTo>
                        <a:pt x="534" y="0"/>
                        <a:pt x="335" y="29"/>
                        <a:pt x="152" y="79"/>
                      </a:cubicBezTo>
                      <a:cubicBezTo>
                        <a:pt x="146" y="114"/>
                        <a:pt x="107" y="143"/>
                        <a:pt x="72" y="151"/>
                      </a:cubicBezTo>
                    </a:path>
                  </a:pathLst>
                </a:custGeom>
                <a:solidFill>
                  <a:srgbClr val="585C5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0" name="Freeform 91"/>
                <p:cNvSpPr>
                  <a:spLocks/>
                </p:cNvSpPr>
                <p:nvPr/>
              </p:nvSpPr>
              <p:spPr bwMode="gray">
                <a:xfrm>
                  <a:off x="-2055813" y="-18129250"/>
                  <a:ext cx="1924050" cy="2647950"/>
                </a:xfrm>
                <a:custGeom>
                  <a:avLst/>
                  <a:gdLst/>
                  <a:ahLst/>
                  <a:cxnLst>
                    <a:cxn ang="0">
                      <a:pos x="122" y="205"/>
                    </a:cxn>
                    <a:cxn ang="0">
                      <a:pos x="141" y="437"/>
                    </a:cxn>
                    <a:cxn ang="0">
                      <a:pos x="214" y="683"/>
                    </a:cxn>
                    <a:cxn ang="0">
                      <a:pos x="488" y="510"/>
                    </a:cxn>
                    <a:cxn ang="0">
                      <a:pos x="407" y="124"/>
                    </a:cxn>
                    <a:cxn ang="0">
                      <a:pos x="143" y="184"/>
                    </a:cxn>
                  </a:cxnLst>
                  <a:rect l="0" t="0" r="r" b="b"/>
                  <a:pathLst>
                    <a:path w="513" h="706">
                      <a:moveTo>
                        <a:pt x="122" y="205"/>
                      </a:moveTo>
                      <a:cubicBezTo>
                        <a:pt x="137" y="280"/>
                        <a:pt x="146" y="354"/>
                        <a:pt x="141" y="437"/>
                      </a:cubicBezTo>
                      <a:cubicBezTo>
                        <a:pt x="0" y="522"/>
                        <a:pt x="74" y="660"/>
                        <a:pt x="214" y="683"/>
                      </a:cubicBezTo>
                      <a:cubicBezTo>
                        <a:pt x="351" y="706"/>
                        <a:pt x="455" y="646"/>
                        <a:pt x="488" y="510"/>
                      </a:cubicBezTo>
                      <a:cubicBezTo>
                        <a:pt x="513" y="407"/>
                        <a:pt x="455" y="214"/>
                        <a:pt x="407" y="124"/>
                      </a:cubicBezTo>
                      <a:cubicBezTo>
                        <a:pt x="342" y="0"/>
                        <a:pt x="146" y="43"/>
                        <a:pt x="143" y="18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1" name="Freeform 92"/>
                <p:cNvSpPr>
                  <a:spLocks/>
                </p:cNvSpPr>
                <p:nvPr/>
              </p:nvSpPr>
              <p:spPr bwMode="gray">
                <a:xfrm>
                  <a:off x="-409575" y="-17097375"/>
                  <a:ext cx="157163" cy="258763"/>
                </a:xfrm>
                <a:custGeom>
                  <a:avLst/>
                  <a:gdLst/>
                  <a:ahLst/>
                  <a:cxnLst>
                    <a:cxn ang="0">
                      <a:pos x="20" y="45"/>
                    </a:cxn>
                    <a:cxn ang="0">
                      <a:pos x="42" y="69"/>
                    </a:cxn>
                    <a:cxn ang="0">
                      <a:pos x="37" y="42"/>
                    </a:cxn>
                    <a:cxn ang="0">
                      <a:pos x="26" y="12"/>
                    </a:cxn>
                    <a:cxn ang="0">
                      <a:pos x="14" y="4"/>
                    </a:cxn>
                    <a:cxn ang="0">
                      <a:pos x="5" y="17"/>
                    </a:cxn>
                    <a:cxn ang="0">
                      <a:pos x="18" y="45"/>
                    </a:cxn>
                  </a:cxnLst>
                  <a:rect l="0" t="0" r="r" b="b"/>
                  <a:pathLst>
                    <a:path w="42" h="69">
                      <a:moveTo>
                        <a:pt x="20" y="45"/>
                      </a:moveTo>
                      <a:cubicBezTo>
                        <a:pt x="26" y="51"/>
                        <a:pt x="34" y="66"/>
                        <a:pt x="42" y="69"/>
                      </a:cubicBezTo>
                      <a:cubicBezTo>
                        <a:pt x="42" y="59"/>
                        <a:pt x="39" y="51"/>
                        <a:pt x="37" y="42"/>
                      </a:cubicBezTo>
                      <a:cubicBezTo>
                        <a:pt x="34" y="29"/>
                        <a:pt x="30" y="22"/>
                        <a:pt x="26" y="12"/>
                      </a:cubicBezTo>
                      <a:cubicBezTo>
                        <a:pt x="22" y="5"/>
                        <a:pt x="22" y="0"/>
                        <a:pt x="14" y="4"/>
                      </a:cubicBezTo>
                      <a:cubicBezTo>
                        <a:pt x="11" y="5"/>
                        <a:pt x="6" y="14"/>
                        <a:pt x="5" y="17"/>
                      </a:cubicBezTo>
                      <a:cubicBezTo>
                        <a:pt x="0" y="32"/>
                        <a:pt x="16" y="37"/>
                        <a:pt x="18" y="4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2" name="Freeform 93"/>
                <p:cNvSpPr>
                  <a:spLocks/>
                </p:cNvSpPr>
                <p:nvPr/>
              </p:nvSpPr>
              <p:spPr bwMode="gray">
                <a:xfrm>
                  <a:off x="-1587500" y="-17067212"/>
                  <a:ext cx="1296988" cy="7683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" y="45"/>
                    </a:cxn>
                    <a:cxn ang="0">
                      <a:pos x="45" y="97"/>
                    </a:cxn>
                    <a:cxn ang="0">
                      <a:pos x="125" y="177"/>
                    </a:cxn>
                    <a:cxn ang="0">
                      <a:pos x="246" y="190"/>
                    </a:cxn>
                    <a:cxn ang="0">
                      <a:pos x="346" y="14"/>
                    </a:cxn>
                  </a:cxnLst>
                  <a:rect l="0" t="0" r="r" b="b"/>
                  <a:pathLst>
                    <a:path w="346" h="205">
                      <a:moveTo>
                        <a:pt x="0" y="0"/>
                      </a:moveTo>
                      <a:cubicBezTo>
                        <a:pt x="7" y="19"/>
                        <a:pt x="13" y="29"/>
                        <a:pt x="23" y="45"/>
                      </a:cubicBezTo>
                      <a:cubicBezTo>
                        <a:pt x="33" y="62"/>
                        <a:pt x="33" y="82"/>
                        <a:pt x="45" y="97"/>
                      </a:cubicBezTo>
                      <a:cubicBezTo>
                        <a:pt x="70" y="127"/>
                        <a:pt x="87" y="157"/>
                        <a:pt x="125" y="177"/>
                      </a:cubicBezTo>
                      <a:cubicBezTo>
                        <a:pt x="150" y="191"/>
                        <a:pt x="216" y="205"/>
                        <a:pt x="246" y="190"/>
                      </a:cubicBezTo>
                      <a:cubicBezTo>
                        <a:pt x="303" y="163"/>
                        <a:pt x="346" y="38"/>
                        <a:pt x="346" y="14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3" name="Freeform 94"/>
                <p:cNvSpPr>
                  <a:spLocks/>
                </p:cNvSpPr>
                <p:nvPr/>
              </p:nvSpPr>
              <p:spPr bwMode="gray">
                <a:xfrm>
                  <a:off x="-2055813" y="-19629437"/>
                  <a:ext cx="2047875" cy="3203575"/>
                </a:xfrm>
                <a:custGeom>
                  <a:avLst/>
                  <a:gdLst/>
                  <a:ahLst/>
                  <a:cxnLst>
                    <a:cxn ang="0">
                      <a:pos x="48" y="367"/>
                    </a:cxn>
                    <a:cxn ang="0">
                      <a:pos x="1" y="422"/>
                    </a:cxn>
                    <a:cxn ang="0">
                      <a:pos x="43" y="495"/>
                    </a:cxn>
                    <a:cxn ang="0">
                      <a:pos x="63" y="525"/>
                    </a:cxn>
                    <a:cxn ang="0">
                      <a:pos x="76" y="578"/>
                    </a:cxn>
                    <a:cxn ang="0">
                      <a:pos x="132" y="702"/>
                    </a:cxn>
                    <a:cxn ang="0">
                      <a:pos x="171" y="746"/>
                    </a:cxn>
                    <a:cxn ang="0">
                      <a:pos x="251" y="827"/>
                    </a:cxn>
                    <a:cxn ang="0">
                      <a:pos x="372" y="840"/>
                    </a:cxn>
                    <a:cxn ang="0">
                      <a:pos x="473" y="692"/>
                    </a:cxn>
                    <a:cxn ang="0">
                      <a:pos x="511" y="599"/>
                    </a:cxn>
                    <a:cxn ang="0">
                      <a:pos x="529" y="410"/>
                    </a:cxn>
                    <a:cxn ang="0">
                      <a:pos x="372" y="60"/>
                    </a:cxn>
                    <a:cxn ang="0">
                      <a:pos x="112" y="89"/>
                    </a:cxn>
                    <a:cxn ang="0">
                      <a:pos x="40" y="216"/>
                    </a:cxn>
                    <a:cxn ang="0">
                      <a:pos x="48" y="367"/>
                    </a:cxn>
                  </a:cxnLst>
                  <a:rect l="0" t="0" r="r" b="b"/>
                  <a:pathLst>
                    <a:path w="546" h="854">
                      <a:moveTo>
                        <a:pt x="48" y="367"/>
                      </a:moveTo>
                      <a:cubicBezTo>
                        <a:pt x="6" y="358"/>
                        <a:pt x="2" y="391"/>
                        <a:pt x="1" y="422"/>
                      </a:cubicBezTo>
                      <a:cubicBezTo>
                        <a:pt x="0" y="467"/>
                        <a:pt x="17" y="469"/>
                        <a:pt x="43" y="495"/>
                      </a:cubicBezTo>
                      <a:cubicBezTo>
                        <a:pt x="51" y="503"/>
                        <a:pt x="54" y="517"/>
                        <a:pt x="63" y="525"/>
                      </a:cubicBezTo>
                      <a:cubicBezTo>
                        <a:pt x="75" y="534"/>
                        <a:pt x="67" y="564"/>
                        <a:pt x="76" y="578"/>
                      </a:cubicBezTo>
                      <a:cubicBezTo>
                        <a:pt x="92" y="600"/>
                        <a:pt x="122" y="686"/>
                        <a:pt x="132" y="702"/>
                      </a:cubicBezTo>
                      <a:cubicBezTo>
                        <a:pt x="142" y="719"/>
                        <a:pt x="159" y="731"/>
                        <a:pt x="171" y="746"/>
                      </a:cubicBezTo>
                      <a:cubicBezTo>
                        <a:pt x="196" y="777"/>
                        <a:pt x="213" y="806"/>
                        <a:pt x="251" y="827"/>
                      </a:cubicBezTo>
                      <a:cubicBezTo>
                        <a:pt x="277" y="840"/>
                        <a:pt x="342" y="854"/>
                        <a:pt x="372" y="840"/>
                      </a:cubicBezTo>
                      <a:cubicBezTo>
                        <a:pt x="400" y="826"/>
                        <a:pt x="464" y="716"/>
                        <a:pt x="473" y="692"/>
                      </a:cubicBezTo>
                      <a:cubicBezTo>
                        <a:pt x="485" y="660"/>
                        <a:pt x="498" y="628"/>
                        <a:pt x="511" y="599"/>
                      </a:cubicBezTo>
                      <a:cubicBezTo>
                        <a:pt x="537" y="542"/>
                        <a:pt x="521" y="470"/>
                        <a:pt x="529" y="410"/>
                      </a:cubicBezTo>
                      <a:cubicBezTo>
                        <a:pt x="546" y="285"/>
                        <a:pt x="466" y="132"/>
                        <a:pt x="372" y="60"/>
                      </a:cubicBezTo>
                      <a:cubicBezTo>
                        <a:pt x="294" y="0"/>
                        <a:pt x="170" y="12"/>
                        <a:pt x="112" y="89"/>
                      </a:cubicBezTo>
                      <a:cubicBezTo>
                        <a:pt x="88" y="120"/>
                        <a:pt x="55" y="179"/>
                        <a:pt x="40" y="216"/>
                      </a:cubicBezTo>
                      <a:cubicBezTo>
                        <a:pt x="28" y="248"/>
                        <a:pt x="1" y="298"/>
                        <a:pt x="48" y="36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4" name="Freeform 95"/>
                <p:cNvSpPr>
                  <a:spLocks/>
                </p:cNvSpPr>
                <p:nvPr/>
              </p:nvSpPr>
              <p:spPr bwMode="gray">
                <a:xfrm>
                  <a:off x="-3870325" y="-16865596"/>
                  <a:ext cx="5691179" cy="6361109"/>
                </a:xfrm>
                <a:custGeom>
                  <a:avLst/>
                  <a:gdLst/>
                  <a:ahLst/>
                  <a:cxnLst>
                    <a:cxn ang="0">
                      <a:pos x="568" y="110"/>
                    </a:cxn>
                    <a:cxn ang="0">
                      <a:pos x="365" y="239"/>
                    </a:cxn>
                    <a:cxn ang="0">
                      <a:pos x="185" y="357"/>
                    </a:cxn>
                    <a:cxn ang="0">
                      <a:pos x="67" y="567"/>
                    </a:cxn>
                    <a:cxn ang="0">
                      <a:pos x="74" y="680"/>
                    </a:cxn>
                    <a:cxn ang="0">
                      <a:pos x="62" y="820"/>
                    </a:cxn>
                    <a:cxn ang="0">
                      <a:pos x="5" y="1011"/>
                    </a:cxn>
                    <a:cxn ang="0">
                      <a:pos x="16" y="1237"/>
                    </a:cxn>
                    <a:cxn ang="0">
                      <a:pos x="101" y="1406"/>
                    </a:cxn>
                    <a:cxn ang="0">
                      <a:pos x="264" y="1417"/>
                    </a:cxn>
                    <a:cxn ang="0">
                      <a:pos x="276" y="1591"/>
                    </a:cxn>
                    <a:cxn ang="0">
                      <a:pos x="731" y="1681"/>
                    </a:cxn>
                    <a:cxn ang="0">
                      <a:pos x="968" y="1655"/>
                    </a:cxn>
                    <a:cxn ang="0">
                      <a:pos x="1154" y="1631"/>
                    </a:cxn>
                    <a:cxn ang="0">
                      <a:pos x="1283" y="1569"/>
                    </a:cxn>
                    <a:cxn ang="0">
                      <a:pos x="1447" y="1147"/>
                    </a:cxn>
                    <a:cxn ang="0">
                      <a:pos x="1509" y="617"/>
                    </a:cxn>
                    <a:cxn ang="0">
                      <a:pos x="1492" y="398"/>
                    </a:cxn>
                    <a:cxn ang="0">
                      <a:pos x="1417" y="202"/>
                    </a:cxn>
                    <a:cxn ang="0">
                      <a:pos x="1014" y="53"/>
                    </a:cxn>
                    <a:cxn ang="0">
                      <a:pos x="745" y="222"/>
                    </a:cxn>
                    <a:cxn ang="0">
                      <a:pos x="608" y="70"/>
                    </a:cxn>
                    <a:cxn ang="0">
                      <a:pos x="535" y="133"/>
                    </a:cxn>
                  </a:cxnLst>
                  <a:rect l="0" t="0" r="r" b="b"/>
                  <a:pathLst>
                    <a:path w="1518" h="1696">
                      <a:moveTo>
                        <a:pt x="568" y="110"/>
                      </a:moveTo>
                      <a:cubicBezTo>
                        <a:pt x="491" y="130"/>
                        <a:pt x="436" y="199"/>
                        <a:pt x="365" y="239"/>
                      </a:cubicBezTo>
                      <a:cubicBezTo>
                        <a:pt x="303" y="273"/>
                        <a:pt x="246" y="311"/>
                        <a:pt x="185" y="357"/>
                      </a:cubicBezTo>
                      <a:cubicBezTo>
                        <a:pt x="127" y="401"/>
                        <a:pt x="49" y="492"/>
                        <a:pt x="67" y="567"/>
                      </a:cubicBezTo>
                      <a:cubicBezTo>
                        <a:pt x="79" y="619"/>
                        <a:pt x="85" y="626"/>
                        <a:pt x="74" y="680"/>
                      </a:cubicBezTo>
                      <a:cubicBezTo>
                        <a:pt x="65" y="726"/>
                        <a:pt x="69" y="773"/>
                        <a:pt x="62" y="820"/>
                      </a:cubicBezTo>
                      <a:cubicBezTo>
                        <a:pt x="52" y="884"/>
                        <a:pt x="11" y="945"/>
                        <a:pt x="5" y="1011"/>
                      </a:cubicBezTo>
                      <a:cubicBezTo>
                        <a:pt x="0" y="1079"/>
                        <a:pt x="9" y="1168"/>
                        <a:pt x="16" y="1237"/>
                      </a:cubicBezTo>
                      <a:cubicBezTo>
                        <a:pt x="22" y="1288"/>
                        <a:pt x="46" y="1388"/>
                        <a:pt x="101" y="1406"/>
                      </a:cubicBezTo>
                      <a:cubicBezTo>
                        <a:pt x="173" y="1429"/>
                        <a:pt x="202" y="1362"/>
                        <a:pt x="264" y="1417"/>
                      </a:cubicBezTo>
                      <a:cubicBezTo>
                        <a:pt x="255" y="1448"/>
                        <a:pt x="169" y="1479"/>
                        <a:pt x="276" y="1591"/>
                      </a:cubicBezTo>
                      <a:cubicBezTo>
                        <a:pt x="319" y="1637"/>
                        <a:pt x="670" y="1696"/>
                        <a:pt x="731" y="1681"/>
                      </a:cubicBezTo>
                      <a:cubicBezTo>
                        <a:pt x="804" y="1663"/>
                        <a:pt x="915" y="1665"/>
                        <a:pt x="968" y="1655"/>
                      </a:cubicBezTo>
                      <a:cubicBezTo>
                        <a:pt x="1014" y="1646"/>
                        <a:pt x="1154" y="1630"/>
                        <a:pt x="1154" y="1631"/>
                      </a:cubicBezTo>
                      <a:cubicBezTo>
                        <a:pt x="1151" y="1611"/>
                        <a:pt x="1278" y="1590"/>
                        <a:pt x="1283" y="1569"/>
                      </a:cubicBezTo>
                      <a:cubicBezTo>
                        <a:pt x="1362" y="1451"/>
                        <a:pt x="1355" y="1386"/>
                        <a:pt x="1447" y="1147"/>
                      </a:cubicBezTo>
                      <a:cubicBezTo>
                        <a:pt x="1509" y="985"/>
                        <a:pt x="1518" y="806"/>
                        <a:pt x="1509" y="617"/>
                      </a:cubicBezTo>
                      <a:cubicBezTo>
                        <a:pt x="1505" y="543"/>
                        <a:pt x="1492" y="476"/>
                        <a:pt x="1492" y="398"/>
                      </a:cubicBezTo>
                      <a:cubicBezTo>
                        <a:pt x="1492" y="311"/>
                        <a:pt x="1485" y="256"/>
                        <a:pt x="1417" y="202"/>
                      </a:cubicBezTo>
                      <a:cubicBezTo>
                        <a:pt x="1308" y="115"/>
                        <a:pt x="1156" y="67"/>
                        <a:pt x="1014" y="53"/>
                      </a:cubicBezTo>
                      <a:cubicBezTo>
                        <a:pt x="988" y="0"/>
                        <a:pt x="813" y="250"/>
                        <a:pt x="745" y="222"/>
                      </a:cubicBezTo>
                      <a:cubicBezTo>
                        <a:pt x="667" y="189"/>
                        <a:pt x="574" y="100"/>
                        <a:pt x="608" y="70"/>
                      </a:cubicBezTo>
                      <a:cubicBezTo>
                        <a:pt x="588" y="98"/>
                        <a:pt x="551" y="100"/>
                        <a:pt x="535" y="133"/>
                      </a:cubicBezTo>
                    </a:path>
                  </a:pathLst>
                </a:custGeom>
                <a:solidFill>
                  <a:srgbClr val="DAE3E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5" name="Freeform 96"/>
                <p:cNvSpPr>
                  <a:spLocks/>
                </p:cNvSpPr>
                <p:nvPr/>
              </p:nvSpPr>
              <p:spPr bwMode="gray">
                <a:xfrm>
                  <a:off x="-577850" y="-16665575"/>
                  <a:ext cx="1341438" cy="857250"/>
                </a:xfrm>
                <a:custGeom>
                  <a:avLst/>
                  <a:gdLst/>
                  <a:ahLst/>
                  <a:cxnLst>
                    <a:cxn ang="0">
                      <a:pos x="97" y="0"/>
                    </a:cxn>
                    <a:cxn ang="0">
                      <a:pos x="303" y="60"/>
                    </a:cxn>
                    <a:cxn ang="0">
                      <a:pos x="358" y="106"/>
                    </a:cxn>
                    <a:cxn ang="0">
                      <a:pos x="203" y="76"/>
                    </a:cxn>
                    <a:cxn ang="0">
                      <a:pos x="136" y="173"/>
                    </a:cxn>
                    <a:cxn ang="0">
                      <a:pos x="21" y="223"/>
                    </a:cxn>
                    <a:cxn ang="0">
                      <a:pos x="58" y="105"/>
                    </a:cxn>
                    <a:cxn ang="0">
                      <a:pos x="131" y="13"/>
                    </a:cxn>
                  </a:cxnLst>
                  <a:rect l="0" t="0" r="r" b="b"/>
                  <a:pathLst>
                    <a:path w="358" h="229">
                      <a:moveTo>
                        <a:pt x="97" y="0"/>
                      </a:moveTo>
                      <a:cubicBezTo>
                        <a:pt x="155" y="28"/>
                        <a:pt x="241" y="50"/>
                        <a:pt x="303" y="60"/>
                      </a:cubicBezTo>
                      <a:cubicBezTo>
                        <a:pt x="315" y="77"/>
                        <a:pt x="339" y="97"/>
                        <a:pt x="358" y="106"/>
                      </a:cubicBezTo>
                      <a:cubicBezTo>
                        <a:pt x="309" y="97"/>
                        <a:pt x="254" y="70"/>
                        <a:pt x="203" y="76"/>
                      </a:cubicBezTo>
                      <a:cubicBezTo>
                        <a:pt x="136" y="84"/>
                        <a:pt x="190" y="147"/>
                        <a:pt x="136" y="173"/>
                      </a:cubicBezTo>
                      <a:cubicBezTo>
                        <a:pt x="106" y="119"/>
                        <a:pt x="62" y="229"/>
                        <a:pt x="21" y="223"/>
                      </a:cubicBezTo>
                      <a:cubicBezTo>
                        <a:pt x="0" y="173"/>
                        <a:pt x="31" y="144"/>
                        <a:pt x="58" y="105"/>
                      </a:cubicBezTo>
                      <a:cubicBezTo>
                        <a:pt x="76" y="79"/>
                        <a:pt x="92" y="8"/>
                        <a:pt x="131" y="1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6" name="Freeform 97"/>
                <p:cNvSpPr>
                  <a:spLocks/>
                </p:cNvSpPr>
                <p:nvPr/>
              </p:nvSpPr>
              <p:spPr bwMode="gray">
                <a:xfrm>
                  <a:off x="-1238250" y="-13482637"/>
                  <a:ext cx="390525" cy="850900"/>
                </a:xfrm>
                <a:custGeom>
                  <a:avLst/>
                  <a:gdLst/>
                  <a:ahLst/>
                  <a:cxnLst>
                    <a:cxn ang="0">
                      <a:pos x="79" y="17"/>
                    </a:cxn>
                    <a:cxn ang="0">
                      <a:pos x="3" y="131"/>
                    </a:cxn>
                    <a:cxn ang="0">
                      <a:pos x="45" y="227"/>
                    </a:cxn>
                    <a:cxn ang="0">
                      <a:pos x="99" y="21"/>
                    </a:cxn>
                    <a:cxn ang="0">
                      <a:pos x="87" y="0"/>
                    </a:cxn>
                  </a:cxnLst>
                  <a:rect l="0" t="0" r="r" b="b"/>
                  <a:pathLst>
                    <a:path w="104" h="227">
                      <a:moveTo>
                        <a:pt x="79" y="17"/>
                      </a:moveTo>
                      <a:cubicBezTo>
                        <a:pt x="44" y="66"/>
                        <a:pt x="6" y="63"/>
                        <a:pt x="3" y="131"/>
                      </a:cubicBezTo>
                      <a:cubicBezTo>
                        <a:pt x="0" y="185"/>
                        <a:pt x="11" y="194"/>
                        <a:pt x="45" y="227"/>
                      </a:cubicBezTo>
                      <a:cubicBezTo>
                        <a:pt x="42" y="170"/>
                        <a:pt x="3" y="39"/>
                        <a:pt x="99" y="21"/>
                      </a:cubicBezTo>
                      <a:cubicBezTo>
                        <a:pt x="104" y="6"/>
                        <a:pt x="97" y="5"/>
                        <a:pt x="87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7" name="Freeform 98"/>
                <p:cNvSpPr>
                  <a:spLocks/>
                </p:cNvSpPr>
                <p:nvPr/>
              </p:nvSpPr>
              <p:spPr bwMode="gray">
                <a:xfrm>
                  <a:off x="-3536950" y="-14465300"/>
                  <a:ext cx="738188" cy="492125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197" y="131"/>
                    </a:cxn>
                    <a:cxn ang="0">
                      <a:pos x="84" y="73"/>
                    </a:cxn>
                    <a:cxn ang="0">
                      <a:pos x="12" y="5"/>
                    </a:cxn>
                    <a:cxn ang="0">
                      <a:pos x="41" y="5"/>
                    </a:cxn>
                  </a:cxnLst>
                  <a:rect l="0" t="0" r="r" b="b"/>
                  <a:pathLst>
                    <a:path w="197" h="131">
                      <a:moveTo>
                        <a:pt x="12" y="0"/>
                      </a:moveTo>
                      <a:cubicBezTo>
                        <a:pt x="72" y="19"/>
                        <a:pt x="176" y="59"/>
                        <a:pt x="197" y="131"/>
                      </a:cubicBezTo>
                      <a:cubicBezTo>
                        <a:pt x="156" y="116"/>
                        <a:pt x="123" y="90"/>
                        <a:pt x="84" y="73"/>
                      </a:cubicBezTo>
                      <a:cubicBezTo>
                        <a:pt x="54" y="61"/>
                        <a:pt x="0" y="51"/>
                        <a:pt x="12" y="5"/>
                      </a:cubicBezTo>
                      <a:cubicBezTo>
                        <a:pt x="21" y="4"/>
                        <a:pt x="33" y="2"/>
                        <a:pt x="41" y="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8" name="Freeform 99"/>
                <p:cNvSpPr>
                  <a:spLocks/>
                </p:cNvSpPr>
                <p:nvPr/>
              </p:nvSpPr>
              <p:spPr bwMode="gray">
                <a:xfrm>
                  <a:off x="-2806700" y="-10966450"/>
                  <a:ext cx="3787775" cy="825500"/>
                </a:xfrm>
                <a:custGeom>
                  <a:avLst/>
                  <a:gdLst/>
                  <a:ahLst/>
                  <a:cxnLst>
                    <a:cxn ang="0">
                      <a:pos x="37" y="13"/>
                    </a:cxn>
                    <a:cxn ang="0">
                      <a:pos x="132" y="45"/>
                    </a:cxn>
                    <a:cxn ang="0">
                      <a:pos x="245" y="69"/>
                    </a:cxn>
                    <a:cxn ang="0">
                      <a:pos x="470" y="86"/>
                    </a:cxn>
                    <a:cxn ang="0">
                      <a:pos x="735" y="69"/>
                    </a:cxn>
                    <a:cxn ang="0">
                      <a:pos x="976" y="37"/>
                    </a:cxn>
                    <a:cxn ang="0">
                      <a:pos x="986" y="148"/>
                    </a:cxn>
                    <a:cxn ang="0">
                      <a:pos x="842" y="187"/>
                    </a:cxn>
                    <a:cxn ang="0">
                      <a:pos x="577" y="215"/>
                    </a:cxn>
                    <a:cxn ang="0">
                      <a:pos x="311" y="194"/>
                    </a:cxn>
                    <a:cxn ang="0">
                      <a:pos x="183" y="159"/>
                    </a:cxn>
                    <a:cxn ang="0">
                      <a:pos x="29" y="121"/>
                    </a:cxn>
                    <a:cxn ang="0">
                      <a:pos x="14" y="120"/>
                    </a:cxn>
                    <a:cxn ang="0">
                      <a:pos x="3" y="24"/>
                    </a:cxn>
                  </a:cxnLst>
                  <a:rect l="0" t="0" r="r" b="b"/>
                  <a:pathLst>
                    <a:path w="1010" h="220">
                      <a:moveTo>
                        <a:pt x="37" y="13"/>
                      </a:moveTo>
                      <a:cubicBezTo>
                        <a:pt x="73" y="16"/>
                        <a:pt x="98" y="32"/>
                        <a:pt x="132" y="45"/>
                      </a:cubicBezTo>
                      <a:cubicBezTo>
                        <a:pt x="171" y="59"/>
                        <a:pt x="206" y="60"/>
                        <a:pt x="245" y="69"/>
                      </a:cubicBezTo>
                      <a:cubicBezTo>
                        <a:pt x="317" y="84"/>
                        <a:pt x="391" y="82"/>
                        <a:pt x="470" y="86"/>
                      </a:cubicBezTo>
                      <a:cubicBezTo>
                        <a:pt x="563" y="90"/>
                        <a:pt x="652" y="100"/>
                        <a:pt x="735" y="69"/>
                      </a:cubicBezTo>
                      <a:cubicBezTo>
                        <a:pt x="797" y="46"/>
                        <a:pt x="909" y="0"/>
                        <a:pt x="976" y="37"/>
                      </a:cubicBezTo>
                      <a:cubicBezTo>
                        <a:pt x="975" y="87"/>
                        <a:pt x="1010" y="114"/>
                        <a:pt x="986" y="148"/>
                      </a:cubicBezTo>
                      <a:cubicBezTo>
                        <a:pt x="970" y="172"/>
                        <a:pt x="869" y="180"/>
                        <a:pt x="842" y="187"/>
                      </a:cubicBezTo>
                      <a:cubicBezTo>
                        <a:pt x="756" y="211"/>
                        <a:pt x="672" y="215"/>
                        <a:pt x="577" y="215"/>
                      </a:cubicBezTo>
                      <a:cubicBezTo>
                        <a:pt x="485" y="215"/>
                        <a:pt x="395" y="220"/>
                        <a:pt x="311" y="194"/>
                      </a:cubicBezTo>
                      <a:cubicBezTo>
                        <a:pt x="267" y="180"/>
                        <a:pt x="226" y="169"/>
                        <a:pt x="183" y="159"/>
                      </a:cubicBezTo>
                      <a:cubicBezTo>
                        <a:pt x="140" y="150"/>
                        <a:pt x="67" y="141"/>
                        <a:pt x="29" y="121"/>
                      </a:cubicBezTo>
                      <a:cubicBezTo>
                        <a:pt x="18" y="115"/>
                        <a:pt x="26" y="124"/>
                        <a:pt x="14" y="120"/>
                      </a:cubicBezTo>
                      <a:cubicBezTo>
                        <a:pt x="9" y="91"/>
                        <a:pt x="0" y="52"/>
                        <a:pt x="3" y="24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69" name="Freeform 100"/>
                <p:cNvSpPr>
                  <a:spLocks/>
                </p:cNvSpPr>
                <p:nvPr/>
              </p:nvSpPr>
              <p:spPr bwMode="gray">
                <a:xfrm>
                  <a:off x="-1778000" y="-10768012"/>
                  <a:ext cx="884238" cy="638175"/>
                </a:xfrm>
                <a:custGeom>
                  <a:avLst/>
                  <a:gdLst/>
                  <a:ahLst/>
                  <a:cxnLst>
                    <a:cxn ang="0">
                      <a:pos x="32" y="131"/>
                    </a:cxn>
                    <a:cxn ang="0">
                      <a:pos x="170" y="141"/>
                    </a:cxn>
                    <a:cxn ang="0">
                      <a:pos x="184" y="39"/>
                    </a:cxn>
                    <a:cxn ang="0">
                      <a:pos x="137" y="26"/>
                    </a:cxn>
                    <a:cxn ang="0">
                      <a:pos x="206" y="20"/>
                    </a:cxn>
                    <a:cxn ang="0">
                      <a:pos x="198" y="152"/>
                    </a:cxn>
                    <a:cxn ang="0">
                      <a:pos x="156" y="168"/>
                    </a:cxn>
                    <a:cxn ang="0">
                      <a:pos x="13" y="151"/>
                    </a:cxn>
                    <a:cxn ang="0">
                      <a:pos x="12" y="40"/>
                    </a:cxn>
                    <a:cxn ang="0">
                      <a:pos x="156" y="13"/>
                    </a:cxn>
                    <a:cxn ang="0">
                      <a:pos x="141" y="37"/>
                    </a:cxn>
                    <a:cxn ang="0">
                      <a:pos x="37" y="61"/>
                    </a:cxn>
                  </a:cxnLst>
                  <a:rect l="0" t="0" r="r" b="b"/>
                  <a:pathLst>
                    <a:path w="236" h="170">
                      <a:moveTo>
                        <a:pt x="32" y="131"/>
                      </a:moveTo>
                      <a:cubicBezTo>
                        <a:pt x="61" y="144"/>
                        <a:pt x="154" y="156"/>
                        <a:pt x="170" y="141"/>
                      </a:cubicBezTo>
                      <a:cubicBezTo>
                        <a:pt x="171" y="124"/>
                        <a:pt x="186" y="58"/>
                        <a:pt x="184" y="39"/>
                      </a:cubicBezTo>
                      <a:cubicBezTo>
                        <a:pt x="164" y="29"/>
                        <a:pt x="137" y="52"/>
                        <a:pt x="137" y="26"/>
                      </a:cubicBezTo>
                      <a:cubicBezTo>
                        <a:pt x="137" y="2"/>
                        <a:pt x="198" y="20"/>
                        <a:pt x="206" y="20"/>
                      </a:cubicBezTo>
                      <a:cubicBezTo>
                        <a:pt x="236" y="20"/>
                        <a:pt x="202" y="124"/>
                        <a:pt x="198" y="152"/>
                      </a:cubicBezTo>
                      <a:cubicBezTo>
                        <a:pt x="195" y="170"/>
                        <a:pt x="180" y="166"/>
                        <a:pt x="156" y="168"/>
                      </a:cubicBezTo>
                      <a:cubicBezTo>
                        <a:pt x="123" y="169"/>
                        <a:pt x="46" y="162"/>
                        <a:pt x="13" y="151"/>
                      </a:cubicBezTo>
                      <a:cubicBezTo>
                        <a:pt x="0" y="147"/>
                        <a:pt x="2" y="88"/>
                        <a:pt x="12" y="40"/>
                      </a:cubicBezTo>
                      <a:cubicBezTo>
                        <a:pt x="20" y="0"/>
                        <a:pt x="123" y="20"/>
                        <a:pt x="156" y="13"/>
                      </a:cubicBezTo>
                      <a:cubicBezTo>
                        <a:pt x="172" y="10"/>
                        <a:pt x="143" y="23"/>
                        <a:pt x="141" y="37"/>
                      </a:cubicBezTo>
                      <a:cubicBezTo>
                        <a:pt x="124" y="38"/>
                        <a:pt x="30" y="30"/>
                        <a:pt x="37" y="61"/>
                      </a:cubicBezTo>
                    </a:path>
                  </a:pathLst>
                </a:custGeom>
                <a:solidFill>
                  <a:srgbClr val="DBDCD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0" name="Freeform 101"/>
                <p:cNvSpPr>
                  <a:spLocks/>
                </p:cNvSpPr>
                <p:nvPr/>
              </p:nvSpPr>
              <p:spPr bwMode="gray">
                <a:xfrm>
                  <a:off x="-2228850" y="-19711987"/>
                  <a:ext cx="2320925" cy="2089150"/>
                </a:xfrm>
                <a:custGeom>
                  <a:avLst/>
                  <a:gdLst/>
                  <a:ahLst/>
                  <a:cxnLst>
                    <a:cxn ang="0">
                      <a:pos x="111" y="540"/>
                    </a:cxn>
                    <a:cxn ang="0">
                      <a:pos x="94" y="541"/>
                    </a:cxn>
                    <a:cxn ang="0">
                      <a:pos x="81" y="432"/>
                    </a:cxn>
                    <a:cxn ang="0">
                      <a:pos x="67" y="390"/>
                    </a:cxn>
                    <a:cxn ang="0">
                      <a:pos x="33" y="348"/>
                    </a:cxn>
                    <a:cxn ang="0">
                      <a:pos x="81" y="145"/>
                    </a:cxn>
                    <a:cxn ang="0">
                      <a:pos x="48" y="144"/>
                    </a:cxn>
                    <a:cxn ang="0">
                      <a:pos x="131" y="76"/>
                    </a:cxn>
                    <a:cxn ang="0">
                      <a:pos x="115" y="57"/>
                    </a:cxn>
                    <a:cxn ang="0">
                      <a:pos x="190" y="34"/>
                    </a:cxn>
                    <a:cxn ang="0">
                      <a:pos x="263" y="1"/>
                    </a:cxn>
                    <a:cxn ang="0">
                      <a:pos x="426" y="51"/>
                    </a:cxn>
                    <a:cxn ang="0">
                      <a:pos x="428" y="27"/>
                    </a:cxn>
                    <a:cxn ang="0">
                      <a:pos x="469" y="77"/>
                    </a:cxn>
                    <a:cxn ang="0">
                      <a:pos x="530" y="110"/>
                    </a:cxn>
                    <a:cxn ang="0">
                      <a:pos x="596" y="229"/>
                    </a:cxn>
                    <a:cxn ang="0">
                      <a:pos x="608" y="388"/>
                    </a:cxn>
                    <a:cxn ang="0">
                      <a:pos x="572" y="557"/>
                    </a:cxn>
                    <a:cxn ang="0">
                      <a:pos x="546" y="457"/>
                    </a:cxn>
                    <a:cxn ang="0">
                      <a:pos x="550" y="313"/>
                    </a:cxn>
                    <a:cxn ang="0">
                      <a:pos x="482" y="216"/>
                    </a:cxn>
                    <a:cxn ang="0">
                      <a:pos x="348" y="216"/>
                    </a:cxn>
                    <a:cxn ang="0">
                      <a:pos x="327" y="191"/>
                    </a:cxn>
                    <a:cxn ang="0">
                      <a:pos x="334" y="228"/>
                    </a:cxn>
                    <a:cxn ang="0">
                      <a:pos x="250" y="188"/>
                    </a:cxn>
                    <a:cxn ang="0">
                      <a:pos x="179" y="230"/>
                    </a:cxn>
                    <a:cxn ang="0">
                      <a:pos x="127" y="322"/>
                    </a:cxn>
                    <a:cxn ang="0">
                      <a:pos x="123" y="377"/>
                    </a:cxn>
                    <a:cxn ang="0">
                      <a:pos x="111" y="426"/>
                    </a:cxn>
                    <a:cxn ang="0">
                      <a:pos x="111" y="540"/>
                    </a:cxn>
                  </a:cxnLst>
                  <a:rect l="0" t="0" r="r" b="b"/>
                  <a:pathLst>
                    <a:path w="619" h="557">
                      <a:moveTo>
                        <a:pt x="111" y="540"/>
                      </a:moveTo>
                      <a:cubicBezTo>
                        <a:pt x="85" y="549"/>
                        <a:pt x="102" y="543"/>
                        <a:pt x="94" y="541"/>
                      </a:cubicBezTo>
                      <a:cubicBezTo>
                        <a:pt x="82" y="499"/>
                        <a:pt x="79" y="474"/>
                        <a:pt x="81" y="432"/>
                      </a:cubicBezTo>
                      <a:cubicBezTo>
                        <a:pt x="82" y="415"/>
                        <a:pt x="95" y="378"/>
                        <a:pt x="67" y="390"/>
                      </a:cubicBezTo>
                      <a:cubicBezTo>
                        <a:pt x="56" y="395"/>
                        <a:pt x="44" y="366"/>
                        <a:pt x="33" y="348"/>
                      </a:cubicBezTo>
                      <a:cubicBezTo>
                        <a:pt x="0" y="293"/>
                        <a:pt x="48" y="189"/>
                        <a:pt x="81" y="145"/>
                      </a:cubicBezTo>
                      <a:cubicBezTo>
                        <a:pt x="71" y="147"/>
                        <a:pt x="58" y="142"/>
                        <a:pt x="48" y="144"/>
                      </a:cubicBezTo>
                      <a:cubicBezTo>
                        <a:pt x="52" y="107"/>
                        <a:pt x="97" y="82"/>
                        <a:pt x="131" y="76"/>
                      </a:cubicBezTo>
                      <a:cubicBezTo>
                        <a:pt x="125" y="71"/>
                        <a:pt x="121" y="61"/>
                        <a:pt x="115" y="57"/>
                      </a:cubicBezTo>
                      <a:cubicBezTo>
                        <a:pt x="142" y="51"/>
                        <a:pt x="168" y="47"/>
                        <a:pt x="190" y="34"/>
                      </a:cubicBezTo>
                      <a:cubicBezTo>
                        <a:pt x="220" y="15"/>
                        <a:pt x="222" y="1"/>
                        <a:pt x="263" y="1"/>
                      </a:cubicBezTo>
                      <a:cubicBezTo>
                        <a:pt x="327" y="0"/>
                        <a:pt x="377" y="13"/>
                        <a:pt x="426" y="51"/>
                      </a:cubicBezTo>
                      <a:cubicBezTo>
                        <a:pt x="426" y="44"/>
                        <a:pt x="429" y="34"/>
                        <a:pt x="428" y="27"/>
                      </a:cubicBezTo>
                      <a:cubicBezTo>
                        <a:pt x="443" y="40"/>
                        <a:pt x="453" y="63"/>
                        <a:pt x="469" y="77"/>
                      </a:cubicBezTo>
                      <a:cubicBezTo>
                        <a:pt x="489" y="96"/>
                        <a:pt x="509" y="94"/>
                        <a:pt x="530" y="110"/>
                      </a:cubicBezTo>
                      <a:cubicBezTo>
                        <a:pt x="558" y="130"/>
                        <a:pt x="581" y="197"/>
                        <a:pt x="596" y="229"/>
                      </a:cubicBezTo>
                      <a:cubicBezTo>
                        <a:pt x="617" y="274"/>
                        <a:pt x="619" y="337"/>
                        <a:pt x="608" y="388"/>
                      </a:cubicBezTo>
                      <a:cubicBezTo>
                        <a:pt x="599" y="429"/>
                        <a:pt x="611" y="534"/>
                        <a:pt x="572" y="557"/>
                      </a:cubicBezTo>
                      <a:cubicBezTo>
                        <a:pt x="575" y="530"/>
                        <a:pt x="547" y="490"/>
                        <a:pt x="546" y="457"/>
                      </a:cubicBezTo>
                      <a:cubicBezTo>
                        <a:pt x="544" y="409"/>
                        <a:pt x="556" y="362"/>
                        <a:pt x="550" y="313"/>
                      </a:cubicBezTo>
                      <a:cubicBezTo>
                        <a:pt x="545" y="273"/>
                        <a:pt x="525" y="227"/>
                        <a:pt x="482" y="216"/>
                      </a:cubicBezTo>
                      <a:cubicBezTo>
                        <a:pt x="438" y="205"/>
                        <a:pt x="391" y="230"/>
                        <a:pt x="348" y="216"/>
                      </a:cubicBezTo>
                      <a:cubicBezTo>
                        <a:pt x="343" y="205"/>
                        <a:pt x="333" y="200"/>
                        <a:pt x="327" y="191"/>
                      </a:cubicBezTo>
                      <a:cubicBezTo>
                        <a:pt x="328" y="206"/>
                        <a:pt x="326" y="217"/>
                        <a:pt x="334" y="228"/>
                      </a:cubicBezTo>
                      <a:cubicBezTo>
                        <a:pt x="306" y="232"/>
                        <a:pt x="273" y="204"/>
                        <a:pt x="250" y="188"/>
                      </a:cubicBezTo>
                      <a:cubicBezTo>
                        <a:pt x="267" y="225"/>
                        <a:pt x="201" y="212"/>
                        <a:pt x="179" y="230"/>
                      </a:cubicBezTo>
                      <a:cubicBezTo>
                        <a:pt x="152" y="252"/>
                        <a:pt x="134" y="290"/>
                        <a:pt x="127" y="322"/>
                      </a:cubicBezTo>
                      <a:cubicBezTo>
                        <a:pt x="124" y="339"/>
                        <a:pt x="130" y="360"/>
                        <a:pt x="123" y="377"/>
                      </a:cubicBezTo>
                      <a:cubicBezTo>
                        <a:pt x="116" y="396"/>
                        <a:pt x="116" y="408"/>
                        <a:pt x="111" y="426"/>
                      </a:cubicBezTo>
                      <a:cubicBezTo>
                        <a:pt x="102" y="466"/>
                        <a:pt x="123" y="521"/>
                        <a:pt x="111" y="540"/>
                      </a:cubicBezTo>
                    </a:path>
                  </a:pathLst>
                </a:custGeom>
                <a:solidFill>
                  <a:srgbClr val="F4CF7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1" name="Freeform 102"/>
                <p:cNvSpPr>
                  <a:spLocks/>
                </p:cNvSpPr>
                <p:nvPr/>
              </p:nvSpPr>
              <p:spPr bwMode="gray">
                <a:xfrm>
                  <a:off x="-2928938" y="-12233275"/>
                  <a:ext cx="4244975" cy="1217613"/>
                </a:xfrm>
                <a:custGeom>
                  <a:avLst/>
                  <a:gdLst/>
                  <a:ahLst/>
                  <a:cxnLst>
                    <a:cxn ang="0">
                      <a:pos x="638" y="9"/>
                    </a:cxn>
                    <a:cxn ang="0">
                      <a:pos x="47" y="123"/>
                    </a:cxn>
                    <a:cxn ang="0">
                      <a:pos x="2" y="190"/>
                    </a:cxn>
                    <a:cxn ang="0">
                      <a:pos x="70" y="218"/>
                    </a:cxn>
                    <a:cxn ang="0">
                      <a:pos x="146" y="221"/>
                    </a:cxn>
                    <a:cxn ang="0">
                      <a:pos x="208" y="208"/>
                    </a:cxn>
                    <a:cxn ang="0">
                      <a:pos x="275" y="196"/>
                    </a:cxn>
                    <a:cxn ang="0">
                      <a:pos x="319" y="164"/>
                    </a:cxn>
                    <a:cxn ang="0">
                      <a:pos x="408" y="142"/>
                    </a:cxn>
                    <a:cxn ang="0">
                      <a:pos x="552" y="92"/>
                    </a:cxn>
                    <a:cxn ang="0">
                      <a:pos x="630" y="77"/>
                    </a:cxn>
                    <a:cxn ang="0">
                      <a:pos x="645" y="122"/>
                    </a:cxn>
                    <a:cxn ang="0">
                      <a:pos x="794" y="120"/>
                    </a:cxn>
                    <a:cxn ang="0">
                      <a:pos x="785" y="229"/>
                    </a:cxn>
                    <a:cxn ang="0">
                      <a:pos x="869" y="199"/>
                    </a:cxn>
                    <a:cxn ang="0">
                      <a:pos x="943" y="241"/>
                    </a:cxn>
                    <a:cxn ang="0">
                      <a:pos x="1008" y="325"/>
                    </a:cxn>
                    <a:cxn ang="0">
                      <a:pos x="1077" y="230"/>
                    </a:cxn>
                    <a:cxn ang="0">
                      <a:pos x="1107" y="121"/>
                    </a:cxn>
                    <a:cxn ang="0">
                      <a:pos x="661" y="15"/>
                    </a:cxn>
                  </a:cxnLst>
                  <a:rect l="0" t="0" r="r" b="b"/>
                  <a:pathLst>
                    <a:path w="1132" h="325">
                      <a:moveTo>
                        <a:pt x="638" y="9"/>
                      </a:moveTo>
                      <a:cubicBezTo>
                        <a:pt x="608" y="0"/>
                        <a:pt x="87" y="112"/>
                        <a:pt x="47" y="123"/>
                      </a:cubicBezTo>
                      <a:cubicBezTo>
                        <a:pt x="1" y="135"/>
                        <a:pt x="0" y="143"/>
                        <a:pt x="2" y="190"/>
                      </a:cubicBezTo>
                      <a:cubicBezTo>
                        <a:pt x="27" y="195"/>
                        <a:pt x="45" y="213"/>
                        <a:pt x="70" y="218"/>
                      </a:cubicBezTo>
                      <a:cubicBezTo>
                        <a:pt x="93" y="222"/>
                        <a:pt x="120" y="221"/>
                        <a:pt x="146" y="221"/>
                      </a:cubicBezTo>
                      <a:cubicBezTo>
                        <a:pt x="172" y="221"/>
                        <a:pt x="185" y="215"/>
                        <a:pt x="208" y="208"/>
                      </a:cubicBezTo>
                      <a:cubicBezTo>
                        <a:pt x="230" y="201"/>
                        <a:pt x="254" y="205"/>
                        <a:pt x="275" y="196"/>
                      </a:cubicBezTo>
                      <a:cubicBezTo>
                        <a:pt x="291" y="189"/>
                        <a:pt x="304" y="174"/>
                        <a:pt x="319" y="164"/>
                      </a:cubicBezTo>
                      <a:cubicBezTo>
                        <a:pt x="348" y="144"/>
                        <a:pt x="372" y="145"/>
                        <a:pt x="408" y="142"/>
                      </a:cubicBezTo>
                      <a:cubicBezTo>
                        <a:pt x="462" y="139"/>
                        <a:pt x="503" y="113"/>
                        <a:pt x="552" y="92"/>
                      </a:cubicBezTo>
                      <a:cubicBezTo>
                        <a:pt x="576" y="82"/>
                        <a:pt x="598" y="73"/>
                        <a:pt x="630" y="77"/>
                      </a:cubicBezTo>
                      <a:cubicBezTo>
                        <a:pt x="667" y="83"/>
                        <a:pt x="672" y="100"/>
                        <a:pt x="645" y="122"/>
                      </a:cubicBezTo>
                      <a:cubicBezTo>
                        <a:pt x="695" y="127"/>
                        <a:pt x="744" y="83"/>
                        <a:pt x="794" y="120"/>
                      </a:cubicBezTo>
                      <a:cubicBezTo>
                        <a:pt x="850" y="162"/>
                        <a:pt x="786" y="184"/>
                        <a:pt x="785" y="229"/>
                      </a:cubicBezTo>
                      <a:cubicBezTo>
                        <a:pt x="815" y="220"/>
                        <a:pt x="835" y="204"/>
                        <a:pt x="869" y="199"/>
                      </a:cubicBezTo>
                      <a:cubicBezTo>
                        <a:pt x="898" y="195"/>
                        <a:pt x="958" y="201"/>
                        <a:pt x="943" y="241"/>
                      </a:cubicBezTo>
                      <a:cubicBezTo>
                        <a:pt x="987" y="214"/>
                        <a:pt x="1045" y="292"/>
                        <a:pt x="1008" y="325"/>
                      </a:cubicBezTo>
                      <a:cubicBezTo>
                        <a:pt x="1040" y="304"/>
                        <a:pt x="1072" y="267"/>
                        <a:pt x="1077" y="230"/>
                      </a:cubicBezTo>
                      <a:cubicBezTo>
                        <a:pt x="1080" y="207"/>
                        <a:pt x="1132" y="121"/>
                        <a:pt x="1107" y="121"/>
                      </a:cubicBezTo>
                      <a:cubicBezTo>
                        <a:pt x="931" y="121"/>
                        <a:pt x="680" y="24"/>
                        <a:pt x="661" y="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2" name="Freeform 103"/>
                <p:cNvSpPr>
                  <a:spLocks/>
                </p:cNvSpPr>
                <p:nvPr/>
              </p:nvSpPr>
              <p:spPr bwMode="gray">
                <a:xfrm>
                  <a:off x="985838" y="-13890625"/>
                  <a:ext cx="704850" cy="1952625"/>
                </a:xfrm>
                <a:custGeom>
                  <a:avLst/>
                  <a:gdLst/>
                  <a:ahLst/>
                  <a:cxnLst>
                    <a:cxn ang="0">
                      <a:pos x="0" y="387"/>
                    </a:cxn>
                    <a:cxn ang="0">
                      <a:pos x="27" y="416"/>
                    </a:cxn>
                    <a:cxn ang="0">
                      <a:pos x="159" y="275"/>
                    </a:cxn>
                    <a:cxn ang="0">
                      <a:pos x="185" y="0"/>
                    </a:cxn>
                    <a:cxn ang="0">
                      <a:pos x="184" y="32"/>
                    </a:cxn>
                    <a:cxn ang="0">
                      <a:pos x="79" y="45"/>
                    </a:cxn>
                    <a:cxn ang="0">
                      <a:pos x="145" y="101"/>
                    </a:cxn>
                    <a:cxn ang="0">
                      <a:pos x="79" y="167"/>
                    </a:cxn>
                    <a:cxn ang="0">
                      <a:pos x="78" y="147"/>
                    </a:cxn>
                    <a:cxn ang="0">
                      <a:pos x="123" y="229"/>
                    </a:cxn>
                    <a:cxn ang="0">
                      <a:pos x="45" y="208"/>
                    </a:cxn>
                    <a:cxn ang="0">
                      <a:pos x="57" y="310"/>
                    </a:cxn>
                    <a:cxn ang="0">
                      <a:pos x="39" y="415"/>
                    </a:cxn>
                  </a:cxnLst>
                  <a:rect l="0" t="0" r="r" b="b"/>
                  <a:pathLst>
                    <a:path w="188" h="521">
                      <a:moveTo>
                        <a:pt x="0" y="387"/>
                      </a:moveTo>
                      <a:cubicBezTo>
                        <a:pt x="3" y="405"/>
                        <a:pt x="5" y="416"/>
                        <a:pt x="27" y="416"/>
                      </a:cubicBezTo>
                      <a:cubicBezTo>
                        <a:pt x="65" y="521"/>
                        <a:pt x="154" y="307"/>
                        <a:pt x="159" y="275"/>
                      </a:cubicBezTo>
                      <a:cubicBezTo>
                        <a:pt x="172" y="182"/>
                        <a:pt x="185" y="98"/>
                        <a:pt x="185" y="0"/>
                      </a:cubicBezTo>
                      <a:cubicBezTo>
                        <a:pt x="188" y="10"/>
                        <a:pt x="185" y="22"/>
                        <a:pt x="184" y="32"/>
                      </a:cubicBezTo>
                      <a:cubicBezTo>
                        <a:pt x="152" y="49"/>
                        <a:pt x="115" y="43"/>
                        <a:pt x="79" y="45"/>
                      </a:cubicBezTo>
                      <a:cubicBezTo>
                        <a:pt x="72" y="81"/>
                        <a:pt x="114" y="101"/>
                        <a:pt x="145" y="101"/>
                      </a:cubicBezTo>
                      <a:cubicBezTo>
                        <a:pt x="156" y="149"/>
                        <a:pt x="126" y="176"/>
                        <a:pt x="79" y="167"/>
                      </a:cubicBezTo>
                      <a:cubicBezTo>
                        <a:pt x="78" y="160"/>
                        <a:pt x="78" y="154"/>
                        <a:pt x="78" y="147"/>
                      </a:cubicBezTo>
                      <a:cubicBezTo>
                        <a:pt x="84" y="180"/>
                        <a:pt x="120" y="198"/>
                        <a:pt x="123" y="229"/>
                      </a:cubicBezTo>
                      <a:cubicBezTo>
                        <a:pt x="86" y="236"/>
                        <a:pt x="82" y="201"/>
                        <a:pt x="45" y="208"/>
                      </a:cubicBezTo>
                      <a:cubicBezTo>
                        <a:pt x="72" y="270"/>
                        <a:pt x="99" y="239"/>
                        <a:pt x="57" y="310"/>
                      </a:cubicBezTo>
                      <a:cubicBezTo>
                        <a:pt x="37" y="345"/>
                        <a:pt x="24" y="373"/>
                        <a:pt x="39" y="41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3" name="Freeform 104"/>
                <p:cNvSpPr>
                  <a:spLocks/>
                </p:cNvSpPr>
                <p:nvPr/>
              </p:nvSpPr>
              <p:spPr bwMode="gray">
                <a:xfrm>
                  <a:off x="-3746500" y="-11974512"/>
                  <a:ext cx="715963" cy="457200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91" y="8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1" h="122">
                      <a:moveTo>
                        <a:pt x="0" y="6"/>
                      </a:moveTo>
                      <a:cubicBezTo>
                        <a:pt x="46" y="112"/>
                        <a:pt x="71" y="122"/>
                        <a:pt x="191" y="83"/>
                      </a:cubicBezTo>
                      <a:cubicBezTo>
                        <a:pt x="131" y="41"/>
                        <a:pt x="34" y="99"/>
                        <a:pt x="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4" name="Freeform 105"/>
                <p:cNvSpPr>
                  <a:spLocks/>
                </p:cNvSpPr>
                <p:nvPr/>
              </p:nvSpPr>
              <p:spPr bwMode="gray">
                <a:xfrm>
                  <a:off x="798513" y="-15954375"/>
                  <a:ext cx="1109663" cy="1612900"/>
                </a:xfrm>
                <a:custGeom>
                  <a:avLst/>
                  <a:gdLst/>
                  <a:ahLst/>
                  <a:cxnLst>
                    <a:cxn ang="0">
                      <a:pos x="241" y="346"/>
                    </a:cxn>
                    <a:cxn ang="0">
                      <a:pos x="101" y="430"/>
                    </a:cxn>
                    <a:cxn ang="0">
                      <a:pos x="180" y="359"/>
                    </a:cxn>
                    <a:cxn ang="0">
                      <a:pos x="223" y="257"/>
                    </a:cxn>
                    <a:cxn ang="0">
                      <a:pos x="140" y="316"/>
                    </a:cxn>
                    <a:cxn ang="0">
                      <a:pos x="39" y="356"/>
                    </a:cxn>
                    <a:cxn ang="0">
                      <a:pos x="207" y="194"/>
                    </a:cxn>
                    <a:cxn ang="0">
                      <a:pos x="0" y="272"/>
                    </a:cxn>
                    <a:cxn ang="0">
                      <a:pos x="151" y="156"/>
                    </a:cxn>
                    <a:cxn ang="0">
                      <a:pos x="169" y="20"/>
                    </a:cxn>
                    <a:cxn ang="0">
                      <a:pos x="235" y="352"/>
                    </a:cxn>
                  </a:cxnLst>
                  <a:rect l="0" t="0" r="r" b="b"/>
                  <a:pathLst>
                    <a:path w="296" h="430">
                      <a:moveTo>
                        <a:pt x="241" y="346"/>
                      </a:moveTo>
                      <a:cubicBezTo>
                        <a:pt x="189" y="354"/>
                        <a:pt x="151" y="409"/>
                        <a:pt x="101" y="430"/>
                      </a:cubicBezTo>
                      <a:cubicBezTo>
                        <a:pt x="111" y="403"/>
                        <a:pt x="157" y="381"/>
                        <a:pt x="180" y="359"/>
                      </a:cubicBezTo>
                      <a:cubicBezTo>
                        <a:pt x="218" y="323"/>
                        <a:pt x="217" y="308"/>
                        <a:pt x="223" y="257"/>
                      </a:cubicBezTo>
                      <a:cubicBezTo>
                        <a:pt x="184" y="250"/>
                        <a:pt x="168" y="297"/>
                        <a:pt x="140" y="316"/>
                      </a:cubicBezTo>
                      <a:cubicBezTo>
                        <a:pt x="111" y="337"/>
                        <a:pt x="72" y="351"/>
                        <a:pt x="39" y="356"/>
                      </a:cubicBezTo>
                      <a:cubicBezTo>
                        <a:pt x="74" y="291"/>
                        <a:pt x="247" y="304"/>
                        <a:pt x="207" y="194"/>
                      </a:cubicBezTo>
                      <a:cubicBezTo>
                        <a:pt x="179" y="117"/>
                        <a:pt x="51" y="243"/>
                        <a:pt x="0" y="272"/>
                      </a:cubicBezTo>
                      <a:cubicBezTo>
                        <a:pt x="44" y="228"/>
                        <a:pt x="97" y="189"/>
                        <a:pt x="151" y="156"/>
                      </a:cubicBezTo>
                      <a:cubicBezTo>
                        <a:pt x="234" y="106"/>
                        <a:pt x="185" y="93"/>
                        <a:pt x="169" y="20"/>
                      </a:cubicBezTo>
                      <a:cubicBezTo>
                        <a:pt x="266" y="0"/>
                        <a:pt x="296" y="307"/>
                        <a:pt x="235" y="35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5" name="Freeform 106"/>
                <p:cNvSpPr>
                  <a:spLocks/>
                </p:cNvSpPr>
                <p:nvPr/>
              </p:nvSpPr>
              <p:spPr bwMode="gray">
                <a:xfrm>
                  <a:off x="-2224088" y="-12871450"/>
                  <a:ext cx="1916113" cy="985838"/>
                </a:xfrm>
                <a:custGeom>
                  <a:avLst/>
                  <a:gdLst/>
                  <a:ahLst/>
                  <a:cxnLst>
                    <a:cxn ang="0">
                      <a:pos x="45" y="8"/>
                    </a:cxn>
                    <a:cxn ang="0">
                      <a:pos x="249" y="97"/>
                    </a:cxn>
                    <a:cxn ang="0">
                      <a:pos x="511" y="195"/>
                    </a:cxn>
                    <a:cxn ang="0">
                      <a:pos x="394" y="176"/>
                    </a:cxn>
                    <a:cxn ang="0">
                      <a:pos x="252" y="117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511" h="263">
                      <a:moveTo>
                        <a:pt x="45" y="8"/>
                      </a:moveTo>
                      <a:cubicBezTo>
                        <a:pt x="120" y="0"/>
                        <a:pt x="186" y="70"/>
                        <a:pt x="249" y="97"/>
                      </a:cubicBezTo>
                      <a:cubicBezTo>
                        <a:pt x="327" y="130"/>
                        <a:pt x="427" y="177"/>
                        <a:pt x="511" y="195"/>
                      </a:cubicBezTo>
                      <a:cubicBezTo>
                        <a:pt x="494" y="263"/>
                        <a:pt x="420" y="190"/>
                        <a:pt x="394" y="176"/>
                      </a:cubicBezTo>
                      <a:cubicBezTo>
                        <a:pt x="349" y="152"/>
                        <a:pt x="299" y="136"/>
                        <a:pt x="252" y="117"/>
                      </a:cubicBezTo>
                      <a:cubicBezTo>
                        <a:pt x="166" y="82"/>
                        <a:pt x="61" y="69"/>
                        <a:pt x="0" y="3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6" name="Freeform 107"/>
                <p:cNvSpPr>
                  <a:spLocks/>
                </p:cNvSpPr>
                <p:nvPr/>
              </p:nvSpPr>
              <p:spPr bwMode="gray">
                <a:xfrm>
                  <a:off x="-1689100" y="-16235362"/>
                  <a:ext cx="1609725" cy="784225"/>
                </a:xfrm>
                <a:custGeom>
                  <a:avLst/>
                  <a:gdLst/>
                  <a:ahLst/>
                  <a:cxnLst>
                    <a:cxn ang="0">
                      <a:pos x="51" y="147"/>
                    </a:cxn>
                    <a:cxn ang="0">
                      <a:pos x="46" y="209"/>
                    </a:cxn>
                    <a:cxn ang="0">
                      <a:pos x="103" y="160"/>
                    </a:cxn>
                    <a:cxn ang="0">
                      <a:pos x="178" y="177"/>
                    </a:cxn>
                    <a:cxn ang="0">
                      <a:pos x="220" y="172"/>
                    </a:cxn>
                    <a:cxn ang="0">
                      <a:pos x="254" y="161"/>
                    </a:cxn>
                    <a:cxn ang="0">
                      <a:pos x="309" y="192"/>
                    </a:cxn>
                    <a:cxn ang="0">
                      <a:pos x="309" y="122"/>
                    </a:cxn>
                    <a:cxn ang="0">
                      <a:pos x="394" y="23"/>
                    </a:cxn>
                    <a:cxn ang="0">
                      <a:pos x="262" y="71"/>
                    </a:cxn>
                    <a:cxn ang="0">
                      <a:pos x="106" y="63"/>
                    </a:cxn>
                    <a:cxn ang="0">
                      <a:pos x="14" y="54"/>
                    </a:cxn>
                    <a:cxn ang="0">
                      <a:pos x="47" y="109"/>
                    </a:cxn>
                  </a:cxnLst>
                  <a:rect l="0" t="0" r="r" b="b"/>
                  <a:pathLst>
                    <a:path w="429" h="209">
                      <a:moveTo>
                        <a:pt x="51" y="147"/>
                      </a:moveTo>
                      <a:cubicBezTo>
                        <a:pt x="51" y="168"/>
                        <a:pt x="52" y="189"/>
                        <a:pt x="46" y="209"/>
                      </a:cubicBezTo>
                      <a:cubicBezTo>
                        <a:pt x="56" y="199"/>
                        <a:pt x="91" y="163"/>
                        <a:pt x="103" y="160"/>
                      </a:cubicBezTo>
                      <a:cubicBezTo>
                        <a:pt x="123" y="156"/>
                        <a:pt x="152" y="177"/>
                        <a:pt x="178" y="177"/>
                      </a:cubicBezTo>
                      <a:cubicBezTo>
                        <a:pt x="193" y="177"/>
                        <a:pt x="206" y="175"/>
                        <a:pt x="220" y="172"/>
                      </a:cubicBezTo>
                      <a:cubicBezTo>
                        <a:pt x="224" y="172"/>
                        <a:pt x="260" y="161"/>
                        <a:pt x="254" y="161"/>
                      </a:cubicBezTo>
                      <a:cubicBezTo>
                        <a:pt x="281" y="162"/>
                        <a:pt x="280" y="184"/>
                        <a:pt x="309" y="192"/>
                      </a:cubicBezTo>
                      <a:cubicBezTo>
                        <a:pt x="308" y="169"/>
                        <a:pt x="308" y="145"/>
                        <a:pt x="309" y="122"/>
                      </a:cubicBezTo>
                      <a:cubicBezTo>
                        <a:pt x="341" y="127"/>
                        <a:pt x="429" y="56"/>
                        <a:pt x="394" y="23"/>
                      </a:cubicBezTo>
                      <a:cubicBezTo>
                        <a:pt x="369" y="0"/>
                        <a:pt x="289" y="64"/>
                        <a:pt x="262" y="71"/>
                      </a:cubicBezTo>
                      <a:cubicBezTo>
                        <a:pt x="212" y="84"/>
                        <a:pt x="153" y="86"/>
                        <a:pt x="106" y="63"/>
                      </a:cubicBezTo>
                      <a:cubicBezTo>
                        <a:pt x="86" y="53"/>
                        <a:pt x="32" y="18"/>
                        <a:pt x="14" y="54"/>
                      </a:cubicBezTo>
                      <a:cubicBezTo>
                        <a:pt x="0" y="81"/>
                        <a:pt x="33" y="99"/>
                        <a:pt x="47" y="10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7" name="Freeform 108"/>
                <p:cNvSpPr>
                  <a:spLocks/>
                </p:cNvSpPr>
                <p:nvPr/>
              </p:nvSpPr>
              <p:spPr bwMode="gray">
                <a:xfrm>
                  <a:off x="-1463675" y="-15713075"/>
                  <a:ext cx="768350" cy="2320925"/>
                </a:xfrm>
                <a:custGeom>
                  <a:avLst/>
                  <a:gdLst/>
                  <a:ahLst/>
                  <a:cxnLst>
                    <a:cxn ang="0">
                      <a:pos x="181" y="8"/>
                    </a:cxn>
                    <a:cxn ang="0">
                      <a:pos x="160" y="135"/>
                    </a:cxn>
                    <a:cxn ang="0">
                      <a:pos x="184" y="283"/>
                    </a:cxn>
                    <a:cxn ang="0">
                      <a:pos x="177" y="607"/>
                    </a:cxn>
                    <a:cxn ang="0">
                      <a:pos x="89" y="578"/>
                    </a:cxn>
                    <a:cxn ang="0">
                      <a:pos x="80" y="359"/>
                    </a:cxn>
                    <a:cxn ang="0">
                      <a:pos x="89" y="142"/>
                    </a:cxn>
                    <a:cxn ang="0">
                      <a:pos x="160" y="0"/>
                    </a:cxn>
                  </a:cxnLst>
                  <a:rect l="0" t="0" r="r" b="b"/>
                  <a:pathLst>
                    <a:path w="205" h="619">
                      <a:moveTo>
                        <a:pt x="181" y="8"/>
                      </a:moveTo>
                      <a:cubicBezTo>
                        <a:pt x="205" y="54"/>
                        <a:pt x="155" y="85"/>
                        <a:pt x="160" y="135"/>
                      </a:cubicBezTo>
                      <a:cubicBezTo>
                        <a:pt x="164" y="182"/>
                        <a:pt x="179" y="232"/>
                        <a:pt x="184" y="283"/>
                      </a:cubicBezTo>
                      <a:cubicBezTo>
                        <a:pt x="194" y="382"/>
                        <a:pt x="205" y="514"/>
                        <a:pt x="177" y="607"/>
                      </a:cubicBezTo>
                      <a:cubicBezTo>
                        <a:pt x="200" y="619"/>
                        <a:pt x="122" y="584"/>
                        <a:pt x="89" y="578"/>
                      </a:cubicBezTo>
                      <a:cubicBezTo>
                        <a:pt x="0" y="563"/>
                        <a:pt x="72" y="442"/>
                        <a:pt x="80" y="359"/>
                      </a:cubicBezTo>
                      <a:cubicBezTo>
                        <a:pt x="86" y="286"/>
                        <a:pt x="78" y="214"/>
                        <a:pt x="89" y="142"/>
                      </a:cubicBezTo>
                      <a:cubicBezTo>
                        <a:pt x="96" y="92"/>
                        <a:pt x="103" y="15"/>
                        <a:pt x="16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8" name="Freeform 109"/>
                <p:cNvSpPr>
                  <a:spLocks/>
                </p:cNvSpPr>
                <p:nvPr/>
              </p:nvSpPr>
              <p:spPr bwMode="gray">
                <a:xfrm>
                  <a:off x="-1673225" y="-12009437"/>
                  <a:ext cx="955675" cy="1216025"/>
                </a:xfrm>
                <a:custGeom>
                  <a:avLst/>
                  <a:gdLst/>
                  <a:ahLst/>
                  <a:cxnLst>
                    <a:cxn ang="0">
                      <a:pos x="26" y="291"/>
                    </a:cxn>
                    <a:cxn ang="0">
                      <a:pos x="22" y="324"/>
                    </a:cxn>
                    <a:cxn ang="0">
                      <a:pos x="203" y="218"/>
                    </a:cxn>
                    <a:cxn ang="0">
                      <a:pos x="241" y="118"/>
                    </a:cxn>
                    <a:cxn ang="0">
                      <a:pos x="249" y="1"/>
                    </a:cxn>
                    <a:cxn ang="0">
                      <a:pos x="119" y="151"/>
                    </a:cxn>
                    <a:cxn ang="0">
                      <a:pos x="0" y="308"/>
                    </a:cxn>
                  </a:cxnLst>
                  <a:rect l="0" t="0" r="r" b="b"/>
                  <a:pathLst>
                    <a:path w="255" h="324">
                      <a:moveTo>
                        <a:pt x="26" y="291"/>
                      </a:moveTo>
                      <a:cubicBezTo>
                        <a:pt x="22" y="301"/>
                        <a:pt x="23" y="314"/>
                        <a:pt x="22" y="324"/>
                      </a:cubicBezTo>
                      <a:cubicBezTo>
                        <a:pt x="74" y="321"/>
                        <a:pt x="165" y="255"/>
                        <a:pt x="203" y="218"/>
                      </a:cubicBezTo>
                      <a:cubicBezTo>
                        <a:pt x="237" y="187"/>
                        <a:pt x="239" y="163"/>
                        <a:pt x="241" y="118"/>
                      </a:cubicBezTo>
                      <a:cubicBezTo>
                        <a:pt x="243" y="81"/>
                        <a:pt x="255" y="36"/>
                        <a:pt x="249" y="1"/>
                      </a:cubicBezTo>
                      <a:cubicBezTo>
                        <a:pt x="195" y="0"/>
                        <a:pt x="144" y="111"/>
                        <a:pt x="119" y="151"/>
                      </a:cubicBezTo>
                      <a:cubicBezTo>
                        <a:pt x="83" y="207"/>
                        <a:pt x="30" y="254"/>
                        <a:pt x="0" y="30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79" name="Freeform 110"/>
                <p:cNvSpPr>
                  <a:spLocks/>
                </p:cNvSpPr>
                <p:nvPr/>
              </p:nvSpPr>
              <p:spPr bwMode="gray">
                <a:xfrm>
                  <a:off x="-593725" y="-14671675"/>
                  <a:ext cx="574675" cy="1274763"/>
                </a:xfrm>
                <a:custGeom>
                  <a:avLst/>
                  <a:gdLst/>
                  <a:ahLst/>
                  <a:cxnLst>
                    <a:cxn ang="0">
                      <a:pos x="101" y="300"/>
                    </a:cxn>
                    <a:cxn ang="0">
                      <a:pos x="152" y="103"/>
                    </a:cxn>
                    <a:cxn ang="0">
                      <a:pos x="59" y="250"/>
                    </a:cxn>
                    <a:cxn ang="0">
                      <a:pos x="84" y="0"/>
                    </a:cxn>
                    <a:cxn ang="0">
                      <a:pos x="5" y="332"/>
                    </a:cxn>
                    <a:cxn ang="0">
                      <a:pos x="93" y="334"/>
                    </a:cxn>
                  </a:cxnLst>
                  <a:rect l="0" t="0" r="r" b="b"/>
                  <a:pathLst>
                    <a:path w="153" h="340">
                      <a:moveTo>
                        <a:pt x="101" y="300"/>
                      </a:moveTo>
                      <a:cubicBezTo>
                        <a:pt x="98" y="233"/>
                        <a:pt x="153" y="169"/>
                        <a:pt x="152" y="103"/>
                      </a:cubicBezTo>
                      <a:cubicBezTo>
                        <a:pt x="119" y="151"/>
                        <a:pt x="76" y="194"/>
                        <a:pt x="59" y="250"/>
                      </a:cubicBezTo>
                      <a:cubicBezTo>
                        <a:pt x="59" y="196"/>
                        <a:pt x="68" y="55"/>
                        <a:pt x="84" y="0"/>
                      </a:cubicBezTo>
                      <a:cubicBezTo>
                        <a:pt x="43" y="50"/>
                        <a:pt x="0" y="290"/>
                        <a:pt x="5" y="332"/>
                      </a:cubicBezTo>
                      <a:cubicBezTo>
                        <a:pt x="52" y="340"/>
                        <a:pt x="44" y="336"/>
                        <a:pt x="93" y="334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0" name="Freeform 111"/>
                <p:cNvSpPr>
                  <a:spLocks/>
                </p:cNvSpPr>
                <p:nvPr/>
              </p:nvSpPr>
              <p:spPr bwMode="gray">
                <a:xfrm>
                  <a:off x="-1819275" y="-16100425"/>
                  <a:ext cx="1258888" cy="2697163"/>
                </a:xfrm>
                <a:custGeom>
                  <a:avLst/>
                  <a:gdLst/>
                  <a:ahLst/>
                  <a:cxnLst>
                    <a:cxn ang="0">
                      <a:pos x="173" y="120"/>
                    </a:cxn>
                    <a:cxn ang="0">
                      <a:pos x="146" y="37"/>
                    </a:cxn>
                    <a:cxn ang="0">
                      <a:pos x="287" y="110"/>
                    </a:cxn>
                    <a:cxn ang="0">
                      <a:pos x="246" y="222"/>
                    </a:cxn>
                    <a:cxn ang="0">
                      <a:pos x="263" y="351"/>
                    </a:cxn>
                    <a:cxn ang="0">
                      <a:pos x="269" y="650"/>
                    </a:cxn>
                    <a:cxn ang="0">
                      <a:pos x="207" y="701"/>
                    </a:cxn>
                    <a:cxn ang="0">
                      <a:pos x="89" y="672"/>
                    </a:cxn>
                    <a:cxn ang="0">
                      <a:pos x="5" y="660"/>
                    </a:cxn>
                    <a:cxn ang="0">
                      <a:pos x="44" y="362"/>
                    </a:cxn>
                    <a:cxn ang="0">
                      <a:pos x="173" y="120"/>
                    </a:cxn>
                  </a:cxnLst>
                  <a:rect l="0" t="0" r="r" b="b"/>
                  <a:pathLst>
                    <a:path w="336" h="719">
                      <a:moveTo>
                        <a:pt x="173" y="120"/>
                      </a:moveTo>
                      <a:cubicBezTo>
                        <a:pt x="153" y="99"/>
                        <a:pt x="142" y="70"/>
                        <a:pt x="146" y="37"/>
                      </a:cubicBezTo>
                      <a:cubicBezTo>
                        <a:pt x="218" y="0"/>
                        <a:pt x="336" y="3"/>
                        <a:pt x="287" y="110"/>
                      </a:cubicBezTo>
                      <a:cubicBezTo>
                        <a:pt x="268" y="154"/>
                        <a:pt x="242" y="168"/>
                        <a:pt x="246" y="222"/>
                      </a:cubicBezTo>
                      <a:cubicBezTo>
                        <a:pt x="249" y="265"/>
                        <a:pt x="263" y="304"/>
                        <a:pt x="263" y="351"/>
                      </a:cubicBezTo>
                      <a:cubicBezTo>
                        <a:pt x="263" y="452"/>
                        <a:pt x="269" y="550"/>
                        <a:pt x="269" y="650"/>
                      </a:cubicBezTo>
                      <a:cubicBezTo>
                        <a:pt x="269" y="716"/>
                        <a:pt x="265" y="719"/>
                        <a:pt x="207" y="701"/>
                      </a:cubicBezTo>
                      <a:cubicBezTo>
                        <a:pt x="168" y="688"/>
                        <a:pt x="130" y="681"/>
                        <a:pt x="89" y="672"/>
                      </a:cubicBezTo>
                      <a:cubicBezTo>
                        <a:pt x="61" y="666"/>
                        <a:pt x="34" y="663"/>
                        <a:pt x="5" y="660"/>
                      </a:cubicBezTo>
                      <a:cubicBezTo>
                        <a:pt x="0" y="563"/>
                        <a:pt x="10" y="449"/>
                        <a:pt x="44" y="362"/>
                      </a:cubicBezTo>
                      <a:cubicBezTo>
                        <a:pt x="72" y="289"/>
                        <a:pt x="189" y="204"/>
                        <a:pt x="173" y="120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1" name="Freeform 112"/>
                <p:cNvSpPr>
                  <a:spLocks/>
                </p:cNvSpPr>
                <p:nvPr/>
              </p:nvSpPr>
              <p:spPr bwMode="gray">
                <a:xfrm>
                  <a:off x="-2124075" y="-12166600"/>
                  <a:ext cx="1339850" cy="1365250"/>
                </a:xfrm>
                <a:custGeom>
                  <a:avLst/>
                  <a:gdLst/>
                  <a:ahLst/>
                  <a:cxnLst>
                    <a:cxn ang="0">
                      <a:pos x="66" y="53"/>
                    </a:cxn>
                    <a:cxn ang="0">
                      <a:pos x="28" y="270"/>
                    </a:cxn>
                    <a:cxn ang="0">
                      <a:pos x="121" y="364"/>
                    </a:cxn>
                    <a:cxn ang="0">
                      <a:pos x="323" y="227"/>
                    </a:cxn>
                    <a:cxn ang="0">
                      <a:pos x="343" y="0"/>
                    </a:cxn>
                    <a:cxn ang="0">
                      <a:pos x="66" y="53"/>
                    </a:cxn>
                  </a:cxnLst>
                  <a:rect l="0" t="0" r="r" b="b"/>
                  <a:pathLst>
                    <a:path w="357" h="364">
                      <a:moveTo>
                        <a:pt x="66" y="53"/>
                      </a:moveTo>
                      <a:cubicBezTo>
                        <a:pt x="73" y="113"/>
                        <a:pt x="0" y="234"/>
                        <a:pt x="28" y="270"/>
                      </a:cubicBezTo>
                      <a:cubicBezTo>
                        <a:pt x="56" y="307"/>
                        <a:pt x="103" y="349"/>
                        <a:pt x="121" y="364"/>
                      </a:cubicBezTo>
                      <a:cubicBezTo>
                        <a:pt x="121" y="364"/>
                        <a:pt x="302" y="256"/>
                        <a:pt x="323" y="227"/>
                      </a:cubicBezTo>
                      <a:cubicBezTo>
                        <a:pt x="357" y="182"/>
                        <a:pt x="346" y="58"/>
                        <a:pt x="343" y="0"/>
                      </a:cubicBezTo>
                      <a:cubicBezTo>
                        <a:pt x="241" y="17"/>
                        <a:pt x="183" y="36"/>
                        <a:pt x="66" y="53"/>
                      </a:cubicBezTo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2" name="Freeform 113"/>
                <p:cNvSpPr>
                  <a:spLocks/>
                </p:cNvSpPr>
                <p:nvPr/>
              </p:nvSpPr>
              <p:spPr bwMode="gray">
                <a:xfrm>
                  <a:off x="-1755775" y="-16681450"/>
                  <a:ext cx="633413" cy="1219200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95" y="84"/>
                    </a:cxn>
                    <a:cxn ang="0">
                      <a:pos x="167" y="164"/>
                    </a:cxn>
                    <a:cxn ang="0">
                      <a:pos x="42" y="325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69" h="325">
                      <a:moveTo>
                        <a:pt x="62" y="0"/>
                      </a:moveTo>
                      <a:cubicBezTo>
                        <a:pt x="66" y="35"/>
                        <a:pt x="73" y="58"/>
                        <a:pt x="95" y="84"/>
                      </a:cubicBezTo>
                      <a:cubicBezTo>
                        <a:pt x="105" y="97"/>
                        <a:pt x="169" y="155"/>
                        <a:pt x="167" y="164"/>
                      </a:cubicBezTo>
                      <a:cubicBezTo>
                        <a:pt x="161" y="183"/>
                        <a:pt x="63" y="289"/>
                        <a:pt x="42" y="325"/>
                      </a:cubicBezTo>
                      <a:cubicBezTo>
                        <a:pt x="0" y="295"/>
                        <a:pt x="10" y="21"/>
                        <a:pt x="62" y="0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3" name="Freeform 114"/>
                <p:cNvSpPr>
                  <a:spLocks/>
                </p:cNvSpPr>
                <p:nvPr/>
              </p:nvSpPr>
              <p:spPr bwMode="gray">
                <a:xfrm>
                  <a:off x="-1020763" y="-16843375"/>
                  <a:ext cx="1027113" cy="1193800"/>
                </a:xfrm>
                <a:custGeom>
                  <a:avLst/>
                  <a:gdLst/>
                  <a:ahLst/>
                  <a:cxnLst>
                    <a:cxn ang="0">
                      <a:pos x="0" y="206"/>
                    </a:cxn>
                    <a:cxn ang="0">
                      <a:pos x="152" y="318"/>
                    </a:cxn>
                    <a:cxn ang="0">
                      <a:pos x="246" y="132"/>
                    </a:cxn>
                    <a:cxn ang="0">
                      <a:pos x="206" y="0"/>
                    </a:cxn>
                    <a:cxn ang="0">
                      <a:pos x="0" y="206"/>
                    </a:cxn>
                  </a:cxnLst>
                  <a:rect l="0" t="0" r="r" b="b"/>
                  <a:pathLst>
                    <a:path w="274" h="318">
                      <a:moveTo>
                        <a:pt x="0" y="206"/>
                      </a:moveTo>
                      <a:cubicBezTo>
                        <a:pt x="43" y="235"/>
                        <a:pt x="108" y="288"/>
                        <a:pt x="152" y="318"/>
                      </a:cubicBezTo>
                      <a:cubicBezTo>
                        <a:pt x="181" y="255"/>
                        <a:pt x="222" y="196"/>
                        <a:pt x="246" y="132"/>
                      </a:cubicBezTo>
                      <a:cubicBezTo>
                        <a:pt x="273" y="61"/>
                        <a:pt x="274" y="51"/>
                        <a:pt x="206" y="0"/>
                      </a:cubicBezTo>
                      <a:cubicBezTo>
                        <a:pt x="166" y="79"/>
                        <a:pt x="89" y="176"/>
                        <a:pt x="0" y="206"/>
                      </a:cubicBezTo>
                    </a:path>
                  </a:pathLst>
                </a:custGeom>
                <a:solidFill>
                  <a:srgbClr val="E4EFF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4" name="Freeform 115"/>
                <p:cNvSpPr>
                  <a:spLocks/>
                </p:cNvSpPr>
                <p:nvPr/>
              </p:nvSpPr>
              <p:spPr bwMode="gray">
                <a:xfrm>
                  <a:off x="-2689225" y="-14930437"/>
                  <a:ext cx="322263" cy="1849438"/>
                </a:xfrm>
                <a:custGeom>
                  <a:avLst/>
                  <a:gdLst/>
                  <a:ahLst/>
                  <a:cxnLst>
                    <a:cxn ang="0">
                      <a:pos x="84" y="355"/>
                    </a:cxn>
                    <a:cxn ang="0">
                      <a:pos x="62" y="283"/>
                    </a:cxn>
                    <a:cxn ang="0">
                      <a:pos x="56" y="186"/>
                    </a:cxn>
                    <a:cxn ang="0">
                      <a:pos x="39" y="0"/>
                    </a:cxn>
                    <a:cxn ang="0">
                      <a:pos x="28" y="298"/>
                    </a:cxn>
                    <a:cxn ang="0">
                      <a:pos x="22" y="446"/>
                    </a:cxn>
                    <a:cxn ang="0">
                      <a:pos x="79" y="349"/>
                    </a:cxn>
                  </a:cxnLst>
                  <a:rect l="0" t="0" r="r" b="b"/>
                  <a:pathLst>
                    <a:path w="86" h="493">
                      <a:moveTo>
                        <a:pt x="84" y="355"/>
                      </a:moveTo>
                      <a:cubicBezTo>
                        <a:pt x="86" y="322"/>
                        <a:pt x="68" y="310"/>
                        <a:pt x="62" y="283"/>
                      </a:cubicBezTo>
                      <a:cubicBezTo>
                        <a:pt x="57" y="259"/>
                        <a:pt x="58" y="217"/>
                        <a:pt x="56" y="186"/>
                      </a:cubicBezTo>
                      <a:cubicBezTo>
                        <a:pt x="54" y="132"/>
                        <a:pt x="72" y="37"/>
                        <a:pt x="39" y="0"/>
                      </a:cubicBezTo>
                      <a:cubicBezTo>
                        <a:pt x="6" y="91"/>
                        <a:pt x="23" y="203"/>
                        <a:pt x="28" y="298"/>
                      </a:cubicBezTo>
                      <a:cubicBezTo>
                        <a:pt x="30" y="331"/>
                        <a:pt x="0" y="422"/>
                        <a:pt x="22" y="446"/>
                      </a:cubicBezTo>
                      <a:cubicBezTo>
                        <a:pt x="64" y="493"/>
                        <a:pt x="83" y="381"/>
                        <a:pt x="79" y="349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5" name="Freeform 116"/>
                <p:cNvSpPr>
                  <a:spLocks/>
                </p:cNvSpPr>
                <p:nvPr/>
              </p:nvSpPr>
              <p:spPr bwMode="gray">
                <a:xfrm>
                  <a:off x="55563" y="-15409862"/>
                  <a:ext cx="742950" cy="1765300"/>
                </a:xfrm>
                <a:custGeom>
                  <a:avLst/>
                  <a:gdLst/>
                  <a:ahLst/>
                  <a:cxnLst>
                    <a:cxn ang="0">
                      <a:pos x="51" y="415"/>
                    </a:cxn>
                    <a:cxn ang="0">
                      <a:pos x="101" y="195"/>
                    </a:cxn>
                    <a:cxn ang="0">
                      <a:pos x="198" y="0"/>
                    </a:cxn>
                    <a:cxn ang="0">
                      <a:pos x="84" y="201"/>
                    </a:cxn>
                    <a:cxn ang="0">
                      <a:pos x="12" y="420"/>
                    </a:cxn>
                    <a:cxn ang="0">
                      <a:pos x="73" y="426"/>
                    </a:cxn>
                  </a:cxnLst>
                  <a:rect l="0" t="0" r="r" b="b"/>
                  <a:pathLst>
                    <a:path w="198" h="471">
                      <a:moveTo>
                        <a:pt x="51" y="415"/>
                      </a:moveTo>
                      <a:cubicBezTo>
                        <a:pt x="95" y="346"/>
                        <a:pt x="66" y="265"/>
                        <a:pt x="101" y="195"/>
                      </a:cubicBezTo>
                      <a:cubicBezTo>
                        <a:pt x="135" y="128"/>
                        <a:pt x="176" y="73"/>
                        <a:pt x="198" y="0"/>
                      </a:cubicBezTo>
                      <a:cubicBezTo>
                        <a:pt x="139" y="59"/>
                        <a:pt x="110" y="125"/>
                        <a:pt x="84" y="201"/>
                      </a:cubicBezTo>
                      <a:cubicBezTo>
                        <a:pt x="64" y="262"/>
                        <a:pt x="0" y="357"/>
                        <a:pt x="12" y="420"/>
                      </a:cubicBezTo>
                      <a:cubicBezTo>
                        <a:pt x="34" y="430"/>
                        <a:pt x="65" y="471"/>
                        <a:pt x="73" y="426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6" name="Freeform 117"/>
                <p:cNvSpPr>
                  <a:spLocks/>
                </p:cNvSpPr>
                <p:nvPr/>
              </p:nvSpPr>
              <p:spPr bwMode="gray">
                <a:xfrm>
                  <a:off x="-2835275" y="-13689012"/>
                  <a:ext cx="922338" cy="858838"/>
                </a:xfrm>
                <a:custGeom>
                  <a:avLst/>
                  <a:gdLst/>
                  <a:ahLst/>
                  <a:cxnLst>
                    <a:cxn ang="0">
                      <a:pos x="191" y="226"/>
                    </a:cxn>
                    <a:cxn ang="0">
                      <a:pos x="246" y="45"/>
                    </a:cxn>
                    <a:cxn ang="0">
                      <a:pos x="94" y="51"/>
                    </a:cxn>
                    <a:cxn ang="0">
                      <a:pos x="55" y="135"/>
                    </a:cxn>
                    <a:cxn ang="0">
                      <a:pos x="60" y="211"/>
                    </a:cxn>
                    <a:cxn ang="0">
                      <a:pos x="197" y="221"/>
                    </a:cxn>
                  </a:cxnLst>
                  <a:rect l="0" t="0" r="r" b="b"/>
                  <a:pathLst>
                    <a:path w="246" h="229">
                      <a:moveTo>
                        <a:pt x="191" y="226"/>
                      </a:moveTo>
                      <a:cubicBezTo>
                        <a:pt x="186" y="181"/>
                        <a:pt x="206" y="61"/>
                        <a:pt x="246" y="45"/>
                      </a:cubicBezTo>
                      <a:cubicBezTo>
                        <a:pt x="243" y="3"/>
                        <a:pt x="105" y="0"/>
                        <a:pt x="94" y="51"/>
                      </a:cubicBezTo>
                      <a:cubicBezTo>
                        <a:pt x="29" y="52"/>
                        <a:pt x="54" y="92"/>
                        <a:pt x="55" y="135"/>
                      </a:cubicBezTo>
                      <a:cubicBezTo>
                        <a:pt x="0" y="149"/>
                        <a:pt x="26" y="194"/>
                        <a:pt x="60" y="211"/>
                      </a:cubicBezTo>
                      <a:cubicBezTo>
                        <a:pt x="97" y="229"/>
                        <a:pt x="153" y="221"/>
                        <a:pt x="197" y="22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7" name="Freeform 118"/>
                <p:cNvSpPr>
                  <a:spLocks/>
                </p:cNvSpPr>
                <p:nvPr/>
              </p:nvSpPr>
              <p:spPr bwMode="gray">
                <a:xfrm>
                  <a:off x="-387350" y="-13857287"/>
                  <a:ext cx="649288" cy="449263"/>
                </a:xfrm>
                <a:custGeom>
                  <a:avLst/>
                  <a:gdLst/>
                  <a:ahLst/>
                  <a:cxnLst>
                    <a:cxn ang="0">
                      <a:pos x="17" y="119"/>
                    </a:cxn>
                    <a:cxn ang="0">
                      <a:pos x="173" y="102"/>
                    </a:cxn>
                    <a:cxn ang="0">
                      <a:pos x="162" y="7"/>
                    </a:cxn>
                    <a:cxn ang="0">
                      <a:pos x="74" y="36"/>
                    </a:cxn>
                    <a:cxn ang="0">
                      <a:pos x="0" y="114"/>
                    </a:cxn>
                  </a:cxnLst>
                  <a:rect l="0" t="0" r="r" b="b"/>
                  <a:pathLst>
                    <a:path w="173" h="120">
                      <a:moveTo>
                        <a:pt x="17" y="119"/>
                      </a:moveTo>
                      <a:cubicBezTo>
                        <a:pt x="67" y="120"/>
                        <a:pt x="119" y="104"/>
                        <a:pt x="173" y="102"/>
                      </a:cubicBezTo>
                      <a:cubicBezTo>
                        <a:pt x="170" y="72"/>
                        <a:pt x="171" y="37"/>
                        <a:pt x="162" y="7"/>
                      </a:cubicBezTo>
                      <a:cubicBezTo>
                        <a:pt x="108" y="3"/>
                        <a:pt x="110" y="0"/>
                        <a:pt x="74" y="36"/>
                      </a:cubicBezTo>
                      <a:cubicBezTo>
                        <a:pt x="53" y="57"/>
                        <a:pt x="19" y="88"/>
                        <a:pt x="0" y="11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8" name="Freeform 119"/>
                <p:cNvSpPr>
                  <a:spLocks/>
                </p:cNvSpPr>
                <p:nvPr/>
              </p:nvSpPr>
              <p:spPr bwMode="gray">
                <a:xfrm>
                  <a:off x="-2798763" y="-13155612"/>
                  <a:ext cx="742950" cy="355600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95" y="65"/>
                    </a:cxn>
                    <a:cxn ang="0">
                      <a:pos x="162" y="65"/>
                    </a:cxn>
                    <a:cxn ang="0">
                      <a:pos x="183" y="26"/>
                    </a:cxn>
                    <a:cxn ang="0">
                      <a:pos x="177" y="86"/>
                    </a:cxn>
                    <a:cxn ang="0">
                      <a:pos x="32" y="59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198" h="95">
                      <a:moveTo>
                        <a:pt x="27" y="0"/>
                      </a:moveTo>
                      <a:cubicBezTo>
                        <a:pt x="14" y="38"/>
                        <a:pt x="64" y="59"/>
                        <a:pt x="95" y="65"/>
                      </a:cubicBezTo>
                      <a:cubicBezTo>
                        <a:pt x="111" y="67"/>
                        <a:pt x="147" y="70"/>
                        <a:pt x="162" y="65"/>
                      </a:cubicBezTo>
                      <a:cubicBezTo>
                        <a:pt x="179" y="58"/>
                        <a:pt x="180" y="41"/>
                        <a:pt x="183" y="26"/>
                      </a:cubicBezTo>
                      <a:cubicBezTo>
                        <a:pt x="185" y="52"/>
                        <a:pt x="198" y="77"/>
                        <a:pt x="177" y="86"/>
                      </a:cubicBezTo>
                      <a:cubicBezTo>
                        <a:pt x="157" y="95"/>
                        <a:pt x="55" y="79"/>
                        <a:pt x="32" y="59"/>
                      </a:cubicBezTo>
                      <a:cubicBezTo>
                        <a:pt x="18" y="45"/>
                        <a:pt x="0" y="16"/>
                        <a:pt x="27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89" name="Freeform 120"/>
                <p:cNvSpPr>
                  <a:spLocks/>
                </p:cNvSpPr>
                <p:nvPr/>
              </p:nvSpPr>
              <p:spPr bwMode="gray">
                <a:xfrm>
                  <a:off x="-304800" y="-13796962"/>
                  <a:ext cx="581025" cy="446088"/>
                </a:xfrm>
                <a:custGeom>
                  <a:avLst/>
                  <a:gdLst/>
                  <a:ahLst/>
                  <a:cxnLst>
                    <a:cxn ang="0">
                      <a:pos x="134" y="0"/>
                    </a:cxn>
                    <a:cxn ang="0">
                      <a:pos x="97" y="79"/>
                    </a:cxn>
                    <a:cxn ang="0">
                      <a:pos x="0" y="106"/>
                    </a:cxn>
                    <a:cxn ang="0">
                      <a:pos x="66" y="107"/>
                    </a:cxn>
                    <a:cxn ang="0">
                      <a:pos x="125" y="95"/>
                    </a:cxn>
                    <a:cxn ang="0">
                      <a:pos x="151" y="56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155" h="119">
                      <a:moveTo>
                        <a:pt x="134" y="0"/>
                      </a:moveTo>
                      <a:cubicBezTo>
                        <a:pt x="134" y="41"/>
                        <a:pt x="139" y="64"/>
                        <a:pt x="97" y="79"/>
                      </a:cubicBezTo>
                      <a:cubicBezTo>
                        <a:pt x="68" y="88"/>
                        <a:pt x="23" y="82"/>
                        <a:pt x="0" y="106"/>
                      </a:cubicBezTo>
                      <a:cubicBezTo>
                        <a:pt x="16" y="119"/>
                        <a:pt x="48" y="113"/>
                        <a:pt x="66" y="107"/>
                      </a:cubicBezTo>
                      <a:cubicBezTo>
                        <a:pt x="88" y="101"/>
                        <a:pt x="102" y="99"/>
                        <a:pt x="125" y="95"/>
                      </a:cubicBezTo>
                      <a:cubicBezTo>
                        <a:pt x="155" y="91"/>
                        <a:pt x="154" y="85"/>
                        <a:pt x="151" y="56"/>
                      </a:cubicBezTo>
                      <a:cubicBezTo>
                        <a:pt x="149" y="37"/>
                        <a:pt x="149" y="13"/>
                        <a:pt x="139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0" name="Freeform 121"/>
                <p:cNvSpPr>
                  <a:spLocks/>
                </p:cNvSpPr>
                <p:nvPr/>
              </p:nvSpPr>
              <p:spPr bwMode="gray">
                <a:xfrm>
                  <a:off x="-1882775" y="-12166600"/>
                  <a:ext cx="1046163" cy="322263"/>
                </a:xfrm>
                <a:custGeom>
                  <a:avLst/>
                  <a:gdLst/>
                  <a:ahLst/>
                  <a:cxnLst>
                    <a:cxn ang="0">
                      <a:pos x="3" y="53"/>
                    </a:cxn>
                    <a:cxn ang="0">
                      <a:pos x="0" y="84"/>
                    </a:cxn>
                    <a:cxn ang="0">
                      <a:pos x="160" y="64"/>
                    </a:cxn>
                    <a:cxn ang="0">
                      <a:pos x="239" y="50"/>
                    </a:cxn>
                    <a:cxn ang="0">
                      <a:pos x="278" y="3"/>
                    </a:cxn>
                    <a:cxn ang="0">
                      <a:pos x="141" y="22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279" h="86">
                      <a:moveTo>
                        <a:pt x="3" y="53"/>
                      </a:moveTo>
                      <a:cubicBezTo>
                        <a:pt x="4" y="64"/>
                        <a:pt x="2" y="75"/>
                        <a:pt x="0" y="84"/>
                      </a:cubicBezTo>
                      <a:cubicBezTo>
                        <a:pt x="53" y="86"/>
                        <a:pt x="113" y="82"/>
                        <a:pt x="160" y="64"/>
                      </a:cubicBezTo>
                      <a:cubicBezTo>
                        <a:pt x="187" y="53"/>
                        <a:pt x="208" y="55"/>
                        <a:pt x="239" y="50"/>
                      </a:cubicBezTo>
                      <a:cubicBezTo>
                        <a:pt x="274" y="45"/>
                        <a:pt x="279" y="39"/>
                        <a:pt x="278" y="3"/>
                      </a:cubicBezTo>
                      <a:cubicBezTo>
                        <a:pt x="229" y="0"/>
                        <a:pt x="186" y="13"/>
                        <a:pt x="141" y="22"/>
                      </a:cubicBezTo>
                      <a:cubicBezTo>
                        <a:pt x="95" y="32"/>
                        <a:pt x="46" y="37"/>
                        <a:pt x="0" y="48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1" name="Freeform 122"/>
                <p:cNvSpPr>
                  <a:spLocks/>
                </p:cNvSpPr>
                <p:nvPr/>
              </p:nvSpPr>
              <p:spPr bwMode="gray">
                <a:xfrm>
                  <a:off x="-1695450" y="-7954962"/>
                  <a:ext cx="2128838" cy="3386138"/>
                </a:xfrm>
                <a:custGeom>
                  <a:avLst/>
                  <a:gdLst/>
                  <a:ahLst/>
                  <a:cxnLst>
                    <a:cxn ang="0">
                      <a:pos x="133" y="38"/>
                    </a:cxn>
                    <a:cxn ang="0">
                      <a:pos x="301" y="292"/>
                    </a:cxn>
                    <a:cxn ang="0">
                      <a:pos x="568" y="540"/>
                    </a:cxn>
                    <a:cxn ang="0">
                      <a:pos x="508" y="490"/>
                    </a:cxn>
                    <a:cxn ang="0">
                      <a:pos x="430" y="429"/>
                    </a:cxn>
                    <a:cxn ang="0">
                      <a:pos x="319" y="372"/>
                    </a:cxn>
                    <a:cxn ang="0">
                      <a:pos x="373" y="448"/>
                    </a:cxn>
                    <a:cxn ang="0">
                      <a:pos x="415" y="515"/>
                    </a:cxn>
                    <a:cxn ang="0">
                      <a:pos x="513" y="648"/>
                    </a:cxn>
                    <a:cxn ang="0">
                      <a:pos x="375" y="524"/>
                    </a:cxn>
                    <a:cxn ang="0">
                      <a:pos x="430" y="653"/>
                    </a:cxn>
                    <a:cxn ang="0">
                      <a:pos x="478" y="768"/>
                    </a:cxn>
                    <a:cxn ang="0">
                      <a:pos x="388" y="646"/>
                    </a:cxn>
                    <a:cxn ang="0">
                      <a:pos x="332" y="541"/>
                    </a:cxn>
                    <a:cxn ang="0">
                      <a:pos x="252" y="296"/>
                    </a:cxn>
                    <a:cxn ang="0">
                      <a:pos x="257" y="642"/>
                    </a:cxn>
                    <a:cxn ang="0">
                      <a:pos x="208" y="718"/>
                    </a:cxn>
                    <a:cxn ang="0">
                      <a:pos x="175" y="781"/>
                    </a:cxn>
                    <a:cxn ang="0">
                      <a:pos x="41" y="903"/>
                    </a:cxn>
                    <a:cxn ang="0">
                      <a:pos x="99" y="803"/>
                    </a:cxn>
                    <a:cxn ang="0">
                      <a:pos x="10" y="736"/>
                    </a:cxn>
                    <a:cxn ang="0">
                      <a:pos x="87" y="642"/>
                    </a:cxn>
                    <a:cxn ang="0">
                      <a:pos x="71" y="498"/>
                    </a:cxn>
                    <a:cxn ang="0">
                      <a:pos x="54" y="334"/>
                    </a:cxn>
                    <a:cxn ang="0">
                      <a:pos x="112" y="489"/>
                    </a:cxn>
                    <a:cxn ang="0">
                      <a:pos x="167" y="363"/>
                    </a:cxn>
                    <a:cxn ang="0">
                      <a:pos x="151" y="172"/>
                    </a:cxn>
                    <a:cxn ang="0">
                      <a:pos x="117" y="0"/>
                    </a:cxn>
                    <a:cxn ang="0">
                      <a:pos x="129" y="42"/>
                    </a:cxn>
                  </a:cxnLst>
                  <a:rect l="0" t="0" r="r" b="b"/>
                  <a:pathLst>
                    <a:path w="568" h="903">
                      <a:moveTo>
                        <a:pt x="133" y="38"/>
                      </a:moveTo>
                      <a:cubicBezTo>
                        <a:pt x="146" y="122"/>
                        <a:pt x="232" y="241"/>
                        <a:pt x="301" y="292"/>
                      </a:cubicBezTo>
                      <a:cubicBezTo>
                        <a:pt x="401" y="367"/>
                        <a:pt x="496" y="440"/>
                        <a:pt x="568" y="540"/>
                      </a:cubicBezTo>
                      <a:cubicBezTo>
                        <a:pt x="537" y="529"/>
                        <a:pt x="530" y="512"/>
                        <a:pt x="508" y="490"/>
                      </a:cubicBezTo>
                      <a:cubicBezTo>
                        <a:pt x="486" y="467"/>
                        <a:pt x="454" y="454"/>
                        <a:pt x="430" y="429"/>
                      </a:cubicBezTo>
                      <a:cubicBezTo>
                        <a:pt x="415" y="414"/>
                        <a:pt x="325" y="293"/>
                        <a:pt x="319" y="372"/>
                      </a:cubicBezTo>
                      <a:cubicBezTo>
                        <a:pt x="316" y="408"/>
                        <a:pt x="352" y="428"/>
                        <a:pt x="373" y="448"/>
                      </a:cubicBezTo>
                      <a:cubicBezTo>
                        <a:pt x="394" y="468"/>
                        <a:pt x="400" y="487"/>
                        <a:pt x="415" y="515"/>
                      </a:cubicBezTo>
                      <a:cubicBezTo>
                        <a:pt x="439" y="560"/>
                        <a:pt x="478" y="604"/>
                        <a:pt x="513" y="648"/>
                      </a:cubicBezTo>
                      <a:cubicBezTo>
                        <a:pt x="464" y="628"/>
                        <a:pt x="411" y="567"/>
                        <a:pt x="375" y="524"/>
                      </a:cubicBezTo>
                      <a:cubicBezTo>
                        <a:pt x="370" y="573"/>
                        <a:pt x="407" y="615"/>
                        <a:pt x="430" y="653"/>
                      </a:cubicBezTo>
                      <a:cubicBezTo>
                        <a:pt x="452" y="690"/>
                        <a:pt x="456" y="733"/>
                        <a:pt x="478" y="768"/>
                      </a:cubicBezTo>
                      <a:cubicBezTo>
                        <a:pt x="430" y="762"/>
                        <a:pt x="407" y="682"/>
                        <a:pt x="388" y="646"/>
                      </a:cubicBezTo>
                      <a:cubicBezTo>
                        <a:pt x="365" y="606"/>
                        <a:pt x="341" y="586"/>
                        <a:pt x="332" y="541"/>
                      </a:cubicBezTo>
                      <a:cubicBezTo>
                        <a:pt x="313" y="451"/>
                        <a:pt x="310" y="365"/>
                        <a:pt x="252" y="296"/>
                      </a:cubicBezTo>
                      <a:cubicBezTo>
                        <a:pt x="268" y="402"/>
                        <a:pt x="308" y="535"/>
                        <a:pt x="257" y="642"/>
                      </a:cubicBezTo>
                      <a:cubicBezTo>
                        <a:pt x="242" y="672"/>
                        <a:pt x="229" y="692"/>
                        <a:pt x="208" y="718"/>
                      </a:cubicBezTo>
                      <a:cubicBezTo>
                        <a:pt x="189" y="742"/>
                        <a:pt x="189" y="756"/>
                        <a:pt x="175" y="781"/>
                      </a:cubicBezTo>
                      <a:cubicBezTo>
                        <a:pt x="156" y="818"/>
                        <a:pt x="83" y="902"/>
                        <a:pt x="41" y="903"/>
                      </a:cubicBezTo>
                      <a:cubicBezTo>
                        <a:pt x="55" y="863"/>
                        <a:pt x="107" y="862"/>
                        <a:pt x="99" y="803"/>
                      </a:cubicBezTo>
                      <a:cubicBezTo>
                        <a:pt x="61" y="803"/>
                        <a:pt x="17" y="776"/>
                        <a:pt x="10" y="736"/>
                      </a:cubicBezTo>
                      <a:cubicBezTo>
                        <a:pt x="0" y="684"/>
                        <a:pt x="63" y="680"/>
                        <a:pt x="87" y="642"/>
                      </a:cubicBezTo>
                      <a:cubicBezTo>
                        <a:pt x="115" y="596"/>
                        <a:pt x="88" y="545"/>
                        <a:pt x="71" y="498"/>
                      </a:cubicBezTo>
                      <a:cubicBezTo>
                        <a:pt x="51" y="445"/>
                        <a:pt x="50" y="392"/>
                        <a:pt x="54" y="334"/>
                      </a:cubicBezTo>
                      <a:cubicBezTo>
                        <a:pt x="95" y="325"/>
                        <a:pt x="87" y="460"/>
                        <a:pt x="112" y="489"/>
                      </a:cubicBezTo>
                      <a:cubicBezTo>
                        <a:pt x="166" y="551"/>
                        <a:pt x="167" y="403"/>
                        <a:pt x="167" y="363"/>
                      </a:cubicBezTo>
                      <a:cubicBezTo>
                        <a:pt x="168" y="296"/>
                        <a:pt x="170" y="232"/>
                        <a:pt x="151" y="172"/>
                      </a:cubicBezTo>
                      <a:cubicBezTo>
                        <a:pt x="134" y="120"/>
                        <a:pt x="115" y="56"/>
                        <a:pt x="117" y="0"/>
                      </a:cubicBezTo>
                      <a:cubicBezTo>
                        <a:pt x="121" y="11"/>
                        <a:pt x="126" y="29"/>
                        <a:pt x="129" y="4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2" name="Freeform 123"/>
                <p:cNvSpPr>
                  <a:spLocks/>
                </p:cNvSpPr>
                <p:nvPr/>
              </p:nvSpPr>
              <p:spPr bwMode="gray">
                <a:xfrm>
                  <a:off x="-1717675" y="-1122362"/>
                  <a:ext cx="854075" cy="655638"/>
                </a:xfrm>
                <a:custGeom>
                  <a:avLst/>
                  <a:gdLst/>
                  <a:ahLst/>
                  <a:cxnLst>
                    <a:cxn ang="0">
                      <a:pos x="228" y="175"/>
                    </a:cxn>
                    <a:cxn ang="0">
                      <a:pos x="130" y="75"/>
                    </a:cxn>
                    <a:cxn ang="0">
                      <a:pos x="0" y="0"/>
                    </a:cxn>
                    <a:cxn ang="0">
                      <a:pos x="54" y="54"/>
                    </a:cxn>
                    <a:cxn ang="0">
                      <a:pos x="60" y="137"/>
                    </a:cxn>
                    <a:cxn ang="0">
                      <a:pos x="152" y="137"/>
                    </a:cxn>
                    <a:cxn ang="0">
                      <a:pos x="228" y="167"/>
                    </a:cxn>
                  </a:cxnLst>
                  <a:rect l="0" t="0" r="r" b="b"/>
                  <a:pathLst>
                    <a:path w="228" h="175">
                      <a:moveTo>
                        <a:pt x="228" y="175"/>
                      </a:moveTo>
                      <a:cubicBezTo>
                        <a:pt x="209" y="136"/>
                        <a:pt x="165" y="105"/>
                        <a:pt x="130" y="75"/>
                      </a:cubicBezTo>
                      <a:cubicBezTo>
                        <a:pt x="90" y="42"/>
                        <a:pt x="34" y="30"/>
                        <a:pt x="0" y="0"/>
                      </a:cubicBezTo>
                      <a:cubicBezTo>
                        <a:pt x="4" y="32"/>
                        <a:pt x="37" y="32"/>
                        <a:pt x="54" y="54"/>
                      </a:cubicBezTo>
                      <a:cubicBezTo>
                        <a:pt x="72" y="77"/>
                        <a:pt x="70" y="113"/>
                        <a:pt x="60" y="137"/>
                      </a:cubicBezTo>
                      <a:cubicBezTo>
                        <a:pt x="90" y="149"/>
                        <a:pt x="120" y="134"/>
                        <a:pt x="152" y="137"/>
                      </a:cubicBezTo>
                      <a:cubicBezTo>
                        <a:pt x="180" y="141"/>
                        <a:pt x="203" y="157"/>
                        <a:pt x="228" y="167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3" name="Freeform 124"/>
                <p:cNvSpPr>
                  <a:spLocks/>
                </p:cNvSpPr>
                <p:nvPr/>
              </p:nvSpPr>
              <p:spPr bwMode="gray">
                <a:xfrm>
                  <a:off x="-87313" y="-639762"/>
                  <a:ext cx="1308100" cy="571500"/>
                </a:xfrm>
                <a:custGeom>
                  <a:avLst/>
                  <a:gdLst/>
                  <a:ahLst/>
                  <a:cxnLst>
                    <a:cxn ang="0">
                      <a:pos x="42" y="122"/>
                    </a:cxn>
                    <a:cxn ang="0">
                      <a:pos x="232" y="0"/>
                    </a:cxn>
                    <a:cxn ang="0">
                      <a:pos x="324" y="43"/>
                    </a:cxn>
                    <a:cxn ang="0">
                      <a:pos x="309" y="147"/>
                    </a:cxn>
                    <a:cxn ang="0">
                      <a:pos x="271" y="66"/>
                    </a:cxn>
                    <a:cxn ang="0">
                      <a:pos x="186" y="56"/>
                    </a:cxn>
                    <a:cxn ang="0">
                      <a:pos x="93" y="89"/>
                    </a:cxn>
                    <a:cxn ang="0">
                      <a:pos x="0" y="152"/>
                    </a:cxn>
                  </a:cxnLst>
                  <a:rect l="0" t="0" r="r" b="b"/>
                  <a:pathLst>
                    <a:path w="349" h="152">
                      <a:moveTo>
                        <a:pt x="42" y="122"/>
                      </a:moveTo>
                      <a:cubicBezTo>
                        <a:pt x="99" y="79"/>
                        <a:pt x="159" y="0"/>
                        <a:pt x="232" y="0"/>
                      </a:cubicBezTo>
                      <a:cubicBezTo>
                        <a:pt x="263" y="0"/>
                        <a:pt x="304" y="17"/>
                        <a:pt x="324" y="43"/>
                      </a:cubicBezTo>
                      <a:cubicBezTo>
                        <a:pt x="344" y="70"/>
                        <a:pt x="349" y="138"/>
                        <a:pt x="309" y="147"/>
                      </a:cubicBezTo>
                      <a:cubicBezTo>
                        <a:pt x="303" y="117"/>
                        <a:pt x="295" y="86"/>
                        <a:pt x="271" y="66"/>
                      </a:cubicBezTo>
                      <a:cubicBezTo>
                        <a:pt x="239" y="41"/>
                        <a:pt x="220" y="47"/>
                        <a:pt x="186" y="56"/>
                      </a:cubicBezTo>
                      <a:cubicBezTo>
                        <a:pt x="152" y="65"/>
                        <a:pt x="122" y="71"/>
                        <a:pt x="93" y="89"/>
                      </a:cubicBezTo>
                      <a:cubicBezTo>
                        <a:pt x="62" y="107"/>
                        <a:pt x="34" y="141"/>
                        <a:pt x="0" y="152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4" name="Freeform 125"/>
                <p:cNvSpPr>
                  <a:spLocks/>
                </p:cNvSpPr>
                <p:nvPr/>
              </p:nvSpPr>
              <p:spPr bwMode="gray">
                <a:xfrm>
                  <a:off x="-2501900" y="-6432550"/>
                  <a:ext cx="2092325" cy="4953000"/>
                </a:xfrm>
                <a:custGeom>
                  <a:avLst/>
                  <a:gdLst/>
                  <a:ahLst/>
                  <a:cxnLst>
                    <a:cxn ang="0">
                      <a:pos x="542" y="1169"/>
                    </a:cxn>
                    <a:cxn ang="0">
                      <a:pos x="541" y="1266"/>
                    </a:cxn>
                    <a:cxn ang="0">
                      <a:pos x="455" y="1312"/>
                    </a:cxn>
                    <a:cxn ang="0">
                      <a:pos x="398" y="1245"/>
                    </a:cxn>
                    <a:cxn ang="0">
                      <a:pos x="336" y="1160"/>
                    </a:cxn>
                    <a:cxn ang="0">
                      <a:pos x="233" y="990"/>
                    </a:cxn>
                    <a:cxn ang="0">
                      <a:pos x="155" y="793"/>
                    </a:cxn>
                    <a:cxn ang="0">
                      <a:pos x="27" y="404"/>
                    </a:cxn>
                    <a:cxn ang="0">
                      <a:pos x="23" y="185"/>
                    </a:cxn>
                    <a:cxn ang="0">
                      <a:pos x="6" y="0"/>
                    </a:cxn>
                    <a:cxn ang="0">
                      <a:pos x="10" y="170"/>
                    </a:cxn>
                    <a:cxn ang="0">
                      <a:pos x="44" y="346"/>
                    </a:cxn>
                    <a:cxn ang="0">
                      <a:pos x="106" y="591"/>
                    </a:cxn>
                    <a:cxn ang="0">
                      <a:pos x="276" y="1025"/>
                    </a:cxn>
                    <a:cxn ang="0">
                      <a:pos x="386" y="1213"/>
                    </a:cxn>
                    <a:cxn ang="0">
                      <a:pos x="482" y="1240"/>
                    </a:cxn>
                    <a:cxn ang="0">
                      <a:pos x="530" y="1148"/>
                    </a:cxn>
                  </a:cxnLst>
                  <a:rect l="0" t="0" r="r" b="b"/>
                  <a:pathLst>
                    <a:path w="558" h="1321">
                      <a:moveTo>
                        <a:pt x="542" y="1169"/>
                      </a:moveTo>
                      <a:cubicBezTo>
                        <a:pt x="558" y="1191"/>
                        <a:pt x="555" y="1242"/>
                        <a:pt x="541" y="1266"/>
                      </a:cubicBezTo>
                      <a:cubicBezTo>
                        <a:pt x="530" y="1287"/>
                        <a:pt x="479" y="1321"/>
                        <a:pt x="455" y="1312"/>
                      </a:cubicBezTo>
                      <a:cubicBezTo>
                        <a:pt x="444" y="1308"/>
                        <a:pt x="405" y="1254"/>
                        <a:pt x="398" y="1245"/>
                      </a:cubicBezTo>
                      <a:cubicBezTo>
                        <a:pt x="377" y="1220"/>
                        <a:pt x="353" y="1189"/>
                        <a:pt x="336" y="1160"/>
                      </a:cubicBezTo>
                      <a:cubicBezTo>
                        <a:pt x="303" y="1104"/>
                        <a:pt x="260" y="1050"/>
                        <a:pt x="233" y="990"/>
                      </a:cubicBezTo>
                      <a:cubicBezTo>
                        <a:pt x="205" y="927"/>
                        <a:pt x="177" y="855"/>
                        <a:pt x="155" y="793"/>
                      </a:cubicBezTo>
                      <a:cubicBezTo>
                        <a:pt x="111" y="667"/>
                        <a:pt x="41" y="541"/>
                        <a:pt x="27" y="404"/>
                      </a:cubicBezTo>
                      <a:cubicBezTo>
                        <a:pt x="20" y="326"/>
                        <a:pt x="43" y="261"/>
                        <a:pt x="23" y="185"/>
                      </a:cubicBezTo>
                      <a:cubicBezTo>
                        <a:pt x="6" y="123"/>
                        <a:pt x="0" y="66"/>
                        <a:pt x="6" y="0"/>
                      </a:cubicBezTo>
                      <a:cubicBezTo>
                        <a:pt x="6" y="58"/>
                        <a:pt x="11" y="114"/>
                        <a:pt x="10" y="170"/>
                      </a:cubicBezTo>
                      <a:cubicBezTo>
                        <a:pt x="10" y="236"/>
                        <a:pt x="29" y="286"/>
                        <a:pt x="44" y="346"/>
                      </a:cubicBezTo>
                      <a:cubicBezTo>
                        <a:pt x="65" y="427"/>
                        <a:pt x="79" y="511"/>
                        <a:pt x="106" y="591"/>
                      </a:cubicBezTo>
                      <a:cubicBezTo>
                        <a:pt x="157" y="739"/>
                        <a:pt x="225" y="885"/>
                        <a:pt x="276" y="1025"/>
                      </a:cubicBezTo>
                      <a:cubicBezTo>
                        <a:pt x="306" y="1106"/>
                        <a:pt x="317" y="1165"/>
                        <a:pt x="386" y="1213"/>
                      </a:cubicBezTo>
                      <a:cubicBezTo>
                        <a:pt x="412" y="1230"/>
                        <a:pt x="449" y="1254"/>
                        <a:pt x="482" y="1240"/>
                      </a:cubicBezTo>
                      <a:cubicBezTo>
                        <a:pt x="523" y="1224"/>
                        <a:pt x="518" y="1182"/>
                        <a:pt x="530" y="1148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5" name="Freeform 126"/>
                <p:cNvSpPr>
                  <a:spLocks/>
                </p:cNvSpPr>
                <p:nvPr/>
              </p:nvSpPr>
              <p:spPr bwMode="gray">
                <a:xfrm>
                  <a:off x="-1466850" y="-1479550"/>
                  <a:ext cx="854075" cy="693738"/>
                </a:xfrm>
                <a:custGeom>
                  <a:avLst/>
                  <a:gdLst/>
                  <a:ahLst/>
                  <a:cxnLst>
                    <a:cxn ang="0">
                      <a:pos x="13" y="30"/>
                    </a:cxn>
                    <a:cxn ang="0">
                      <a:pos x="228" y="18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8" h="185">
                      <a:moveTo>
                        <a:pt x="13" y="30"/>
                      </a:moveTo>
                      <a:cubicBezTo>
                        <a:pt x="80" y="65"/>
                        <a:pt x="145" y="185"/>
                        <a:pt x="228" y="181"/>
                      </a:cubicBezTo>
                      <a:cubicBezTo>
                        <a:pt x="216" y="68"/>
                        <a:pt x="79" y="39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6" name="Freeform 127"/>
                <p:cNvSpPr>
                  <a:spLocks/>
                </p:cNvSpPr>
                <p:nvPr/>
              </p:nvSpPr>
              <p:spPr bwMode="gray">
                <a:xfrm>
                  <a:off x="-1069975" y="-7924800"/>
                  <a:ext cx="1316038" cy="647700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156" y="77"/>
                    </a:cxn>
                    <a:cxn ang="0">
                      <a:pos x="351" y="12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51" h="173">
                      <a:moveTo>
                        <a:pt x="4" y="0"/>
                      </a:moveTo>
                      <a:cubicBezTo>
                        <a:pt x="61" y="17"/>
                        <a:pt x="98" y="62"/>
                        <a:pt x="156" y="77"/>
                      </a:cubicBezTo>
                      <a:cubicBezTo>
                        <a:pt x="212" y="92"/>
                        <a:pt x="304" y="90"/>
                        <a:pt x="351" y="123"/>
                      </a:cubicBezTo>
                      <a:cubicBezTo>
                        <a:pt x="231" y="173"/>
                        <a:pt x="90" y="60"/>
                        <a:pt x="0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7" name="Freeform 128"/>
                <p:cNvSpPr>
                  <a:spLocks/>
                </p:cNvSpPr>
                <p:nvPr/>
              </p:nvSpPr>
              <p:spPr bwMode="gray">
                <a:xfrm>
                  <a:off x="22225" y="-1809750"/>
                  <a:ext cx="441325" cy="627063"/>
                </a:xfrm>
                <a:custGeom>
                  <a:avLst/>
                  <a:gdLst/>
                  <a:ahLst/>
                  <a:cxnLst>
                    <a:cxn ang="0">
                      <a:pos x="5" y="71"/>
                    </a:cxn>
                    <a:cxn ang="0">
                      <a:pos x="97" y="4"/>
                    </a:cxn>
                    <a:cxn ang="0">
                      <a:pos x="25" y="167"/>
                    </a:cxn>
                    <a:cxn ang="0">
                      <a:pos x="46" y="64"/>
                    </a:cxn>
                    <a:cxn ang="0">
                      <a:pos x="0" y="80"/>
                    </a:cxn>
                  </a:cxnLst>
                  <a:rect l="0" t="0" r="r" b="b"/>
                  <a:pathLst>
                    <a:path w="118" h="167">
                      <a:moveTo>
                        <a:pt x="5" y="71"/>
                      </a:moveTo>
                      <a:cubicBezTo>
                        <a:pt x="22" y="46"/>
                        <a:pt x="63" y="0"/>
                        <a:pt x="97" y="4"/>
                      </a:cubicBezTo>
                      <a:cubicBezTo>
                        <a:pt x="118" y="70"/>
                        <a:pt x="64" y="119"/>
                        <a:pt x="25" y="167"/>
                      </a:cubicBezTo>
                      <a:cubicBezTo>
                        <a:pt x="38" y="136"/>
                        <a:pt x="85" y="96"/>
                        <a:pt x="46" y="64"/>
                      </a:cubicBezTo>
                      <a:cubicBezTo>
                        <a:pt x="27" y="58"/>
                        <a:pt x="9" y="63"/>
                        <a:pt x="0" y="8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8" name="Freeform 129"/>
                <p:cNvSpPr>
                  <a:spLocks/>
                </p:cNvSpPr>
                <p:nvPr/>
              </p:nvSpPr>
              <p:spPr bwMode="gray">
                <a:xfrm>
                  <a:off x="969963" y="-4073525"/>
                  <a:ext cx="304800" cy="2241550"/>
                </a:xfrm>
                <a:custGeom>
                  <a:avLst/>
                  <a:gdLst/>
                  <a:ahLst/>
                  <a:cxnLst>
                    <a:cxn ang="0">
                      <a:pos x="26" y="17"/>
                    </a:cxn>
                    <a:cxn ang="0">
                      <a:pos x="5" y="295"/>
                    </a:cxn>
                    <a:cxn ang="0">
                      <a:pos x="9" y="460"/>
                    </a:cxn>
                    <a:cxn ang="0">
                      <a:pos x="18" y="598"/>
                    </a:cxn>
                    <a:cxn ang="0">
                      <a:pos x="64" y="309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81" h="598">
                      <a:moveTo>
                        <a:pt x="26" y="17"/>
                      </a:moveTo>
                      <a:cubicBezTo>
                        <a:pt x="26" y="112"/>
                        <a:pt x="0" y="198"/>
                        <a:pt x="5" y="295"/>
                      </a:cubicBezTo>
                      <a:cubicBezTo>
                        <a:pt x="8" y="348"/>
                        <a:pt x="4" y="406"/>
                        <a:pt x="9" y="460"/>
                      </a:cubicBezTo>
                      <a:cubicBezTo>
                        <a:pt x="13" y="505"/>
                        <a:pt x="31" y="551"/>
                        <a:pt x="18" y="598"/>
                      </a:cubicBezTo>
                      <a:cubicBezTo>
                        <a:pt x="81" y="529"/>
                        <a:pt x="65" y="399"/>
                        <a:pt x="64" y="309"/>
                      </a:cubicBezTo>
                      <a:cubicBezTo>
                        <a:pt x="63" y="204"/>
                        <a:pt x="15" y="103"/>
                        <a:pt x="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99" name="Freeform 130"/>
                <p:cNvSpPr>
                  <a:spLocks/>
                </p:cNvSpPr>
                <p:nvPr/>
              </p:nvSpPr>
              <p:spPr bwMode="gray">
                <a:xfrm>
                  <a:off x="708025" y="-8191500"/>
                  <a:ext cx="501650" cy="3529013"/>
                </a:xfrm>
                <a:custGeom>
                  <a:avLst/>
                  <a:gdLst/>
                  <a:ahLst/>
                  <a:cxnLst>
                    <a:cxn ang="0">
                      <a:pos x="134" y="67"/>
                    </a:cxn>
                    <a:cxn ang="0">
                      <a:pos x="0" y="182"/>
                    </a:cxn>
                    <a:cxn ang="0">
                      <a:pos x="104" y="333"/>
                    </a:cxn>
                    <a:cxn ang="0">
                      <a:pos x="66" y="544"/>
                    </a:cxn>
                    <a:cxn ang="0">
                      <a:pos x="92" y="760"/>
                    </a:cxn>
                    <a:cxn ang="0">
                      <a:pos x="100" y="857"/>
                    </a:cxn>
                    <a:cxn ang="0">
                      <a:pos x="46" y="941"/>
                    </a:cxn>
                    <a:cxn ang="0">
                      <a:pos x="130" y="751"/>
                    </a:cxn>
                    <a:cxn ang="0">
                      <a:pos x="126" y="498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134" h="941">
                      <a:moveTo>
                        <a:pt x="134" y="67"/>
                      </a:moveTo>
                      <a:cubicBezTo>
                        <a:pt x="99" y="118"/>
                        <a:pt x="41" y="139"/>
                        <a:pt x="0" y="182"/>
                      </a:cubicBezTo>
                      <a:cubicBezTo>
                        <a:pt x="74" y="171"/>
                        <a:pt x="105" y="277"/>
                        <a:pt x="104" y="333"/>
                      </a:cubicBezTo>
                      <a:cubicBezTo>
                        <a:pt x="104" y="412"/>
                        <a:pt x="83" y="473"/>
                        <a:pt x="66" y="544"/>
                      </a:cubicBezTo>
                      <a:cubicBezTo>
                        <a:pt x="49" y="619"/>
                        <a:pt x="82" y="689"/>
                        <a:pt x="92" y="760"/>
                      </a:cubicBezTo>
                      <a:cubicBezTo>
                        <a:pt x="96" y="789"/>
                        <a:pt x="103" y="828"/>
                        <a:pt x="100" y="857"/>
                      </a:cubicBezTo>
                      <a:cubicBezTo>
                        <a:pt x="96" y="902"/>
                        <a:pt x="66" y="902"/>
                        <a:pt x="46" y="941"/>
                      </a:cubicBezTo>
                      <a:cubicBezTo>
                        <a:pt x="123" y="926"/>
                        <a:pt x="133" y="817"/>
                        <a:pt x="130" y="751"/>
                      </a:cubicBezTo>
                      <a:cubicBezTo>
                        <a:pt x="126" y="669"/>
                        <a:pt x="126" y="582"/>
                        <a:pt x="126" y="498"/>
                      </a:cubicBezTo>
                      <a:cubicBezTo>
                        <a:pt x="126" y="332"/>
                        <a:pt x="126" y="166"/>
                        <a:pt x="12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0" name="Freeform 131"/>
                <p:cNvSpPr>
                  <a:spLocks/>
                </p:cNvSpPr>
                <p:nvPr/>
              </p:nvSpPr>
              <p:spPr bwMode="gray">
                <a:xfrm>
                  <a:off x="198438" y="-10363200"/>
                  <a:ext cx="1046163" cy="1816100"/>
                </a:xfrm>
                <a:custGeom>
                  <a:avLst/>
                  <a:gdLst/>
                  <a:ahLst/>
                  <a:cxnLst>
                    <a:cxn ang="0">
                      <a:pos x="160" y="42"/>
                    </a:cxn>
                    <a:cxn ang="0">
                      <a:pos x="98" y="97"/>
                    </a:cxn>
                    <a:cxn ang="0">
                      <a:pos x="0" y="135"/>
                    </a:cxn>
                    <a:cxn ang="0">
                      <a:pos x="113" y="136"/>
                    </a:cxn>
                    <a:cxn ang="0">
                      <a:pos x="38" y="244"/>
                    </a:cxn>
                    <a:cxn ang="0">
                      <a:pos x="152" y="244"/>
                    </a:cxn>
                    <a:cxn ang="0">
                      <a:pos x="173" y="358"/>
                    </a:cxn>
                    <a:cxn ang="0">
                      <a:pos x="106" y="430"/>
                    </a:cxn>
                    <a:cxn ang="0">
                      <a:pos x="186" y="448"/>
                    </a:cxn>
                    <a:cxn ang="0">
                      <a:pos x="207" y="477"/>
                    </a:cxn>
                    <a:cxn ang="0">
                      <a:pos x="257" y="481"/>
                    </a:cxn>
                    <a:cxn ang="0">
                      <a:pos x="236" y="233"/>
                    </a:cxn>
                    <a:cxn ang="0">
                      <a:pos x="194" y="131"/>
                    </a:cxn>
                    <a:cxn ang="0">
                      <a:pos x="173" y="0"/>
                    </a:cxn>
                  </a:cxnLst>
                  <a:rect l="0" t="0" r="r" b="b"/>
                  <a:pathLst>
                    <a:path w="279" h="484">
                      <a:moveTo>
                        <a:pt x="160" y="42"/>
                      </a:moveTo>
                      <a:cubicBezTo>
                        <a:pt x="137" y="59"/>
                        <a:pt x="123" y="82"/>
                        <a:pt x="98" y="97"/>
                      </a:cubicBezTo>
                      <a:cubicBezTo>
                        <a:pt x="67" y="115"/>
                        <a:pt x="23" y="110"/>
                        <a:pt x="0" y="135"/>
                      </a:cubicBezTo>
                      <a:cubicBezTo>
                        <a:pt x="27" y="146"/>
                        <a:pt x="84" y="151"/>
                        <a:pt x="113" y="136"/>
                      </a:cubicBezTo>
                      <a:cubicBezTo>
                        <a:pt x="109" y="175"/>
                        <a:pt x="67" y="217"/>
                        <a:pt x="38" y="244"/>
                      </a:cubicBezTo>
                      <a:cubicBezTo>
                        <a:pt x="71" y="268"/>
                        <a:pt x="117" y="259"/>
                        <a:pt x="152" y="244"/>
                      </a:cubicBezTo>
                      <a:cubicBezTo>
                        <a:pt x="168" y="277"/>
                        <a:pt x="184" y="320"/>
                        <a:pt x="173" y="358"/>
                      </a:cubicBezTo>
                      <a:cubicBezTo>
                        <a:pt x="163" y="391"/>
                        <a:pt x="129" y="404"/>
                        <a:pt x="106" y="430"/>
                      </a:cubicBezTo>
                      <a:cubicBezTo>
                        <a:pt x="142" y="433"/>
                        <a:pt x="162" y="428"/>
                        <a:pt x="186" y="448"/>
                      </a:cubicBezTo>
                      <a:cubicBezTo>
                        <a:pt x="197" y="457"/>
                        <a:pt x="188" y="467"/>
                        <a:pt x="207" y="477"/>
                      </a:cubicBezTo>
                      <a:cubicBezTo>
                        <a:pt x="220" y="484"/>
                        <a:pt x="242" y="483"/>
                        <a:pt x="257" y="481"/>
                      </a:cubicBezTo>
                      <a:cubicBezTo>
                        <a:pt x="279" y="401"/>
                        <a:pt x="265" y="309"/>
                        <a:pt x="236" y="233"/>
                      </a:cubicBezTo>
                      <a:cubicBezTo>
                        <a:pt x="223" y="198"/>
                        <a:pt x="203" y="165"/>
                        <a:pt x="194" y="131"/>
                      </a:cubicBezTo>
                      <a:cubicBezTo>
                        <a:pt x="183" y="88"/>
                        <a:pt x="190" y="41"/>
                        <a:pt x="173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1" name="Freeform 132"/>
                <p:cNvSpPr>
                  <a:spLocks/>
                </p:cNvSpPr>
                <p:nvPr/>
              </p:nvSpPr>
              <p:spPr bwMode="gray">
                <a:xfrm>
                  <a:off x="-1928813" y="-10028237"/>
                  <a:ext cx="690563" cy="1974850"/>
                </a:xfrm>
                <a:custGeom>
                  <a:avLst/>
                  <a:gdLst/>
                  <a:ahLst/>
                  <a:cxnLst>
                    <a:cxn ang="0">
                      <a:pos x="153" y="21"/>
                    </a:cxn>
                    <a:cxn ang="0">
                      <a:pos x="149" y="307"/>
                    </a:cxn>
                    <a:cxn ang="0">
                      <a:pos x="148" y="423"/>
                    </a:cxn>
                    <a:cxn ang="0">
                      <a:pos x="173" y="527"/>
                    </a:cxn>
                    <a:cxn ang="0">
                      <a:pos x="127" y="334"/>
                    </a:cxn>
                    <a:cxn ang="0">
                      <a:pos x="0" y="219"/>
                    </a:cxn>
                    <a:cxn ang="0">
                      <a:pos x="111" y="219"/>
                    </a:cxn>
                    <a:cxn ang="0">
                      <a:pos x="128" y="159"/>
                    </a:cxn>
                    <a:cxn ang="0">
                      <a:pos x="76" y="118"/>
                    </a:cxn>
                    <a:cxn ang="0">
                      <a:pos x="146" y="89"/>
                    </a:cxn>
                    <a:cxn ang="0">
                      <a:pos x="166" y="0"/>
                    </a:cxn>
                  </a:cxnLst>
                  <a:rect l="0" t="0" r="r" b="b"/>
                  <a:pathLst>
                    <a:path w="184" h="527">
                      <a:moveTo>
                        <a:pt x="153" y="21"/>
                      </a:moveTo>
                      <a:cubicBezTo>
                        <a:pt x="184" y="90"/>
                        <a:pt x="153" y="230"/>
                        <a:pt x="149" y="307"/>
                      </a:cubicBezTo>
                      <a:cubicBezTo>
                        <a:pt x="147" y="346"/>
                        <a:pt x="141" y="385"/>
                        <a:pt x="148" y="423"/>
                      </a:cubicBezTo>
                      <a:cubicBezTo>
                        <a:pt x="156" y="460"/>
                        <a:pt x="180" y="487"/>
                        <a:pt x="173" y="527"/>
                      </a:cubicBezTo>
                      <a:cubicBezTo>
                        <a:pt x="136" y="491"/>
                        <a:pt x="143" y="384"/>
                        <a:pt x="127" y="334"/>
                      </a:cubicBezTo>
                      <a:cubicBezTo>
                        <a:pt x="112" y="284"/>
                        <a:pt x="51" y="241"/>
                        <a:pt x="0" y="219"/>
                      </a:cubicBezTo>
                      <a:cubicBezTo>
                        <a:pt x="34" y="218"/>
                        <a:pt x="84" y="248"/>
                        <a:pt x="111" y="219"/>
                      </a:cubicBezTo>
                      <a:cubicBezTo>
                        <a:pt x="121" y="208"/>
                        <a:pt x="131" y="174"/>
                        <a:pt x="128" y="159"/>
                      </a:cubicBezTo>
                      <a:cubicBezTo>
                        <a:pt x="120" y="128"/>
                        <a:pt x="97" y="140"/>
                        <a:pt x="76" y="118"/>
                      </a:cubicBezTo>
                      <a:cubicBezTo>
                        <a:pt x="93" y="93"/>
                        <a:pt x="125" y="108"/>
                        <a:pt x="146" y="89"/>
                      </a:cubicBezTo>
                      <a:cubicBezTo>
                        <a:pt x="165" y="70"/>
                        <a:pt x="168" y="25"/>
                        <a:pt x="166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2" name="Freeform 133"/>
                <p:cNvSpPr>
                  <a:spLocks/>
                </p:cNvSpPr>
                <p:nvPr/>
              </p:nvSpPr>
              <p:spPr bwMode="gray">
                <a:xfrm>
                  <a:off x="-3011488" y="-10186987"/>
                  <a:ext cx="482600" cy="506413"/>
                </a:xfrm>
                <a:custGeom>
                  <a:avLst/>
                  <a:gdLst/>
                  <a:ahLst/>
                  <a:cxnLst>
                    <a:cxn ang="0">
                      <a:pos x="53" y="0"/>
                    </a:cxn>
                    <a:cxn ang="0">
                      <a:pos x="129" y="34"/>
                    </a:cxn>
                    <a:cxn ang="0">
                      <a:pos x="67" y="59"/>
                    </a:cxn>
                    <a:cxn ang="0">
                      <a:pos x="101" y="105"/>
                    </a:cxn>
                    <a:cxn ang="0">
                      <a:pos x="8" y="130"/>
                    </a:cxn>
                    <a:cxn ang="0">
                      <a:pos x="49" y="4"/>
                    </a:cxn>
                  </a:cxnLst>
                  <a:rect l="0" t="0" r="r" b="b"/>
                  <a:pathLst>
                    <a:path w="129" h="135">
                      <a:moveTo>
                        <a:pt x="53" y="0"/>
                      </a:moveTo>
                      <a:cubicBezTo>
                        <a:pt x="72" y="15"/>
                        <a:pt x="106" y="33"/>
                        <a:pt x="129" y="34"/>
                      </a:cubicBezTo>
                      <a:cubicBezTo>
                        <a:pt x="125" y="56"/>
                        <a:pt x="88" y="55"/>
                        <a:pt x="67" y="59"/>
                      </a:cubicBezTo>
                      <a:cubicBezTo>
                        <a:pt x="59" y="85"/>
                        <a:pt x="72" y="107"/>
                        <a:pt x="101" y="105"/>
                      </a:cubicBezTo>
                      <a:cubicBezTo>
                        <a:pt x="76" y="109"/>
                        <a:pt x="36" y="135"/>
                        <a:pt x="8" y="130"/>
                      </a:cubicBezTo>
                      <a:cubicBezTo>
                        <a:pt x="0" y="92"/>
                        <a:pt x="19" y="27"/>
                        <a:pt x="49" y="4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3" name="Freeform 134"/>
                <p:cNvSpPr>
                  <a:spLocks/>
                </p:cNvSpPr>
                <p:nvPr/>
              </p:nvSpPr>
              <p:spPr bwMode="gray">
                <a:xfrm>
                  <a:off x="-668338" y="-1020762"/>
                  <a:ext cx="517525" cy="1327150"/>
                </a:xfrm>
                <a:custGeom>
                  <a:avLst/>
                  <a:gdLst/>
                  <a:ahLst/>
                  <a:cxnLst>
                    <a:cxn ang="0">
                      <a:pos x="113" y="220"/>
                    </a:cxn>
                    <a:cxn ang="0">
                      <a:pos x="83" y="0"/>
                    </a:cxn>
                    <a:cxn ang="0">
                      <a:pos x="29" y="190"/>
                    </a:cxn>
                    <a:cxn ang="0">
                      <a:pos x="20" y="250"/>
                    </a:cxn>
                    <a:cxn ang="0">
                      <a:pos x="27" y="300"/>
                    </a:cxn>
                    <a:cxn ang="0">
                      <a:pos x="8" y="305"/>
                    </a:cxn>
                    <a:cxn ang="0">
                      <a:pos x="112" y="351"/>
                    </a:cxn>
                    <a:cxn ang="0">
                      <a:pos x="121" y="203"/>
                    </a:cxn>
                  </a:cxnLst>
                  <a:rect l="0" t="0" r="r" b="b"/>
                  <a:pathLst>
                    <a:path w="138" h="354">
                      <a:moveTo>
                        <a:pt x="113" y="220"/>
                      </a:moveTo>
                      <a:cubicBezTo>
                        <a:pt x="84" y="153"/>
                        <a:pt x="83" y="76"/>
                        <a:pt x="83" y="0"/>
                      </a:cubicBezTo>
                      <a:cubicBezTo>
                        <a:pt x="71" y="48"/>
                        <a:pt x="22" y="132"/>
                        <a:pt x="29" y="190"/>
                      </a:cubicBezTo>
                      <a:cubicBezTo>
                        <a:pt x="67" y="202"/>
                        <a:pt x="68" y="259"/>
                        <a:pt x="20" y="250"/>
                      </a:cubicBezTo>
                      <a:cubicBezTo>
                        <a:pt x="18" y="269"/>
                        <a:pt x="25" y="283"/>
                        <a:pt x="27" y="300"/>
                      </a:cubicBezTo>
                      <a:cubicBezTo>
                        <a:pt x="20" y="301"/>
                        <a:pt x="16" y="305"/>
                        <a:pt x="8" y="305"/>
                      </a:cubicBezTo>
                      <a:cubicBezTo>
                        <a:pt x="0" y="345"/>
                        <a:pt x="83" y="354"/>
                        <a:pt x="112" y="351"/>
                      </a:cubicBezTo>
                      <a:cubicBezTo>
                        <a:pt x="114" y="306"/>
                        <a:pt x="138" y="244"/>
                        <a:pt x="121" y="203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4" name="Freeform 135"/>
                <p:cNvSpPr>
                  <a:spLocks/>
                </p:cNvSpPr>
                <p:nvPr/>
              </p:nvSpPr>
              <p:spPr bwMode="gray">
                <a:xfrm>
                  <a:off x="-604838" y="-2014537"/>
                  <a:ext cx="479425" cy="1439863"/>
                </a:xfrm>
                <a:custGeom>
                  <a:avLst/>
                  <a:gdLst/>
                  <a:ahLst/>
                  <a:cxnLst>
                    <a:cxn ang="0">
                      <a:pos x="24" y="4"/>
                    </a:cxn>
                    <a:cxn ang="0">
                      <a:pos x="44" y="237"/>
                    </a:cxn>
                    <a:cxn ang="0">
                      <a:pos x="104" y="313"/>
                    </a:cxn>
                    <a:cxn ang="0">
                      <a:pos x="87" y="122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128" h="384">
                      <a:moveTo>
                        <a:pt x="24" y="4"/>
                      </a:moveTo>
                      <a:cubicBezTo>
                        <a:pt x="0" y="68"/>
                        <a:pt x="31" y="173"/>
                        <a:pt x="44" y="237"/>
                      </a:cubicBezTo>
                      <a:cubicBezTo>
                        <a:pt x="49" y="263"/>
                        <a:pt x="60" y="384"/>
                        <a:pt x="104" y="313"/>
                      </a:cubicBezTo>
                      <a:cubicBezTo>
                        <a:pt x="128" y="274"/>
                        <a:pt x="104" y="160"/>
                        <a:pt x="87" y="122"/>
                      </a:cubicBezTo>
                      <a:cubicBezTo>
                        <a:pt x="67" y="76"/>
                        <a:pt x="36" y="50"/>
                        <a:pt x="28" y="0"/>
                      </a:cubicBezTo>
                    </a:path>
                  </a:pathLst>
                </a:custGeom>
                <a:solidFill>
                  <a:srgbClr val="3B3E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5" name="Freeform 136"/>
                <p:cNvSpPr>
                  <a:spLocks/>
                </p:cNvSpPr>
                <p:nvPr/>
              </p:nvSpPr>
              <p:spPr bwMode="gray">
                <a:xfrm>
                  <a:off x="-2559050" y="-12211050"/>
                  <a:ext cx="1046163" cy="311150"/>
                </a:xfrm>
                <a:custGeom>
                  <a:avLst/>
                  <a:gdLst/>
                  <a:ahLst/>
                  <a:cxnLst>
                    <a:cxn ang="0">
                      <a:pos x="258" y="20"/>
                    </a:cxn>
                    <a:cxn ang="0">
                      <a:pos x="110" y="7"/>
                    </a:cxn>
                    <a:cxn ang="0">
                      <a:pos x="0" y="83"/>
                    </a:cxn>
                    <a:cxn ang="0">
                      <a:pos x="122" y="41"/>
                    </a:cxn>
                    <a:cxn ang="0">
                      <a:pos x="279" y="20"/>
                    </a:cxn>
                  </a:cxnLst>
                  <a:rect l="0" t="0" r="r" b="b"/>
                  <a:pathLst>
                    <a:path w="279" h="83">
                      <a:moveTo>
                        <a:pt x="258" y="20"/>
                      </a:moveTo>
                      <a:cubicBezTo>
                        <a:pt x="206" y="20"/>
                        <a:pt x="162" y="0"/>
                        <a:pt x="110" y="7"/>
                      </a:cubicBezTo>
                      <a:cubicBezTo>
                        <a:pt x="77" y="12"/>
                        <a:pt x="7" y="47"/>
                        <a:pt x="0" y="83"/>
                      </a:cubicBezTo>
                      <a:cubicBezTo>
                        <a:pt x="44" y="75"/>
                        <a:pt x="78" y="45"/>
                        <a:pt x="122" y="41"/>
                      </a:cubicBezTo>
                      <a:cubicBezTo>
                        <a:pt x="168" y="37"/>
                        <a:pt x="243" y="51"/>
                        <a:pt x="279" y="2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6" name="Freeform 137"/>
                <p:cNvSpPr>
                  <a:spLocks/>
                </p:cNvSpPr>
                <p:nvPr/>
              </p:nvSpPr>
              <p:spPr bwMode="gray">
                <a:xfrm>
                  <a:off x="-3270250" y="-12414250"/>
                  <a:ext cx="600075" cy="454025"/>
                </a:xfrm>
                <a:custGeom>
                  <a:avLst/>
                  <a:gdLst/>
                  <a:ahLst/>
                  <a:cxnLst>
                    <a:cxn ang="0">
                      <a:pos x="4" y="116"/>
                    </a:cxn>
                    <a:cxn ang="0">
                      <a:pos x="160" y="0"/>
                    </a:cxn>
                    <a:cxn ang="0">
                      <a:pos x="0" y="121"/>
                    </a:cxn>
                  </a:cxnLst>
                  <a:rect l="0" t="0" r="r" b="b"/>
                  <a:pathLst>
                    <a:path w="160" h="121">
                      <a:moveTo>
                        <a:pt x="4" y="116"/>
                      </a:moveTo>
                      <a:cubicBezTo>
                        <a:pt x="36" y="75"/>
                        <a:pt x="109" y="19"/>
                        <a:pt x="160" y="0"/>
                      </a:cubicBezTo>
                      <a:cubicBezTo>
                        <a:pt x="136" y="36"/>
                        <a:pt x="44" y="115"/>
                        <a:pt x="0" y="121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7" name="Freeform 138"/>
                <p:cNvSpPr>
                  <a:spLocks/>
                </p:cNvSpPr>
                <p:nvPr/>
              </p:nvSpPr>
              <p:spPr bwMode="gray">
                <a:xfrm>
                  <a:off x="-3713163" y="-13385800"/>
                  <a:ext cx="944563" cy="746125"/>
                </a:xfrm>
                <a:custGeom>
                  <a:avLst/>
                  <a:gdLst/>
                  <a:ahLst/>
                  <a:cxnLst>
                    <a:cxn ang="0">
                      <a:pos x="207" y="101"/>
                    </a:cxn>
                    <a:cxn ang="0">
                      <a:pos x="30" y="0"/>
                    </a:cxn>
                    <a:cxn ang="0">
                      <a:pos x="101" y="114"/>
                    </a:cxn>
                    <a:cxn ang="0">
                      <a:pos x="0" y="152"/>
                    </a:cxn>
                    <a:cxn ang="0">
                      <a:pos x="126" y="138"/>
                    </a:cxn>
                    <a:cxn ang="0">
                      <a:pos x="252" y="126"/>
                    </a:cxn>
                    <a:cxn ang="0">
                      <a:pos x="223" y="92"/>
                    </a:cxn>
                  </a:cxnLst>
                  <a:rect l="0" t="0" r="r" b="b"/>
                  <a:pathLst>
                    <a:path w="252" h="199">
                      <a:moveTo>
                        <a:pt x="207" y="101"/>
                      </a:moveTo>
                      <a:cubicBezTo>
                        <a:pt x="131" y="101"/>
                        <a:pt x="92" y="34"/>
                        <a:pt x="30" y="0"/>
                      </a:cubicBezTo>
                      <a:cubicBezTo>
                        <a:pt x="40" y="43"/>
                        <a:pt x="84" y="73"/>
                        <a:pt x="101" y="114"/>
                      </a:cubicBezTo>
                      <a:cubicBezTo>
                        <a:pt x="70" y="130"/>
                        <a:pt x="38" y="157"/>
                        <a:pt x="0" y="152"/>
                      </a:cubicBezTo>
                      <a:cubicBezTo>
                        <a:pt x="11" y="199"/>
                        <a:pt x="102" y="157"/>
                        <a:pt x="126" y="138"/>
                      </a:cubicBezTo>
                      <a:cubicBezTo>
                        <a:pt x="175" y="100"/>
                        <a:pt x="199" y="115"/>
                        <a:pt x="252" y="126"/>
                      </a:cubicBezTo>
                      <a:cubicBezTo>
                        <a:pt x="250" y="111"/>
                        <a:pt x="236" y="100"/>
                        <a:pt x="223" y="92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8" name="Freeform 139"/>
                <p:cNvSpPr>
                  <a:spLocks/>
                </p:cNvSpPr>
                <p:nvPr/>
              </p:nvSpPr>
              <p:spPr bwMode="gray">
                <a:xfrm>
                  <a:off x="-3349625" y="-15114587"/>
                  <a:ext cx="498475" cy="495300"/>
                </a:xfrm>
                <a:custGeom>
                  <a:avLst/>
                  <a:gdLst/>
                  <a:ahLst/>
                  <a:cxnLst>
                    <a:cxn ang="0">
                      <a:pos x="0" y="13"/>
                    </a:cxn>
                    <a:cxn ang="0">
                      <a:pos x="126" y="126"/>
                    </a:cxn>
                    <a:cxn ang="0">
                      <a:pos x="66" y="77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133" h="132">
                      <a:moveTo>
                        <a:pt x="0" y="13"/>
                      </a:moveTo>
                      <a:cubicBezTo>
                        <a:pt x="26" y="71"/>
                        <a:pt x="52" y="132"/>
                        <a:pt x="126" y="126"/>
                      </a:cubicBezTo>
                      <a:cubicBezTo>
                        <a:pt x="133" y="95"/>
                        <a:pt x="87" y="89"/>
                        <a:pt x="66" y="77"/>
                      </a:cubicBezTo>
                      <a:cubicBezTo>
                        <a:pt x="34" y="59"/>
                        <a:pt x="12" y="43"/>
                        <a:pt x="12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09" name="Freeform 140"/>
                <p:cNvSpPr>
                  <a:spLocks/>
                </p:cNvSpPr>
                <p:nvPr/>
              </p:nvSpPr>
              <p:spPr bwMode="gray">
                <a:xfrm>
                  <a:off x="-3035300" y="-11566525"/>
                  <a:ext cx="304800" cy="600075"/>
                </a:xfrm>
                <a:custGeom>
                  <a:avLst/>
                  <a:gdLst/>
                  <a:ahLst/>
                  <a:cxnLst>
                    <a:cxn ang="0">
                      <a:pos x="72" y="55"/>
                    </a:cxn>
                    <a:cxn ang="0">
                      <a:pos x="76" y="151"/>
                    </a:cxn>
                    <a:cxn ang="0">
                      <a:pos x="4" y="80"/>
                    </a:cxn>
                    <a:cxn ang="0">
                      <a:pos x="68" y="68"/>
                    </a:cxn>
                  </a:cxnLst>
                  <a:rect l="0" t="0" r="r" b="b"/>
                  <a:pathLst>
                    <a:path w="81" h="160">
                      <a:moveTo>
                        <a:pt x="72" y="55"/>
                      </a:moveTo>
                      <a:cubicBezTo>
                        <a:pt x="61" y="108"/>
                        <a:pt x="27" y="104"/>
                        <a:pt x="76" y="151"/>
                      </a:cubicBezTo>
                      <a:cubicBezTo>
                        <a:pt x="37" y="160"/>
                        <a:pt x="0" y="117"/>
                        <a:pt x="4" y="80"/>
                      </a:cubicBezTo>
                      <a:cubicBezTo>
                        <a:pt x="10" y="31"/>
                        <a:pt x="81" y="0"/>
                        <a:pt x="68" y="6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0" name="Freeform 141"/>
                <p:cNvSpPr>
                  <a:spLocks/>
                </p:cNvSpPr>
                <p:nvPr/>
              </p:nvSpPr>
              <p:spPr bwMode="gray">
                <a:xfrm>
                  <a:off x="-1174750" y="-15687675"/>
                  <a:ext cx="423863" cy="173038"/>
                </a:xfrm>
                <a:custGeom>
                  <a:avLst/>
                  <a:gdLst/>
                  <a:ahLst/>
                  <a:cxnLst>
                    <a:cxn ang="0">
                      <a:pos x="5" y="13"/>
                    </a:cxn>
                    <a:cxn ang="0">
                      <a:pos x="113" y="0"/>
                    </a:cxn>
                    <a:cxn ang="0">
                      <a:pos x="92" y="32"/>
                    </a:cxn>
                    <a:cxn ang="0">
                      <a:pos x="56" y="45"/>
                    </a:cxn>
                    <a:cxn ang="0">
                      <a:pos x="42" y="40"/>
                    </a:cxn>
                    <a:cxn ang="0">
                      <a:pos x="20" y="37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113" h="46">
                      <a:moveTo>
                        <a:pt x="5" y="13"/>
                      </a:moveTo>
                      <a:cubicBezTo>
                        <a:pt x="41" y="29"/>
                        <a:pt x="80" y="18"/>
                        <a:pt x="113" y="0"/>
                      </a:cubicBezTo>
                      <a:cubicBezTo>
                        <a:pt x="107" y="10"/>
                        <a:pt x="102" y="26"/>
                        <a:pt x="92" y="32"/>
                      </a:cubicBezTo>
                      <a:cubicBezTo>
                        <a:pt x="84" y="37"/>
                        <a:pt x="66" y="46"/>
                        <a:pt x="56" y="45"/>
                      </a:cubicBezTo>
                      <a:cubicBezTo>
                        <a:pt x="50" y="45"/>
                        <a:pt x="47" y="42"/>
                        <a:pt x="42" y="40"/>
                      </a:cubicBezTo>
                      <a:cubicBezTo>
                        <a:pt x="35" y="38"/>
                        <a:pt x="27" y="39"/>
                        <a:pt x="20" y="37"/>
                      </a:cubicBezTo>
                      <a:cubicBezTo>
                        <a:pt x="11" y="34"/>
                        <a:pt x="3" y="21"/>
                        <a:pt x="0" y="12"/>
                      </a:cubicBez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1" name="Freeform 142"/>
                <p:cNvSpPr>
                  <a:spLocks/>
                </p:cNvSpPr>
                <p:nvPr/>
              </p:nvSpPr>
              <p:spPr bwMode="gray">
                <a:xfrm>
                  <a:off x="-1246188" y="-11239500"/>
                  <a:ext cx="1897063" cy="614363"/>
                </a:xfrm>
                <a:custGeom>
                  <a:avLst/>
                  <a:gdLst/>
                  <a:ahLst/>
                  <a:cxnLst>
                    <a:cxn ang="0">
                      <a:pos x="433" y="0"/>
                    </a:cxn>
                    <a:cxn ang="0">
                      <a:pos x="331" y="121"/>
                    </a:cxn>
                    <a:cxn ang="0">
                      <a:pos x="135" y="122"/>
                    </a:cxn>
                    <a:cxn ang="0">
                      <a:pos x="17" y="73"/>
                    </a:cxn>
                    <a:cxn ang="0">
                      <a:pos x="95" y="95"/>
                    </a:cxn>
                  </a:cxnLst>
                  <a:rect l="0" t="0" r="r" b="b"/>
                  <a:pathLst>
                    <a:path w="506" h="164">
                      <a:moveTo>
                        <a:pt x="433" y="0"/>
                      </a:moveTo>
                      <a:cubicBezTo>
                        <a:pt x="506" y="50"/>
                        <a:pt x="358" y="108"/>
                        <a:pt x="331" y="121"/>
                      </a:cubicBezTo>
                      <a:cubicBezTo>
                        <a:pt x="253" y="160"/>
                        <a:pt x="212" y="126"/>
                        <a:pt x="135" y="122"/>
                      </a:cubicBezTo>
                      <a:cubicBezTo>
                        <a:pt x="91" y="119"/>
                        <a:pt x="0" y="164"/>
                        <a:pt x="17" y="73"/>
                      </a:cubicBezTo>
                      <a:cubicBezTo>
                        <a:pt x="48" y="50"/>
                        <a:pt x="76" y="69"/>
                        <a:pt x="95" y="9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2" name="Freeform 143"/>
                <p:cNvSpPr>
                  <a:spLocks/>
                </p:cNvSpPr>
                <p:nvPr/>
              </p:nvSpPr>
              <p:spPr bwMode="gray">
                <a:xfrm>
                  <a:off x="-825500" y="-11150600"/>
                  <a:ext cx="592138" cy="203200"/>
                </a:xfrm>
                <a:custGeom>
                  <a:avLst/>
                  <a:gdLst/>
                  <a:ahLst/>
                  <a:cxnLst>
                    <a:cxn ang="0">
                      <a:pos x="0" y="54"/>
                    </a:cxn>
                    <a:cxn ang="0">
                      <a:pos x="106" y="0"/>
                    </a:cxn>
                    <a:cxn ang="0">
                      <a:pos x="90" y="42"/>
                    </a:cxn>
                    <a:cxn ang="0">
                      <a:pos x="156" y="5"/>
                    </a:cxn>
                    <a:cxn ang="0">
                      <a:pos x="158" y="25"/>
                    </a:cxn>
                  </a:cxnLst>
                  <a:rect l="0" t="0" r="r" b="b"/>
                  <a:pathLst>
                    <a:path w="158" h="54">
                      <a:moveTo>
                        <a:pt x="0" y="54"/>
                      </a:moveTo>
                      <a:cubicBezTo>
                        <a:pt x="44" y="50"/>
                        <a:pt x="68" y="17"/>
                        <a:pt x="106" y="0"/>
                      </a:cubicBezTo>
                      <a:cubicBezTo>
                        <a:pt x="100" y="16"/>
                        <a:pt x="103" y="28"/>
                        <a:pt x="90" y="42"/>
                      </a:cubicBezTo>
                      <a:cubicBezTo>
                        <a:pt x="115" y="37"/>
                        <a:pt x="136" y="19"/>
                        <a:pt x="156" y="5"/>
                      </a:cubicBezTo>
                      <a:cubicBezTo>
                        <a:pt x="157" y="11"/>
                        <a:pt x="158" y="18"/>
                        <a:pt x="158" y="25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3" name="Freeform 144"/>
                <p:cNvSpPr>
                  <a:spLocks/>
                </p:cNvSpPr>
                <p:nvPr/>
              </p:nvSpPr>
              <p:spPr bwMode="gray">
                <a:xfrm>
                  <a:off x="-417513" y="-19359562"/>
                  <a:ext cx="180975" cy="488950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1" y="30"/>
                    </a:cxn>
                    <a:cxn ang="0">
                      <a:pos x="15" y="26"/>
                    </a:cxn>
                    <a:cxn ang="0">
                      <a:pos x="6" y="53"/>
                    </a:cxn>
                    <a:cxn ang="0">
                      <a:pos x="12" y="75"/>
                    </a:cxn>
                    <a:cxn ang="0">
                      <a:pos x="4" y="72"/>
                    </a:cxn>
                    <a:cxn ang="0">
                      <a:pos x="7" y="108"/>
                    </a:cxn>
                    <a:cxn ang="0">
                      <a:pos x="3" y="105"/>
                    </a:cxn>
                    <a:cxn ang="0">
                      <a:pos x="1" y="122"/>
                    </a:cxn>
                    <a:cxn ang="0">
                      <a:pos x="16" y="130"/>
                    </a:cxn>
                    <a:cxn ang="0">
                      <a:pos x="16" y="114"/>
                    </a:cxn>
                    <a:cxn ang="0">
                      <a:pos x="26" y="121"/>
                    </a:cxn>
                    <a:cxn ang="0">
                      <a:pos x="27" y="100"/>
                    </a:cxn>
                    <a:cxn ang="0">
                      <a:pos x="34" y="105"/>
                    </a:cxn>
                    <a:cxn ang="0">
                      <a:pos x="34" y="69"/>
                    </a:cxn>
                    <a:cxn ang="0">
                      <a:pos x="48" y="78"/>
                    </a:cxn>
                    <a:cxn ang="0">
                      <a:pos x="39" y="48"/>
                    </a:cxn>
                    <a:cxn ang="0">
                      <a:pos x="37" y="23"/>
                    </a:cxn>
                    <a:cxn ang="0">
                      <a:pos x="42" y="23"/>
                    </a:cxn>
                    <a:cxn ang="0">
                      <a:pos x="40" y="13"/>
                    </a:cxn>
                    <a:cxn ang="0">
                      <a:pos x="33" y="8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48" h="130">
                      <a:moveTo>
                        <a:pt x="12" y="0"/>
                      </a:moveTo>
                      <a:cubicBezTo>
                        <a:pt x="22" y="7"/>
                        <a:pt x="21" y="18"/>
                        <a:pt x="21" y="30"/>
                      </a:cubicBezTo>
                      <a:cubicBezTo>
                        <a:pt x="19" y="29"/>
                        <a:pt x="17" y="28"/>
                        <a:pt x="15" y="26"/>
                      </a:cubicBezTo>
                      <a:cubicBezTo>
                        <a:pt x="14" y="30"/>
                        <a:pt x="20" y="66"/>
                        <a:pt x="6" y="53"/>
                      </a:cubicBezTo>
                      <a:cubicBezTo>
                        <a:pt x="6" y="61"/>
                        <a:pt x="8" y="68"/>
                        <a:pt x="12" y="75"/>
                      </a:cubicBezTo>
                      <a:cubicBezTo>
                        <a:pt x="9" y="76"/>
                        <a:pt x="7" y="74"/>
                        <a:pt x="4" y="72"/>
                      </a:cubicBezTo>
                      <a:cubicBezTo>
                        <a:pt x="3" y="84"/>
                        <a:pt x="5" y="97"/>
                        <a:pt x="7" y="108"/>
                      </a:cubicBezTo>
                      <a:cubicBezTo>
                        <a:pt x="6" y="107"/>
                        <a:pt x="5" y="107"/>
                        <a:pt x="3" y="105"/>
                      </a:cubicBezTo>
                      <a:cubicBezTo>
                        <a:pt x="3" y="113"/>
                        <a:pt x="0" y="115"/>
                        <a:pt x="1" y="122"/>
                      </a:cubicBezTo>
                      <a:cubicBezTo>
                        <a:pt x="5" y="124"/>
                        <a:pt x="11" y="127"/>
                        <a:pt x="16" y="130"/>
                      </a:cubicBezTo>
                      <a:cubicBezTo>
                        <a:pt x="16" y="125"/>
                        <a:pt x="16" y="120"/>
                        <a:pt x="16" y="114"/>
                      </a:cubicBezTo>
                      <a:cubicBezTo>
                        <a:pt x="19" y="116"/>
                        <a:pt x="22" y="119"/>
                        <a:pt x="26" y="121"/>
                      </a:cubicBezTo>
                      <a:cubicBezTo>
                        <a:pt x="26" y="114"/>
                        <a:pt x="27" y="107"/>
                        <a:pt x="27" y="100"/>
                      </a:cubicBezTo>
                      <a:cubicBezTo>
                        <a:pt x="30" y="101"/>
                        <a:pt x="32" y="103"/>
                        <a:pt x="34" y="105"/>
                      </a:cubicBezTo>
                      <a:cubicBezTo>
                        <a:pt x="39" y="97"/>
                        <a:pt x="35" y="78"/>
                        <a:pt x="34" y="69"/>
                      </a:cubicBezTo>
                      <a:cubicBezTo>
                        <a:pt x="35" y="73"/>
                        <a:pt x="44" y="76"/>
                        <a:pt x="48" y="78"/>
                      </a:cubicBezTo>
                      <a:cubicBezTo>
                        <a:pt x="48" y="68"/>
                        <a:pt x="40" y="59"/>
                        <a:pt x="39" y="48"/>
                      </a:cubicBezTo>
                      <a:cubicBezTo>
                        <a:pt x="46" y="47"/>
                        <a:pt x="38" y="28"/>
                        <a:pt x="37" y="23"/>
                      </a:cubicBezTo>
                      <a:cubicBezTo>
                        <a:pt x="38" y="23"/>
                        <a:pt x="40" y="23"/>
                        <a:pt x="42" y="23"/>
                      </a:cubicBezTo>
                      <a:cubicBezTo>
                        <a:pt x="42" y="23"/>
                        <a:pt x="40" y="14"/>
                        <a:pt x="40" y="13"/>
                      </a:cubicBezTo>
                      <a:cubicBezTo>
                        <a:pt x="38" y="11"/>
                        <a:pt x="36" y="9"/>
                        <a:pt x="33" y="8"/>
                      </a:cubicBezTo>
                      <a:cubicBezTo>
                        <a:pt x="28" y="5"/>
                        <a:pt x="17" y="1"/>
                        <a:pt x="12" y="0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4" name="Freeform 145"/>
                <p:cNvSpPr>
                  <a:spLocks/>
                </p:cNvSpPr>
                <p:nvPr/>
              </p:nvSpPr>
              <p:spPr bwMode="gray">
                <a:xfrm>
                  <a:off x="-95250" y="-19073812"/>
                  <a:ext cx="184150" cy="1450975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9" y="38"/>
                    </a:cxn>
                    <a:cxn ang="0">
                      <a:pos x="22" y="74"/>
                    </a:cxn>
                    <a:cxn ang="0">
                      <a:pos x="32" y="176"/>
                    </a:cxn>
                    <a:cxn ang="0">
                      <a:pos x="26" y="162"/>
                    </a:cxn>
                    <a:cxn ang="0">
                      <a:pos x="25" y="188"/>
                    </a:cxn>
                    <a:cxn ang="0">
                      <a:pos x="25" y="222"/>
                    </a:cxn>
                    <a:cxn ang="0">
                      <a:pos x="15" y="250"/>
                    </a:cxn>
                    <a:cxn ang="0">
                      <a:pos x="19" y="273"/>
                    </a:cxn>
                    <a:cxn ang="0">
                      <a:pos x="14" y="252"/>
                    </a:cxn>
                    <a:cxn ang="0">
                      <a:pos x="11" y="328"/>
                    </a:cxn>
                    <a:cxn ang="0">
                      <a:pos x="8" y="362"/>
                    </a:cxn>
                    <a:cxn ang="0">
                      <a:pos x="2" y="387"/>
                    </a:cxn>
                    <a:cxn ang="0">
                      <a:pos x="21" y="363"/>
                    </a:cxn>
                    <a:cxn ang="0">
                      <a:pos x="31" y="328"/>
                    </a:cxn>
                    <a:cxn ang="0">
                      <a:pos x="34" y="285"/>
                    </a:cxn>
                    <a:cxn ang="0">
                      <a:pos x="38" y="241"/>
                    </a:cxn>
                    <a:cxn ang="0">
                      <a:pos x="45" y="196"/>
                    </a:cxn>
                    <a:cxn ang="0">
                      <a:pos x="46" y="157"/>
                    </a:cxn>
                    <a:cxn ang="0">
                      <a:pos x="43" y="117"/>
                    </a:cxn>
                    <a:cxn ang="0">
                      <a:pos x="36" y="8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9" h="387">
                      <a:moveTo>
                        <a:pt x="1" y="0"/>
                      </a:moveTo>
                      <a:cubicBezTo>
                        <a:pt x="0" y="12"/>
                        <a:pt x="8" y="27"/>
                        <a:pt x="9" y="38"/>
                      </a:cubicBezTo>
                      <a:cubicBezTo>
                        <a:pt x="11" y="50"/>
                        <a:pt x="18" y="62"/>
                        <a:pt x="22" y="74"/>
                      </a:cubicBezTo>
                      <a:cubicBezTo>
                        <a:pt x="33" y="104"/>
                        <a:pt x="38" y="143"/>
                        <a:pt x="32" y="176"/>
                      </a:cubicBezTo>
                      <a:cubicBezTo>
                        <a:pt x="31" y="171"/>
                        <a:pt x="26" y="168"/>
                        <a:pt x="26" y="162"/>
                      </a:cubicBezTo>
                      <a:cubicBezTo>
                        <a:pt x="27" y="171"/>
                        <a:pt x="25" y="180"/>
                        <a:pt x="25" y="188"/>
                      </a:cubicBezTo>
                      <a:cubicBezTo>
                        <a:pt x="25" y="199"/>
                        <a:pt x="27" y="212"/>
                        <a:pt x="25" y="222"/>
                      </a:cubicBezTo>
                      <a:cubicBezTo>
                        <a:pt x="23" y="231"/>
                        <a:pt x="16" y="241"/>
                        <a:pt x="15" y="250"/>
                      </a:cubicBezTo>
                      <a:cubicBezTo>
                        <a:pt x="14" y="258"/>
                        <a:pt x="17" y="266"/>
                        <a:pt x="19" y="273"/>
                      </a:cubicBezTo>
                      <a:cubicBezTo>
                        <a:pt x="19" y="267"/>
                        <a:pt x="16" y="258"/>
                        <a:pt x="14" y="252"/>
                      </a:cubicBezTo>
                      <a:cubicBezTo>
                        <a:pt x="2" y="276"/>
                        <a:pt x="11" y="303"/>
                        <a:pt x="11" y="328"/>
                      </a:cubicBezTo>
                      <a:cubicBezTo>
                        <a:pt x="11" y="340"/>
                        <a:pt x="10" y="351"/>
                        <a:pt x="8" y="362"/>
                      </a:cubicBezTo>
                      <a:cubicBezTo>
                        <a:pt x="7" y="370"/>
                        <a:pt x="6" y="380"/>
                        <a:pt x="2" y="387"/>
                      </a:cubicBezTo>
                      <a:cubicBezTo>
                        <a:pt x="7" y="378"/>
                        <a:pt x="17" y="373"/>
                        <a:pt x="21" y="363"/>
                      </a:cubicBezTo>
                      <a:cubicBezTo>
                        <a:pt x="26" y="351"/>
                        <a:pt x="29" y="340"/>
                        <a:pt x="31" y="328"/>
                      </a:cubicBezTo>
                      <a:cubicBezTo>
                        <a:pt x="33" y="314"/>
                        <a:pt x="32" y="299"/>
                        <a:pt x="34" y="285"/>
                      </a:cubicBezTo>
                      <a:cubicBezTo>
                        <a:pt x="35" y="270"/>
                        <a:pt x="38" y="256"/>
                        <a:pt x="38" y="241"/>
                      </a:cubicBezTo>
                      <a:cubicBezTo>
                        <a:pt x="39" y="226"/>
                        <a:pt x="41" y="210"/>
                        <a:pt x="45" y="196"/>
                      </a:cubicBezTo>
                      <a:cubicBezTo>
                        <a:pt x="49" y="182"/>
                        <a:pt x="46" y="172"/>
                        <a:pt x="46" y="157"/>
                      </a:cubicBezTo>
                      <a:cubicBezTo>
                        <a:pt x="46" y="143"/>
                        <a:pt x="46" y="131"/>
                        <a:pt x="43" y="117"/>
                      </a:cubicBezTo>
                      <a:cubicBezTo>
                        <a:pt x="42" y="106"/>
                        <a:pt x="40" y="92"/>
                        <a:pt x="36" y="81"/>
                      </a:cubicBezTo>
                      <a:cubicBezTo>
                        <a:pt x="30" y="67"/>
                        <a:pt x="9" y="10"/>
                        <a:pt x="1" y="0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5" name="Freeform 146"/>
                <p:cNvSpPr>
                  <a:spLocks/>
                </p:cNvSpPr>
                <p:nvPr/>
              </p:nvSpPr>
              <p:spPr bwMode="gray">
                <a:xfrm>
                  <a:off x="-2160588" y="-18788062"/>
                  <a:ext cx="220663" cy="557213"/>
                </a:xfrm>
                <a:custGeom>
                  <a:avLst/>
                  <a:gdLst/>
                  <a:ahLst/>
                  <a:cxnLst>
                    <a:cxn ang="0">
                      <a:pos x="59" y="142"/>
                    </a:cxn>
                    <a:cxn ang="0">
                      <a:pos x="50" y="113"/>
                    </a:cxn>
                    <a:cxn ang="0">
                      <a:pos x="54" y="79"/>
                    </a:cxn>
                    <a:cxn ang="0">
                      <a:pos x="39" y="97"/>
                    </a:cxn>
                    <a:cxn ang="0">
                      <a:pos x="38" y="63"/>
                    </a:cxn>
                    <a:cxn ang="0">
                      <a:pos x="18" y="73"/>
                    </a:cxn>
                    <a:cxn ang="0">
                      <a:pos x="21" y="0"/>
                    </a:cxn>
                    <a:cxn ang="0">
                      <a:pos x="2" y="34"/>
                    </a:cxn>
                    <a:cxn ang="0">
                      <a:pos x="1" y="72"/>
                    </a:cxn>
                    <a:cxn ang="0">
                      <a:pos x="14" y="106"/>
                    </a:cxn>
                    <a:cxn ang="0">
                      <a:pos x="22" y="122"/>
                    </a:cxn>
                    <a:cxn ang="0">
                      <a:pos x="29" y="140"/>
                    </a:cxn>
                    <a:cxn ang="0">
                      <a:pos x="38" y="147"/>
                    </a:cxn>
                    <a:cxn ang="0">
                      <a:pos x="38" y="149"/>
                    </a:cxn>
                    <a:cxn ang="0">
                      <a:pos x="49" y="144"/>
                    </a:cxn>
                    <a:cxn ang="0">
                      <a:pos x="59" y="142"/>
                    </a:cxn>
                  </a:cxnLst>
                  <a:rect l="0" t="0" r="r" b="b"/>
                  <a:pathLst>
                    <a:path w="59" h="149">
                      <a:moveTo>
                        <a:pt x="59" y="142"/>
                      </a:moveTo>
                      <a:cubicBezTo>
                        <a:pt x="57" y="132"/>
                        <a:pt x="50" y="124"/>
                        <a:pt x="50" y="113"/>
                      </a:cubicBezTo>
                      <a:cubicBezTo>
                        <a:pt x="49" y="101"/>
                        <a:pt x="52" y="90"/>
                        <a:pt x="54" y="79"/>
                      </a:cubicBezTo>
                      <a:cubicBezTo>
                        <a:pt x="46" y="78"/>
                        <a:pt x="38" y="90"/>
                        <a:pt x="39" y="97"/>
                      </a:cubicBezTo>
                      <a:cubicBezTo>
                        <a:pt x="34" y="86"/>
                        <a:pt x="31" y="73"/>
                        <a:pt x="38" y="63"/>
                      </a:cubicBezTo>
                      <a:cubicBezTo>
                        <a:pt x="29" y="59"/>
                        <a:pt x="23" y="68"/>
                        <a:pt x="18" y="73"/>
                      </a:cubicBezTo>
                      <a:cubicBezTo>
                        <a:pt x="11" y="49"/>
                        <a:pt x="16" y="24"/>
                        <a:pt x="21" y="0"/>
                      </a:cubicBezTo>
                      <a:cubicBezTo>
                        <a:pt x="9" y="4"/>
                        <a:pt x="3" y="23"/>
                        <a:pt x="2" y="34"/>
                      </a:cubicBezTo>
                      <a:cubicBezTo>
                        <a:pt x="1" y="46"/>
                        <a:pt x="0" y="61"/>
                        <a:pt x="1" y="72"/>
                      </a:cubicBezTo>
                      <a:cubicBezTo>
                        <a:pt x="3" y="85"/>
                        <a:pt x="7" y="95"/>
                        <a:pt x="14" y="106"/>
                      </a:cubicBezTo>
                      <a:cubicBezTo>
                        <a:pt x="17" y="111"/>
                        <a:pt x="20" y="117"/>
                        <a:pt x="22" y="122"/>
                      </a:cubicBezTo>
                      <a:cubicBezTo>
                        <a:pt x="25" y="127"/>
                        <a:pt x="26" y="135"/>
                        <a:pt x="29" y="140"/>
                      </a:cubicBezTo>
                      <a:cubicBezTo>
                        <a:pt x="31" y="144"/>
                        <a:pt x="34" y="146"/>
                        <a:pt x="38" y="147"/>
                      </a:cubicBezTo>
                      <a:cubicBezTo>
                        <a:pt x="38" y="148"/>
                        <a:pt x="38" y="148"/>
                        <a:pt x="38" y="149"/>
                      </a:cubicBezTo>
                      <a:cubicBezTo>
                        <a:pt x="43" y="149"/>
                        <a:pt x="45" y="146"/>
                        <a:pt x="49" y="144"/>
                      </a:cubicBezTo>
                      <a:cubicBezTo>
                        <a:pt x="52" y="143"/>
                        <a:pt x="57" y="142"/>
                        <a:pt x="59" y="142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6" name="Freeform 147"/>
                <p:cNvSpPr>
                  <a:spLocks/>
                </p:cNvSpPr>
                <p:nvPr/>
              </p:nvSpPr>
              <p:spPr bwMode="gray">
                <a:xfrm>
                  <a:off x="-2044700" y="-19318287"/>
                  <a:ext cx="280988" cy="176213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75" y="1"/>
                    </a:cxn>
                    <a:cxn ang="0">
                      <a:pos x="58" y="18"/>
                    </a:cxn>
                    <a:cxn ang="0">
                      <a:pos x="40" y="34"/>
                    </a:cxn>
                    <a:cxn ang="0">
                      <a:pos x="0" y="38"/>
                    </a:cxn>
                  </a:cxnLst>
                  <a:rect l="0" t="0" r="r" b="b"/>
                  <a:pathLst>
                    <a:path w="75" h="47">
                      <a:moveTo>
                        <a:pt x="0" y="38"/>
                      </a:moveTo>
                      <a:cubicBezTo>
                        <a:pt x="20" y="17"/>
                        <a:pt x="45" y="0"/>
                        <a:pt x="75" y="1"/>
                      </a:cubicBezTo>
                      <a:cubicBezTo>
                        <a:pt x="75" y="7"/>
                        <a:pt x="62" y="15"/>
                        <a:pt x="58" y="18"/>
                      </a:cubicBezTo>
                      <a:cubicBezTo>
                        <a:pt x="52" y="23"/>
                        <a:pt x="46" y="28"/>
                        <a:pt x="40" y="34"/>
                      </a:cubicBezTo>
                      <a:cubicBezTo>
                        <a:pt x="27" y="47"/>
                        <a:pt x="16" y="38"/>
                        <a:pt x="0" y="38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7" name="Freeform 148"/>
                <p:cNvSpPr>
                  <a:spLocks/>
                </p:cNvSpPr>
                <p:nvPr/>
              </p:nvSpPr>
              <p:spPr bwMode="gray">
                <a:xfrm>
                  <a:off x="-1789113" y="-19535775"/>
                  <a:ext cx="295275" cy="117475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39" y="16"/>
                    </a:cxn>
                    <a:cxn ang="0">
                      <a:pos x="79" y="0"/>
                    </a:cxn>
                    <a:cxn ang="0">
                      <a:pos x="55" y="14"/>
                    </a:cxn>
                    <a:cxn ang="0">
                      <a:pos x="41" y="20"/>
                    </a:cxn>
                    <a:cxn ang="0">
                      <a:pos x="13" y="2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79" h="31">
                      <a:moveTo>
                        <a:pt x="0" y="10"/>
                      </a:moveTo>
                      <a:cubicBezTo>
                        <a:pt x="5" y="19"/>
                        <a:pt x="31" y="17"/>
                        <a:pt x="39" y="16"/>
                      </a:cubicBezTo>
                      <a:cubicBezTo>
                        <a:pt x="53" y="13"/>
                        <a:pt x="66" y="4"/>
                        <a:pt x="79" y="0"/>
                      </a:cubicBezTo>
                      <a:cubicBezTo>
                        <a:pt x="77" y="5"/>
                        <a:pt x="61" y="11"/>
                        <a:pt x="55" y="14"/>
                      </a:cubicBezTo>
                      <a:cubicBezTo>
                        <a:pt x="51" y="17"/>
                        <a:pt x="46" y="18"/>
                        <a:pt x="41" y="20"/>
                      </a:cubicBezTo>
                      <a:cubicBezTo>
                        <a:pt x="33" y="24"/>
                        <a:pt x="23" y="31"/>
                        <a:pt x="13" y="29"/>
                      </a:cubicBezTo>
                      <a:cubicBezTo>
                        <a:pt x="10" y="22"/>
                        <a:pt x="7" y="14"/>
                        <a:pt x="0" y="11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18" name="Freeform 149"/>
                <p:cNvSpPr>
                  <a:spLocks/>
                </p:cNvSpPr>
                <p:nvPr/>
              </p:nvSpPr>
              <p:spPr bwMode="gray">
                <a:xfrm>
                  <a:off x="-2052638" y="-19335750"/>
                  <a:ext cx="652463" cy="704850"/>
                </a:xfrm>
                <a:custGeom>
                  <a:avLst/>
                  <a:gdLst/>
                  <a:ahLst/>
                  <a:cxnLst>
                    <a:cxn ang="0">
                      <a:pos x="42" y="93"/>
                    </a:cxn>
                    <a:cxn ang="0">
                      <a:pos x="94" y="38"/>
                    </a:cxn>
                    <a:cxn ang="0">
                      <a:pos x="174" y="20"/>
                    </a:cxn>
                    <a:cxn ang="0">
                      <a:pos x="117" y="11"/>
                    </a:cxn>
                    <a:cxn ang="0">
                      <a:pos x="152" y="7"/>
                    </a:cxn>
                    <a:cxn ang="0">
                      <a:pos x="0" y="160"/>
                    </a:cxn>
                    <a:cxn ang="0">
                      <a:pos x="11" y="142"/>
                    </a:cxn>
                    <a:cxn ang="0">
                      <a:pos x="14" y="188"/>
                    </a:cxn>
                    <a:cxn ang="0">
                      <a:pos x="76" y="74"/>
                    </a:cxn>
                  </a:cxnLst>
                  <a:rect l="0" t="0" r="r" b="b"/>
                  <a:pathLst>
                    <a:path w="174" h="188">
                      <a:moveTo>
                        <a:pt x="42" y="93"/>
                      </a:moveTo>
                      <a:cubicBezTo>
                        <a:pt x="64" y="80"/>
                        <a:pt x="71" y="52"/>
                        <a:pt x="94" y="38"/>
                      </a:cubicBezTo>
                      <a:cubicBezTo>
                        <a:pt x="120" y="21"/>
                        <a:pt x="148" y="30"/>
                        <a:pt x="174" y="20"/>
                      </a:cubicBezTo>
                      <a:cubicBezTo>
                        <a:pt x="164" y="5"/>
                        <a:pt x="134" y="6"/>
                        <a:pt x="117" y="11"/>
                      </a:cubicBezTo>
                      <a:cubicBezTo>
                        <a:pt x="128" y="11"/>
                        <a:pt x="140" y="9"/>
                        <a:pt x="152" y="7"/>
                      </a:cubicBezTo>
                      <a:cubicBezTo>
                        <a:pt x="65" y="0"/>
                        <a:pt x="0" y="79"/>
                        <a:pt x="0" y="160"/>
                      </a:cubicBezTo>
                      <a:cubicBezTo>
                        <a:pt x="2" y="148"/>
                        <a:pt x="3" y="151"/>
                        <a:pt x="11" y="142"/>
                      </a:cubicBezTo>
                      <a:cubicBezTo>
                        <a:pt x="12" y="158"/>
                        <a:pt x="4" y="174"/>
                        <a:pt x="14" y="188"/>
                      </a:cubicBezTo>
                      <a:cubicBezTo>
                        <a:pt x="24" y="154"/>
                        <a:pt x="39" y="86"/>
                        <a:pt x="76" y="74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24" name="Gruppieren 980"/>
            <p:cNvGrpSpPr/>
            <p:nvPr/>
          </p:nvGrpSpPr>
          <p:grpSpPr>
            <a:xfrm>
              <a:off x="340067" y="2096300"/>
              <a:ext cx="1410831" cy="2156406"/>
              <a:chOff x="340067" y="2096300"/>
              <a:chExt cx="1410831" cy="2156406"/>
            </a:xfrm>
          </p:grpSpPr>
          <p:sp>
            <p:nvSpPr>
              <p:cNvPr id="29" name="Ellipse 28" descr="© INSCALE GmbH, 26.05.2010&#10;http://www.presentationload.com/"/>
              <p:cNvSpPr/>
              <p:nvPr/>
            </p:nvSpPr>
            <p:spPr bwMode="gray">
              <a:xfrm>
                <a:off x="340067" y="3287832"/>
                <a:ext cx="1410831" cy="96487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63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25" name="Gruppieren 349"/>
              <p:cNvGrpSpPr/>
              <p:nvPr/>
            </p:nvGrpSpPr>
            <p:grpSpPr bwMode="gray">
              <a:xfrm>
                <a:off x="448078" y="2096300"/>
                <a:ext cx="840919" cy="1759686"/>
                <a:chOff x="456277" y="1575807"/>
                <a:chExt cx="1095328" cy="2292056"/>
              </a:xfrm>
            </p:grpSpPr>
            <p:grpSp>
              <p:nvGrpSpPr>
                <p:cNvPr id="26" name="Gruppieren 28"/>
                <p:cNvGrpSpPr/>
                <p:nvPr/>
              </p:nvGrpSpPr>
              <p:grpSpPr bwMode="gray">
                <a:xfrm>
                  <a:off x="456277" y="1681612"/>
                  <a:ext cx="716518" cy="2169986"/>
                  <a:chOff x="-4095750" y="5688013"/>
                  <a:chExt cx="6791325" cy="20567650"/>
                </a:xfrm>
                <a:solidFill>
                  <a:srgbClr val="C8C8C8"/>
                </a:solidFill>
              </p:grpSpPr>
              <p:sp>
                <p:nvSpPr>
                  <p:cNvPr id="422" name="Freeform 267"/>
                  <p:cNvSpPr>
                    <a:spLocks/>
                  </p:cNvSpPr>
                  <p:nvPr/>
                </p:nvSpPr>
                <p:spPr bwMode="gray">
                  <a:xfrm>
                    <a:off x="1247775" y="10442576"/>
                    <a:ext cx="641350" cy="3325813"/>
                  </a:xfrm>
                  <a:custGeom>
                    <a:avLst/>
                    <a:gdLst/>
                    <a:ahLst/>
                    <a:cxnLst>
                      <a:cxn ang="0">
                        <a:pos x="12" y="41"/>
                      </a:cxn>
                      <a:cxn ang="0">
                        <a:pos x="0" y="275"/>
                      </a:cxn>
                      <a:cxn ang="0">
                        <a:pos x="34" y="498"/>
                      </a:cxn>
                      <a:cxn ang="0">
                        <a:pos x="1" y="887"/>
                      </a:cxn>
                      <a:cxn ang="0">
                        <a:pos x="35" y="736"/>
                      </a:cxn>
                      <a:cxn ang="0">
                        <a:pos x="18" y="415"/>
                      </a:cxn>
                      <a:cxn ang="0">
                        <a:pos x="24" y="211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171" h="887">
                        <a:moveTo>
                          <a:pt x="12" y="41"/>
                        </a:moveTo>
                        <a:cubicBezTo>
                          <a:pt x="37" y="97"/>
                          <a:pt x="0" y="207"/>
                          <a:pt x="0" y="275"/>
                        </a:cubicBezTo>
                        <a:cubicBezTo>
                          <a:pt x="0" y="361"/>
                          <a:pt x="6" y="422"/>
                          <a:pt x="34" y="498"/>
                        </a:cubicBezTo>
                        <a:cubicBezTo>
                          <a:pt x="80" y="621"/>
                          <a:pt x="171" y="811"/>
                          <a:pt x="1" y="887"/>
                        </a:cubicBezTo>
                        <a:cubicBezTo>
                          <a:pt x="13" y="832"/>
                          <a:pt x="35" y="802"/>
                          <a:pt x="35" y="736"/>
                        </a:cubicBezTo>
                        <a:cubicBezTo>
                          <a:pt x="35" y="631"/>
                          <a:pt x="28" y="520"/>
                          <a:pt x="18" y="415"/>
                        </a:cubicBezTo>
                        <a:cubicBezTo>
                          <a:pt x="11" y="345"/>
                          <a:pt x="18" y="278"/>
                          <a:pt x="24" y="211"/>
                        </a:cubicBezTo>
                        <a:cubicBezTo>
                          <a:pt x="30" y="144"/>
                          <a:pt x="7" y="62"/>
                          <a:pt x="2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3" name="Freeform 268"/>
                  <p:cNvSpPr>
                    <a:spLocks/>
                  </p:cNvSpPr>
                  <p:nvPr/>
                </p:nvSpPr>
                <p:spPr bwMode="gray">
                  <a:xfrm>
                    <a:off x="-3135313" y="23976013"/>
                    <a:ext cx="1889125" cy="2017713"/>
                  </a:xfrm>
                  <a:custGeom>
                    <a:avLst/>
                    <a:gdLst/>
                    <a:ahLst/>
                    <a:cxnLst>
                      <a:cxn ang="0">
                        <a:pos x="453" y="0"/>
                      </a:cxn>
                      <a:cxn ang="0">
                        <a:pos x="491" y="43"/>
                      </a:cxn>
                      <a:cxn ang="0">
                        <a:pos x="503" y="116"/>
                      </a:cxn>
                      <a:cxn ang="0">
                        <a:pos x="451" y="228"/>
                      </a:cxn>
                      <a:cxn ang="0">
                        <a:pos x="385" y="327"/>
                      </a:cxn>
                      <a:cxn ang="0">
                        <a:pos x="343" y="382"/>
                      </a:cxn>
                      <a:cxn ang="0">
                        <a:pos x="324" y="452"/>
                      </a:cxn>
                      <a:cxn ang="0">
                        <a:pos x="196" y="515"/>
                      </a:cxn>
                      <a:cxn ang="0">
                        <a:pos x="56" y="537"/>
                      </a:cxn>
                      <a:cxn ang="0">
                        <a:pos x="4" y="531"/>
                      </a:cxn>
                      <a:cxn ang="0">
                        <a:pos x="44" y="415"/>
                      </a:cxn>
                      <a:cxn ang="0">
                        <a:pos x="94" y="301"/>
                      </a:cxn>
                      <a:cxn ang="0">
                        <a:pos x="205" y="239"/>
                      </a:cxn>
                      <a:cxn ang="0">
                        <a:pos x="318" y="133"/>
                      </a:cxn>
                      <a:cxn ang="0">
                        <a:pos x="372" y="26"/>
                      </a:cxn>
                      <a:cxn ang="0">
                        <a:pos x="471" y="11"/>
                      </a:cxn>
                    </a:cxnLst>
                    <a:rect l="0" t="0" r="r" b="b"/>
                    <a:pathLst>
                      <a:path w="504" h="538">
                        <a:moveTo>
                          <a:pt x="453" y="0"/>
                        </a:moveTo>
                        <a:cubicBezTo>
                          <a:pt x="468" y="18"/>
                          <a:pt x="482" y="20"/>
                          <a:pt x="491" y="43"/>
                        </a:cubicBezTo>
                        <a:cubicBezTo>
                          <a:pt x="500" y="66"/>
                          <a:pt x="502" y="91"/>
                          <a:pt x="503" y="116"/>
                        </a:cubicBezTo>
                        <a:cubicBezTo>
                          <a:pt x="504" y="156"/>
                          <a:pt x="497" y="220"/>
                          <a:pt x="451" y="228"/>
                        </a:cubicBezTo>
                        <a:cubicBezTo>
                          <a:pt x="427" y="259"/>
                          <a:pt x="408" y="295"/>
                          <a:pt x="385" y="327"/>
                        </a:cubicBezTo>
                        <a:cubicBezTo>
                          <a:pt x="373" y="344"/>
                          <a:pt x="349" y="362"/>
                          <a:pt x="343" y="382"/>
                        </a:cubicBezTo>
                        <a:cubicBezTo>
                          <a:pt x="334" y="411"/>
                          <a:pt x="345" y="427"/>
                          <a:pt x="324" y="452"/>
                        </a:cubicBezTo>
                        <a:cubicBezTo>
                          <a:pt x="289" y="493"/>
                          <a:pt x="242" y="495"/>
                          <a:pt x="196" y="515"/>
                        </a:cubicBezTo>
                        <a:cubicBezTo>
                          <a:pt x="151" y="535"/>
                          <a:pt x="109" y="535"/>
                          <a:pt x="56" y="537"/>
                        </a:cubicBezTo>
                        <a:cubicBezTo>
                          <a:pt x="42" y="538"/>
                          <a:pt x="19" y="532"/>
                          <a:pt x="4" y="531"/>
                        </a:cubicBezTo>
                        <a:cubicBezTo>
                          <a:pt x="0" y="499"/>
                          <a:pt x="30" y="441"/>
                          <a:pt x="44" y="415"/>
                        </a:cubicBezTo>
                        <a:cubicBezTo>
                          <a:pt x="62" y="381"/>
                          <a:pt x="70" y="333"/>
                          <a:pt x="94" y="301"/>
                        </a:cubicBezTo>
                        <a:cubicBezTo>
                          <a:pt x="120" y="267"/>
                          <a:pt x="170" y="258"/>
                          <a:pt x="205" y="239"/>
                        </a:cubicBezTo>
                        <a:cubicBezTo>
                          <a:pt x="250" y="213"/>
                          <a:pt x="288" y="178"/>
                          <a:pt x="318" y="133"/>
                        </a:cubicBezTo>
                        <a:cubicBezTo>
                          <a:pt x="340" y="101"/>
                          <a:pt x="341" y="52"/>
                          <a:pt x="372" y="26"/>
                        </a:cubicBezTo>
                        <a:cubicBezTo>
                          <a:pt x="398" y="5"/>
                          <a:pt x="439" y="6"/>
                          <a:pt x="471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4" name="Freeform 269"/>
                  <p:cNvSpPr>
                    <a:spLocks/>
                  </p:cNvSpPr>
                  <p:nvPr/>
                </p:nvSpPr>
                <p:spPr bwMode="gray">
                  <a:xfrm>
                    <a:off x="-2787650" y="15524163"/>
                    <a:ext cx="2917825" cy="9955213"/>
                  </a:xfrm>
                  <a:custGeom>
                    <a:avLst/>
                    <a:gdLst/>
                    <a:ahLst/>
                    <a:cxnLst>
                      <a:cxn ang="0">
                        <a:pos x="751" y="46"/>
                      </a:cxn>
                      <a:cxn ang="0">
                        <a:pos x="715" y="302"/>
                      </a:cxn>
                      <a:cxn ang="0">
                        <a:pos x="696" y="587"/>
                      </a:cxn>
                      <a:cxn ang="0">
                        <a:pos x="681" y="884"/>
                      </a:cxn>
                      <a:cxn ang="0">
                        <a:pos x="689" y="1016"/>
                      </a:cxn>
                      <a:cxn ang="0">
                        <a:pos x="651" y="1113"/>
                      </a:cxn>
                      <a:cxn ang="0">
                        <a:pos x="622" y="1298"/>
                      </a:cxn>
                      <a:cxn ang="0">
                        <a:pos x="568" y="1465"/>
                      </a:cxn>
                      <a:cxn ang="0">
                        <a:pos x="547" y="1679"/>
                      </a:cxn>
                      <a:cxn ang="0">
                        <a:pos x="424" y="2026"/>
                      </a:cxn>
                      <a:cxn ang="0">
                        <a:pos x="377" y="2201"/>
                      </a:cxn>
                      <a:cxn ang="0">
                        <a:pos x="377" y="2291"/>
                      </a:cxn>
                      <a:cxn ang="0">
                        <a:pos x="374" y="2408"/>
                      </a:cxn>
                      <a:cxn ang="0">
                        <a:pos x="286" y="2521"/>
                      </a:cxn>
                      <a:cxn ang="0">
                        <a:pos x="211" y="2655"/>
                      </a:cxn>
                      <a:cxn ang="0">
                        <a:pos x="12" y="2581"/>
                      </a:cxn>
                      <a:cxn ang="0">
                        <a:pos x="113" y="2475"/>
                      </a:cxn>
                      <a:cxn ang="0">
                        <a:pos x="210" y="2354"/>
                      </a:cxn>
                      <a:cxn ang="0">
                        <a:pos x="252" y="1741"/>
                      </a:cxn>
                      <a:cxn ang="0">
                        <a:pos x="270" y="1473"/>
                      </a:cxn>
                      <a:cxn ang="0">
                        <a:pos x="283" y="1380"/>
                      </a:cxn>
                      <a:cxn ang="0">
                        <a:pos x="345" y="1184"/>
                      </a:cxn>
                      <a:cxn ang="0">
                        <a:pos x="354" y="1079"/>
                      </a:cxn>
                      <a:cxn ang="0">
                        <a:pos x="372" y="967"/>
                      </a:cxn>
                      <a:cxn ang="0">
                        <a:pos x="357" y="676"/>
                      </a:cxn>
                      <a:cxn ang="0">
                        <a:pos x="358" y="8"/>
                      </a:cxn>
                      <a:cxn ang="0">
                        <a:pos x="778" y="50"/>
                      </a:cxn>
                    </a:cxnLst>
                    <a:rect l="0" t="0" r="r" b="b"/>
                    <a:pathLst>
                      <a:path w="778" h="2655">
                        <a:moveTo>
                          <a:pt x="751" y="46"/>
                        </a:moveTo>
                        <a:cubicBezTo>
                          <a:pt x="750" y="133"/>
                          <a:pt x="733" y="218"/>
                          <a:pt x="715" y="302"/>
                        </a:cubicBezTo>
                        <a:cubicBezTo>
                          <a:pt x="694" y="393"/>
                          <a:pt x="701" y="495"/>
                          <a:pt x="696" y="587"/>
                        </a:cubicBezTo>
                        <a:cubicBezTo>
                          <a:pt x="692" y="687"/>
                          <a:pt x="680" y="784"/>
                          <a:pt x="681" y="884"/>
                        </a:cubicBezTo>
                        <a:cubicBezTo>
                          <a:pt x="681" y="929"/>
                          <a:pt x="689" y="970"/>
                          <a:pt x="689" y="1016"/>
                        </a:cubicBezTo>
                        <a:cubicBezTo>
                          <a:pt x="688" y="1062"/>
                          <a:pt x="669" y="1075"/>
                          <a:pt x="651" y="1113"/>
                        </a:cubicBezTo>
                        <a:cubicBezTo>
                          <a:pt x="634" y="1151"/>
                          <a:pt x="641" y="1272"/>
                          <a:pt x="622" y="1298"/>
                        </a:cubicBezTo>
                        <a:cubicBezTo>
                          <a:pt x="592" y="1340"/>
                          <a:pt x="568" y="1404"/>
                          <a:pt x="568" y="1465"/>
                        </a:cubicBezTo>
                        <a:cubicBezTo>
                          <a:pt x="568" y="1538"/>
                          <a:pt x="568" y="1609"/>
                          <a:pt x="547" y="1679"/>
                        </a:cubicBezTo>
                        <a:cubicBezTo>
                          <a:pt x="529" y="1741"/>
                          <a:pt x="445" y="1972"/>
                          <a:pt x="424" y="2026"/>
                        </a:cubicBezTo>
                        <a:cubicBezTo>
                          <a:pt x="402" y="2084"/>
                          <a:pt x="382" y="2137"/>
                          <a:pt x="377" y="2201"/>
                        </a:cubicBezTo>
                        <a:cubicBezTo>
                          <a:pt x="374" y="2231"/>
                          <a:pt x="370" y="2262"/>
                          <a:pt x="377" y="2291"/>
                        </a:cubicBezTo>
                        <a:cubicBezTo>
                          <a:pt x="384" y="2320"/>
                          <a:pt x="384" y="2374"/>
                          <a:pt x="374" y="2408"/>
                        </a:cubicBezTo>
                        <a:cubicBezTo>
                          <a:pt x="358" y="2461"/>
                          <a:pt x="327" y="2480"/>
                          <a:pt x="286" y="2521"/>
                        </a:cubicBezTo>
                        <a:cubicBezTo>
                          <a:pt x="255" y="2552"/>
                          <a:pt x="255" y="2616"/>
                          <a:pt x="211" y="2655"/>
                        </a:cubicBezTo>
                        <a:cubicBezTo>
                          <a:pt x="211" y="2655"/>
                          <a:pt x="0" y="2611"/>
                          <a:pt x="12" y="2581"/>
                        </a:cubicBezTo>
                        <a:cubicBezTo>
                          <a:pt x="29" y="2541"/>
                          <a:pt x="79" y="2502"/>
                          <a:pt x="113" y="2475"/>
                        </a:cubicBezTo>
                        <a:cubicBezTo>
                          <a:pt x="148" y="2445"/>
                          <a:pt x="189" y="2396"/>
                          <a:pt x="210" y="2354"/>
                        </a:cubicBezTo>
                        <a:cubicBezTo>
                          <a:pt x="236" y="2303"/>
                          <a:pt x="255" y="1803"/>
                          <a:pt x="252" y="1741"/>
                        </a:cubicBezTo>
                        <a:cubicBezTo>
                          <a:pt x="251" y="1710"/>
                          <a:pt x="264" y="1503"/>
                          <a:pt x="270" y="1473"/>
                        </a:cubicBezTo>
                        <a:cubicBezTo>
                          <a:pt x="277" y="1436"/>
                          <a:pt x="286" y="1414"/>
                          <a:pt x="283" y="1380"/>
                        </a:cubicBezTo>
                        <a:cubicBezTo>
                          <a:pt x="278" y="1310"/>
                          <a:pt x="329" y="1249"/>
                          <a:pt x="345" y="1184"/>
                        </a:cubicBezTo>
                        <a:cubicBezTo>
                          <a:pt x="354" y="1152"/>
                          <a:pt x="350" y="1112"/>
                          <a:pt x="354" y="1079"/>
                        </a:cubicBezTo>
                        <a:cubicBezTo>
                          <a:pt x="357" y="1041"/>
                          <a:pt x="368" y="1005"/>
                          <a:pt x="372" y="967"/>
                        </a:cubicBezTo>
                        <a:cubicBezTo>
                          <a:pt x="382" y="870"/>
                          <a:pt x="373" y="768"/>
                          <a:pt x="357" y="676"/>
                        </a:cubicBezTo>
                        <a:cubicBezTo>
                          <a:pt x="321" y="456"/>
                          <a:pt x="347" y="227"/>
                          <a:pt x="358" y="8"/>
                        </a:cubicBezTo>
                        <a:cubicBezTo>
                          <a:pt x="506" y="0"/>
                          <a:pt x="644" y="5"/>
                          <a:pt x="778" y="5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5" name="Freeform 270"/>
                  <p:cNvSpPr>
                    <a:spLocks/>
                  </p:cNvSpPr>
                  <p:nvPr/>
                </p:nvSpPr>
                <p:spPr bwMode="gray">
                  <a:xfrm>
                    <a:off x="-1133475" y="7926388"/>
                    <a:ext cx="2122488" cy="3573463"/>
                  </a:xfrm>
                  <a:custGeom>
                    <a:avLst/>
                    <a:gdLst/>
                    <a:ahLst/>
                    <a:cxnLst>
                      <a:cxn ang="0">
                        <a:pos x="136" y="59"/>
                      </a:cxn>
                      <a:cxn ang="0">
                        <a:pos x="84" y="133"/>
                      </a:cxn>
                      <a:cxn ang="0">
                        <a:pos x="53" y="222"/>
                      </a:cxn>
                      <a:cxn ang="0">
                        <a:pos x="12" y="339"/>
                      </a:cxn>
                      <a:cxn ang="0">
                        <a:pos x="3" y="386"/>
                      </a:cxn>
                      <a:cxn ang="0">
                        <a:pos x="46" y="494"/>
                      </a:cxn>
                      <a:cxn ang="0">
                        <a:pos x="96" y="654"/>
                      </a:cxn>
                      <a:cxn ang="0">
                        <a:pos x="136" y="714"/>
                      </a:cxn>
                      <a:cxn ang="0">
                        <a:pos x="142" y="820"/>
                      </a:cxn>
                      <a:cxn ang="0">
                        <a:pos x="260" y="931"/>
                      </a:cxn>
                      <a:cxn ang="0">
                        <a:pos x="377" y="829"/>
                      </a:cxn>
                      <a:cxn ang="0">
                        <a:pos x="429" y="674"/>
                      </a:cxn>
                      <a:cxn ang="0">
                        <a:pos x="471" y="538"/>
                      </a:cxn>
                      <a:cxn ang="0">
                        <a:pos x="534" y="445"/>
                      </a:cxn>
                      <a:cxn ang="0">
                        <a:pos x="560" y="355"/>
                      </a:cxn>
                      <a:cxn ang="0">
                        <a:pos x="514" y="238"/>
                      </a:cxn>
                      <a:cxn ang="0">
                        <a:pos x="436" y="124"/>
                      </a:cxn>
                      <a:cxn ang="0">
                        <a:pos x="322" y="4"/>
                      </a:cxn>
                      <a:cxn ang="0">
                        <a:pos x="179" y="36"/>
                      </a:cxn>
                    </a:cxnLst>
                    <a:rect l="0" t="0" r="r" b="b"/>
                    <a:pathLst>
                      <a:path w="566" h="953">
                        <a:moveTo>
                          <a:pt x="136" y="59"/>
                        </a:moveTo>
                        <a:cubicBezTo>
                          <a:pt x="136" y="88"/>
                          <a:pt x="99" y="110"/>
                          <a:pt x="84" y="133"/>
                        </a:cubicBezTo>
                        <a:cubicBezTo>
                          <a:pt x="65" y="163"/>
                          <a:pt x="62" y="189"/>
                          <a:pt x="53" y="222"/>
                        </a:cubicBezTo>
                        <a:cubicBezTo>
                          <a:pt x="43" y="258"/>
                          <a:pt x="23" y="300"/>
                          <a:pt x="12" y="339"/>
                        </a:cubicBezTo>
                        <a:cubicBezTo>
                          <a:pt x="7" y="356"/>
                          <a:pt x="4" y="368"/>
                          <a:pt x="3" y="386"/>
                        </a:cubicBezTo>
                        <a:cubicBezTo>
                          <a:pt x="0" y="439"/>
                          <a:pt x="30" y="452"/>
                          <a:pt x="46" y="494"/>
                        </a:cubicBezTo>
                        <a:cubicBezTo>
                          <a:pt x="66" y="547"/>
                          <a:pt x="69" y="601"/>
                          <a:pt x="96" y="654"/>
                        </a:cubicBezTo>
                        <a:cubicBezTo>
                          <a:pt x="106" y="675"/>
                          <a:pt x="127" y="692"/>
                          <a:pt x="136" y="714"/>
                        </a:cubicBezTo>
                        <a:cubicBezTo>
                          <a:pt x="148" y="744"/>
                          <a:pt x="137" y="786"/>
                          <a:pt x="142" y="820"/>
                        </a:cubicBezTo>
                        <a:cubicBezTo>
                          <a:pt x="153" y="889"/>
                          <a:pt x="176" y="953"/>
                          <a:pt x="260" y="931"/>
                        </a:cubicBezTo>
                        <a:cubicBezTo>
                          <a:pt x="282" y="880"/>
                          <a:pt x="342" y="868"/>
                          <a:pt x="377" y="829"/>
                        </a:cubicBezTo>
                        <a:cubicBezTo>
                          <a:pt x="417" y="784"/>
                          <a:pt x="421" y="730"/>
                          <a:pt x="429" y="674"/>
                        </a:cubicBezTo>
                        <a:cubicBezTo>
                          <a:pt x="435" y="631"/>
                          <a:pt x="447" y="575"/>
                          <a:pt x="471" y="538"/>
                        </a:cubicBezTo>
                        <a:cubicBezTo>
                          <a:pt x="494" y="502"/>
                          <a:pt x="520" y="487"/>
                          <a:pt x="534" y="445"/>
                        </a:cubicBezTo>
                        <a:cubicBezTo>
                          <a:pt x="544" y="414"/>
                          <a:pt x="557" y="388"/>
                          <a:pt x="560" y="355"/>
                        </a:cubicBezTo>
                        <a:cubicBezTo>
                          <a:pt x="566" y="305"/>
                          <a:pt x="541" y="281"/>
                          <a:pt x="514" y="238"/>
                        </a:cubicBezTo>
                        <a:cubicBezTo>
                          <a:pt x="487" y="197"/>
                          <a:pt x="453" y="170"/>
                          <a:pt x="436" y="124"/>
                        </a:cubicBezTo>
                        <a:cubicBezTo>
                          <a:pt x="413" y="64"/>
                          <a:pt x="396" y="10"/>
                          <a:pt x="322" y="4"/>
                        </a:cubicBezTo>
                        <a:cubicBezTo>
                          <a:pt x="271" y="0"/>
                          <a:pt x="227" y="27"/>
                          <a:pt x="179" y="3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6" name="Freeform 271"/>
                  <p:cNvSpPr>
                    <a:spLocks/>
                  </p:cNvSpPr>
                  <p:nvPr/>
                </p:nvSpPr>
                <p:spPr bwMode="gray">
                  <a:xfrm>
                    <a:off x="-304800" y="23855363"/>
                    <a:ext cx="1431925" cy="2400300"/>
                  </a:xfrm>
                  <a:custGeom>
                    <a:avLst/>
                    <a:gdLst/>
                    <a:ahLst/>
                    <a:cxnLst>
                      <a:cxn ang="0">
                        <a:pos x="99" y="26"/>
                      </a:cxn>
                      <a:cxn ang="0">
                        <a:pos x="29" y="111"/>
                      </a:cxn>
                      <a:cxn ang="0">
                        <a:pos x="8" y="172"/>
                      </a:cxn>
                      <a:cxn ang="0">
                        <a:pos x="31" y="239"/>
                      </a:cxn>
                      <a:cxn ang="0">
                        <a:pos x="78" y="368"/>
                      </a:cxn>
                      <a:cxn ang="0">
                        <a:pos x="93" y="429"/>
                      </a:cxn>
                      <a:cxn ang="0">
                        <a:pos x="99" y="508"/>
                      </a:cxn>
                      <a:cxn ang="0">
                        <a:pos x="209" y="588"/>
                      </a:cxn>
                      <a:cxn ang="0">
                        <a:pos x="370" y="639"/>
                      </a:cxn>
                      <a:cxn ang="0">
                        <a:pos x="377" y="496"/>
                      </a:cxn>
                      <a:cxn ang="0">
                        <a:pos x="362" y="438"/>
                      </a:cxn>
                      <a:cxn ang="0">
                        <a:pos x="327" y="390"/>
                      </a:cxn>
                      <a:cxn ang="0">
                        <a:pos x="279" y="275"/>
                      </a:cxn>
                      <a:cxn ang="0">
                        <a:pos x="238" y="146"/>
                      </a:cxn>
                      <a:cxn ang="0">
                        <a:pos x="186" y="38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382" h="640">
                        <a:moveTo>
                          <a:pt x="99" y="26"/>
                        </a:moveTo>
                        <a:cubicBezTo>
                          <a:pt x="49" y="19"/>
                          <a:pt x="36" y="75"/>
                          <a:pt x="29" y="111"/>
                        </a:cubicBezTo>
                        <a:cubicBezTo>
                          <a:pt x="25" y="132"/>
                          <a:pt x="13" y="152"/>
                          <a:pt x="8" y="172"/>
                        </a:cubicBezTo>
                        <a:cubicBezTo>
                          <a:pt x="0" y="203"/>
                          <a:pt x="19" y="212"/>
                          <a:pt x="31" y="239"/>
                        </a:cubicBezTo>
                        <a:cubicBezTo>
                          <a:pt x="49" y="281"/>
                          <a:pt x="70" y="324"/>
                          <a:pt x="78" y="368"/>
                        </a:cubicBezTo>
                        <a:cubicBezTo>
                          <a:pt x="82" y="389"/>
                          <a:pt x="89" y="408"/>
                          <a:pt x="93" y="429"/>
                        </a:cubicBezTo>
                        <a:cubicBezTo>
                          <a:pt x="98" y="453"/>
                          <a:pt x="91" y="484"/>
                          <a:pt x="99" y="508"/>
                        </a:cubicBezTo>
                        <a:cubicBezTo>
                          <a:pt x="113" y="556"/>
                          <a:pt x="168" y="570"/>
                          <a:pt x="209" y="588"/>
                        </a:cubicBezTo>
                        <a:cubicBezTo>
                          <a:pt x="259" y="609"/>
                          <a:pt x="315" y="640"/>
                          <a:pt x="370" y="639"/>
                        </a:cubicBezTo>
                        <a:cubicBezTo>
                          <a:pt x="376" y="592"/>
                          <a:pt x="382" y="545"/>
                          <a:pt x="377" y="496"/>
                        </a:cubicBezTo>
                        <a:cubicBezTo>
                          <a:pt x="375" y="474"/>
                          <a:pt x="372" y="457"/>
                          <a:pt x="362" y="438"/>
                        </a:cubicBezTo>
                        <a:cubicBezTo>
                          <a:pt x="352" y="421"/>
                          <a:pt x="338" y="407"/>
                          <a:pt x="327" y="390"/>
                        </a:cubicBezTo>
                        <a:cubicBezTo>
                          <a:pt x="306" y="355"/>
                          <a:pt x="294" y="313"/>
                          <a:pt x="279" y="275"/>
                        </a:cubicBezTo>
                        <a:cubicBezTo>
                          <a:pt x="263" y="233"/>
                          <a:pt x="245" y="189"/>
                          <a:pt x="238" y="146"/>
                        </a:cubicBezTo>
                        <a:cubicBezTo>
                          <a:pt x="232" y="107"/>
                          <a:pt x="215" y="66"/>
                          <a:pt x="186" y="38"/>
                        </a:cubicBezTo>
                        <a:cubicBezTo>
                          <a:pt x="162" y="15"/>
                          <a:pt x="107" y="0"/>
                          <a:pt x="81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7" name="Freeform 272"/>
                  <p:cNvSpPr>
                    <a:spLocks/>
                  </p:cNvSpPr>
                  <p:nvPr/>
                </p:nvSpPr>
                <p:spPr bwMode="gray">
                  <a:xfrm>
                    <a:off x="-117475" y="15621001"/>
                    <a:ext cx="1766888" cy="10001250"/>
                  </a:xfrm>
                  <a:custGeom>
                    <a:avLst/>
                    <a:gdLst/>
                    <a:ahLst/>
                    <a:cxnLst>
                      <a:cxn ang="0">
                        <a:pos x="66" y="16"/>
                      </a:cxn>
                      <a:cxn ang="0">
                        <a:pos x="48" y="498"/>
                      </a:cxn>
                      <a:cxn ang="0">
                        <a:pos x="84" y="980"/>
                      </a:cxn>
                      <a:cxn ang="0">
                        <a:pos x="89" y="1181"/>
                      </a:cxn>
                      <a:cxn ang="0">
                        <a:pos x="62" y="1388"/>
                      </a:cxn>
                      <a:cxn ang="0">
                        <a:pos x="66" y="1789"/>
                      </a:cxn>
                      <a:cxn ang="0">
                        <a:pos x="20" y="2297"/>
                      </a:cxn>
                      <a:cxn ang="0">
                        <a:pos x="4" y="2358"/>
                      </a:cxn>
                      <a:cxn ang="0">
                        <a:pos x="48" y="2479"/>
                      </a:cxn>
                      <a:cxn ang="0">
                        <a:pos x="91" y="2636"/>
                      </a:cxn>
                      <a:cxn ang="0">
                        <a:pos x="273" y="2631"/>
                      </a:cxn>
                      <a:cxn ang="0">
                        <a:pos x="201" y="2214"/>
                      </a:cxn>
                      <a:cxn ang="0">
                        <a:pos x="364" y="1357"/>
                      </a:cxn>
                      <a:cxn ang="0">
                        <a:pos x="353" y="1118"/>
                      </a:cxn>
                      <a:cxn ang="0">
                        <a:pos x="407" y="761"/>
                      </a:cxn>
                      <a:cxn ang="0">
                        <a:pos x="434" y="515"/>
                      </a:cxn>
                      <a:cxn ang="0">
                        <a:pos x="407" y="8"/>
                      </a:cxn>
                      <a:cxn ang="0">
                        <a:pos x="66" y="7"/>
                      </a:cxn>
                    </a:cxnLst>
                    <a:rect l="0" t="0" r="r" b="b"/>
                    <a:pathLst>
                      <a:path w="471" h="2667">
                        <a:moveTo>
                          <a:pt x="66" y="16"/>
                        </a:moveTo>
                        <a:cubicBezTo>
                          <a:pt x="97" y="171"/>
                          <a:pt x="48" y="335"/>
                          <a:pt x="48" y="498"/>
                        </a:cubicBezTo>
                        <a:cubicBezTo>
                          <a:pt x="48" y="668"/>
                          <a:pt x="53" y="823"/>
                          <a:pt x="84" y="980"/>
                        </a:cubicBezTo>
                        <a:cubicBezTo>
                          <a:pt x="97" y="1046"/>
                          <a:pt x="92" y="1111"/>
                          <a:pt x="89" y="1181"/>
                        </a:cubicBezTo>
                        <a:cubicBezTo>
                          <a:pt x="85" y="1254"/>
                          <a:pt x="89" y="1324"/>
                          <a:pt x="62" y="1388"/>
                        </a:cubicBezTo>
                        <a:cubicBezTo>
                          <a:pt x="0" y="1540"/>
                          <a:pt x="59" y="1653"/>
                          <a:pt x="66" y="1789"/>
                        </a:cubicBezTo>
                        <a:cubicBezTo>
                          <a:pt x="72" y="1893"/>
                          <a:pt x="35" y="2179"/>
                          <a:pt x="20" y="2297"/>
                        </a:cubicBezTo>
                        <a:cubicBezTo>
                          <a:pt x="19" y="2307"/>
                          <a:pt x="1" y="2333"/>
                          <a:pt x="4" y="2358"/>
                        </a:cubicBezTo>
                        <a:cubicBezTo>
                          <a:pt x="8" y="2405"/>
                          <a:pt x="36" y="2460"/>
                          <a:pt x="48" y="2479"/>
                        </a:cubicBezTo>
                        <a:cubicBezTo>
                          <a:pt x="75" y="2521"/>
                          <a:pt x="52" y="2613"/>
                          <a:pt x="91" y="2636"/>
                        </a:cubicBezTo>
                        <a:cubicBezTo>
                          <a:pt x="144" y="2667"/>
                          <a:pt x="273" y="2631"/>
                          <a:pt x="273" y="2631"/>
                        </a:cubicBezTo>
                        <a:cubicBezTo>
                          <a:pt x="232" y="2565"/>
                          <a:pt x="185" y="2354"/>
                          <a:pt x="201" y="2214"/>
                        </a:cubicBezTo>
                        <a:cubicBezTo>
                          <a:pt x="216" y="2078"/>
                          <a:pt x="371" y="1520"/>
                          <a:pt x="364" y="1357"/>
                        </a:cubicBezTo>
                        <a:cubicBezTo>
                          <a:pt x="359" y="1232"/>
                          <a:pt x="343" y="1241"/>
                          <a:pt x="353" y="1118"/>
                        </a:cubicBezTo>
                        <a:cubicBezTo>
                          <a:pt x="359" y="1043"/>
                          <a:pt x="391" y="831"/>
                          <a:pt x="407" y="761"/>
                        </a:cubicBezTo>
                        <a:cubicBezTo>
                          <a:pt x="426" y="679"/>
                          <a:pt x="434" y="601"/>
                          <a:pt x="434" y="515"/>
                        </a:cubicBezTo>
                        <a:cubicBezTo>
                          <a:pt x="434" y="360"/>
                          <a:pt x="471" y="144"/>
                          <a:pt x="407" y="8"/>
                        </a:cubicBezTo>
                        <a:cubicBezTo>
                          <a:pt x="295" y="0"/>
                          <a:pt x="179" y="7"/>
                          <a:pt x="66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8" name="Freeform 273"/>
                  <p:cNvSpPr>
                    <a:spLocks/>
                  </p:cNvSpPr>
                  <p:nvPr/>
                </p:nvSpPr>
                <p:spPr bwMode="gray">
                  <a:xfrm>
                    <a:off x="-71438" y="19408776"/>
                    <a:ext cx="1577975" cy="2628900"/>
                  </a:xfrm>
                  <a:custGeom>
                    <a:avLst/>
                    <a:gdLst/>
                    <a:ahLst/>
                    <a:cxnLst>
                      <a:cxn ang="0">
                        <a:pos x="54" y="701"/>
                      </a:cxn>
                      <a:cxn ang="0">
                        <a:pos x="71" y="427"/>
                      </a:cxn>
                      <a:cxn ang="0">
                        <a:pos x="195" y="194"/>
                      </a:cxn>
                      <a:cxn ang="0">
                        <a:pos x="329" y="35"/>
                      </a:cxn>
                      <a:cxn ang="0">
                        <a:pos x="88" y="121"/>
                      </a:cxn>
                      <a:cxn ang="0">
                        <a:pos x="72" y="275"/>
                      </a:cxn>
                      <a:cxn ang="0">
                        <a:pos x="24" y="409"/>
                      </a:cxn>
                      <a:cxn ang="0">
                        <a:pos x="54" y="701"/>
                      </a:cxn>
                    </a:cxnLst>
                    <a:rect l="0" t="0" r="r" b="b"/>
                    <a:pathLst>
                      <a:path w="421" h="701">
                        <a:moveTo>
                          <a:pt x="54" y="701"/>
                        </a:moveTo>
                        <a:cubicBezTo>
                          <a:pt x="64" y="608"/>
                          <a:pt x="46" y="519"/>
                          <a:pt x="71" y="427"/>
                        </a:cubicBezTo>
                        <a:cubicBezTo>
                          <a:pt x="89" y="362"/>
                          <a:pt x="145" y="234"/>
                          <a:pt x="195" y="194"/>
                        </a:cubicBezTo>
                        <a:cubicBezTo>
                          <a:pt x="230" y="166"/>
                          <a:pt x="421" y="104"/>
                          <a:pt x="329" y="35"/>
                        </a:cubicBezTo>
                        <a:cubicBezTo>
                          <a:pt x="283" y="0"/>
                          <a:pt x="115" y="77"/>
                          <a:pt x="88" y="121"/>
                        </a:cubicBezTo>
                        <a:cubicBezTo>
                          <a:pt x="65" y="159"/>
                          <a:pt x="78" y="232"/>
                          <a:pt x="72" y="275"/>
                        </a:cubicBezTo>
                        <a:cubicBezTo>
                          <a:pt x="64" y="323"/>
                          <a:pt x="34" y="361"/>
                          <a:pt x="24" y="409"/>
                        </a:cubicBezTo>
                        <a:cubicBezTo>
                          <a:pt x="0" y="523"/>
                          <a:pt x="41" y="601"/>
                          <a:pt x="54" y="7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9" name="Freeform 274"/>
                  <p:cNvSpPr>
                    <a:spLocks/>
                  </p:cNvSpPr>
                  <p:nvPr/>
                </p:nvSpPr>
                <p:spPr bwMode="gray">
                  <a:xfrm>
                    <a:off x="-1557338" y="19745326"/>
                    <a:ext cx="1219200" cy="1957388"/>
                  </a:xfrm>
                  <a:custGeom>
                    <a:avLst/>
                    <a:gdLst/>
                    <a:ahLst/>
                    <a:cxnLst>
                      <a:cxn ang="0">
                        <a:pos x="23" y="109"/>
                      </a:cxn>
                      <a:cxn ang="0">
                        <a:pos x="107" y="178"/>
                      </a:cxn>
                      <a:cxn ang="0">
                        <a:pos x="205" y="237"/>
                      </a:cxn>
                      <a:cxn ang="0">
                        <a:pos x="210" y="390"/>
                      </a:cxn>
                      <a:cxn ang="0">
                        <a:pos x="216" y="522"/>
                      </a:cxn>
                      <a:cxn ang="0">
                        <a:pos x="246" y="337"/>
                      </a:cxn>
                      <a:cxn ang="0">
                        <a:pos x="300" y="163"/>
                      </a:cxn>
                      <a:cxn ang="0">
                        <a:pos x="199" y="43"/>
                      </a:cxn>
                      <a:cxn ang="0">
                        <a:pos x="0" y="62"/>
                      </a:cxn>
                    </a:cxnLst>
                    <a:rect l="0" t="0" r="r" b="b"/>
                    <a:pathLst>
                      <a:path w="325" h="522">
                        <a:moveTo>
                          <a:pt x="23" y="109"/>
                        </a:moveTo>
                        <a:cubicBezTo>
                          <a:pt x="61" y="126"/>
                          <a:pt x="76" y="155"/>
                          <a:pt x="107" y="178"/>
                        </a:cubicBezTo>
                        <a:cubicBezTo>
                          <a:pt x="135" y="199"/>
                          <a:pt x="186" y="202"/>
                          <a:pt x="205" y="237"/>
                        </a:cubicBezTo>
                        <a:cubicBezTo>
                          <a:pt x="226" y="276"/>
                          <a:pt x="204" y="345"/>
                          <a:pt x="210" y="390"/>
                        </a:cubicBezTo>
                        <a:cubicBezTo>
                          <a:pt x="217" y="436"/>
                          <a:pt x="241" y="473"/>
                          <a:pt x="216" y="522"/>
                        </a:cubicBezTo>
                        <a:cubicBezTo>
                          <a:pt x="263" y="493"/>
                          <a:pt x="243" y="387"/>
                          <a:pt x="246" y="337"/>
                        </a:cubicBezTo>
                        <a:cubicBezTo>
                          <a:pt x="249" y="268"/>
                          <a:pt x="280" y="226"/>
                          <a:pt x="300" y="163"/>
                        </a:cubicBezTo>
                        <a:cubicBezTo>
                          <a:pt x="325" y="84"/>
                          <a:pt x="269" y="64"/>
                          <a:pt x="199" y="43"/>
                        </a:cubicBezTo>
                        <a:cubicBezTo>
                          <a:pt x="152" y="29"/>
                          <a:pt x="25" y="0"/>
                          <a:pt x="0" y="6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0" name="Freeform 275"/>
                  <p:cNvSpPr>
                    <a:spLocks/>
                  </p:cNvSpPr>
                  <p:nvPr/>
                </p:nvSpPr>
                <p:spPr bwMode="gray">
                  <a:xfrm>
                    <a:off x="-1920875" y="9531351"/>
                    <a:ext cx="4233863" cy="5718175"/>
                  </a:xfrm>
                  <a:custGeom>
                    <a:avLst/>
                    <a:gdLst/>
                    <a:ahLst/>
                    <a:cxnLst>
                      <a:cxn ang="0">
                        <a:pos x="22" y="1482"/>
                      </a:cxn>
                      <a:cxn ang="0">
                        <a:pos x="50" y="1171"/>
                      </a:cxn>
                      <a:cxn ang="0">
                        <a:pos x="103" y="1012"/>
                      </a:cxn>
                      <a:cxn ang="0">
                        <a:pos x="220" y="880"/>
                      </a:cxn>
                      <a:cxn ang="0">
                        <a:pos x="268" y="712"/>
                      </a:cxn>
                      <a:cxn ang="0">
                        <a:pos x="237" y="502"/>
                      </a:cxn>
                      <a:cxn ang="0">
                        <a:pos x="190" y="437"/>
                      </a:cxn>
                      <a:cxn ang="0">
                        <a:pos x="227" y="56"/>
                      </a:cxn>
                      <a:cxn ang="0">
                        <a:pos x="390" y="296"/>
                      </a:cxn>
                      <a:cxn ang="0">
                        <a:pos x="507" y="220"/>
                      </a:cxn>
                      <a:cxn ang="0">
                        <a:pos x="642" y="179"/>
                      </a:cxn>
                      <a:cxn ang="0">
                        <a:pos x="792" y="489"/>
                      </a:cxn>
                      <a:cxn ang="0">
                        <a:pos x="954" y="897"/>
                      </a:cxn>
                      <a:cxn ang="0">
                        <a:pos x="1032" y="950"/>
                      </a:cxn>
                      <a:cxn ang="0">
                        <a:pos x="1051" y="1086"/>
                      </a:cxn>
                      <a:cxn ang="0">
                        <a:pos x="1111" y="1312"/>
                      </a:cxn>
                      <a:cxn ang="0">
                        <a:pos x="1126" y="1481"/>
                      </a:cxn>
                      <a:cxn ang="0">
                        <a:pos x="870" y="1517"/>
                      </a:cxn>
                      <a:cxn ang="0">
                        <a:pos x="624" y="1499"/>
                      </a:cxn>
                      <a:cxn ang="0">
                        <a:pos x="344" y="1505"/>
                      </a:cxn>
                      <a:cxn ang="0">
                        <a:pos x="222" y="1504"/>
                      </a:cxn>
                      <a:cxn ang="0">
                        <a:pos x="122" y="1395"/>
                      </a:cxn>
                      <a:cxn ang="0">
                        <a:pos x="22" y="1476"/>
                      </a:cxn>
                    </a:cxnLst>
                    <a:rect l="0" t="0" r="r" b="b"/>
                    <a:pathLst>
                      <a:path w="1129" h="1525">
                        <a:moveTo>
                          <a:pt x="22" y="1482"/>
                        </a:moveTo>
                        <a:cubicBezTo>
                          <a:pt x="57" y="1380"/>
                          <a:pt x="0" y="1268"/>
                          <a:pt x="50" y="1171"/>
                        </a:cubicBezTo>
                        <a:cubicBezTo>
                          <a:pt x="78" y="1116"/>
                          <a:pt x="86" y="1070"/>
                          <a:pt x="103" y="1012"/>
                        </a:cubicBezTo>
                        <a:cubicBezTo>
                          <a:pt x="127" y="930"/>
                          <a:pt x="156" y="924"/>
                          <a:pt x="220" y="880"/>
                        </a:cubicBezTo>
                        <a:cubicBezTo>
                          <a:pt x="287" y="833"/>
                          <a:pt x="283" y="799"/>
                          <a:pt x="268" y="712"/>
                        </a:cubicBezTo>
                        <a:cubicBezTo>
                          <a:pt x="256" y="646"/>
                          <a:pt x="263" y="566"/>
                          <a:pt x="237" y="502"/>
                        </a:cubicBezTo>
                        <a:cubicBezTo>
                          <a:pt x="226" y="474"/>
                          <a:pt x="204" y="462"/>
                          <a:pt x="190" y="437"/>
                        </a:cubicBezTo>
                        <a:cubicBezTo>
                          <a:pt x="147" y="359"/>
                          <a:pt x="119" y="106"/>
                          <a:pt x="227" y="56"/>
                        </a:cubicBezTo>
                        <a:cubicBezTo>
                          <a:pt x="346" y="0"/>
                          <a:pt x="336" y="256"/>
                          <a:pt x="390" y="296"/>
                        </a:cubicBezTo>
                        <a:cubicBezTo>
                          <a:pt x="455" y="344"/>
                          <a:pt x="484" y="256"/>
                          <a:pt x="507" y="220"/>
                        </a:cubicBezTo>
                        <a:cubicBezTo>
                          <a:pt x="534" y="178"/>
                          <a:pt x="590" y="161"/>
                          <a:pt x="642" y="179"/>
                        </a:cubicBezTo>
                        <a:cubicBezTo>
                          <a:pt x="769" y="223"/>
                          <a:pt x="784" y="376"/>
                          <a:pt x="792" y="489"/>
                        </a:cubicBezTo>
                        <a:cubicBezTo>
                          <a:pt x="804" y="649"/>
                          <a:pt x="825" y="792"/>
                          <a:pt x="954" y="897"/>
                        </a:cubicBezTo>
                        <a:cubicBezTo>
                          <a:pt x="976" y="915"/>
                          <a:pt x="1018" y="925"/>
                          <a:pt x="1032" y="950"/>
                        </a:cubicBezTo>
                        <a:cubicBezTo>
                          <a:pt x="1050" y="982"/>
                          <a:pt x="1046" y="1048"/>
                          <a:pt x="1051" y="1086"/>
                        </a:cubicBezTo>
                        <a:cubicBezTo>
                          <a:pt x="1060" y="1168"/>
                          <a:pt x="1091" y="1231"/>
                          <a:pt x="1111" y="1312"/>
                        </a:cubicBezTo>
                        <a:cubicBezTo>
                          <a:pt x="1125" y="1367"/>
                          <a:pt x="1129" y="1423"/>
                          <a:pt x="1126" y="1481"/>
                        </a:cubicBezTo>
                        <a:cubicBezTo>
                          <a:pt x="1041" y="1476"/>
                          <a:pt x="952" y="1509"/>
                          <a:pt x="870" y="1517"/>
                        </a:cubicBezTo>
                        <a:cubicBezTo>
                          <a:pt x="789" y="1525"/>
                          <a:pt x="705" y="1503"/>
                          <a:pt x="624" y="1499"/>
                        </a:cubicBezTo>
                        <a:cubicBezTo>
                          <a:pt x="530" y="1496"/>
                          <a:pt x="437" y="1506"/>
                          <a:pt x="344" y="1505"/>
                        </a:cubicBezTo>
                        <a:cubicBezTo>
                          <a:pt x="316" y="1505"/>
                          <a:pt x="244" y="1518"/>
                          <a:pt x="222" y="1504"/>
                        </a:cubicBezTo>
                        <a:cubicBezTo>
                          <a:pt x="164" y="1467"/>
                          <a:pt x="229" y="1376"/>
                          <a:pt x="122" y="1395"/>
                        </a:cubicBezTo>
                        <a:cubicBezTo>
                          <a:pt x="130" y="1436"/>
                          <a:pt x="58" y="1476"/>
                          <a:pt x="22" y="14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1" name="Freeform 276"/>
                  <p:cNvSpPr>
                    <a:spLocks/>
                  </p:cNvSpPr>
                  <p:nvPr/>
                </p:nvSpPr>
                <p:spPr bwMode="gray">
                  <a:xfrm>
                    <a:off x="-1741488" y="14217651"/>
                    <a:ext cx="4021138" cy="6184900"/>
                  </a:xfrm>
                  <a:custGeom>
                    <a:avLst/>
                    <a:gdLst/>
                    <a:ahLst/>
                    <a:cxnLst>
                      <a:cxn ang="0">
                        <a:pos x="49" y="197"/>
                      </a:cxn>
                      <a:cxn ang="0">
                        <a:pos x="5" y="390"/>
                      </a:cxn>
                      <a:cxn ang="0">
                        <a:pos x="15" y="591"/>
                      </a:cxn>
                      <a:cxn ang="0">
                        <a:pos x="40" y="1036"/>
                      </a:cxn>
                      <a:cxn ang="0">
                        <a:pos x="40" y="1450"/>
                      </a:cxn>
                      <a:cxn ang="0">
                        <a:pos x="93" y="1609"/>
                      </a:cxn>
                      <a:cxn ang="0">
                        <a:pos x="338" y="1617"/>
                      </a:cxn>
                      <a:cxn ang="0">
                        <a:pos x="522" y="1555"/>
                      </a:cxn>
                      <a:cxn ang="0">
                        <a:pos x="741" y="1503"/>
                      </a:cxn>
                      <a:cxn ang="0">
                        <a:pos x="917" y="1442"/>
                      </a:cxn>
                      <a:cxn ang="0">
                        <a:pos x="932" y="1343"/>
                      </a:cxn>
                      <a:cxn ang="0">
                        <a:pos x="972" y="1249"/>
                      </a:cxn>
                      <a:cxn ang="0">
                        <a:pos x="1014" y="820"/>
                      </a:cxn>
                      <a:cxn ang="0">
                        <a:pos x="1039" y="379"/>
                      </a:cxn>
                      <a:cxn ang="0">
                        <a:pos x="987" y="100"/>
                      </a:cxn>
                      <a:cxn ang="0">
                        <a:pos x="680" y="21"/>
                      </a:cxn>
                      <a:cxn ang="0">
                        <a:pos x="338" y="30"/>
                      </a:cxn>
                      <a:cxn ang="0">
                        <a:pos x="40" y="109"/>
                      </a:cxn>
                    </a:cxnLst>
                    <a:rect l="0" t="0" r="r" b="b"/>
                    <a:pathLst>
                      <a:path w="1072" h="1649">
                        <a:moveTo>
                          <a:pt x="49" y="197"/>
                        </a:moveTo>
                        <a:cubicBezTo>
                          <a:pt x="49" y="268"/>
                          <a:pt x="9" y="321"/>
                          <a:pt x="5" y="390"/>
                        </a:cubicBezTo>
                        <a:cubicBezTo>
                          <a:pt x="1" y="463"/>
                          <a:pt x="23" y="516"/>
                          <a:pt x="15" y="591"/>
                        </a:cubicBezTo>
                        <a:cubicBezTo>
                          <a:pt x="0" y="742"/>
                          <a:pt x="40" y="880"/>
                          <a:pt x="40" y="1036"/>
                        </a:cubicBezTo>
                        <a:cubicBezTo>
                          <a:pt x="40" y="1175"/>
                          <a:pt x="58" y="1322"/>
                          <a:pt x="40" y="1450"/>
                        </a:cubicBezTo>
                        <a:cubicBezTo>
                          <a:pt x="30" y="1526"/>
                          <a:pt x="4" y="1558"/>
                          <a:pt x="93" y="1609"/>
                        </a:cubicBezTo>
                        <a:cubicBezTo>
                          <a:pt x="163" y="1649"/>
                          <a:pt x="272" y="1628"/>
                          <a:pt x="338" y="1617"/>
                        </a:cubicBezTo>
                        <a:cubicBezTo>
                          <a:pt x="401" y="1607"/>
                          <a:pt x="459" y="1564"/>
                          <a:pt x="522" y="1555"/>
                        </a:cubicBezTo>
                        <a:cubicBezTo>
                          <a:pt x="611" y="1543"/>
                          <a:pt x="669" y="1531"/>
                          <a:pt x="741" y="1503"/>
                        </a:cubicBezTo>
                        <a:cubicBezTo>
                          <a:pt x="801" y="1480"/>
                          <a:pt x="887" y="1491"/>
                          <a:pt x="917" y="1442"/>
                        </a:cubicBezTo>
                        <a:cubicBezTo>
                          <a:pt x="926" y="1426"/>
                          <a:pt x="927" y="1364"/>
                          <a:pt x="932" y="1343"/>
                        </a:cubicBezTo>
                        <a:cubicBezTo>
                          <a:pt x="942" y="1309"/>
                          <a:pt x="962" y="1280"/>
                          <a:pt x="972" y="1249"/>
                        </a:cubicBezTo>
                        <a:cubicBezTo>
                          <a:pt x="1013" y="1120"/>
                          <a:pt x="986" y="953"/>
                          <a:pt x="1014" y="820"/>
                        </a:cubicBezTo>
                        <a:cubicBezTo>
                          <a:pt x="1044" y="674"/>
                          <a:pt x="1047" y="525"/>
                          <a:pt x="1039" y="379"/>
                        </a:cubicBezTo>
                        <a:cubicBezTo>
                          <a:pt x="1035" y="279"/>
                          <a:pt x="1072" y="163"/>
                          <a:pt x="987" y="100"/>
                        </a:cubicBezTo>
                        <a:cubicBezTo>
                          <a:pt x="918" y="49"/>
                          <a:pt x="767" y="37"/>
                          <a:pt x="680" y="21"/>
                        </a:cubicBezTo>
                        <a:cubicBezTo>
                          <a:pt x="564" y="0"/>
                          <a:pt x="454" y="26"/>
                          <a:pt x="338" y="30"/>
                        </a:cubicBezTo>
                        <a:cubicBezTo>
                          <a:pt x="253" y="34"/>
                          <a:pt x="102" y="49"/>
                          <a:pt x="40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2" name="Freeform 277"/>
                  <p:cNvSpPr>
                    <a:spLocks/>
                  </p:cNvSpPr>
                  <p:nvPr/>
                </p:nvSpPr>
                <p:spPr bwMode="gray">
                  <a:xfrm>
                    <a:off x="-1141413" y="14004926"/>
                    <a:ext cx="1987550" cy="806450"/>
                  </a:xfrm>
                  <a:custGeom>
                    <a:avLst/>
                    <a:gdLst/>
                    <a:ahLst/>
                    <a:cxnLst>
                      <a:cxn ang="0">
                        <a:pos x="35" y="132"/>
                      </a:cxn>
                      <a:cxn ang="0">
                        <a:pos x="251" y="195"/>
                      </a:cxn>
                      <a:cxn ang="0">
                        <a:pos x="252" y="168"/>
                      </a:cxn>
                      <a:cxn ang="0">
                        <a:pos x="345" y="208"/>
                      </a:cxn>
                      <a:cxn ang="0">
                        <a:pos x="462" y="196"/>
                      </a:cxn>
                      <a:cxn ang="0">
                        <a:pos x="526" y="132"/>
                      </a:cxn>
                      <a:cxn ang="0">
                        <a:pos x="440" y="60"/>
                      </a:cxn>
                      <a:cxn ang="0">
                        <a:pos x="221" y="9"/>
                      </a:cxn>
                      <a:cxn ang="0">
                        <a:pos x="0" y="108"/>
                      </a:cxn>
                    </a:cxnLst>
                    <a:rect l="0" t="0" r="r" b="b"/>
                    <a:pathLst>
                      <a:path w="530" h="215">
                        <a:moveTo>
                          <a:pt x="35" y="132"/>
                        </a:moveTo>
                        <a:cubicBezTo>
                          <a:pt x="56" y="196"/>
                          <a:pt x="194" y="198"/>
                          <a:pt x="251" y="195"/>
                        </a:cubicBezTo>
                        <a:cubicBezTo>
                          <a:pt x="250" y="187"/>
                          <a:pt x="253" y="176"/>
                          <a:pt x="252" y="168"/>
                        </a:cubicBezTo>
                        <a:cubicBezTo>
                          <a:pt x="306" y="141"/>
                          <a:pt x="309" y="199"/>
                          <a:pt x="345" y="208"/>
                        </a:cubicBezTo>
                        <a:cubicBezTo>
                          <a:pt x="371" y="215"/>
                          <a:pt x="434" y="201"/>
                          <a:pt x="462" y="196"/>
                        </a:cubicBezTo>
                        <a:cubicBezTo>
                          <a:pt x="500" y="189"/>
                          <a:pt x="530" y="182"/>
                          <a:pt x="526" y="132"/>
                        </a:cubicBezTo>
                        <a:cubicBezTo>
                          <a:pt x="522" y="79"/>
                          <a:pt x="479" y="76"/>
                          <a:pt x="440" y="60"/>
                        </a:cubicBezTo>
                        <a:cubicBezTo>
                          <a:pt x="364" y="31"/>
                          <a:pt x="304" y="16"/>
                          <a:pt x="221" y="9"/>
                        </a:cubicBezTo>
                        <a:cubicBezTo>
                          <a:pt x="115" y="0"/>
                          <a:pt x="78" y="59"/>
                          <a:pt x="0" y="1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3" name="Freeform 278"/>
                  <p:cNvSpPr>
                    <a:spLocks/>
                  </p:cNvSpPr>
                  <p:nvPr/>
                </p:nvSpPr>
                <p:spPr bwMode="gray">
                  <a:xfrm>
                    <a:off x="-1774825" y="8439151"/>
                    <a:ext cx="3055938" cy="6232525"/>
                  </a:xfrm>
                  <a:custGeom>
                    <a:avLst/>
                    <a:gdLst/>
                    <a:ahLst/>
                    <a:cxnLst>
                      <a:cxn ang="0">
                        <a:pos x="256" y="0"/>
                      </a:cxn>
                      <a:cxn ang="0">
                        <a:pos x="124" y="102"/>
                      </a:cxn>
                      <a:cxn ang="0">
                        <a:pos x="0" y="191"/>
                      </a:cxn>
                      <a:cxn ang="0">
                        <a:pos x="169" y="149"/>
                      </a:cxn>
                      <a:cxn ang="0">
                        <a:pos x="238" y="254"/>
                      </a:cxn>
                      <a:cxn ang="0">
                        <a:pos x="205" y="535"/>
                      </a:cxn>
                      <a:cxn ang="0">
                        <a:pos x="194" y="880"/>
                      </a:cxn>
                      <a:cxn ang="0">
                        <a:pos x="209" y="1027"/>
                      </a:cxn>
                      <a:cxn ang="0">
                        <a:pos x="213" y="1130"/>
                      </a:cxn>
                      <a:cxn ang="0">
                        <a:pos x="232" y="1246"/>
                      </a:cxn>
                      <a:cxn ang="0">
                        <a:pos x="178" y="1344"/>
                      </a:cxn>
                      <a:cxn ang="0">
                        <a:pos x="198" y="1395"/>
                      </a:cxn>
                      <a:cxn ang="0">
                        <a:pos x="198" y="1467"/>
                      </a:cxn>
                      <a:cxn ang="0">
                        <a:pos x="251" y="1638"/>
                      </a:cxn>
                      <a:cxn ang="0">
                        <a:pos x="338" y="1660"/>
                      </a:cxn>
                      <a:cxn ang="0">
                        <a:pos x="411" y="1585"/>
                      </a:cxn>
                      <a:cxn ang="0">
                        <a:pos x="434" y="1403"/>
                      </a:cxn>
                      <a:cxn ang="0">
                        <a:pos x="454" y="1613"/>
                      </a:cxn>
                      <a:cxn ang="0">
                        <a:pos x="514" y="1660"/>
                      </a:cxn>
                      <a:cxn ang="0">
                        <a:pos x="626" y="1655"/>
                      </a:cxn>
                      <a:cxn ang="0">
                        <a:pos x="615" y="1451"/>
                      </a:cxn>
                      <a:cxn ang="0">
                        <a:pos x="639" y="1083"/>
                      </a:cxn>
                      <a:cxn ang="0">
                        <a:pos x="623" y="546"/>
                      </a:cxn>
                      <a:cxn ang="0">
                        <a:pos x="630" y="346"/>
                      </a:cxn>
                      <a:cxn ang="0">
                        <a:pos x="600" y="215"/>
                      </a:cxn>
                      <a:cxn ang="0">
                        <a:pos x="654" y="176"/>
                      </a:cxn>
                      <a:cxn ang="0">
                        <a:pos x="705" y="202"/>
                      </a:cxn>
                      <a:cxn ang="0">
                        <a:pos x="760" y="225"/>
                      </a:cxn>
                      <a:cxn ang="0">
                        <a:pos x="813" y="265"/>
                      </a:cxn>
                      <a:cxn ang="0">
                        <a:pos x="779" y="202"/>
                      </a:cxn>
                      <a:cxn ang="0">
                        <a:pos x="746" y="129"/>
                      </a:cxn>
                      <a:cxn ang="0">
                        <a:pos x="607" y="23"/>
                      </a:cxn>
                      <a:cxn ang="0">
                        <a:pos x="576" y="191"/>
                      </a:cxn>
                      <a:cxn ang="0">
                        <a:pos x="483" y="316"/>
                      </a:cxn>
                      <a:cxn ang="0">
                        <a:pos x="427" y="480"/>
                      </a:cxn>
                      <a:cxn ang="0">
                        <a:pos x="393" y="654"/>
                      </a:cxn>
                      <a:cxn ang="0">
                        <a:pos x="381" y="479"/>
                      </a:cxn>
                      <a:cxn ang="0">
                        <a:pos x="350" y="331"/>
                      </a:cxn>
                      <a:cxn ang="0">
                        <a:pos x="272" y="187"/>
                      </a:cxn>
                      <a:cxn ang="0">
                        <a:pos x="182" y="78"/>
                      </a:cxn>
                    </a:cxnLst>
                    <a:rect l="0" t="0" r="r" b="b"/>
                    <a:pathLst>
                      <a:path w="815" h="1662">
                        <a:moveTo>
                          <a:pt x="256" y="0"/>
                        </a:moveTo>
                        <a:cubicBezTo>
                          <a:pt x="211" y="40"/>
                          <a:pt x="171" y="69"/>
                          <a:pt x="124" y="102"/>
                        </a:cubicBezTo>
                        <a:cubicBezTo>
                          <a:pt x="87" y="129"/>
                          <a:pt x="50" y="196"/>
                          <a:pt x="0" y="191"/>
                        </a:cubicBezTo>
                        <a:cubicBezTo>
                          <a:pt x="63" y="237"/>
                          <a:pt x="121" y="165"/>
                          <a:pt x="169" y="149"/>
                        </a:cubicBezTo>
                        <a:cubicBezTo>
                          <a:pt x="204" y="186"/>
                          <a:pt x="255" y="201"/>
                          <a:pt x="238" y="254"/>
                        </a:cubicBezTo>
                        <a:cubicBezTo>
                          <a:pt x="209" y="343"/>
                          <a:pt x="205" y="438"/>
                          <a:pt x="205" y="535"/>
                        </a:cubicBezTo>
                        <a:cubicBezTo>
                          <a:pt x="206" y="650"/>
                          <a:pt x="189" y="764"/>
                          <a:pt x="194" y="880"/>
                        </a:cubicBezTo>
                        <a:cubicBezTo>
                          <a:pt x="196" y="931"/>
                          <a:pt x="209" y="976"/>
                          <a:pt x="209" y="1027"/>
                        </a:cubicBezTo>
                        <a:cubicBezTo>
                          <a:pt x="209" y="1062"/>
                          <a:pt x="209" y="1096"/>
                          <a:pt x="213" y="1130"/>
                        </a:cubicBezTo>
                        <a:cubicBezTo>
                          <a:pt x="217" y="1168"/>
                          <a:pt x="234" y="1209"/>
                          <a:pt x="232" y="1246"/>
                        </a:cubicBezTo>
                        <a:cubicBezTo>
                          <a:pt x="212" y="1257"/>
                          <a:pt x="178" y="1320"/>
                          <a:pt x="178" y="1344"/>
                        </a:cubicBezTo>
                        <a:cubicBezTo>
                          <a:pt x="178" y="1362"/>
                          <a:pt x="194" y="1378"/>
                          <a:pt x="198" y="1395"/>
                        </a:cubicBezTo>
                        <a:cubicBezTo>
                          <a:pt x="203" y="1417"/>
                          <a:pt x="196" y="1444"/>
                          <a:pt x="198" y="1467"/>
                        </a:cubicBezTo>
                        <a:cubicBezTo>
                          <a:pt x="200" y="1524"/>
                          <a:pt x="198" y="1610"/>
                          <a:pt x="251" y="1638"/>
                        </a:cubicBezTo>
                        <a:cubicBezTo>
                          <a:pt x="278" y="1652"/>
                          <a:pt x="306" y="1660"/>
                          <a:pt x="338" y="1660"/>
                        </a:cubicBezTo>
                        <a:cubicBezTo>
                          <a:pt x="391" y="1660"/>
                          <a:pt x="400" y="1638"/>
                          <a:pt x="411" y="1585"/>
                        </a:cubicBezTo>
                        <a:cubicBezTo>
                          <a:pt x="423" y="1528"/>
                          <a:pt x="392" y="1448"/>
                          <a:pt x="434" y="1403"/>
                        </a:cubicBezTo>
                        <a:cubicBezTo>
                          <a:pt x="458" y="1464"/>
                          <a:pt x="436" y="1549"/>
                          <a:pt x="454" y="1613"/>
                        </a:cubicBezTo>
                        <a:cubicBezTo>
                          <a:pt x="467" y="1658"/>
                          <a:pt x="471" y="1662"/>
                          <a:pt x="514" y="1660"/>
                        </a:cubicBezTo>
                        <a:cubicBezTo>
                          <a:pt x="550" y="1658"/>
                          <a:pt x="590" y="1654"/>
                          <a:pt x="626" y="1655"/>
                        </a:cubicBezTo>
                        <a:cubicBezTo>
                          <a:pt x="633" y="1591"/>
                          <a:pt x="612" y="1518"/>
                          <a:pt x="615" y="1451"/>
                        </a:cubicBezTo>
                        <a:cubicBezTo>
                          <a:pt x="621" y="1327"/>
                          <a:pt x="650" y="1208"/>
                          <a:pt x="639" y="1083"/>
                        </a:cubicBezTo>
                        <a:cubicBezTo>
                          <a:pt x="623" y="910"/>
                          <a:pt x="596" y="718"/>
                          <a:pt x="623" y="546"/>
                        </a:cubicBezTo>
                        <a:cubicBezTo>
                          <a:pt x="680" y="550"/>
                          <a:pt x="641" y="384"/>
                          <a:pt x="630" y="346"/>
                        </a:cubicBezTo>
                        <a:cubicBezTo>
                          <a:pt x="618" y="305"/>
                          <a:pt x="571" y="247"/>
                          <a:pt x="600" y="215"/>
                        </a:cubicBezTo>
                        <a:cubicBezTo>
                          <a:pt x="608" y="206"/>
                          <a:pt x="646" y="179"/>
                          <a:pt x="654" y="176"/>
                        </a:cubicBezTo>
                        <a:cubicBezTo>
                          <a:pt x="695" y="163"/>
                          <a:pt x="682" y="184"/>
                          <a:pt x="705" y="202"/>
                        </a:cubicBezTo>
                        <a:cubicBezTo>
                          <a:pt x="723" y="216"/>
                          <a:pt x="741" y="215"/>
                          <a:pt x="760" y="225"/>
                        </a:cubicBezTo>
                        <a:cubicBezTo>
                          <a:pt x="779" y="235"/>
                          <a:pt x="792" y="256"/>
                          <a:pt x="813" y="265"/>
                        </a:cubicBezTo>
                        <a:cubicBezTo>
                          <a:pt x="815" y="238"/>
                          <a:pt x="791" y="223"/>
                          <a:pt x="779" y="202"/>
                        </a:cubicBezTo>
                        <a:cubicBezTo>
                          <a:pt x="767" y="180"/>
                          <a:pt x="764" y="150"/>
                          <a:pt x="746" y="129"/>
                        </a:cubicBezTo>
                        <a:cubicBezTo>
                          <a:pt x="708" y="85"/>
                          <a:pt x="641" y="69"/>
                          <a:pt x="607" y="23"/>
                        </a:cubicBezTo>
                        <a:cubicBezTo>
                          <a:pt x="592" y="80"/>
                          <a:pt x="607" y="139"/>
                          <a:pt x="576" y="191"/>
                        </a:cubicBezTo>
                        <a:cubicBezTo>
                          <a:pt x="548" y="236"/>
                          <a:pt x="505" y="268"/>
                          <a:pt x="483" y="316"/>
                        </a:cubicBezTo>
                        <a:cubicBezTo>
                          <a:pt x="459" y="368"/>
                          <a:pt x="446" y="424"/>
                          <a:pt x="427" y="480"/>
                        </a:cubicBezTo>
                        <a:cubicBezTo>
                          <a:pt x="411" y="527"/>
                          <a:pt x="428" y="620"/>
                          <a:pt x="393" y="654"/>
                        </a:cubicBezTo>
                        <a:cubicBezTo>
                          <a:pt x="376" y="608"/>
                          <a:pt x="381" y="529"/>
                          <a:pt x="381" y="479"/>
                        </a:cubicBezTo>
                        <a:cubicBezTo>
                          <a:pt x="380" y="421"/>
                          <a:pt x="381" y="374"/>
                          <a:pt x="350" y="331"/>
                        </a:cubicBezTo>
                        <a:cubicBezTo>
                          <a:pt x="317" y="282"/>
                          <a:pt x="287" y="242"/>
                          <a:pt x="272" y="187"/>
                        </a:cubicBezTo>
                        <a:cubicBezTo>
                          <a:pt x="262" y="153"/>
                          <a:pt x="229" y="68"/>
                          <a:pt x="182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4" name="Freeform 279"/>
                  <p:cNvSpPr>
                    <a:spLocks/>
                  </p:cNvSpPr>
                  <p:nvPr/>
                </p:nvSpPr>
                <p:spPr bwMode="gray">
                  <a:xfrm>
                    <a:off x="-2914650" y="13449301"/>
                    <a:ext cx="1031875" cy="720725"/>
                  </a:xfrm>
                  <a:custGeom>
                    <a:avLst/>
                    <a:gdLst/>
                    <a:ahLst/>
                    <a:cxnLst>
                      <a:cxn ang="0">
                        <a:pos x="135" y="191"/>
                      </a:cxn>
                      <a:cxn ang="0">
                        <a:pos x="188" y="4"/>
                      </a:cxn>
                      <a:cxn ang="0">
                        <a:pos x="234" y="116"/>
                      </a:cxn>
                      <a:cxn ang="0">
                        <a:pos x="129" y="191"/>
                      </a:cxn>
                    </a:cxnLst>
                    <a:rect l="0" t="0" r="r" b="b"/>
                    <a:pathLst>
                      <a:path w="275" h="192">
                        <a:moveTo>
                          <a:pt x="135" y="191"/>
                        </a:moveTo>
                        <a:cubicBezTo>
                          <a:pt x="0" y="192"/>
                          <a:pt x="88" y="10"/>
                          <a:pt x="188" y="4"/>
                        </a:cubicBezTo>
                        <a:cubicBezTo>
                          <a:pt x="259" y="0"/>
                          <a:pt x="275" y="74"/>
                          <a:pt x="234" y="116"/>
                        </a:cubicBezTo>
                        <a:cubicBezTo>
                          <a:pt x="207" y="143"/>
                          <a:pt x="162" y="165"/>
                          <a:pt x="129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5" name="Freeform 280"/>
                  <p:cNvSpPr>
                    <a:spLocks/>
                  </p:cNvSpPr>
                  <p:nvPr/>
                </p:nvSpPr>
                <p:spPr bwMode="gray">
                  <a:xfrm>
                    <a:off x="400050" y="14341476"/>
                    <a:ext cx="1808163" cy="1276350"/>
                  </a:xfrm>
                  <a:custGeom>
                    <a:avLst/>
                    <a:gdLst/>
                    <a:ahLst/>
                    <a:cxnLst>
                      <a:cxn ang="0">
                        <a:pos x="460" y="287"/>
                      </a:cxn>
                      <a:cxn ang="0">
                        <a:pos x="232" y="257"/>
                      </a:cxn>
                      <a:cxn ang="0">
                        <a:pos x="11" y="327"/>
                      </a:cxn>
                      <a:cxn ang="0">
                        <a:pos x="15" y="236"/>
                      </a:cxn>
                      <a:cxn ang="0">
                        <a:pos x="0" y="235"/>
                      </a:cxn>
                      <a:cxn ang="0">
                        <a:pos x="482" y="228"/>
                      </a:cxn>
                      <a:cxn ang="0">
                        <a:pos x="466" y="235"/>
                      </a:cxn>
                    </a:cxnLst>
                    <a:rect l="0" t="0" r="r" b="b"/>
                    <a:pathLst>
                      <a:path w="482" h="340">
                        <a:moveTo>
                          <a:pt x="460" y="287"/>
                        </a:moveTo>
                        <a:cubicBezTo>
                          <a:pt x="386" y="340"/>
                          <a:pt x="304" y="274"/>
                          <a:pt x="232" y="257"/>
                        </a:cubicBezTo>
                        <a:cubicBezTo>
                          <a:pt x="132" y="232"/>
                          <a:pt x="95" y="302"/>
                          <a:pt x="11" y="327"/>
                        </a:cubicBezTo>
                        <a:cubicBezTo>
                          <a:pt x="11" y="297"/>
                          <a:pt x="20" y="267"/>
                          <a:pt x="15" y="236"/>
                        </a:cubicBezTo>
                        <a:cubicBezTo>
                          <a:pt x="11" y="235"/>
                          <a:pt x="4" y="236"/>
                          <a:pt x="0" y="235"/>
                        </a:cubicBezTo>
                        <a:cubicBezTo>
                          <a:pt x="109" y="206"/>
                          <a:pt x="473" y="0"/>
                          <a:pt x="482" y="228"/>
                        </a:cubicBezTo>
                        <a:cubicBezTo>
                          <a:pt x="476" y="229"/>
                          <a:pt x="472" y="232"/>
                          <a:pt x="466" y="23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6" name="Freeform 281"/>
                  <p:cNvSpPr>
                    <a:spLocks/>
                  </p:cNvSpPr>
                  <p:nvPr/>
                </p:nvSpPr>
                <p:spPr bwMode="gray">
                  <a:xfrm>
                    <a:off x="-1665288" y="14825663"/>
                    <a:ext cx="1098550" cy="919163"/>
                  </a:xfrm>
                  <a:custGeom>
                    <a:avLst/>
                    <a:gdLst/>
                    <a:ahLst/>
                    <a:cxnLst>
                      <a:cxn ang="0">
                        <a:pos x="0" y="59"/>
                      </a:cxn>
                      <a:cxn ang="0">
                        <a:pos x="98" y="182"/>
                      </a:cxn>
                      <a:cxn ang="0">
                        <a:pos x="293" y="240"/>
                      </a:cxn>
                      <a:cxn ang="0">
                        <a:pos x="227" y="19"/>
                      </a:cxn>
                      <a:cxn ang="0">
                        <a:pos x="75" y="6"/>
                      </a:cxn>
                      <a:cxn ang="0">
                        <a:pos x="0" y="76"/>
                      </a:cxn>
                    </a:cxnLst>
                    <a:rect l="0" t="0" r="r" b="b"/>
                    <a:pathLst>
                      <a:path w="293" h="245">
                        <a:moveTo>
                          <a:pt x="0" y="59"/>
                        </a:moveTo>
                        <a:cubicBezTo>
                          <a:pt x="40" y="113"/>
                          <a:pt x="22" y="156"/>
                          <a:pt x="98" y="182"/>
                        </a:cubicBezTo>
                        <a:cubicBezTo>
                          <a:pt x="149" y="199"/>
                          <a:pt x="239" y="245"/>
                          <a:pt x="293" y="240"/>
                        </a:cubicBezTo>
                        <a:cubicBezTo>
                          <a:pt x="214" y="196"/>
                          <a:pt x="232" y="106"/>
                          <a:pt x="227" y="19"/>
                        </a:cubicBezTo>
                        <a:cubicBezTo>
                          <a:pt x="177" y="14"/>
                          <a:pt x="128" y="0"/>
                          <a:pt x="75" y="6"/>
                        </a:cubicBezTo>
                        <a:cubicBezTo>
                          <a:pt x="11" y="14"/>
                          <a:pt x="36" y="33"/>
                          <a:pt x="0" y="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7" name="Freeform 282"/>
                  <p:cNvSpPr>
                    <a:spLocks/>
                  </p:cNvSpPr>
                  <p:nvPr/>
                </p:nvSpPr>
                <p:spPr bwMode="gray">
                  <a:xfrm>
                    <a:off x="-739775" y="15628938"/>
                    <a:ext cx="2692400" cy="2411413"/>
                  </a:xfrm>
                  <a:custGeom>
                    <a:avLst/>
                    <a:gdLst/>
                    <a:ahLst/>
                    <a:cxnLst>
                      <a:cxn ang="0">
                        <a:pos x="653" y="225"/>
                      </a:cxn>
                      <a:cxn ang="0">
                        <a:pos x="513" y="353"/>
                      </a:cxn>
                      <a:cxn ang="0">
                        <a:pos x="361" y="480"/>
                      </a:cxn>
                      <a:cxn ang="0">
                        <a:pos x="0" y="621"/>
                      </a:cxn>
                      <a:cxn ang="0">
                        <a:pos x="435" y="305"/>
                      </a:cxn>
                      <a:cxn ang="0">
                        <a:pos x="573" y="104"/>
                      </a:cxn>
                      <a:cxn ang="0">
                        <a:pos x="675" y="21"/>
                      </a:cxn>
                      <a:cxn ang="0">
                        <a:pos x="682" y="153"/>
                      </a:cxn>
                      <a:cxn ang="0">
                        <a:pos x="589" y="283"/>
                      </a:cxn>
                    </a:cxnLst>
                    <a:rect l="0" t="0" r="r" b="b"/>
                    <a:pathLst>
                      <a:path w="718" h="643">
                        <a:moveTo>
                          <a:pt x="653" y="225"/>
                        </a:moveTo>
                        <a:cubicBezTo>
                          <a:pt x="637" y="279"/>
                          <a:pt x="556" y="321"/>
                          <a:pt x="513" y="353"/>
                        </a:cubicBezTo>
                        <a:cubicBezTo>
                          <a:pt x="459" y="393"/>
                          <a:pt x="411" y="438"/>
                          <a:pt x="361" y="480"/>
                        </a:cubicBezTo>
                        <a:cubicBezTo>
                          <a:pt x="264" y="561"/>
                          <a:pt x="132" y="643"/>
                          <a:pt x="0" y="621"/>
                        </a:cubicBezTo>
                        <a:cubicBezTo>
                          <a:pt x="150" y="549"/>
                          <a:pt x="337" y="442"/>
                          <a:pt x="435" y="305"/>
                        </a:cubicBezTo>
                        <a:cubicBezTo>
                          <a:pt x="483" y="238"/>
                          <a:pt x="524" y="167"/>
                          <a:pt x="573" y="104"/>
                        </a:cubicBezTo>
                        <a:cubicBezTo>
                          <a:pt x="593" y="77"/>
                          <a:pt x="630" y="0"/>
                          <a:pt x="675" y="21"/>
                        </a:cubicBezTo>
                        <a:cubicBezTo>
                          <a:pt x="718" y="41"/>
                          <a:pt x="695" y="127"/>
                          <a:pt x="682" y="153"/>
                        </a:cubicBezTo>
                        <a:cubicBezTo>
                          <a:pt x="663" y="191"/>
                          <a:pt x="626" y="263"/>
                          <a:pt x="589" y="28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8" name="Freeform 283"/>
                  <p:cNvSpPr>
                    <a:spLocks/>
                  </p:cNvSpPr>
                  <p:nvPr/>
                </p:nvSpPr>
                <p:spPr bwMode="gray">
                  <a:xfrm>
                    <a:off x="-477838" y="16422688"/>
                    <a:ext cx="2482850" cy="3222625"/>
                  </a:xfrm>
                  <a:custGeom>
                    <a:avLst/>
                    <a:gdLst/>
                    <a:ahLst/>
                    <a:cxnLst>
                      <a:cxn ang="0">
                        <a:pos x="554" y="112"/>
                      </a:cxn>
                      <a:cxn ang="0">
                        <a:pos x="436" y="323"/>
                      </a:cxn>
                      <a:cxn ang="0">
                        <a:pos x="315" y="511"/>
                      </a:cxn>
                      <a:cxn ang="0">
                        <a:pos x="0" y="859"/>
                      </a:cxn>
                      <a:cxn ang="0">
                        <a:pos x="223" y="732"/>
                      </a:cxn>
                      <a:cxn ang="0">
                        <a:pos x="459" y="529"/>
                      </a:cxn>
                      <a:cxn ang="0">
                        <a:pos x="344" y="782"/>
                      </a:cxn>
                      <a:cxn ang="0">
                        <a:pos x="548" y="387"/>
                      </a:cxn>
                      <a:cxn ang="0">
                        <a:pos x="596" y="169"/>
                      </a:cxn>
                      <a:cxn ang="0">
                        <a:pos x="652" y="8"/>
                      </a:cxn>
                      <a:cxn ang="0">
                        <a:pos x="542" y="137"/>
                      </a:cxn>
                      <a:cxn ang="0">
                        <a:pos x="449" y="258"/>
                      </a:cxn>
                    </a:cxnLst>
                    <a:rect l="0" t="0" r="r" b="b"/>
                    <a:pathLst>
                      <a:path w="662" h="859">
                        <a:moveTo>
                          <a:pt x="554" y="112"/>
                        </a:moveTo>
                        <a:cubicBezTo>
                          <a:pt x="559" y="166"/>
                          <a:pt x="462" y="270"/>
                          <a:pt x="436" y="323"/>
                        </a:cubicBezTo>
                        <a:cubicBezTo>
                          <a:pt x="401" y="390"/>
                          <a:pt x="359" y="448"/>
                          <a:pt x="315" y="511"/>
                        </a:cubicBezTo>
                        <a:cubicBezTo>
                          <a:pt x="222" y="646"/>
                          <a:pt x="129" y="762"/>
                          <a:pt x="0" y="859"/>
                        </a:cubicBezTo>
                        <a:cubicBezTo>
                          <a:pt x="79" y="822"/>
                          <a:pt x="156" y="788"/>
                          <a:pt x="223" y="732"/>
                        </a:cubicBezTo>
                        <a:cubicBezTo>
                          <a:pt x="301" y="667"/>
                          <a:pt x="376" y="588"/>
                          <a:pt x="459" y="529"/>
                        </a:cubicBezTo>
                        <a:cubicBezTo>
                          <a:pt x="464" y="635"/>
                          <a:pt x="411" y="705"/>
                          <a:pt x="344" y="782"/>
                        </a:cubicBezTo>
                        <a:cubicBezTo>
                          <a:pt x="477" y="691"/>
                          <a:pt x="524" y="541"/>
                          <a:pt x="548" y="387"/>
                        </a:cubicBezTo>
                        <a:cubicBezTo>
                          <a:pt x="561" y="307"/>
                          <a:pt x="569" y="239"/>
                          <a:pt x="596" y="169"/>
                        </a:cubicBezTo>
                        <a:cubicBezTo>
                          <a:pt x="616" y="117"/>
                          <a:pt x="662" y="68"/>
                          <a:pt x="652" y="8"/>
                        </a:cubicBezTo>
                        <a:cubicBezTo>
                          <a:pt x="607" y="0"/>
                          <a:pt x="572" y="106"/>
                          <a:pt x="542" y="137"/>
                        </a:cubicBezTo>
                        <a:cubicBezTo>
                          <a:pt x="507" y="173"/>
                          <a:pt x="454" y="204"/>
                          <a:pt x="449" y="25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39" name="Freeform 284"/>
                  <p:cNvSpPr>
                    <a:spLocks/>
                  </p:cNvSpPr>
                  <p:nvPr/>
                </p:nvSpPr>
                <p:spPr bwMode="gray">
                  <a:xfrm>
                    <a:off x="1765300" y="14338301"/>
                    <a:ext cx="817563" cy="2287588"/>
                  </a:xfrm>
                  <a:custGeom>
                    <a:avLst/>
                    <a:gdLst/>
                    <a:ahLst/>
                    <a:cxnLst>
                      <a:cxn ang="0">
                        <a:pos x="99" y="1"/>
                      </a:cxn>
                      <a:cxn ang="0">
                        <a:pos x="61" y="160"/>
                      </a:cxn>
                      <a:cxn ang="0">
                        <a:pos x="40" y="273"/>
                      </a:cxn>
                      <a:cxn ang="0">
                        <a:pos x="23" y="348"/>
                      </a:cxn>
                      <a:cxn ang="0">
                        <a:pos x="7" y="447"/>
                      </a:cxn>
                      <a:cxn ang="0">
                        <a:pos x="79" y="361"/>
                      </a:cxn>
                      <a:cxn ang="0">
                        <a:pos x="56" y="501"/>
                      </a:cxn>
                      <a:cxn ang="0">
                        <a:pos x="48" y="556"/>
                      </a:cxn>
                      <a:cxn ang="0">
                        <a:pos x="58" y="610"/>
                      </a:cxn>
                      <a:cxn ang="0">
                        <a:pos x="109" y="467"/>
                      </a:cxn>
                      <a:cxn ang="0">
                        <a:pos x="109" y="594"/>
                      </a:cxn>
                      <a:cxn ang="0">
                        <a:pos x="147" y="493"/>
                      </a:cxn>
                      <a:cxn ang="0">
                        <a:pos x="155" y="570"/>
                      </a:cxn>
                      <a:cxn ang="0">
                        <a:pos x="211" y="327"/>
                      </a:cxn>
                      <a:cxn ang="0">
                        <a:pos x="206" y="178"/>
                      </a:cxn>
                      <a:cxn ang="0">
                        <a:pos x="208" y="124"/>
                      </a:cxn>
                      <a:cxn ang="0">
                        <a:pos x="201" y="89"/>
                      </a:cxn>
                      <a:cxn ang="0">
                        <a:pos x="191" y="35"/>
                      </a:cxn>
                      <a:cxn ang="0">
                        <a:pos x="100" y="1"/>
                      </a:cxn>
                    </a:cxnLst>
                    <a:rect l="0" t="0" r="r" b="b"/>
                    <a:pathLst>
                      <a:path w="218" h="610">
                        <a:moveTo>
                          <a:pt x="99" y="1"/>
                        </a:moveTo>
                        <a:cubicBezTo>
                          <a:pt x="91" y="55"/>
                          <a:pt x="75" y="107"/>
                          <a:pt x="61" y="160"/>
                        </a:cubicBezTo>
                        <a:cubicBezTo>
                          <a:pt x="51" y="197"/>
                          <a:pt x="46" y="235"/>
                          <a:pt x="40" y="273"/>
                        </a:cubicBezTo>
                        <a:cubicBezTo>
                          <a:pt x="36" y="298"/>
                          <a:pt x="27" y="323"/>
                          <a:pt x="23" y="348"/>
                        </a:cubicBezTo>
                        <a:cubicBezTo>
                          <a:pt x="21" y="356"/>
                          <a:pt x="0" y="440"/>
                          <a:pt x="7" y="447"/>
                        </a:cubicBezTo>
                        <a:cubicBezTo>
                          <a:pt x="37" y="449"/>
                          <a:pt x="71" y="360"/>
                          <a:pt x="79" y="361"/>
                        </a:cubicBezTo>
                        <a:cubicBezTo>
                          <a:pt x="83" y="379"/>
                          <a:pt x="59" y="484"/>
                          <a:pt x="56" y="501"/>
                        </a:cubicBezTo>
                        <a:cubicBezTo>
                          <a:pt x="53" y="519"/>
                          <a:pt x="50" y="538"/>
                          <a:pt x="48" y="556"/>
                        </a:cubicBezTo>
                        <a:cubicBezTo>
                          <a:pt x="46" y="571"/>
                          <a:pt x="36" y="609"/>
                          <a:pt x="58" y="610"/>
                        </a:cubicBezTo>
                        <a:cubicBezTo>
                          <a:pt x="69" y="610"/>
                          <a:pt x="101" y="480"/>
                          <a:pt x="109" y="467"/>
                        </a:cubicBezTo>
                        <a:cubicBezTo>
                          <a:pt x="115" y="476"/>
                          <a:pt x="96" y="592"/>
                          <a:pt x="109" y="594"/>
                        </a:cubicBezTo>
                        <a:cubicBezTo>
                          <a:pt x="130" y="596"/>
                          <a:pt x="143" y="502"/>
                          <a:pt x="147" y="493"/>
                        </a:cubicBezTo>
                        <a:cubicBezTo>
                          <a:pt x="147" y="495"/>
                          <a:pt x="141" y="559"/>
                          <a:pt x="155" y="570"/>
                        </a:cubicBezTo>
                        <a:cubicBezTo>
                          <a:pt x="172" y="569"/>
                          <a:pt x="218" y="396"/>
                          <a:pt x="211" y="327"/>
                        </a:cubicBezTo>
                        <a:cubicBezTo>
                          <a:pt x="205" y="276"/>
                          <a:pt x="204" y="228"/>
                          <a:pt x="206" y="178"/>
                        </a:cubicBezTo>
                        <a:cubicBezTo>
                          <a:pt x="207" y="161"/>
                          <a:pt x="209" y="142"/>
                          <a:pt x="208" y="124"/>
                        </a:cubicBezTo>
                        <a:cubicBezTo>
                          <a:pt x="207" y="112"/>
                          <a:pt x="202" y="101"/>
                          <a:pt x="201" y="89"/>
                        </a:cubicBezTo>
                        <a:cubicBezTo>
                          <a:pt x="199" y="74"/>
                          <a:pt x="200" y="49"/>
                          <a:pt x="191" y="35"/>
                        </a:cubicBezTo>
                        <a:cubicBezTo>
                          <a:pt x="173" y="9"/>
                          <a:pt x="130" y="0"/>
                          <a:pt x="100" y="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0" name="Freeform 285"/>
                  <p:cNvSpPr>
                    <a:spLocks/>
                  </p:cNvSpPr>
                  <p:nvPr/>
                </p:nvSpPr>
                <p:spPr bwMode="gray">
                  <a:xfrm>
                    <a:off x="-863600" y="6575426"/>
                    <a:ext cx="1585913" cy="2251075"/>
                  </a:xfrm>
                  <a:custGeom>
                    <a:avLst/>
                    <a:gdLst/>
                    <a:ahLst/>
                    <a:cxnLst>
                      <a:cxn ang="0">
                        <a:pos x="6" y="213"/>
                      </a:cxn>
                      <a:cxn ang="0">
                        <a:pos x="35" y="379"/>
                      </a:cxn>
                      <a:cxn ang="0">
                        <a:pos x="76" y="526"/>
                      </a:cxn>
                      <a:cxn ang="0">
                        <a:pos x="199" y="599"/>
                      </a:cxn>
                      <a:cxn ang="0">
                        <a:pos x="330" y="527"/>
                      </a:cxn>
                      <a:cxn ang="0">
                        <a:pos x="374" y="392"/>
                      </a:cxn>
                      <a:cxn ang="0">
                        <a:pos x="329" y="70"/>
                      </a:cxn>
                      <a:cxn ang="0">
                        <a:pos x="158" y="0"/>
                      </a:cxn>
                      <a:cxn ang="0">
                        <a:pos x="0" y="85"/>
                      </a:cxn>
                    </a:cxnLst>
                    <a:rect l="0" t="0" r="r" b="b"/>
                    <a:pathLst>
                      <a:path w="423" h="600">
                        <a:moveTo>
                          <a:pt x="6" y="213"/>
                        </a:moveTo>
                        <a:cubicBezTo>
                          <a:pt x="0" y="277"/>
                          <a:pt x="15" y="323"/>
                          <a:pt x="35" y="379"/>
                        </a:cubicBezTo>
                        <a:cubicBezTo>
                          <a:pt x="53" y="428"/>
                          <a:pt x="42" y="480"/>
                          <a:pt x="76" y="526"/>
                        </a:cubicBezTo>
                        <a:cubicBezTo>
                          <a:pt x="102" y="561"/>
                          <a:pt x="152" y="597"/>
                          <a:pt x="199" y="599"/>
                        </a:cubicBezTo>
                        <a:cubicBezTo>
                          <a:pt x="244" y="600"/>
                          <a:pt x="305" y="565"/>
                          <a:pt x="330" y="527"/>
                        </a:cubicBezTo>
                        <a:cubicBezTo>
                          <a:pt x="356" y="487"/>
                          <a:pt x="352" y="434"/>
                          <a:pt x="374" y="392"/>
                        </a:cubicBezTo>
                        <a:cubicBezTo>
                          <a:pt x="423" y="295"/>
                          <a:pt x="402" y="146"/>
                          <a:pt x="329" y="70"/>
                        </a:cubicBezTo>
                        <a:cubicBezTo>
                          <a:pt x="281" y="20"/>
                          <a:pt x="227" y="0"/>
                          <a:pt x="158" y="0"/>
                        </a:cubicBezTo>
                        <a:cubicBezTo>
                          <a:pt x="115" y="0"/>
                          <a:pt x="3" y="73"/>
                          <a:pt x="0" y="8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1" name="Freeform 286"/>
                  <p:cNvSpPr>
                    <a:spLocks/>
                  </p:cNvSpPr>
                  <p:nvPr/>
                </p:nvSpPr>
                <p:spPr bwMode="gray">
                  <a:xfrm>
                    <a:off x="-971550" y="5983288"/>
                    <a:ext cx="1795463" cy="2549525"/>
                  </a:xfrm>
                  <a:custGeom>
                    <a:avLst/>
                    <a:gdLst/>
                    <a:ahLst/>
                    <a:cxnLst>
                      <a:cxn ang="0">
                        <a:pos x="7" y="242"/>
                      </a:cxn>
                      <a:cxn ang="0">
                        <a:pos x="39" y="429"/>
                      </a:cxn>
                      <a:cxn ang="0">
                        <a:pos x="86" y="596"/>
                      </a:cxn>
                      <a:cxn ang="0">
                        <a:pos x="225" y="678"/>
                      </a:cxn>
                      <a:cxn ang="0">
                        <a:pos x="373" y="597"/>
                      </a:cxn>
                      <a:cxn ang="0">
                        <a:pos x="423" y="444"/>
                      </a:cxn>
                      <a:cxn ang="0">
                        <a:pos x="372" y="79"/>
                      </a:cxn>
                      <a:cxn ang="0">
                        <a:pos x="178" y="0"/>
                      </a:cxn>
                      <a:cxn ang="0">
                        <a:pos x="0" y="97"/>
                      </a:cxn>
                    </a:cxnLst>
                    <a:rect l="0" t="0" r="r" b="b"/>
                    <a:pathLst>
                      <a:path w="479" h="680">
                        <a:moveTo>
                          <a:pt x="7" y="242"/>
                        </a:moveTo>
                        <a:cubicBezTo>
                          <a:pt x="0" y="314"/>
                          <a:pt x="16" y="366"/>
                          <a:pt x="39" y="429"/>
                        </a:cubicBezTo>
                        <a:cubicBezTo>
                          <a:pt x="59" y="485"/>
                          <a:pt x="47" y="544"/>
                          <a:pt x="86" y="596"/>
                        </a:cubicBezTo>
                        <a:cubicBezTo>
                          <a:pt x="115" y="635"/>
                          <a:pt x="172" y="677"/>
                          <a:pt x="225" y="678"/>
                        </a:cubicBezTo>
                        <a:cubicBezTo>
                          <a:pt x="276" y="680"/>
                          <a:pt x="346" y="640"/>
                          <a:pt x="373" y="597"/>
                        </a:cubicBezTo>
                        <a:cubicBezTo>
                          <a:pt x="403" y="552"/>
                          <a:pt x="398" y="492"/>
                          <a:pt x="423" y="444"/>
                        </a:cubicBezTo>
                        <a:cubicBezTo>
                          <a:pt x="479" y="334"/>
                          <a:pt x="455" y="166"/>
                          <a:pt x="372" y="79"/>
                        </a:cubicBezTo>
                        <a:cubicBezTo>
                          <a:pt x="318" y="23"/>
                          <a:pt x="257" y="0"/>
                          <a:pt x="178" y="0"/>
                        </a:cubicBezTo>
                        <a:cubicBezTo>
                          <a:pt x="130" y="0"/>
                          <a:pt x="3" y="83"/>
                          <a:pt x="0" y="9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2" name="Freeform 287"/>
                  <p:cNvSpPr>
                    <a:spLocks/>
                  </p:cNvSpPr>
                  <p:nvPr/>
                </p:nvSpPr>
                <p:spPr bwMode="gray">
                  <a:xfrm>
                    <a:off x="-117475" y="11623676"/>
                    <a:ext cx="1038225" cy="2324100"/>
                  </a:xfrm>
                  <a:custGeom>
                    <a:avLst/>
                    <a:gdLst/>
                    <a:ahLst/>
                    <a:cxnLst>
                      <a:cxn ang="0">
                        <a:pos x="200" y="59"/>
                      </a:cxn>
                      <a:cxn ang="0">
                        <a:pos x="101" y="65"/>
                      </a:cxn>
                      <a:cxn ang="0">
                        <a:pos x="38" y="19"/>
                      </a:cxn>
                      <a:cxn ang="0">
                        <a:pos x="61" y="201"/>
                      </a:cxn>
                      <a:cxn ang="0">
                        <a:pos x="95" y="293"/>
                      </a:cxn>
                      <a:cxn ang="0">
                        <a:pos x="54" y="404"/>
                      </a:cxn>
                      <a:cxn ang="0">
                        <a:pos x="78" y="522"/>
                      </a:cxn>
                      <a:cxn ang="0">
                        <a:pos x="176" y="615"/>
                      </a:cxn>
                      <a:cxn ang="0">
                        <a:pos x="253" y="464"/>
                      </a:cxn>
                      <a:cxn ang="0">
                        <a:pos x="276" y="286"/>
                      </a:cxn>
                      <a:cxn ang="0">
                        <a:pos x="203" y="78"/>
                      </a:cxn>
                      <a:cxn ang="0">
                        <a:pos x="85" y="57"/>
                      </a:cxn>
                      <a:cxn ang="0">
                        <a:pos x="25" y="48"/>
                      </a:cxn>
                    </a:cxnLst>
                    <a:rect l="0" t="0" r="r" b="b"/>
                    <a:pathLst>
                      <a:path w="277" h="620">
                        <a:moveTo>
                          <a:pt x="200" y="59"/>
                        </a:moveTo>
                        <a:cubicBezTo>
                          <a:pt x="175" y="76"/>
                          <a:pt x="127" y="78"/>
                          <a:pt x="101" y="65"/>
                        </a:cubicBezTo>
                        <a:cubicBezTo>
                          <a:pt x="75" y="52"/>
                          <a:pt x="68" y="17"/>
                          <a:pt x="38" y="19"/>
                        </a:cubicBezTo>
                        <a:cubicBezTo>
                          <a:pt x="26" y="65"/>
                          <a:pt x="135" y="171"/>
                          <a:pt x="61" y="201"/>
                        </a:cubicBezTo>
                        <a:cubicBezTo>
                          <a:pt x="46" y="250"/>
                          <a:pt x="96" y="253"/>
                          <a:pt x="95" y="293"/>
                        </a:cubicBezTo>
                        <a:cubicBezTo>
                          <a:pt x="95" y="334"/>
                          <a:pt x="49" y="349"/>
                          <a:pt x="54" y="404"/>
                        </a:cubicBezTo>
                        <a:cubicBezTo>
                          <a:pt x="57" y="438"/>
                          <a:pt x="68" y="488"/>
                          <a:pt x="78" y="522"/>
                        </a:cubicBezTo>
                        <a:cubicBezTo>
                          <a:pt x="89" y="562"/>
                          <a:pt x="124" y="620"/>
                          <a:pt x="176" y="615"/>
                        </a:cubicBezTo>
                        <a:cubicBezTo>
                          <a:pt x="249" y="607"/>
                          <a:pt x="253" y="521"/>
                          <a:pt x="253" y="464"/>
                        </a:cubicBezTo>
                        <a:cubicBezTo>
                          <a:pt x="253" y="398"/>
                          <a:pt x="276" y="352"/>
                          <a:pt x="276" y="286"/>
                        </a:cubicBezTo>
                        <a:cubicBezTo>
                          <a:pt x="276" y="197"/>
                          <a:pt x="277" y="138"/>
                          <a:pt x="203" y="78"/>
                        </a:cubicBezTo>
                        <a:cubicBezTo>
                          <a:pt x="173" y="54"/>
                          <a:pt x="115" y="6"/>
                          <a:pt x="85" y="57"/>
                        </a:cubicBezTo>
                        <a:cubicBezTo>
                          <a:pt x="70" y="18"/>
                          <a:pt x="0" y="0"/>
                          <a:pt x="25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3" name="Freeform 288"/>
                  <p:cNvSpPr>
                    <a:spLocks/>
                  </p:cNvSpPr>
                  <p:nvPr/>
                </p:nvSpPr>
                <p:spPr bwMode="gray">
                  <a:xfrm>
                    <a:off x="-219075" y="10855326"/>
                    <a:ext cx="657225" cy="704850"/>
                  </a:xfrm>
                  <a:custGeom>
                    <a:avLst/>
                    <a:gdLst/>
                    <a:ahLst/>
                    <a:cxnLst>
                      <a:cxn ang="0">
                        <a:pos x="157" y="183"/>
                      </a:cxn>
                      <a:cxn ang="0">
                        <a:pos x="75" y="20"/>
                      </a:cxn>
                      <a:cxn ang="0">
                        <a:pos x="87" y="118"/>
                      </a:cxn>
                      <a:cxn ang="0">
                        <a:pos x="175" y="188"/>
                      </a:cxn>
                    </a:cxnLst>
                    <a:rect l="0" t="0" r="r" b="b"/>
                    <a:pathLst>
                      <a:path w="175" h="188">
                        <a:moveTo>
                          <a:pt x="157" y="183"/>
                        </a:moveTo>
                        <a:cubicBezTo>
                          <a:pt x="117" y="174"/>
                          <a:pt x="0" y="57"/>
                          <a:pt x="75" y="20"/>
                        </a:cubicBezTo>
                        <a:cubicBezTo>
                          <a:pt x="116" y="0"/>
                          <a:pt x="82" y="106"/>
                          <a:pt x="87" y="118"/>
                        </a:cubicBezTo>
                        <a:cubicBezTo>
                          <a:pt x="99" y="149"/>
                          <a:pt x="147" y="167"/>
                          <a:pt x="175" y="18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4" name="Freeform 289"/>
                  <p:cNvSpPr>
                    <a:spLocks/>
                  </p:cNvSpPr>
                  <p:nvPr/>
                </p:nvSpPr>
                <p:spPr bwMode="gray">
                  <a:xfrm>
                    <a:off x="-1287463" y="11717338"/>
                    <a:ext cx="1196975" cy="3367088"/>
                  </a:xfrm>
                  <a:custGeom>
                    <a:avLst/>
                    <a:gdLst/>
                    <a:ahLst/>
                    <a:cxnLst>
                      <a:cxn ang="0">
                        <a:pos x="127" y="122"/>
                      </a:cxn>
                      <a:cxn ang="0">
                        <a:pos x="144" y="227"/>
                      </a:cxn>
                      <a:cxn ang="0">
                        <a:pos x="198" y="308"/>
                      </a:cxn>
                      <a:cxn ang="0">
                        <a:pos x="319" y="472"/>
                      </a:cxn>
                      <a:cxn ang="0">
                        <a:pos x="157" y="339"/>
                      </a:cxn>
                      <a:cxn ang="0">
                        <a:pos x="169" y="594"/>
                      </a:cxn>
                      <a:cxn ang="0">
                        <a:pos x="238" y="695"/>
                      </a:cxn>
                      <a:cxn ang="0">
                        <a:pos x="259" y="829"/>
                      </a:cxn>
                      <a:cxn ang="0">
                        <a:pos x="74" y="397"/>
                      </a:cxn>
                      <a:cxn ang="0">
                        <a:pos x="4" y="128"/>
                      </a:cxn>
                      <a:cxn ang="0">
                        <a:pos x="161" y="35"/>
                      </a:cxn>
                      <a:cxn ang="0">
                        <a:pos x="92" y="134"/>
                      </a:cxn>
                      <a:cxn ang="0">
                        <a:pos x="156" y="210"/>
                      </a:cxn>
                    </a:cxnLst>
                    <a:rect l="0" t="0" r="r" b="b"/>
                    <a:pathLst>
                      <a:path w="319" h="898">
                        <a:moveTo>
                          <a:pt x="127" y="122"/>
                        </a:moveTo>
                        <a:cubicBezTo>
                          <a:pt x="148" y="154"/>
                          <a:pt x="133" y="189"/>
                          <a:pt x="144" y="227"/>
                        </a:cubicBezTo>
                        <a:cubicBezTo>
                          <a:pt x="152" y="254"/>
                          <a:pt x="181" y="284"/>
                          <a:pt x="198" y="308"/>
                        </a:cubicBezTo>
                        <a:cubicBezTo>
                          <a:pt x="238" y="364"/>
                          <a:pt x="288" y="410"/>
                          <a:pt x="319" y="472"/>
                        </a:cubicBezTo>
                        <a:cubicBezTo>
                          <a:pt x="273" y="430"/>
                          <a:pt x="238" y="326"/>
                          <a:pt x="157" y="339"/>
                        </a:cubicBezTo>
                        <a:cubicBezTo>
                          <a:pt x="137" y="420"/>
                          <a:pt x="112" y="529"/>
                          <a:pt x="169" y="594"/>
                        </a:cubicBezTo>
                        <a:cubicBezTo>
                          <a:pt x="198" y="626"/>
                          <a:pt x="227" y="651"/>
                          <a:pt x="238" y="695"/>
                        </a:cubicBezTo>
                        <a:cubicBezTo>
                          <a:pt x="249" y="737"/>
                          <a:pt x="209" y="810"/>
                          <a:pt x="259" y="829"/>
                        </a:cubicBezTo>
                        <a:cubicBezTo>
                          <a:pt x="43" y="898"/>
                          <a:pt x="109" y="499"/>
                          <a:pt x="74" y="397"/>
                        </a:cubicBezTo>
                        <a:cubicBezTo>
                          <a:pt x="43" y="305"/>
                          <a:pt x="0" y="232"/>
                          <a:pt x="4" y="128"/>
                        </a:cubicBezTo>
                        <a:cubicBezTo>
                          <a:pt x="9" y="0"/>
                          <a:pt x="83" y="57"/>
                          <a:pt x="161" y="35"/>
                        </a:cubicBezTo>
                        <a:cubicBezTo>
                          <a:pt x="179" y="98"/>
                          <a:pt x="85" y="76"/>
                          <a:pt x="92" y="134"/>
                        </a:cubicBezTo>
                        <a:cubicBezTo>
                          <a:pt x="93" y="151"/>
                          <a:pt x="147" y="202"/>
                          <a:pt x="156" y="21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5" name="Freeform 290"/>
                  <p:cNvSpPr>
                    <a:spLocks/>
                  </p:cNvSpPr>
                  <p:nvPr/>
                </p:nvSpPr>
                <p:spPr bwMode="gray">
                  <a:xfrm>
                    <a:off x="193675" y="8870951"/>
                    <a:ext cx="919163" cy="884238"/>
                  </a:xfrm>
                  <a:custGeom>
                    <a:avLst/>
                    <a:gdLst/>
                    <a:ahLst/>
                    <a:cxnLst>
                      <a:cxn ang="0">
                        <a:pos x="123" y="39"/>
                      </a:cxn>
                      <a:cxn ang="0">
                        <a:pos x="6" y="236"/>
                      </a:cxn>
                      <a:cxn ang="0">
                        <a:pos x="166" y="139"/>
                      </a:cxn>
                      <a:cxn ang="0">
                        <a:pos x="77" y="69"/>
                      </a:cxn>
                    </a:cxnLst>
                    <a:rect l="0" t="0" r="r" b="b"/>
                    <a:pathLst>
                      <a:path w="245" h="236">
                        <a:moveTo>
                          <a:pt x="123" y="39"/>
                        </a:moveTo>
                        <a:cubicBezTo>
                          <a:pt x="55" y="75"/>
                          <a:pt x="0" y="158"/>
                          <a:pt x="6" y="236"/>
                        </a:cubicBezTo>
                        <a:cubicBezTo>
                          <a:pt x="33" y="141"/>
                          <a:pt x="109" y="197"/>
                          <a:pt x="166" y="139"/>
                        </a:cubicBezTo>
                        <a:cubicBezTo>
                          <a:pt x="245" y="58"/>
                          <a:pt x="100" y="0"/>
                          <a:pt x="77" y="6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6" name="Freeform 291"/>
                  <p:cNvSpPr>
                    <a:spLocks/>
                  </p:cNvSpPr>
                  <p:nvPr/>
                </p:nvSpPr>
                <p:spPr bwMode="gray">
                  <a:xfrm>
                    <a:off x="1919287" y="14533563"/>
                    <a:ext cx="655638" cy="809625"/>
                  </a:xfrm>
                  <a:custGeom>
                    <a:avLst/>
                    <a:gdLst/>
                    <a:ahLst/>
                    <a:cxnLst>
                      <a:cxn ang="0">
                        <a:pos x="172" y="35"/>
                      </a:cxn>
                      <a:cxn ang="0">
                        <a:pos x="143" y="88"/>
                      </a:cxn>
                      <a:cxn ang="0">
                        <a:pos x="87" y="125"/>
                      </a:cxn>
                      <a:cxn ang="0">
                        <a:pos x="43" y="172"/>
                      </a:cxn>
                      <a:cxn ang="0">
                        <a:pos x="1" y="216"/>
                      </a:cxn>
                      <a:cxn ang="0">
                        <a:pos x="9" y="154"/>
                      </a:cxn>
                      <a:cxn ang="0">
                        <a:pos x="39" y="100"/>
                      </a:cxn>
                      <a:cxn ang="0">
                        <a:pos x="55" y="65"/>
                      </a:cxn>
                      <a:cxn ang="0">
                        <a:pos x="119" y="20"/>
                      </a:cxn>
                      <a:cxn ang="0">
                        <a:pos x="158" y="13"/>
                      </a:cxn>
                      <a:cxn ang="0">
                        <a:pos x="175" y="33"/>
                      </a:cxn>
                      <a:cxn ang="0">
                        <a:pos x="169" y="33"/>
                      </a:cxn>
                    </a:cxnLst>
                    <a:rect l="0" t="0" r="r" b="b"/>
                    <a:pathLst>
                      <a:path w="175" h="216">
                        <a:moveTo>
                          <a:pt x="172" y="35"/>
                        </a:moveTo>
                        <a:cubicBezTo>
                          <a:pt x="174" y="49"/>
                          <a:pt x="152" y="77"/>
                          <a:pt x="143" y="88"/>
                        </a:cubicBezTo>
                        <a:cubicBezTo>
                          <a:pt x="128" y="106"/>
                          <a:pt x="103" y="110"/>
                          <a:pt x="87" y="125"/>
                        </a:cubicBezTo>
                        <a:cubicBezTo>
                          <a:pt x="70" y="141"/>
                          <a:pt x="57" y="153"/>
                          <a:pt x="43" y="172"/>
                        </a:cubicBezTo>
                        <a:cubicBezTo>
                          <a:pt x="30" y="188"/>
                          <a:pt x="19" y="207"/>
                          <a:pt x="1" y="216"/>
                        </a:cubicBezTo>
                        <a:cubicBezTo>
                          <a:pt x="0" y="196"/>
                          <a:pt x="6" y="174"/>
                          <a:pt x="9" y="154"/>
                        </a:cubicBezTo>
                        <a:cubicBezTo>
                          <a:pt x="12" y="132"/>
                          <a:pt x="30" y="120"/>
                          <a:pt x="39" y="100"/>
                        </a:cubicBezTo>
                        <a:cubicBezTo>
                          <a:pt x="45" y="88"/>
                          <a:pt x="48" y="76"/>
                          <a:pt x="55" y="65"/>
                        </a:cubicBezTo>
                        <a:cubicBezTo>
                          <a:pt x="71" y="41"/>
                          <a:pt x="95" y="34"/>
                          <a:pt x="119" y="20"/>
                        </a:cubicBezTo>
                        <a:cubicBezTo>
                          <a:pt x="135" y="10"/>
                          <a:pt x="141" y="0"/>
                          <a:pt x="158" y="13"/>
                        </a:cubicBezTo>
                        <a:cubicBezTo>
                          <a:pt x="164" y="18"/>
                          <a:pt x="168" y="29"/>
                          <a:pt x="175" y="33"/>
                        </a:cubicBezTo>
                        <a:cubicBezTo>
                          <a:pt x="173" y="33"/>
                          <a:pt x="171" y="33"/>
                          <a:pt x="169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7" name="Freeform 292"/>
                  <p:cNvSpPr>
                    <a:spLocks/>
                  </p:cNvSpPr>
                  <p:nvPr/>
                </p:nvSpPr>
                <p:spPr bwMode="gray">
                  <a:xfrm>
                    <a:off x="-4095750" y="8386763"/>
                    <a:ext cx="6791325" cy="7204075"/>
                  </a:xfrm>
                  <a:custGeom>
                    <a:avLst/>
                    <a:gdLst/>
                    <a:ahLst/>
                    <a:cxnLst>
                      <a:cxn ang="0">
                        <a:pos x="1156" y="1557"/>
                      </a:cxn>
                      <a:cxn ang="0">
                        <a:pos x="1157" y="1117"/>
                      </a:cxn>
                      <a:cxn ang="0">
                        <a:pos x="1207" y="345"/>
                      </a:cxn>
                      <a:cxn ang="0">
                        <a:pos x="1346" y="124"/>
                      </a:cxn>
                      <a:cxn ang="0">
                        <a:pos x="1642" y="268"/>
                      </a:cxn>
                      <a:cxn ang="0">
                        <a:pos x="1689" y="578"/>
                      </a:cxn>
                      <a:cxn ang="0">
                        <a:pos x="1731" y="1101"/>
                      </a:cxn>
                      <a:cxn ang="0">
                        <a:pos x="1767" y="1289"/>
                      </a:cxn>
                      <a:cxn ang="0">
                        <a:pos x="1788" y="1685"/>
                      </a:cxn>
                      <a:cxn ang="0">
                        <a:pos x="1359" y="1806"/>
                      </a:cxn>
                      <a:cxn ang="0">
                        <a:pos x="993" y="1908"/>
                      </a:cxn>
                      <a:cxn ang="0">
                        <a:pos x="575" y="1568"/>
                      </a:cxn>
                      <a:cxn ang="0">
                        <a:pos x="611" y="1378"/>
                      </a:cxn>
                      <a:cxn ang="0">
                        <a:pos x="603" y="1284"/>
                      </a:cxn>
                      <a:cxn ang="0">
                        <a:pos x="618" y="1144"/>
                      </a:cxn>
                      <a:cxn ang="0">
                        <a:pos x="559" y="922"/>
                      </a:cxn>
                      <a:cxn ang="0">
                        <a:pos x="493" y="703"/>
                      </a:cxn>
                      <a:cxn ang="0">
                        <a:pos x="412" y="759"/>
                      </a:cxn>
                      <a:cxn ang="0">
                        <a:pos x="330" y="915"/>
                      </a:cxn>
                      <a:cxn ang="0">
                        <a:pos x="345" y="1062"/>
                      </a:cxn>
                      <a:cxn ang="0">
                        <a:pos x="472" y="1291"/>
                      </a:cxn>
                      <a:cxn ang="0">
                        <a:pos x="571" y="1381"/>
                      </a:cxn>
                      <a:cxn ang="0">
                        <a:pos x="487" y="1410"/>
                      </a:cxn>
                      <a:cxn ang="0">
                        <a:pos x="480" y="1558"/>
                      </a:cxn>
                      <a:cxn ang="0">
                        <a:pos x="282" y="1383"/>
                      </a:cxn>
                      <a:cxn ang="0">
                        <a:pos x="143" y="1207"/>
                      </a:cxn>
                      <a:cxn ang="0">
                        <a:pos x="79" y="1097"/>
                      </a:cxn>
                      <a:cxn ang="0">
                        <a:pos x="100" y="755"/>
                      </a:cxn>
                      <a:cxn ang="0">
                        <a:pos x="276" y="475"/>
                      </a:cxn>
                      <a:cxn ang="0">
                        <a:pos x="384" y="353"/>
                      </a:cxn>
                      <a:cxn ang="0">
                        <a:pos x="477" y="185"/>
                      </a:cxn>
                      <a:cxn ang="0">
                        <a:pos x="741" y="87"/>
                      </a:cxn>
                      <a:cxn ang="0">
                        <a:pos x="851" y="189"/>
                      </a:cxn>
                      <a:cxn ang="0">
                        <a:pos x="817" y="548"/>
                      </a:cxn>
                      <a:cxn ang="0">
                        <a:pos x="848" y="856"/>
                      </a:cxn>
                      <a:cxn ang="0">
                        <a:pos x="898" y="1421"/>
                      </a:cxn>
                      <a:cxn ang="0">
                        <a:pos x="993" y="1908"/>
                      </a:cxn>
                    </a:cxnLst>
                    <a:rect l="0" t="0" r="r" b="b"/>
                    <a:pathLst>
                      <a:path w="1811" h="1921">
                        <a:moveTo>
                          <a:pt x="1143" y="1908"/>
                        </a:moveTo>
                        <a:cubicBezTo>
                          <a:pt x="1187" y="1827"/>
                          <a:pt x="1155" y="1642"/>
                          <a:pt x="1156" y="1557"/>
                        </a:cubicBezTo>
                        <a:cubicBezTo>
                          <a:pt x="1156" y="1504"/>
                          <a:pt x="1169" y="1457"/>
                          <a:pt x="1171" y="1405"/>
                        </a:cubicBezTo>
                        <a:cubicBezTo>
                          <a:pt x="1176" y="1314"/>
                          <a:pt x="1164" y="1210"/>
                          <a:pt x="1157" y="1117"/>
                        </a:cubicBezTo>
                        <a:cubicBezTo>
                          <a:pt x="1144" y="955"/>
                          <a:pt x="1127" y="801"/>
                          <a:pt x="1151" y="642"/>
                        </a:cubicBezTo>
                        <a:cubicBezTo>
                          <a:pt x="1166" y="540"/>
                          <a:pt x="1176" y="444"/>
                          <a:pt x="1207" y="345"/>
                        </a:cubicBezTo>
                        <a:cubicBezTo>
                          <a:pt x="1231" y="269"/>
                          <a:pt x="1215" y="188"/>
                          <a:pt x="1232" y="111"/>
                        </a:cubicBezTo>
                        <a:cubicBezTo>
                          <a:pt x="1251" y="26"/>
                          <a:pt x="1303" y="94"/>
                          <a:pt x="1346" y="124"/>
                        </a:cubicBezTo>
                        <a:cubicBezTo>
                          <a:pt x="1380" y="148"/>
                          <a:pt x="1405" y="164"/>
                          <a:pt x="1444" y="185"/>
                        </a:cubicBezTo>
                        <a:cubicBezTo>
                          <a:pt x="1510" y="219"/>
                          <a:pt x="1571" y="248"/>
                          <a:pt x="1642" y="268"/>
                        </a:cubicBezTo>
                        <a:cubicBezTo>
                          <a:pt x="1655" y="321"/>
                          <a:pt x="1645" y="379"/>
                          <a:pt x="1667" y="430"/>
                        </a:cubicBezTo>
                        <a:cubicBezTo>
                          <a:pt x="1689" y="480"/>
                          <a:pt x="1686" y="520"/>
                          <a:pt x="1689" y="578"/>
                        </a:cubicBezTo>
                        <a:cubicBezTo>
                          <a:pt x="1693" y="635"/>
                          <a:pt x="1709" y="688"/>
                          <a:pt x="1709" y="749"/>
                        </a:cubicBezTo>
                        <a:cubicBezTo>
                          <a:pt x="1709" y="805"/>
                          <a:pt x="1723" y="1043"/>
                          <a:pt x="1731" y="1101"/>
                        </a:cubicBezTo>
                        <a:cubicBezTo>
                          <a:pt x="1735" y="1130"/>
                          <a:pt x="1723" y="1157"/>
                          <a:pt x="1737" y="1184"/>
                        </a:cubicBezTo>
                        <a:cubicBezTo>
                          <a:pt x="1755" y="1221"/>
                          <a:pt x="1763" y="1248"/>
                          <a:pt x="1767" y="1289"/>
                        </a:cubicBezTo>
                        <a:cubicBezTo>
                          <a:pt x="1773" y="1343"/>
                          <a:pt x="1758" y="1392"/>
                          <a:pt x="1780" y="1443"/>
                        </a:cubicBezTo>
                        <a:cubicBezTo>
                          <a:pt x="1811" y="1510"/>
                          <a:pt x="1788" y="1606"/>
                          <a:pt x="1788" y="1685"/>
                        </a:cubicBezTo>
                        <a:cubicBezTo>
                          <a:pt x="1788" y="1712"/>
                          <a:pt x="1603" y="1756"/>
                          <a:pt x="1605" y="1823"/>
                        </a:cubicBezTo>
                        <a:cubicBezTo>
                          <a:pt x="1457" y="1829"/>
                          <a:pt x="1505" y="1792"/>
                          <a:pt x="1359" y="1806"/>
                        </a:cubicBezTo>
                        <a:cubicBezTo>
                          <a:pt x="1319" y="1810"/>
                          <a:pt x="1240" y="1879"/>
                          <a:pt x="1143" y="1908"/>
                        </a:cubicBezTo>
                        <a:cubicBezTo>
                          <a:pt x="1097" y="1921"/>
                          <a:pt x="1043" y="1908"/>
                          <a:pt x="993" y="1908"/>
                        </a:cubicBezTo>
                        <a:cubicBezTo>
                          <a:pt x="820" y="1907"/>
                          <a:pt x="643" y="1809"/>
                          <a:pt x="572" y="1806"/>
                        </a:cubicBezTo>
                        <a:cubicBezTo>
                          <a:pt x="567" y="1725"/>
                          <a:pt x="575" y="1645"/>
                          <a:pt x="575" y="1568"/>
                        </a:cubicBezTo>
                        <a:cubicBezTo>
                          <a:pt x="575" y="1529"/>
                          <a:pt x="555" y="1500"/>
                          <a:pt x="559" y="1460"/>
                        </a:cubicBezTo>
                        <a:cubicBezTo>
                          <a:pt x="564" y="1421"/>
                          <a:pt x="591" y="1408"/>
                          <a:pt x="611" y="1378"/>
                        </a:cubicBezTo>
                        <a:cubicBezTo>
                          <a:pt x="620" y="1364"/>
                          <a:pt x="650" y="1313"/>
                          <a:pt x="641" y="1297"/>
                        </a:cubicBezTo>
                        <a:cubicBezTo>
                          <a:pt x="631" y="1281"/>
                          <a:pt x="612" y="1296"/>
                          <a:pt x="603" y="1284"/>
                        </a:cubicBezTo>
                        <a:cubicBezTo>
                          <a:pt x="597" y="1275"/>
                          <a:pt x="602" y="1244"/>
                          <a:pt x="602" y="1234"/>
                        </a:cubicBezTo>
                        <a:cubicBezTo>
                          <a:pt x="604" y="1202"/>
                          <a:pt x="620" y="1177"/>
                          <a:pt x="618" y="1144"/>
                        </a:cubicBezTo>
                        <a:cubicBezTo>
                          <a:pt x="615" y="1108"/>
                          <a:pt x="597" y="1065"/>
                          <a:pt x="586" y="1031"/>
                        </a:cubicBezTo>
                        <a:cubicBezTo>
                          <a:pt x="575" y="996"/>
                          <a:pt x="561" y="963"/>
                          <a:pt x="559" y="922"/>
                        </a:cubicBezTo>
                        <a:cubicBezTo>
                          <a:pt x="557" y="867"/>
                          <a:pt x="557" y="827"/>
                          <a:pt x="539" y="775"/>
                        </a:cubicBezTo>
                        <a:cubicBezTo>
                          <a:pt x="533" y="757"/>
                          <a:pt x="522" y="701"/>
                          <a:pt x="493" y="703"/>
                        </a:cubicBezTo>
                        <a:cubicBezTo>
                          <a:pt x="480" y="704"/>
                          <a:pt x="468" y="733"/>
                          <a:pt x="459" y="740"/>
                        </a:cubicBezTo>
                        <a:cubicBezTo>
                          <a:pt x="446" y="749"/>
                          <a:pt x="427" y="752"/>
                          <a:pt x="412" y="759"/>
                        </a:cubicBezTo>
                        <a:cubicBezTo>
                          <a:pt x="409" y="783"/>
                          <a:pt x="385" y="811"/>
                          <a:pt x="369" y="832"/>
                        </a:cubicBezTo>
                        <a:cubicBezTo>
                          <a:pt x="349" y="860"/>
                          <a:pt x="347" y="887"/>
                          <a:pt x="330" y="915"/>
                        </a:cubicBezTo>
                        <a:cubicBezTo>
                          <a:pt x="314" y="943"/>
                          <a:pt x="284" y="944"/>
                          <a:pt x="297" y="985"/>
                        </a:cubicBezTo>
                        <a:cubicBezTo>
                          <a:pt x="306" y="1013"/>
                          <a:pt x="331" y="1037"/>
                          <a:pt x="345" y="1062"/>
                        </a:cubicBezTo>
                        <a:cubicBezTo>
                          <a:pt x="376" y="1117"/>
                          <a:pt x="387" y="1181"/>
                          <a:pt x="426" y="1230"/>
                        </a:cubicBezTo>
                        <a:cubicBezTo>
                          <a:pt x="442" y="1250"/>
                          <a:pt x="454" y="1272"/>
                          <a:pt x="472" y="1291"/>
                        </a:cubicBezTo>
                        <a:cubicBezTo>
                          <a:pt x="492" y="1314"/>
                          <a:pt x="514" y="1324"/>
                          <a:pt x="537" y="1347"/>
                        </a:cubicBezTo>
                        <a:cubicBezTo>
                          <a:pt x="548" y="1358"/>
                          <a:pt x="562" y="1368"/>
                          <a:pt x="571" y="1381"/>
                        </a:cubicBezTo>
                        <a:cubicBezTo>
                          <a:pt x="546" y="1382"/>
                          <a:pt x="522" y="1371"/>
                          <a:pt x="500" y="1385"/>
                        </a:cubicBezTo>
                        <a:cubicBezTo>
                          <a:pt x="496" y="1387"/>
                          <a:pt x="490" y="1406"/>
                          <a:pt x="487" y="1410"/>
                        </a:cubicBezTo>
                        <a:cubicBezTo>
                          <a:pt x="478" y="1420"/>
                          <a:pt x="460" y="1431"/>
                          <a:pt x="455" y="1445"/>
                        </a:cubicBezTo>
                        <a:cubicBezTo>
                          <a:pt x="445" y="1471"/>
                          <a:pt x="445" y="1555"/>
                          <a:pt x="480" y="1558"/>
                        </a:cubicBezTo>
                        <a:cubicBezTo>
                          <a:pt x="413" y="1576"/>
                          <a:pt x="366" y="1524"/>
                          <a:pt x="330" y="1475"/>
                        </a:cubicBezTo>
                        <a:cubicBezTo>
                          <a:pt x="308" y="1444"/>
                          <a:pt x="298" y="1414"/>
                          <a:pt x="282" y="1383"/>
                        </a:cubicBezTo>
                        <a:cubicBezTo>
                          <a:pt x="266" y="1354"/>
                          <a:pt x="236" y="1333"/>
                          <a:pt x="217" y="1308"/>
                        </a:cubicBezTo>
                        <a:cubicBezTo>
                          <a:pt x="192" y="1273"/>
                          <a:pt x="170" y="1239"/>
                          <a:pt x="143" y="1207"/>
                        </a:cubicBezTo>
                        <a:cubicBezTo>
                          <a:pt x="124" y="1186"/>
                          <a:pt x="113" y="1183"/>
                          <a:pt x="100" y="1158"/>
                        </a:cubicBezTo>
                        <a:cubicBezTo>
                          <a:pt x="91" y="1138"/>
                          <a:pt x="90" y="1117"/>
                          <a:pt x="79" y="1097"/>
                        </a:cubicBezTo>
                        <a:cubicBezTo>
                          <a:pt x="50" y="1043"/>
                          <a:pt x="0" y="1002"/>
                          <a:pt x="6" y="934"/>
                        </a:cubicBezTo>
                        <a:cubicBezTo>
                          <a:pt x="12" y="858"/>
                          <a:pt x="60" y="813"/>
                          <a:pt x="100" y="755"/>
                        </a:cubicBezTo>
                        <a:cubicBezTo>
                          <a:pt x="146" y="688"/>
                          <a:pt x="165" y="616"/>
                          <a:pt x="232" y="564"/>
                        </a:cubicBezTo>
                        <a:cubicBezTo>
                          <a:pt x="271" y="535"/>
                          <a:pt x="257" y="517"/>
                          <a:pt x="276" y="475"/>
                        </a:cubicBezTo>
                        <a:cubicBezTo>
                          <a:pt x="288" y="448"/>
                          <a:pt x="310" y="432"/>
                          <a:pt x="333" y="411"/>
                        </a:cubicBezTo>
                        <a:cubicBezTo>
                          <a:pt x="354" y="391"/>
                          <a:pt x="372" y="386"/>
                          <a:pt x="384" y="353"/>
                        </a:cubicBezTo>
                        <a:cubicBezTo>
                          <a:pt x="395" y="323"/>
                          <a:pt x="404" y="294"/>
                          <a:pt x="418" y="264"/>
                        </a:cubicBezTo>
                        <a:cubicBezTo>
                          <a:pt x="430" y="237"/>
                          <a:pt x="453" y="198"/>
                          <a:pt x="477" y="185"/>
                        </a:cubicBezTo>
                        <a:cubicBezTo>
                          <a:pt x="506" y="171"/>
                          <a:pt x="536" y="183"/>
                          <a:pt x="567" y="178"/>
                        </a:cubicBezTo>
                        <a:cubicBezTo>
                          <a:pt x="633" y="166"/>
                          <a:pt x="686" y="122"/>
                          <a:pt x="741" y="87"/>
                        </a:cubicBezTo>
                        <a:cubicBezTo>
                          <a:pt x="777" y="64"/>
                          <a:pt x="893" y="0"/>
                          <a:pt x="887" y="85"/>
                        </a:cubicBezTo>
                        <a:cubicBezTo>
                          <a:pt x="884" y="118"/>
                          <a:pt x="859" y="155"/>
                          <a:pt x="851" y="189"/>
                        </a:cubicBezTo>
                        <a:cubicBezTo>
                          <a:pt x="842" y="225"/>
                          <a:pt x="840" y="262"/>
                          <a:pt x="836" y="299"/>
                        </a:cubicBezTo>
                        <a:cubicBezTo>
                          <a:pt x="827" y="383"/>
                          <a:pt x="813" y="461"/>
                          <a:pt x="817" y="548"/>
                        </a:cubicBezTo>
                        <a:cubicBezTo>
                          <a:pt x="819" y="607"/>
                          <a:pt x="824" y="667"/>
                          <a:pt x="824" y="728"/>
                        </a:cubicBezTo>
                        <a:cubicBezTo>
                          <a:pt x="825" y="777"/>
                          <a:pt x="840" y="808"/>
                          <a:pt x="848" y="856"/>
                        </a:cubicBezTo>
                        <a:cubicBezTo>
                          <a:pt x="870" y="995"/>
                          <a:pt x="855" y="1139"/>
                          <a:pt x="876" y="1280"/>
                        </a:cubicBezTo>
                        <a:cubicBezTo>
                          <a:pt x="882" y="1324"/>
                          <a:pt x="896" y="1372"/>
                          <a:pt x="898" y="1421"/>
                        </a:cubicBezTo>
                        <a:cubicBezTo>
                          <a:pt x="901" y="1479"/>
                          <a:pt x="897" y="1538"/>
                          <a:pt x="902" y="1596"/>
                        </a:cubicBezTo>
                        <a:cubicBezTo>
                          <a:pt x="910" y="1675"/>
                          <a:pt x="896" y="1821"/>
                          <a:pt x="993" y="19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8" name="Freeform 293"/>
                  <p:cNvSpPr>
                    <a:spLocks/>
                  </p:cNvSpPr>
                  <p:nvPr/>
                </p:nvSpPr>
                <p:spPr bwMode="gray">
                  <a:xfrm>
                    <a:off x="490537" y="8915401"/>
                    <a:ext cx="633413" cy="593725"/>
                  </a:xfrm>
                  <a:custGeom>
                    <a:avLst/>
                    <a:gdLst/>
                    <a:ahLst/>
                    <a:cxnLst>
                      <a:cxn ang="0">
                        <a:pos x="4" y="103"/>
                      </a:cxn>
                      <a:cxn ang="0">
                        <a:pos x="86" y="106"/>
                      </a:cxn>
                      <a:cxn ang="0">
                        <a:pos x="163" y="158"/>
                      </a:cxn>
                      <a:cxn ang="0">
                        <a:pos x="109" y="28"/>
                      </a:cxn>
                      <a:cxn ang="0">
                        <a:pos x="35" y="6"/>
                      </a:cxn>
                      <a:cxn ang="0">
                        <a:pos x="0" y="68"/>
                      </a:cxn>
                    </a:cxnLst>
                    <a:rect l="0" t="0" r="r" b="b"/>
                    <a:pathLst>
                      <a:path w="169" h="158">
                        <a:moveTo>
                          <a:pt x="4" y="103"/>
                        </a:moveTo>
                        <a:cubicBezTo>
                          <a:pt x="49" y="98"/>
                          <a:pt x="42" y="81"/>
                          <a:pt x="86" y="106"/>
                        </a:cubicBezTo>
                        <a:cubicBezTo>
                          <a:pt x="114" y="122"/>
                          <a:pt x="137" y="140"/>
                          <a:pt x="163" y="158"/>
                        </a:cubicBezTo>
                        <a:cubicBezTo>
                          <a:pt x="169" y="119"/>
                          <a:pt x="141" y="50"/>
                          <a:pt x="109" y="28"/>
                        </a:cubicBezTo>
                        <a:cubicBezTo>
                          <a:pt x="98" y="21"/>
                          <a:pt x="47" y="0"/>
                          <a:pt x="35" y="6"/>
                        </a:cubicBezTo>
                        <a:cubicBezTo>
                          <a:pt x="15" y="14"/>
                          <a:pt x="17" y="56"/>
                          <a:pt x="0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49" name="Freeform 294"/>
                  <p:cNvSpPr>
                    <a:spLocks/>
                  </p:cNvSpPr>
                  <p:nvPr/>
                </p:nvSpPr>
                <p:spPr bwMode="gray">
                  <a:xfrm>
                    <a:off x="-1816100" y="8859838"/>
                    <a:ext cx="866775" cy="465138"/>
                  </a:xfrm>
                  <a:custGeom>
                    <a:avLst/>
                    <a:gdLst/>
                    <a:ahLst/>
                    <a:cxnLst>
                      <a:cxn ang="0">
                        <a:pos x="65" y="64"/>
                      </a:cxn>
                      <a:cxn ang="0">
                        <a:pos x="0" y="114"/>
                      </a:cxn>
                      <a:cxn ang="0">
                        <a:pos x="108" y="103"/>
                      </a:cxn>
                      <a:cxn ang="0">
                        <a:pos x="191" y="71"/>
                      </a:cxn>
                      <a:cxn ang="0">
                        <a:pos x="225" y="60"/>
                      </a:cxn>
                      <a:cxn ang="0">
                        <a:pos x="209" y="18"/>
                      </a:cxn>
                      <a:cxn ang="0">
                        <a:pos x="112" y="25"/>
                      </a:cxn>
                    </a:cxnLst>
                    <a:rect l="0" t="0" r="r" b="b"/>
                    <a:pathLst>
                      <a:path w="231" h="124">
                        <a:moveTo>
                          <a:pt x="65" y="64"/>
                        </a:moveTo>
                        <a:cubicBezTo>
                          <a:pt x="50" y="98"/>
                          <a:pt x="31" y="101"/>
                          <a:pt x="0" y="114"/>
                        </a:cubicBezTo>
                        <a:cubicBezTo>
                          <a:pt x="37" y="124"/>
                          <a:pt x="75" y="121"/>
                          <a:pt x="108" y="103"/>
                        </a:cubicBezTo>
                        <a:cubicBezTo>
                          <a:pt x="145" y="82"/>
                          <a:pt x="149" y="74"/>
                          <a:pt x="191" y="71"/>
                        </a:cubicBezTo>
                        <a:cubicBezTo>
                          <a:pt x="208" y="69"/>
                          <a:pt x="216" y="84"/>
                          <a:pt x="225" y="60"/>
                        </a:cubicBezTo>
                        <a:cubicBezTo>
                          <a:pt x="231" y="44"/>
                          <a:pt x="219" y="25"/>
                          <a:pt x="209" y="18"/>
                        </a:cubicBezTo>
                        <a:cubicBezTo>
                          <a:pt x="185" y="0"/>
                          <a:pt x="132" y="6"/>
                          <a:pt x="112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0" name="Freeform 295"/>
                  <p:cNvSpPr>
                    <a:spLocks/>
                  </p:cNvSpPr>
                  <p:nvPr/>
                </p:nvSpPr>
                <p:spPr bwMode="gray">
                  <a:xfrm>
                    <a:off x="823912" y="8807451"/>
                    <a:ext cx="1225550" cy="828675"/>
                  </a:xfrm>
                  <a:custGeom>
                    <a:avLst/>
                    <a:gdLst/>
                    <a:ahLst/>
                    <a:cxnLst>
                      <a:cxn ang="0">
                        <a:pos x="55" y="74"/>
                      </a:cxn>
                      <a:cxn ang="0">
                        <a:pos x="128" y="114"/>
                      </a:cxn>
                      <a:cxn ang="0">
                        <a:pos x="183" y="167"/>
                      </a:cxn>
                      <a:cxn ang="0">
                        <a:pos x="164" y="125"/>
                      </a:cxn>
                      <a:cxn ang="0">
                        <a:pos x="327" y="15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27" h="221">
                        <a:moveTo>
                          <a:pt x="55" y="74"/>
                        </a:moveTo>
                        <a:cubicBezTo>
                          <a:pt x="78" y="91"/>
                          <a:pt x="106" y="95"/>
                          <a:pt x="128" y="114"/>
                        </a:cubicBezTo>
                        <a:cubicBezTo>
                          <a:pt x="146" y="131"/>
                          <a:pt x="159" y="161"/>
                          <a:pt x="183" y="167"/>
                        </a:cubicBezTo>
                        <a:cubicBezTo>
                          <a:pt x="178" y="152"/>
                          <a:pt x="167" y="141"/>
                          <a:pt x="164" y="125"/>
                        </a:cubicBezTo>
                        <a:cubicBezTo>
                          <a:pt x="209" y="117"/>
                          <a:pt x="280" y="221"/>
                          <a:pt x="327" y="153"/>
                        </a:cubicBezTo>
                        <a:cubicBezTo>
                          <a:pt x="209" y="137"/>
                          <a:pt x="122" y="16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1" name="Freeform 296"/>
                  <p:cNvSpPr>
                    <a:spLocks/>
                  </p:cNvSpPr>
                  <p:nvPr/>
                </p:nvSpPr>
                <p:spPr bwMode="gray">
                  <a:xfrm>
                    <a:off x="-1804988" y="8394701"/>
                    <a:ext cx="3055938" cy="2590800"/>
                  </a:xfrm>
                  <a:custGeom>
                    <a:avLst/>
                    <a:gdLst/>
                    <a:ahLst/>
                    <a:cxnLst>
                      <a:cxn ang="0">
                        <a:pos x="130" y="73"/>
                      </a:cxn>
                      <a:cxn ang="0">
                        <a:pos x="0" y="192"/>
                      </a:cxn>
                      <a:cxn ang="0">
                        <a:pos x="170" y="150"/>
                      </a:cxn>
                      <a:cxn ang="0">
                        <a:pos x="238" y="256"/>
                      </a:cxn>
                      <a:cxn ang="0">
                        <a:pos x="213" y="547"/>
                      </a:cxn>
                      <a:cxn ang="0">
                        <a:pos x="580" y="403"/>
                      </a:cxn>
                      <a:cxn ang="0">
                        <a:pos x="600" y="217"/>
                      </a:cxn>
                      <a:cxn ang="0">
                        <a:pos x="655" y="177"/>
                      </a:cxn>
                      <a:cxn ang="0">
                        <a:pos x="705" y="203"/>
                      </a:cxn>
                      <a:cxn ang="0">
                        <a:pos x="760" y="226"/>
                      </a:cxn>
                      <a:cxn ang="0">
                        <a:pos x="813" y="266"/>
                      </a:cxn>
                      <a:cxn ang="0">
                        <a:pos x="779" y="203"/>
                      </a:cxn>
                      <a:cxn ang="0">
                        <a:pos x="746" y="131"/>
                      </a:cxn>
                      <a:cxn ang="0">
                        <a:pos x="619" y="7"/>
                      </a:cxn>
                      <a:cxn ang="0">
                        <a:pos x="576" y="192"/>
                      </a:cxn>
                      <a:cxn ang="0">
                        <a:pos x="483" y="318"/>
                      </a:cxn>
                      <a:cxn ang="0">
                        <a:pos x="407" y="480"/>
                      </a:cxn>
                      <a:cxn ang="0">
                        <a:pos x="407" y="691"/>
                      </a:cxn>
                      <a:cxn ang="0">
                        <a:pos x="381" y="481"/>
                      </a:cxn>
                      <a:cxn ang="0">
                        <a:pos x="350" y="332"/>
                      </a:cxn>
                      <a:cxn ang="0">
                        <a:pos x="272" y="188"/>
                      </a:cxn>
                      <a:cxn ang="0">
                        <a:pos x="260" y="0"/>
                      </a:cxn>
                    </a:cxnLst>
                    <a:rect l="0" t="0" r="r" b="b"/>
                    <a:pathLst>
                      <a:path w="815" h="691">
                        <a:moveTo>
                          <a:pt x="130" y="73"/>
                        </a:moveTo>
                        <a:cubicBezTo>
                          <a:pt x="93" y="100"/>
                          <a:pt x="50" y="197"/>
                          <a:pt x="0" y="192"/>
                        </a:cubicBezTo>
                        <a:cubicBezTo>
                          <a:pt x="64" y="238"/>
                          <a:pt x="121" y="166"/>
                          <a:pt x="170" y="150"/>
                        </a:cubicBezTo>
                        <a:cubicBezTo>
                          <a:pt x="204" y="188"/>
                          <a:pt x="255" y="202"/>
                          <a:pt x="238" y="256"/>
                        </a:cubicBezTo>
                        <a:cubicBezTo>
                          <a:pt x="209" y="344"/>
                          <a:pt x="213" y="450"/>
                          <a:pt x="213" y="547"/>
                        </a:cubicBezTo>
                        <a:cubicBezTo>
                          <a:pt x="214" y="662"/>
                          <a:pt x="591" y="441"/>
                          <a:pt x="580" y="403"/>
                        </a:cubicBezTo>
                        <a:cubicBezTo>
                          <a:pt x="567" y="362"/>
                          <a:pt x="571" y="248"/>
                          <a:pt x="600" y="217"/>
                        </a:cubicBezTo>
                        <a:cubicBezTo>
                          <a:pt x="609" y="207"/>
                          <a:pt x="646" y="180"/>
                          <a:pt x="655" y="177"/>
                        </a:cubicBezTo>
                        <a:cubicBezTo>
                          <a:pt x="695" y="164"/>
                          <a:pt x="682" y="185"/>
                          <a:pt x="705" y="203"/>
                        </a:cubicBezTo>
                        <a:cubicBezTo>
                          <a:pt x="723" y="217"/>
                          <a:pt x="741" y="217"/>
                          <a:pt x="760" y="226"/>
                        </a:cubicBezTo>
                        <a:cubicBezTo>
                          <a:pt x="779" y="236"/>
                          <a:pt x="792" y="257"/>
                          <a:pt x="813" y="266"/>
                        </a:cubicBezTo>
                        <a:cubicBezTo>
                          <a:pt x="815" y="239"/>
                          <a:pt x="791" y="224"/>
                          <a:pt x="779" y="203"/>
                        </a:cubicBezTo>
                        <a:cubicBezTo>
                          <a:pt x="767" y="182"/>
                          <a:pt x="764" y="151"/>
                          <a:pt x="746" y="131"/>
                        </a:cubicBezTo>
                        <a:cubicBezTo>
                          <a:pt x="708" y="87"/>
                          <a:pt x="652" y="52"/>
                          <a:pt x="619" y="7"/>
                        </a:cubicBezTo>
                        <a:cubicBezTo>
                          <a:pt x="603" y="63"/>
                          <a:pt x="607" y="140"/>
                          <a:pt x="576" y="192"/>
                        </a:cubicBezTo>
                        <a:cubicBezTo>
                          <a:pt x="549" y="237"/>
                          <a:pt x="505" y="270"/>
                          <a:pt x="483" y="318"/>
                        </a:cubicBezTo>
                        <a:cubicBezTo>
                          <a:pt x="459" y="369"/>
                          <a:pt x="425" y="424"/>
                          <a:pt x="407" y="480"/>
                        </a:cubicBezTo>
                        <a:cubicBezTo>
                          <a:pt x="390" y="527"/>
                          <a:pt x="571" y="551"/>
                          <a:pt x="407" y="691"/>
                        </a:cubicBezTo>
                        <a:cubicBezTo>
                          <a:pt x="389" y="645"/>
                          <a:pt x="381" y="530"/>
                          <a:pt x="381" y="481"/>
                        </a:cubicBezTo>
                        <a:cubicBezTo>
                          <a:pt x="380" y="423"/>
                          <a:pt x="381" y="376"/>
                          <a:pt x="350" y="332"/>
                        </a:cubicBezTo>
                        <a:cubicBezTo>
                          <a:pt x="317" y="283"/>
                          <a:pt x="287" y="244"/>
                          <a:pt x="272" y="188"/>
                        </a:cubicBezTo>
                        <a:cubicBezTo>
                          <a:pt x="262" y="154"/>
                          <a:pt x="292" y="7"/>
                          <a:pt x="2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2" name="Freeform 297"/>
                  <p:cNvSpPr>
                    <a:spLocks/>
                  </p:cNvSpPr>
                  <p:nvPr/>
                </p:nvSpPr>
                <p:spPr bwMode="gray">
                  <a:xfrm>
                    <a:off x="-1519238" y="8405813"/>
                    <a:ext cx="812800" cy="487363"/>
                  </a:xfrm>
                  <a:custGeom>
                    <a:avLst/>
                    <a:gdLst/>
                    <a:ahLst/>
                    <a:cxnLst>
                      <a:cxn ang="0">
                        <a:pos x="0" y="130"/>
                      </a:cxn>
                      <a:cxn ang="0">
                        <a:pos x="86" y="76"/>
                      </a:cxn>
                      <a:cxn ang="0">
                        <a:pos x="74" y="103"/>
                      </a:cxn>
                      <a:cxn ang="0">
                        <a:pos x="124" y="62"/>
                      </a:cxn>
                      <a:cxn ang="0">
                        <a:pos x="127" y="91"/>
                      </a:cxn>
                      <a:cxn ang="0">
                        <a:pos x="163" y="64"/>
                      </a:cxn>
                      <a:cxn ang="0">
                        <a:pos x="173" y="91"/>
                      </a:cxn>
                      <a:cxn ang="0">
                        <a:pos x="187" y="71"/>
                      </a:cxn>
                      <a:cxn ang="0">
                        <a:pos x="208" y="93"/>
                      </a:cxn>
                      <a:cxn ang="0">
                        <a:pos x="176" y="22"/>
                      </a:cxn>
                      <a:cxn ang="0">
                        <a:pos x="107" y="26"/>
                      </a:cxn>
                      <a:cxn ang="0">
                        <a:pos x="15" y="101"/>
                      </a:cxn>
                    </a:cxnLst>
                    <a:rect l="0" t="0" r="r" b="b"/>
                    <a:pathLst>
                      <a:path w="217" h="130">
                        <a:moveTo>
                          <a:pt x="0" y="130"/>
                        </a:moveTo>
                        <a:cubicBezTo>
                          <a:pt x="23" y="129"/>
                          <a:pt x="76" y="97"/>
                          <a:pt x="86" y="76"/>
                        </a:cubicBezTo>
                        <a:cubicBezTo>
                          <a:pt x="87" y="87"/>
                          <a:pt x="82" y="97"/>
                          <a:pt x="74" y="103"/>
                        </a:cubicBezTo>
                        <a:cubicBezTo>
                          <a:pt x="105" y="108"/>
                          <a:pt x="94" y="54"/>
                          <a:pt x="124" y="62"/>
                        </a:cubicBezTo>
                        <a:cubicBezTo>
                          <a:pt x="128" y="71"/>
                          <a:pt x="126" y="81"/>
                          <a:pt x="127" y="91"/>
                        </a:cubicBezTo>
                        <a:cubicBezTo>
                          <a:pt x="143" y="91"/>
                          <a:pt x="150" y="71"/>
                          <a:pt x="163" y="64"/>
                        </a:cubicBezTo>
                        <a:cubicBezTo>
                          <a:pt x="162" y="74"/>
                          <a:pt x="166" y="85"/>
                          <a:pt x="173" y="91"/>
                        </a:cubicBezTo>
                        <a:cubicBezTo>
                          <a:pt x="176" y="84"/>
                          <a:pt x="180" y="76"/>
                          <a:pt x="187" y="71"/>
                        </a:cubicBezTo>
                        <a:cubicBezTo>
                          <a:pt x="187" y="85"/>
                          <a:pt x="190" y="97"/>
                          <a:pt x="208" y="93"/>
                        </a:cubicBezTo>
                        <a:cubicBezTo>
                          <a:pt x="217" y="68"/>
                          <a:pt x="196" y="37"/>
                          <a:pt x="176" y="22"/>
                        </a:cubicBezTo>
                        <a:cubicBezTo>
                          <a:pt x="149" y="0"/>
                          <a:pt x="132" y="11"/>
                          <a:pt x="107" y="26"/>
                        </a:cubicBezTo>
                        <a:cubicBezTo>
                          <a:pt x="69" y="50"/>
                          <a:pt x="40" y="62"/>
                          <a:pt x="15" y="1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3" name="Freeform 298"/>
                  <p:cNvSpPr>
                    <a:spLocks/>
                  </p:cNvSpPr>
                  <p:nvPr/>
                </p:nvSpPr>
                <p:spPr bwMode="gray">
                  <a:xfrm>
                    <a:off x="411162" y="8405813"/>
                    <a:ext cx="735013" cy="803275"/>
                  </a:xfrm>
                  <a:custGeom>
                    <a:avLst/>
                    <a:gdLst/>
                    <a:ahLst/>
                    <a:cxnLst>
                      <a:cxn ang="0">
                        <a:pos x="11" y="66"/>
                      </a:cxn>
                      <a:cxn ang="0">
                        <a:pos x="9" y="126"/>
                      </a:cxn>
                      <a:cxn ang="0">
                        <a:pos x="40" y="105"/>
                      </a:cxn>
                      <a:cxn ang="0">
                        <a:pos x="69" y="78"/>
                      </a:cxn>
                      <a:cxn ang="0">
                        <a:pos x="142" y="142"/>
                      </a:cxn>
                      <a:cxn ang="0">
                        <a:pos x="196" y="212"/>
                      </a:cxn>
                      <a:cxn ang="0">
                        <a:pos x="165" y="144"/>
                      </a:cxn>
                      <a:cxn ang="0">
                        <a:pos x="124" y="71"/>
                      </a:cxn>
                      <a:cxn ang="0">
                        <a:pos x="54" y="7"/>
                      </a:cxn>
                      <a:cxn ang="0">
                        <a:pos x="3" y="72"/>
                      </a:cxn>
                      <a:cxn ang="0">
                        <a:pos x="13" y="78"/>
                      </a:cxn>
                    </a:cxnLst>
                    <a:rect l="0" t="0" r="r" b="b"/>
                    <a:pathLst>
                      <a:path w="196" h="214">
                        <a:moveTo>
                          <a:pt x="11" y="66"/>
                        </a:moveTo>
                        <a:cubicBezTo>
                          <a:pt x="20" y="73"/>
                          <a:pt x="13" y="114"/>
                          <a:pt x="9" y="126"/>
                        </a:cubicBezTo>
                        <a:cubicBezTo>
                          <a:pt x="20" y="122"/>
                          <a:pt x="31" y="112"/>
                          <a:pt x="40" y="105"/>
                        </a:cubicBezTo>
                        <a:cubicBezTo>
                          <a:pt x="49" y="98"/>
                          <a:pt x="60" y="81"/>
                          <a:pt x="69" y="78"/>
                        </a:cubicBezTo>
                        <a:cubicBezTo>
                          <a:pt x="86" y="109"/>
                          <a:pt x="122" y="118"/>
                          <a:pt x="142" y="142"/>
                        </a:cubicBezTo>
                        <a:cubicBezTo>
                          <a:pt x="155" y="158"/>
                          <a:pt x="171" y="214"/>
                          <a:pt x="196" y="212"/>
                        </a:cubicBezTo>
                        <a:cubicBezTo>
                          <a:pt x="189" y="191"/>
                          <a:pt x="175" y="165"/>
                          <a:pt x="165" y="144"/>
                        </a:cubicBezTo>
                        <a:cubicBezTo>
                          <a:pt x="153" y="120"/>
                          <a:pt x="138" y="95"/>
                          <a:pt x="124" y="71"/>
                        </a:cubicBezTo>
                        <a:cubicBezTo>
                          <a:pt x="108" y="45"/>
                          <a:pt x="85" y="13"/>
                          <a:pt x="54" y="7"/>
                        </a:cubicBezTo>
                        <a:cubicBezTo>
                          <a:pt x="17" y="0"/>
                          <a:pt x="0" y="40"/>
                          <a:pt x="3" y="72"/>
                        </a:cubicBezTo>
                        <a:cubicBezTo>
                          <a:pt x="7" y="73"/>
                          <a:pt x="10" y="77"/>
                          <a:pt x="13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4" name="Freeform 299"/>
                  <p:cNvSpPr>
                    <a:spLocks/>
                  </p:cNvSpPr>
                  <p:nvPr/>
                </p:nvSpPr>
                <p:spPr bwMode="gray">
                  <a:xfrm>
                    <a:off x="-1095375" y="9036051"/>
                    <a:ext cx="547688" cy="80962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46" y="216"/>
                      </a:cxn>
                      <a:cxn ang="0">
                        <a:pos x="53" y="131"/>
                      </a:cxn>
                      <a:cxn ang="0">
                        <a:pos x="28" y="193"/>
                      </a:cxn>
                    </a:cxnLst>
                    <a:rect l="0" t="0" r="r" b="b"/>
                    <a:pathLst>
                      <a:path w="146" h="216">
                        <a:moveTo>
                          <a:pt x="0" y="0"/>
                        </a:moveTo>
                        <a:cubicBezTo>
                          <a:pt x="40" y="3"/>
                          <a:pt x="144" y="168"/>
                          <a:pt x="146" y="216"/>
                        </a:cubicBezTo>
                        <a:cubicBezTo>
                          <a:pt x="134" y="178"/>
                          <a:pt x="97" y="126"/>
                          <a:pt x="53" y="131"/>
                        </a:cubicBezTo>
                        <a:cubicBezTo>
                          <a:pt x="54" y="153"/>
                          <a:pt x="29" y="170"/>
                          <a:pt x="28" y="19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5" name="Freeform 300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6" name="Freeform 301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7" name="Freeform 302"/>
                  <p:cNvSpPr>
                    <a:spLocks/>
                  </p:cNvSpPr>
                  <p:nvPr/>
                </p:nvSpPr>
                <p:spPr bwMode="gray">
                  <a:xfrm>
                    <a:off x="-1965325" y="13963651"/>
                    <a:ext cx="746125" cy="757238"/>
                  </a:xfrm>
                  <a:custGeom>
                    <a:avLst/>
                    <a:gdLst/>
                    <a:ahLst/>
                    <a:cxnLst>
                      <a:cxn ang="0">
                        <a:pos x="4" y="47"/>
                      </a:cxn>
                      <a:cxn ang="0">
                        <a:pos x="16" y="105"/>
                      </a:cxn>
                      <a:cxn ang="0">
                        <a:pos x="128" y="168"/>
                      </a:cxn>
                      <a:cxn ang="0">
                        <a:pos x="176" y="188"/>
                      </a:cxn>
                      <a:cxn ang="0">
                        <a:pos x="171" y="138"/>
                      </a:cxn>
                      <a:cxn ang="0">
                        <a:pos x="86" y="71"/>
                      </a:cxn>
                      <a:cxn ang="0">
                        <a:pos x="186" y="58"/>
                      </a:cxn>
                      <a:cxn ang="0">
                        <a:pos x="97" y="16"/>
                      </a:cxn>
                      <a:cxn ang="0">
                        <a:pos x="39" y="4"/>
                      </a:cxn>
                      <a:cxn ang="0">
                        <a:pos x="0" y="43"/>
                      </a:cxn>
                    </a:cxnLst>
                    <a:rect l="0" t="0" r="r" b="b"/>
                    <a:pathLst>
                      <a:path w="199" h="202">
                        <a:moveTo>
                          <a:pt x="4" y="47"/>
                        </a:moveTo>
                        <a:cubicBezTo>
                          <a:pt x="14" y="65"/>
                          <a:pt x="16" y="85"/>
                          <a:pt x="16" y="105"/>
                        </a:cubicBezTo>
                        <a:cubicBezTo>
                          <a:pt x="64" y="87"/>
                          <a:pt x="95" y="139"/>
                          <a:pt x="128" y="168"/>
                        </a:cubicBezTo>
                        <a:cubicBezTo>
                          <a:pt x="142" y="181"/>
                          <a:pt x="157" y="202"/>
                          <a:pt x="176" y="188"/>
                        </a:cubicBezTo>
                        <a:cubicBezTo>
                          <a:pt x="193" y="176"/>
                          <a:pt x="181" y="151"/>
                          <a:pt x="171" y="138"/>
                        </a:cubicBezTo>
                        <a:cubicBezTo>
                          <a:pt x="154" y="117"/>
                          <a:pt x="88" y="99"/>
                          <a:pt x="86" y="71"/>
                        </a:cubicBezTo>
                        <a:cubicBezTo>
                          <a:pt x="83" y="30"/>
                          <a:pt x="159" y="61"/>
                          <a:pt x="186" y="58"/>
                        </a:cubicBezTo>
                        <a:cubicBezTo>
                          <a:pt x="199" y="12"/>
                          <a:pt x="125" y="20"/>
                          <a:pt x="97" y="16"/>
                        </a:cubicBezTo>
                        <a:cubicBezTo>
                          <a:pt x="82" y="14"/>
                          <a:pt x="53" y="0"/>
                          <a:pt x="39" y="4"/>
                        </a:cubicBezTo>
                        <a:cubicBezTo>
                          <a:pt x="22" y="9"/>
                          <a:pt x="12" y="35"/>
                          <a:pt x="0" y="4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8" name="Freeform 303"/>
                  <p:cNvSpPr>
                    <a:spLocks/>
                  </p:cNvSpPr>
                  <p:nvPr/>
                </p:nvSpPr>
                <p:spPr bwMode="gray">
                  <a:xfrm>
                    <a:off x="-2424113" y="13239751"/>
                    <a:ext cx="1387475" cy="993775"/>
                  </a:xfrm>
                  <a:custGeom>
                    <a:avLst/>
                    <a:gdLst/>
                    <a:ahLst/>
                    <a:cxnLst>
                      <a:cxn ang="0">
                        <a:pos x="4" y="216"/>
                      </a:cxn>
                      <a:cxn ang="0">
                        <a:pos x="1" y="259"/>
                      </a:cxn>
                      <a:cxn ang="0">
                        <a:pos x="78" y="255"/>
                      </a:cxn>
                      <a:cxn ang="0">
                        <a:pos x="144" y="224"/>
                      </a:cxn>
                      <a:cxn ang="0">
                        <a:pos x="185" y="214"/>
                      </a:cxn>
                      <a:cxn ang="0">
                        <a:pos x="299" y="219"/>
                      </a:cxn>
                      <a:cxn ang="0">
                        <a:pos x="193" y="179"/>
                      </a:cxn>
                      <a:cxn ang="0">
                        <a:pos x="180" y="165"/>
                      </a:cxn>
                      <a:cxn ang="0">
                        <a:pos x="335" y="197"/>
                      </a:cxn>
                      <a:cxn ang="0">
                        <a:pos x="265" y="146"/>
                      </a:cxn>
                      <a:cxn ang="0">
                        <a:pos x="184" y="122"/>
                      </a:cxn>
                      <a:cxn ang="0">
                        <a:pos x="284" y="114"/>
                      </a:cxn>
                      <a:cxn ang="0">
                        <a:pos x="370" y="142"/>
                      </a:cxn>
                      <a:cxn ang="0">
                        <a:pos x="285" y="82"/>
                      </a:cxn>
                      <a:cxn ang="0">
                        <a:pos x="191" y="66"/>
                      </a:cxn>
                      <a:cxn ang="0">
                        <a:pos x="339" y="34"/>
                      </a:cxn>
                      <a:cxn ang="0">
                        <a:pos x="241" y="3"/>
                      </a:cxn>
                      <a:cxn ang="0">
                        <a:pos x="143" y="48"/>
                      </a:cxn>
                      <a:cxn ang="0">
                        <a:pos x="4" y="216"/>
                      </a:cxn>
                    </a:cxnLst>
                    <a:rect l="0" t="0" r="r" b="b"/>
                    <a:pathLst>
                      <a:path w="370" h="265">
                        <a:moveTo>
                          <a:pt x="4" y="216"/>
                        </a:moveTo>
                        <a:cubicBezTo>
                          <a:pt x="2" y="231"/>
                          <a:pt x="0" y="243"/>
                          <a:pt x="1" y="259"/>
                        </a:cubicBezTo>
                        <a:cubicBezTo>
                          <a:pt x="28" y="265"/>
                          <a:pt x="53" y="263"/>
                          <a:pt x="78" y="255"/>
                        </a:cubicBezTo>
                        <a:cubicBezTo>
                          <a:pt x="98" y="250"/>
                          <a:pt x="133" y="240"/>
                          <a:pt x="144" y="224"/>
                        </a:cubicBezTo>
                        <a:cubicBezTo>
                          <a:pt x="147" y="219"/>
                          <a:pt x="175" y="214"/>
                          <a:pt x="185" y="214"/>
                        </a:cubicBezTo>
                        <a:cubicBezTo>
                          <a:pt x="229" y="214"/>
                          <a:pt x="302" y="248"/>
                          <a:pt x="299" y="219"/>
                        </a:cubicBezTo>
                        <a:cubicBezTo>
                          <a:pt x="296" y="213"/>
                          <a:pt x="226" y="193"/>
                          <a:pt x="193" y="179"/>
                        </a:cubicBezTo>
                        <a:cubicBezTo>
                          <a:pt x="181" y="173"/>
                          <a:pt x="178" y="167"/>
                          <a:pt x="180" y="165"/>
                        </a:cubicBezTo>
                        <a:cubicBezTo>
                          <a:pt x="200" y="139"/>
                          <a:pt x="329" y="219"/>
                          <a:pt x="335" y="197"/>
                        </a:cubicBezTo>
                        <a:cubicBezTo>
                          <a:pt x="334" y="181"/>
                          <a:pt x="293" y="161"/>
                          <a:pt x="265" y="146"/>
                        </a:cubicBezTo>
                        <a:cubicBezTo>
                          <a:pt x="241" y="133"/>
                          <a:pt x="214" y="125"/>
                          <a:pt x="184" y="122"/>
                        </a:cubicBezTo>
                        <a:cubicBezTo>
                          <a:pt x="186" y="93"/>
                          <a:pt x="237" y="103"/>
                          <a:pt x="284" y="114"/>
                        </a:cubicBezTo>
                        <a:cubicBezTo>
                          <a:pt x="326" y="127"/>
                          <a:pt x="367" y="149"/>
                          <a:pt x="370" y="142"/>
                        </a:cubicBezTo>
                        <a:cubicBezTo>
                          <a:pt x="370" y="119"/>
                          <a:pt x="306" y="92"/>
                          <a:pt x="285" y="82"/>
                        </a:cubicBezTo>
                        <a:cubicBezTo>
                          <a:pt x="262" y="72"/>
                          <a:pt x="204" y="81"/>
                          <a:pt x="191" y="66"/>
                        </a:cubicBezTo>
                        <a:cubicBezTo>
                          <a:pt x="212" y="5"/>
                          <a:pt x="338" y="49"/>
                          <a:pt x="339" y="34"/>
                        </a:cubicBezTo>
                        <a:cubicBezTo>
                          <a:pt x="336" y="15"/>
                          <a:pt x="265" y="4"/>
                          <a:pt x="241" y="3"/>
                        </a:cubicBezTo>
                        <a:cubicBezTo>
                          <a:pt x="191" y="0"/>
                          <a:pt x="179" y="20"/>
                          <a:pt x="143" y="48"/>
                        </a:cubicBezTo>
                        <a:cubicBezTo>
                          <a:pt x="89" y="90"/>
                          <a:pt x="0" y="130"/>
                          <a:pt x="4" y="21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59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-417513" y="15395576"/>
                    <a:ext cx="668338" cy="671513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0" name="Freeform 305"/>
                  <p:cNvSpPr>
                    <a:spLocks/>
                  </p:cNvSpPr>
                  <p:nvPr/>
                </p:nvSpPr>
                <p:spPr bwMode="gray">
                  <a:xfrm>
                    <a:off x="-533400" y="15692438"/>
                    <a:ext cx="2347913" cy="1858963"/>
                  </a:xfrm>
                  <a:custGeom>
                    <a:avLst/>
                    <a:gdLst/>
                    <a:ahLst/>
                    <a:cxnLst>
                      <a:cxn ang="0">
                        <a:pos x="24" y="461"/>
                      </a:cxn>
                      <a:cxn ang="0">
                        <a:pos x="189" y="375"/>
                      </a:cxn>
                      <a:cxn ang="0">
                        <a:pos x="347" y="276"/>
                      </a:cxn>
                      <a:cxn ang="0">
                        <a:pos x="497" y="157"/>
                      </a:cxn>
                      <a:cxn ang="0">
                        <a:pos x="625" y="12"/>
                      </a:cxn>
                      <a:cxn ang="0">
                        <a:pos x="452" y="111"/>
                      </a:cxn>
                      <a:cxn ang="0">
                        <a:pos x="268" y="240"/>
                      </a:cxn>
                      <a:cxn ang="0">
                        <a:pos x="0" y="496"/>
                      </a:cxn>
                    </a:cxnLst>
                    <a:rect l="0" t="0" r="r" b="b"/>
                    <a:pathLst>
                      <a:path w="626" h="496">
                        <a:moveTo>
                          <a:pt x="24" y="461"/>
                        </a:moveTo>
                        <a:cubicBezTo>
                          <a:pt x="83" y="466"/>
                          <a:pt x="144" y="404"/>
                          <a:pt x="189" y="375"/>
                        </a:cubicBezTo>
                        <a:cubicBezTo>
                          <a:pt x="240" y="343"/>
                          <a:pt x="297" y="313"/>
                          <a:pt x="347" y="276"/>
                        </a:cubicBezTo>
                        <a:cubicBezTo>
                          <a:pt x="397" y="237"/>
                          <a:pt x="450" y="200"/>
                          <a:pt x="497" y="157"/>
                        </a:cubicBezTo>
                        <a:cubicBezTo>
                          <a:pt x="535" y="123"/>
                          <a:pt x="626" y="64"/>
                          <a:pt x="625" y="12"/>
                        </a:cubicBezTo>
                        <a:cubicBezTo>
                          <a:pt x="557" y="0"/>
                          <a:pt x="498" y="71"/>
                          <a:pt x="452" y="111"/>
                        </a:cubicBezTo>
                        <a:cubicBezTo>
                          <a:pt x="395" y="159"/>
                          <a:pt x="326" y="191"/>
                          <a:pt x="268" y="240"/>
                        </a:cubicBezTo>
                        <a:cubicBezTo>
                          <a:pt x="172" y="320"/>
                          <a:pt x="62" y="387"/>
                          <a:pt x="0" y="49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1" name="Freeform 306"/>
                  <p:cNvSpPr>
                    <a:spLocks/>
                  </p:cNvSpPr>
                  <p:nvPr/>
                </p:nvSpPr>
                <p:spPr bwMode="gray">
                  <a:xfrm>
                    <a:off x="-1835150" y="15640051"/>
                    <a:ext cx="1890713" cy="989013"/>
                  </a:xfrm>
                  <a:custGeom>
                    <a:avLst/>
                    <a:gdLst/>
                    <a:ahLst/>
                    <a:cxnLst>
                      <a:cxn ang="0">
                        <a:pos x="103" y="46"/>
                      </a:cxn>
                      <a:cxn ang="0">
                        <a:pos x="179" y="82"/>
                      </a:cxn>
                      <a:cxn ang="0">
                        <a:pos x="290" y="87"/>
                      </a:cxn>
                      <a:cxn ang="0">
                        <a:pos x="500" y="41"/>
                      </a:cxn>
                      <a:cxn ang="0">
                        <a:pos x="354" y="146"/>
                      </a:cxn>
                      <a:cxn ang="0">
                        <a:pos x="91" y="90"/>
                      </a:cxn>
                      <a:cxn ang="0">
                        <a:pos x="202" y="238"/>
                      </a:cxn>
                      <a:cxn ang="0">
                        <a:pos x="86" y="0"/>
                      </a:cxn>
                    </a:cxnLst>
                    <a:rect l="0" t="0" r="r" b="b"/>
                    <a:pathLst>
                      <a:path w="504" h="264">
                        <a:moveTo>
                          <a:pt x="103" y="46"/>
                        </a:moveTo>
                        <a:cubicBezTo>
                          <a:pt x="131" y="56"/>
                          <a:pt x="151" y="74"/>
                          <a:pt x="179" y="82"/>
                        </a:cubicBezTo>
                        <a:cubicBezTo>
                          <a:pt x="213" y="90"/>
                          <a:pt x="253" y="88"/>
                          <a:pt x="290" y="87"/>
                        </a:cubicBezTo>
                        <a:cubicBezTo>
                          <a:pt x="369" y="86"/>
                          <a:pt x="426" y="47"/>
                          <a:pt x="500" y="41"/>
                        </a:cubicBezTo>
                        <a:cubicBezTo>
                          <a:pt x="504" y="138"/>
                          <a:pt x="442" y="146"/>
                          <a:pt x="354" y="146"/>
                        </a:cubicBezTo>
                        <a:cubicBezTo>
                          <a:pt x="248" y="146"/>
                          <a:pt x="177" y="138"/>
                          <a:pt x="91" y="90"/>
                        </a:cubicBezTo>
                        <a:cubicBezTo>
                          <a:pt x="93" y="164"/>
                          <a:pt x="164" y="188"/>
                          <a:pt x="202" y="238"/>
                        </a:cubicBezTo>
                        <a:cubicBezTo>
                          <a:pt x="89" y="264"/>
                          <a:pt x="0" y="69"/>
                          <a:pt x="8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2" name="Freeform 307"/>
                  <p:cNvSpPr>
                    <a:spLocks/>
                  </p:cNvSpPr>
                  <p:nvPr/>
                </p:nvSpPr>
                <p:spPr bwMode="gray">
                  <a:xfrm>
                    <a:off x="246062" y="17765713"/>
                    <a:ext cx="1792288" cy="2166938"/>
                  </a:xfrm>
                  <a:custGeom>
                    <a:avLst/>
                    <a:gdLst/>
                    <a:ahLst/>
                    <a:cxnLst>
                      <a:cxn ang="0">
                        <a:pos x="437" y="187"/>
                      </a:cxn>
                      <a:cxn ang="0">
                        <a:pos x="383" y="519"/>
                      </a:cxn>
                      <a:cxn ang="0">
                        <a:pos x="192" y="543"/>
                      </a:cxn>
                      <a:cxn ang="0">
                        <a:pos x="0" y="577"/>
                      </a:cxn>
                      <a:cxn ang="0">
                        <a:pos x="197" y="484"/>
                      </a:cxn>
                      <a:cxn ang="0">
                        <a:pos x="330" y="356"/>
                      </a:cxn>
                      <a:cxn ang="0">
                        <a:pos x="408" y="175"/>
                      </a:cxn>
                      <a:cxn ang="0">
                        <a:pos x="443" y="0"/>
                      </a:cxn>
                    </a:cxnLst>
                    <a:rect l="0" t="0" r="r" b="b"/>
                    <a:pathLst>
                      <a:path w="478" h="578">
                        <a:moveTo>
                          <a:pt x="437" y="187"/>
                        </a:moveTo>
                        <a:cubicBezTo>
                          <a:pt x="478" y="282"/>
                          <a:pt x="415" y="429"/>
                          <a:pt x="383" y="519"/>
                        </a:cubicBezTo>
                        <a:cubicBezTo>
                          <a:pt x="320" y="532"/>
                          <a:pt x="254" y="532"/>
                          <a:pt x="192" y="543"/>
                        </a:cubicBezTo>
                        <a:cubicBezTo>
                          <a:pt x="129" y="555"/>
                          <a:pt x="64" y="578"/>
                          <a:pt x="0" y="577"/>
                        </a:cubicBezTo>
                        <a:cubicBezTo>
                          <a:pt x="46" y="530"/>
                          <a:pt x="137" y="510"/>
                          <a:pt x="197" y="484"/>
                        </a:cubicBezTo>
                        <a:cubicBezTo>
                          <a:pt x="264" y="456"/>
                          <a:pt x="295" y="423"/>
                          <a:pt x="330" y="356"/>
                        </a:cubicBezTo>
                        <a:cubicBezTo>
                          <a:pt x="359" y="301"/>
                          <a:pt x="389" y="237"/>
                          <a:pt x="408" y="175"/>
                        </a:cubicBezTo>
                        <a:cubicBezTo>
                          <a:pt x="425" y="118"/>
                          <a:pt x="419" y="53"/>
                          <a:pt x="44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3" name="Freeform 308"/>
                  <p:cNvSpPr>
                    <a:spLocks/>
                  </p:cNvSpPr>
                  <p:nvPr/>
                </p:nvSpPr>
                <p:spPr bwMode="gray">
                  <a:xfrm>
                    <a:off x="1371600" y="10360026"/>
                    <a:ext cx="363538" cy="3490913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12" y="235"/>
                      </a:cxn>
                      <a:cxn ang="0">
                        <a:pos x="30" y="450"/>
                      </a:cxn>
                      <a:cxn ang="0">
                        <a:pos x="18" y="666"/>
                      </a:cxn>
                      <a:cxn ang="0">
                        <a:pos x="12" y="771"/>
                      </a:cxn>
                      <a:cxn ang="0">
                        <a:pos x="94" y="931"/>
                      </a:cxn>
                      <a:cxn ang="0">
                        <a:pos x="94" y="666"/>
                      </a:cxn>
                      <a:cxn ang="0">
                        <a:pos x="83" y="399"/>
                      </a:cxn>
                      <a:cxn ang="0">
                        <a:pos x="29" y="15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97" h="931">
                        <a:moveTo>
                          <a:pt x="0" y="29"/>
                        </a:moveTo>
                        <a:cubicBezTo>
                          <a:pt x="33" y="79"/>
                          <a:pt x="3" y="174"/>
                          <a:pt x="12" y="235"/>
                        </a:cubicBezTo>
                        <a:cubicBezTo>
                          <a:pt x="23" y="307"/>
                          <a:pt x="19" y="379"/>
                          <a:pt x="30" y="450"/>
                        </a:cubicBezTo>
                        <a:cubicBezTo>
                          <a:pt x="41" y="525"/>
                          <a:pt x="24" y="593"/>
                          <a:pt x="18" y="666"/>
                        </a:cubicBezTo>
                        <a:cubicBezTo>
                          <a:pt x="15" y="694"/>
                          <a:pt x="7" y="748"/>
                          <a:pt x="12" y="771"/>
                        </a:cubicBezTo>
                        <a:cubicBezTo>
                          <a:pt x="20" y="804"/>
                          <a:pt x="76" y="906"/>
                          <a:pt x="94" y="931"/>
                        </a:cubicBezTo>
                        <a:cubicBezTo>
                          <a:pt x="97" y="875"/>
                          <a:pt x="93" y="728"/>
                          <a:pt x="94" y="666"/>
                        </a:cubicBezTo>
                        <a:cubicBezTo>
                          <a:pt x="95" y="576"/>
                          <a:pt x="90" y="487"/>
                          <a:pt x="83" y="399"/>
                        </a:cubicBezTo>
                        <a:cubicBezTo>
                          <a:pt x="75" y="317"/>
                          <a:pt x="42" y="239"/>
                          <a:pt x="29" y="158"/>
                        </a:cubicBezTo>
                        <a:cubicBezTo>
                          <a:pt x="20" y="97"/>
                          <a:pt x="25" y="55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4" name="Freeform 309"/>
                  <p:cNvSpPr>
                    <a:spLocks/>
                  </p:cNvSpPr>
                  <p:nvPr/>
                </p:nvSpPr>
                <p:spPr bwMode="gray">
                  <a:xfrm>
                    <a:off x="479425" y="13655676"/>
                    <a:ext cx="1484313" cy="1492250"/>
                  </a:xfrm>
                  <a:custGeom>
                    <a:avLst/>
                    <a:gdLst/>
                    <a:ahLst/>
                    <a:cxnLst>
                      <a:cxn ang="0">
                        <a:pos x="330" y="55"/>
                      </a:cxn>
                      <a:cxn ang="0">
                        <a:pos x="318" y="109"/>
                      </a:cxn>
                      <a:cxn ang="0">
                        <a:pos x="108" y="33"/>
                      </a:cxn>
                      <a:cxn ang="0">
                        <a:pos x="209" y="113"/>
                      </a:cxn>
                      <a:cxn ang="0">
                        <a:pos x="243" y="164"/>
                      </a:cxn>
                      <a:cxn ang="0">
                        <a:pos x="287" y="214"/>
                      </a:cxn>
                      <a:cxn ang="0">
                        <a:pos x="221" y="219"/>
                      </a:cxn>
                      <a:cxn ang="0">
                        <a:pos x="256" y="289"/>
                      </a:cxn>
                      <a:cxn ang="0">
                        <a:pos x="170" y="329"/>
                      </a:cxn>
                      <a:cxn ang="0">
                        <a:pos x="0" y="398"/>
                      </a:cxn>
                      <a:cxn ang="0">
                        <a:pos x="194" y="344"/>
                      </a:cxn>
                      <a:cxn ang="0">
                        <a:pos x="314" y="351"/>
                      </a:cxn>
                      <a:cxn ang="0">
                        <a:pos x="396" y="370"/>
                      </a:cxn>
                      <a:cxn ang="0">
                        <a:pos x="357" y="238"/>
                      </a:cxn>
                      <a:cxn ang="0">
                        <a:pos x="330" y="98"/>
                      </a:cxn>
                    </a:cxnLst>
                    <a:rect l="0" t="0" r="r" b="b"/>
                    <a:pathLst>
                      <a:path w="396" h="398">
                        <a:moveTo>
                          <a:pt x="330" y="55"/>
                        </a:moveTo>
                        <a:cubicBezTo>
                          <a:pt x="319" y="72"/>
                          <a:pt x="324" y="91"/>
                          <a:pt x="318" y="109"/>
                        </a:cubicBezTo>
                        <a:cubicBezTo>
                          <a:pt x="238" y="165"/>
                          <a:pt x="183" y="0"/>
                          <a:pt x="108" y="33"/>
                        </a:cubicBezTo>
                        <a:cubicBezTo>
                          <a:pt x="96" y="79"/>
                          <a:pt x="186" y="88"/>
                          <a:pt x="209" y="113"/>
                        </a:cubicBezTo>
                        <a:cubicBezTo>
                          <a:pt x="222" y="129"/>
                          <a:pt x="223" y="147"/>
                          <a:pt x="243" y="164"/>
                        </a:cubicBezTo>
                        <a:cubicBezTo>
                          <a:pt x="262" y="180"/>
                          <a:pt x="285" y="188"/>
                          <a:pt x="287" y="214"/>
                        </a:cubicBezTo>
                        <a:cubicBezTo>
                          <a:pt x="266" y="222"/>
                          <a:pt x="243" y="218"/>
                          <a:pt x="221" y="219"/>
                        </a:cubicBezTo>
                        <a:cubicBezTo>
                          <a:pt x="210" y="261"/>
                          <a:pt x="255" y="250"/>
                          <a:pt x="256" y="289"/>
                        </a:cubicBezTo>
                        <a:cubicBezTo>
                          <a:pt x="257" y="338"/>
                          <a:pt x="204" y="331"/>
                          <a:pt x="170" y="329"/>
                        </a:cubicBezTo>
                        <a:cubicBezTo>
                          <a:pt x="94" y="325"/>
                          <a:pt x="33" y="326"/>
                          <a:pt x="0" y="398"/>
                        </a:cubicBezTo>
                        <a:cubicBezTo>
                          <a:pt x="21" y="350"/>
                          <a:pt x="148" y="348"/>
                          <a:pt x="194" y="344"/>
                        </a:cubicBezTo>
                        <a:cubicBezTo>
                          <a:pt x="237" y="339"/>
                          <a:pt x="273" y="340"/>
                          <a:pt x="314" y="351"/>
                        </a:cubicBezTo>
                        <a:cubicBezTo>
                          <a:pt x="341" y="357"/>
                          <a:pt x="369" y="383"/>
                          <a:pt x="396" y="370"/>
                        </a:cubicBezTo>
                        <a:cubicBezTo>
                          <a:pt x="384" y="326"/>
                          <a:pt x="364" y="287"/>
                          <a:pt x="357" y="238"/>
                        </a:cubicBezTo>
                        <a:cubicBezTo>
                          <a:pt x="351" y="193"/>
                          <a:pt x="326" y="145"/>
                          <a:pt x="330" y="9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5" name="Freeform 310"/>
                  <p:cNvSpPr>
                    <a:spLocks/>
                  </p:cNvSpPr>
                  <p:nvPr/>
                </p:nvSpPr>
                <p:spPr bwMode="gray">
                  <a:xfrm>
                    <a:off x="-3533775" y="11672888"/>
                    <a:ext cx="1027113" cy="1357313"/>
                  </a:xfrm>
                  <a:custGeom>
                    <a:avLst/>
                    <a:gdLst/>
                    <a:ahLst/>
                    <a:cxnLst>
                      <a:cxn ang="0">
                        <a:pos x="173" y="43"/>
                      </a:cxn>
                      <a:cxn ang="0">
                        <a:pos x="47" y="57"/>
                      </a:cxn>
                      <a:cxn ang="0">
                        <a:pos x="133" y="133"/>
                      </a:cxn>
                      <a:cxn ang="0">
                        <a:pos x="181" y="236"/>
                      </a:cxn>
                      <a:cxn ang="0">
                        <a:pos x="122" y="311"/>
                      </a:cxn>
                      <a:cxn ang="0">
                        <a:pos x="211" y="320"/>
                      </a:cxn>
                      <a:cxn ang="0">
                        <a:pos x="274" y="362"/>
                      </a:cxn>
                      <a:cxn ang="0">
                        <a:pos x="197" y="182"/>
                      </a:cxn>
                      <a:cxn ang="0">
                        <a:pos x="144" y="94"/>
                      </a:cxn>
                      <a:cxn ang="0">
                        <a:pos x="192" y="0"/>
                      </a:cxn>
                    </a:cxnLst>
                    <a:rect l="0" t="0" r="r" b="b"/>
                    <a:pathLst>
                      <a:path w="274" h="362">
                        <a:moveTo>
                          <a:pt x="173" y="43"/>
                        </a:moveTo>
                        <a:cubicBezTo>
                          <a:pt x="131" y="91"/>
                          <a:pt x="76" y="24"/>
                          <a:pt x="47" y="57"/>
                        </a:cubicBezTo>
                        <a:cubicBezTo>
                          <a:pt x="0" y="111"/>
                          <a:pt x="107" y="119"/>
                          <a:pt x="133" y="133"/>
                        </a:cubicBezTo>
                        <a:cubicBezTo>
                          <a:pt x="142" y="171"/>
                          <a:pt x="169" y="200"/>
                          <a:pt x="181" y="236"/>
                        </a:cubicBezTo>
                        <a:cubicBezTo>
                          <a:pt x="206" y="307"/>
                          <a:pt x="107" y="248"/>
                          <a:pt x="122" y="311"/>
                        </a:cubicBezTo>
                        <a:cubicBezTo>
                          <a:pt x="156" y="316"/>
                          <a:pt x="179" y="302"/>
                          <a:pt x="211" y="320"/>
                        </a:cubicBezTo>
                        <a:cubicBezTo>
                          <a:pt x="235" y="334"/>
                          <a:pt x="245" y="354"/>
                          <a:pt x="274" y="362"/>
                        </a:cubicBezTo>
                        <a:cubicBezTo>
                          <a:pt x="232" y="335"/>
                          <a:pt x="223" y="229"/>
                          <a:pt x="197" y="182"/>
                        </a:cubicBezTo>
                        <a:cubicBezTo>
                          <a:pt x="181" y="153"/>
                          <a:pt x="150" y="128"/>
                          <a:pt x="144" y="94"/>
                        </a:cubicBezTo>
                        <a:cubicBezTo>
                          <a:pt x="136" y="43"/>
                          <a:pt x="186" y="43"/>
                          <a:pt x="19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6" name="Freeform 311"/>
                  <p:cNvSpPr>
                    <a:spLocks/>
                  </p:cNvSpPr>
                  <p:nvPr/>
                </p:nvSpPr>
                <p:spPr bwMode="gray">
                  <a:xfrm>
                    <a:off x="-2686050" y="10748963"/>
                    <a:ext cx="685800" cy="747713"/>
                  </a:xfrm>
                  <a:custGeom>
                    <a:avLst/>
                    <a:gdLst/>
                    <a:ahLst/>
                    <a:cxnLst>
                      <a:cxn ang="0">
                        <a:pos x="180" y="199"/>
                      </a:cxn>
                      <a:cxn ang="0">
                        <a:pos x="162" y="77"/>
                      </a:cxn>
                      <a:cxn ang="0">
                        <a:pos x="76" y="28"/>
                      </a:cxn>
                      <a:cxn ang="0">
                        <a:pos x="28" y="94"/>
                      </a:cxn>
                      <a:cxn ang="0">
                        <a:pos x="2" y="175"/>
                      </a:cxn>
                      <a:cxn ang="0">
                        <a:pos x="20" y="148"/>
                      </a:cxn>
                      <a:cxn ang="0">
                        <a:pos x="52" y="125"/>
                      </a:cxn>
                      <a:cxn ang="0">
                        <a:pos x="114" y="78"/>
                      </a:cxn>
                      <a:cxn ang="0">
                        <a:pos x="180" y="191"/>
                      </a:cxn>
                    </a:cxnLst>
                    <a:rect l="0" t="0" r="r" b="b"/>
                    <a:pathLst>
                      <a:path w="183" h="199">
                        <a:moveTo>
                          <a:pt x="180" y="199"/>
                        </a:moveTo>
                        <a:cubicBezTo>
                          <a:pt x="180" y="154"/>
                          <a:pt x="183" y="115"/>
                          <a:pt x="162" y="77"/>
                        </a:cubicBezTo>
                        <a:cubicBezTo>
                          <a:pt x="145" y="47"/>
                          <a:pt x="112" y="0"/>
                          <a:pt x="76" y="28"/>
                        </a:cubicBezTo>
                        <a:cubicBezTo>
                          <a:pt x="72" y="76"/>
                          <a:pt x="57" y="67"/>
                          <a:pt x="28" y="94"/>
                        </a:cubicBezTo>
                        <a:cubicBezTo>
                          <a:pt x="0" y="120"/>
                          <a:pt x="25" y="147"/>
                          <a:pt x="2" y="175"/>
                        </a:cubicBezTo>
                        <a:cubicBezTo>
                          <a:pt x="12" y="169"/>
                          <a:pt x="14" y="155"/>
                          <a:pt x="20" y="148"/>
                        </a:cubicBezTo>
                        <a:cubicBezTo>
                          <a:pt x="34" y="135"/>
                          <a:pt x="36" y="135"/>
                          <a:pt x="52" y="125"/>
                        </a:cubicBezTo>
                        <a:cubicBezTo>
                          <a:pt x="66" y="117"/>
                          <a:pt x="101" y="80"/>
                          <a:pt x="114" y="78"/>
                        </a:cubicBezTo>
                        <a:cubicBezTo>
                          <a:pt x="164" y="70"/>
                          <a:pt x="158" y="165"/>
                          <a:pt x="180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7" name="Freeform 312"/>
                  <p:cNvSpPr>
                    <a:spLocks/>
                  </p:cNvSpPr>
                  <p:nvPr/>
                </p:nvSpPr>
                <p:spPr bwMode="gray">
                  <a:xfrm>
                    <a:off x="-3184525" y="10048876"/>
                    <a:ext cx="209550" cy="603250"/>
                  </a:xfrm>
                  <a:custGeom>
                    <a:avLst/>
                    <a:gdLst/>
                    <a:ahLst/>
                    <a:cxnLst>
                      <a:cxn ang="0">
                        <a:pos x="56" y="0"/>
                      </a:cxn>
                      <a:cxn ang="0">
                        <a:pos x="34" y="89"/>
                      </a:cxn>
                      <a:cxn ang="0">
                        <a:pos x="10" y="155"/>
                      </a:cxn>
                      <a:cxn ang="0">
                        <a:pos x="21" y="78"/>
                      </a:cxn>
                    </a:cxnLst>
                    <a:rect l="0" t="0" r="r" b="b"/>
                    <a:pathLst>
                      <a:path w="56" h="161">
                        <a:moveTo>
                          <a:pt x="56" y="0"/>
                        </a:moveTo>
                        <a:cubicBezTo>
                          <a:pt x="49" y="35"/>
                          <a:pt x="30" y="47"/>
                          <a:pt x="34" y="89"/>
                        </a:cubicBezTo>
                        <a:cubicBezTo>
                          <a:pt x="36" y="112"/>
                          <a:pt x="55" y="161"/>
                          <a:pt x="10" y="155"/>
                        </a:cubicBezTo>
                        <a:cubicBezTo>
                          <a:pt x="0" y="123"/>
                          <a:pt x="14" y="107"/>
                          <a:pt x="21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8" name="Freeform 313"/>
                  <p:cNvSpPr>
                    <a:spLocks/>
                  </p:cNvSpPr>
                  <p:nvPr/>
                </p:nvSpPr>
                <p:spPr bwMode="gray">
                  <a:xfrm>
                    <a:off x="2098675" y="12576176"/>
                    <a:ext cx="338138" cy="584200"/>
                  </a:xfrm>
                  <a:custGeom>
                    <a:avLst/>
                    <a:gdLst/>
                    <a:ahLst/>
                    <a:cxnLst>
                      <a:cxn ang="0">
                        <a:pos x="77" y="0"/>
                      </a:cxn>
                      <a:cxn ang="0">
                        <a:pos x="12" y="144"/>
                      </a:cxn>
                      <a:cxn ang="0">
                        <a:pos x="73" y="20"/>
                      </a:cxn>
                    </a:cxnLst>
                    <a:rect l="0" t="0" r="r" b="b"/>
                    <a:pathLst>
                      <a:path w="90" h="156">
                        <a:moveTo>
                          <a:pt x="77" y="0"/>
                        </a:moveTo>
                        <a:cubicBezTo>
                          <a:pt x="90" y="55"/>
                          <a:pt x="0" y="75"/>
                          <a:pt x="12" y="144"/>
                        </a:cubicBezTo>
                        <a:cubicBezTo>
                          <a:pt x="69" y="156"/>
                          <a:pt x="57" y="50"/>
                          <a:pt x="73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69" name="Freeform 314"/>
                  <p:cNvSpPr>
                    <a:spLocks/>
                  </p:cNvSpPr>
                  <p:nvPr/>
                </p:nvSpPr>
                <p:spPr bwMode="gray">
                  <a:xfrm>
                    <a:off x="-2006600" y="11877676"/>
                    <a:ext cx="688975" cy="1328738"/>
                  </a:xfrm>
                  <a:custGeom>
                    <a:avLst/>
                    <a:gdLst/>
                    <a:ahLst/>
                    <a:cxnLst>
                      <a:cxn ang="0">
                        <a:pos x="46" y="323"/>
                      </a:cxn>
                      <a:cxn ang="0">
                        <a:pos x="81" y="249"/>
                      </a:cxn>
                      <a:cxn ang="0">
                        <a:pos x="166" y="244"/>
                      </a:cxn>
                      <a:cxn ang="0">
                        <a:pos x="74" y="139"/>
                      </a:cxn>
                      <a:cxn ang="0">
                        <a:pos x="0" y="0"/>
                      </a:cxn>
                      <a:cxn ang="0">
                        <a:pos x="30" y="85"/>
                      </a:cxn>
                      <a:cxn ang="0">
                        <a:pos x="49" y="179"/>
                      </a:cxn>
                      <a:cxn ang="0">
                        <a:pos x="50" y="272"/>
                      </a:cxn>
                      <a:cxn ang="0">
                        <a:pos x="50" y="354"/>
                      </a:cxn>
                    </a:cxnLst>
                    <a:rect l="0" t="0" r="r" b="b"/>
                    <a:pathLst>
                      <a:path w="184" h="354">
                        <a:moveTo>
                          <a:pt x="46" y="323"/>
                        </a:moveTo>
                        <a:cubicBezTo>
                          <a:pt x="53" y="297"/>
                          <a:pt x="55" y="264"/>
                          <a:pt x="81" y="249"/>
                        </a:cubicBezTo>
                        <a:cubicBezTo>
                          <a:pt x="108" y="232"/>
                          <a:pt x="137" y="249"/>
                          <a:pt x="166" y="244"/>
                        </a:cubicBezTo>
                        <a:cubicBezTo>
                          <a:pt x="184" y="213"/>
                          <a:pt x="93" y="159"/>
                          <a:pt x="74" y="139"/>
                        </a:cubicBezTo>
                        <a:cubicBezTo>
                          <a:pt x="48" y="109"/>
                          <a:pt x="33" y="11"/>
                          <a:pt x="0" y="0"/>
                        </a:cubicBezTo>
                        <a:cubicBezTo>
                          <a:pt x="1" y="28"/>
                          <a:pt x="21" y="59"/>
                          <a:pt x="30" y="85"/>
                        </a:cubicBezTo>
                        <a:cubicBezTo>
                          <a:pt x="41" y="115"/>
                          <a:pt x="43" y="150"/>
                          <a:pt x="49" y="179"/>
                        </a:cubicBezTo>
                        <a:cubicBezTo>
                          <a:pt x="56" y="213"/>
                          <a:pt x="59" y="237"/>
                          <a:pt x="50" y="272"/>
                        </a:cubicBezTo>
                        <a:cubicBezTo>
                          <a:pt x="44" y="296"/>
                          <a:pt x="23" y="334"/>
                          <a:pt x="50" y="35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0" name="Freeform 315"/>
                  <p:cNvSpPr>
                    <a:spLocks/>
                  </p:cNvSpPr>
                  <p:nvPr/>
                </p:nvSpPr>
                <p:spPr bwMode="gray">
                  <a:xfrm>
                    <a:off x="1614487" y="9932988"/>
                    <a:ext cx="654050" cy="1104900"/>
                  </a:xfrm>
                  <a:custGeom>
                    <a:avLst/>
                    <a:gdLst/>
                    <a:ahLst/>
                    <a:cxnLst>
                      <a:cxn ang="0">
                        <a:pos x="128" y="0"/>
                      </a:cxn>
                      <a:cxn ang="0">
                        <a:pos x="79" y="98"/>
                      </a:cxn>
                      <a:cxn ang="0">
                        <a:pos x="20" y="175"/>
                      </a:cxn>
                      <a:cxn ang="0">
                        <a:pos x="109" y="179"/>
                      </a:cxn>
                      <a:cxn ang="0">
                        <a:pos x="74" y="238"/>
                      </a:cxn>
                      <a:cxn ang="0">
                        <a:pos x="82" y="288"/>
                      </a:cxn>
                      <a:cxn ang="0">
                        <a:pos x="136" y="8"/>
                      </a:cxn>
                    </a:cxnLst>
                    <a:rect l="0" t="0" r="r" b="b"/>
                    <a:pathLst>
                      <a:path w="174" h="295">
                        <a:moveTo>
                          <a:pt x="128" y="0"/>
                        </a:moveTo>
                        <a:cubicBezTo>
                          <a:pt x="134" y="41"/>
                          <a:pt x="105" y="72"/>
                          <a:pt x="79" y="98"/>
                        </a:cubicBezTo>
                        <a:cubicBezTo>
                          <a:pt x="60" y="117"/>
                          <a:pt x="0" y="144"/>
                          <a:pt x="20" y="175"/>
                        </a:cubicBezTo>
                        <a:cubicBezTo>
                          <a:pt x="45" y="214"/>
                          <a:pt x="99" y="149"/>
                          <a:pt x="109" y="179"/>
                        </a:cubicBezTo>
                        <a:cubicBezTo>
                          <a:pt x="115" y="197"/>
                          <a:pt x="77" y="221"/>
                          <a:pt x="74" y="238"/>
                        </a:cubicBezTo>
                        <a:cubicBezTo>
                          <a:pt x="72" y="248"/>
                          <a:pt x="83" y="273"/>
                          <a:pt x="82" y="288"/>
                        </a:cubicBezTo>
                        <a:cubicBezTo>
                          <a:pt x="174" y="295"/>
                          <a:pt x="147" y="64"/>
                          <a:pt x="136" y="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1" name="Freeform 316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2" name="Freeform 317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3" name="Freeform 318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4" name="Freeform 319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5" name="Freeform 320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6" name="Freeform 321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7" name="Freeform 322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8" name="Freeform 323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79" name="Freeform 324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0" name="Freeform 325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1" name="Freeform 326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2" name="Freeform 327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3" name="Freeform 328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4" name="Freeform 329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5" name="Freeform 330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6" name="Freeform 331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7" name="Freeform 332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8" name="Freeform 333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89" name="Freeform 334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0" name="Freeform 335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1" name="Freeform 336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2" name="Freeform 337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3" name="Freeform 338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4" name="Freeform 339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5" name="Freeform 340"/>
                  <p:cNvSpPr>
                    <a:spLocks/>
                  </p:cNvSpPr>
                  <p:nvPr/>
                </p:nvSpPr>
                <p:spPr bwMode="gray">
                  <a:xfrm>
                    <a:off x="-1662113" y="24028401"/>
                    <a:ext cx="319088" cy="892175"/>
                  </a:xfrm>
                  <a:custGeom>
                    <a:avLst/>
                    <a:gdLst/>
                    <a:ahLst/>
                    <a:cxnLst>
                      <a:cxn ang="0">
                        <a:pos x="72" y="9"/>
                      </a:cxn>
                      <a:cxn ang="0">
                        <a:pos x="65" y="71"/>
                      </a:cxn>
                      <a:cxn ang="0">
                        <a:pos x="66" y="137"/>
                      </a:cxn>
                      <a:cxn ang="0">
                        <a:pos x="33" y="187"/>
                      </a:cxn>
                      <a:cxn ang="0">
                        <a:pos x="0" y="238"/>
                      </a:cxn>
                      <a:cxn ang="0">
                        <a:pos x="82" y="134"/>
                      </a:cxn>
                      <a:cxn ang="0">
                        <a:pos x="84" y="61"/>
                      </a:cxn>
                      <a:cxn ang="0">
                        <a:pos x="78" y="31"/>
                      </a:cxn>
                      <a:cxn ang="0">
                        <a:pos x="69" y="0"/>
                      </a:cxn>
                    </a:cxnLst>
                    <a:rect l="0" t="0" r="r" b="b"/>
                    <a:pathLst>
                      <a:path w="85" h="238">
                        <a:moveTo>
                          <a:pt x="72" y="9"/>
                        </a:moveTo>
                        <a:cubicBezTo>
                          <a:pt x="72" y="31"/>
                          <a:pt x="66" y="50"/>
                          <a:pt x="65" y="71"/>
                        </a:cubicBezTo>
                        <a:cubicBezTo>
                          <a:pt x="64" y="93"/>
                          <a:pt x="73" y="117"/>
                          <a:pt x="66" y="137"/>
                        </a:cubicBezTo>
                        <a:cubicBezTo>
                          <a:pt x="60" y="157"/>
                          <a:pt x="42" y="170"/>
                          <a:pt x="33" y="187"/>
                        </a:cubicBezTo>
                        <a:cubicBezTo>
                          <a:pt x="23" y="206"/>
                          <a:pt x="13" y="224"/>
                          <a:pt x="0" y="238"/>
                        </a:cubicBezTo>
                        <a:cubicBezTo>
                          <a:pt x="38" y="219"/>
                          <a:pt x="77" y="177"/>
                          <a:pt x="82" y="134"/>
                        </a:cubicBezTo>
                        <a:cubicBezTo>
                          <a:pt x="85" y="111"/>
                          <a:pt x="84" y="86"/>
                          <a:pt x="84" y="61"/>
                        </a:cubicBezTo>
                        <a:cubicBezTo>
                          <a:pt x="84" y="49"/>
                          <a:pt x="83" y="41"/>
                          <a:pt x="78" y="31"/>
                        </a:cubicBezTo>
                        <a:cubicBezTo>
                          <a:pt x="73" y="21"/>
                          <a:pt x="68" y="13"/>
                          <a:pt x="6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6" name="Freeform 341"/>
                  <p:cNvSpPr>
                    <a:spLocks/>
                  </p:cNvSpPr>
                  <p:nvPr/>
                </p:nvSpPr>
                <p:spPr bwMode="gray">
                  <a:xfrm>
                    <a:off x="-2741613" y="25190451"/>
                    <a:ext cx="911225" cy="300038"/>
                  </a:xfrm>
                  <a:custGeom>
                    <a:avLst/>
                    <a:gdLst/>
                    <a:ahLst/>
                    <a:cxnLst>
                      <a:cxn ang="0">
                        <a:pos x="0" y="4"/>
                      </a:cxn>
                      <a:cxn ang="0">
                        <a:pos x="66" y="26"/>
                      </a:cxn>
                      <a:cxn ang="0">
                        <a:pos x="129" y="42"/>
                      </a:cxn>
                      <a:cxn ang="0">
                        <a:pos x="243" y="0"/>
                      </a:cxn>
                      <a:cxn ang="0">
                        <a:pos x="208" y="61"/>
                      </a:cxn>
                      <a:cxn ang="0">
                        <a:pos x="180" y="75"/>
                      </a:cxn>
                      <a:cxn ang="0">
                        <a:pos x="145" y="66"/>
                      </a:cxn>
                      <a:cxn ang="0">
                        <a:pos x="82" y="50"/>
                      </a:cxn>
                      <a:cxn ang="0">
                        <a:pos x="19" y="2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243" h="80">
                        <a:moveTo>
                          <a:pt x="0" y="4"/>
                        </a:moveTo>
                        <a:cubicBezTo>
                          <a:pt x="17" y="19"/>
                          <a:pt x="44" y="21"/>
                          <a:pt x="66" y="26"/>
                        </a:cubicBezTo>
                        <a:cubicBezTo>
                          <a:pt x="87" y="31"/>
                          <a:pt x="108" y="40"/>
                          <a:pt x="129" y="42"/>
                        </a:cubicBezTo>
                        <a:cubicBezTo>
                          <a:pt x="173" y="46"/>
                          <a:pt x="214" y="35"/>
                          <a:pt x="243" y="0"/>
                        </a:cubicBezTo>
                        <a:cubicBezTo>
                          <a:pt x="235" y="23"/>
                          <a:pt x="222" y="41"/>
                          <a:pt x="208" y="61"/>
                        </a:cubicBezTo>
                        <a:cubicBezTo>
                          <a:pt x="198" y="75"/>
                          <a:pt x="198" y="80"/>
                          <a:pt x="180" y="75"/>
                        </a:cubicBezTo>
                        <a:cubicBezTo>
                          <a:pt x="168" y="71"/>
                          <a:pt x="157" y="69"/>
                          <a:pt x="145" y="66"/>
                        </a:cubicBezTo>
                        <a:cubicBezTo>
                          <a:pt x="125" y="61"/>
                          <a:pt x="102" y="57"/>
                          <a:pt x="82" y="50"/>
                        </a:cubicBezTo>
                        <a:cubicBezTo>
                          <a:pt x="62" y="43"/>
                          <a:pt x="38" y="38"/>
                          <a:pt x="19" y="27"/>
                        </a:cubicBezTo>
                        <a:cubicBezTo>
                          <a:pt x="12" y="23"/>
                          <a:pt x="4" y="16"/>
                          <a:pt x="0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7" name="Freeform 342"/>
                  <p:cNvSpPr>
                    <a:spLocks/>
                  </p:cNvSpPr>
                  <p:nvPr/>
                </p:nvSpPr>
                <p:spPr bwMode="gray">
                  <a:xfrm>
                    <a:off x="-98425" y="24039513"/>
                    <a:ext cx="203200" cy="941388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12" y="60"/>
                      </a:cxn>
                      <a:cxn ang="0">
                        <a:pos x="1" y="127"/>
                      </a:cxn>
                      <a:cxn ang="0">
                        <a:pos x="13" y="158"/>
                      </a:cxn>
                      <a:cxn ang="0">
                        <a:pos x="26" y="194"/>
                      </a:cxn>
                      <a:cxn ang="0">
                        <a:pos x="43" y="218"/>
                      </a:cxn>
                      <a:cxn ang="0">
                        <a:pos x="54" y="251"/>
                      </a:cxn>
                      <a:cxn ang="0">
                        <a:pos x="21" y="125"/>
                      </a:cxn>
                      <a:cxn ang="0">
                        <a:pos x="27" y="61"/>
                      </a:cxn>
                      <a:cxn ang="0">
                        <a:pos x="26" y="6"/>
                      </a:cxn>
                      <a:cxn ang="0">
                        <a:pos x="20" y="33"/>
                      </a:cxn>
                    </a:cxnLst>
                    <a:rect l="0" t="0" r="r" b="b"/>
                    <a:pathLst>
                      <a:path w="54" h="251">
                        <a:moveTo>
                          <a:pt x="28" y="0"/>
                        </a:moveTo>
                        <a:cubicBezTo>
                          <a:pt x="28" y="26"/>
                          <a:pt x="24" y="39"/>
                          <a:pt x="12" y="60"/>
                        </a:cubicBezTo>
                        <a:cubicBezTo>
                          <a:pt x="0" y="81"/>
                          <a:pt x="0" y="102"/>
                          <a:pt x="1" y="127"/>
                        </a:cubicBezTo>
                        <a:cubicBezTo>
                          <a:pt x="2" y="141"/>
                          <a:pt x="6" y="146"/>
                          <a:pt x="13" y="158"/>
                        </a:cubicBezTo>
                        <a:cubicBezTo>
                          <a:pt x="19" y="169"/>
                          <a:pt x="19" y="183"/>
                          <a:pt x="26" y="194"/>
                        </a:cubicBezTo>
                        <a:cubicBezTo>
                          <a:pt x="31" y="203"/>
                          <a:pt x="39" y="209"/>
                          <a:pt x="43" y="218"/>
                        </a:cubicBezTo>
                        <a:cubicBezTo>
                          <a:pt x="49" y="228"/>
                          <a:pt x="51" y="240"/>
                          <a:pt x="54" y="251"/>
                        </a:cubicBezTo>
                        <a:cubicBezTo>
                          <a:pt x="53" y="206"/>
                          <a:pt x="29" y="167"/>
                          <a:pt x="21" y="125"/>
                        </a:cubicBezTo>
                        <a:cubicBezTo>
                          <a:pt x="16" y="102"/>
                          <a:pt x="19" y="82"/>
                          <a:pt x="27" y="61"/>
                        </a:cubicBezTo>
                        <a:cubicBezTo>
                          <a:pt x="34" y="43"/>
                          <a:pt x="37" y="24"/>
                          <a:pt x="26" y="6"/>
                        </a:cubicBezTo>
                        <a:cubicBezTo>
                          <a:pt x="22" y="15"/>
                          <a:pt x="22" y="24"/>
                          <a:pt x="20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8" name="Freeform 343"/>
                  <p:cNvSpPr>
                    <a:spLocks/>
                  </p:cNvSpPr>
                  <p:nvPr/>
                </p:nvSpPr>
                <p:spPr bwMode="gray">
                  <a:xfrm>
                    <a:off x="231775" y="25336501"/>
                    <a:ext cx="655638" cy="195263"/>
                  </a:xfrm>
                  <a:custGeom>
                    <a:avLst/>
                    <a:gdLst/>
                    <a:ahLst/>
                    <a:cxnLst>
                      <a:cxn ang="0">
                        <a:pos x="159" y="0"/>
                      </a:cxn>
                      <a:cxn ang="0">
                        <a:pos x="145" y="35"/>
                      </a:cxn>
                      <a:cxn ang="0">
                        <a:pos x="93" y="45"/>
                      </a:cxn>
                      <a:cxn ang="0">
                        <a:pos x="0" y="25"/>
                      </a:cxn>
                      <a:cxn ang="0">
                        <a:pos x="35" y="45"/>
                      </a:cxn>
                      <a:cxn ang="0">
                        <a:pos x="87" y="51"/>
                      </a:cxn>
                      <a:cxn ang="0">
                        <a:pos x="134" y="50"/>
                      </a:cxn>
                      <a:cxn ang="0">
                        <a:pos x="175" y="38"/>
                      </a:cxn>
                      <a:cxn ang="0">
                        <a:pos x="168" y="26"/>
                      </a:cxn>
                    </a:cxnLst>
                    <a:rect l="0" t="0" r="r" b="b"/>
                    <a:pathLst>
                      <a:path w="175" h="52">
                        <a:moveTo>
                          <a:pt x="159" y="0"/>
                        </a:moveTo>
                        <a:cubicBezTo>
                          <a:pt x="161" y="18"/>
                          <a:pt x="162" y="27"/>
                          <a:pt x="145" y="35"/>
                        </a:cubicBezTo>
                        <a:cubicBezTo>
                          <a:pt x="130" y="43"/>
                          <a:pt x="111" y="45"/>
                          <a:pt x="93" y="45"/>
                        </a:cubicBezTo>
                        <a:cubicBezTo>
                          <a:pt x="60" y="47"/>
                          <a:pt x="28" y="37"/>
                          <a:pt x="0" y="25"/>
                        </a:cubicBezTo>
                        <a:cubicBezTo>
                          <a:pt x="13" y="32"/>
                          <a:pt x="20" y="42"/>
                          <a:pt x="35" y="45"/>
                        </a:cubicBezTo>
                        <a:cubicBezTo>
                          <a:pt x="51" y="49"/>
                          <a:pt x="70" y="50"/>
                          <a:pt x="87" y="51"/>
                        </a:cubicBezTo>
                        <a:cubicBezTo>
                          <a:pt x="102" y="52"/>
                          <a:pt x="120" y="52"/>
                          <a:pt x="134" y="50"/>
                        </a:cubicBezTo>
                        <a:cubicBezTo>
                          <a:pt x="148" y="48"/>
                          <a:pt x="161" y="41"/>
                          <a:pt x="175" y="38"/>
                        </a:cubicBezTo>
                        <a:cubicBezTo>
                          <a:pt x="174" y="33"/>
                          <a:pt x="171" y="29"/>
                          <a:pt x="168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99" name="Freeform 344"/>
                  <p:cNvSpPr>
                    <a:spLocks/>
                  </p:cNvSpPr>
                  <p:nvPr/>
                </p:nvSpPr>
                <p:spPr bwMode="gray">
                  <a:xfrm>
                    <a:off x="104775" y="25633363"/>
                    <a:ext cx="430213" cy="407988"/>
                  </a:xfrm>
                  <a:custGeom>
                    <a:avLst/>
                    <a:gdLst/>
                    <a:ahLst/>
                    <a:cxnLst>
                      <a:cxn ang="0">
                        <a:pos x="15" y="15"/>
                      </a:cxn>
                      <a:cxn ang="0">
                        <a:pos x="53" y="38"/>
                      </a:cxn>
                      <a:cxn ang="0">
                        <a:pos x="114" y="60"/>
                      </a:cxn>
                      <a:cxn ang="0">
                        <a:pos x="114" y="64"/>
                      </a:cxn>
                      <a:cxn ang="0">
                        <a:pos x="67" y="69"/>
                      </a:cxn>
                      <a:cxn ang="0">
                        <a:pos x="115" y="92"/>
                      </a:cxn>
                      <a:cxn ang="0">
                        <a:pos x="35" y="6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5" h="109">
                        <a:moveTo>
                          <a:pt x="15" y="15"/>
                        </a:moveTo>
                        <a:cubicBezTo>
                          <a:pt x="28" y="21"/>
                          <a:pt x="40" y="30"/>
                          <a:pt x="53" y="38"/>
                        </a:cubicBezTo>
                        <a:cubicBezTo>
                          <a:pt x="73" y="51"/>
                          <a:pt x="91" y="53"/>
                          <a:pt x="114" y="60"/>
                        </a:cubicBezTo>
                        <a:cubicBezTo>
                          <a:pt x="114" y="61"/>
                          <a:pt x="114" y="63"/>
                          <a:pt x="114" y="64"/>
                        </a:cubicBezTo>
                        <a:cubicBezTo>
                          <a:pt x="99" y="67"/>
                          <a:pt x="82" y="69"/>
                          <a:pt x="67" y="69"/>
                        </a:cubicBezTo>
                        <a:cubicBezTo>
                          <a:pt x="78" y="79"/>
                          <a:pt x="103" y="81"/>
                          <a:pt x="115" y="92"/>
                        </a:cubicBezTo>
                        <a:cubicBezTo>
                          <a:pt x="88" y="109"/>
                          <a:pt x="56" y="78"/>
                          <a:pt x="35" y="65"/>
                        </a:cubicBezTo>
                        <a:cubicBezTo>
                          <a:pt x="9" y="50"/>
                          <a:pt x="16" y="2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500" name="Freeform 345"/>
                  <p:cNvSpPr>
                    <a:spLocks/>
                  </p:cNvSpPr>
                  <p:nvPr/>
                </p:nvSpPr>
                <p:spPr bwMode="gray">
                  <a:xfrm>
                    <a:off x="-3090863" y="25314276"/>
                    <a:ext cx="468313" cy="60007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42" y="76"/>
                      </a:cxn>
                      <a:cxn ang="0">
                        <a:pos x="0" y="160"/>
                      </a:cxn>
                      <a:cxn ang="0">
                        <a:pos x="62" y="88"/>
                      </a:cxn>
                      <a:cxn ang="0">
                        <a:pos x="85" y="73"/>
                      </a:cxn>
                      <a:cxn ang="0">
                        <a:pos x="87" y="47"/>
                      </a:cxn>
                      <a:cxn ang="0">
                        <a:pos x="125" y="29"/>
                      </a:cxn>
                      <a:cxn ang="0">
                        <a:pos x="125" y="21"/>
                      </a:cxn>
                      <a:cxn ang="0">
                        <a:pos x="91" y="12"/>
                      </a:cxn>
                    </a:cxnLst>
                    <a:rect l="0" t="0" r="r" b="b"/>
                    <a:pathLst>
                      <a:path w="125" h="160">
                        <a:moveTo>
                          <a:pt x="85" y="0"/>
                        </a:moveTo>
                        <a:cubicBezTo>
                          <a:pt x="55" y="15"/>
                          <a:pt x="56" y="50"/>
                          <a:pt x="42" y="76"/>
                        </a:cubicBezTo>
                        <a:cubicBezTo>
                          <a:pt x="28" y="101"/>
                          <a:pt x="1" y="133"/>
                          <a:pt x="0" y="160"/>
                        </a:cubicBezTo>
                        <a:cubicBezTo>
                          <a:pt x="17" y="132"/>
                          <a:pt x="36" y="108"/>
                          <a:pt x="62" y="88"/>
                        </a:cubicBezTo>
                        <a:cubicBezTo>
                          <a:pt x="70" y="81"/>
                          <a:pt x="79" y="83"/>
                          <a:pt x="85" y="73"/>
                        </a:cubicBezTo>
                        <a:cubicBezTo>
                          <a:pt x="90" y="66"/>
                          <a:pt x="83" y="54"/>
                          <a:pt x="87" y="47"/>
                        </a:cubicBezTo>
                        <a:cubicBezTo>
                          <a:pt x="96" y="33"/>
                          <a:pt x="108" y="27"/>
                          <a:pt x="125" y="29"/>
                        </a:cubicBezTo>
                        <a:cubicBezTo>
                          <a:pt x="125" y="28"/>
                          <a:pt x="125" y="22"/>
                          <a:pt x="125" y="21"/>
                        </a:cubicBezTo>
                        <a:cubicBezTo>
                          <a:pt x="114" y="16"/>
                          <a:pt x="103" y="11"/>
                          <a:pt x="91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  <p:grpSp>
              <p:nvGrpSpPr>
                <p:cNvPr id="27" name="Gruppieren 158"/>
                <p:cNvGrpSpPr/>
                <p:nvPr/>
              </p:nvGrpSpPr>
              <p:grpSpPr bwMode="gray">
                <a:xfrm>
                  <a:off x="925081" y="1575807"/>
                  <a:ext cx="626524" cy="2292056"/>
                  <a:chOff x="-3870325" y="-19711987"/>
                  <a:chExt cx="5864225" cy="21453475"/>
                </a:xfrm>
                <a:solidFill>
                  <a:srgbClr val="C8C8C8"/>
                </a:solidFill>
              </p:grpSpPr>
              <p:sp>
                <p:nvSpPr>
                  <p:cNvPr id="353" name="Freeform 81"/>
                  <p:cNvSpPr>
                    <a:spLocks/>
                  </p:cNvSpPr>
                  <p:nvPr/>
                </p:nvSpPr>
                <p:spPr bwMode="gray">
                  <a:xfrm>
                    <a:off x="-3076575" y="-676275"/>
                    <a:ext cx="3457575" cy="1844675"/>
                  </a:xfrm>
                  <a:custGeom>
                    <a:avLst/>
                    <a:gdLst/>
                    <a:ahLst/>
                    <a:cxnLst>
                      <a:cxn ang="0">
                        <a:pos x="429" y="101"/>
                      </a:cxn>
                      <a:cxn ang="0">
                        <a:pos x="355" y="179"/>
                      </a:cxn>
                      <a:cxn ang="0">
                        <a:pos x="276" y="240"/>
                      </a:cxn>
                      <a:cxn ang="0">
                        <a:pos x="188" y="309"/>
                      </a:cxn>
                      <a:cxn ang="0">
                        <a:pos x="14" y="421"/>
                      </a:cxn>
                      <a:cxn ang="0">
                        <a:pos x="76" y="477"/>
                      </a:cxn>
                      <a:cxn ang="0">
                        <a:pos x="159" y="490"/>
                      </a:cxn>
                      <a:cxn ang="0">
                        <a:pos x="323" y="467"/>
                      </a:cxn>
                      <a:cxn ang="0">
                        <a:pos x="470" y="412"/>
                      </a:cxn>
                      <a:cxn ang="0">
                        <a:pos x="699" y="376"/>
                      </a:cxn>
                      <a:cxn ang="0">
                        <a:pos x="452" y="112"/>
                      </a:cxn>
                    </a:cxnLst>
                    <a:rect l="0" t="0" r="r" b="b"/>
                    <a:pathLst>
                      <a:path w="922" h="492">
                        <a:moveTo>
                          <a:pt x="429" y="101"/>
                        </a:moveTo>
                        <a:cubicBezTo>
                          <a:pt x="402" y="122"/>
                          <a:pt x="363" y="146"/>
                          <a:pt x="355" y="179"/>
                        </a:cubicBezTo>
                        <a:cubicBezTo>
                          <a:pt x="335" y="183"/>
                          <a:pt x="296" y="222"/>
                          <a:pt x="276" y="240"/>
                        </a:cubicBezTo>
                        <a:cubicBezTo>
                          <a:pt x="247" y="266"/>
                          <a:pt x="226" y="294"/>
                          <a:pt x="188" y="309"/>
                        </a:cubicBezTo>
                        <a:cubicBezTo>
                          <a:pt x="149" y="324"/>
                          <a:pt x="0" y="364"/>
                          <a:pt x="14" y="421"/>
                        </a:cubicBezTo>
                        <a:cubicBezTo>
                          <a:pt x="42" y="435"/>
                          <a:pt x="50" y="466"/>
                          <a:pt x="76" y="477"/>
                        </a:cubicBezTo>
                        <a:cubicBezTo>
                          <a:pt x="92" y="484"/>
                          <a:pt x="143" y="489"/>
                          <a:pt x="159" y="490"/>
                        </a:cubicBezTo>
                        <a:cubicBezTo>
                          <a:pt x="216" y="492"/>
                          <a:pt x="263" y="467"/>
                          <a:pt x="323" y="467"/>
                        </a:cubicBezTo>
                        <a:cubicBezTo>
                          <a:pt x="396" y="467"/>
                          <a:pt x="411" y="447"/>
                          <a:pt x="470" y="412"/>
                        </a:cubicBezTo>
                        <a:cubicBezTo>
                          <a:pt x="539" y="371"/>
                          <a:pt x="622" y="392"/>
                          <a:pt x="699" y="376"/>
                        </a:cubicBezTo>
                        <a:cubicBezTo>
                          <a:pt x="922" y="224"/>
                          <a:pt x="494" y="0"/>
                          <a:pt x="452" y="1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4" name="Freeform 82"/>
                  <p:cNvSpPr>
                    <a:spLocks/>
                  </p:cNvSpPr>
                  <p:nvPr/>
                </p:nvSpPr>
                <p:spPr bwMode="gray">
                  <a:xfrm>
                    <a:off x="-101600" y="-522287"/>
                    <a:ext cx="2095500" cy="2263775"/>
                  </a:xfrm>
                  <a:custGeom>
                    <a:avLst/>
                    <a:gdLst/>
                    <a:ahLst/>
                    <a:cxnLst>
                      <a:cxn ang="0">
                        <a:pos x="36" y="184"/>
                      </a:cxn>
                      <a:cxn ang="0">
                        <a:pos x="99" y="402"/>
                      </a:cxn>
                      <a:cxn ang="0">
                        <a:pos x="156" y="413"/>
                      </a:cxn>
                      <a:cxn ang="0">
                        <a:pos x="183" y="465"/>
                      </a:cxn>
                      <a:cxn ang="0">
                        <a:pos x="261" y="538"/>
                      </a:cxn>
                      <a:cxn ang="0">
                        <a:pos x="532" y="527"/>
                      </a:cxn>
                      <a:cxn ang="0">
                        <a:pos x="409" y="317"/>
                      </a:cxn>
                      <a:cxn ang="0">
                        <a:pos x="341" y="212"/>
                      </a:cxn>
                      <a:cxn ang="0">
                        <a:pos x="257" y="77"/>
                      </a:cxn>
                      <a:cxn ang="0">
                        <a:pos x="48" y="184"/>
                      </a:cxn>
                    </a:cxnLst>
                    <a:rect l="0" t="0" r="r" b="b"/>
                    <a:pathLst>
                      <a:path w="559" h="604">
                        <a:moveTo>
                          <a:pt x="36" y="184"/>
                        </a:moveTo>
                        <a:cubicBezTo>
                          <a:pt x="36" y="271"/>
                          <a:pt x="0" y="373"/>
                          <a:pt x="99" y="402"/>
                        </a:cubicBezTo>
                        <a:cubicBezTo>
                          <a:pt x="122" y="409"/>
                          <a:pt x="136" y="401"/>
                          <a:pt x="156" y="413"/>
                        </a:cubicBezTo>
                        <a:cubicBezTo>
                          <a:pt x="190" y="435"/>
                          <a:pt x="167" y="433"/>
                          <a:pt x="183" y="465"/>
                        </a:cubicBezTo>
                        <a:cubicBezTo>
                          <a:pt x="202" y="505"/>
                          <a:pt x="221" y="523"/>
                          <a:pt x="261" y="538"/>
                        </a:cubicBezTo>
                        <a:cubicBezTo>
                          <a:pt x="323" y="562"/>
                          <a:pt x="501" y="604"/>
                          <a:pt x="532" y="527"/>
                        </a:cubicBezTo>
                        <a:cubicBezTo>
                          <a:pt x="559" y="459"/>
                          <a:pt x="449" y="364"/>
                          <a:pt x="409" y="317"/>
                        </a:cubicBezTo>
                        <a:cubicBezTo>
                          <a:pt x="375" y="277"/>
                          <a:pt x="361" y="259"/>
                          <a:pt x="341" y="212"/>
                        </a:cubicBezTo>
                        <a:cubicBezTo>
                          <a:pt x="323" y="171"/>
                          <a:pt x="292" y="106"/>
                          <a:pt x="257" y="77"/>
                        </a:cubicBezTo>
                        <a:cubicBezTo>
                          <a:pt x="168" y="0"/>
                          <a:pt x="73" y="105"/>
                          <a:pt x="48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5" name="Freeform 83"/>
                  <p:cNvSpPr>
                    <a:spLocks/>
                  </p:cNvSpPr>
                  <p:nvPr/>
                </p:nvSpPr>
                <p:spPr bwMode="gray">
                  <a:xfrm>
                    <a:off x="-1706563" y="61913"/>
                    <a:ext cx="382588" cy="393700"/>
                  </a:xfrm>
                  <a:custGeom>
                    <a:avLst/>
                    <a:gdLst/>
                    <a:ahLst/>
                    <a:cxnLst>
                      <a:cxn ang="0">
                        <a:pos x="31" y="41"/>
                      </a:cxn>
                      <a:cxn ang="0">
                        <a:pos x="2" y="74"/>
                      </a:cxn>
                      <a:cxn ang="0">
                        <a:pos x="30" y="76"/>
                      </a:cxn>
                      <a:cxn ang="0">
                        <a:pos x="31" y="91"/>
                      </a:cxn>
                      <a:cxn ang="0">
                        <a:pos x="31" y="45"/>
                      </a:cxn>
                    </a:cxnLst>
                    <a:rect l="0" t="0" r="r" b="b"/>
                    <a:pathLst>
                      <a:path w="102" h="105">
                        <a:moveTo>
                          <a:pt x="31" y="41"/>
                        </a:moveTo>
                        <a:cubicBezTo>
                          <a:pt x="12" y="42"/>
                          <a:pt x="0" y="55"/>
                          <a:pt x="2" y="74"/>
                        </a:cubicBezTo>
                        <a:cubicBezTo>
                          <a:pt x="10" y="72"/>
                          <a:pt x="22" y="77"/>
                          <a:pt x="30" y="76"/>
                        </a:cubicBezTo>
                        <a:cubicBezTo>
                          <a:pt x="30" y="80"/>
                          <a:pt x="31" y="86"/>
                          <a:pt x="31" y="91"/>
                        </a:cubicBezTo>
                        <a:cubicBezTo>
                          <a:pt x="102" y="105"/>
                          <a:pt x="90" y="0"/>
                          <a:pt x="31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6" name="Freeform 84"/>
                  <p:cNvSpPr>
                    <a:spLocks/>
                  </p:cNvSpPr>
                  <p:nvPr/>
                </p:nvSpPr>
                <p:spPr bwMode="gray">
                  <a:xfrm>
                    <a:off x="-1651000" y="249238"/>
                    <a:ext cx="1304925" cy="495300"/>
                  </a:xfrm>
                  <a:custGeom>
                    <a:avLst/>
                    <a:gdLst/>
                    <a:ahLst/>
                    <a:cxnLst>
                      <a:cxn ang="0">
                        <a:pos x="315" y="16"/>
                      </a:cxn>
                      <a:cxn ang="0">
                        <a:pos x="146" y="79"/>
                      </a:cxn>
                      <a:cxn ang="0">
                        <a:pos x="0" y="131"/>
                      </a:cxn>
                      <a:cxn ang="0">
                        <a:pos x="167" y="32"/>
                      </a:cxn>
                      <a:cxn ang="0">
                        <a:pos x="252" y="4"/>
                      </a:cxn>
                      <a:cxn ang="0">
                        <a:pos x="299" y="26"/>
                      </a:cxn>
                      <a:cxn ang="0">
                        <a:pos x="307" y="38"/>
                      </a:cxn>
                    </a:cxnLst>
                    <a:rect l="0" t="0" r="r" b="b"/>
                    <a:pathLst>
                      <a:path w="348" h="132">
                        <a:moveTo>
                          <a:pt x="315" y="16"/>
                        </a:moveTo>
                        <a:cubicBezTo>
                          <a:pt x="238" y="16"/>
                          <a:pt x="205" y="34"/>
                          <a:pt x="146" y="79"/>
                        </a:cubicBezTo>
                        <a:cubicBezTo>
                          <a:pt x="99" y="115"/>
                          <a:pt x="61" y="132"/>
                          <a:pt x="0" y="131"/>
                        </a:cubicBezTo>
                        <a:cubicBezTo>
                          <a:pt x="58" y="101"/>
                          <a:pt x="117" y="75"/>
                          <a:pt x="167" y="32"/>
                        </a:cubicBezTo>
                        <a:cubicBezTo>
                          <a:pt x="196" y="8"/>
                          <a:pt x="212" y="9"/>
                          <a:pt x="252" y="4"/>
                        </a:cubicBezTo>
                        <a:cubicBezTo>
                          <a:pt x="264" y="2"/>
                          <a:pt x="348" y="0"/>
                          <a:pt x="299" y="26"/>
                        </a:cubicBezTo>
                        <a:cubicBezTo>
                          <a:pt x="301" y="29"/>
                          <a:pt x="305" y="33"/>
                          <a:pt x="307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7" name="Freeform 85"/>
                  <p:cNvSpPr>
                    <a:spLocks/>
                  </p:cNvSpPr>
                  <p:nvPr/>
                </p:nvSpPr>
                <p:spPr bwMode="gray">
                  <a:xfrm>
                    <a:off x="1000125" y="419100"/>
                    <a:ext cx="949325" cy="911225"/>
                  </a:xfrm>
                  <a:custGeom>
                    <a:avLst/>
                    <a:gdLst/>
                    <a:ahLst/>
                    <a:cxnLst>
                      <a:cxn ang="0">
                        <a:pos x="35" y="35"/>
                      </a:cxn>
                      <a:cxn ang="0">
                        <a:pos x="68" y="106"/>
                      </a:cxn>
                      <a:cxn ang="0">
                        <a:pos x="10" y="135"/>
                      </a:cxn>
                      <a:cxn ang="0">
                        <a:pos x="72" y="162"/>
                      </a:cxn>
                      <a:cxn ang="0">
                        <a:pos x="187" y="220"/>
                      </a:cxn>
                      <a:cxn ang="0">
                        <a:pos x="135" y="124"/>
                      </a:cxn>
                      <a:cxn ang="0">
                        <a:pos x="55" y="10"/>
                      </a:cxn>
                      <a:cxn ang="0">
                        <a:pos x="14" y="14"/>
                      </a:cxn>
                    </a:cxnLst>
                    <a:rect l="0" t="0" r="r" b="b"/>
                    <a:pathLst>
                      <a:path w="253" h="243">
                        <a:moveTo>
                          <a:pt x="35" y="35"/>
                        </a:moveTo>
                        <a:cubicBezTo>
                          <a:pt x="52" y="54"/>
                          <a:pt x="67" y="81"/>
                          <a:pt x="68" y="106"/>
                        </a:cubicBezTo>
                        <a:cubicBezTo>
                          <a:pt x="50" y="105"/>
                          <a:pt x="0" y="104"/>
                          <a:pt x="10" y="135"/>
                        </a:cubicBezTo>
                        <a:cubicBezTo>
                          <a:pt x="15" y="150"/>
                          <a:pt x="61" y="156"/>
                          <a:pt x="72" y="162"/>
                        </a:cubicBezTo>
                        <a:cubicBezTo>
                          <a:pt x="102" y="180"/>
                          <a:pt x="143" y="243"/>
                          <a:pt x="187" y="220"/>
                        </a:cubicBezTo>
                        <a:cubicBezTo>
                          <a:pt x="253" y="185"/>
                          <a:pt x="156" y="138"/>
                          <a:pt x="135" y="124"/>
                        </a:cubicBezTo>
                        <a:cubicBezTo>
                          <a:pt x="96" y="98"/>
                          <a:pt x="79" y="53"/>
                          <a:pt x="55" y="10"/>
                        </a:cubicBezTo>
                        <a:cubicBezTo>
                          <a:pt x="40" y="5"/>
                          <a:pt x="21" y="0"/>
                          <a:pt x="14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8" name="Freeform 86"/>
                  <p:cNvSpPr>
                    <a:spLocks/>
                  </p:cNvSpPr>
                  <p:nvPr/>
                </p:nvSpPr>
                <p:spPr bwMode="gray">
                  <a:xfrm>
                    <a:off x="47625" y="452438"/>
                    <a:ext cx="809625" cy="919163"/>
                  </a:xfrm>
                  <a:custGeom>
                    <a:avLst/>
                    <a:gdLst/>
                    <a:ahLst/>
                    <a:cxnLst>
                      <a:cxn ang="0">
                        <a:pos x="36" y="13"/>
                      </a:cxn>
                      <a:cxn ang="0">
                        <a:pos x="216" y="237"/>
                      </a:cxn>
                      <a:cxn ang="0">
                        <a:pos x="108" y="13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216" h="245">
                        <a:moveTo>
                          <a:pt x="36" y="13"/>
                        </a:moveTo>
                        <a:cubicBezTo>
                          <a:pt x="156" y="33"/>
                          <a:pt x="104" y="200"/>
                          <a:pt x="216" y="237"/>
                        </a:cubicBezTo>
                        <a:cubicBezTo>
                          <a:pt x="163" y="245"/>
                          <a:pt x="127" y="165"/>
                          <a:pt x="108" y="130"/>
                        </a:cubicBezTo>
                        <a:cubicBezTo>
                          <a:pt x="94" y="104"/>
                          <a:pt x="0" y="23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59" name="Freeform 87"/>
                  <p:cNvSpPr>
                    <a:spLocks/>
                  </p:cNvSpPr>
                  <p:nvPr/>
                </p:nvSpPr>
                <p:spPr bwMode="gray">
                  <a:xfrm>
                    <a:off x="1427163" y="1300163"/>
                    <a:ext cx="180975" cy="130175"/>
                  </a:xfrm>
                  <a:custGeom>
                    <a:avLst/>
                    <a:gdLst/>
                    <a:ahLst/>
                    <a:cxnLst>
                      <a:cxn ang="0">
                        <a:pos x="31" y="2"/>
                      </a:cxn>
                      <a:cxn ang="0">
                        <a:pos x="2" y="3"/>
                      </a:cxn>
                      <a:cxn ang="0">
                        <a:pos x="43" y="31"/>
                      </a:cxn>
                      <a:cxn ang="0">
                        <a:pos x="47" y="7"/>
                      </a:cxn>
                      <a:cxn ang="0">
                        <a:pos x="35" y="2"/>
                      </a:cxn>
                    </a:cxnLst>
                    <a:rect l="0" t="0" r="r" b="b"/>
                    <a:pathLst>
                      <a:path w="48" h="35">
                        <a:moveTo>
                          <a:pt x="31" y="2"/>
                        </a:moveTo>
                        <a:cubicBezTo>
                          <a:pt x="22" y="0"/>
                          <a:pt x="10" y="2"/>
                          <a:pt x="2" y="3"/>
                        </a:cubicBezTo>
                        <a:cubicBezTo>
                          <a:pt x="0" y="27"/>
                          <a:pt x="21" y="35"/>
                          <a:pt x="43" y="31"/>
                        </a:cubicBezTo>
                        <a:cubicBezTo>
                          <a:pt x="47" y="24"/>
                          <a:pt x="48" y="16"/>
                          <a:pt x="47" y="7"/>
                        </a:cubicBezTo>
                        <a:cubicBezTo>
                          <a:pt x="40" y="9"/>
                          <a:pt x="38" y="4"/>
                          <a:pt x="35" y="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0" name="Freeform 88"/>
                  <p:cNvSpPr>
                    <a:spLocks/>
                  </p:cNvSpPr>
                  <p:nvPr/>
                </p:nvSpPr>
                <p:spPr bwMode="gray">
                  <a:xfrm>
                    <a:off x="614363" y="265113"/>
                    <a:ext cx="280988" cy="330200"/>
                  </a:xfrm>
                  <a:custGeom>
                    <a:avLst/>
                    <a:gdLst/>
                    <a:ahLst/>
                    <a:cxnLst>
                      <a:cxn ang="0">
                        <a:pos x="62" y="4"/>
                      </a:cxn>
                      <a:cxn ang="0">
                        <a:pos x="41" y="5"/>
                      </a:cxn>
                      <a:cxn ang="0">
                        <a:pos x="53" y="88"/>
                      </a:cxn>
                      <a:cxn ang="0">
                        <a:pos x="50" y="38"/>
                      </a:cxn>
                      <a:cxn ang="0">
                        <a:pos x="58" y="0"/>
                      </a:cxn>
                    </a:cxnLst>
                    <a:rect l="0" t="0" r="r" b="b"/>
                    <a:pathLst>
                      <a:path w="75" h="88">
                        <a:moveTo>
                          <a:pt x="62" y="4"/>
                        </a:moveTo>
                        <a:cubicBezTo>
                          <a:pt x="56" y="3"/>
                          <a:pt x="48" y="4"/>
                          <a:pt x="41" y="5"/>
                        </a:cubicBezTo>
                        <a:cubicBezTo>
                          <a:pt x="46" y="28"/>
                          <a:pt x="0" y="86"/>
                          <a:pt x="53" y="88"/>
                        </a:cubicBezTo>
                        <a:cubicBezTo>
                          <a:pt x="56" y="71"/>
                          <a:pt x="53" y="53"/>
                          <a:pt x="50" y="38"/>
                        </a:cubicBezTo>
                        <a:cubicBezTo>
                          <a:pt x="72" y="33"/>
                          <a:pt x="75" y="13"/>
                          <a:pt x="5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1" name="Freeform 89"/>
                  <p:cNvSpPr>
                    <a:spLocks/>
                  </p:cNvSpPr>
                  <p:nvPr/>
                </p:nvSpPr>
                <p:spPr bwMode="gray">
                  <a:xfrm>
                    <a:off x="-2847975" y="-150812"/>
                    <a:ext cx="1328738" cy="963613"/>
                  </a:xfrm>
                  <a:custGeom>
                    <a:avLst/>
                    <a:gdLst/>
                    <a:ahLst/>
                    <a:cxnLst>
                      <a:cxn ang="0">
                        <a:pos x="39" y="233"/>
                      </a:cxn>
                      <a:cxn ang="0">
                        <a:pos x="179" y="201"/>
                      </a:cxn>
                      <a:cxn ang="0">
                        <a:pos x="271" y="132"/>
                      </a:cxn>
                      <a:cxn ang="0">
                        <a:pos x="259" y="131"/>
                      </a:cxn>
                      <a:cxn ang="0">
                        <a:pos x="329" y="23"/>
                      </a:cxn>
                      <a:cxn ang="0">
                        <a:pos x="230" y="112"/>
                      </a:cxn>
                      <a:cxn ang="0">
                        <a:pos x="98" y="195"/>
                      </a:cxn>
                      <a:cxn ang="0">
                        <a:pos x="27" y="217"/>
                      </a:cxn>
                      <a:cxn ang="0">
                        <a:pos x="52" y="242"/>
                      </a:cxn>
                    </a:cxnLst>
                    <a:rect l="0" t="0" r="r" b="b"/>
                    <a:pathLst>
                      <a:path w="354" h="257">
                        <a:moveTo>
                          <a:pt x="39" y="233"/>
                        </a:moveTo>
                        <a:cubicBezTo>
                          <a:pt x="93" y="233"/>
                          <a:pt x="133" y="229"/>
                          <a:pt x="179" y="201"/>
                        </a:cubicBezTo>
                        <a:cubicBezTo>
                          <a:pt x="210" y="182"/>
                          <a:pt x="274" y="175"/>
                          <a:pt x="271" y="132"/>
                        </a:cubicBezTo>
                        <a:cubicBezTo>
                          <a:pt x="267" y="131"/>
                          <a:pt x="263" y="132"/>
                          <a:pt x="259" y="131"/>
                        </a:cubicBezTo>
                        <a:cubicBezTo>
                          <a:pt x="257" y="108"/>
                          <a:pt x="354" y="52"/>
                          <a:pt x="329" y="23"/>
                        </a:cubicBezTo>
                        <a:cubicBezTo>
                          <a:pt x="310" y="0"/>
                          <a:pt x="240" y="96"/>
                          <a:pt x="230" y="112"/>
                        </a:cubicBezTo>
                        <a:cubicBezTo>
                          <a:pt x="199" y="158"/>
                          <a:pt x="149" y="179"/>
                          <a:pt x="98" y="195"/>
                        </a:cubicBezTo>
                        <a:cubicBezTo>
                          <a:pt x="80" y="201"/>
                          <a:pt x="40" y="205"/>
                          <a:pt x="27" y="217"/>
                        </a:cubicBezTo>
                        <a:cubicBezTo>
                          <a:pt x="0" y="241"/>
                          <a:pt x="21" y="257"/>
                          <a:pt x="52" y="2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2" name="Freeform 90"/>
                  <p:cNvSpPr>
                    <a:spLocks/>
                  </p:cNvSpPr>
                  <p:nvPr/>
                </p:nvSpPr>
                <p:spPr bwMode="gray">
                  <a:xfrm>
                    <a:off x="-3046413" y="-11569700"/>
                    <a:ext cx="4418013" cy="12044363"/>
                  </a:xfrm>
                  <a:custGeom>
                    <a:avLst/>
                    <a:gdLst/>
                    <a:ahLst/>
                    <a:cxnLst>
                      <a:cxn ang="0">
                        <a:pos x="55" y="151"/>
                      </a:cxn>
                      <a:cxn ang="0">
                        <a:pos x="78" y="281"/>
                      </a:cxn>
                      <a:cxn ang="0">
                        <a:pos x="37" y="382"/>
                      </a:cxn>
                      <a:cxn ang="0">
                        <a:pos x="33" y="686"/>
                      </a:cxn>
                      <a:cxn ang="0">
                        <a:pos x="72" y="1082"/>
                      </a:cxn>
                      <a:cxn ang="0">
                        <a:pos x="100" y="1473"/>
                      </a:cxn>
                      <a:cxn ang="0">
                        <a:pos x="203" y="2087"/>
                      </a:cxn>
                      <a:cxn ang="0">
                        <a:pos x="268" y="2377"/>
                      </a:cxn>
                      <a:cxn ang="0">
                        <a:pos x="331" y="2676"/>
                      </a:cxn>
                      <a:cxn ang="0">
                        <a:pos x="331" y="2712"/>
                      </a:cxn>
                      <a:cxn ang="0">
                        <a:pos x="360" y="2865"/>
                      </a:cxn>
                      <a:cxn ang="0">
                        <a:pos x="398" y="3028"/>
                      </a:cxn>
                      <a:cxn ang="0">
                        <a:pos x="465" y="3046"/>
                      </a:cxn>
                      <a:cxn ang="0">
                        <a:pos x="551" y="3097"/>
                      </a:cxn>
                      <a:cxn ang="0">
                        <a:pos x="746" y="3164"/>
                      </a:cxn>
                      <a:cxn ang="0">
                        <a:pos x="765" y="2895"/>
                      </a:cxn>
                      <a:cxn ang="0">
                        <a:pos x="699" y="2595"/>
                      </a:cxn>
                      <a:cxn ang="0">
                        <a:pos x="664" y="2318"/>
                      </a:cxn>
                      <a:cxn ang="0">
                        <a:pos x="668" y="2009"/>
                      </a:cxn>
                      <a:cxn ang="0">
                        <a:pos x="635" y="1824"/>
                      </a:cxn>
                      <a:cxn ang="0">
                        <a:pos x="658" y="1638"/>
                      </a:cxn>
                      <a:cxn ang="0">
                        <a:pos x="613" y="1458"/>
                      </a:cxn>
                      <a:cxn ang="0">
                        <a:pos x="614" y="1261"/>
                      </a:cxn>
                      <a:cxn ang="0">
                        <a:pos x="681" y="1356"/>
                      </a:cxn>
                      <a:cxn ang="0">
                        <a:pos x="699" y="1501"/>
                      </a:cxn>
                      <a:cxn ang="0">
                        <a:pos x="742" y="1767"/>
                      </a:cxn>
                      <a:cxn ang="0">
                        <a:pos x="709" y="2110"/>
                      </a:cxn>
                      <a:cxn ang="0">
                        <a:pos x="720" y="2437"/>
                      </a:cxn>
                      <a:cxn ang="0">
                        <a:pos x="708" y="2657"/>
                      </a:cxn>
                      <a:cxn ang="0">
                        <a:pos x="681" y="2858"/>
                      </a:cxn>
                      <a:cxn ang="0">
                        <a:pos x="761" y="3062"/>
                      </a:cxn>
                      <a:cxn ang="0">
                        <a:pos x="888" y="3206"/>
                      </a:cxn>
                      <a:cxn ang="0">
                        <a:pos x="1108" y="3109"/>
                      </a:cxn>
                      <a:cxn ang="0">
                        <a:pos x="1125" y="2843"/>
                      </a:cxn>
                      <a:cxn ang="0">
                        <a:pos x="1125" y="2765"/>
                      </a:cxn>
                      <a:cxn ang="0">
                        <a:pos x="1108" y="2702"/>
                      </a:cxn>
                      <a:cxn ang="0">
                        <a:pos x="1148" y="2578"/>
                      </a:cxn>
                      <a:cxn ang="0">
                        <a:pos x="1148" y="2229"/>
                      </a:cxn>
                      <a:cxn ang="0">
                        <a:pos x="1153" y="2071"/>
                      </a:cxn>
                      <a:cxn ang="0">
                        <a:pos x="1125" y="1914"/>
                      </a:cxn>
                      <a:cxn ang="0">
                        <a:pos x="1148" y="1587"/>
                      </a:cxn>
                      <a:cxn ang="0">
                        <a:pos x="1142" y="1282"/>
                      </a:cxn>
                      <a:cxn ang="0">
                        <a:pos x="1153" y="1092"/>
                      </a:cxn>
                      <a:cxn ang="0">
                        <a:pos x="1125" y="911"/>
                      </a:cxn>
                      <a:cxn ang="0">
                        <a:pos x="1107" y="541"/>
                      </a:cxn>
                      <a:cxn ang="0">
                        <a:pos x="1024" y="168"/>
                      </a:cxn>
                      <a:cxn ang="0">
                        <a:pos x="731" y="17"/>
                      </a:cxn>
                      <a:cxn ang="0">
                        <a:pos x="152" y="79"/>
                      </a:cxn>
                      <a:cxn ang="0">
                        <a:pos x="72" y="151"/>
                      </a:cxn>
                    </a:cxnLst>
                    <a:rect l="0" t="0" r="r" b="b"/>
                    <a:pathLst>
                      <a:path w="1178" h="3212">
                        <a:moveTo>
                          <a:pt x="55" y="151"/>
                        </a:moveTo>
                        <a:cubicBezTo>
                          <a:pt x="49" y="196"/>
                          <a:pt x="81" y="231"/>
                          <a:pt x="78" y="281"/>
                        </a:cubicBezTo>
                        <a:cubicBezTo>
                          <a:pt x="75" y="326"/>
                          <a:pt x="52" y="346"/>
                          <a:pt x="37" y="382"/>
                        </a:cubicBezTo>
                        <a:cubicBezTo>
                          <a:pt x="0" y="468"/>
                          <a:pt x="24" y="594"/>
                          <a:pt x="33" y="686"/>
                        </a:cubicBezTo>
                        <a:cubicBezTo>
                          <a:pt x="45" y="819"/>
                          <a:pt x="58" y="950"/>
                          <a:pt x="72" y="1082"/>
                        </a:cubicBezTo>
                        <a:cubicBezTo>
                          <a:pt x="86" y="1213"/>
                          <a:pt x="107" y="1338"/>
                          <a:pt x="100" y="1473"/>
                        </a:cubicBezTo>
                        <a:cubicBezTo>
                          <a:pt x="90" y="1687"/>
                          <a:pt x="167" y="1885"/>
                          <a:pt x="203" y="2087"/>
                        </a:cubicBezTo>
                        <a:cubicBezTo>
                          <a:pt x="221" y="2184"/>
                          <a:pt x="253" y="2275"/>
                          <a:pt x="268" y="2377"/>
                        </a:cubicBezTo>
                        <a:cubicBezTo>
                          <a:pt x="282" y="2471"/>
                          <a:pt x="342" y="2574"/>
                          <a:pt x="331" y="2676"/>
                        </a:cubicBezTo>
                        <a:cubicBezTo>
                          <a:pt x="330" y="2688"/>
                          <a:pt x="331" y="2700"/>
                          <a:pt x="331" y="2712"/>
                        </a:cubicBezTo>
                        <a:cubicBezTo>
                          <a:pt x="268" y="2741"/>
                          <a:pt x="351" y="2832"/>
                          <a:pt x="360" y="2865"/>
                        </a:cubicBezTo>
                        <a:cubicBezTo>
                          <a:pt x="375" y="2925"/>
                          <a:pt x="339" y="2982"/>
                          <a:pt x="398" y="3028"/>
                        </a:cubicBezTo>
                        <a:cubicBezTo>
                          <a:pt x="420" y="3045"/>
                          <a:pt x="440" y="3037"/>
                          <a:pt x="465" y="3046"/>
                        </a:cubicBezTo>
                        <a:cubicBezTo>
                          <a:pt x="487" y="3054"/>
                          <a:pt x="527" y="3085"/>
                          <a:pt x="551" y="3097"/>
                        </a:cubicBezTo>
                        <a:cubicBezTo>
                          <a:pt x="609" y="3126"/>
                          <a:pt x="681" y="3156"/>
                          <a:pt x="746" y="3164"/>
                        </a:cubicBezTo>
                        <a:cubicBezTo>
                          <a:pt x="725" y="3072"/>
                          <a:pt x="773" y="2987"/>
                          <a:pt x="765" y="2895"/>
                        </a:cubicBezTo>
                        <a:cubicBezTo>
                          <a:pt x="757" y="2795"/>
                          <a:pt x="726" y="2690"/>
                          <a:pt x="699" y="2595"/>
                        </a:cubicBezTo>
                        <a:cubicBezTo>
                          <a:pt x="673" y="2503"/>
                          <a:pt x="654" y="2417"/>
                          <a:pt x="664" y="2318"/>
                        </a:cubicBezTo>
                        <a:cubicBezTo>
                          <a:pt x="673" y="2225"/>
                          <a:pt x="695" y="2102"/>
                          <a:pt x="668" y="2009"/>
                        </a:cubicBezTo>
                        <a:cubicBezTo>
                          <a:pt x="650" y="1949"/>
                          <a:pt x="625" y="1893"/>
                          <a:pt x="635" y="1824"/>
                        </a:cubicBezTo>
                        <a:cubicBezTo>
                          <a:pt x="646" y="1757"/>
                          <a:pt x="672" y="1710"/>
                          <a:pt x="658" y="1638"/>
                        </a:cubicBezTo>
                        <a:cubicBezTo>
                          <a:pt x="645" y="1572"/>
                          <a:pt x="613" y="1532"/>
                          <a:pt x="613" y="1458"/>
                        </a:cubicBezTo>
                        <a:cubicBezTo>
                          <a:pt x="613" y="1392"/>
                          <a:pt x="610" y="1326"/>
                          <a:pt x="614" y="1261"/>
                        </a:cubicBezTo>
                        <a:cubicBezTo>
                          <a:pt x="645" y="1296"/>
                          <a:pt x="669" y="1309"/>
                          <a:pt x="681" y="1356"/>
                        </a:cubicBezTo>
                        <a:cubicBezTo>
                          <a:pt x="693" y="1402"/>
                          <a:pt x="692" y="1455"/>
                          <a:pt x="699" y="1501"/>
                        </a:cubicBezTo>
                        <a:cubicBezTo>
                          <a:pt x="712" y="1593"/>
                          <a:pt x="742" y="1668"/>
                          <a:pt x="742" y="1767"/>
                        </a:cubicBezTo>
                        <a:cubicBezTo>
                          <a:pt x="742" y="1887"/>
                          <a:pt x="727" y="1996"/>
                          <a:pt x="709" y="2110"/>
                        </a:cubicBezTo>
                        <a:cubicBezTo>
                          <a:pt x="692" y="2218"/>
                          <a:pt x="720" y="2327"/>
                          <a:pt x="720" y="2437"/>
                        </a:cubicBezTo>
                        <a:cubicBezTo>
                          <a:pt x="720" y="2509"/>
                          <a:pt x="719" y="2585"/>
                          <a:pt x="708" y="2657"/>
                        </a:cubicBezTo>
                        <a:cubicBezTo>
                          <a:pt x="698" y="2726"/>
                          <a:pt x="676" y="2784"/>
                          <a:pt x="681" y="2858"/>
                        </a:cubicBezTo>
                        <a:cubicBezTo>
                          <a:pt x="685" y="2936"/>
                          <a:pt x="733" y="2993"/>
                          <a:pt x="761" y="3062"/>
                        </a:cubicBezTo>
                        <a:cubicBezTo>
                          <a:pt x="779" y="3106"/>
                          <a:pt x="832" y="3212"/>
                          <a:pt x="888" y="3206"/>
                        </a:cubicBezTo>
                        <a:cubicBezTo>
                          <a:pt x="920" y="3108"/>
                          <a:pt x="1051" y="3169"/>
                          <a:pt x="1108" y="3109"/>
                        </a:cubicBezTo>
                        <a:cubicBezTo>
                          <a:pt x="1178" y="3035"/>
                          <a:pt x="1133" y="2934"/>
                          <a:pt x="1125" y="2843"/>
                        </a:cubicBezTo>
                        <a:cubicBezTo>
                          <a:pt x="1123" y="2817"/>
                          <a:pt x="1129" y="2790"/>
                          <a:pt x="1125" y="2765"/>
                        </a:cubicBezTo>
                        <a:cubicBezTo>
                          <a:pt x="1122" y="2744"/>
                          <a:pt x="1107" y="2723"/>
                          <a:pt x="1108" y="2702"/>
                        </a:cubicBezTo>
                        <a:cubicBezTo>
                          <a:pt x="1111" y="2665"/>
                          <a:pt x="1139" y="2616"/>
                          <a:pt x="1148" y="2578"/>
                        </a:cubicBezTo>
                        <a:cubicBezTo>
                          <a:pt x="1175" y="2463"/>
                          <a:pt x="1153" y="2350"/>
                          <a:pt x="1148" y="2229"/>
                        </a:cubicBezTo>
                        <a:cubicBezTo>
                          <a:pt x="1145" y="2175"/>
                          <a:pt x="1151" y="2124"/>
                          <a:pt x="1153" y="2071"/>
                        </a:cubicBezTo>
                        <a:cubicBezTo>
                          <a:pt x="1156" y="2014"/>
                          <a:pt x="1131" y="1968"/>
                          <a:pt x="1125" y="1914"/>
                        </a:cubicBezTo>
                        <a:cubicBezTo>
                          <a:pt x="1112" y="1802"/>
                          <a:pt x="1143" y="1694"/>
                          <a:pt x="1148" y="1587"/>
                        </a:cubicBezTo>
                        <a:cubicBezTo>
                          <a:pt x="1153" y="1484"/>
                          <a:pt x="1137" y="1386"/>
                          <a:pt x="1142" y="1282"/>
                        </a:cubicBezTo>
                        <a:cubicBezTo>
                          <a:pt x="1145" y="1218"/>
                          <a:pt x="1154" y="1157"/>
                          <a:pt x="1153" y="1092"/>
                        </a:cubicBezTo>
                        <a:cubicBezTo>
                          <a:pt x="1153" y="1028"/>
                          <a:pt x="1131" y="969"/>
                          <a:pt x="1125" y="911"/>
                        </a:cubicBezTo>
                        <a:cubicBezTo>
                          <a:pt x="1114" y="786"/>
                          <a:pt x="1151" y="664"/>
                          <a:pt x="1107" y="541"/>
                        </a:cubicBezTo>
                        <a:cubicBezTo>
                          <a:pt x="1063" y="418"/>
                          <a:pt x="1051" y="297"/>
                          <a:pt x="1024" y="168"/>
                        </a:cubicBezTo>
                        <a:cubicBezTo>
                          <a:pt x="1000" y="52"/>
                          <a:pt x="839" y="26"/>
                          <a:pt x="731" y="17"/>
                        </a:cubicBezTo>
                        <a:cubicBezTo>
                          <a:pt x="534" y="0"/>
                          <a:pt x="335" y="29"/>
                          <a:pt x="152" y="79"/>
                        </a:cubicBezTo>
                        <a:cubicBezTo>
                          <a:pt x="146" y="114"/>
                          <a:pt x="107" y="143"/>
                          <a:pt x="72" y="15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3" name="Freeform 91"/>
                  <p:cNvSpPr>
                    <a:spLocks/>
                  </p:cNvSpPr>
                  <p:nvPr/>
                </p:nvSpPr>
                <p:spPr bwMode="gray">
                  <a:xfrm>
                    <a:off x="-2055813" y="-18129250"/>
                    <a:ext cx="1924050" cy="2647950"/>
                  </a:xfrm>
                  <a:custGeom>
                    <a:avLst/>
                    <a:gdLst/>
                    <a:ahLst/>
                    <a:cxnLst>
                      <a:cxn ang="0">
                        <a:pos x="122" y="205"/>
                      </a:cxn>
                      <a:cxn ang="0">
                        <a:pos x="141" y="437"/>
                      </a:cxn>
                      <a:cxn ang="0">
                        <a:pos x="214" y="683"/>
                      </a:cxn>
                      <a:cxn ang="0">
                        <a:pos x="488" y="510"/>
                      </a:cxn>
                      <a:cxn ang="0">
                        <a:pos x="407" y="124"/>
                      </a:cxn>
                      <a:cxn ang="0">
                        <a:pos x="143" y="184"/>
                      </a:cxn>
                    </a:cxnLst>
                    <a:rect l="0" t="0" r="r" b="b"/>
                    <a:pathLst>
                      <a:path w="513" h="706">
                        <a:moveTo>
                          <a:pt x="122" y="205"/>
                        </a:moveTo>
                        <a:cubicBezTo>
                          <a:pt x="137" y="280"/>
                          <a:pt x="146" y="354"/>
                          <a:pt x="141" y="437"/>
                        </a:cubicBezTo>
                        <a:cubicBezTo>
                          <a:pt x="0" y="522"/>
                          <a:pt x="74" y="660"/>
                          <a:pt x="214" y="683"/>
                        </a:cubicBezTo>
                        <a:cubicBezTo>
                          <a:pt x="351" y="706"/>
                          <a:pt x="455" y="646"/>
                          <a:pt x="488" y="510"/>
                        </a:cubicBezTo>
                        <a:cubicBezTo>
                          <a:pt x="513" y="407"/>
                          <a:pt x="455" y="214"/>
                          <a:pt x="407" y="124"/>
                        </a:cubicBezTo>
                        <a:cubicBezTo>
                          <a:pt x="342" y="0"/>
                          <a:pt x="146" y="43"/>
                          <a:pt x="143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4" name="Freeform 92"/>
                  <p:cNvSpPr>
                    <a:spLocks/>
                  </p:cNvSpPr>
                  <p:nvPr/>
                </p:nvSpPr>
                <p:spPr bwMode="gray">
                  <a:xfrm>
                    <a:off x="-409575" y="-17097375"/>
                    <a:ext cx="157163" cy="258763"/>
                  </a:xfrm>
                  <a:custGeom>
                    <a:avLst/>
                    <a:gdLst/>
                    <a:ahLst/>
                    <a:cxnLst>
                      <a:cxn ang="0">
                        <a:pos x="20" y="45"/>
                      </a:cxn>
                      <a:cxn ang="0">
                        <a:pos x="42" y="69"/>
                      </a:cxn>
                      <a:cxn ang="0">
                        <a:pos x="37" y="42"/>
                      </a:cxn>
                      <a:cxn ang="0">
                        <a:pos x="26" y="12"/>
                      </a:cxn>
                      <a:cxn ang="0">
                        <a:pos x="14" y="4"/>
                      </a:cxn>
                      <a:cxn ang="0">
                        <a:pos x="5" y="17"/>
                      </a:cxn>
                      <a:cxn ang="0">
                        <a:pos x="18" y="45"/>
                      </a:cxn>
                    </a:cxnLst>
                    <a:rect l="0" t="0" r="r" b="b"/>
                    <a:pathLst>
                      <a:path w="42" h="69">
                        <a:moveTo>
                          <a:pt x="20" y="45"/>
                        </a:moveTo>
                        <a:cubicBezTo>
                          <a:pt x="26" y="51"/>
                          <a:pt x="34" y="66"/>
                          <a:pt x="42" y="69"/>
                        </a:cubicBezTo>
                        <a:cubicBezTo>
                          <a:pt x="42" y="59"/>
                          <a:pt x="39" y="51"/>
                          <a:pt x="37" y="42"/>
                        </a:cubicBezTo>
                        <a:cubicBezTo>
                          <a:pt x="34" y="29"/>
                          <a:pt x="30" y="22"/>
                          <a:pt x="26" y="12"/>
                        </a:cubicBezTo>
                        <a:cubicBezTo>
                          <a:pt x="22" y="5"/>
                          <a:pt x="22" y="0"/>
                          <a:pt x="14" y="4"/>
                        </a:cubicBezTo>
                        <a:cubicBezTo>
                          <a:pt x="11" y="5"/>
                          <a:pt x="6" y="14"/>
                          <a:pt x="5" y="17"/>
                        </a:cubicBezTo>
                        <a:cubicBezTo>
                          <a:pt x="0" y="32"/>
                          <a:pt x="16" y="37"/>
                          <a:pt x="18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5" name="Freeform 93"/>
                  <p:cNvSpPr>
                    <a:spLocks/>
                  </p:cNvSpPr>
                  <p:nvPr/>
                </p:nvSpPr>
                <p:spPr bwMode="gray">
                  <a:xfrm>
                    <a:off x="-1587500" y="-17067212"/>
                    <a:ext cx="1296988" cy="76835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3" y="45"/>
                      </a:cxn>
                      <a:cxn ang="0">
                        <a:pos x="45" y="97"/>
                      </a:cxn>
                      <a:cxn ang="0">
                        <a:pos x="125" y="177"/>
                      </a:cxn>
                      <a:cxn ang="0">
                        <a:pos x="246" y="190"/>
                      </a:cxn>
                      <a:cxn ang="0">
                        <a:pos x="346" y="14"/>
                      </a:cxn>
                    </a:cxnLst>
                    <a:rect l="0" t="0" r="r" b="b"/>
                    <a:pathLst>
                      <a:path w="346" h="205">
                        <a:moveTo>
                          <a:pt x="0" y="0"/>
                        </a:moveTo>
                        <a:cubicBezTo>
                          <a:pt x="7" y="19"/>
                          <a:pt x="13" y="29"/>
                          <a:pt x="23" y="45"/>
                        </a:cubicBezTo>
                        <a:cubicBezTo>
                          <a:pt x="33" y="62"/>
                          <a:pt x="33" y="82"/>
                          <a:pt x="45" y="97"/>
                        </a:cubicBezTo>
                        <a:cubicBezTo>
                          <a:pt x="70" y="127"/>
                          <a:pt x="87" y="157"/>
                          <a:pt x="125" y="177"/>
                        </a:cubicBezTo>
                        <a:cubicBezTo>
                          <a:pt x="150" y="191"/>
                          <a:pt x="216" y="205"/>
                          <a:pt x="246" y="190"/>
                        </a:cubicBezTo>
                        <a:cubicBezTo>
                          <a:pt x="303" y="163"/>
                          <a:pt x="346" y="38"/>
                          <a:pt x="346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6" name="Freeform 94"/>
                  <p:cNvSpPr>
                    <a:spLocks/>
                  </p:cNvSpPr>
                  <p:nvPr/>
                </p:nvSpPr>
                <p:spPr bwMode="gray">
                  <a:xfrm>
                    <a:off x="-2055813" y="-19629437"/>
                    <a:ext cx="2047875" cy="3203575"/>
                  </a:xfrm>
                  <a:custGeom>
                    <a:avLst/>
                    <a:gdLst/>
                    <a:ahLst/>
                    <a:cxnLst>
                      <a:cxn ang="0">
                        <a:pos x="48" y="367"/>
                      </a:cxn>
                      <a:cxn ang="0">
                        <a:pos x="1" y="422"/>
                      </a:cxn>
                      <a:cxn ang="0">
                        <a:pos x="43" y="495"/>
                      </a:cxn>
                      <a:cxn ang="0">
                        <a:pos x="63" y="525"/>
                      </a:cxn>
                      <a:cxn ang="0">
                        <a:pos x="76" y="578"/>
                      </a:cxn>
                      <a:cxn ang="0">
                        <a:pos x="132" y="702"/>
                      </a:cxn>
                      <a:cxn ang="0">
                        <a:pos x="171" y="746"/>
                      </a:cxn>
                      <a:cxn ang="0">
                        <a:pos x="251" y="827"/>
                      </a:cxn>
                      <a:cxn ang="0">
                        <a:pos x="372" y="840"/>
                      </a:cxn>
                      <a:cxn ang="0">
                        <a:pos x="473" y="692"/>
                      </a:cxn>
                      <a:cxn ang="0">
                        <a:pos x="511" y="599"/>
                      </a:cxn>
                      <a:cxn ang="0">
                        <a:pos x="529" y="410"/>
                      </a:cxn>
                      <a:cxn ang="0">
                        <a:pos x="372" y="60"/>
                      </a:cxn>
                      <a:cxn ang="0">
                        <a:pos x="112" y="89"/>
                      </a:cxn>
                      <a:cxn ang="0">
                        <a:pos x="40" y="216"/>
                      </a:cxn>
                      <a:cxn ang="0">
                        <a:pos x="48" y="367"/>
                      </a:cxn>
                    </a:cxnLst>
                    <a:rect l="0" t="0" r="r" b="b"/>
                    <a:pathLst>
                      <a:path w="546" h="854">
                        <a:moveTo>
                          <a:pt x="48" y="367"/>
                        </a:moveTo>
                        <a:cubicBezTo>
                          <a:pt x="6" y="358"/>
                          <a:pt x="2" y="391"/>
                          <a:pt x="1" y="422"/>
                        </a:cubicBezTo>
                        <a:cubicBezTo>
                          <a:pt x="0" y="467"/>
                          <a:pt x="17" y="469"/>
                          <a:pt x="43" y="495"/>
                        </a:cubicBezTo>
                        <a:cubicBezTo>
                          <a:pt x="51" y="503"/>
                          <a:pt x="54" y="517"/>
                          <a:pt x="63" y="525"/>
                        </a:cubicBezTo>
                        <a:cubicBezTo>
                          <a:pt x="75" y="534"/>
                          <a:pt x="67" y="564"/>
                          <a:pt x="76" y="578"/>
                        </a:cubicBezTo>
                        <a:cubicBezTo>
                          <a:pt x="92" y="600"/>
                          <a:pt x="122" y="686"/>
                          <a:pt x="132" y="702"/>
                        </a:cubicBezTo>
                        <a:cubicBezTo>
                          <a:pt x="142" y="719"/>
                          <a:pt x="159" y="731"/>
                          <a:pt x="171" y="746"/>
                        </a:cubicBezTo>
                        <a:cubicBezTo>
                          <a:pt x="196" y="777"/>
                          <a:pt x="213" y="806"/>
                          <a:pt x="251" y="827"/>
                        </a:cubicBezTo>
                        <a:cubicBezTo>
                          <a:pt x="277" y="840"/>
                          <a:pt x="342" y="854"/>
                          <a:pt x="372" y="840"/>
                        </a:cubicBezTo>
                        <a:cubicBezTo>
                          <a:pt x="400" y="826"/>
                          <a:pt x="464" y="716"/>
                          <a:pt x="473" y="692"/>
                        </a:cubicBezTo>
                        <a:cubicBezTo>
                          <a:pt x="485" y="660"/>
                          <a:pt x="498" y="628"/>
                          <a:pt x="511" y="599"/>
                        </a:cubicBezTo>
                        <a:cubicBezTo>
                          <a:pt x="537" y="542"/>
                          <a:pt x="521" y="470"/>
                          <a:pt x="529" y="410"/>
                        </a:cubicBezTo>
                        <a:cubicBezTo>
                          <a:pt x="546" y="285"/>
                          <a:pt x="466" y="132"/>
                          <a:pt x="372" y="60"/>
                        </a:cubicBezTo>
                        <a:cubicBezTo>
                          <a:pt x="294" y="0"/>
                          <a:pt x="170" y="12"/>
                          <a:pt x="112" y="89"/>
                        </a:cubicBezTo>
                        <a:cubicBezTo>
                          <a:pt x="88" y="120"/>
                          <a:pt x="55" y="179"/>
                          <a:pt x="40" y="216"/>
                        </a:cubicBezTo>
                        <a:cubicBezTo>
                          <a:pt x="28" y="248"/>
                          <a:pt x="1" y="298"/>
                          <a:pt x="48" y="3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7" name="Freeform 95"/>
                  <p:cNvSpPr>
                    <a:spLocks/>
                  </p:cNvSpPr>
                  <p:nvPr/>
                </p:nvSpPr>
                <p:spPr bwMode="gray">
                  <a:xfrm>
                    <a:off x="-3870325" y="-16865596"/>
                    <a:ext cx="5691179" cy="6361109"/>
                  </a:xfrm>
                  <a:custGeom>
                    <a:avLst/>
                    <a:gdLst/>
                    <a:ahLst/>
                    <a:cxnLst>
                      <a:cxn ang="0">
                        <a:pos x="568" y="110"/>
                      </a:cxn>
                      <a:cxn ang="0">
                        <a:pos x="365" y="239"/>
                      </a:cxn>
                      <a:cxn ang="0">
                        <a:pos x="185" y="357"/>
                      </a:cxn>
                      <a:cxn ang="0">
                        <a:pos x="67" y="567"/>
                      </a:cxn>
                      <a:cxn ang="0">
                        <a:pos x="74" y="680"/>
                      </a:cxn>
                      <a:cxn ang="0">
                        <a:pos x="62" y="820"/>
                      </a:cxn>
                      <a:cxn ang="0">
                        <a:pos x="5" y="1011"/>
                      </a:cxn>
                      <a:cxn ang="0">
                        <a:pos x="16" y="1237"/>
                      </a:cxn>
                      <a:cxn ang="0">
                        <a:pos x="101" y="1406"/>
                      </a:cxn>
                      <a:cxn ang="0">
                        <a:pos x="264" y="1417"/>
                      </a:cxn>
                      <a:cxn ang="0">
                        <a:pos x="276" y="1591"/>
                      </a:cxn>
                      <a:cxn ang="0">
                        <a:pos x="731" y="1681"/>
                      </a:cxn>
                      <a:cxn ang="0">
                        <a:pos x="968" y="1655"/>
                      </a:cxn>
                      <a:cxn ang="0">
                        <a:pos x="1154" y="1631"/>
                      </a:cxn>
                      <a:cxn ang="0">
                        <a:pos x="1283" y="1569"/>
                      </a:cxn>
                      <a:cxn ang="0">
                        <a:pos x="1447" y="1147"/>
                      </a:cxn>
                      <a:cxn ang="0">
                        <a:pos x="1509" y="617"/>
                      </a:cxn>
                      <a:cxn ang="0">
                        <a:pos x="1492" y="398"/>
                      </a:cxn>
                      <a:cxn ang="0">
                        <a:pos x="1417" y="202"/>
                      </a:cxn>
                      <a:cxn ang="0">
                        <a:pos x="1014" y="53"/>
                      </a:cxn>
                      <a:cxn ang="0">
                        <a:pos x="745" y="222"/>
                      </a:cxn>
                      <a:cxn ang="0">
                        <a:pos x="608" y="70"/>
                      </a:cxn>
                      <a:cxn ang="0">
                        <a:pos x="535" y="133"/>
                      </a:cxn>
                    </a:cxnLst>
                    <a:rect l="0" t="0" r="r" b="b"/>
                    <a:pathLst>
                      <a:path w="1518" h="1696">
                        <a:moveTo>
                          <a:pt x="568" y="110"/>
                        </a:moveTo>
                        <a:cubicBezTo>
                          <a:pt x="491" y="130"/>
                          <a:pt x="436" y="199"/>
                          <a:pt x="365" y="239"/>
                        </a:cubicBezTo>
                        <a:cubicBezTo>
                          <a:pt x="303" y="273"/>
                          <a:pt x="246" y="311"/>
                          <a:pt x="185" y="357"/>
                        </a:cubicBezTo>
                        <a:cubicBezTo>
                          <a:pt x="127" y="401"/>
                          <a:pt x="49" y="492"/>
                          <a:pt x="67" y="567"/>
                        </a:cubicBezTo>
                        <a:cubicBezTo>
                          <a:pt x="79" y="619"/>
                          <a:pt x="85" y="626"/>
                          <a:pt x="74" y="680"/>
                        </a:cubicBezTo>
                        <a:cubicBezTo>
                          <a:pt x="65" y="726"/>
                          <a:pt x="69" y="773"/>
                          <a:pt x="62" y="820"/>
                        </a:cubicBezTo>
                        <a:cubicBezTo>
                          <a:pt x="52" y="884"/>
                          <a:pt x="11" y="945"/>
                          <a:pt x="5" y="1011"/>
                        </a:cubicBezTo>
                        <a:cubicBezTo>
                          <a:pt x="0" y="1079"/>
                          <a:pt x="9" y="1168"/>
                          <a:pt x="16" y="1237"/>
                        </a:cubicBezTo>
                        <a:cubicBezTo>
                          <a:pt x="22" y="1288"/>
                          <a:pt x="46" y="1388"/>
                          <a:pt x="101" y="1406"/>
                        </a:cubicBezTo>
                        <a:cubicBezTo>
                          <a:pt x="173" y="1429"/>
                          <a:pt x="202" y="1362"/>
                          <a:pt x="264" y="1417"/>
                        </a:cubicBezTo>
                        <a:cubicBezTo>
                          <a:pt x="255" y="1448"/>
                          <a:pt x="169" y="1479"/>
                          <a:pt x="276" y="1591"/>
                        </a:cubicBezTo>
                        <a:cubicBezTo>
                          <a:pt x="319" y="1637"/>
                          <a:pt x="670" y="1696"/>
                          <a:pt x="731" y="1681"/>
                        </a:cubicBezTo>
                        <a:cubicBezTo>
                          <a:pt x="804" y="1663"/>
                          <a:pt x="915" y="1665"/>
                          <a:pt x="968" y="1655"/>
                        </a:cubicBezTo>
                        <a:cubicBezTo>
                          <a:pt x="1014" y="1646"/>
                          <a:pt x="1154" y="1630"/>
                          <a:pt x="1154" y="1631"/>
                        </a:cubicBezTo>
                        <a:cubicBezTo>
                          <a:pt x="1151" y="1611"/>
                          <a:pt x="1278" y="1590"/>
                          <a:pt x="1283" y="1569"/>
                        </a:cubicBezTo>
                        <a:cubicBezTo>
                          <a:pt x="1362" y="1451"/>
                          <a:pt x="1355" y="1386"/>
                          <a:pt x="1447" y="1147"/>
                        </a:cubicBezTo>
                        <a:cubicBezTo>
                          <a:pt x="1509" y="985"/>
                          <a:pt x="1518" y="806"/>
                          <a:pt x="1509" y="617"/>
                        </a:cubicBezTo>
                        <a:cubicBezTo>
                          <a:pt x="1505" y="543"/>
                          <a:pt x="1492" y="476"/>
                          <a:pt x="1492" y="398"/>
                        </a:cubicBezTo>
                        <a:cubicBezTo>
                          <a:pt x="1492" y="311"/>
                          <a:pt x="1485" y="256"/>
                          <a:pt x="1417" y="202"/>
                        </a:cubicBezTo>
                        <a:cubicBezTo>
                          <a:pt x="1308" y="115"/>
                          <a:pt x="1156" y="67"/>
                          <a:pt x="1014" y="53"/>
                        </a:cubicBezTo>
                        <a:cubicBezTo>
                          <a:pt x="988" y="0"/>
                          <a:pt x="813" y="250"/>
                          <a:pt x="745" y="222"/>
                        </a:cubicBezTo>
                        <a:cubicBezTo>
                          <a:pt x="667" y="189"/>
                          <a:pt x="574" y="100"/>
                          <a:pt x="608" y="70"/>
                        </a:cubicBezTo>
                        <a:cubicBezTo>
                          <a:pt x="588" y="98"/>
                          <a:pt x="551" y="100"/>
                          <a:pt x="535" y="1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8" name="Freeform 96"/>
                  <p:cNvSpPr>
                    <a:spLocks/>
                  </p:cNvSpPr>
                  <p:nvPr/>
                </p:nvSpPr>
                <p:spPr bwMode="gray">
                  <a:xfrm>
                    <a:off x="-577850" y="-16665575"/>
                    <a:ext cx="1341438" cy="857250"/>
                  </a:xfrm>
                  <a:custGeom>
                    <a:avLst/>
                    <a:gdLst/>
                    <a:ahLst/>
                    <a:cxnLst>
                      <a:cxn ang="0">
                        <a:pos x="97" y="0"/>
                      </a:cxn>
                      <a:cxn ang="0">
                        <a:pos x="303" y="60"/>
                      </a:cxn>
                      <a:cxn ang="0">
                        <a:pos x="358" y="106"/>
                      </a:cxn>
                      <a:cxn ang="0">
                        <a:pos x="203" y="76"/>
                      </a:cxn>
                      <a:cxn ang="0">
                        <a:pos x="136" y="173"/>
                      </a:cxn>
                      <a:cxn ang="0">
                        <a:pos x="21" y="223"/>
                      </a:cxn>
                      <a:cxn ang="0">
                        <a:pos x="58" y="105"/>
                      </a:cxn>
                      <a:cxn ang="0">
                        <a:pos x="131" y="13"/>
                      </a:cxn>
                    </a:cxnLst>
                    <a:rect l="0" t="0" r="r" b="b"/>
                    <a:pathLst>
                      <a:path w="358" h="229">
                        <a:moveTo>
                          <a:pt x="97" y="0"/>
                        </a:moveTo>
                        <a:cubicBezTo>
                          <a:pt x="155" y="28"/>
                          <a:pt x="241" y="50"/>
                          <a:pt x="303" y="60"/>
                        </a:cubicBezTo>
                        <a:cubicBezTo>
                          <a:pt x="315" y="77"/>
                          <a:pt x="339" y="97"/>
                          <a:pt x="358" y="106"/>
                        </a:cubicBezTo>
                        <a:cubicBezTo>
                          <a:pt x="309" y="97"/>
                          <a:pt x="254" y="70"/>
                          <a:pt x="203" y="76"/>
                        </a:cubicBezTo>
                        <a:cubicBezTo>
                          <a:pt x="136" y="84"/>
                          <a:pt x="190" y="147"/>
                          <a:pt x="136" y="173"/>
                        </a:cubicBezTo>
                        <a:cubicBezTo>
                          <a:pt x="106" y="119"/>
                          <a:pt x="62" y="229"/>
                          <a:pt x="21" y="223"/>
                        </a:cubicBezTo>
                        <a:cubicBezTo>
                          <a:pt x="0" y="173"/>
                          <a:pt x="31" y="144"/>
                          <a:pt x="58" y="105"/>
                        </a:cubicBezTo>
                        <a:cubicBezTo>
                          <a:pt x="76" y="79"/>
                          <a:pt x="92" y="8"/>
                          <a:pt x="131" y="1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69" name="Freeform 97"/>
                  <p:cNvSpPr>
                    <a:spLocks/>
                  </p:cNvSpPr>
                  <p:nvPr/>
                </p:nvSpPr>
                <p:spPr bwMode="gray">
                  <a:xfrm>
                    <a:off x="-1238250" y="-13482637"/>
                    <a:ext cx="390525" cy="850900"/>
                  </a:xfrm>
                  <a:custGeom>
                    <a:avLst/>
                    <a:gdLst/>
                    <a:ahLst/>
                    <a:cxnLst>
                      <a:cxn ang="0">
                        <a:pos x="79" y="17"/>
                      </a:cxn>
                      <a:cxn ang="0">
                        <a:pos x="3" y="131"/>
                      </a:cxn>
                      <a:cxn ang="0">
                        <a:pos x="45" y="227"/>
                      </a:cxn>
                      <a:cxn ang="0">
                        <a:pos x="99" y="21"/>
                      </a:cxn>
                      <a:cxn ang="0">
                        <a:pos x="87" y="0"/>
                      </a:cxn>
                    </a:cxnLst>
                    <a:rect l="0" t="0" r="r" b="b"/>
                    <a:pathLst>
                      <a:path w="104" h="227">
                        <a:moveTo>
                          <a:pt x="79" y="17"/>
                        </a:moveTo>
                        <a:cubicBezTo>
                          <a:pt x="44" y="66"/>
                          <a:pt x="6" y="63"/>
                          <a:pt x="3" y="131"/>
                        </a:cubicBezTo>
                        <a:cubicBezTo>
                          <a:pt x="0" y="185"/>
                          <a:pt x="11" y="194"/>
                          <a:pt x="45" y="227"/>
                        </a:cubicBezTo>
                        <a:cubicBezTo>
                          <a:pt x="42" y="170"/>
                          <a:pt x="3" y="39"/>
                          <a:pt x="99" y="21"/>
                        </a:cubicBezTo>
                        <a:cubicBezTo>
                          <a:pt x="104" y="6"/>
                          <a:pt x="97" y="5"/>
                          <a:pt x="8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0" name="Freeform 98"/>
                  <p:cNvSpPr>
                    <a:spLocks/>
                  </p:cNvSpPr>
                  <p:nvPr/>
                </p:nvSpPr>
                <p:spPr bwMode="gray">
                  <a:xfrm>
                    <a:off x="-3536950" y="-14465300"/>
                    <a:ext cx="738188" cy="492125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197" y="131"/>
                      </a:cxn>
                      <a:cxn ang="0">
                        <a:pos x="84" y="73"/>
                      </a:cxn>
                      <a:cxn ang="0">
                        <a:pos x="12" y="5"/>
                      </a:cxn>
                      <a:cxn ang="0">
                        <a:pos x="41" y="5"/>
                      </a:cxn>
                    </a:cxnLst>
                    <a:rect l="0" t="0" r="r" b="b"/>
                    <a:pathLst>
                      <a:path w="197" h="131">
                        <a:moveTo>
                          <a:pt x="12" y="0"/>
                        </a:moveTo>
                        <a:cubicBezTo>
                          <a:pt x="72" y="19"/>
                          <a:pt x="176" y="59"/>
                          <a:pt x="197" y="131"/>
                        </a:cubicBezTo>
                        <a:cubicBezTo>
                          <a:pt x="156" y="116"/>
                          <a:pt x="123" y="90"/>
                          <a:pt x="84" y="73"/>
                        </a:cubicBezTo>
                        <a:cubicBezTo>
                          <a:pt x="54" y="61"/>
                          <a:pt x="0" y="51"/>
                          <a:pt x="12" y="5"/>
                        </a:cubicBezTo>
                        <a:cubicBezTo>
                          <a:pt x="21" y="4"/>
                          <a:pt x="33" y="2"/>
                          <a:pt x="41" y="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1" name="Freeform 99"/>
                  <p:cNvSpPr>
                    <a:spLocks/>
                  </p:cNvSpPr>
                  <p:nvPr/>
                </p:nvSpPr>
                <p:spPr bwMode="gray">
                  <a:xfrm>
                    <a:off x="-2806700" y="-10966450"/>
                    <a:ext cx="3787775" cy="825500"/>
                  </a:xfrm>
                  <a:custGeom>
                    <a:avLst/>
                    <a:gdLst/>
                    <a:ahLst/>
                    <a:cxnLst>
                      <a:cxn ang="0">
                        <a:pos x="37" y="13"/>
                      </a:cxn>
                      <a:cxn ang="0">
                        <a:pos x="132" y="45"/>
                      </a:cxn>
                      <a:cxn ang="0">
                        <a:pos x="245" y="69"/>
                      </a:cxn>
                      <a:cxn ang="0">
                        <a:pos x="470" y="86"/>
                      </a:cxn>
                      <a:cxn ang="0">
                        <a:pos x="735" y="69"/>
                      </a:cxn>
                      <a:cxn ang="0">
                        <a:pos x="976" y="37"/>
                      </a:cxn>
                      <a:cxn ang="0">
                        <a:pos x="986" y="148"/>
                      </a:cxn>
                      <a:cxn ang="0">
                        <a:pos x="842" y="187"/>
                      </a:cxn>
                      <a:cxn ang="0">
                        <a:pos x="577" y="215"/>
                      </a:cxn>
                      <a:cxn ang="0">
                        <a:pos x="311" y="194"/>
                      </a:cxn>
                      <a:cxn ang="0">
                        <a:pos x="183" y="159"/>
                      </a:cxn>
                      <a:cxn ang="0">
                        <a:pos x="29" y="121"/>
                      </a:cxn>
                      <a:cxn ang="0">
                        <a:pos x="14" y="120"/>
                      </a:cxn>
                      <a:cxn ang="0">
                        <a:pos x="3" y="24"/>
                      </a:cxn>
                    </a:cxnLst>
                    <a:rect l="0" t="0" r="r" b="b"/>
                    <a:pathLst>
                      <a:path w="1010" h="220">
                        <a:moveTo>
                          <a:pt x="37" y="13"/>
                        </a:moveTo>
                        <a:cubicBezTo>
                          <a:pt x="73" y="16"/>
                          <a:pt x="98" y="32"/>
                          <a:pt x="132" y="45"/>
                        </a:cubicBezTo>
                        <a:cubicBezTo>
                          <a:pt x="171" y="59"/>
                          <a:pt x="206" y="60"/>
                          <a:pt x="245" y="69"/>
                        </a:cubicBezTo>
                        <a:cubicBezTo>
                          <a:pt x="317" y="84"/>
                          <a:pt x="391" y="82"/>
                          <a:pt x="470" y="86"/>
                        </a:cubicBezTo>
                        <a:cubicBezTo>
                          <a:pt x="563" y="90"/>
                          <a:pt x="652" y="100"/>
                          <a:pt x="735" y="69"/>
                        </a:cubicBezTo>
                        <a:cubicBezTo>
                          <a:pt x="797" y="46"/>
                          <a:pt x="909" y="0"/>
                          <a:pt x="976" y="37"/>
                        </a:cubicBezTo>
                        <a:cubicBezTo>
                          <a:pt x="975" y="87"/>
                          <a:pt x="1010" y="114"/>
                          <a:pt x="986" y="148"/>
                        </a:cubicBezTo>
                        <a:cubicBezTo>
                          <a:pt x="970" y="172"/>
                          <a:pt x="869" y="180"/>
                          <a:pt x="842" y="187"/>
                        </a:cubicBezTo>
                        <a:cubicBezTo>
                          <a:pt x="756" y="211"/>
                          <a:pt x="672" y="215"/>
                          <a:pt x="577" y="215"/>
                        </a:cubicBezTo>
                        <a:cubicBezTo>
                          <a:pt x="485" y="215"/>
                          <a:pt x="395" y="220"/>
                          <a:pt x="311" y="194"/>
                        </a:cubicBezTo>
                        <a:cubicBezTo>
                          <a:pt x="267" y="180"/>
                          <a:pt x="226" y="169"/>
                          <a:pt x="183" y="159"/>
                        </a:cubicBezTo>
                        <a:cubicBezTo>
                          <a:pt x="140" y="150"/>
                          <a:pt x="67" y="141"/>
                          <a:pt x="29" y="121"/>
                        </a:cubicBezTo>
                        <a:cubicBezTo>
                          <a:pt x="18" y="115"/>
                          <a:pt x="26" y="124"/>
                          <a:pt x="14" y="120"/>
                        </a:cubicBezTo>
                        <a:cubicBezTo>
                          <a:pt x="9" y="91"/>
                          <a:pt x="0" y="52"/>
                          <a:pt x="3" y="2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2" name="Freeform 100"/>
                  <p:cNvSpPr>
                    <a:spLocks/>
                  </p:cNvSpPr>
                  <p:nvPr/>
                </p:nvSpPr>
                <p:spPr bwMode="gray">
                  <a:xfrm>
                    <a:off x="-1778000" y="-10768012"/>
                    <a:ext cx="884238" cy="638175"/>
                  </a:xfrm>
                  <a:custGeom>
                    <a:avLst/>
                    <a:gdLst/>
                    <a:ahLst/>
                    <a:cxnLst>
                      <a:cxn ang="0">
                        <a:pos x="32" y="131"/>
                      </a:cxn>
                      <a:cxn ang="0">
                        <a:pos x="170" y="141"/>
                      </a:cxn>
                      <a:cxn ang="0">
                        <a:pos x="184" y="39"/>
                      </a:cxn>
                      <a:cxn ang="0">
                        <a:pos x="137" y="26"/>
                      </a:cxn>
                      <a:cxn ang="0">
                        <a:pos x="206" y="20"/>
                      </a:cxn>
                      <a:cxn ang="0">
                        <a:pos x="198" y="152"/>
                      </a:cxn>
                      <a:cxn ang="0">
                        <a:pos x="156" y="168"/>
                      </a:cxn>
                      <a:cxn ang="0">
                        <a:pos x="13" y="151"/>
                      </a:cxn>
                      <a:cxn ang="0">
                        <a:pos x="12" y="40"/>
                      </a:cxn>
                      <a:cxn ang="0">
                        <a:pos x="156" y="13"/>
                      </a:cxn>
                      <a:cxn ang="0">
                        <a:pos x="141" y="37"/>
                      </a:cxn>
                      <a:cxn ang="0">
                        <a:pos x="37" y="61"/>
                      </a:cxn>
                    </a:cxnLst>
                    <a:rect l="0" t="0" r="r" b="b"/>
                    <a:pathLst>
                      <a:path w="236" h="170">
                        <a:moveTo>
                          <a:pt x="32" y="131"/>
                        </a:moveTo>
                        <a:cubicBezTo>
                          <a:pt x="61" y="144"/>
                          <a:pt x="154" y="156"/>
                          <a:pt x="170" y="141"/>
                        </a:cubicBezTo>
                        <a:cubicBezTo>
                          <a:pt x="171" y="124"/>
                          <a:pt x="186" y="58"/>
                          <a:pt x="184" y="39"/>
                        </a:cubicBezTo>
                        <a:cubicBezTo>
                          <a:pt x="164" y="29"/>
                          <a:pt x="137" y="52"/>
                          <a:pt x="137" y="26"/>
                        </a:cubicBezTo>
                        <a:cubicBezTo>
                          <a:pt x="137" y="2"/>
                          <a:pt x="198" y="20"/>
                          <a:pt x="206" y="20"/>
                        </a:cubicBezTo>
                        <a:cubicBezTo>
                          <a:pt x="236" y="20"/>
                          <a:pt x="202" y="124"/>
                          <a:pt x="198" y="152"/>
                        </a:cubicBezTo>
                        <a:cubicBezTo>
                          <a:pt x="195" y="170"/>
                          <a:pt x="180" y="166"/>
                          <a:pt x="156" y="168"/>
                        </a:cubicBezTo>
                        <a:cubicBezTo>
                          <a:pt x="123" y="169"/>
                          <a:pt x="46" y="162"/>
                          <a:pt x="13" y="151"/>
                        </a:cubicBezTo>
                        <a:cubicBezTo>
                          <a:pt x="0" y="147"/>
                          <a:pt x="2" y="88"/>
                          <a:pt x="12" y="40"/>
                        </a:cubicBezTo>
                        <a:cubicBezTo>
                          <a:pt x="20" y="0"/>
                          <a:pt x="123" y="20"/>
                          <a:pt x="156" y="13"/>
                        </a:cubicBezTo>
                        <a:cubicBezTo>
                          <a:pt x="172" y="10"/>
                          <a:pt x="143" y="23"/>
                          <a:pt x="141" y="37"/>
                        </a:cubicBezTo>
                        <a:cubicBezTo>
                          <a:pt x="124" y="38"/>
                          <a:pt x="30" y="30"/>
                          <a:pt x="37" y="6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3" name="Freeform 101"/>
                  <p:cNvSpPr>
                    <a:spLocks/>
                  </p:cNvSpPr>
                  <p:nvPr/>
                </p:nvSpPr>
                <p:spPr bwMode="gray">
                  <a:xfrm>
                    <a:off x="-2228850" y="-19711987"/>
                    <a:ext cx="2320925" cy="2089150"/>
                  </a:xfrm>
                  <a:custGeom>
                    <a:avLst/>
                    <a:gdLst/>
                    <a:ahLst/>
                    <a:cxnLst>
                      <a:cxn ang="0">
                        <a:pos x="111" y="540"/>
                      </a:cxn>
                      <a:cxn ang="0">
                        <a:pos x="94" y="541"/>
                      </a:cxn>
                      <a:cxn ang="0">
                        <a:pos x="81" y="432"/>
                      </a:cxn>
                      <a:cxn ang="0">
                        <a:pos x="67" y="390"/>
                      </a:cxn>
                      <a:cxn ang="0">
                        <a:pos x="33" y="348"/>
                      </a:cxn>
                      <a:cxn ang="0">
                        <a:pos x="81" y="145"/>
                      </a:cxn>
                      <a:cxn ang="0">
                        <a:pos x="48" y="144"/>
                      </a:cxn>
                      <a:cxn ang="0">
                        <a:pos x="131" y="76"/>
                      </a:cxn>
                      <a:cxn ang="0">
                        <a:pos x="115" y="57"/>
                      </a:cxn>
                      <a:cxn ang="0">
                        <a:pos x="190" y="34"/>
                      </a:cxn>
                      <a:cxn ang="0">
                        <a:pos x="263" y="1"/>
                      </a:cxn>
                      <a:cxn ang="0">
                        <a:pos x="426" y="51"/>
                      </a:cxn>
                      <a:cxn ang="0">
                        <a:pos x="428" y="27"/>
                      </a:cxn>
                      <a:cxn ang="0">
                        <a:pos x="469" y="77"/>
                      </a:cxn>
                      <a:cxn ang="0">
                        <a:pos x="530" y="110"/>
                      </a:cxn>
                      <a:cxn ang="0">
                        <a:pos x="596" y="229"/>
                      </a:cxn>
                      <a:cxn ang="0">
                        <a:pos x="608" y="388"/>
                      </a:cxn>
                      <a:cxn ang="0">
                        <a:pos x="572" y="557"/>
                      </a:cxn>
                      <a:cxn ang="0">
                        <a:pos x="546" y="457"/>
                      </a:cxn>
                      <a:cxn ang="0">
                        <a:pos x="550" y="313"/>
                      </a:cxn>
                      <a:cxn ang="0">
                        <a:pos x="482" y="216"/>
                      </a:cxn>
                      <a:cxn ang="0">
                        <a:pos x="348" y="216"/>
                      </a:cxn>
                      <a:cxn ang="0">
                        <a:pos x="327" y="191"/>
                      </a:cxn>
                      <a:cxn ang="0">
                        <a:pos x="334" y="228"/>
                      </a:cxn>
                      <a:cxn ang="0">
                        <a:pos x="250" y="188"/>
                      </a:cxn>
                      <a:cxn ang="0">
                        <a:pos x="179" y="230"/>
                      </a:cxn>
                      <a:cxn ang="0">
                        <a:pos x="127" y="322"/>
                      </a:cxn>
                      <a:cxn ang="0">
                        <a:pos x="123" y="377"/>
                      </a:cxn>
                      <a:cxn ang="0">
                        <a:pos x="111" y="426"/>
                      </a:cxn>
                      <a:cxn ang="0">
                        <a:pos x="111" y="540"/>
                      </a:cxn>
                    </a:cxnLst>
                    <a:rect l="0" t="0" r="r" b="b"/>
                    <a:pathLst>
                      <a:path w="619" h="557">
                        <a:moveTo>
                          <a:pt x="111" y="540"/>
                        </a:moveTo>
                        <a:cubicBezTo>
                          <a:pt x="85" y="549"/>
                          <a:pt x="102" y="543"/>
                          <a:pt x="94" y="541"/>
                        </a:cubicBezTo>
                        <a:cubicBezTo>
                          <a:pt x="82" y="499"/>
                          <a:pt x="79" y="474"/>
                          <a:pt x="81" y="432"/>
                        </a:cubicBezTo>
                        <a:cubicBezTo>
                          <a:pt x="82" y="415"/>
                          <a:pt x="95" y="378"/>
                          <a:pt x="67" y="390"/>
                        </a:cubicBezTo>
                        <a:cubicBezTo>
                          <a:pt x="56" y="395"/>
                          <a:pt x="44" y="366"/>
                          <a:pt x="33" y="348"/>
                        </a:cubicBezTo>
                        <a:cubicBezTo>
                          <a:pt x="0" y="293"/>
                          <a:pt x="48" y="189"/>
                          <a:pt x="81" y="145"/>
                        </a:cubicBezTo>
                        <a:cubicBezTo>
                          <a:pt x="71" y="147"/>
                          <a:pt x="58" y="142"/>
                          <a:pt x="48" y="144"/>
                        </a:cubicBezTo>
                        <a:cubicBezTo>
                          <a:pt x="52" y="107"/>
                          <a:pt x="97" y="82"/>
                          <a:pt x="131" y="76"/>
                        </a:cubicBezTo>
                        <a:cubicBezTo>
                          <a:pt x="125" y="71"/>
                          <a:pt x="121" y="61"/>
                          <a:pt x="115" y="57"/>
                        </a:cubicBezTo>
                        <a:cubicBezTo>
                          <a:pt x="142" y="51"/>
                          <a:pt x="168" y="47"/>
                          <a:pt x="190" y="34"/>
                        </a:cubicBezTo>
                        <a:cubicBezTo>
                          <a:pt x="220" y="15"/>
                          <a:pt x="222" y="1"/>
                          <a:pt x="263" y="1"/>
                        </a:cubicBezTo>
                        <a:cubicBezTo>
                          <a:pt x="327" y="0"/>
                          <a:pt x="377" y="13"/>
                          <a:pt x="426" y="51"/>
                        </a:cubicBezTo>
                        <a:cubicBezTo>
                          <a:pt x="426" y="44"/>
                          <a:pt x="429" y="34"/>
                          <a:pt x="428" y="27"/>
                        </a:cubicBezTo>
                        <a:cubicBezTo>
                          <a:pt x="443" y="40"/>
                          <a:pt x="453" y="63"/>
                          <a:pt x="469" y="77"/>
                        </a:cubicBezTo>
                        <a:cubicBezTo>
                          <a:pt x="489" y="96"/>
                          <a:pt x="509" y="94"/>
                          <a:pt x="530" y="110"/>
                        </a:cubicBezTo>
                        <a:cubicBezTo>
                          <a:pt x="558" y="130"/>
                          <a:pt x="581" y="197"/>
                          <a:pt x="596" y="229"/>
                        </a:cubicBezTo>
                        <a:cubicBezTo>
                          <a:pt x="617" y="274"/>
                          <a:pt x="619" y="337"/>
                          <a:pt x="608" y="388"/>
                        </a:cubicBezTo>
                        <a:cubicBezTo>
                          <a:pt x="599" y="429"/>
                          <a:pt x="611" y="534"/>
                          <a:pt x="572" y="557"/>
                        </a:cubicBezTo>
                        <a:cubicBezTo>
                          <a:pt x="575" y="530"/>
                          <a:pt x="547" y="490"/>
                          <a:pt x="546" y="457"/>
                        </a:cubicBezTo>
                        <a:cubicBezTo>
                          <a:pt x="544" y="409"/>
                          <a:pt x="556" y="362"/>
                          <a:pt x="550" y="313"/>
                        </a:cubicBezTo>
                        <a:cubicBezTo>
                          <a:pt x="545" y="273"/>
                          <a:pt x="525" y="227"/>
                          <a:pt x="482" y="216"/>
                        </a:cubicBezTo>
                        <a:cubicBezTo>
                          <a:pt x="438" y="205"/>
                          <a:pt x="391" y="230"/>
                          <a:pt x="348" y="216"/>
                        </a:cubicBezTo>
                        <a:cubicBezTo>
                          <a:pt x="343" y="205"/>
                          <a:pt x="333" y="200"/>
                          <a:pt x="327" y="191"/>
                        </a:cubicBezTo>
                        <a:cubicBezTo>
                          <a:pt x="328" y="206"/>
                          <a:pt x="326" y="217"/>
                          <a:pt x="334" y="228"/>
                        </a:cubicBezTo>
                        <a:cubicBezTo>
                          <a:pt x="306" y="232"/>
                          <a:pt x="273" y="204"/>
                          <a:pt x="250" y="188"/>
                        </a:cubicBezTo>
                        <a:cubicBezTo>
                          <a:pt x="267" y="225"/>
                          <a:pt x="201" y="212"/>
                          <a:pt x="179" y="230"/>
                        </a:cubicBezTo>
                        <a:cubicBezTo>
                          <a:pt x="152" y="252"/>
                          <a:pt x="134" y="290"/>
                          <a:pt x="127" y="322"/>
                        </a:cubicBezTo>
                        <a:cubicBezTo>
                          <a:pt x="124" y="339"/>
                          <a:pt x="130" y="360"/>
                          <a:pt x="123" y="377"/>
                        </a:cubicBezTo>
                        <a:cubicBezTo>
                          <a:pt x="116" y="396"/>
                          <a:pt x="116" y="408"/>
                          <a:pt x="111" y="426"/>
                        </a:cubicBezTo>
                        <a:cubicBezTo>
                          <a:pt x="102" y="466"/>
                          <a:pt x="123" y="521"/>
                          <a:pt x="111" y="54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4" name="Freeform 102"/>
                  <p:cNvSpPr>
                    <a:spLocks/>
                  </p:cNvSpPr>
                  <p:nvPr/>
                </p:nvSpPr>
                <p:spPr bwMode="gray">
                  <a:xfrm>
                    <a:off x="-2928938" y="-12233275"/>
                    <a:ext cx="4244975" cy="1217613"/>
                  </a:xfrm>
                  <a:custGeom>
                    <a:avLst/>
                    <a:gdLst/>
                    <a:ahLst/>
                    <a:cxnLst>
                      <a:cxn ang="0">
                        <a:pos x="638" y="9"/>
                      </a:cxn>
                      <a:cxn ang="0">
                        <a:pos x="47" y="123"/>
                      </a:cxn>
                      <a:cxn ang="0">
                        <a:pos x="2" y="190"/>
                      </a:cxn>
                      <a:cxn ang="0">
                        <a:pos x="70" y="218"/>
                      </a:cxn>
                      <a:cxn ang="0">
                        <a:pos x="146" y="221"/>
                      </a:cxn>
                      <a:cxn ang="0">
                        <a:pos x="208" y="208"/>
                      </a:cxn>
                      <a:cxn ang="0">
                        <a:pos x="275" y="196"/>
                      </a:cxn>
                      <a:cxn ang="0">
                        <a:pos x="319" y="164"/>
                      </a:cxn>
                      <a:cxn ang="0">
                        <a:pos x="408" y="142"/>
                      </a:cxn>
                      <a:cxn ang="0">
                        <a:pos x="552" y="92"/>
                      </a:cxn>
                      <a:cxn ang="0">
                        <a:pos x="630" y="77"/>
                      </a:cxn>
                      <a:cxn ang="0">
                        <a:pos x="645" y="122"/>
                      </a:cxn>
                      <a:cxn ang="0">
                        <a:pos x="794" y="120"/>
                      </a:cxn>
                      <a:cxn ang="0">
                        <a:pos x="785" y="229"/>
                      </a:cxn>
                      <a:cxn ang="0">
                        <a:pos x="869" y="199"/>
                      </a:cxn>
                      <a:cxn ang="0">
                        <a:pos x="943" y="241"/>
                      </a:cxn>
                      <a:cxn ang="0">
                        <a:pos x="1008" y="325"/>
                      </a:cxn>
                      <a:cxn ang="0">
                        <a:pos x="1077" y="230"/>
                      </a:cxn>
                      <a:cxn ang="0">
                        <a:pos x="1107" y="121"/>
                      </a:cxn>
                      <a:cxn ang="0">
                        <a:pos x="661" y="15"/>
                      </a:cxn>
                    </a:cxnLst>
                    <a:rect l="0" t="0" r="r" b="b"/>
                    <a:pathLst>
                      <a:path w="1132" h="325">
                        <a:moveTo>
                          <a:pt x="638" y="9"/>
                        </a:moveTo>
                        <a:cubicBezTo>
                          <a:pt x="608" y="0"/>
                          <a:pt x="87" y="112"/>
                          <a:pt x="47" y="123"/>
                        </a:cubicBezTo>
                        <a:cubicBezTo>
                          <a:pt x="1" y="135"/>
                          <a:pt x="0" y="143"/>
                          <a:pt x="2" y="190"/>
                        </a:cubicBezTo>
                        <a:cubicBezTo>
                          <a:pt x="27" y="195"/>
                          <a:pt x="45" y="213"/>
                          <a:pt x="70" y="218"/>
                        </a:cubicBezTo>
                        <a:cubicBezTo>
                          <a:pt x="93" y="222"/>
                          <a:pt x="120" y="221"/>
                          <a:pt x="146" y="221"/>
                        </a:cubicBezTo>
                        <a:cubicBezTo>
                          <a:pt x="172" y="221"/>
                          <a:pt x="185" y="215"/>
                          <a:pt x="208" y="208"/>
                        </a:cubicBezTo>
                        <a:cubicBezTo>
                          <a:pt x="230" y="201"/>
                          <a:pt x="254" y="205"/>
                          <a:pt x="275" y="196"/>
                        </a:cubicBezTo>
                        <a:cubicBezTo>
                          <a:pt x="291" y="189"/>
                          <a:pt x="304" y="174"/>
                          <a:pt x="319" y="164"/>
                        </a:cubicBezTo>
                        <a:cubicBezTo>
                          <a:pt x="348" y="144"/>
                          <a:pt x="372" y="145"/>
                          <a:pt x="408" y="142"/>
                        </a:cubicBezTo>
                        <a:cubicBezTo>
                          <a:pt x="462" y="139"/>
                          <a:pt x="503" y="113"/>
                          <a:pt x="552" y="92"/>
                        </a:cubicBezTo>
                        <a:cubicBezTo>
                          <a:pt x="576" y="82"/>
                          <a:pt x="598" y="73"/>
                          <a:pt x="630" y="77"/>
                        </a:cubicBezTo>
                        <a:cubicBezTo>
                          <a:pt x="667" y="83"/>
                          <a:pt x="672" y="100"/>
                          <a:pt x="645" y="122"/>
                        </a:cubicBezTo>
                        <a:cubicBezTo>
                          <a:pt x="695" y="127"/>
                          <a:pt x="744" y="83"/>
                          <a:pt x="794" y="120"/>
                        </a:cubicBezTo>
                        <a:cubicBezTo>
                          <a:pt x="850" y="162"/>
                          <a:pt x="786" y="184"/>
                          <a:pt x="785" y="229"/>
                        </a:cubicBezTo>
                        <a:cubicBezTo>
                          <a:pt x="815" y="220"/>
                          <a:pt x="835" y="204"/>
                          <a:pt x="869" y="199"/>
                        </a:cubicBezTo>
                        <a:cubicBezTo>
                          <a:pt x="898" y="195"/>
                          <a:pt x="958" y="201"/>
                          <a:pt x="943" y="241"/>
                        </a:cubicBezTo>
                        <a:cubicBezTo>
                          <a:pt x="987" y="214"/>
                          <a:pt x="1045" y="292"/>
                          <a:pt x="1008" y="325"/>
                        </a:cubicBezTo>
                        <a:cubicBezTo>
                          <a:pt x="1040" y="304"/>
                          <a:pt x="1072" y="267"/>
                          <a:pt x="1077" y="230"/>
                        </a:cubicBezTo>
                        <a:cubicBezTo>
                          <a:pt x="1080" y="207"/>
                          <a:pt x="1132" y="121"/>
                          <a:pt x="1107" y="121"/>
                        </a:cubicBezTo>
                        <a:cubicBezTo>
                          <a:pt x="931" y="121"/>
                          <a:pt x="680" y="24"/>
                          <a:pt x="661" y="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5" name="Freeform 103"/>
                  <p:cNvSpPr>
                    <a:spLocks/>
                  </p:cNvSpPr>
                  <p:nvPr/>
                </p:nvSpPr>
                <p:spPr bwMode="gray">
                  <a:xfrm>
                    <a:off x="985838" y="-13890625"/>
                    <a:ext cx="704850" cy="1952625"/>
                  </a:xfrm>
                  <a:custGeom>
                    <a:avLst/>
                    <a:gdLst/>
                    <a:ahLst/>
                    <a:cxnLst>
                      <a:cxn ang="0">
                        <a:pos x="0" y="387"/>
                      </a:cxn>
                      <a:cxn ang="0">
                        <a:pos x="27" y="416"/>
                      </a:cxn>
                      <a:cxn ang="0">
                        <a:pos x="159" y="275"/>
                      </a:cxn>
                      <a:cxn ang="0">
                        <a:pos x="185" y="0"/>
                      </a:cxn>
                      <a:cxn ang="0">
                        <a:pos x="184" y="32"/>
                      </a:cxn>
                      <a:cxn ang="0">
                        <a:pos x="79" y="45"/>
                      </a:cxn>
                      <a:cxn ang="0">
                        <a:pos x="145" y="101"/>
                      </a:cxn>
                      <a:cxn ang="0">
                        <a:pos x="79" y="167"/>
                      </a:cxn>
                      <a:cxn ang="0">
                        <a:pos x="78" y="147"/>
                      </a:cxn>
                      <a:cxn ang="0">
                        <a:pos x="123" y="229"/>
                      </a:cxn>
                      <a:cxn ang="0">
                        <a:pos x="45" y="208"/>
                      </a:cxn>
                      <a:cxn ang="0">
                        <a:pos x="57" y="310"/>
                      </a:cxn>
                      <a:cxn ang="0">
                        <a:pos x="39" y="415"/>
                      </a:cxn>
                    </a:cxnLst>
                    <a:rect l="0" t="0" r="r" b="b"/>
                    <a:pathLst>
                      <a:path w="188" h="521">
                        <a:moveTo>
                          <a:pt x="0" y="387"/>
                        </a:moveTo>
                        <a:cubicBezTo>
                          <a:pt x="3" y="405"/>
                          <a:pt x="5" y="416"/>
                          <a:pt x="27" y="416"/>
                        </a:cubicBezTo>
                        <a:cubicBezTo>
                          <a:pt x="65" y="521"/>
                          <a:pt x="154" y="307"/>
                          <a:pt x="159" y="275"/>
                        </a:cubicBezTo>
                        <a:cubicBezTo>
                          <a:pt x="172" y="182"/>
                          <a:pt x="185" y="98"/>
                          <a:pt x="185" y="0"/>
                        </a:cubicBezTo>
                        <a:cubicBezTo>
                          <a:pt x="188" y="10"/>
                          <a:pt x="185" y="22"/>
                          <a:pt x="184" y="32"/>
                        </a:cubicBezTo>
                        <a:cubicBezTo>
                          <a:pt x="152" y="49"/>
                          <a:pt x="115" y="43"/>
                          <a:pt x="79" y="45"/>
                        </a:cubicBezTo>
                        <a:cubicBezTo>
                          <a:pt x="72" y="81"/>
                          <a:pt x="114" y="101"/>
                          <a:pt x="145" y="101"/>
                        </a:cubicBezTo>
                        <a:cubicBezTo>
                          <a:pt x="156" y="149"/>
                          <a:pt x="126" y="176"/>
                          <a:pt x="79" y="167"/>
                        </a:cubicBezTo>
                        <a:cubicBezTo>
                          <a:pt x="78" y="160"/>
                          <a:pt x="78" y="154"/>
                          <a:pt x="78" y="147"/>
                        </a:cubicBezTo>
                        <a:cubicBezTo>
                          <a:pt x="84" y="180"/>
                          <a:pt x="120" y="198"/>
                          <a:pt x="123" y="229"/>
                        </a:cubicBezTo>
                        <a:cubicBezTo>
                          <a:pt x="86" y="236"/>
                          <a:pt x="82" y="201"/>
                          <a:pt x="45" y="208"/>
                        </a:cubicBezTo>
                        <a:cubicBezTo>
                          <a:pt x="72" y="270"/>
                          <a:pt x="99" y="239"/>
                          <a:pt x="57" y="310"/>
                        </a:cubicBezTo>
                        <a:cubicBezTo>
                          <a:pt x="37" y="345"/>
                          <a:pt x="24" y="373"/>
                          <a:pt x="39" y="4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6" name="Freeform 104"/>
                  <p:cNvSpPr>
                    <a:spLocks/>
                  </p:cNvSpPr>
                  <p:nvPr/>
                </p:nvSpPr>
                <p:spPr bwMode="gray">
                  <a:xfrm>
                    <a:off x="-3746500" y="-11974512"/>
                    <a:ext cx="715963" cy="4572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191" y="8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1" h="122">
                        <a:moveTo>
                          <a:pt x="0" y="6"/>
                        </a:moveTo>
                        <a:cubicBezTo>
                          <a:pt x="46" y="112"/>
                          <a:pt x="71" y="122"/>
                          <a:pt x="191" y="83"/>
                        </a:cubicBezTo>
                        <a:cubicBezTo>
                          <a:pt x="131" y="41"/>
                          <a:pt x="34" y="9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7" name="Freeform 105"/>
                  <p:cNvSpPr>
                    <a:spLocks/>
                  </p:cNvSpPr>
                  <p:nvPr/>
                </p:nvSpPr>
                <p:spPr bwMode="gray">
                  <a:xfrm>
                    <a:off x="798513" y="-15954375"/>
                    <a:ext cx="1109663" cy="1612900"/>
                  </a:xfrm>
                  <a:custGeom>
                    <a:avLst/>
                    <a:gdLst/>
                    <a:ahLst/>
                    <a:cxnLst>
                      <a:cxn ang="0">
                        <a:pos x="241" y="346"/>
                      </a:cxn>
                      <a:cxn ang="0">
                        <a:pos x="101" y="430"/>
                      </a:cxn>
                      <a:cxn ang="0">
                        <a:pos x="180" y="359"/>
                      </a:cxn>
                      <a:cxn ang="0">
                        <a:pos x="223" y="257"/>
                      </a:cxn>
                      <a:cxn ang="0">
                        <a:pos x="140" y="316"/>
                      </a:cxn>
                      <a:cxn ang="0">
                        <a:pos x="39" y="356"/>
                      </a:cxn>
                      <a:cxn ang="0">
                        <a:pos x="207" y="194"/>
                      </a:cxn>
                      <a:cxn ang="0">
                        <a:pos x="0" y="272"/>
                      </a:cxn>
                      <a:cxn ang="0">
                        <a:pos x="151" y="156"/>
                      </a:cxn>
                      <a:cxn ang="0">
                        <a:pos x="169" y="20"/>
                      </a:cxn>
                      <a:cxn ang="0">
                        <a:pos x="235" y="352"/>
                      </a:cxn>
                    </a:cxnLst>
                    <a:rect l="0" t="0" r="r" b="b"/>
                    <a:pathLst>
                      <a:path w="296" h="430">
                        <a:moveTo>
                          <a:pt x="241" y="346"/>
                        </a:moveTo>
                        <a:cubicBezTo>
                          <a:pt x="189" y="354"/>
                          <a:pt x="151" y="409"/>
                          <a:pt x="101" y="430"/>
                        </a:cubicBezTo>
                        <a:cubicBezTo>
                          <a:pt x="111" y="403"/>
                          <a:pt x="157" y="381"/>
                          <a:pt x="180" y="359"/>
                        </a:cubicBezTo>
                        <a:cubicBezTo>
                          <a:pt x="218" y="323"/>
                          <a:pt x="217" y="308"/>
                          <a:pt x="223" y="257"/>
                        </a:cubicBezTo>
                        <a:cubicBezTo>
                          <a:pt x="184" y="250"/>
                          <a:pt x="168" y="297"/>
                          <a:pt x="140" y="316"/>
                        </a:cubicBezTo>
                        <a:cubicBezTo>
                          <a:pt x="111" y="337"/>
                          <a:pt x="72" y="351"/>
                          <a:pt x="39" y="356"/>
                        </a:cubicBezTo>
                        <a:cubicBezTo>
                          <a:pt x="74" y="291"/>
                          <a:pt x="247" y="304"/>
                          <a:pt x="207" y="194"/>
                        </a:cubicBezTo>
                        <a:cubicBezTo>
                          <a:pt x="179" y="117"/>
                          <a:pt x="51" y="243"/>
                          <a:pt x="0" y="272"/>
                        </a:cubicBezTo>
                        <a:cubicBezTo>
                          <a:pt x="44" y="228"/>
                          <a:pt x="97" y="189"/>
                          <a:pt x="151" y="156"/>
                        </a:cubicBezTo>
                        <a:cubicBezTo>
                          <a:pt x="234" y="106"/>
                          <a:pt x="185" y="93"/>
                          <a:pt x="169" y="20"/>
                        </a:cubicBezTo>
                        <a:cubicBezTo>
                          <a:pt x="266" y="0"/>
                          <a:pt x="296" y="307"/>
                          <a:pt x="235" y="3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8" name="Freeform 106"/>
                  <p:cNvSpPr>
                    <a:spLocks/>
                  </p:cNvSpPr>
                  <p:nvPr/>
                </p:nvSpPr>
                <p:spPr bwMode="gray">
                  <a:xfrm>
                    <a:off x="-2224088" y="-12871450"/>
                    <a:ext cx="1916113" cy="985838"/>
                  </a:xfrm>
                  <a:custGeom>
                    <a:avLst/>
                    <a:gdLst/>
                    <a:ahLst/>
                    <a:cxnLst>
                      <a:cxn ang="0">
                        <a:pos x="45" y="8"/>
                      </a:cxn>
                      <a:cxn ang="0">
                        <a:pos x="249" y="97"/>
                      </a:cxn>
                      <a:cxn ang="0">
                        <a:pos x="511" y="195"/>
                      </a:cxn>
                      <a:cxn ang="0">
                        <a:pos x="394" y="176"/>
                      </a:cxn>
                      <a:cxn ang="0">
                        <a:pos x="252" y="117"/>
                      </a:cxn>
                      <a:cxn ang="0">
                        <a:pos x="0" y="3"/>
                      </a:cxn>
                    </a:cxnLst>
                    <a:rect l="0" t="0" r="r" b="b"/>
                    <a:pathLst>
                      <a:path w="511" h="263">
                        <a:moveTo>
                          <a:pt x="45" y="8"/>
                        </a:moveTo>
                        <a:cubicBezTo>
                          <a:pt x="120" y="0"/>
                          <a:pt x="186" y="70"/>
                          <a:pt x="249" y="97"/>
                        </a:cubicBezTo>
                        <a:cubicBezTo>
                          <a:pt x="327" y="130"/>
                          <a:pt x="427" y="177"/>
                          <a:pt x="511" y="195"/>
                        </a:cubicBezTo>
                        <a:cubicBezTo>
                          <a:pt x="494" y="263"/>
                          <a:pt x="420" y="190"/>
                          <a:pt x="394" y="176"/>
                        </a:cubicBezTo>
                        <a:cubicBezTo>
                          <a:pt x="349" y="152"/>
                          <a:pt x="299" y="136"/>
                          <a:pt x="252" y="117"/>
                        </a:cubicBezTo>
                        <a:cubicBezTo>
                          <a:pt x="166" y="82"/>
                          <a:pt x="61" y="69"/>
                          <a:pt x="0" y="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79" name="Freeform 107"/>
                  <p:cNvSpPr>
                    <a:spLocks/>
                  </p:cNvSpPr>
                  <p:nvPr/>
                </p:nvSpPr>
                <p:spPr bwMode="gray">
                  <a:xfrm>
                    <a:off x="-1689100" y="-16235362"/>
                    <a:ext cx="1609725" cy="784225"/>
                  </a:xfrm>
                  <a:custGeom>
                    <a:avLst/>
                    <a:gdLst/>
                    <a:ahLst/>
                    <a:cxnLst>
                      <a:cxn ang="0">
                        <a:pos x="51" y="147"/>
                      </a:cxn>
                      <a:cxn ang="0">
                        <a:pos x="46" y="209"/>
                      </a:cxn>
                      <a:cxn ang="0">
                        <a:pos x="103" y="160"/>
                      </a:cxn>
                      <a:cxn ang="0">
                        <a:pos x="178" y="177"/>
                      </a:cxn>
                      <a:cxn ang="0">
                        <a:pos x="220" y="172"/>
                      </a:cxn>
                      <a:cxn ang="0">
                        <a:pos x="254" y="161"/>
                      </a:cxn>
                      <a:cxn ang="0">
                        <a:pos x="309" y="192"/>
                      </a:cxn>
                      <a:cxn ang="0">
                        <a:pos x="309" y="122"/>
                      </a:cxn>
                      <a:cxn ang="0">
                        <a:pos x="394" y="23"/>
                      </a:cxn>
                      <a:cxn ang="0">
                        <a:pos x="262" y="71"/>
                      </a:cxn>
                      <a:cxn ang="0">
                        <a:pos x="106" y="63"/>
                      </a:cxn>
                      <a:cxn ang="0">
                        <a:pos x="14" y="54"/>
                      </a:cxn>
                      <a:cxn ang="0">
                        <a:pos x="47" y="109"/>
                      </a:cxn>
                    </a:cxnLst>
                    <a:rect l="0" t="0" r="r" b="b"/>
                    <a:pathLst>
                      <a:path w="429" h="209">
                        <a:moveTo>
                          <a:pt x="51" y="147"/>
                        </a:moveTo>
                        <a:cubicBezTo>
                          <a:pt x="51" y="168"/>
                          <a:pt x="52" y="189"/>
                          <a:pt x="46" y="209"/>
                        </a:cubicBezTo>
                        <a:cubicBezTo>
                          <a:pt x="56" y="199"/>
                          <a:pt x="91" y="163"/>
                          <a:pt x="103" y="160"/>
                        </a:cubicBezTo>
                        <a:cubicBezTo>
                          <a:pt x="123" y="156"/>
                          <a:pt x="152" y="177"/>
                          <a:pt x="178" y="177"/>
                        </a:cubicBezTo>
                        <a:cubicBezTo>
                          <a:pt x="193" y="177"/>
                          <a:pt x="206" y="175"/>
                          <a:pt x="220" y="172"/>
                        </a:cubicBezTo>
                        <a:cubicBezTo>
                          <a:pt x="224" y="172"/>
                          <a:pt x="260" y="161"/>
                          <a:pt x="254" y="161"/>
                        </a:cubicBezTo>
                        <a:cubicBezTo>
                          <a:pt x="281" y="162"/>
                          <a:pt x="280" y="184"/>
                          <a:pt x="309" y="192"/>
                        </a:cubicBezTo>
                        <a:cubicBezTo>
                          <a:pt x="308" y="169"/>
                          <a:pt x="308" y="145"/>
                          <a:pt x="309" y="122"/>
                        </a:cubicBezTo>
                        <a:cubicBezTo>
                          <a:pt x="341" y="127"/>
                          <a:pt x="429" y="56"/>
                          <a:pt x="394" y="23"/>
                        </a:cubicBezTo>
                        <a:cubicBezTo>
                          <a:pt x="369" y="0"/>
                          <a:pt x="289" y="64"/>
                          <a:pt x="262" y="71"/>
                        </a:cubicBezTo>
                        <a:cubicBezTo>
                          <a:pt x="212" y="84"/>
                          <a:pt x="153" y="86"/>
                          <a:pt x="106" y="63"/>
                        </a:cubicBezTo>
                        <a:cubicBezTo>
                          <a:pt x="86" y="53"/>
                          <a:pt x="32" y="18"/>
                          <a:pt x="14" y="54"/>
                        </a:cubicBezTo>
                        <a:cubicBezTo>
                          <a:pt x="0" y="81"/>
                          <a:pt x="33" y="99"/>
                          <a:pt x="47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0" name="Freeform 108"/>
                  <p:cNvSpPr>
                    <a:spLocks/>
                  </p:cNvSpPr>
                  <p:nvPr/>
                </p:nvSpPr>
                <p:spPr bwMode="gray">
                  <a:xfrm>
                    <a:off x="-1463675" y="-15713075"/>
                    <a:ext cx="768350" cy="2320925"/>
                  </a:xfrm>
                  <a:custGeom>
                    <a:avLst/>
                    <a:gdLst/>
                    <a:ahLst/>
                    <a:cxnLst>
                      <a:cxn ang="0">
                        <a:pos x="181" y="8"/>
                      </a:cxn>
                      <a:cxn ang="0">
                        <a:pos x="160" y="135"/>
                      </a:cxn>
                      <a:cxn ang="0">
                        <a:pos x="184" y="283"/>
                      </a:cxn>
                      <a:cxn ang="0">
                        <a:pos x="177" y="607"/>
                      </a:cxn>
                      <a:cxn ang="0">
                        <a:pos x="89" y="578"/>
                      </a:cxn>
                      <a:cxn ang="0">
                        <a:pos x="80" y="359"/>
                      </a:cxn>
                      <a:cxn ang="0">
                        <a:pos x="89" y="142"/>
                      </a:cxn>
                      <a:cxn ang="0">
                        <a:pos x="160" y="0"/>
                      </a:cxn>
                    </a:cxnLst>
                    <a:rect l="0" t="0" r="r" b="b"/>
                    <a:pathLst>
                      <a:path w="205" h="619">
                        <a:moveTo>
                          <a:pt x="181" y="8"/>
                        </a:moveTo>
                        <a:cubicBezTo>
                          <a:pt x="205" y="54"/>
                          <a:pt x="155" y="85"/>
                          <a:pt x="160" y="135"/>
                        </a:cubicBezTo>
                        <a:cubicBezTo>
                          <a:pt x="164" y="182"/>
                          <a:pt x="179" y="232"/>
                          <a:pt x="184" y="283"/>
                        </a:cubicBezTo>
                        <a:cubicBezTo>
                          <a:pt x="194" y="382"/>
                          <a:pt x="205" y="514"/>
                          <a:pt x="177" y="607"/>
                        </a:cubicBezTo>
                        <a:cubicBezTo>
                          <a:pt x="200" y="619"/>
                          <a:pt x="122" y="584"/>
                          <a:pt x="89" y="578"/>
                        </a:cubicBezTo>
                        <a:cubicBezTo>
                          <a:pt x="0" y="563"/>
                          <a:pt x="72" y="442"/>
                          <a:pt x="80" y="359"/>
                        </a:cubicBezTo>
                        <a:cubicBezTo>
                          <a:pt x="86" y="286"/>
                          <a:pt x="78" y="214"/>
                          <a:pt x="89" y="142"/>
                        </a:cubicBezTo>
                        <a:cubicBezTo>
                          <a:pt x="96" y="92"/>
                          <a:pt x="103" y="15"/>
                          <a:pt x="1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1" name="Freeform 109"/>
                  <p:cNvSpPr>
                    <a:spLocks/>
                  </p:cNvSpPr>
                  <p:nvPr/>
                </p:nvSpPr>
                <p:spPr bwMode="gray">
                  <a:xfrm>
                    <a:off x="-1673225" y="-12009437"/>
                    <a:ext cx="955675" cy="1216025"/>
                  </a:xfrm>
                  <a:custGeom>
                    <a:avLst/>
                    <a:gdLst/>
                    <a:ahLst/>
                    <a:cxnLst>
                      <a:cxn ang="0">
                        <a:pos x="26" y="291"/>
                      </a:cxn>
                      <a:cxn ang="0">
                        <a:pos x="22" y="324"/>
                      </a:cxn>
                      <a:cxn ang="0">
                        <a:pos x="203" y="218"/>
                      </a:cxn>
                      <a:cxn ang="0">
                        <a:pos x="241" y="118"/>
                      </a:cxn>
                      <a:cxn ang="0">
                        <a:pos x="249" y="1"/>
                      </a:cxn>
                      <a:cxn ang="0">
                        <a:pos x="119" y="151"/>
                      </a:cxn>
                      <a:cxn ang="0">
                        <a:pos x="0" y="308"/>
                      </a:cxn>
                    </a:cxnLst>
                    <a:rect l="0" t="0" r="r" b="b"/>
                    <a:pathLst>
                      <a:path w="255" h="324">
                        <a:moveTo>
                          <a:pt x="26" y="291"/>
                        </a:moveTo>
                        <a:cubicBezTo>
                          <a:pt x="22" y="301"/>
                          <a:pt x="23" y="314"/>
                          <a:pt x="22" y="324"/>
                        </a:cubicBezTo>
                        <a:cubicBezTo>
                          <a:pt x="74" y="321"/>
                          <a:pt x="165" y="255"/>
                          <a:pt x="203" y="218"/>
                        </a:cubicBezTo>
                        <a:cubicBezTo>
                          <a:pt x="237" y="187"/>
                          <a:pt x="239" y="163"/>
                          <a:pt x="241" y="118"/>
                        </a:cubicBezTo>
                        <a:cubicBezTo>
                          <a:pt x="243" y="81"/>
                          <a:pt x="255" y="36"/>
                          <a:pt x="249" y="1"/>
                        </a:cubicBezTo>
                        <a:cubicBezTo>
                          <a:pt x="195" y="0"/>
                          <a:pt x="144" y="111"/>
                          <a:pt x="119" y="151"/>
                        </a:cubicBezTo>
                        <a:cubicBezTo>
                          <a:pt x="83" y="207"/>
                          <a:pt x="30" y="254"/>
                          <a:pt x="0" y="3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2" name="Freeform 110"/>
                  <p:cNvSpPr>
                    <a:spLocks/>
                  </p:cNvSpPr>
                  <p:nvPr/>
                </p:nvSpPr>
                <p:spPr bwMode="gray">
                  <a:xfrm>
                    <a:off x="-593725" y="-14671675"/>
                    <a:ext cx="574675" cy="1274763"/>
                  </a:xfrm>
                  <a:custGeom>
                    <a:avLst/>
                    <a:gdLst/>
                    <a:ahLst/>
                    <a:cxnLst>
                      <a:cxn ang="0">
                        <a:pos x="101" y="300"/>
                      </a:cxn>
                      <a:cxn ang="0">
                        <a:pos x="152" y="103"/>
                      </a:cxn>
                      <a:cxn ang="0">
                        <a:pos x="59" y="250"/>
                      </a:cxn>
                      <a:cxn ang="0">
                        <a:pos x="84" y="0"/>
                      </a:cxn>
                      <a:cxn ang="0">
                        <a:pos x="5" y="332"/>
                      </a:cxn>
                      <a:cxn ang="0">
                        <a:pos x="93" y="334"/>
                      </a:cxn>
                    </a:cxnLst>
                    <a:rect l="0" t="0" r="r" b="b"/>
                    <a:pathLst>
                      <a:path w="153" h="340">
                        <a:moveTo>
                          <a:pt x="101" y="300"/>
                        </a:moveTo>
                        <a:cubicBezTo>
                          <a:pt x="98" y="233"/>
                          <a:pt x="153" y="169"/>
                          <a:pt x="152" y="103"/>
                        </a:cubicBezTo>
                        <a:cubicBezTo>
                          <a:pt x="119" y="151"/>
                          <a:pt x="76" y="194"/>
                          <a:pt x="59" y="250"/>
                        </a:cubicBezTo>
                        <a:cubicBezTo>
                          <a:pt x="59" y="196"/>
                          <a:pt x="68" y="55"/>
                          <a:pt x="84" y="0"/>
                        </a:cubicBezTo>
                        <a:cubicBezTo>
                          <a:pt x="43" y="50"/>
                          <a:pt x="0" y="290"/>
                          <a:pt x="5" y="332"/>
                        </a:cubicBezTo>
                        <a:cubicBezTo>
                          <a:pt x="52" y="340"/>
                          <a:pt x="44" y="336"/>
                          <a:pt x="93" y="33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3" name="Freeform 111"/>
                  <p:cNvSpPr>
                    <a:spLocks/>
                  </p:cNvSpPr>
                  <p:nvPr/>
                </p:nvSpPr>
                <p:spPr bwMode="gray">
                  <a:xfrm>
                    <a:off x="-1819275" y="-16100425"/>
                    <a:ext cx="1258888" cy="2697163"/>
                  </a:xfrm>
                  <a:custGeom>
                    <a:avLst/>
                    <a:gdLst/>
                    <a:ahLst/>
                    <a:cxnLst>
                      <a:cxn ang="0">
                        <a:pos x="173" y="120"/>
                      </a:cxn>
                      <a:cxn ang="0">
                        <a:pos x="146" y="37"/>
                      </a:cxn>
                      <a:cxn ang="0">
                        <a:pos x="287" y="110"/>
                      </a:cxn>
                      <a:cxn ang="0">
                        <a:pos x="246" y="222"/>
                      </a:cxn>
                      <a:cxn ang="0">
                        <a:pos x="263" y="351"/>
                      </a:cxn>
                      <a:cxn ang="0">
                        <a:pos x="269" y="650"/>
                      </a:cxn>
                      <a:cxn ang="0">
                        <a:pos x="207" y="701"/>
                      </a:cxn>
                      <a:cxn ang="0">
                        <a:pos x="89" y="672"/>
                      </a:cxn>
                      <a:cxn ang="0">
                        <a:pos x="5" y="660"/>
                      </a:cxn>
                      <a:cxn ang="0">
                        <a:pos x="44" y="362"/>
                      </a:cxn>
                      <a:cxn ang="0">
                        <a:pos x="173" y="120"/>
                      </a:cxn>
                    </a:cxnLst>
                    <a:rect l="0" t="0" r="r" b="b"/>
                    <a:pathLst>
                      <a:path w="336" h="719">
                        <a:moveTo>
                          <a:pt x="173" y="120"/>
                        </a:moveTo>
                        <a:cubicBezTo>
                          <a:pt x="153" y="99"/>
                          <a:pt x="142" y="70"/>
                          <a:pt x="146" y="37"/>
                        </a:cubicBezTo>
                        <a:cubicBezTo>
                          <a:pt x="218" y="0"/>
                          <a:pt x="336" y="3"/>
                          <a:pt x="287" y="110"/>
                        </a:cubicBezTo>
                        <a:cubicBezTo>
                          <a:pt x="268" y="154"/>
                          <a:pt x="242" y="168"/>
                          <a:pt x="246" y="222"/>
                        </a:cubicBezTo>
                        <a:cubicBezTo>
                          <a:pt x="249" y="265"/>
                          <a:pt x="263" y="304"/>
                          <a:pt x="263" y="351"/>
                        </a:cubicBezTo>
                        <a:cubicBezTo>
                          <a:pt x="263" y="452"/>
                          <a:pt x="269" y="550"/>
                          <a:pt x="269" y="650"/>
                        </a:cubicBezTo>
                        <a:cubicBezTo>
                          <a:pt x="269" y="716"/>
                          <a:pt x="265" y="719"/>
                          <a:pt x="207" y="701"/>
                        </a:cubicBezTo>
                        <a:cubicBezTo>
                          <a:pt x="168" y="688"/>
                          <a:pt x="130" y="681"/>
                          <a:pt x="89" y="672"/>
                        </a:cubicBezTo>
                        <a:cubicBezTo>
                          <a:pt x="61" y="666"/>
                          <a:pt x="34" y="663"/>
                          <a:pt x="5" y="660"/>
                        </a:cubicBezTo>
                        <a:cubicBezTo>
                          <a:pt x="0" y="563"/>
                          <a:pt x="10" y="449"/>
                          <a:pt x="44" y="362"/>
                        </a:cubicBezTo>
                        <a:cubicBezTo>
                          <a:pt x="72" y="289"/>
                          <a:pt x="189" y="204"/>
                          <a:pt x="173" y="1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4" name="Freeform 112"/>
                  <p:cNvSpPr>
                    <a:spLocks/>
                  </p:cNvSpPr>
                  <p:nvPr/>
                </p:nvSpPr>
                <p:spPr bwMode="gray">
                  <a:xfrm>
                    <a:off x="-2124075" y="-12166600"/>
                    <a:ext cx="1339850" cy="1365250"/>
                  </a:xfrm>
                  <a:custGeom>
                    <a:avLst/>
                    <a:gdLst/>
                    <a:ahLst/>
                    <a:cxnLst>
                      <a:cxn ang="0">
                        <a:pos x="66" y="53"/>
                      </a:cxn>
                      <a:cxn ang="0">
                        <a:pos x="28" y="270"/>
                      </a:cxn>
                      <a:cxn ang="0">
                        <a:pos x="121" y="364"/>
                      </a:cxn>
                      <a:cxn ang="0">
                        <a:pos x="323" y="227"/>
                      </a:cxn>
                      <a:cxn ang="0">
                        <a:pos x="343" y="0"/>
                      </a:cxn>
                      <a:cxn ang="0">
                        <a:pos x="66" y="53"/>
                      </a:cxn>
                    </a:cxnLst>
                    <a:rect l="0" t="0" r="r" b="b"/>
                    <a:pathLst>
                      <a:path w="357" h="364">
                        <a:moveTo>
                          <a:pt x="66" y="53"/>
                        </a:moveTo>
                        <a:cubicBezTo>
                          <a:pt x="73" y="113"/>
                          <a:pt x="0" y="234"/>
                          <a:pt x="28" y="270"/>
                        </a:cubicBezTo>
                        <a:cubicBezTo>
                          <a:pt x="56" y="307"/>
                          <a:pt x="103" y="349"/>
                          <a:pt x="121" y="364"/>
                        </a:cubicBezTo>
                        <a:cubicBezTo>
                          <a:pt x="121" y="364"/>
                          <a:pt x="302" y="256"/>
                          <a:pt x="323" y="227"/>
                        </a:cubicBezTo>
                        <a:cubicBezTo>
                          <a:pt x="357" y="182"/>
                          <a:pt x="346" y="58"/>
                          <a:pt x="343" y="0"/>
                        </a:cubicBezTo>
                        <a:cubicBezTo>
                          <a:pt x="241" y="17"/>
                          <a:pt x="183" y="36"/>
                          <a:pt x="66" y="5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5" name="Freeform 113"/>
                  <p:cNvSpPr>
                    <a:spLocks/>
                  </p:cNvSpPr>
                  <p:nvPr/>
                </p:nvSpPr>
                <p:spPr bwMode="gray">
                  <a:xfrm>
                    <a:off x="-1755775" y="-16681450"/>
                    <a:ext cx="633413" cy="1219200"/>
                  </a:xfrm>
                  <a:custGeom>
                    <a:avLst/>
                    <a:gdLst/>
                    <a:ahLst/>
                    <a:cxnLst>
                      <a:cxn ang="0">
                        <a:pos x="62" y="0"/>
                      </a:cxn>
                      <a:cxn ang="0">
                        <a:pos x="95" y="84"/>
                      </a:cxn>
                      <a:cxn ang="0">
                        <a:pos x="167" y="164"/>
                      </a:cxn>
                      <a:cxn ang="0">
                        <a:pos x="42" y="325"/>
                      </a:cxn>
                      <a:cxn ang="0">
                        <a:pos x="62" y="0"/>
                      </a:cxn>
                    </a:cxnLst>
                    <a:rect l="0" t="0" r="r" b="b"/>
                    <a:pathLst>
                      <a:path w="169" h="325">
                        <a:moveTo>
                          <a:pt x="62" y="0"/>
                        </a:moveTo>
                        <a:cubicBezTo>
                          <a:pt x="66" y="35"/>
                          <a:pt x="73" y="58"/>
                          <a:pt x="95" y="84"/>
                        </a:cubicBezTo>
                        <a:cubicBezTo>
                          <a:pt x="105" y="97"/>
                          <a:pt x="169" y="155"/>
                          <a:pt x="167" y="164"/>
                        </a:cubicBezTo>
                        <a:cubicBezTo>
                          <a:pt x="161" y="183"/>
                          <a:pt x="63" y="289"/>
                          <a:pt x="42" y="325"/>
                        </a:cubicBezTo>
                        <a:cubicBezTo>
                          <a:pt x="0" y="295"/>
                          <a:pt x="10" y="21"/>
                          <a:pt x="6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6" name="Freeform 114"/>
                  <p:cNvSpPr>
                    <a:spLocks/>
                  </p:cNvSpPr>
                  <p:nvPr/>
                </p:nvSpPr>
                <p:spPr bwMode="gray">
                  <a:xfrm>
                    <a:off x="-1020763" y="-16843375"/>
                    <a:ext cx="1027113" cy="1193800"/>
                  </a:xfrm>
                  <a:custGeom>
                    <a:avLst/>
                    <a:gdLst/>
                    <a:ahLst/>
                    <a:cxnLst>
                      <a:cxn ang="0">
                        <a:pos x="0" y="206"/>
                      </a:cxn>
                      <a:cxn ang="0">
                        <a:pos x="152" y="318"/>
                      </a:cxn>
                      <a:cxn ang="0">
                        <a:pos x="246" y="132"/>
                      </a:cxn>
                      <a:cxn ang="0">
                        <a:pos x="206" y="0"/>
                      </a:cxn>
                      <a:cxn ang="0">
                        <a:pos x="0" y="206"/>
                      </a:cxn>
                    </a:cxnLst>
                    <a:rect l="0" t="0" r="r" b="b"/>
                    <a:pathLst>
                      <a:path w="274" h="318">
                        <a:moveTo>
                          <a:pt x="0" y="206"/>
                        </a:moveTo>
                        <a:cubicBezTo>
                          <a:pt x="43" y="235"/>
                          <a:pt x="108" y="288"/>
                          <a:pt x="152" y="318"/>
                        </a:cubicBezTo>
                        <a:cubicBezTo>
                          <a:pt x="181" y="255"/>
                          <a:pt x="222" y="196"/>
                          <a:pt x="246" y="132"/>
                        </a:cubicBezTo>
                        <a:cubicBezTo>
                          <a:pt x="273" y="61"/>
                          <a:pt x="274" y="51"/>
                          <a:pt x="206" y="0"/>
                        </a:cubicBezTo>
                        <a:cubicBezTo>
                          <a:pt x="166" y="79"/>
                          <a:pt x="89" y="176"/>
                          <a:pt x="0" y="20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7" name="Freeform 115"/>
                  <p:cNvSpPr>
                    <a:spLocks/>
                  </p:cNvSpPr>
                  <p:nvPr/>
                </p:nvSpPr>
                <p:spPr bwMode="gray">
                  <a:xfrm>
                    <a:off x="-2689225" y="-14930437"/>
                    <a:ext cx="322263" cy="1849438"/>
                  </a:xfrm>
                  <a:custGeom>
                    <a:avLst/>
                    <a:gdLst/>
                    <a:ahLst/>
                    <a:cxnLst>
                      <a:cxn ang="0">
                        <a:pos x="84" y="355"/>
                      </a:cxn>
                      <a:cxn ang="0">
                        <a:pos x="62" y="283"/>
                      </a:cxn>
                      <a:cxn ang="0">
                        <a:pos x="56" y="186"/>
                      </a:cxn>
                      <a:cxn ang="0">
                        <a:pos x="39" y="0"/>
                      </a:cxn>
                      <a:cxn ang="0">
                        <a:pos x="28" y="298"/>
                      </a:cxn>
                      <a:cxn ang="0">
                        <a:pos x="22" y="446"/>
                      </a:cxn>
                      <a:cxn ang="0">
                        <a:pos x="79" y="349"/>
                      </a:cxn>
                    </a:cxnLst>
                    <a:rect l="0" t="0" r="r" b="b"/>
                    <a:pathLst>
                      <a:path w="86" h="493">
                        <a:moveTo>
                          <a:pt x="84" y="355"/>
                        </a:moveTo>
                        <a:cubicBezTo>
                          <a:pt x="86" y="322"/>
                          <a:pt x="68" y="310"/>
                          <a:pt x="62" y="283"/>
                        </a:cubicBezTo>
                        <a:cubicBezTo>
                          <a:pt x="57" y="259"/>
                          <a:pt x="58" y="217"/>
                          <a:pt x="56" y="186"/>
                        </a:cubicBezTo>
                        <a:cubicBezTo>
                          <a:pt x="54" y="132"/>
                          <a:pt x="72" y="37"/>
                          <a:pt x="39" y="0"/>
                        </a:cubicBezTo>
                        <a:cubicBezTo>
                          <a:pt x="6" y="91"/>
                          <a:pt x="23" y="203"/>
                          <a:pt x="28" y="298"/>
                        </a:cubicBezTo>
                        <a:cubicBezTo>
                          <a:pt x="30" y="331"/>
                          <a:pt x="0" y="422"/>
                          <a:pt x="22" y="446"/>
                        </a:cubicBezTo>
                        <a:cubicBezTo>
                          <a:pt x="64" y="493"/>
                          <a:pt x="83" y="381"/>
                          <a:pt x="79" y="34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8" name="Freeform 116"/>
                  <p:cNvSpPr>
                    <a:spLocks/>
                  </p:cNvSpPr>
                  <p:nvPr/>
                </p:nvSpPr>
                <p:spPr bwMode="gray">
                  <a:xfrm>
                    <a:off x="55563" y="-15409862"/>
                    <a:ext cx="742950" cy="1765300"/>
                  </a:xfrm>
                  <a:custGeom>
                    <a:avLst/>
                    <a:gdLst/>
                    <a:ahLst/>
                    <a:cxnLst>
                      <a:cxn ang="0">
                        <a:pos x="51" y="415"/>
                      </a:cxn>
                      <a:cxn ang="0">
                        <a:pos x="101" y="195"/>
                      </a:cxn>
                      <a:cxn ang="0">
                        <a:pos x="198" y="0"/>
                      </a:cxn>
                      <a:cxn ang="0">
                        <a:pos x="84" y="201"/>
                      </a:cxn>
                      <a:cxn ang="0">
                        <a:pos x="12" y="420"/>
                      </a:cxn>
                      <a:cxn ang="0">
                        <a:pos x="73" y="426"/>
                      </a:cxn>
                    </a:cxnLst>
                    <a:rect l="0" t="0" r="r" b="b"/>
                    <a:pathLst>
                      <a:path w="198" h="471">
                        <a:moveTo>
                          <a:pt x="51" y="415"/>
                        </a:moveTo>
                        <a:cubicBezTo>
                          <a:pt x="95" y="346"/>
                          <a:pt x="66" y="265"/>
                          <a:pt x="101" y="195"/>
                        </a:cubicBezTo>
                        <a:cubicBezTo>
                          <a:pt x="135" y="128"/>
                          <a:pt x="176" y="73"/>
                          <a:pt x="198" y="0"/>
                        </a:cubicBezTo>
                        <a:cubicBezTo>
                          <a:pt x="139" y="59"/>
                          <a:pt x="110" y="125"/>
                          <a:pt x="84" y="201"/>
                        </a:cubicBezTo>
                        <a:cubicBezTo>
                          <a:pt x="64" y="262"/>
                          <a:pt x="0" y="357"/>
                          <a:pt x="12" y="420"/>
                        </a:cubicBezTo>
                        <a:cubicBezTo>
                          <a:pt x="34" y="430"/>
                          <a:pt x="65" y="471"/>
                          <a:pt x="73" y="4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89" name="Freeform 117"/>
                  <p:cNvSpPr>
                    <a:spLocks/>
                  </p:cNvSpPr>
                  <p:nvPr/>
                </p:nvSpPr>
                <p:spPr bwMode="gray">
                  <a:xfrm>
                    <a:off x="-2835275" y="-13689012"/>
                    <a:ext cx="922338" cy="858838"/>
                  </a:xfrm>
                  <a:custGeom>
                    <a:avLst/>
                    <a:gdLst/>
                    <a:ahLst/>
                    <a:cxnLst>
                      <a:cxn ang="0">
                        <a:pos x="191" y="226"/>
                      </a:cxn>
                      <a:cxn ang="0">
                        <a:pos x="246" y="45"/>
                      </a:cxn>
                      <a:cxn ang="0">
                        <a:pos x="94" y="51"/>
                      </a:cxn>
                      <a:cxn ang="0">
                        <a:pos x="55" y="135"/>
                      </a:cxn>
                      <a:cxn ang="0">
                        <a:pos x="60" y="211"/>
                      </a:cxn>
                      <a:cxn ang="0">
                        <a:pos x="197" y="221"/>
                      </a:cxn>
                    </a:cxnLst>
                    <a:rect l="0" t="0" r="r" b="b"/>
                    <a:pathLst>
                      <a:path w="246" h="229">
                        <a:moveTo>
                          <a:pt x="191" y="226"/>
                        </a:moveTo>
                        <a:cubicBezTo>
                          <a:pt x="186" y="181"/>
                          <a:pt x="206" y="61"/>
                          <a:pt x="246" y="45"/>
                        </a:cubicBezTo>
                        <a:cubicBezTo>
                          <a:pt x="243" y="3"/>
                          <a:pt x="105" y="0"/>
                          <a:pt x="94" y="51"/>
                        </a:cubicBezTo>
                        <a:cubicBezTo>
                          <a:pt x="29" y="52"/>
                          <a:pt x="54" y="92"/>
                          <a:pt x="55" y="135"/>
                        </a:cubicBezTo>
                        <a:cubicBezTo>
                          <a:pt x="0" y="149"/>
                          <a:pt x="26" y="194"/>
                          <a:pt x="60" y="211"/>
                        </a:cubicBezTo>
                        <a:cubicBezTo>
                          <a:pt x="97" y="229"/>
                          <a:pt x="153" y="221"/>
                          <a:pt x="197" y="2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0" name="Freeform 118"/>
                  <p:cNvSpPr>
                    <a:spLocks/>
                  </p:cNvSpPr>
                  <p:nvPr/>
                </p:nvSpPr>
                <p:spPr bwMode="gray">
                  <a:xfrm>
                    <a:off x="-387350" y="-13857287"/>
                    <a:ext cx="649288" cy="449263"/>
                  </a:xfrm>
                  <a:custGeom>
                    <a:avLst/>
                    <a:gdLst/>
                    <a:ahLst/>
                    <a:cxnLst>
                      <a:cxn ang="0">
                        <a:pos x="17" y="119"/>
                      </a:cxn>
                      <a:cxn ang="0">
                        <a:pos x="173" y="102"/>
                      </a:cxn>
                      <a:cxn ang="0">
                        <a:pos x="162" y="7"/>
                      </a:cxn>
                      <a:cxn ang="0">
                        <a:pos x="74" y="36"/>
                      </a:cxn>
                      <a:cxn ang="0">
                        <a:pos x="0" y="114"/>
                      </a:cxn>
                    </a:cxnLst>
                    <a:rect l="0" t="0" r="r" b="b"/>
                    <a:pathLst>
                      <a:path w="173" h="120">
                        <a:moveTo>
                          <a:pt x="17" y="119"/>
                        </a:moveTo>
                        <a:cubicBezTo>
                          <a:pt x="67" y="120"/>
                          <a:pt x="119" y="104"/>
                          <a:pt x="173" y="102"/>
                        </a:cubicBezTo>
                        <a:cubicBezTo>
                          <a:pt x="170" y="72"/>
                          <a:pt x="171" y="37"/>
                          <a:pt x="162" y="7"/>
                        </a:cubicBezTo>
                        <a:cubicBezTo>
                          <a:pt x="108" y="3"/>
                          <a:pt x="110" y="0"/>
                          <a:pt x="74" y="36"/>
                        </a:cubicBezTo>
                        <a:cubicBezTo>
                          <a:pt x="53" y="57"/>
                          <a:pt x="19" y="88"/>
                          <a:pt x="0" y="1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1" name="Freeform 119"/>
                  <p:cNvSpPr>
                    <a:spLocks/>
                  </p:cNvSpPr>
                  <p:nvPr/>
                </p:nvSpPr>
                <p:spPr bwMode="gray">
                  <a:xfrm>
                    <a:off x="-2798763" y="-13155612"/>
                    <a:ext cx="742950" cy="355600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95" y="65"/>
                      </a:cxn>
                      <a:cxn ang="0">
                        <a:pos x="162" y="65"/>
                      </a:cxn>
                      <a:cxn ang="0">
                        <a:pos x="183" y="26"/>
                      </a:cxn>
                      <a:cxn ang="0">
                        <a:pos x="177" y="86"/>
                      </a:cxn>
                      <a:cxn ang="0">
                        <a:pos x="32" y="59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198" h="95">
                        <a:moveTo>
                          <a:pt x="27" y="0"/>
                        </a:moveTo>
                        <a:cubicBezTo>
                          <a:pt x="14" y="38"/>
                          <a:pt x="64" y="59"/>
                          <a:pt x="95" y="65"/>
                        </a:cubicBezTo>
                        <a:cubicBezTo>
                          <a:pt x="111" y="67"/>
                          <a:pt x="147" y="70"/>
                          <a:pt x="162" y="65"/>
                        </a:cubicBezTo>
                        <a:cubicBezTo>
                          <a:pt x="179" y="58"/>
                          <a:pt x="180" y="41"/>
                          <a:pt x="183" y="26"/>
                        </a:cubicBezTo>
                        <a:cubicBezTo>
                          <a:pt x="185" y="52"/>
                          <a:pt x="198" y="77"/>
                          <a:pt x="177" y="86"/>
                        </a:cubicBezTo>
                        <a:cubicBezTo>
                          <a:pt x="157" y="95"/>
                          <a:pt x="55" y="79"/>
                          <a:pt x="32" y="59"/>
                        </a:cubicBezTo>
                        <a:cubicBezTo>
                          <a:pt x="18" y="45"/>
                          <a:pt x="0" y="16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2" name="Freeform 120"/>
                  <p:cNvSpPr>
                    <a:spLocks/>
                  </p:cNvSpPr>
                  <p:nvPr/>
                </p:nvSpPr>
                <p:spPr bwMode="gray">
                  <a:xfrm>
                    <a:off x="-304800" y="-13796962"/>
                    <a:ext cx="581025" cy="446088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97" y="79"/>
                      </a:cxn>
                      <a:cxn ang="0">
                        <a:pos x="0" y="106"/>
                      </a:cxn>
                      <a:cxn ang="0">
                        <a:pos x="66" y="107"/>
                      </a:cxn>
                      <a:cxn ang="0">
                        <a:pos x="125" y="95"/>
                      </a:cxn>
                      <a:cxn ang="0">
                        <a:pos x="151" y="56"/>
                      </a:cxn>
                      <a:cxn ang="0">
                        <a:pos x="139" y="0"/>
                      </a:cxn>
                    </a:cxnLst>
                    <a:rect l="0" t="0" r="r" b="b"/>
                    <a:pathLst>
                      <a:path w="155" h="119">
                        <a:moveTo>
                          <a:pt x="134" y="0"/>
                        </a:moveTo>
                        <a:cubicBezTo>
                          <a:pt x="134" y="41"/>
                          <a:pt x="139" y="64"/>
                          <a:pt x="97" y="79"/>
                        </a:cubicBezTo>
                        <a:cubicBezTo>
                          <a:pt x="68" y="88"/>
                          <a:pt x="23" y="82"/>
                          <a:pt x="0" y="106"/>
                        </a:cubicBezTo>
                        <a:cubicBezTo>
                          <a:pt x="16" y="119"/>
                          <a:pt x="48" y="113"/>
                          <a:pt x="66" y="107"/>
                        </a:cubicBezTo>
                        <a:cubicBezTo>
                          <a:pt x="88" y="101"/>
                          <a:pt x="102" y="99"/>
                          <a:pt x="125" y="95"/>
                        </a:cubicBezTo>
                        <a:cubicBezTo>
                          <a:pt x="155" y="91"/>
                          <a:pt x="154" y="85"/>
                          <a:pt x="151" y="56"/>
                        </a:cubicBezTo>
                        <a:cubicBezTo>
                          <a:pt x="149" y="37"/>
                          <a:pt x="149" y="13"/>
                          <a:pt x="13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3" name="Freeform 121"/>
                  <p:cNvSpPr>
                    <a:spLocks/>
                  </p:cNvSpPr>
                  <p:nvPr/>
                </p:nvSpPr>
                <p:spPr bwMode="gray">
                  <a:xfrm>
                    <a:off x="-1882775" y="-12166600"/>
                    <a:ext cx="1046163" cy="322263"/>
                  </a:xfrm>
                  <a:custGeom>
                    <a:avLst/>
                    <a:gdLst/>
                    <a:ahLst/>
                    <a:cxnLst>
                      <a:cxn ang="0">
                        <a:pos x="3" y="53"/>
                      </a:cxn>
                      <a:cxn ang="0">
                        <a:pos x="0" y="84"/>
                      </a:cxn>
                      <a:cxn ang="0">
                        <a:pos x="160" y="64"/>
                      </a:cxn>
                      <a:cxn ang="0">
                        <a:pos x="239" y="50"/>
                      </a:cxn>
                      <a:cxn ang="0">
                        <a:pos x="278" y="3"/>
                      </a:cxn>
                      <a:cxn ang="0">
                        <a:pos x="141" y="22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279" h="86">
                        <a:moveTo>
                          <a:pt x="3" y="53"/>
                        </a:moveTo>
                        <a:cubicBezTo>
                          <a:pt x="4" y="64"/>
                          <a:pt x="2" y="75"/>
                          <a:pt x="0" y="84"/>
                        </a:cubicBezTo>
                        <a:cubicBezTo>
                          <a:pt x="53" y="86"/>
                          <a:pt x="113" y="82"/>
                          <a:pt x="160" y="64"/>
                        </a:cubicBezTo>
                        <a:cubicBezTo>
                          <a:pt x="187" y="53"/>
                          <a:pt x="208" y="55"/>
                          <a:pt x="239" y="50"/>
                        </a:cubicBezTo>
                        <a:cubicBezTo>
                          <a:pt x="274" y="45"/>
                          <a:pt x="279" y="39"/>
                          <a:pt x="278" y="3"/>
                        </a:cubicBezTo>
                        <a:cubicBezTo>
                          <a:pt x="229" y="0"/>
                          <a:pt x="186" y="13"/>
                          <a:pt x="141" y="22"/>
                        </a:cubicBezTo>
                        <a:cubicBezTo>
                          <a:pt x="95" y="32"/>
                          <a:pt x="46" y="37"/>
                          <a:pt x="0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4" name="Freeform 122"/>
                  <p:cNvSpPr>
                    <a:spLocks/>
                  </p:cNvSpPr>
                  <p:nvPr/>
                </p:nvSpPr>
                <p:spPr bwMode="gray">
                  <a:xfrm>
                    <a:off x="-1695450" y="-7954962"/>
                    <a:ext cx="2128838" cy="3386138"/>
                  </a:xfrm>
                  <a:custGeom>
                    <a:avLst/>
                    <a:gdLst/>
                    <a:ahLst/>
                    <a:cxnLst>
                      <a:cxn ang="0">
                        <a:pos x="133" y="38"/>
                      </a:cxn>
                      <a:cxn ang="0">
                        <a:pos x="301" y="292"/>
                      </a:cxn>
                      <a:cxn ang="0">
                        <a:pos x="568" y="540"/>
                      </a:cxn>
                      <a:cxn ang="0">
                        <a:pos x="508" y="490"/>
                      </a:cxn>
                      <a:cxn ang="0">
                        <a:pos x="430" y="429"/>
                      </a:cxn>
                      <a:cxn ang="0">
                        <a:pos x="319" y="372"/>
                      </a:cxn>
                      <a:cxn ang="0">
                        <a:pos x="373" y="448"/>
                      </a:cxn>
                      <a:cxn ang="0">
                        <a:pos x="415" y="515"/>
                      </a:cxn>
                      <a:cxn ang="0">
                        <a:pos x="513" y="648"/>
                      </a:cxn>
                      <a:cxn ang="0">
                        <a:pos x="375" y="524"/>
                      </a:cxn>
                      <a:cxn ang="0">
                        <a:pos x="430" y="653"/>
                      </a:cxn>
                      <a:cxn ang="0">
                        <a:pos x="478" y="768"/>
                      </a:cxn>
                      <a:cxn ang="0">
                        <a:pos x="388" y="646"/>
                      </a:cxn>
                      <a:cxn ang="0">
                        <a:pos x="332" y="541"/>
                      </a:cxn>
                      <a:cxn ang="0">
                        <a:pos x="252" y="296"/>
                      </a:cxn>
                      <a:cxn ang="0">
                        <a:pos x="257" y="642"/>
                      </a:cxn>
                      <a:cxn ang="0">
                        <a:pos x="208" y="718"/>
                      </a:cxn>
                      <a:cxn ang="0">
                        <a:pos x="175" y="781"/>
                      </a:cxn>
                      <a:cxn ang="0">
                        <a:pos x="41" y="903"/>
                      </a:cxn>
                      <a:cxn ang="0">
                        <a:pos x="99" y="803"/>
                      </a:cxn>
                      <a:cxn ang="0">
                        <a:pos x="10" y="736"/>
                      </a:cxn>
                      <a:cxn ang="0">
                        <a:pos x="87" y="642"/>
                      </a:cxn>
                      <a:cxn ang="0">
                        <a:pos x="71" y="498"/>
                      </a:cxn>
                      <a:cxn ang="0">
                        <a:pos x="54" y="334"/>
                      </a:cxn>
                      <a:cxn ang="0">
                        <a:pos x="112" y="489"/>
                      </a:cxn>
                      <a:cxn ang="0">
                        <a:pos x="167" y="363"/>
                      </a:cxn>
                      <a:cxn ang="0">
                        <a:pos x="151" y="172"/>
                      </a:cxn>
                      <a:cxn ang="0">
                        <a:pos x="117" y="0"/>
                      </a:cxn>
                      <a:cxn ang="0">
                        <a:pos x="129" y="42"/>
                      </a:cxn>
                    </a:cxnLst>
                    <a:rect l="0" t="0" r="r" b="b"/>
                    <a:pathLst>
                      <a:path w="568" h="903">
                        <a:moveTo>
                          <a:pt x="133" y="38"/>
                        </a:moveTo>
                        <a:cubicBezTo>
                          <a:pt x="146" y="122"/>
                          <a:pt x="232" y="241"/>
                          <a:pt x="301" y="292"/>
                        </a:cubicBezTo>
                        <a:cubicBezTo>
                          <a:pt x="401" y="367"/>
                          <a:pt x="496" y="440"/>
                          <a:pt x="568" y="540"/>
                        </a:cubicBezTo>
                        <a:cubicBezTo>
                          <a:pt x="537" y="529"/>
                          <a:pt x="530" y="512"/>
                          <a:pt x="508" y="490"/>
                        </a:cubicBezTo>
                        <a:cubicBezTo>
                          <a:pt x="486" y="467"/>
                          <a:pt x="454" y="454"/>
                          <a:pt x="430" y="429"/>
                        </a:cubicBezTo>
                        <a:cubicBezTo>
                          <a:pt x="415" y="414"/>
                          <a:pt x="325" y="293"/>
                          <a:pt x="319" y="372"/>
                        </a:cubicBezTo>
                        <a:cubicBezTo>
                          <a:pt x="316" y="408"/>
                          <a:pt x="352" y="428"/>
                          <a:pt x="373" y="448"/>
                        </a:cubicBezTo>
                        <a:cubicBezTo>
                          <a:pt x="394" y="468"/>
                          <a:pt x="400" y="487"/>
                          <a:pt x="415" y="515"/>
                        </a:cubicBezTo>
                        <a:cubicBezTo>
                          <a:pt x="439" y="560"/>
                          <a:pt x="478" y="604"/>
                          <a:pt x="513" y="648"/>
                        </a:cubicBezTo>
                        <a:cubicBezTo>
                          <a:pt x="464" y="628"/>
                          <a:pt x="411" y="567"/>
                          <a:pt x="375" y="524"/>
                        </a:cubicBezTo>
                        <a:cubicBezTo>
                          <a:pt x="370" y="573"/>
                          <a:pt x="407" y="615"/>
                          <a:pt x="430" y="653"/>
                        </a:cubicBezTo>
                        <a:cubicBezTo>
                          <a:pt x="452" y="690"/>
                          <a:pt x="456" y="733"/>
                          <a:pt x="478" y="768"/>
                        </a:cubicBezTo>
                        <a:cubicBezTo>
                          <a:pt x="430" y="762"/>
                          <a:pt x="407" y="682"/>
                          <a:pt x="388" y="646"/>
                        </a:cubicBezTo>
                        <a:cubicBezTo>
                          <a:pt x="365" y="606"/>
                          <a:pt x="341" y="586"/>
                          <a:pt x="332" y="541"/>
                        </a:cubicBezTo>
                        <a:cubicBezTo>
                          <a:pt x="313" y="451"/>
                          <a:pt x="310" y="365"/>
                          <a:pt x="252" y="296"/>
                        </a:cubicBezTo>
                        <a:cubicBezTo>
                          <a:pt x="268" y="402"/>
                          <a:pt x="308" y="535"/>
                          <a:pt x="257" y="642"/>
                        </a:cubicBezTo>
                        <a:cubicBezTo>
                          <a:pt x="242" y="672"/>
                          <a:pt x="229" y="692"/>
                          <a:pt x="208" y="718"/>
                        </a:cubicBezTo>
                        <a:cubicBezTo>
                          <a:pt x="189" y="742"/>
                          <a:pt x="189" y="756"/>
                          <a:pt x="175" y="781"/>
                        </a:cubicBezTo>
                        <a:cubicBezTo>
                          <a:pt x="156" y="818"/>
                          <a:pt x="83" y="902"/>
                          <a:pt x="41" y="903"/>
                        </a:cubicBezTo>
                        <a:cubicBezTo>
                          <a:pt x="55" y="863"/>
                          <a:pt x="107" y="862"/>
                          <a:pt x="99" y="803"/>
                        </a:cubicBezTo>
                        <a:cubicBezTo>
                          <a:pt x="61" y="803"/>
                          <a:pt x="17" y="776"/>
                          <a:pt x="10" y="736"/>
                        </a:cubicBezTo>
                        <a:cubicBezTo>
                          <a:pt x="0" y="684"/>
                          <a:pt x="63" y="680"/>
                          <a:pt x="87" y="642"/>
                        </a:cubicBezTo>
                        <a:cubicBezTo>
                          <a:pt x="115" y="596"/>
                          <a:pt x="88" y="545"/>
                          <a:pt x="71" y="498"/>
                        </a:cubicBezTo>
                        <a:cubicBezTo>
                          <a:pt x="51" y="445"/>
                          <a:pt x="50" y="392"/>
                          <a:pt x="54" y="334"/>
                        </a:cubicBezTo>
                        <a:cubicBezTo>
                          <a:pt x="95" y="325"/>
                          <a:pt x="87" y="460"/>
                          <a:pt x="112" y="489"/>
                        </a:cubicBezTo>
                        <a:cubicBezTo>
                          <a:pt x="166" y="551"/>
                          <a:pt x="167" y="403"/>
                          <a:pt x="167" y="363"/>
                        </a:cubicBezTo>
                        <a:cubicBezTo>
                          <a:pt x="168" y="296"/>
                          <a:pt x="170" y="232"/>
                          <a:pt x="151" y="172"/>
                        </a:cubicBezTo>
                        <a:cubicBezTo>
                          <a:pt x="134" y="120"/>
                          <a:pt x="115" y="56"/>
                          <a:pt x="117" y="0"/>
                        </a:cubicBezTo>
                        <a:cubicBezTo>
                          <a:pt x="121" y="11"/>
                          <a:pt x="126" y="29"/>
                          <a:pt x="129" y="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5" name="Freeform 123"/>
                  <p:cNvSpPr>
                    <a:spLocks/>
                  </p:cNvSpPr>
                  <p:nvPr/>
                </p:nvSpPr>
                <p:spPr bwMode="gray">
                  <a:xfrm>
                    <a:off x="-1717675" y="-1122362"/>
                    <a:ext cx="854075" cy="655638"/>
                  </a:xfrm>
                  <a:custGeom>
                    <a:avLst/>
                    <a:gdLst/>
                    <a:ahLst/>
                    <a:cxnLst>
                      <a:cxn ang="0">
                        <a:pos x="228" y="175"/>
                      </a:cxn>
                      <a:cxn ang="0">
                        <a:pos x="130" y="75"/>
                      </a:cxn>
                      <a:cxn ang="0">
                        <a:pos x="0" y="0"/>
                      </a:cxn>
                      <a:cxn ang="0">
                        <a:pos x="54" y="54"/>
                      </a:cxn>
                      <a:cxn ang="0">
                        <a:pos x="60" y="137"/>
                      </a:cxn>
                      <a:cxn ang="0">
                        <a:pos x="152" y="137"/>
                      </a:cxn>
                      <a:cxn ang="0">
                        <a:pos x="228" y="167"/>
                      </a:cxn>
                    </a:cxnLst>
                    <a:rect l="0" t="0" r="r" b="b"/>
                    <a:pathLst>
                      <a:path w="228" h="175">
                        <a:moveTo>
                          <a:pt x="228" y="175"/>
                        </a:moveTo>
                        <a:cubicBezTo>
                          <a:pt x="209" y="136"/>
                          <a:pt x="165" y="105"/>
                          <a:pt x="130" y="75"/>
                        </a:cubicBezTo>
                        <a:cubicBezTo>
                          <a:pt x="90" y="42"/>
                          <a:pt x="34" y="30"/>
                          <a:pt x="0" y="0"/>
                        </a:cubicBezTo>
                        <a:cubicBezTo>
                          <a:pt x="4" y="32"/>
                          <a:pt x="37" y="32"/>
                          <a:pt x="54" y="54"/>
                        </a:cubicBezTo>
                        <a:cubicBezTo>
                          <a:pt x="72" y="77"/>
                          <a:pt x="70" y="113"/>
                          <a:pt x="60" y="137"/>
                        </a:cubicBezTo>
                        <a:cubicBezTo>
                          <a:pt x="90" y="149"/>
                          <a:pt x="120" y="134"/>
                          <a:pt x="152" y="137"/>
                        </a:cubicBezTo>
                        <a:cubicBezTo>
                          <a:pt x="180" y="141"/>
                          <a:pt x="203" y="157"/>
                          <a:pt x="228" y="1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6" name="Freeform 124"/>
                  <p:cNvSpPr>
                    <a:spLocks/>
                  </p:cNvSpPr>
                  <p:nvPr/>
                </p:nvSpPr>
                <p:spPr bwMode="gray">
                  <a:xfrm>
                    <a:off x="-87313" y="-639762"/>
                    <a:ext cx="1308100" cy="571500"/>
                  </a:xfrm>
                  <a:custGeom>
                    <a:avLst/>
                    <a:gdLst/>
                    <a:ahLst/>
                    <a:cxnLst>
                      <a:cxn ang="0">
                        <a:pos x="42" y="122"/>
                      </a:cxn>
                      <a:cxn ang="0">
                        <a:pos x="232" y="0"/>
                      </a:cxn>
                      <a:cxn ang="0">
                        <a:pos x="324" y="43"/>
                      </a:cxn>
                      <a:cxn ang="0">
                        <a:pos x="309" y="147"/>
                      </a:cxn>
                      <a:cxn ang="0">
                        <a:pos x="271" y="66"/>
                      </a:cxn>
                      <a:cxn ang="0">
                        <a:pos x="186" y="56"/>
                      </a:cxn>
                      <a:cxn ang="0">
                        <a:pos x="93" y="89"/>
                      </a:cxn>
                      <a:cxn ang="0">
                        <a:pos x="0" y="152"/>
                      </a:cxn>
                    </a:cxnLst>
                    <a:rect l="0" t="0" r="r" b="b"/>
                    <a:pathLst>
                      <a:path w="349" h="152">
                        <a:moveTo>
                          <a:pt x="42" y="122"/>
                        </a:moveTo>
                        <a:cubicBezTo>
                          <a:pt x="99" y="79"/>
                          <a:pt x="159" y="0"/>
                          <a:pt x="232" y="0"/>
                        </a:cubicBezTo>
                        <a:cubicBezTo>
                          <a:pt x="263" y="0"/>
                          <a:pt x="304" y="17"/>
                          <a:pt x="324" y="43"/>
                        </a:cubicBezTo>
                        <a:cubicBezTo>
                          <a:pt x="344" y="70"/>
                          <a:pt x="349" y="138"/>
                          <a:pt x="309" y="147"/>
                        </a:cubicBezTo>
                        <a:cubicBezTo>
                          <a:pt x="303" y="117"/>
                          <a:pt x="295" y="86"/>
                          <a:pt x="271" y="66"/>
                        </a:cubicBezTo>
                        <a:cubicBezTo>
                          <a:pt x="239" y="41"/>
                          <a:pt x="220" y="47"/>
                          <a:pt x="186" y="56"/>
                        </a:cubicBezTo>
                        <a:cubicBezTo>
                          <a:pt x="152" y="65"/>
                          <a:pt x="122" y="71"/>
                          <a:pt x="93" y="89"/>
                        </a:cubicBezTo>
                        <a:cubicBezTo>
                          <a:pt x="62" y="107"/>
                          <a:pt x="34" y="141"/>
                          <a:pt x="0" y="1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7" name="Freeform 125"/>
                  <p:cNvSpPr>
                    <a:spLocks/>
                  </p:cNvSpPr>
                  <p:nvPr/>
                </p:nvSpPr>
                <p:spPr bwMode="gray">
                  <a:xfrm>
                    <a:off x="-2501900" y="-6432550"/>
                    <a:ext cx="2092325" cy="4953000"/>
                  </a:xfrm>
                  <a:custGeom>
                    <a:avLst/>
                    <a:gdLst/>
                    <a:ahLst/>
                    <a:cxnLst>
                      <a:cxn ang="0">
                        <a:pos x="542" y="1169"/>
                      </a:cxn>
                      <a:cxn ang="0">
                        <a:pos x="541" y="1266"/>
                      </a:cxn>
                      <a:cxn ang="0">
                        <a:pos x="455" y="1312"/>
                      </a:cxn>
                      <a:cxn ang="0">
                        <a:pos x="398" y="1245"/>
                      </a:cxn>
                      <a:cxn ang="0">
                        <a:pos x="336" y="1160"/>
                      </a:cxn>
                      <a:cxn ang="0">
                        <a:pos x="233" y="990"/>
                      </a:cxn>
                      <a:cxn ang="0">
                        <a:pos x="155" y="793"/>
                      </a:cxn>
                      <a:cxn ang="0">
                        <a:pos x="27" y="404"/>
                      </a:cxn>
                      <a:cxn ang="0">
                        <a:pos x="23" y="185"/>
                      </a:cxn>
                      <a:cxn ang="0">
                        <a:pos x="6" y="0"/>
                      </a:cxn>
                      <a:cxn ang="0">
                        <a:pos x="10" y="170"/>
                      </a:cxn>
                      <a:cxn ang="0">
                        <a:pos x="44" y="346"/>
                      </a:cxn>
                      <a:cxn ang="0">
                        <a:pos x="106" y="591"/>
                      </a:cxn>
                      <a:cxn ang="0">
                        <a:pos x="276" y="1025"/>
                      </a:cxn>
                      <a:cxn ang="0">
                        <a:pos x="386" y="1213"/>
                      </a:cxn>
                      <a:cxn ang="0">
                        <a:pos x="482" y="1240"/>
                      </a:cxn>
                      <a:cxn ang="0">
                        <a:pos x="530" y="1148"/>
                      </a:cxn>
                    </a:cxnLst>
                    <a:rect l="0" t="0" r="r" b="b"/>
                    <a:pathLst>
                      <a:path w="558" h="1321">
                        <a:moveTo>
                          <a:pt x="542" y="1169"/>
                        </a:moveTo>
                        <a:cubicBezTo>
                          <a:pt x="558" y="1191"/>
                          <a:pt x="555" y="1242"/>
                          <a:pt x="541" y="1266"/>
                        </a:cubicBezTo>
                        <a:cubicBezTo>
                          <a:pt x="530" y="1287"/>
                          <a:pt x="479" y="1321"/>
                          <a:pt x="455" y="1312"/>
                        </a:cubicBezTo>
                        <a:cubicBezTo>
                          <a:pt x="444" y="1308"/>
                          <a:pt x="405" y="1254"/>
                          <a:pt x="398" y="1245"/>
                        </a:cubicBezTo>
                        <a:cubicBezTo>
                          <a:pt x="377" y="1220"/>
                          <a:pt x="353" y="1189"/>
                          <a:pt x="336" y="1160"/>
                        </a:cubicBezTo>
                        <a:cubicBezTo>
                          <a:pt x="303" y="1104"/>
                          <a:pt x="260" y="1050"/>
                          <a:pt x="233" y="990"/>
                        </a:cubicBezTo>
                        <a:cubicBezTo>
                          <a:pt x="205" y="927"/>
                          <a:pt x="177" y="855"/>
                          <a:pt x="155" y="793"/>
                        </a:cubicBezTo>
                        <a:cubicBezTo>
                          <a:pt x="111" y="667"/>
                          <a:pt x="41" y="541"/>
                          <a:pt x="27" y="404"/>
                        </a:cubicBezTo>
                        <a:cubicBezTo>
                          <a:pt x="20" y="326"/>
                          <a:pt x="43" y="261"/>
                          <a:pt x="23" y="185"/>
                        </a:cubicBezTo>
                        <a:cubicBezTo>
                          <a:pt x="6" y="123"/>
                          <a:pt x="0" y="66"/>
                          <a:pt x="6" y="0"/>
                        </a:cubicBezTo>
                        <a:cubicBezTo>
                          <a:pt x="6" y="58"/>
                          <a:pt x="11" y="114"/>
                          <a:pt x="10" y="170"/>
                        </a:cubicBezTo>
                        <a:cubicBezTo>
                          <a:pt x="10" y="236"/>
                          <a:pt x="29" y="286"/>
                          <a:pt x="44" y="346"/>
                        </a:cubicBezTo>
                        <a:cubicBezTo>
                          <a:pt x="65" y="427"/>
                          <a:pt x="79" y="511"/>
                          <a:pt x="106" y="591"/>
                        </a:cubicBezTo>
                        <a:cubicBezTo>
                          <a:pt x="157" y="739"/>
                          <a:pt x="225" y="885"/>
                          <a:pt x="276" y="1025"/>
                        </a:cubicBezTo>
                        <a:cubicBezTo>
                          <a:pt x="306" y="1106"/>
                          <a:pt x="317" y="1165"/>
                          <a:pt x="386" y="1213"/>
                        </a:cubicBezTo>
                        <a:cubicBezTo>
                          <a:pt x="412" y="1230"/>
                          <a:pt x="449" y="1254"/>
                          <a:pt x="482" y="1240"/>
                        </a:cubicBezTo>
                        <a:cubicBezTo>
                          <a:pt x="523" y="1224"/>
                          <a:pt x="518" y="1182"/>
                          <a:pt x="530" y="11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8" name="Freeform 126"/>
                  <p:cNvSpPr>
                    <a:spLocks/>
                  </p:cNvSpPr>
                  <p:nvPr/>
                </p:nvSpPr>
                <p:spPr bwMode="gray">
                  <a:xfrm>
                    <a:off x="-1466850" y="-1479550"/>
                    <a:ext cx="854075" cy="693738"/>
                  </a:xfrm>
                  <a:custGeom>
                    <a:avLst/>
                    <a:gdLst/>
                    <a:ahLst/>
                    <a:cxnLst>
                      <a:cxn ang="0">
                        <a:pos x="13" y="30"/>
                      </a:cxn>
                      <a:cxn ang="0">
                        <a:pos x="228" y="181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28" h="185">
                        <a:moveTo>
                          <a:pt x="13" y="30"/>
                        </a:moveTo>
                        <a:cubicBezTo>
                          <a:pt x="80" y="65"/>
                          <a:pt x="145" y="185"/>
                          <a:pt x="228" y="181"/>
                        </a:cubicBezTo>
                        <a:cubicBezTo>
                          <a:pt x="216" y="68"/>
                          <a:pt x="79" y="3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399" name="Freeform 127"/>
                  <p:cNvSpPr>
                    <a:spLocks/>
                  </p:cNvSpPr>
                  <p:nvPr/>
                </p:nvSpPr>
                <p:spPr bwMode="gray">
                  <a:xfrm>
                    <a:off x="-1069975" y="-7924800"/>
                    <a:ext cx="1316038" cy="647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56" y="77"/>
                      </a:cxn>
                      <a:cxn ang="0">
                        <a:pos x="351" y="12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51" h="173">
                        <a:moveTo>
                          <a:pt x="4" y="0"/>
                        </a:moveTo>
                        <a:cubicBezTo>
                          <a:pt x="61" y="17"/>
                          <a:pt x="98" y="62"/>
                          <a:pt x="156" y="77"/>
                        </a:cubicBezTo>
                        <a:cubicBezTo>
                          <a:pt x="212" y="92"/>
                          <a:pt x="304" y="90"/>
                          <a:pt x="351" y="123"/>
                        </a:cubicBezTo>
                        <a:cubicBezTo>
                          <a:pt x="231" y="173"/>
                          <a:pt x="90" y="6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0" name="Freeform 128"/>
                  <p:cNvSpPr>
                    <a:spLocks/>
                  </p:cNvSpPr>
                  <p:nvPr/>
                </p:nvSpPr>
                <p:spPr bwMode="gray">
                  <a:xfrm>
                    <a:off x="22225" y="-1809750"/>
                    <a:ext cx="441325" cy="627063"/>
                  </a:xfrm>
                  <a:custGeom>
                    <a:avLst/>
                    <a:gdLst/>
                    <a:ahLst/>
                    <a:cxnLst>
                      <a:cxn ang="0">
                        <a:pos x="5" y="71"/>
                      </a:cxn>
                      <a:cxn ang="0">
                        <a:pos x="97" y="4"/>
                      </a:cxn>
                      <a:cxn ang="0">
                        <a:pos x="25" y="167"/>
                      </a:cxn>
                      <a:cxn ang="0">
                        <a:pos x="46" y="64"/>
                      </a:cxn>
                      <a:cxn ang="0">
                        <a:pos x="0" y="80"/>
                      </a:cxn>
                    </a:cxnLst>
                    <a:rect l="0" t="0" r="r" b="b"/>
                    <a:pathLst>
                      <a:path w="118" h="167">
                        <a:moveTo>
                          <a:pt x="5" y="71"/>
                        </a:moveTo>
                        <a:cubicBezTo>
                          <a:pt x="22" y="46"/>
                          <a:pt x="63" y="0"/>
                          <a:pt x="97" y="4"/>
                        </a:cubicBezTo>
                        <a:cubicBezTo>
                          <a:pt x="118" y="70"/>
                          <a:pt x="64" y="119"/>
                          <a:pt x="25" y="167"/>
                        </a:cubicBezTo>
                        <a:cubicBezTo>
                          <a:pt x="38" y="136"/>
                          <a:pt x="85" y="96"/>
                          <a:pt x="46" y="64"/>
                        </a:cubicBezTo>
                        <a:cubicBezTo>
                          <a:pt x="27" y="58"/>
                          <a:pt x="9" y="63"/>
                          <a:pt x="0" y="8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1" name="Freeform 129"/>
                  <p:cNvSpPr>
                    <a:spLocks/>
                  </p:cNvSpPr>
                  <p:nvPr/>
                </p:nvSpPr>
                <p:spPr bwMode="gray">
                  <a:xfrm>
                    <a:off x="969963" y="-4073525"/>
                    <a:ext cx="304800" cy="2241550"/>
                  </a:xfrm>
                  <a:custGeom>
                    <a:avLst/>
                    <a:gdLst/>
                    <a:ahLst/>
                    <a:cxnLst>
                      <a:cxn ang="0">
                        <a:pos x="26" y="17"/>
                      </a:cxn>
                      <a:cxn ang="0">
                        <a:pos x="5" y="295"/>
                      </a:cxn>
                      <a:cxn ang="0">
                        <a:pos x="9" y="460"/>
                      </a:cxn>
                      <a:cxn ang="0">
                        <a:pos x="18" y="598"/>
                      </a:cxn>
                      <a:cxn ang="0">
                        <a:pos x="64" y="309"/>
                      </a:cxn>
                      <a:cxn ang="0">
                        <a:pos x="26" y="0"/>
                      </a:cxn>
                    </a:cxnLst>
                    <a:rect l="0" t="0" r="r" b="b"/>
                    <a:pathLst>
                      <a:path w="81" h="598">
                        <a:moveTo>
                          <a:pt x="26" y="17"/>
                        </a:moveTo>
                        <a:cubicBezTo>
                          <a:pt x="26" y="112"/>
                          <a:pt x="0" y="198"/>
                          <a:pt x="5" y="295"/>
                        </a:cubicBezTo>
                        <a:cubicBezTo>
                          <a:pt x="8" y="348"/>
                          <a:pt x="4" y="406"/>
                          <a:pt x="9" y="460"/>
                        </a:cubicBezTo>
                        <a:cubicBezTo>
                          <a:pt x="13" y="505"/>
                          <a:pt x="31" y="551"/>
                          <a:pt x="18" y="598"/>
                        </a:cubicBezTo>
                        <a:cubicBezTo>
                          <a:pt x="81" y="529"/>
                          <a:pt x="65" y="399"/>
                          <a:pt x="64" y="309"/>
                        </a:cubicBezTo>
                        <a:cubicBezTo>
                          <a:pt x="63" y="204"/>
                          <a:pt x="15" y="103"/>
                          <a:pt x="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2" name="Freeform 130"/>
                  <p:cNvSpPr>
                    <a:spLocks/>
                  </p:cNvSpPr>
                  <p:nvPr/>
                </p:nvSpPr>
                <p:spPr bwMode="gray">
                  <a:xfrm>
                    <a:off x="708025" y="-8191500"/>
                    <a:ext cx="501650" cy="3529013"/>
                  </a:xfrm>
                  <a:custGeom>
                    <a:avLst/>
                    <a:gdLst/>
                    <a:ahLst/>
                    <a:cxnLst>
                      <a:cxn ang="0">
                        <a:pos x="134" y="67"/>
                      </a:cxn>
                      <a:cxn ang="0">
                        <a:pos x="0" y="182"/>
                      </a:cxn>
                      <a:cxn ang="0">
                        <a:pos x="104" y="333"/>
                      </a:cxn>
                      <a:cxn ang="0">
                        <a:pos x="66" y="544"/>
                      </a:cxn>
                      <a:cxn ang="0">
                        <a:pos x="92" y="760"/>
                      </a:cxn>
                      <a:cxn ang="0">
                        <a:pos x="100" y="857"/>
                      </a:cxn>
                      <a:cxn ang="0">
                        <a:pos x="46" y="941"/>
                      </a:cxn>
                      <a:cxn ang="0">
                        <a:pos x="130" y="751"/>
                      </a:cxn>
                      <a:cxn ang="0">
                        <a:pos x="126" y="498"/>
                      </a:cxn>
                      <a:cxn ang="0">
                        <a:pos x="126" y="0"/>
                      </a:cxn>
                    </a:cxnLst>
                    <a:rect l="0" t="0" r="r" b="b"/>
                    <a:pathLst>
                      <a:path w="134" h="941">
                        <a:moveTo>
                          <a:pt x="134" y="67"/>
                        </a:moveTo>
                        <a:cubicBezTo>
                          <a:pt x="99" y="118"/>
                          <a:pt x="41" y="139"/>
                          <a:pt x="0" y="182"/>
                        </a:cubicBezTo>
                        <a:cubicBezTo>
                          <a:pt x="74" y="171"/>
                          <a:pt x="105" y="277"/>
                          <a:pt x="104" y="333"/>
                        </a:cubicBezTo>
                        <a:cubicBezTo>
                          <a:pt x="104" y="412"/>
                          <a:pt x="83" y="473"/>
                          <a:pt x="66" y="544"/>
                        </a:cubicBezTo>
                        <a:cubicBezTo>
                          <a:pt x="49" y="619"/>
                          <a:pt x="82" y="689"/>
                          <a:pt x="92" y="760"/>
                        </a:cubicBezTo>
                        <a:cubicBezTo>
                          <a:pt x="96" y="789"/>
                          <a:pt x="103" y="828"/>
                          <a:pt x="100" y="857"/>
                        </a:cubicBezTo>
                        <a:cubicBezTo>
                          <a:pt x="96" y="902"/>
                          <a:pt x="66" y="902"/>
                          <a:pt x="46" y="941"/>
                        </a:cubicBezTo>
                        <a:cubicBezTo>
                          <a:pt x="123" y="926"/>
                          <a:pt x="133" y="817"/>
                          <a:pt x="130" y="751"/>
                        </a:cubicBezTo>
                        <a:cubicBezTo>
                          <a:pt x="126" y="669"/>
                          <a:pt x="126" y="582"/>
                          <a:pt x="126" y="498"/>
                        </a:cubicBezTo>
                        <a:cubicBezTo>
                          <a:pt x="126" y="332"/>
                          <a:pt x="126" y="166"/>
                          <a:pt x="1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3" name="Freeform 131"/>
                  <p:cNvSpPr>
                    <a:spLocks/>
                  </p:cNvSpPr>
                  <p:nvPr/>
                </p:nvSpPr>
                <p:spPr bwMode="gray">
                  <a:xfrm>
                    <a:off x="198438" y="-10363200"/>
                    <a:ext cx="1046163" cy="1816100"/>
                  </a:xfrm>
                  <a:custGeom>
                    <a:avLst/>
                    <a:gdLst/>
                    <a:ahLst/>
                    <a:cxnLst>
                      <a:cxn ang="0">
                        <a:pos x="160" y="42"/>
                      </a:cxn>
                      <a:cxn ang="0">
                        <a:pos x="98" y="97"/>
                      </a:cxn>
                      <a:cxn ang="0">
                        <a:pos x="0" y="135"/>
                      </a:cxn>
                      <a:cxn ang="0">
                        <a:pos x="113" y="136"/>
                      </a:cxn>
                      <a:cxn ang="0">
                        <a:pos x="38" y="244"/>
                      </a:cxn>
                      <a:cxn ang="0">
                        <a:pos x="152" y="244"/>
                      </a:cxn>
                      <a:cxn ang="0">
                        <a:pos x="173" y="358"/>
                      </a:cxn>
                      <a:cxn ang="0">
                        <a:pos x="106" y="430"/>
                      </a:cxn>
                      <a:cxn ang="0">
                        <a:pos x="186" y="448"/>
                      </a:cxn>
                      <a:cxn ang="0">
                        <a:pos x="207" y="477"/>
                      </a:cxn>
                      <a:cxn ang="0">
                        <a:pos x="257" y="481"/>
                      </a:cxn>
                      <a:cxn ang="0">
                        <a:pos x="236" y="233"/>
                      </a:cxn>
                      <a:cxn ang="0">
                        <a:pos x="194" y="131"/>
                      </a:cxn>
                      <a:cxn ang="0">
                        <a:pos x="173" y="0"/>
                      </a:cxn>
                    </a:cxnLst>
                    <a:rect l="0" t="0" r="r" b="b"/>
                    <a:pathLst>
                      <a:path w="279" h="484">
                        <a:moveTo>
                          <a:pt x="160" y="42"/>
                        </a:moveTo>
                        <a:cubicBezTo>
                          <a:pt x="137" y="59"/>
                          <a:pt x="123" y="82"/>
                          <a:pt x="98" y="97"/>
                        </a:cubicBezTo>
                        <a:cubicBezTo>
                          <a:pt x="67" y="115"/>
                          <a:pt x="23" y="110"/>
                          <a:pt x="0" y="135"/>
                        </a:cubicBezTo>
                        <a:cubicBezTo>
                          <a:pt x="27" y="146"/>
                          <a:pt x="84" y="151"/>
                          <a:pt x="113" y="136"/>
                        </a:cubicBezTo>
                        <a:cubicBezTo>
                          <a:pt x="109" y="175"/>
                          <a:pt x="67" y="217"/>
                          <a:pt x="38" y="244"/>
                        </a:cubicBezTo>
                        <a:cubicBezTo>
                          <a:pt x="71" y="268"/>
                          <a:pt x="117" y="259"/>
                          <a:pt x="152" y="244"/>
                        </a:cubicBezTo>
                        <a:cubicBezTo>
                          <a:pt x="168" y="277"/>
                          <a:pt x="184" y="320"/>
                          <a:pt x="173" y="358"/>
                        </a:cubicBezTo>
                        <a:cubicBezTo>
                          <a:pt x="163" y="391"/>
                          <a:pt x="129" y="404"/>
                          <a:pt x="106" y="430"/>
                        </a:cubicBezTo>
                        <a:cubicBezTo>
                          <a:pt x="142" y="433"/>
                          <a:pt x="162" y="428"/>
                          <a:pt x="186" y="448"/>
                        </a:cubicBezTo>
                        <a:cubicBezTo>
                          <a:pt x="197" y="457"/>
                          <a:pt x="188" y="467"/>
                          <a:pt x="207" y="477"/>
                        </a:cubicBezTo>
                        <a:cubicBezTo>
                          <a:pt x="220" y="484"/>
                          <a:pt x="242" y="483"/>
                          <a:pt x="257" y="481"/>
                        </a:cubicBezTo>
                        <a:cubicBezTo>
                          <a:pt x="279" y="401"/>
                          <a:pt x="265" y="309"/>
                          <a:pt x="236" y="233"/>
                        </a:cubicBezTo>
                        <a:cubicBezTo>
                          <a:pt x="223" y="198"/>
                          <a:pt x="203" y="165"/>
                          <a:pt x="194" y="131"/>
                        </a:cubicBezTo>
                        <a:cubicBezTo>
                          <a:pt x="183" y="88"/>
                          <a:pt x="190" y="41"/>
                          <a:pt x="17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4" name="Freeform 132"/>
                  <p:cNvSpPr>
                    <a:spLocks/>
                  </p:cNvSpPr>
                  <p:nvPr/>
                </p:nvSpPr>
                <p:spPr bwMode="gray">
                  <a:xfrm>
                    <a:off x="-1928813" y="-10028237"/>
                    <a:ext cx="690563" cy="1974850"/>
                  </a:xfrm>
                  <a:custGeom>
                    <a:avLst/>
                    <a:gdLst/>
                    <a:ahLst/>
                    <a:cxnLst>
                      <a:cxn ang="0">
                        <a:pos x="153" y="21"/>
                      </a:cxn>
                      <a:cxn ang="0">
                        <a:pos x="149" y="307"/>
                      </a:cxn>
                      <a:cxn ang="0">
                        <a:pos x="148" y="423"/>
                      </a:cxn>
                      <a:cxn ang="0">
                        <a:pos x="173" y="527"/>
                      </a:cxn>
                      <a:cxn ang="0">
                        <a:pos x="127" y="334"/>
                      </a:cxn>
                      <a:cxn ang="0">
                        <a:pos x="0" y="219"/>
                      </a:cxn>
                      <a:cxn ang="0">
                        <a:pos x="111" y="219"/>
                      </a:cxn>
                      <a:cxn ang="0">
                        <a:pos x="128" y="159"/>
                      </a:cxn>
                      <a:cxn ang="0">
                        <a:pos x="76" y="118"/>
                      </a:cxn>
                      <a:cxn ang="0">
                        <a:pos x="146" y="89"/>
                      </a:cxn>
                      <a:cxn ang="0">
                        <a:pos x="166" y="0"/>
                      </a:cxn>
                    </a:cxnLst>
                    <a:rect l="0" t="0" r="r" b="b"/>
                    <a:pathLst>
                      <a:path w="184" h="527">
                        <a:moveTo>
                          <a:pt x="153" y="21"/>
                        </a:moveTo>
                        <a:cubicBezTo>
                          <a:pt x="184" y="90"/>
                          <a:pt x="153" y="230"/>
                          <a:pt x="149" y="307"/>
                        </a:cubicBezTo>
                        <a:cubicBezTo>
                          <a:pt x="147" y="346"/>
                          <a:pt x="141" y="385"/>
                          <a:pt x="148" y="423"/>
                        </a:cubicBezTo>
                        <a:cubicBezTo>
                          <a:pt x="156" y="460"/>
                          <a:pt x="180" y="487"/>
                          <a:pt x="173" y="527"/>
                        </a:cubicBezTo>
                        <a:cubicBezTo>
                          <a:pt x="136" y="491"/>
                          <a:pt x="143" y="384"/>
                          <a:pt x="127" y="334"/>
                        </a:cubicBezTo>
                        <a:cubicBezTo>
                          <a:pt x="112" y="284"/>
                          <a:pt x="51" y="241"/>
                          <a:pt x="0" y="219"/>
                        </a:cubicBezTo>
                        <a:cubicBezTo>
                          <a:pt x="34" y="218"/>
                          <a:pt x="84" y="248"/>
                          <a:pt x="111" y="219"/>
                        </a:cubicBezTo>
                        <a:cubicBezTo>
                          <a:pt x="121" y="208"/>
                          <a:pt x="131" y="174"/>
                          <a:pt x="128" y="159"/>
                        </a:cubicBezTo>
                        <a:cubicBezTo>
                          <a:pt x="120" y="128"/>
                          <a:pt x="97" y="140"/>
                          <a:pt x="76" y="118"/>
                        </a:cubicBezTo>
                        <a:cubicBezTo>
                          <a:pt x="93" y="93"/>
                          <a:pt x="125" y="108"/>
                          <a:pt x="146" y="89"/>
                        </a:cubicBezTo>
                        <a:cubicBezTo>
                          <a:pt x="165" y="70"/>
                          <a:pt x="168" y="25"/>
                          <a:pt x="16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5" name="Freeform 133"/>
                  <p:cNvSpPr>
                    <a:spLocks/>
                  </p:cNvSpPr>
                  <p:nvPr/>
                </p:nvSpPr>
                <p:spPr bwMode="gray">
                  <a:xfrm>
                    <a:off x="-3011488" y="-10186987"/>
                    <a:ext cx="482600" cy="506413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129" y="34"/>
                      </a:cxn>
                      <a:cxn ang="0">
                        <a:pos x="67" y="59"/>
                      </a:cxn>
                      <a:cxn ang="0">
                        <a:pos x="101" y="105"/>
                      </a:cxn>
                      <a:cxn ang="0">
                        <a:pos x="8" y="130"/>
                      </a:cxn>
                      <a:cxn ang="0">
                        <a:pos x="49" y="4"/>
                      </a:cxn>
                    </a:cxnLst>
                    <a:rect l="0" t="0" r="r" b="b"/>
                    <a:pathLst>
                      <a:path w="129" h="135">
                        <a:moveTo>
                          <a:pt x="53" y="0"/>
                        </a:moveTo>
                        <a:cubicBezTo>
                          <a:pt x="72" y="15"/>
                          <a:pt x="106" y="33"/>
                          <a:pt x="129" y="34"/>
                        </a:cubicBezTo>
                        <a:cubicBezTo>
                          <a:pt x="125" y="56"/>
                          <a:pt x="88" y="55"/>
                          <a:pt x="67" y="59"/>
                        </a:cubicBezTo>
                        <a:cubicBezTo>
                          <a:pt x="59" y="85"/>
                          <a:pt x="72" y="107"/>
                          <a:pt x="101" y="105"/>
                        </a:cubicBezTo>
                        <a:cubicBezTo>
                          <a:pt x="76" y="109"/>
                          <a:pt x="36" y="135"/>
                          <a:pt x="8" y="130"/>
                        </a:cubicBezTo>
                        <a:cubicBezTo>
                          <a:pt x="0" y="92"/>
                          <a:pt x="19" y="27"/>
                          <a:pt x="49" y="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6" name="Freeform 134"/>
                  <p:cNvSpPr>
                    <a:spLocks/>
                  </p:cNvSpPr>
                  <p:nvPr/>
                </p:nvSpPr>
                <p:spPr bwMode="gray">
                  <a:xfrm>
                    <a:off x="-668338" y="-1020762"/>
                    <a:ext cx="517525" cy="1327150"/>
                  </a:xfrm>
                  <a:custGeom>
                    <a:avLst/>
                    <a:gdLst/>
                    <a:ahLst/>
                    <a:cxnLst>
                      <a:cxn ang="0">
                        <a:pos x="113" y="220"/>
                      </a:cxn>
                      <a:cxn ang="0">
                        <a:pos x="83" y="0"/>
                      </a:cxn>
                      <a:cxn ang="0">
                        <a:pos x="29" y="190"/>
                      </a:cxn>
                      <a:cxn ang="0">
                        <a:pos x="20" y="250"/>
                      </a:cxn>
                      <a:cxn ang="0">
                        <a:pos x="27" y="300"/>
                      </a:cxn>
                      <a:cxn ang="0">
                        <a:pos x="8" y="305"/>
                      </a:cxn>
                      <a:cxn ang="0">
                        <a:pos x="112" y="351"/>
                      </a:cxn>
                      <a:cxn ang="0">
                        <a:pos x="121" y="203"/>
                      </a:cxn>
                    </a:cxnLst>
                    <a:rect l="0" t="0" r="r" b="b"/>
                    <a:pathLst>
                      <a:path w="138" h="354">
                        <a:moveTo>
                          <a:pt x="113" y="220"/>
                        </a:moveTo>
                        <a:cubicBezTo>
                          <a:pt x="84" y="153"/>
                          <a:pt x="83" y="76"/>
                          <a:pt x="83" y="0"/>
                        </a:cubicBezTo>
                        <a:cubicBezTo>
                          <a:pt x="71" y="48"/>
                          <a:pt x="22" y="132"/>
                          <a:pt x="29" y="190"/>
                        </a:cubicBezTo>
                        <a:cubicBezTo>
                          <a:pt x="67" y="202"/>
                          <a:pt x="68" y="259"/>
                          <a:pt x="20" y="250"/>
                        </a:cubicBezTo>
                        <a:cubicBezTo>
                          <a:pt x="18" y="269"/>
                          <a:pt x="25" y="283"/>
                          <a:pt x="27" y="300"/>
                        </a:cubicBezTo>
                        <a:cubicBezTo>
                          <a:pt x="20" y="301"/>
                          <a:pt x="16" y="305"/>
                          <a:pt x="8" y="305"/>
                        </a:cubicBezTo>
                        <a:cubicBezTo>
                          <a:pt x="0" y="345"/>
                          <a:pt x="83" y="354"/>
                          <a:pt x="112" y="351"/>
                        </a:cubicBezTo>
                        <a:cubicBezTo>
                          <a:pt x="114" y="306"/>
                          <a:pt x="138" y="244"/>
                          <a:pt x="121" y="20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7" name="Freeform 135"/>
                  <p:cNvSpPr>
                    <a:spLocks/>
                  </p:cNvSpPr>
                  <p:nvPr/>
                </p:nvSpPr>
                <p:spPr bwMode="gray">
                  <a:xfrm>
                    <a:off x="-604838" y="-2014537"/>
                    <a:ext cx="479425" cy="1439863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44" y="237"/>
                      </a:cxn>
                      <a:cxn ang="0">
                        <a:pos x="104" y="313"/>
                      </a:cxn>
                      <a:cxn ang="0">
                        <a:pos x="87" y="122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128" h="384">
                        <a:moveTo>
                          <a:pt x="24" y="4"/>
                        </a:moveTo>
                        <a:cubicBezTo>
                          <a:pt x="0" y="68"/>
                          <a:pt x="31" y="173"/>
                          <a:pt x="44" y="237"/>
                        </a:cubicBezTo>
                        <a:cubicBezTo>
                          <a:pt x="49" y="263"/>
                          <a:pt x="60" y="384"/>
                          <a:pt x="104" y="313"/>
                        </a:cubicBezTo>
                        <a:cubicBezTo>
                          <a:pt x="128" y="274"/>
                          <a:pt x="104" y="160"/>
                          <a:pt x="87" y="122"/>
                        </a:cubicBezTo>
                        <a:cubicBezTo>
                          <a:pt x="67" y="76"/>
                          <a:pt x="36" y="50"/>
                          <a:pt x="2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8" name="Freeform 136"/>
                  <p:cNvSpPr>
                    <a:spLocks/>
                  </p:cNvSpPr>
                  <p:nvPr/>
                </p:nvSpPr>
                <p:spPr bwMode="gray">
                  <a:xfrm>
                    <a:off x="-2559050" y="-12211050"/>
                    <a:ext cx="1046163" cy="311150"/>
                  </a:xfrm>
                  <a:custGeom>
                    <a:avLst/>
                    <a:gdLst/>
                    <a:ahLst/>
                    <a:cxnLst>
                      <a:cxn ang="0">
                        <a:pos x="258" y="20"/>
                      </a:cxn>
                      <a:cxn ang="0">
                        <a:pos x="110" y="7"/>
                      </a:cxn>
                      <a:cxn ang="0">
                        <a:pos x="0" y="83"/>
                      </a:cxn>
                      <a:cxn ang="0">
                        <a:pos x="122" y="41"/>
                      </a:cxn>
                      <a:cxn ang="0">
                        <a:pos x="279" y="20"/>
                      </a:cxn>
                    </a:cxnLst>
                    <a:rect l="0" t="0" r="r" b="b"/>
                    <a:pathLst>
                      <a:path w="279" h="83">
                        <a:moveTo>
                          <a:pt x="258" y="20"/>
                        </a:moveTo>
                        <a:cubicBezTo>
                          <a:pt x="206" y="20"/>
                          <a:pt x="162" y="0"/>
                          <a:pt x="110" y="7"/>
                        </a:cubicBezTo>
                        <a:cubicBezTo>
                          <a:pt x="77" y="12"/>
                          <a:pt x="7" y="47"/>
                          <a:pt x="0" y="83"/>
                        </a:cubicBezTo>
                        <a:cubicBezTo>
                          <a:pt x="44" y="75"/>
                          <a:pt x="78" y="45"/>
                          <a:pt x="122" y="41"/>
                        </a:cubicBezTo>
                        <a:cubicBezTo>
                          <a:pt x="168" y="37"/>
                          <a:pt x="243" y="51"/>
                          <a:pt x="279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09" name="Freeform 137"/>
                  <p:cNvSpPr>
                    <a:spLocks/>
                  </p:cNvSpPr>
                  <p:nvPr/>
                </p:nvSpPr>
                <p:spPr bwMode="gray">
                  <a:xfrm>
                    <a:off x="-3270250" y="-12414250"/>
                    <a:ext cx="600075" cy="454025"/>
                  </a:xfrm>
                  <a:custGeom>
                    <a:avLst/>
                    <a:gdLst/>
                    <a:ahLst/>
                    <a:cxnLst>
                      <a:cxn ang="0">
                        <a:pos x="4" y="116"/>
                      </a:cxn>
                      <a:cxn ang="0">
                        <a:pos x="160" y="0"/>
                      </a:cxn>
                      <a:cxn ang="0">
                        <a:pos x="0" y="121"/>
                      </a:cxn>
                    </a:cxnLst>
                    <a:rect l="0" t="0" r="r" b="b"/>
                    <a:pathLst>
                      <a:path w="160" h="121">
                        <a:moveTo>
                          <a:pt x="4" y="116"/>
                        </a:moveTo>
                        <a:cubicBezTo>
                          <a:pt x="36" y="75"/>
                          <a:pt x="109" y="19"/>
                          <a:pt x="160" y="0"/>
                        </a:cubicBezTo>
                        <a:cubicBezTo>
                          <a:pt x="136" y="36"/>
                          <a:pt x="44" y="115"/>
                          <a:pt x="0" y="1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0" name="Freeform 138"/>
                  <p:cNvSpPr>
                    <a:spLocks/>
                  </p:cNvSpPr>
                  <p:nvPr/>
                </p:nvSpPr>
                <p:spPr bwMode="gray">
                  <a:xfrm>
                    <a:off x="-3713163" y="-13385800"/>
                    <a:ext cx="944563" cy="746125"/>
                  </a:xfrm>
                  <a:custGeom>
                    <a:avLst/>
                    <a:gdLst/>
                    <a:ahLst/>
                    <a:cxnLst>
                      <a:cxn ang="0">
                        <a:pos x="207" y="101"/>
                      </a:cxn>
                      <a:cxn ang="0">
                        <a:pos x="30" y="0"/>
                      </a:cxn>
                      <a:cxn ang="0">
                        <a:pos x="101" y="114"/>
                      </a:cxn>
                      <a:cxn ang="0">
                        <a:pos x="0" y="152"/>
                      </a:cxn>
                      <a:cxn ang="0">
                        <a:pos x="126" y="138"/>
                      </a:cxn>
                      <a:cxn ang="0">
                        <a:pos x="252" y="126"/>
                      </a:cxn>
                      <a:cxn ang="0">
                        <a:pos x="223" y="92"/>
                      </a:cxn>
                    </a:cxnLst>
                    <a:rect l="0" t="0" r="r" b="b"/>
                    <a:pathLst>
                      <a:path w="252" h="199">
                        <a:moveTo>
                          <a:pt x="207" y="101"/>
                        </a:moveTo>
                        <a:cubicBezTo>
                          <a:pt x="131" y="101"/>
                          <a:pt x="92" y="34"/>
                          <a:pt x="30" y="0"/>
                        </a:cubicBezTo>
                        <a:cubicBezTo>
                          <a:pt x="40" y="43"/>
                          <a:pt x="84" y="73"/>
                          <a:pt x="101" y="114"/>
                        </a:cubicBezTo>
                        <a:cubicBezTo>
                          <a:pt x="70" y="130"/>
                          <a:pt x="38" y="157"/>
                          <a:pt x="0" y="152"/>
                        </a:cubicBezTo>
                        <a:cubicBezTo>
                          <a:pt x="11" y="199"/>
                          <a:pt x="102" y="157"/>
                          <a:pt x="126" y="138"/>
                        </a:cubicBezTo>
                        <a:cubicBezTo>
                          <a:pt x="175" y="100"/>
                          <a:pt x="199" y="115"/>
                          <a:pt x="252" y="126"/>
                        </a:cubicBezTo>
                        <a:cubicBezTo>
                          <a:pt x="250" y="111"/>
                          <a:pt x="236" y="100"/>
                          <a:pt x="223" y="9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1" name="Freeform 139"/>
                  <p:cNvSpPr>
                    <a:spLocks/>
                  </p:cNvSpPr>
                  <p:nvPr/>
                </p:nvSpPr>
                <p:spPr bwMode="gray">
                  <a:xfrm>
                    <a:off x="-3349625" y="-15114587"/>
                    <a:ext cx="498475" cy="495300"/>
                  </a:xfrm>
                  <a:custGeom>
                    <a:avLst/>
                    <a:gdLst/>
                    <a:ahLst/>
                    <a:cxnLst>
                      <a:cxn ang="0">
                        <a:pos x="0" y="13"/>
                      </a:cxn>
                      <a:cxn ang="0">
                        <a:pos x="126" y="126"/>
                      </a:cxn>
                      <a:cxn ang="0">
                        <a:pos x="66" y="77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133" h="132">
                        <a:moveTo>
                          <a:pt x="0" y="13"/>
                        </a:moveTo>
                        <a:cubicBezTo>
                          <a:pt x="26" y="71"/>
                          <a:pt x="52" y="132"/>
                          <a:pt x="126" y="126"/>
                        </a:cubicBezTo>
                        <a:cubicBezTo>
                          <a:pt x="133" y="95"/>
                          <a:pt x="87" y="89"/>
                          <a:pt x="66" y="77"/>
                        </a:cubicBezTo>
                        <a:cubicBezTo>
                          <a:pt x="34" y="59"/>
                          <a:pt x="12" y="43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2" name="Freeform 140"/>
                  <p:cNvSpPr>
                    <a:spLocks/>
                  </p:cNvSpPr>
                  <p:nvPr/>
                </p:nvSpPr>
                <p:spPr bwMode="gray">
                  <a:xfrm>
                    <a:off x="-3035300" y="-11566525"/>
                    <a:ext cx="304800" cy="600075"/>
                  </a:xfrm>
                  <a:custGeom>
                    <a:avLst/>
                    <a:gdLst/>
                    <a:ahLst/>
                    <a:cxnLst>
                      <a:cxn ang="0">
                        <a:pos x="72" y="55"/>
                      </a:cxn>
                      <a:cxn ang="0">
                        <a:pos x="76" y="151"/>
                      </a:cxn>
                      <a:cxn ang="0">
                        <a:pos x="4" y="80"/>
                      </a:cxn>
                      <a:cxn ang="0">
                        <a:pos x="68" y="68"/>
                      </a:cxn>
                    </a:cxnLst>
                    <a:rect l="0" t="0" r="r" b="b"/>
                    <a:pathLst>
                      <a:path w="81" h="160">
                        <a:moveTo>
                          <a:pt x="72" y="55"/>
                        </a:moveTo>
                        <a:cubicBezTo>
                          <a:pt x="61" y="108"/>
                          <a:pt x="27" y="104"/>
                          <a:pt x="76" y="151"/>
                        </a:cubicBezTo>
                        <a:cubicBezTo>
                          <a:pt x="37" y="160"/>
                          <a:pt x="0" y="117"/>
                          <a:pt x="4" y="80"/>
                        </a:cubicBezTo>
                        <a:cubicBezTo>
                          <a:pt x="10" y="31"/>
                          <a:pt x="81" y="0"/>
                          <a:pt x="68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3" name="Freeform 141"/>
                  <p:cNvSpPr>
                    <a:spLocks/>
                  </p:cNvSpPr>
                  <p:nvPr/>
                </p:nvSpPr>
                <p:spPr bwMode="gray">
                  <a:xfrm>
                    <a:off x="-1174750" y="-15687675"/>
                    <a:ext cx="423863" cy="173038"/>
                  </a:xfrm>
                  <a:custGeom>
                    <a:avLst/>
                    <a:gdLst/>
                    <a:ahLst/>
                    <a:cxnLst>
                      <a:cxn ang="0">
                        <a:pos x="5" y="13"/>
                      </a:cxn>
                      <a:cxn ang="0">
                        <a:pos x="113" y="0"/>
                      </a:cxn>
                      <a:cxn ang="0">
                        <a:pos x="92" y="32"/>
                      </a:cxn>
                      <a:cxn ang="0">
                        <a:pos x="56" y="45"/>
                      </a:cxn>
                      <a:cxn ang="0">
                        <a:pos x="42" y="40"/>
                      </a:cxn>
                      <a:cxn ang="0">
                        <a:pos x="20" y="37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13" h="46">
                        <a:moveTo>
                          <a:pt x="5" y="13"/>
                        </a:moveTo>
                        <a:cubicBezTo>
                          <a:pt x="41" y="29"/>
                          <a:pt x="80" y="18"/>
                          <a:pt x="113" y="0"/>
                        </a:cubicBezTo>
                        <a:cubicBezTo>
                          <a:pt x="107" y="10"/>
                          <a:pt x="102" y="26"/>
                          <a:pt x="92" y="32"/>
                        </a:cubicBezTo>
                        <a:cubicBezTo>
                          <a:pt x="84" y="37"/>
                          <a:pt x="66" y="46"/>
                          <a:pt x="56" y="45"/>
                        </a:cubicBezTo>
                        <a:cubicBezTo>
                          <a:pt x="50" y="45"/>
                          <a:pt x="47" y="42"/>
                          <a:pt x="42" y="40"/>
                        </a:cubicBezTo>
                        <a:cubicBezTo>
                          <a:pt x="35" y="38"/>
                          <a:pt x="27" y="39"/>
                          <a:pt x="20" y="37"/>
                        </a:cubicBezTo>
                        <a:cubicBezTo>
                          <a:pt x="11" y="34"/>
                          <a:pt x="3" y="21"/>
                          <a:pt x="0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4" name="Freeform 142"/>
                  <p:cNvSpPr>
                    <a:spLocks/>
                  </p:cNvSpPr>
                  <p:nvPr/>
                </p:nvSpPr>
                <p:spPr bwMode="gray">
                  <a:xfrm>
                    <a:off x="-1246188" y="-11239500"/>
                    <a:ext cx="1897063" cy="614363"/>
                  </a:xfrm>
                  <a:custGeom>
                    <a:avLst/>
                    <a:gdLst/>
                    <a:ahLst/>
                    <a:cxnLst>
                      <a:cxn ang="0">
                        <a:pos x="433" y="0"/>
                      </a:cxn>
                      <a:cxn ang="0">
                        <a:pos x="331" y="121"/>
                      </a:cxn>
                      <a:cxn ang="0">
                        <a:pos x="135" y="122"/>
                      </a:cxn>
                      <a:cxn ang="0">
                        <a:pos x="17" y="73"/>
                      </a:cxn>
                      <a:cxn ang="0">
                        <a:pos x="95" y="95"/>
                      </a:cxn>
                    </a:cxnLst>
                    <a:rect l="0" t="0" r="r" b="b"/>
                    <a:pathLst>
                      <a:path w="506" h="164">
                        <a:moveTo>
                          <a:pt x="433" y="0"/>
                        </a:moveTo>
                        <a:cubicBezTo>
                          <a:pt x="506" y="50"/>
                          <a:pt x="358" y="108"/>
                          <a:pt x="331" y="121"/>
                        </a:cubicBezTo>
                        <a:cubicBezTo>
                          <a:pt x="253" y="160"/>
                          <a:pt x="212" y="126"/>
                          <a:pt x="135" y="122"/>
                        </a:cubicBezTo>
                        <a:cubicBezTo>
                          <a:pt x="91" y="119"/>
                          <a:pt x="0" y="164"/>
                          <a:pt x="17" y="73"/>
                        </a:cubicBezTo>
                        <a:cubicBezTo>
                          <a:pt x="48" y="50"/>
                          <a:pt x="76" y="69"/>
                          <a:pt x="95" y="9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5" name="Freeform 143"/>
                  <p:cNvSpPr>
                    <a:spLocks/>
                  </p:cNvSpPr>
                  <p:nvPr/>
                </p:nvSpPr>
                <p:spPr bwMode="gray">
                  <a:xfrm>
                    <a:off x="-825500" y="-11150600"/>
                    <a:ext cx="592138" cy="203200"/>
                  </a:xfrm>
                  <a:custGeom>
                    <a:avLst/>
                    <a:gdLst/>
                    <a:ahLst/>
                    <a:cxnLst>
                      <a:cxn ang="0">
                        <a:pos x="0" y="54"/>
                      </a:cxn>
                      <a:cxn ang="0">
                        <a:pos x="106" y="0"/>
                      </a:cxn>
                      <a:cxn ang="0">
                        <a:pos x="90" y="42"/>
                      </a:cxn>
                      <a:cxn ang="0">
                        <a:pos x="156" y="5"/>
                      </a:cxn>
                      <a:cxn ang="0">
                        <a:pos x="158" y="25"/>
                      </a:cxn>
                    </a:cxnLst>
                    <a:rect l="0" t="0" r="r" b="b"/>
                    <a:pathLst>
                      <a:path w="158" h="54">
                        <a:moveTo>
                          <a:pt x="0" y="54"/>
                        </a:moveTo>
                        <a:cubicBezTo>
                          <a:pt x="44" y="50"/>
                          <a:pt x="68" y="17"/>
                          <a:pt x="106" y="0"/>
                        </a:cubicBezTo>
                        <a:cubicBezTo>
                          <a:pt x="100" y="16"/>
                          <a:pt x="103" y="28"/>
                          <a:pt x="90" y="42"/>
                        </a:cubicBezTo>
                        <a:cubicBezTo>
                          <a:pt x="115" y="37"/>
                          <a:pt x="136" y="19"/>
                          <a:pt x="156" y="5"/>
                        </a:cubicBezTo>
                        <a:cubicBezTo>
                          <a:pt x="157" y="11"/>
                          <a:pt x="158" y="18"/>
                          <a:pt x="158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6" name="Freeform 144"/>
                  <p:cNvSpPr>
                    <a:spLocks/>
                  </p:cNvSpPr>
                  <p:nvPr/>
                </p:nvSpPr>
                <p:spPr bwMode="gray">
                  <a:xfrm>
                    <a:off x="-417513" y="-19359562"/>
                    <a:ext cx="180975" cy="488950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1" y="30"/>
                      </a:cxn>
                      <a:cxn ang="0">
                        <a:pos x="15" y="26"/>
                      </a:cxn>
                      <a:cxn ang="0">
                        <a:pos x="6" y="53"/>
                      </a:cxn>
                      <a:cxn ang="0">
                        <a:pos x="12" y="75"/>
                      </a:cxn>
                      <a:cxn ang="0">
                        <a:pos x="4" y="72"/>
                      </a:cxn>
                      <a:cxn ang="0">
                        <a:pos x="7" y="108"/>
                      </a:cxn>
                      <a:cxn ang="0">
                        <a:pos x="3" y="105"/>
                      </a:cxn>
                      <a:cxn ang="0">
                        <a:pos x="1" y="122"/>
                      </a:cxn>
                      <a:cxn ang="0">
                        <a:pos x="16" y="130"/>
                      </a:cxn>
                      <a:cxn ang="0">
                        <a:pos x="16" y="114"/>
                      </a:cxn>
                      <a:cxn ang="0">
                        <a:pos x="26" y="121"/>
                      </a:cxn>
                      <a:cxn ang="0">
                        <a:pos x="27" y="100"/>
                      </a:cxn>
                      <a:cxn ang="0">
                        <a:pos x="34" y="105"/>
                      </a:cxn>
                      <a:cxn ang="0">
                        <a:pos x="34" y="69"/>
                      </a:cxn>
                      <a:cxn ang="0">
                        <a:pos x="48" y="78"/>
                      </a:cxn>
                      <a:cxn ang="0">
                        <a:pos x="39" y="48"/>
                      </a:cxn>
                      <a:cxn ang="0">
                        <a:pos x="37" y="23"/>
                      </a:cxn>
                      <a:cxn ang="0">
                        <a:pos x="42" y="23"/>
                      </a:cxn>
                      <a:cxn ang="0">
                        <a:pos x="40" y="13"/>
                      </a:cxn>
                      <a:cxn ang="0">
                        <a:pos x="33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48" h="130">
                        <a:moveTo>
                          <a:pt x="12" y="0"/>
                        </a:moveTo>
                        <a:cubicBezTo>
                          <a:pt x="22" y="7"/>
                          <a:pt x="21" y="18"/>
                          <a:pt x="21" y="30"/>
                        </a:cubicBezTo>
                        <a:cubicBezTo>
                          <a:pt x="19" y="29"/>
                          <a:pt x="17" y="28"/>
                          <a:pt x="15" y="26"/>
                        </a:cubicBezTo>
                        <a:cubicBezTo>
                          <a:pt x="14" y="30"/>
                          <a:pt x="20" y="66"/>
                          <a:pt x="6" y="53"/>
                        </a:cubicBezTo>
                        <a:cubicBezTo>
                          <a:pt x="6" y="61"/>
                          <a:pt x="8" y="68"/>
                          <a:pt x="12" y="75"/>
                        </a:cubicBezTo>
                        <a:cubicBezTo>
                          <a:pt x="9" y="76"/>
                          <a:pt x="7" y="74"/>
                          <a:pt x="4" y="72"/>
                        </a:cubicBezTo>
                        <a:cubicBezTo>
                          <a:pt x="3" y="84"/>
                          <a:pt x="5" y="97"/>
                          <a:pt x="7" y="108"/>
                        </a:cubicBezTo>
                        <a:cubicBezTo>
                          <a:pt x="6" y="107"/>
                          <a:pt x="5" y="107"/>
                          <a:pt x="3" y="105"/>
                        </a:cubicBezTo>
                        <a:cubicBezTo>
                          <a:pt x="3" y="113"/>
                          <a:pt x="0" y="115"/>
                          <a:pt x="1" y="122"/>
                        </a:cubicBezTo>
                        <a:cubicBezTo>
                          <a:pt x="5" y="124"/>
                          <a:pt x="11" y="127"/>
                          <a:pt x="16" y="130"/>
                        </a:cubicBezTo>
                        <a:cubicBezTo>
                          <a:pt x="16" y="125"/>
                          <a:pt x="16" y="120"/>
                          <a:pt x="16" y="114"/>
                        </a:cubicBezTo>
                        <a:cubicBezTo>
                          <a:pt x="19" y="116"/>
                          <a:pt x="22" y="119"/>
                          <a:pt x="26" y="121"/>
                        </a:cubicBezTo>
                        <a:cubicBezTo>
                          <a:pt x="26" y="114"/>
                          <a:pt x="27" y="107"/>
                          <a:pt x="27" y="100"/>
                        </a:cubicBezTo>
                        <a:cubicBezTo>
                          <a:pt x="30" y="101"/>
                          <a:pt x="32" y="103"/>
                          <a:pt x="34" y="105"/>
                        </a:cubicBezTo>
                        <a:cubicBezTo>
                          <a:pt x="39" y="97"/>
                          <a:pt x="35" y="78"/>
                          <a:pt x="34" y="69"/>
                        </a:cubicBezTo>
                        <a:cubicBezTo>
                          <a:pt x="35" y="73"/>
                          <a:pt x="44" y="76"/>
                          <a:pt x="48" y="78"/>
                        </a:cubicBezTo>
                        <a:cubicBezTo>
                          <a:pt x="48" y="68"/>
                          <a:pt x="40" y="59"/>
                          <a:pt x="39" y="48"/>
                        </a:cubicBezTo>
                        <a:cubicBezTo>
                          <a:pt x="46" y="47"/>
                          <a:pt x="38" y="28"/>
                          <a:pt x="37" y="23"/>
                        </a:cubicBezTo>
                        <a:cubicBezTo>
                          <a:pt x="38" y="23"/>
                          <a:pt x="40" y="23"/>
                          <a:pt x="42" y="23"/>
                        </a:cubicBezTo>
                        <a:cubicBezTo>
                          <a:pt x="42" y="23"/>
                          <a:pt x="40" y="14"/>
                          <a:pt x="40" y="13"/>
                        </a:cubicBezTo>
                        <a:cubicBezTo>
                          <a:pt x="38" y="11"/>
                          <a:pt x="36" y="9"/>
                          <a:pt x="33" y="8"/>
                        </a:cubicBezTo>
                        <a:cubicBezTo>
                          <a:pt x="28" y="5"/>
                          <a:pt x="17" y="1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7" name="Freeform 145"/>
                  <p:cNvSpPr>
                    <a:spLocks/>
                  </p:cNvSpPr>
                  <p:nvPr/>
                </p:nvSpPr>
                <p:spPr bwMode="gray">
                  <a:xfrm>
                    <a:off x="-95250" y="-19073812"/>
                    <a:ext cx="184150" cy="145097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9" y="38"/>
                      </a:cxn>
                      <a:cxn ang="0">
                        <a:pos x="22" y="74"/>
                      </a:cxn>
                      <a:cxn ang="0">
                        <a:pos x="32" y="176"/>
                      </a:cxn>
                      <a:cxn ang="0">
                        <a:pos x="26" y="162"/>
                      </a:cxn>
                      <a:cxn ang="0">
                        <a:pos x="25" y="188"/>
                      </a:cxn>
                      <a:cxn ang="0">
                        <a:pos x="25" y="222"/>
                      </a:cxn>
                      <a:cxn ang="0">
                        <a:pos x="15" y="250"/>
                      </a:cxn>
                      <a:cxn ang="0">
                        <a:pos x="19" y="273"/>
                      </a:cxn>
                      <a:cxn ang="0">
                        <a:pos x="14" y="252"/>
                      </a:cxn>
                      <a:cxn ang="0">
                        <a:pos x="11" y="328"/>
                      </a:cxn>
                      <a:cxn ang="0">
                        <a:pos x="8" y="362"/>
                      </a:cxn>
                      <a:cxn ang="0">
                        <a:pos x="2" y="387"/>
                      </a:cxn>
                      <a:cxn ang="0">
                        <a:pos x="21" y="363"/>
                      </a:cxn>
                      <a:cxn ang="0">
                        <a:pos x="31" y="328"/>
                      </a:cxn>
                      <a:cxn ang="0">
                        <a:pos x="34" y="285"/>
                      </a:cxn>
                      <a:cxn ang="0">
                        <a:pos x="38" y="241"/>
                      </a:cxn>
                      <a:cxn ang="0">
                        <a:pos x="45" y="196"/>
                      </a:cxn>
                      <a:cxn ang="0">
                        <a:pos x="46" y="157"/>
                      </a:cxn>
                      <a:cxn ang="0">
                        <a:pos x="43" y="117"/>
                      </a:cxn>
                      <a:cxn ang="0">
                        <a:pos x="36" y="81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49" h="387">
                        <a:moveTo>
                          <a:pt x="1" y="0"/>
                        </a:moveTo>
                        <a:cubicBezTo>
                          <a:pt x="0" y="12"/>
                          <a:pt x="8" y="27"/>
                          <a:pt x="9" y="38"/>
                        </a:cubicBezTo>
                        <a:cubicBezTo>
                          <a:pt x="11" y="50"/>
                          <a:pt x="18" y="62"/>
                          <a:pt x="22" y="74"/>
                        </a:cubicBezTo>
                        <a:cubicBezTo>
                          <a:pt x="33" y="104"/>
                          <a:pt x="38" y="143"/>
                          <a:pt x="32" y="176"/>
                        </a:cubicBezTo>
                        <a:cubicBezTo>
                          <a:pt x="31" y="171"/>
                          <a:pt x="26" y="168"/>
                          <a:pt x="26" y="162"/>
                        </a:cubicBezTo>
                        <a:cubicBezTo>
                          <a:pt x="27" y="171"/>
                          <a:pt x="25" y="180"/>
                          <a:pt x="25" y="188"/>
                        </a:cubicBezTo>
                        <a:cubicBezTo>
                          <a:pt x="25" y="199"/>
                          <a:pt x="27" y="212"/>
                          <a:pt x="25" y="222"/>
                        </a:cubicBezTo>
                        <a:cubicBezTo>
                          <a:pt x="23" y="231"/>
                          <a:pt x="16" y="241"/>
                          <a:pt x="15" y="250"/>
                        </a:cubicBezTo>
                        <a:cubicBezTo>
                          <a:pt x="14" y="258"/>
                          <a:pt x="17" y="266"/>
                          <a:pt x="19" y="273"/>
                        </a:cubicBezTo>
                        <a:cubicBezTo>
                          <a:pt x="19" y="267"/>
                          <a:pt x="16" y="258"/>
                          <a:pt x="14" y="252"/>
                        </a:cubicBezTo>
                        <a:cubicBezTo>
                          <a:pt x="2" y="276"/>
                          <a:pt x="11" y="303"/>
                          <a:pt x="11" y="328"/>
                        </a:cubicBezTo>
                        <a:cubicBezTo>
                          <a:pt x="11" y="340"/>
                          <a:pt x="10" y="351"/>
                          <a:pt x="8" y="362"/>
                        </a:cubicBezTo>
                        <a:cubicBezTo>
                          <a:pt x="7" y="370"/>
                          <a:pt x="6" y="380"/>
                          <a:pt x="2" y="387"/>
                        </a:cubicBezTo>
                        <a:cubicBezTo>
                          <a:pt x="7" y="378"/>
                          <a:pt x="17" y="373"/>
                          <a:pt x="21" y="363"/>
                        </a:cubicBezTo>
                        <a:cubicBezTo>
                          <a:pt x="26" y="351"/>
                          <a:pt x="29" y="340"/>
                          <a:pt x="31" y="328"/>
                        </a:cubicBezTo>
                        <a:cubicBezTo>
                          <a:pt x="33" y="314"/>
                          <a:pt x="32" y="299"/>
                          <a:pt x="34" y="285"/>
                        </a:cubicBezTo>
                        <a:cubicBezTo>
                          <a:pt x="35" y="270"/>
                          <a:pt x="38" y="256"/>
                          <a:pt x="38" y="241"/>
                        </a:cubicBezTo>
                        <a:cubicBezTo>
                          <a:pt x="39" y="226"/>
                          <a:pt x="41" y="210"/>
                          <a:pt x="45" y="196"/>
                        </a:cubicBezTo>
                        <a:cubicBezTo>
                          <a:pt x="49" y="182"/>
                          <a:pt x="46" y="172"/>
                          <a:pt x="46" y="157"/>
                        </a:cubicBezTo>
                        <a:cubicBezTo>
                          <a:pt x="46" y="143"/>
                          <a:pt x="46" y="131"/>
                          <a:pt x="43" y="117"/>
                        </a:cubicBezTo>
                        <a:cubicBezTo>
                          <a:pt x="42" y="106"/>
                          <a:pt x="40" y="92"/>
                          <a:pt x="36" y="81"/>
                        </a:cubicBezTo>
                        <a:cubicBezTo>
                          <a:pt x="30" y="67"/>
                          <a:pt x="9" y="10"/>
                          <a:pt x="1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8" name="Freeform 146"/>
                  <p:cNvSpPr>
                    <a:spLocks/>
                  </p:cNvSpPr>
                  <p:nvPr/>
                </p:nvSpPr>
                <p:spPr bwMode="gray">
                  <a:xfrm>
                    <a:off x="-2160588" y="-18788062"/>
                    <a:ext cx="220663" cy="557213"/>
                  </a:xfrm>
                  <a:custGeom>
                    <a:avLst/>
                    <a:gdLst/>
                    <a:ahLst/>
                    <a:cxnLst>
                      <a:cxn ang="0">
                        <a:pos x="59" y="142"/>
                      </a:cxn>
                      <a:cxn ang="0">
                        <a:pos x="50" y="113"/>
                      </a:cxn>
                      <a:cxn ang="0">
                        <a:pos x="54" y="79"/>
                      </a:cxn>
                      <a:cxn ang="0">
                        <a:pos x="39" y="97"/>
                      </a:cxn>
                      <a:cxn ang="0">
                        <a:pos x="38" y="63"/>
                      </a:cxn>
                      <a:cxn ang="0">
                        <a:pos x="18" y="73"/>
                      </a:cxn>
                      <a:cxn ang="0">
                        <a:pos x="21" y="0"/>
                      </a:cxn>
                      <a:cxn ang="0">
                        <a:pos x="2" y="34"/>
                      </a:cxn>
                      <a:cxn ang="0">
                        <a:pos x="1" y="72"/>
                      </a:cxn>
                      <a:cxn ang="0">
                        <a:pos x="14" y="106"/>
                      </a:cxn>
                      <a:cxn ang="0">
                        <a:pos x="22" y="122"/>
                      </a:cxn>
                      <a:cxn ang="0">
                        <a:pos x="29" y="140"/>
                      </a:cxn>
                      <a:cxn ang="0">
                        <a:pos x="38" y="147"/>
                      </a:cxn>
                      <a:cxn ang="0">
                        <a:pos x="38" y="149"/>
                      </a:cxn>
                      <a:cxn ang="0">
                        <a:pos x="49" y="144"/>
                      </a:cxn>
                      <a:cxn ang="0">
                        <a:pos x="59" y="142"/>
                      </a:cxn>
                    </a:cxnLst>
                    <a:rect l="0" t="0" r="r" b="b"/>
                    <a:pathLst>
                      <a:path w="59" h="149">
                        <a:moveTo>
                          <a:pt x="59" y="142"/>
                        </a:moveTo>
                        <a:cubicBezTo>
                          <a:pt x="57" y="132"/>
                          <a:pt x="50" y="124"/>
                          <a:pt x="50" y="113"/>
                        </a:cubicBezTo>
                        <a:cubicBezTo>
                          <a:pt x="49" y="101"/>
                          <a:pt x="52" y="90"/>
                          <a:pt x="54" y="79"/>
                        </a:cubicBezTo>
                        <a:cubicBezTo>
                          <a:pt x="46" y="78"/>
                          <a:pt x="38" y="90"/>
                          <a:pt x="39" y="97"/>
                        </a:cubicBezTo>
                        <a:cubicBezTo>
                          <a:pt x="34" y="86"/>
                          <a:pt x="31" y="73"/>
                          <a:pt x="38" y="63"/>
                        </a:cubicBezTo>
                        <a:cubicBezTo>
                          <a:pt x="29" y="59"/>
                          <a:pt x="23" y="68"/>
                          <a:pt x="18" y="73"/>
                        </a:cubicBezTo>
                        <a:cubicBezTo>
                          <a:pt x="11" y="49"/>
                          <a:pt x="16" y="24"/>
                          <a:pt x="21" y="0"/>
                        </a:cubicBezTo>
                        <a:cubicBezTo>
                          <a:pt x="9" y="4"/>
                          <a:pt x="3" y="23"/>
                          <a:pt x="2" y="34"/>
                        </a:cubicBezTo>
                        <a:cubicBezTo>
                          <a:pt x="1" y="46"/>
                          <a:pt x="0" y="61"/>
                          <a:pt x="1" y="72"/>
                        </a:cubicBezTo>
                        <a:cubicBezTo>
                          <a:pt x="3" y="85"/>
                          <a:pt x="7" y="95"/>
                          <a:pt x="14" y="106"/>
                        </a:cubicBezTo>
                        <a:cubicBezTo>
                          <a:pt x="17" y="111"/>
                          <a:pt x="20" y="117"/>
                          <a:pt x="22" y="122"/>
                        </a:cubicBezTo>
                        <a:cubicBezTo>
                          <a:pt x="25" y="127"/>
                          <a:pt x="26" y="135"/>
                          <a:pt x="29" y="140"/>
                        </a:cubicBezTo>
                        <a:cubicBezTo>
                          <a:pt x="31" y="144"/>
                          <a:pt x="34" y="146"/>
                          <a:pt x="38" y="147"/>
                        </a:cubicBezTo>
                        <a:cubicBezTo>
                          <a:pt x="38" y="148"/>
                          <a:pt x="38" y="148"/>
                          <a:pt x="38" y="149"/>
                        </a:cubicBezTo>
                        <a:cubicBezTo>
                          <a:pt x="43" y="149"/>
                          <a:pt x="45" y="146"/>
                          <a:pt x="49" y="144"/>
                        </a:cubicBezTo>
                        <a:cubicBezTo>
                          <a:pt x="52" y="143"/>
                          <a:pt x="57" y="142"/>
                          <a:pt x="59" y="1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19" name="Freeform 147"/>
                  <p:cNvSpPr>
                    <a:spLocks/>
                  </p:cNvSpPr>
                  <p:nvPr/>
                </p:nvSpPr>
                <p:spPr bwMode="gray">
                  <a:xfrm>
                    <a:off x="-2044700" y="-19318287"/>
                    <a:ext cx="280988" cy="176213"/>
                  </a:xfrm>
                  <a:custGeom>
                    <a:avLst/>
                    <a:gdLst/>
                    <a:ahLst/>
                    <a:cxnLst>
                      <a:cxn ang="0">
                        <a:pos x="0" y="38"/>
                      </a:cxn>
                      <a:cxn ang="0">
                        <a:pos x="75" y="1"/>
                      </a:cxn>
                      <a:cxn ang="0">
                        <a:pos x="58" y="18"/>
                      </a:cxn>
                      <a:cxn ang="0">
                        <a:pos x="40" y="34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75" h="47">
                        <a:moveTo>
                          <a:pt x="0" y="38"/>
                        </a:moveTo>
                        <a:cubicBezTo>
                          <a:pt x="20" y="17"/>
                          <a:pt x="45" y="0"/>
                          <a:pt x="75" y="1"/>
                        </a:cubicBezTo>
                        <a:cubicBezTo>
                          <a:pt x="75" y="7"/>
                          <a:pt x="62" y="15"/>
                          <a:pt x="58" y="18"/>
                        </a:cubicBezTo>
                        <a:cubicBezTo>
                          <a:pt x="52" y="23"/>
                          <a:pt x="46" y="28"/>
                          <a:pt x="40" y="34"/>
                        </a:cubicBezTo>
                        <a:cubicBezTo>
                          <a:pt x="27" y="47"/>
                          <a:pt x="16" y="38"/>
                          <a:pt x="0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0" name="Freeform 148"/>
                  <p:cNvSpPr>
                    <a:spLocks/>
                  </p:cNvSpPr>
                  <p:nvPr/>
                </p:nvSpPr>
                <p:spPr bwMode="gray">
                  <a:xfrm>
                    <a:off x="-1789113" y="-19535775"/>
                    <a:ext cx="295275" cy="117475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39" y="16"/>
                      </a:cxn>
                      <a:cxn ang="0">
                        <a:pos x="79" y="0"/>
                      </a:cxn>
                      <a:cxn ang="0">
                        <a:pos x="55" y="14"/>
                      </a:cxn>
                      <a:cxn ang="0">
                        <a:pos x="41" y="20"/>
                      </a:cxn>
                      <a:cxn ang="0">
                        <a:pos x="13" y="29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9" h="31">
                        <a:moveTo>
                          <a:pt x="0" y="10"/>
                        </a:moveTo>
                        <a:cubicBezTo>
                          <a:pt x="5" y="19"/>
                          <a:pt x="31" y="17"/>
                          <a:pt x="39" y="16"/>
                        </a:cubicBezTo>
                        <a:cubicBezTo>
                          <a:pt x="53" y="13"/>
                          <a:pt x="66" y="4"/>
                          <a:pt x="79" y="0"/>
                        </a:cubicBezTo>
                        <a:cubicBezTo>
                          <a:pt x="77" y="5"/>
                          <a:pt x="61" y="11"/>
                          <a:pt x="55" y="14"/>
                        </a:cubicBezTo>
                        <a:cubicBezTo>
                          <a:pt x="51" y="17"/>
                          <a:pt x="46" y="18"/>
                          <a:pt x="41" y="20"/>
                        </a:cubicBezTo>
                        <a:cubicBezTo>
                          <a:pt x="33" y="24"/>
                          <a:pt x="23" y="31"/>
                          <a:pt x="13" y="29"/>
                        </a:cubicBezTo>
                        <a:cubicBezTo>
                          <a:pt x="10" y="22"/>
                          <a:pt x="7" y="14"/>
                          <a:pt x="0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421" name="Freeform 149"/>
                  <p:cNvSpPr>
                    <a:spLocks/>
                  </p:cNvSpPr>
                  <p:nvPr/>
                </p:nvSpPr>
                <p:spPr bwMode="gray">
                  <a:xfrm>
                    <a:off x="-2052638" y="-19335750"/>
                    <a:ext cx="652463" cy="704850"/>
                  </a:xfrm>
                  <a:custGeom>
                    <a:avLst/>
                    <a:gdLst/>
                    <a:ahLst/>
                    <a:cxnLst>
                      <a:cxn ang="0">
                        <a:pos x="42" y="93"/>
                      </a:cxn>
                      <a:cxn ang="0">
                        <a:pos x="94" y="38"/>
                      </a:cxn>
                      <a:cxn ang="0">
                        <a:pos x="174" y="20"/>
                      </a:cxn>
                      <a:cxn ang="0">
                        <a:pos x="117" y="11"/>
                      </a:cxn>
                      <a:cxn ang="0">
                        <a:pos x="152" y="7"/>
                      </a:cxn>
                      <a:cxn ang="0">
                        <a:pos x="0" y="160"/>
                      </a:cxn>
                      <a:cxn ang="0">
                        <a:pos x="11" y="142"/>
                      </a:cxn>
                      <a:cxn ang="0">
                        <a:pos x="14" y="188"/>
                      </a:cxn>
                      <a:cxn ang="0">
                        <a:pos x="76" y="74"/>
                      </a:cxn>
                    </a:cxnLst>
                    <a:rect l="0" t="0" r="r" b="b"/>
                    <a:pathLst>
                      <a:path w="174" h="188">
                        <a:moveTo>
                          <a:pt x="42" y="93"/>
                        </a:moveTo>
                        <a:cubicBezTo>
                          <a:pt x="64" y="80"/>
                          <a:pt x="71" y="52"/>
                          <a:pt x="94" y="38"/>
                        </a:cubicBezTo>
                        <a:cubicBezTo>
                          <a:pt x="120" y="21"/>
                          <a:pt x="148" y="30"/>
                          <a:pt x="174" y="20"/>
                        </a:cubicBezTo>
                        <a:cubicBezTo>
                          <a:pt x="164" y="5"/>
                          <a:pt x="134" y="6"/>
                          <a:pt x="117" y="11"/>
                        </a:cubicBezTo>
                        <a:cubicBezTo>
                          <a:pt x="128" y="11"/>
                          <a:pt x="140" y="9"/>
                          <a:pt x="152" y="7"/>
                        </a:cubicBezTo>
                        <a:cubicBezTo>
                          <a:pt x="65" y="0"/>
                          <a:pt x="0" y="79"/>
                          <a:pt x="0" y="160"/>
                        </a:cubicBezTo>
                        <a:cubicBezTo>
                          <a:pt x="2" y="148"/>
                          <a:pt x="3" y="151"/>
                          <a:pt x="11" y="142"/>
                        </a:cubicBezTo>
                        <a:cubicBezTo>
                          <a:pt x="12" y="158"/>
                          <a:pt x="4" y="174"/>
                          <a:pt x="14" y="188"/>
                        </a:cubicBezTo>
                        <a:cubicBezTo>
                          <a:pt x="24" y="154"/>
                          <a:pt x="39" y="86"/>
                          <a:pt x="76" y="7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sp>
            <p:nvSpPr>
              <p:cNvPr id="8" name="Textfeld 7"/>
              <p:cNvSpPr txBox="1"/>
              <p:nvPr/>
            </p:nvSpPr>
            <p:spPr bwMode="gray">
              <a:xfrm>
                <a:off x="634782" y="2449911"/>
                <a:ext cx="529312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  <a:latin typeface="Arial Black" pitchFamily="34" charset="0"/>
                  </a:rPr>
                  <a:t>?</a:t>
                </a:r>
                <a:endParaRPr lang="en-US" sz="4400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 Black" pitchFamily="34" charset="0"/>
                </a:endParaRPr>
              </a:p>
            </p:txBody>
          </p:sp>
          <p:grpSp>
            <p:nvGrpSpPr>
              <p:cNvPr id="28" name="Gruppieren 112"/>
              <p:cNvGrpSpPr/>
              <p:nvPr/>
            </p:nvGrpSpPr>
            <p:grpSpPr bwMode="gray">
              <a:xfrm flipH="1">
                <a:off x="1226081" y="2169254"/>
                <a:ext cx="428363" cy="1654364"/>
                <a:chOff x="15849600" y="5499101"/>
                <a:chExt cx="5478462" cy="21158200"/>
              </a:xfrm>
              <a:solidFill>
                <a:srgbClr val="C8C8C8"/>
              </a:solidFill>
            </p:grpSpPr>
            <p:sp>
              <p:nvSpPr>
                <p:cNvPr id="1721" name="Freeform 346"/>
                <p:cNvSpPr>
                  <a:spLocks/>
                </p:cNvSpPr>
                <p:nvPr/>
              </p:nvSpPr>
              <p:spPr bwMode="gray">
                <a:xfrm>
                  <a:off x="17341850" y="15898813"/>
                  <a:ext cx="3443288" cy="4878388"/>
                </a:xfrm>
                <a:custGeom>
                  <a:avLst/>
                  <a:gdLst/>
                  <a:ahLst/>
                  <a:cxnLst>
                    <a:cxn ang="0">
                      <a:pos x="0" y="1226"/>
                    </a:cxn>
                    <a:cxn ang="0">
                      <a:pos x="513" y="1294"/>
                    </a:cxn>
                    <a:cxn ang="0">
                      <a:pos x="762" y="1286"/>
                    </a:cxn>
                    <a:cxn ang="0">
                      <a:pos x="871" y="1202"/>
                    </a:cxn>
                    <a:cxn ang="0">
                      <a:pos x="904" y="1174"/>
                    </a:cxn>
                    <a:cxn ang="0">
                      <a:pos x="904" y="1004"/>
                    </a:cxn>
                    <a:cxn ang="0">
                      <a:pos x="866" y="652"/>
                    </a:cxn>
                    <a:cxn ang="0">
                      <a:pos x="795" y="271"/>
                    </a:cxn>
                    <a:cxn ang="0">
                      <a:pos x="755" y="131"/>
                    </a:cxn>
                    <a:cxn ang="0">
                      <a:pos x="690" y="19"/>
                    </a:cxn>
                    <a:cxn ang="0">
                      <a:pos x="295" y="0"/>
                    </a:cxn>
                    <a:cxn ang="0">
                      <a:pos x="193" y="49"/>
                    </a:cxn>
                    <a:cxn ang="0">
                      <a:pos x="89" y="484"/>
                    </a:cxn>
                    <a:cxn ang="0">
                      <a:pos x="85" y="693"/>
                    </a:cxn>
                    <a:cxn ang="0">
                      <a:pos x="60" y="887"/>
                    </a:cxn>
                    <a:cxn ang="0">
                      <a:pos x="57" y="1065"/>
                    </a:cxn>
                    <a:cxn ang="0">
                      <a:pos x="69" y="1210"/>
                    </a:cxn>
                  </a:cxnLst>
                  <a:rect l="0" t="0" r="r" b="b"/>
                  <a:pathLst>
                    <a:path w="918" h="1301">
                      <a:moveTo>
                        <a:pt x="0" y="1226"/>
                      </a:moveTo>
                      <a:cubicBezTo>
                        <a:pt x="131" y="1266"/>
                        <a:pt x="372" y="1301"/>
                        <a:pt x="513" y="1294"/>
                      </a:cubicBezTo>
                      <a:cubicBezTo>
                        <a:pt x="592" y="1290"/>
                        <a:pt x="685" y="1301"/>
                        <a:pt x="762" y="1286"/>
                      </a:cubicBezTo>
                      <a:cubicBezTo>
                        <a:pt x="795" y="1280"/>
                        <a:pt x="838" y="1212"/>
                        <a:pt x="871" y="1202"/>
                      </a:cubicBezTo>
                      <a:cubicBezTo>
                        <a:pt x="898" y="1193"/>
                        <a:pt x="894" y="1200"/>
                        <a:pt x="904" y="1174"/>
                      </a:cubicBezTo>
                      <a:cubicBezTo>
                        <a:pt x="918" y="1133"/>
                        <a:pt x="905" y="1047"/>
                        <a:pt x="904" y="1004"/>
                      </a:cubicBezTo>
                      <a:cubicBezTo>
                        <a:pt x="900" y="887"/>
                        <a:pt x="880" y="767"/>
                        <a:pt x="866" y="652"/>
                      </a:cubicBezTo>
                      <a:cubicBezTo>
                        <a:pt x="852" y="530"/>
                        <a:pt x="842" y="383"/>
                        <a:pt x="795" y="271"/>
                      </a:cubicBezTo>
                      <a:cubicBezTo>
                        <a:pt x="777" y="228"/>
                        <a:pt x="766" y="178"/>
                        <a:pt x="755" y="131"/>
                      </a:cubicBezTo>
                      <a:cubicBezTo>
                        <a:pt x="742" y="75"/>
                        <a:pt x="756" y="26"/>
                        <a:pt x="690" y="19"/>
                      </a:cubicBezTo>
                      <a:cubicBezTo>
                        <a:pt x="558" y="6"/>
                        <a:pt x="427" y="1"/>
                        <a:pt x="295" y="0"/>
                      </a:cubicBezTo>
                      <a:cubicBezTo>
                        <a:pt x="246" y="0"/>
                        <a:pt x="214" y="3"/>
                        <a:pt x="193" y="49"/>
                      </a:cubicBezTo>
                      <a:cubicBezTo>
                        <a:pt x="134" y="185"/>
                        <a:pt x="107" y="336"/>
                        <a:pt x="89" y="484"/>
                      </a:cubicBezTo>
                      <a:cubicBezTo>
                        <a:pt x="81" y="552"/>
                        <a:pt x="86" y="623"/>
                        <a:pt x="85" y="693"/>
                      </a:cubicBezTo>
                      <a:cubicBezTo>
                        <a:pt x="85" y="760"/>
                        <a:pt x="67" y="821"/>
                        <a:pt x="60" y="887"/>
                      </a:cubicBezTo>
                      <a:cubicBezTo>
                        <a:pt x="54" y="947"/>
                        <a:pt x="51" y="1005"/>
                        <a:pt x="57" y="1065"/>
                      </a:cubicBezTo>
                      <a:cubicBezTo>
                        <a:pt x="61" y="1111"/>
                        <a:pt x="72" y="1165"/>
                        <a:pt x="69" y="121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2" name="Freeform 347"/>
                <p:cNvSpPr>
                  <a:spLocks/>
                </p:cNvSpPr>
                <p:nvPr/>
              </p:nvSpPr>
              <p:spPr bwMode="gray">
                <a:xfrm>
                  <a:off x="16719550" y="15301913"/>
                  <a:ext cx="2633663" cy="10912475"/>
                </a:xfrm>
                <a:custGeom>
                  <a:avLst/>
                  <a:gdLst/>
                  <a:ahLst/>
                  <a:cxnLst>
                    <a:cxn ang="0">
                      <a:pos x="691" y="256"/>
                    </a:cxn>
                    <a:cxn ang="0">
                      <a:pos x="658" y="957"/>
                    </a:cxn>
                    <a:cxn ang="0">
                      <a:pos x="634" y="1207"/>
                    </a:cxn>
                    <a:cxn ang="0">
                      <a:pos x="610" y="1401"/>
                    </a:cxn>
                    <a:cxn ang="0">
                      <a:pos x="578" y="1816"/>
                    </a:cxn>
                    <a:cxn ang="0">
                      <a:pos x="521" y="1990"/>
                    </a:cxn>
                    <a:cxn ang="0">
                      <a:pos x="481" y="2171"/>
                    </a:cxn>
                    <a:cxn ang="0">
                      <a:pos x="444" y="2344"/>
                    </a:cxn>
                    <a:cxn ang="0">
                      <a:pos x="488" y="2510"/>
                    </a:cxn>
                    <a:cxn ang="0">
                      <a:pos x="411" y="2646"/>
                    </a:cxn>
                    <a:cxn ang="0">
                      <a:pos x="279" y="2781"/>
                    </a:cxn>
                    <a:cxn ang="0">
                      <a:pos x="187" y="2842"/>
                    </a:cxn>
                    <a:cxn ang="0">
                      <a:pos x="87" y="2904"/>
                    </a:cxn>
                    <a:cxn ang="0">
                      <a:pos x="63" y="2892"/>
                    </a:cxn>
                    <a:cxn ang="0">
                      <a:pos x="18" y="2860"/>
                    </a:cxn>
                    <a:cxn ang="0">
                      <a:pos x="93" y="2722"/>
                    </a:cxn>
                    <a:cxn ang="0">
                      <a:pos x="166" y="2578"/>
                    </a:cxn>
                    <a:cxn ang="0">
                      <a:pos x="251" y="2227"/>
                    </a:cxn>
                    <a:cxn ang="0">
                      <a:pos x="276" y="1797"/>
                    </a:cxn>
                    <a:cxn ang="0">
                      <a:pos x="304" y="1392"/>
                    </a:cxn>
                    <a:cxn ang="0">
                      <a:pos x="276" y="1134"/>
                    </a:cxn>
                    <a:cxn ang="0">
                      <a:pos x="280" y="781"/>
                    </a:cxn>
                    <a:cxn ang="0">
                      <a:pos x="303" y="476"/>
                    </a:cxn>
                    <a:cxn ang="0">
                      <a:pos x="340" y="227"/>
                    </a:cxn>
                    <a:cxn ang="0">
                      <a:pos x="401" y="43"/>
                    </a:cxn>
                    <a:cxn ang="0">
                      <a:pos x="578" y="6"/>
                    </a:cxn>
                    <a:cxn ang="0">
                      <a:pos x="667" y="70"/>
                    </a:cxn>
                    <a:cxn ang="0">
                      <a:pos x="691" y="264"/>
                    </a:cxn>
                  </a:cxnLst>
                  <a:rect l="0" t="0" r="r" b="b"/>
                  <a:pathLst>
                    <a:path w="702" h="2910">
                      <a:moveTo>
                        <a:pt x="691" y="256"/>
                      </a:moveTo>
                      <a:cubicBezTo>
                        <a:pt x="691" y="491"/>
                        <a:pt x="670" y="724"/>
                        <a:pt x="658" y="957"/>
                      </a:cubicBezTo>
                      <a:cubicBezTo>
                        <a:pt x="654" y="1045"/>
                        <a:pt x="650" y="1125"/>
                        <a:pt x="634" y="1207"/>
                      </a:cubicBezTo>
                      <a:cubicBezTo>
                        <a:pt x="622" y="1271"/>
                        <a:pt x="610" y="1331"/>
                        <a:pt x="610" y="1401"/>
                      </a:cubicBezTo>
                      <a:cubicBezTo>
                        <a:pt x="610" y="1544"/>
                        <a:pt x="617" y="1684"/>
                        <a:pt x="578" y="1816"/>
                      </a:cubicBezTo>
                      <a:cubicBezTo>
                        <a:pt x="560" y="1877"/>
                        <a:pt x="533" y="1928"/>
                        <a:pt x="521" y="1990"/>
                      </a:cubicBezTo>
                      <a:cubicBezTo>
                        <a:pt x="509" y="2049"/>
                        <a:pt x="496" y="2113"/>
                        <a:pt x="481" y="2171"/>
                      </a:cubicBezTo>
                      <a:cubicBezTo>
                        <a:pt x="467" y="2226"/>
                        <a:pt x="452" y="2288"/>
                        <a:pt x="444" y="2344"/>
                      </a:cubicBezTo>
                      <a:cubicBezTo>
                        <a:pt x="434" y="2410"/>
                        <a:pt x="479" y="2447"/>
                        <a:pt x="488" y="2510"/>
                      </a:cubicBezTo>
                      <a:cubicBezTo>
                        <a:pt x="500" y="2590"/>
                        <a:pt x="475" y="2613"/>
                        <a:pt x="411" y="2646"/>
                      </a:cubicBezTo>
                      <a:cubicBezTo>
                        <a:pt x="345" y="2679"/>
                        <a:pt x="339" y="2742"/>
                        <a:pt x="279" y="2781"/>
                      </a:cubicBezTo>
                      <a:cubicBezTo>
                        <a:pt x="248" y="2801"/>
                        <a:pt x="215" y="2818"/>
                        <a:pt x="187" y="2842"/>
                      </a:cubicBezTo>
                      <a:cubicBezTo>
                        <a:pt x="163" y="2861"/>
                        <a:pt x="118" y="2910"/>
                        <a:pt x="87" y="2904"/>
                      </a:cubicBezTo>
                      <a:cubicBezTo>
                        <a:pt x="81" y="2902"/>
                        <a:pt x="73" y="2895"/>
                        <a:pt x="63" y="2892"/>
                      </a:cubicBezTo>
                      <a:cubicBezTo>
                        <a:pt x="68" y="2865"/>
                        <a:pt x="38" y="2862"/>
                        <a:pt x="18" y="2860"/>
                      </a:cubicBezTo>
                      <a:cubicBezTo>
                        <a:pt x="0" y="2821"/>
                        <a:pt x="71" y="2754"/>
                        <a:pt x="93" y="2722"/>
                      </a:cubicBezTo>
                      <a:cubicBezTo>
                        <a:pt x="123" y="2677"/>
                        <a:pt x="137" y="2625"/>
                        <a:pt x="166" y="2578"/>
                      </a:cubicBezTo>
                      <a:cubicBezTo>
                        <a:pt x="233" y="2468"/>
                        <a:pt x="251" y="2360"/>
                        <a:pt x="251" y="2227"/>
                      </a:cubicBezTo>
                      <a:cubicBezTo>
                        <a:pt x="251" y="2082"/>
                        <a:pt x="255" y="1938"/>
                        <a:pt x="276" y="1797"/>
                      </a:cubicBezTo>
                      <a:cubicBezTo>
                        <a:pt x="296" y="1665"/>
                        <a:pt x="297" y="1528"/>
                        <a:pt x="304" y="1392"/>
                      </a:cubicBezTo>
                      <a:cubicBezTo>
                        <a:pt x="308" y="1301"/>
                        <a:pt x="285" y="1222"/>
                        <a:pt x="276" y="1134"/>
                      </a:cubicBezTo>
                      <a:cubicBezTo>
                        <a:pt x="263" y="1018"/>
                        <a:pt x="269" y="896"/>
                        <a:pt x="280" y="781"/>
                      </a:cubicBezTo>
                      <a:cubicBezTo>
                        <a:pt x="289" y="679"/>
                        <a:pt x="289" y="577"/>
                        <a:pt x="303" y="476"/>
                      </a:cubicBezTo>
                      <a:cubicBezTo>
                        <a:pt x="315" y="393"/>
                        <a:pt x="326" y="307"/>
                        <a:pt x="340" y="227"/>
                      </a:cubicBezTo>
                      <a:cubicBezTo>
                        <a:pt x="350" y="167"/>
                        <a:pt x="355" y="88"/>
                        <a:pt x="401" y="43"/>
                      </a:cubicBezTo>
                      <a:cubicBezTo>
                        <a:pt x="441" y="4"/>
                        <a:pt x="525" y="0"/>
                        <a:pt x="578" y="6"/>
                      </a:cubicBezTo>
                      <a:cubicBezTo>
                        <a:pt x="618" y="10"/>
                        <a:pt x="648" y="35"/>
                        <a:pt x="667" y="70"/>
                      </a:cubicBezTo>
                      <a:cubicBezTo>
                        <a:pt x="690" y="112"/>
                        <a:pt x="702" y="224"/>
                        <a:pt x="691" y="264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3" name="Freeform 348"/>
                <p:cNvSpPr>
                  <a:spLocks/>
                </p:cNvSpPr>
                <p:nvPr/>
              </p:nvSpPr>
              <p:spPr bwMode="gray">
                <a:xfrm>
                  <a:off x="19705637" y="17146588"/>
                  <a:ext cx="1473200" cy="9048750"/>
                </a:xfrm>
                <a:custGeom>
                  <a:avLst/>
                  <a:gdLst/>
                  <a:ahLst/>
                  <a:cxnLst>
                    <a:cxn ang="0">
                      <a:pos x="346" y="812"/>
                    </a:cxn>
                    <a:cxn ang="0">
                      <a:pos x="362" y="1014"/>
                    </a:cxn>
                    <a:cxn ang="0">
                      <a:pos x="378" y="1380"/>
                    </a:cxn>
                    <a:cxn ang="0">
                      <a:pos x="334" y="1586"/>
                    </a:cxn>
                    <a:cxn ang="0">
                      <a:pos x="310" y="1828"/>
                    </a:cxn>
                    <a:cxn ang="0">
                      <a:pos x="314" y="2042"/>
                    </a:cxn>
                    <a:cxn ang="0">
                      <a:pos x="276" y="2234"/>
                    </a:cxn>
                    <a:cxn ang="0">
                      <a:pos x="161" y="2386"/>
                    </a:cxn>
                    <a:cxn ang="0">
                      <a:pos x="16" y="2316"/>
                    </a:cxn>
                    <a:cxn ang="0">
                      <a:pos x="72" y="2143"/>
                    </a:cxn>
                    <a:cxn ang="0">
                      <a:pos x="120" y="1731"/>
                    </a:cxn>
                    <a:cxn ang="0">
                      <a:pos x="92" y="1522"/>
                    </a:cxn>
                    <a:cxn ang="0">
                      <a:pos x="67" y="1324"/>
                    </a:cxn>
                    <a:cxn ang="0">
                      <a:pos x="56" y="1106"/>
                    </a:cxn>
                    <a:cxn ang="0">
                      <a:pos x="14" y="330"/>
                    </a:cxn>
                    <a:cxn ang="0">
                      <a:pos x="7" y="90"/>
                    </a:cxn>
                    <a:cxn ang="0">
                      <a:pos x="12" y="19"/>
                    </a:cxn>
                    <a:cxn ang="0">
                      <a:pos x="132" y="15"/>
                    </a:cxn>
                    <a:cxn ang="0">
                      <a:pos x="270" y="168"/>
                    </a:cxn>
                    <a:cxn ang="0">
                      <a:pos x="278" y="513"/>
                    </a:cxn>
                    <a:cxn ang="0">
                      <a:pos x="298" y="727"/>
                    </a:cxn>
                    <a:cxn ang="0">
                      <a:pos x="346" y="808"/>
                    </a:cxn>
                  </a:cxnLst>
                  <a:rect l="0" t="0" r="r" b="b"/>
                  <a:pathLst>
                    <a:path w="393" h="2413">
                      <a:moveTo>
                        <a:pt x="346" y="812"/>
                      </a:moveTo>
                      <a:cubicBezTo>
                        <a:pt x="341" y="877"/>
                        <a:pt x="357" y="948"/>
                        <a:pt x="362" y="1014"/>
                      </a:cubicBezTo>
                      <a:cubicBezTo>
                        <a:pt x="372" y="1138"/>
                        <a:pt x="393" y="1259"/>
                        <a:pt x="378" y="1380"/>
                      </a:cubicBezTo>
                      <a:cubicBezTo>
                        <a:pt x="370" y="1450"/>
                        <a:pt x="348" y="1520"/>
                        <a:pt x="334" y="1586"/>
                      </a:cubicBezTo>
                      <a:cubicBezTo>
                        <a:pt x="318" y="1663"/>
                        <a:pt x="317" y="1750"/>
                        <a:pt x="310" y="1828"/>
                      </a:cubicBezTo>
                      <a:cubicBezTo>
                        <a:pt x="303" y="1896"/>
                        <a:pt x="298" y="1977"/>
                        <a:pt x="314" y="2042"/>
                      </a:cubicBezTo>
                      <a:cubicBezTo>
                        <a:pt x="333" y="2124"/>
                        <a:pt x="320" y="2165"/>
                        <a:pt x="276" y="2234"/>
                      </a:cubicBezTo>
                      <a:cubicBezTo>
                        <a:pt x="245" y="2283"/>
                        <a:pt x="220" y="2356"/>
                        <a:pt x="161" y="2386"/>
                      </a:cubicBezTo>
                      <a:cubicBezTo>
                        <a:pt x="105" y="2413"/>
                        <a:pt x="21" y="2378"/>
                        <a:pt x="16" y="2316"/>
                      </a:cubicBezTo>
                      <a:cubicBezTo>
                        <a:pt x="10" y="2256"/>
                        <a:pt x="58" y="2197"/>
                        <a:pt x="72" y="2143"/>
                      </a:cubicBezTo>
                      <a:cubicBezTo>
                        <a:pt x="89" y="2078"/>
                        <a:pt x="120" y="1809"/>
                        <a:pt x="120" y="1731"/>
                      </a:cubicBezTo>
                      <a:cubicBezTo>
                        <a:pt x="120" y="1659"/>
                        <a:pt x="103" y="1590"/>
                        <a:pt x="92" y="1522"/>
                      </a:cubicBezTo>
                      <a:cubicBezTo>
                        <a:pt x="81" y="1457"/>
                        <a:pt x="70" y="1392"/>
                        <a:pt x="67" y="1324"/>
                      </a:cubicBezTo>
                      <a:cubicBezTo>
                        <a:pt x="64" y="1252"/>
                        <a:pt x="66" y="1174"/>
                        <a:pt x="56" y="1106"/>
                      </a:cubicBezTo>
                      <a:cubicBezTo>
                        <a:pt x="19" y="855"/>
                        <a:pt x="38" y="589"/>
                        <a:pt x="14" y="330"/>
                      </a:cubicBezTo>
                      <a:cubicBezTo>
                        <a:pt x="7" y="250"/>
                        <a:pt x="7" y="170"/>
                        <a:pt x="7" y="90"/>
                      </a:cubicBezTo>
                      <a:cubicBezTo>
                        <a:pt x="7" y="74"/>
                        <a:pt x="0" y="32"/>
                        <a:pt x="12" y="19"/>
                      </a:cubicBezTo>
                      <a:cubicBezTo>
                        <a:pt x="31" y="0"/>
                        <a:pt x="109" y="9"/>
                        <a:pt x="132" y="15"/>
                      </a:cubicBezTo>
                      <a:cubicBezTo>
                        <a:pt x="206" y="33"/>
                        <a:pt x="260" y="96"/>
                        <a:pt x="270" y="168"/>
                      </a:cubicBezTo>
                      <a:cubicBezTo>
                        <a:pt x="287" y="279"/>
                        <a:pt x="278" y="399"/>
                        <a:pt x="278" y="513"/>
                      </a:cubicBezTo>
                      <a:cubicBezTo>
                        <a:pt x="278" y="584"/>
                        <a:pt x="270" y="661"/>
                        <a:pt x="298" y="727"/>
                      </a:cubicBezTo>
                      <a:cubicBezTo>
                        <a:pt x="310" y="757"/>
                        <a:pt x="334" y="782"/>
                        <a:pt x="346" y="80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4" name="Freeform 349"/>
                <p:cNvSpPr>
                  <a:spLocks/>
                </p:cNvSpPr>
                <p:nvPr/>
              </p:nvSpPr>
              <p:spPr bwMode="gray">
                <a:xfrm>
                  <a:off x="17795875" y="20162838"/>
                  <a:ext cx="1320800" cy="1423988"/>
                </a:xfrm>
                <a:custGeom>
                  <a:avLst/>
                  <a:gdLst/>
                  <a:ahLst/>
                  <a:cxnLst>
                    <a:cxn ang="0">
                      <a:pos x="15" y="63"/>
                    </a:cxn>
                    <a:cxn ang="0">
                      <a:pos x="204" y="186"/>
                    </a:cxn>
                    <a:cxn ang="0">
                      <a:pos x="315" y="380"/>
                    </a:cxn>
                    <a:cxn ang="0">
                      <a:pos x="296" y="78"/>
                    </a:cxn>
                    <a:cxn ang="0">
                      <a:pos x="15" y="69"/>
                    </a:cxn>
                  </a:cxnLst>
                  <a:rect l="0" t="0" r="r" b="b"/>
                  <a:pathLst>
                    <a:path w="352" h="380">
                      <a:moveTo>
                        <a:pt x="15" y="63"/>
                      </a:moveTo>
                      <a:cubicBezTo>
                        <a:pt x="0" y="154"/>
                        <a:pt x="148" y="159"/>
                        <a:pt x="204" y="186"/>
                      </a:cubicBezTo>
                      <a:cubicBezTo>
                        <a:pt x="282" y="225"/>
                        <a:pt x="298" y="310"/>
                        <a:pt x="315" y="380"/>
                      </a:cubicBezTo>
                      <a:cubicBezTo>
                        <a:pt x="336" y="298"/>
                        <a:pt x="352" y="147"/>
                        <a:pt x="296" y="78"/>
                      </a:cubicBezTo>
                      <a:cubicBezTo>
                        <a:pt x="244" y="14"/>
                        <a:pt x="61" y="0"/>
                        <a:pt x="15" y="6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5" name="Freeform 350"/>
                <p:cNvSpPr>
                  <a:spLocks/>
                </p:cNvSpPr>
                <p:nvPr/>
              </p:nvSpPr>
              <p:spPr bwMode="gray">
                <a:xfrm>
                  <a:off x="19705637" y="20245388"/>
                  <a:ext cx="1387475" cy="595313"/>
                </a:xfrm>
                <a:custGeom>
                  <a:avLst/>
                  <a:gdLst/>
                  <a:ahLst/>
                  <a:cxnLst>
                    <a:cxn ang="0">
                      <a:pos x="44" y="159"/>
                    </a:cxn>
                    <a:cxn ang="0">
                      <a:pos x="194" y="95"/>
                    </a:cxn>
                    <a:cxn ang="0">
                      <a:pos x="329" y="32"/>
                    </a:cxn>
                    <a:cxn ang="0">
                      <a:pos x="108" y="14"/>
                    </a:cxn>
                    <a:cxn ang="0">
                      <a:pos x="44" y="154"/>
                    </a:cxn>
                  </a:cxnLst>
                  <a:rect l="0" t="0" r="r" b="b"/>
                  <a:pathLst>
                    <a:path w="370" h="159">
                      <a:moveTo>
                        <a:pt x="44" y="159"/>
                      </a:moveTo>
                      <a:cubicBezTo>
                        <a:pt x="72" y="95"/>
                        <a:pt x="127" y="101"/>
                        <a:pt x="194" y="95"/>
                      </a:cubicBezTo>
                      <a:cubicBezTo>
                        <a:pt x="224" y="92"/>
                        <a:pt x="370" y="74"/>
                        <a:pt x="329" y="32"/>
                      </a:cubicBezTo>
                      <a:cubicBezTo>
                        <a:pt x="298" y="0"/>
                        <a:pt x="152" y="9"/>
                        <a:pt x="108" y="14"/>
                      </a:cubicBezTo>
                      <a:cubicBezTo>
                        <a:pt x="0" y="27"/>
                        <a:pt x="48" y="76"/>
                        <a:pt x="44" y="154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6" name="Freeform 351"/>
                <p:cNvSpPr>
                  <a:spLocks/>
                </p:cNvSpPr>
                <p:nvPr/>
              </p:nvSpPr>
              <p:spPr bwMode="gray">
                <a:xfrm>
                  <a:off x="17289462" y="13547726"/>
                  <a:ext cx="3724275" cy="7132638"/>
                </a:xfrm>
                <a:custGeom>
                  <a:avLst/>
                  <a:gdLst/>
                  <a:ahLst/>
                  <a:cxnLst>
                    <a:cxn ang="0">
                      <a:pos x="99" y="228"/>
                    </a:cxn>
                    <a:cxn ang="0">
                      <a:pos x="81" y="631"/>
                    </a:cxn>
                    <a:cxn ang="0">
                      <a:pos x="35" y="1041"/>
                    </a:cxn>
                    <a:cxn ang="0">
                      <a:pos x="27" y="1438"/>
                    </a:cxn>
                    <a:cxn ang="0">
                      <a:pos x="27" y="1647"/>
                    </a:cxn>
                    <a:cxn ang="0">
                      <a:pos x="12" y="1856"/>
                    </a:cxn>
                    <a:cxn ang="0">
                      <a:pos x="464" y="1902"/>
                    </a:cxn>
                    <a:cxn ang="0">
                      <a:pos x="762" y="1851"/>
                    </a:cxn>
                    <a:cxn ang="0">
                      <a:pos x="993" y="1823"/>
                    </a:cxn>
                    <a:cxn ang="0">
                      <a:pos x="962" y="1413"/>
                    </a:cxn>
                    <a:cxn ang="0">
                      <a:pos x="954" y="970"/>
                    </a:cxn>
                    <a:cxn ang="0">
                      <a:pos x="978" y="543"/>
                    </a:cxn>
                    <a:cxn ang="0">
                      <a:pos x="857" y="214"/>
                    </a:cxn>
                    <a:cxn ang="0">
                      <a:pos x="99" y="228"/>
                    </a:cxn>
                  </a:cxnLst>
                  <a:rect l="0" t="0" r="r" b="b"/>
                  <a:pathLst>
                    <a:path w="993" h="1902">
                      <a:moveTo>
                        <a:pt x="99" y="228"/>
                      </a:moveTo>
                      <a:cubicBezTo>
                        <a:pt x="164" y="335"/>
                        <a:pt x="100" y="516"/>
                        <a:pt x="81" y="631"/>
                      </a:cubicBezTo>
                      <a:cubicBezTo>
                        <a:pt x="59" y="768"/>
                        <a:pt x="35" y="896"/>
                        <a:pt x="35" y="1041"/>
                      </a:cubicBezTo>
                      <a:cubicBezTo>
                        <a:pt x="35" y="1172"/>
                        <a:pt x="27" y="1303"/>
                        <a:pt x="27" y="1438"/>
                      </a:cubicBezTo>
                      <a:cubicBezTo>
                        <a:pt x="27" y="1507"/>
                        <a:pt x="27" y="1577"/>
                        <a:pt x="27" y="1647"/>
                      </a:cubicBezTo>
                      <a:cubicBezTo>
                        <a:pt x="27" y="1715"/>
                        <a:pt x="0" y="1796"/>
                        <a:pt x="12" y="1856"/>
                      </a:cubicBezTo>
                      <a:cubicBezTo>
                        <a:pt x="135" y="1862"/>
                        <a:pt x="360" y="1846"/>
                        <a:pt x="464" y="1902"/>
                      </a:cubicBezTo>
                      <a:cubicBezTo>
                        <a:pt x="518" y="1868"/>
                        <a:pt x="698" y="1856"/>
                        <a:pt x="762" y="1851"/>
                      </a:cubicBezTo>
                      <a:cubicBezTo>
                        <a:pt x="835" y="1844"/>
                        <a:pt x="926" y="1850"/>
                        <a:pt x="993" y="1823"/>
                      </a:cubicBezTo>
                      <a:cubicBezTo>
                        <a:pt x="982" y="1688"/>
                        <a:pt x="962" y="1558"/>
                        <a:pt x="962" y="1413"/>
                      </a:cubicBezTo>
                      <a:cubicBezTo>
                        <a:pt x="962" y="1266"/>
                        <a:pt x="954" y="1119"/>
                        <a:pt x="954" y="970"/>
                      </a:cubicBezTo>
                      <a:cubicBezTo>
                        <a:pt x="954" y="823"/>
                        <a:pt x="974" y="686"/>
                        <a:pt x="978" y="543"/>
                      </a:cubicBezTo>
                      <a:cubicBezTo>
                        <a:pt x="982" y="401"/>
                        <a:pt x="951" y="315"/>
                        <a:pt x="857" y="214"/>
                      </a:cubicBezTo>
                      <a:cubicBezTo>
                        <a:pt x="657" y="0"/>
                        <a:pt x="281" y="14"/>
                        <a:pt x="99" y="22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7" name="Freeform 352"/>
                <p:cNvSpPr>
                  <a:spLocks/>
                </p:cNvSpPr>
                <p:nvPr/>
              </p:nvSpPr>
              <p:spPr bwMode="gray">
                <a:xfrm>
                  <a:off x="17822862" y="14387513"/>
                  <a:ext cx="2879725" cy="5778500"/>
                </a:xfrm>
                <a:custGeom>
                  <a:avLst/>
                  <a:gdLst/>
                  <a:ahLst/>
                  <a:cxnLst>
                    <a:cxn ang="0">
                      <a:pos x="3" y="58"/>
                    </a:cxn>
                    <a:cxn ang="0">
                      <a:pos x="95" y="111"/>
                    </a:cxn>
                    <a:cxn ang="0">
                      <a:pos x="242" y="146"/>
                    </a:cxn>
                    <a:cxn ang="0">
                      <a:pos x="462" y="163"/>
                    </a:cxn>
                    <a:cxn ang="0">
                      <a:pos x="604" y="147"/>
                    </a:cxn>
                    <a:cxn ang="0">
                      <a:pos x="642" y="286"/>
                    </a:cxn>
                    <a:cxn ang="0">
                      <a:pos x="645" y="457"/>
                    </a:cxn>
                    <a:cxn ang="0">
                      <a:pos x="656" y="558"/>
                    </a:cxn>
                    <a:cxn ang="0">
                      <a:pos x="677" y="670"/>
                    </a:cxn>
                    <a:cxn ang="0">
                      <a:pos x="691" y="870"/>
                    </a:cxn>
                    <a:cxn ang="0">
                      <a:pos x="726" y="1233"/>
                    </a:cxn>
                    <a:cxn ang="0">
                      <a:pos x="712" y="1423"/>
                    </a:cxn>
                    <a:cxn ang="0">
                      <a:pos x="715" y="1541"/>
                    </a:cxn>
                    <a:cxn ang="0">
                      <a:pos x="722" y="1417"/>
                    </a:cxn>
                    <a:cxn ang="0">
                      <a:pos x="734" y="1281"/>
                    </a:cxn>
                    <a:cxn ang="0">
                      <a:pos x="699" y="991"/>
                    </a:cxn>
                    <a:cxn ang="0">
                      <a:pos x="696" y="689"/>
                    </a:cxn>
                    <a:cxn ang="0">
                      <a:pos x="664" y="574"/>
                    </a:cxn>
                    <a:cxn ang="0">
                      <a:pos x="659" y="510"/>
                    </a:cxn>
                    <a:cxn ang="0">
                      <a:pos x="648" y="439"/>
                    </a:cxn>
                    <a:cxn ang="0">
                      <a:pos x="648" y="281"/>
                    </a:cxn>
                    <a:cxn ang="0">
                      <a:pos x="619" y="139"/>
                    </a:cxn>
                    <a:cxn ang="0">
                      <a:pos x="669" y="117"/>
                    </a:cxn>
                    <a:cxn ang="0">
                      <a:pos x="726" y="98"/>
                    </a:cxn>
                    <a:cxn ang="0">
                      <a:pos x="763" y="66"/>
                    </a:cxn>
                    <a:cxn ang="0">
                      <a:pos x="674" y="47"/>
                    </a:cxn>
                    <a:cxn ang="0">
                      <a:pos x="441" y="25"/>
                    </a:cxn>
                    <a:cxn ang="0">
                      <a:pos x="158" y="4"/>
                    </a:cxn>
                    <a:cxn ang="0">
                      <a:pos x="27" y="34"/>
                    </a:cxn>
                    <a:cxn ang="0">
                      <a:pos x="22" y="34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768" h="1541">
                      <a:moveTo>
                        <a:pt x="3" y="58"/>
                      </a:moveTo>
                      <a:cubicBezTo>
                        <a:pt x="23" y="92"/>
                        <a:pt x="59" y="99"/>
                        <a:pt x="95" y="111"/>
                      </a:cubicBezTo>
                      <a:cubicBezTo>
                        <a:pt x="141" y="128"/>
                        <a:pt x="195" y="139"/>
                        <a:pt x="242" y="146"/>
                      </a:cubicBezTo>
                      <a:cubicBezTo>
                        <a:pt x="315" y="158"/>
                        <a:pt x="387" y="163"/>
                        <a:pt x="462" y="163"/>
                      </a:cubicBezTo>
                      <a:cubicBezTo>
                        <a:pt x="511" y="162"/>
                        <a:pt x="556" y="144"/>
                        <a:pt x="604" y="147"/>
                      </a:cubicBezTo>
                      <a:cubicBezTo>
                        <a:pt x="611" y="195"/>
                        <a:pt x="636" y="238"/>
                        <a:pt x="642" y="286"/>
                      </a:cubicBezTo>
                      <a:cubicBezTo>
                        <a:pt x="649" y="342"/>
                        <a:pt x="641" y="400"/>
                        <a:pt x="645" y="457"/>
                      </a:cubicBezTo>
                      <a:cubicBezTo>
                        <a:pt x="648" y="491"/>
                        <a:pt x="656" y="523"/>
                        <a:pt x="656" y="558"/>
                      </a:cubicBezTo>
                      <a:cubicBezTo>
                        <a:pt x="656" y="598"/>
                        <a:pt x="670" y="631"/>
                        <a:pt x="677" y="670"/>
                      </a:cubicBezTo>
                      <a:cubicBezTo>
                        <a:pt x="690" y="735"/>
                        <a:pt x="691" y="802"/>
                        <a:pt x="691" y="870"/>
                      </a:cubicBezTo>
                      <a:cubicBezTo>
                        <a:pt x="691" y="994"/>
                        <a:pt x="721" y="1111"/>
                        <a:pt x="726" y="1233"/>
                      </a:cubicBezTo>
                      <a:cubicBezTo>
                        <a:pt x="728" y="1297"/>
                        <a:pt x="721" y="1361"/>
                        <a:pt x="712" y="1423"/>
                      </a:cubicBezTo>
                      <a:cubicBezTo>
                        <a:pt x="709" y="1450"/>
                        <a:pt x="688" y="1521"/>
                        <a:pt x="715" y="1541"/>
                      </a:cubicBezTo>
                      <a:cubicBezTo>
                        <a:pt x="717" y="1497"/>
                        <a:pt x="709" y="1458"/>
                        <a:pt x="722" y="1417"/>
                      </a:cubicBezTo>
                      <a:cubicBezTo>
                        <a:pt x="735" y="1378"/>
                        <a:pt x="734" y="1323"/>
                        <a:pt x="734" y="1281"/>
                      </a:cubicBezTo>
                      <a:cubicBezTo>
                        <a:pt x="734" y="1180"/>
                        <a:pt x="710" y="1088"/>
                        <a:pt x="699" y="991"/>
                      </a:cubicBezTo>
                      <a:cubicBezTo>
                        <a:pt x="688" y="894"/>
                        <a:pt x="710" y="789"/>
                        <a:pt x="696" y="689"/>
                      </a:cubicBezTo>
                      <a:cubicBezTo>
                        <a:pt x="690" y="646"/>
                        <a:pt x="677" y="614"/>
                        <a:pt x="664" y="574"/>
                      </a:cubicBezTo>
                      <a:cubicBezTo>
                        <a:pt x="657" y="554"/>
                        <a:pt x="660" y="532"/>
                        <a:pt x="659" y="510"/>
                      </a:cubicBezTo>
                      <a:cubicBezTo>
                        <a:pt x="657" y="485"/>
                        <a:pt x="650" y="464"/>
                        <a:pt x="648" y="439"/>
                      </a:cubicBezTo>
                      <a:cubicBezTo>
                        <a:pt x="643" y="387"/>
                        <a:pt x="648" y="333"/>
                        <a:pt x="648" y="281"/>
                      </a:cubicBezTo>
                      <a:cubicBezTo>
                        <a:pt x="647" y="231"/>
                        <a:pt x="620" y="186"/>
                        <a:pt x="619" y="139"/>
                      </a:cubicBezTo>
                      <a:cubicBezTo>
                        <a:pt x="636" y="135"/>
                        <a:pt x="653" y="122"/>
                        <a:pt x="669" y="117"/>
                      </a:cubicBezTo>
                      <a:cubicBezTo>
                        <a:pt x="688" y="111"/>
                        <a:pt x="709" y="106"/>
                        <a:pt x="726" y="98"/>
                      </a:cubicBezTo>
                      <a:cubicBezTo>
                        <a:pt x="739" y="93"/>
                        <a:pt x="768" y="86"/>
                        <a:pt x="763" y="66"/>
                      </a:cubicBezTo>
                      <a:cubicBezTo>
                        <a:pt x="756" y="42"/>
                        <a:pt x="692" y="49"/>
                        <a:pt x="674" y="47"/>
                      </a:cubicBezTo>
                      <a:cubicBezTo>
                        <a:pt x="597" y="41"/>
                        <a:pt x="519" y="29"/>
                        <a:pt x="441" y="25"/>
                      </a:cubicBezTo>
                      <a:cubicBezTo>
                        <a:pt x="347" y="20"/>
                        <a:pt x="252" y="0"/>
                        <a:pt x="158" y="4"/>
                      </a:cubicBezTo>
                      <a:cubicBezTo>
                        <a:pt x="117" y="6"/>
                        <a:pt x="62" y="15"/>
                        <a:pt x="27" y="34"/>
                      </a:cubicBezTo>
                      <a:cubicBezTo>
                        <a:pt x="25" y="33"/>
                        <a:pt x="24" y="33"/>
                        <a:pt x="22" y="34"/>
                      </a:cubicBezTo>
                      <a:cubicBezTo>
                        <a:pt x="16" y="42"/>
                        <a:pt x="8" y="48"/>
                        <a:pt x="0" y="55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8" name="Freeform 353"/>
                <p:cNvSpPr>
                  <a:spLocks/>
                </p:cNvSpPr>
                <p:nvPr/>
              </p:nvSpPr>
              <p:spPr bwMode="gray">
                <a:xfrm>
                  <a:off x="15849600" y="24485601"/>
                  <a:ext cx="3049588" cy="1905000"/>
                </a:xfrm>
                <a:custGeom>
                  <a:avLst/>
                  <a:gdLst/>
                  <a:ahLst/>
                  <a:cxnLst>
                    <a:cxn ang="0">
                      <a:pos x="709" y="0"/>
                    </a:cxn>
                    <a:cxn ang="0">
                      <a:pos x="617" y="122"/>
                    </a:cxn>
                    <a:cxn ang="0">
                      <a:pos x="500" y="227"/>
                    </a:cxn>
                    <a:cxn ang="0">
                      <a:pos x="385" y="334"/>
                    </a:cxn>
                    <a:cxn ang="0">
                      <a:pos x="291" y="342"/>
                    </a:cxn>
                    <a:cxn ang="0">
                      <a:pos x="209" y="355"/>
                    </a:cxn>
                    <a:cxn ang="0">
                      <a:pos x="20" y="404"/>
                    </a:cxn>
                    <a:cxn ang="0">
                      <a:pos x="378" y="468"/>
                    </a:cxn>
                    <a:cxn ang="0">
                      <a:pos x="637" y="255"/>
                    </a:cxn>
                    <a:cxn ang="0">
                      <a:pos x="688" y="251"/>
                    </a:cxn>
                    <a:cxn ang="0">
                      <a:pos x="681" y="447"/>
                    </a:cxn>
                    <a:cxn ang="0">
                      <a:pos x="724" y="447"/>
                    </a:cxn>
                    <a:cxn ang="0">
                      <a:pos x="725" y="306"/>
                    </a:cxn>
                    <a:cxn ang="0">
                      <a:pos x="769" y="202"/>
                    </a:cxn>
                    <a:cxn ang="0">
                      <a:pos x="713" y="0"/>
                    </a:cxn>
                  </a:cxnLst>
                  <a:rect l="0" t="0" r="r" b="b"/>
                  <a:pathLst>
                    <a:path w="813" h="508">
                      <a:moveTo>
                        <a:pt x="709" y="0"/>
                      </a:moveTo>
                      <a:cubicBezTo>
                        <a:pt x="668" y="32"/>
                        <a:pt x="651" y="82"/>
                        <a:pt x="617" y="122"/>
                      </a:cubicBezTo>
                      <a:cubicBezTo>
                        <a:pt x="584" y="162"/>
                        <a:pt x="543" y="196"/>
                        <a:pt x="500" y="227"/>
                      </a:cubicBezTo>
                      <a:cubicBezTo>
                        <a:pt x="459" y="258"/>
                        <a:pt x="435" y="311"/>
                        <a:pt x="385" y="334"/>
                      </a:cubicBezTo>
                      <a:cubicBezTo>
                        <a:pt x="359" y="346"/>
                        <a:pt x="320" y="345"/>
                        <a:pt x="291" y="342"/>
                      </a:cubicBezTo>
                      <a:cubicBezTo>
                        <a:pt x="254" y="338"/>
                        <a:pt x="244" y="339"/>
                        <a:pt x="209" y="355"/>
                      </a:cubicBezTo>
                      <a:cubicBezTo>
                        <a:pt x="150" y="381"/>
                        <a:pt x="75" y="374"/>
                        <a:pt x="20" y="404"/>
                      </a:cubicBezTo>
                      <a:cubicBezTo>
                        <a:pt x="0" y="508"/>
                        <a:pt x="327" y="481"/>
                        <a:pt x="378" y="468"/>
                      </a:cubicBezTo>
                      <a:cubicBezTo>
                        <a:pt x="492" y="437"/>
                        <a:pt x="525" y="301"/>
                        <a:pt x="637" y="255"/>
                      </a:cubicBezTo>
                      <a:cubicBezTo>
                        <a:pt x="651" y="249"/>
                        <a:pt x="673" y="248"/>
                        <a:pt x="688" y="251"/>
                      </a:cubicBezTo>
                      <a:cubicBezTo>
                        <a:pt x="708" y="319"/>
                        <a:pt x="673" y="380"/>
                        <a:pt x="681" y="447"/>
                      </a:cubicBezTo>
                      <a:cubicBezTo>
                        <a:pt x="695" y="448"/>
                        <a:pt x="710" y="448"/>
                        <a:pt x="724" y="447"/>
                      </a:cubicBezTo>
                      <a:cubicBezTo>
                        <a:pt x="727" y="400"/>
                        <a:pt x="723" y="353"/>
                        <a:pt x="725" y="306"/>
                      </a:cubicBezTo>
                      <a:cubicBezTo>
                        <a:pt x="727" y="256"/>
                        <a:pt x="745" y="240"/>
                        <a:pt x="769" y="202"/>
                      </a:cubicBezTo>
                      <a:cubicBezTo>
                        <a:pt x="813" y="134"/>
                        <a:pt x="780" y="45"/>
                        <a:pt x="713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29" name="Freeform 354"/>
                <p:cNvSpPr>
                  <a:spLocks/>
                </p:cNvSpPr>
                <p:nvPr/>
              </p:nvSpPr>
              <p:spPr bwMode="gray">
                <a:xfrm>
                  <a:off x="19262725" y="24395113"/>
                  <a:ext cx="1874838" cy="2262188"/>
                </a:xfrm>
                <a:custGeom>
                  <a:avLst/>
                  <a:gdLst/>
                  <a:ahLst/>
                  <a:cxnLst>
                    <a:cxn ang="0">
                      <a:pos x="138" y="363"/>
                    </a:cxn>
                    <a:cxn ang="0">
                      <a:pos x="279" y="407"/>
                    </a:cxn>
                    <a:cxn ang="0">
                      <a:pos x="378" y="330"/>
                    </a:cxn>
                    <a:cxn ang="0">
                      <a:pos x="412" y="13"/>
                    </a:cxn>
                    <a:cxn ang="0">
                      <a:pos x="484" y="230"/>
                    </a:cxn>
                    <a:cxn ang="0">
                      <a:pos x="448" y="326"/>
                    </a:cxn>
                    <a:cxn ang="0">
                      <a:pos x="443" y="459"/>
                    </a:cxn>
                    <a:cxn ang="0">
                      <a:pos x="412" y="459"/>
                    </a:cxn>
                    <a:cxn ang="0">
                      <a:pos x="391" y="362"/>
                    </a:cxn>
                    <a:cxn ang="0">
                      <a:pos x="368" y="500"/>
                    </a:cxn>
                    <a:cxn ang="0">
                      <a:pos x="271" y="569"/>
                    </a:cxn>
                    <a:cxn ang="0">
                      <a:pos x="0" y="528"/>
                    </a:cxn>
                    <a:cxn ang="0">
                      <a:pos x="137" y="355"/>
                    </a:cxn>
                    <a:cxn ang="0">
                      <a:pos x="138" y="367"/>
                    </a:cxn>
                  </a:cxnLst>
                  <a:rect l="0" t="0" r="r" b="b"/>
                  <a:pathLst>
                    <a:path w="500" h="603">
                      <a:moveTo>
                        <a:pt x="138" y="363"/>
                      </a:moveTo>
                      <a:cubicBezTo>
                        <a:pt x="149" y="408"/>
                        <a:pt x="238" y="416"/>
                        <a:pt x="279" y="407"/>
                      </a:cubicBezTo>
                      <a:cubicBezTo>
                        <a:pt x="318" y="399"/>
                        <a:pt x="359" y="361"/>
                        <a:pt x="378" y="330"/>
                      </a:cubicBezTo>
                      <a:cubicBezTo>
                        <a:pt x="434" y="240"/>
                        <a:pt x="404" y="115"/>
                        <a:pt x="412" y="13"/>
                      </a:cubicBezTo>
                      <a:cubicBezTo>
                        <a:pt x="469" y="0"/>
                        <a:pt x="500" y="193"/>
                        <a:pt x="484" y="230"/>
                      </a:cubicBezTo>
                      <a:cubicBezTo>
                        <a:pt x="468" y="267"/>
                        <a:pt x="448" y="276"/>
                        <a:pt x="448" y="326"/>
                      </a:cubicBezTo>
                      <a:cubicBezTo>
                        <a:pt x="448" y="372"/>
                        <a:pt x="446" y="414"/>
                        <a:pt x="443" y="459"/>
                      </a:cubicBezTo>
                      <a:cubicBezTo>
                        <a:pt x="436" y="461"/>
                        <a:pt x="420" y="461"/>
                        <a:pt x="412" y="459"/>
                      </a:cubicBezTo>
                      <a:cubicBezTo>
                        <a:pt x="411" y="429"/>
                        <a:pt x="414" y="381"/>
                        <a:pt x="391" y="362"/>
                      </a:cubicBezTo>
                      <a:cubicBezTo>
                        <a:pt x="364" y="398"/>
                        <a:pt x="397" y="460"/>
                        <a:pt x="368" y="500"/>
                      </a:cubicBezTo>
                      <a:cubicBezTo>
                        <a:pt x="345" y="532"/>
                        <a:pt x="310" y="557"/>
                        <a:pt x="271" y="569"/>
                      </a:cubicBezTo>
                      <a:cubicBezTo>
                        <a:pt x="209" y="589"/>
                        <a:pt x="32" y="603"/>
                        <a:pt x="0" y="528"/>
                      </a:cubicBezTo>
                      <a:cubicBezTo>
                        <a:pt x="58" y="489"/>
                        <a:pt x="78" y="400"/>
                        <a:pt x="137" y="355"/>
                      </a:cubicBezTo>
                      <a:cubicBezTo>
                        <a:pt x="138" y="359"/>
                        <a:pt x="137" y="363"/>
                        <a:pt x="138" y="36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0" name="Freeform 355"/>
                <p:cNvSpPr>
                  <a:spLocks/>
                </p:cNvSpPr>
                <p:nvPr/>
              </p:nvSpPr>
              <p:spPr bwMode="gray">
                <a:xfrm>
                  <a:off x="16603662" y="25977851"/>
                  <a:ext cx="415925" cy="128588"/>
                </a:xfrm>
                <a:custGeom>
                  <a:avLst/>
                  <a:gdLst/>
                  <a:ahLst/>
                  <a:cxnLst>
                    <a:cxn ang="0">
                      <a:pos x="6" y="27"/>
                    </a:cxn>
                    <a:cxn ang="0">
                      <a:pos x="104" y="4"/>
                    </a:cxn>
                    <a:cxn ang="0">
                      <a:pos x="52" y="17"/>
                    </a:cxn>
                    <a:cxn ang="0">
                      <a:pos x="0" y="29"/>
                    </a:cxn>
                    <a:cxn ang="0">
                      <a:pos x="12" y="27"/>
                    </a:cxn>
                  </a:cxnLst>
                  <a:rect l="0" t="0" r="r" b="b"/>
                  <a:pathLst>
                    <a:path w="111" h="34">
                      <a:moveTo>
                        <a:pt x="6" y="27"/>
                      </a:moveTo>
                      <a:cubicBezTo>
                        <a:pt x="23" y="30"/>
                        <a:pt x="111" y="34"/>
                        <a:pt x="104" y="4"/>
                      </a:cubicBezTo>
                      <a:cubicBezTo>
                        <a:pt x="86" y="0"/>
                        <a:pt x="70" y="15"/>
                        <a:pt x="52" y="17"/>
                      </a:cubicBezTo>
                      <a:cubicBezTo>
                        <a:pt x="38" y="19"/>
                        <a:pt x="1" y="8"/>
                        <a:pt x="0" y="29"/>
                      </a:cubicBezTo>
                      <a:cubicBezTo>
                        <a:pt x="4" y="29"/>
                        <a:pt x="8" y="29"/>
                        <a:pt x="12" y="2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1" name="Freeform 356"/>
                <p:cNvSpPr>
                  <a:spLocks/>
                </p:cNvSpPr>
                <p:nvPr/>
              </p:nvSpPr>
              <p:spPr bwMode="gray">
                <a:xfrm>
                  <a:off x="19529425" y="26000076"/>
                  <a:ext cx="696913" cy="277813"/>
                </a:xfrm>
                <a:custGeom>
                  <a:avLst/>
                  <a:gdLst/>
                  <a:ahLst/>
                  <a:cxnLst>
                    <a:cxn ang="0">
                      <a:pos x="65" y="3"/>
                    </a:cxn>
                    <a:cxn ang="0">
                      <a:pos x="175" y="18"/>
                    </a:cxn>
                    <a:cxn ang="0">
                      <a:pos x="109" y="29"/>
                    </a:cxn>
                    <a:cxn ang="0">
                      <a:pos x="66" y="27"/>
                    </a:cxn>
                    <a:cxn ang="0">
                      <a:pos x="56" y="40"/>
                    </a:cxn>
                    <a:cxn ang="0">
                      <a:pos x="71" y="51"/>
                    </a:cxn>
                    <a:cxn ang="0">
                      <a:pos x="13" y="45"/>
                    </a:cxn>
                    <a:cxn ang="0">
                      <a:pos x="48" y="33"/>
                    </a:cxn>
                    <a:cxn ang="0">
                      <a:pos x="63" y="5"/>
                    </a:cxn>
                  </a:cxnLst>
                  <a:rect l="0" t="0" r="r" b="b"/>
                  <a:pathLst>
                    <a:path w="186" h="74">
                      <a:moveTo>
                        <a:pt x="65" y="3"/>
                      </a:moveTo>
                      <a:cubicBezTo>
                        <a:pt x="100" y="17"/>
                        <a:pt x="139" y="6"/>
                        <a:pt x="175" y="18"/>
                      </a:cubicBezTo>
                      <a:cubicBezTo>
                        <a:pt x="186" y="54"/>
                        <a:pt x="122" y="32"/>
                        <a:pt x="109" y="29"/>
                      </a:cubicBezTo>
                      <a:cubicBezTo>
                        <a:pt x="100" y="28"/>
                        <a:pt x="74" y="24"/>
                        <a:pt x="66" y="27"/>
                      </a:cubicBezTo>
                      <a:cubicBezTo>
                        <a:pt x="61" y="30"/>
                        <a:pt x="57" y="33"/>
                        <a:pt x="56" y="40"/>
                      </a:cubicBezTo>
                      <a:cubicBezTo>
                        <a:pt x="56" y="55"/>
                        <a:pt x="68" y="43"/>
                        <a:pt x="71" y="51"/>
                      </a:cubicBezTo>
                      <a:cubicBezTo>
                        <a:pt x="79" y="74"/>
                        <a:pt x="0" y="67"/>
                        <a:pt x="13" y="45"/>
                      </a:cubicBezTo>
                      <a:cubicBezTo>
                        <a:pt x="20" y="34"/>
                        <a:pt x="42" y="42"/>
                        <a:pt x="48" y="33"/>
                      </a:cubicBezTo>
                      <a:cubicBezTo>
                        <a:pt x="54" y="24"/>
                        <a:pt x="36" y="0"/>
                        <a:pt x="63" y="5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2" name="Freeform 357"/>
                <p:cNvSpPr>
                  <a:spLocks/>
                </p:cNvSpPr>
                <p:nvPr/>
              </p:nvSpPr>
              <p:spPr bwMode="gray">
                <a:xfrm>
                  <a:off x="18418175" y="5886451"/>
                  <a:ext cx="2433638" cy="2871788"/>
                </a:xfrm>
                <a:custGeom>
                  <a:avLst/>
                  <a:gdLst/>
                  <a:ahLst/>
                  <a:cxnLst>
                    <a:cxn ang="0">
                      <a:pos x="268" y="11"/>
                    </a:cxn>
                    <a:cxn ang="0">
                      <a:pos x="21" y="226"/>
                    </a:cxn>
                    <a:cxn ang="0">
                      <a:pos x="109" y="600"/>
                    </a:cxn>
                    <a:cxn ang="0">
                      <a:pos x="453" y="496"/>
                    </a:cxn>
                    <a:cxn ang="0">
                      <a:pos x="450" y="328"/>
                    </a:cxn>
                    <a:cxn ang="0">
                      <a:pos x="258" y="0"/>
                    </a:cxn>
                  </a:cxnLst>
                  <a:rect l="0" t="0" r="r" b="b"/>
                  <a:pathLst>
                    <a:path w="649" h="766">
                      <a:moveTo>
                        <a:pt x="268" y="11"/>
                      </a:moveTo>
                      <a:cubicBezTo>
                        <a:pt x="149" y="3"/>
                        <a:pt x="36" y="118"/>
                        <a:pt x="21" y="226"/>
                      </a:cubicBezTo>
                      <a:cubicBezTo>
                        <a:pt x="0" y="370"/>
                        <a:pt x="106" y="473"/>
                        <a:pt x="109" y="600"/>
                      </a:cubicBezTo>
                      <a:cubicBezTo>
                        <a:pt x="189" y="766"/>
                        <a:pt x="395" y="606"/>
                        <a:pt x="453" y="496"/>
                      </a:cubicBezTo>
                      <a:cubicBezTo>
                        <a:pt x="556" y="490"/>
                        <a:pt x="562" y="282"/>
                        <a:pt x="450" y="328"/>
                      </a:cubicBezTo>
                      <a:cubicBezTo>
                        <a:pt x="649" y="193"/>
                        <a:pt x="404" y="8"/>
                        <a:pt x="258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3" name="Freeform 358"/>
                <p:cNvSpPr>
                  <a:spLocks/>
                </p:cNvSpPr>
                <p:nvPr/>
              </p:nvSpPr>
              <p:spPr bwMode="gray">
                <a:xfrm>
                  <a:off x="18246725" y="5499101"/>
                  <a:ext cx="2940050" cy="4291013"/>
                </a:xfrm>
                <a:custGeom>
                  <a:avLst/>
                  <a:gdLst/>
                  <a:ahLst/>
                  <a:cxnLst>
                    <a:cxn ang="0">
                      <a:pos x="348" y="108"/>
                    </a:cxn>
                    <a:cxn ang="0">
                      <a:pos x="222" y="204"/>
                    </a:cxn>
                    <a:cxn ang="0">
                      <a:pos x="123" y="354"/>
                    </a:cxn>
                    <a:cxn ang="0">
                      <a:pos x="227" y="721"/>
                    </a:cxn>
                    <a:cxn ang="0">
                      <a:pos x="292" y="859"/>
                    </a:cxn>
                    <a:cxn ang="0">
                      <a:pos x="280" y="1008"/>
                    </a:cxn>
                    <a:cxn ang="0">
                      <a:pos x="191" y="867"/>
                    </a:cxn>
                    <a:cxn ang="0">
                      <a:pos x="175" y="1083"/>
                    </a:cxn>
                    <a:cxn ang="0">
                      <a:pos x="171" y="1021"/>
                    </a:cxn>
                    <a:cxn ang="0">
                      <a:pos x="112" y="1080"/>
                    </a:cxn>
                    <a:cxn ang="0">
                      <a:pos x="126" y="987"/>
                    </a:cxn>
                    <a:cxn ang="0">
                      <a:pos x="87" y="899"/>
                    </a:cxn>
                    <a:cxn ang="0">
                      <a:pos x="78" y="798"/>
                    </a:cxn>
                    <a:cxn ang="0">
                      <a:pos x="57" y="706"/>
                    </a:cxn>
                    <a:cxn ang="0">
                      <a:pos x="9" y="524"/>
                    </a:cxn>
                    <a:cxn ang="0">
                      <a:pos x="30" y="431"/>
                    </a:cxn>
                    <a:cxn ang="0">
                      <a:pos x="5" y="330"/>
                    </a:cxn>
                    <a:cxn ang="0">
                      <a:pos x="146" y="96"/>
                    </a:cxn>
                    <a:cxn ang="0">
                      <a:pos x="384" y="83"/>
                    </a:cxn>
                    <a:cxn ang="0">
                      <a:pos x="408" y="57"/>
                    </a:cxn>
                    <a:cxn ang="0">
                      <a:pos x="401" y="88"/>
                    </a:cxn>
                    <a:cxn ang="0">
                      <a:pos x="439" y="76"/>
                    </a:cxn>
                    <a:cxn ang="0">
                      <a:pos x="433" y="96"/>
                    </a:cxn>
                    <a:cxn ang="0">
                      <a:pos x="573" y="201"/>
                    </a:cxn>
                    <a:cxn ang="0">
                      <a:pos x="690" y="358"/>
                    </a:cxn>
                    <a:cxn ang="0">
                      <a:pos x="754" y="556"/>
                    </a:cxn>
                    <a:cxn ang="0">
                      <a:pos x="762" y="781"/>
                    </a:cxn>
                    <a:cxn ang="0">
                      <a:pos x="682" y="990"/>
                    </a:cxn>
                    <a:cxn ang="0">
                      <a:pos x="602" y="1065"/>
                    </a:cxn>
                    <a:cxn ang="0">
                      <a:pos x="518" y="1144"/>
                    </a:cxn>
                    <a:cxn ang="0">
                      <a:pos x="517" y="1101"/>
                    </a:cxn>
                    <a:cxn ang="0">
                      <a:pos x="498" y="1108"/>
                    </a:cxn>
                    <a:cxn ang="0">
                      <a:pos x="505" y="1044"/>
                    </a:cxn>
                    <a:cxn ang="0">
                      <a:pos x="481" y="1058"/>
                    </a:cxn>
                    <a:cxn ang="0">
                      <a:pos x="489" y="956"/>
                    </a:cxn>
                    <a:cxn ang="0">
                      <a:pos x="462" y="967"/>
                    </a:cxn>
                    <a:cxn ang="0">
                      <a:pos x="470" y="863"/>
                    </a:cxn>
                    <a:cxn ang="0">
                      <a:pos x="509" y="794"/>
                    </a:cxn>
                    <a:cxn ang="0">
                      <a:pos x="510" y="601"/>
                    </a:cxn>
                    <a:cxn ang="0">
                      <a:pos x="563" y="444"/>
                    </a:cxn>
                    <a:cxn ang="0">
                      <a:pos x="466" y="439"/>
                    </a:cxn>
                    <a:cxn ang="0">
                      <a:pos x="409" y="253"/>
                    </a:cxn>
                    <a:cxn ang="0">
                      <a:pos x="351" y="113"/>
                    </a:cxn>
                    <a:cxn ang="0">
                      <a:pos x="340" y="112"/>
                    </a:cxn>
                  </a:cxnLst>
                  <a:rect l="0" t="0" r="r" b="b"/>
                  <a:pathLst>
                    <a:path w="784" h="1144">
                      <a:moveTo>
                        <a:pt x="348" y="108"/>
                      </a:moveTo>
                      <a:cubicBezTo>
                        <a:pt x="281" y="115"/>
                        <a:pt x="264" y="161"/>
                        <a:pt x="222" y="204"/>
                      </a:cubicBezTo>
                      <a:cubicBezTo>
                        <a:pt x="175" y="253"/>
                        <a:pt x="144" y="293"/>
                        <a:pt x="123" y="354"/>
                      </a:cubicBezTo>
                      <a:cubicBezTo>
                        <a:pt x="77" y="485"/>
                        <a:pt x="125" y="621"/>
                        <a:pt x="227" y="721"/>
                      </a:cubicBezTo>
                      <a:cubicBezTo>
                        <a:pt x="268" y="761"/>
                        <a:pt x="272" y="802"/>
                        <a:pt x="292" y="859"/>
                      </a:cubicBezTo>
                      <a:cubicBezTo>
                        <a:pt x="308" y="906"/>
                        <a:pt x="317" y="974"/>
                        <a:pt x="280" y="1008"/>
                      </a:cubicBezTo>
                      <a:cubicBezTo>
                        <a:pt x="240" y="985"/>
                        <a:pt x="257" y="868"/>
                        <a:pt x="191" y="867"/>
                      </a:cubicBezTo>
                      <a:cubicBezTo>
                        <a:pt x="187" y="952"/>
                        <a:pt x="256" y="1012"/>
                        <a:pt x="175" y="1083"/>
                      </a:cubicBezTo>
                      <a:cubicBezTo>
                        <a:pt x="175" y="1060"/>
                        <a:pt x="194" y="1029"/>
                        <a:pt x="171" y="1021"/>
                      </a:cubicBezTo>
                      <a:cubicBezTo>
                        <a:pt x="174" y="1056"/>
                        <a:pt x="143" y="1072"/>
                        <a:pt x="112" y="1080"/>
                      </a:cubicBezTo>
                      <a:cubicBezTo>
                        <a:pt x="126" y="1053"/>
                        <a:pt x="131" y="1019"/>
                        <a:pt x="126" y="987"/>
                      </a:cubicBezTo>
                      <a:cubicBezTo>
                        <a:pt x="121" y="952"/>
                        <a:pt x="99" y="932"/>
                        <a:pt x="87" y="899"/>
                      </a:cubicBezTo>
                      <a:cubicBezTo>
                        <a:pt x="75" y="866"/>
                        <a:pt x="78" y="833"/>
                        <a:pt x="78" y="798"/>
                      </a:cubicBezTo>
                      <a:cubicBezTo>
                        <a:pt x="78" y="758"/>
                        <a:pt x="69" y="741"/>
                        <a:pt x="57" y="706"/>
                      </a:cubicBezTo>
                      <a:cubicBezTo>
                        <a:pt x="37" y="653"/>
                        <a:pt x="0" y="584"/>
                        <a:pt x="9" y="524"/>
                      </a:cubicBezTo>
                      <a:cubicBezTo>
                        <a:pt x="14" y="492"/>
                        <a:pt x="32" y="465"/>
                        <a:pt x="30" y="431"/>
                      </a:cubicBezTo>
                      <a:cubicBezTo>
                        <a:pt x="27" y="395"/>
                        <a:pt x="7" y="367"/>
                        <a:pt x="5" y="330"/>
                      </a:cubicBezTo>
                      <a:cubicBezTo>
                        <a:pt x="1" y="237"/>
                        <a:pt x="76" y="148"/>
                        <a:pt x="146" y="96"/>
                      </a:cubicBezTo>
                      <a:cubicBezTo>
                        <a:pt x="208" y="50"/>
                        <a:pt x="334" y="0"/>
                        <a:pt x="384" y="83"/>
                      </a:cubicBezTo>
                      <a:cubicBezTo>
                        <a:pt x="392" y="73"/>
                        <a:pt x="399" y="65"/>
                        <a:pt x="408" y="57"/>
                      </a:cubicBezTo>
                      <a:cubicBezTo>
                        <a:pt x="399" y="66"/>
                        <a:pt x="401" y="73"/>
                        <a:pt x="401" y="88"/>
                      </a:cubicBezTo>
                      <a:cubicBezTo>
                        <a:pt x="412" y="82"/>
                        <a:pt x="425" y="78"/>
                        <a:pt x="439" y="76"/>
                      </a:cubicBezTo>
                      <a:cubicBezTo>
                        <a:pt x="434" y="83"/>
                        <a:pt x="436" y="89"/>
                        <a:pt x="433" y="96"/>
                      </a:cubicBezTo>
                      <a:cubicBezTo>
                        <a:pt x="520" y="100"/>
                        <a:pt x="526" y="133"/>
                        <a:pt x="573" y="201"/>
                      </a:cubicBezTo>
                      <a:cubicBezTo>
                        <a:pt x="609" y="254"/>
                        <a:pt x="656" y="303"/>
                        <a:pt x="690" y="358"/>
                      </a:cubicBezTo>
                      <a:cubicBezTo>
                        <a:pt x="725" y="417"/>
                        <a:pt x="739" y="491"/>
                        <a:pt x="754" y="556"/>
                      </a:cubicBezTo>
                      <a:cubicBezTo>
                        <a:pt x="773" y="632"/>
                        <a:pt x="784" y="705"/>
                        <a:pt x="762" y="781"/>
                      </a:cubicBezTo>
                      <a:cubicBezTo>
                        <a:pt x="744" y="845"/>
                        <a:pt x="722" y="934"/>
                        <a:pt x="682" y="990"/>
                      </a:cubicBezTo>
                      <a:cubicBezTo>
                        <a:pt x="659" y="1022"/>
                        <a:pt x="634" y="1045"/>
                        <a:pt x="602" y="1065"/>
                      </a:cubicBezTo>
                      <a:cubicBezTo>
                        <a:pt x="564" y="1089"/>
                        <a:pt x="546" y="1116"/>
                        <a:pt x="518" y="1144"/>
                      </a:cubicBezTo>
                      <a:cubicBezTo>
                        <a:pt x="517" y="1130"/>
                        <a:pt x="518" y="1115"/>
                        <a:pt x="517" y="1101"/>
                      </a:cubicBezTo>
                      <a:cubicBezTo>
                        <a:pt x="513" y="1103"/>
                        <a:pt x="503" y="1104"/>
                        <a:pt x="498" y="1108"/>
                      </a:cubicBezTo>
                      <a:cubicBezTo>
                        <a:pt x="494" y="1086"/>
                        <a:pt x="501" y="1064"/>
                        <a:pt x="505" y="1044"/>
                      </a:cubicBezTo>
                      <a:cubicBezTo>
                        <a:pt x="499" y="1049"/>
                        <a:pt x="487" y="1053"/>
                        <a:pt x="481" y="1058"/>
                      </a:cubicBezTo>
                      <a:cubicBezTo>
                        <a:pt x="482" y="1024"/>
                        <a:pt x="477" y="987"/>
                        <a:pt x="489" y="956"/>
                      </a:cubicBezTo>
                      <a:cubicBezTo>
                        <a:pt x="481" y="963"/>
                        <a:pt x="470" y="963"/>
                        <a:pt x="462" y="967"/>
                      </a:cubicBezTo>
                      <a:cubicBezTo>
                        <a:pt x="460" y="931"/>
                        <a:pt x="458" y="895"/>
                        <a:pt x="470" y="863"/>
                      </a:cubicBezTo>
                      <a:cubicBezTo>
                        <a:pt x="479" y="839"/>
                        <a:pt x="502" y="819"/>
                        <a:pt x="509" y="794"/>
                      </a:cubicBezTo>
                      <a:cubicBezTo>
                        <a:pt x="525" y="740"/>
                        <a:pt x="504" y="660"/>
                        <a:pt x="510" y="601"/>
                      </a:cubicBezTo>
                      <a:cubicBezTo>
                        <a:pt x="551" y="591"/>
                        <a:pt x="603" y="512"/>
                        <a:pt x="563" y="444"/>
                      </a:cubicBezTo>
                      <a:cubicBezTo>
                        <a:pt x="536" y="397"/>
                        <a:pt x="501" y="484"/>
                        <a:pt x="466" y="439"/>
                      </a:cubicBezTo>
                      <a:cubicBezTo>
                        <a:pt x="432" y="394"/>
                        <a:pt x="408" y="309"/>
                        <a:pt x="409" y="253"/>
                      </a:cubicBezTo>
                      <a:cubicBezTo>
                        <a:pt x="409" y="185"/>
                        <a:pt x="382" y="167"/>
                        <a:pt x="351" y="113"/>
                      </a:cubicBezTo>
                      <a:cubicBezTo>
                        <a:pt x="347" y="112"/>
                        <a:pt x="344" y="113"/>
                        <a:pt x="340" y="11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4" name="Freeform 359"/>
                <p:cNvSpPr>
                  <a:spLocks/>
                </p:cNvSpPr>
                <p:nvPr/>
              </p:nvSpPr>
              <p:spPr bwMode="gray">
                <a:xfrm>
                  <a:off x="20223162" y="6965951"/>
                  <a:ext cx="393700" cy="1162050"/>
                </a:xfrm>
                <a:custGeom>
                  <a:avLst/>
                  <a:gdLst/>
                  <a:ahLst/>
                  <a:cxnLst>
                    <a:cxn ang="0">
                      <a:pos x="41" y="53"/>
                    </a:cxn>
                    <a:cxn ang="0">
                      <a:pos x="58" y="182"/>
                    </a:cxn>
                    <a:cxn ang="0">
                      <a:pos x="16" y="233"/>
                    </a:cxn>
                    <a:cxn ang="0">
                      <a:pos x="21" y="310"/>
                    </a:cxn>
                    <a:cxn ang="0">
                      <a:pos x="105" y="14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5" h="310">
                      <a:moveTo>
                        <a:pt x="41" y="53"/>
                      </a:moveTo>
                      <a:cubicBezTo>
                        <a:pt x="58" y="67"/>
                        <a:pt x="88" y="145"/>
                        <a:pt x="58" y="182"/>
                      </a:cubicBezTo>
                      <a:cubicBezTo>
                        <a:pt x="44" y="199"/>
                        <a:pt x="24" y="208"/>
                        <a:pt x="16" y="233"/>
                      </a:cubicBezTo>
                      <a:cubicBezTo>
                        <a:pt x="8" y="257"/>
                        <a:pt x="12" y="289"/>
                        <a:pt x="21" y="310"/>
                      </a:cubicBezTo>
                      <a:cubicBezTo>
                        <a:pt x="22" y="237"/>
                        <a:pt x="105" y="226"/>
                        <a:pt x="105" y="147"/>
                      </a:cubicBezTo>
                      <a:cubicBezTo>
                        <a:pt x="104" y="66"/>
                        <a:pt x="39" y="58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5" name="Freeform 360"/>
                <p:cNvSpPr>
                  <a:spLocks/>
                </p:cNvSpPr>
                <p:nvPr/>
              </p:nvSpPr>
              <p:spPr bwMode="gray">
                <a:xfrm>
                  <a:off x="18265775" y="7123113"/>
                  <a:ext cx="2208213" cy="4467225"/>
                </a:xfrm>
                <a:custGeom>
                  <a:avLst/>
                  <a:gdLst/>
                  <a:ahLst/>
                  <a:cxnLst>
                    <a:cxn ang="0">
                      <a:pos x="213" y="229"/>
                    </a:cxn>
                    <a:cxn ang="0">
                      <a:pos x="206" y="543"/>
                    </a:cxn>
                    <a:cxn ang="0">
                      <a:pos x="0" y="863"/>
                    </a:cxn>
                    <a:cxn ang="0">
                      <a:pos x="546" y="431"/>
                    </a:cxn>
                    <a:cxn ang="0">
                      <a:pos x="556" y="356"/>
                    </a:cxn>
                    <a:cxn ang="0">
                      <a:pos x="543" y="225"/>
                    </a:cxn>
                    <a:cxn ang="0">
                      <a:pos x="461" y="99"/>
                    </a:cxn>
                    <a:cxn ang="0">
                      <a:pos x="213" y="229"/>
                    </a:cxn>
                  </a:cxnLst>
                  <a:rect l="0" t="0" r="r" b="b"/>
                  <a:pathLst>
                    <a:path w="589" h="1191">
                      <a:moveTo>
                        <a:pt x="213" y="229"/>
                      </a:moveTo>
                      <a:cubicBezTo>
                        <a:pt x="231" y="335"/>
                        <a:pt x="269" y="460"/>
                        <a:pt x="206" y="543"/>
                      </a:cubicBezTo>
                      <a:cubicBezTo>
                        <a:pt x="127" y="579"/>
                        <a:pt x="203" y="616"/>
                        <a:pt x="0" y="863"/>
                      </a:cubicBezTo>
                      <a:cubicBezTo>
                        <a:pt x="316" y="1191"/>
                        <a:pt x="589" y="580"/>
                        <a:pt x="546" y="431"/>
                      </a:cubicBezTo>
                      <a:cubicBezTo>
                        <a:pt x="541" y="410"/>
                        <a:pt x="566" y="382"/>
                        <a:pt x="556" y="356"/>
                      </a:cubicBezTo>
                      <a:cubicBezTo>
                        <a:pt x="546" y="329"/>
                        <a:pt x="546" y="253"/>
                        <a:pt x="543" y="225"/>
                      </a:cubicBezTo>
                      <a:cubicBezTo>
                        <a:pt x="540" y="190"/>
                        <a:pt x="483" y="124"/>
                        <a:pt x="461" y="99"/>
                      </a:cubicBezTo>
                      <a:cubicBezTo>
                        <a:pt x="369" y="0"/>
                        <a:pt x="255" y="157"/>
                        <a:pt x="213" y="22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6" name="Freeform 361"/>
                <p:cNvSpPr>
                  <a:spLocks/>
                </p:cNvSpPr>
                <p:nvPr/>
              </p:nvSpPr>
              <p:spPr bwMode="gray">
                <a:xfrm>
                  <a:off x="19056350" y="7715251"/>
                  <a:ext cx="1222375" cy="855663"/>
                </a:xfrm>
                <a:custGeom>
                  <a:avLst/>
                  <a:gdLst/>
                  <a:ahLst/>
                  <a:cxnLst>
                    <a:cxn ang="0">
                      <a:pos x="66" y="203"/>
                    </a:cxn>
                    <a:cxn ang="0">
                      <a:pos x="186" y="196"/>
                    </a:cxn>
                    <a:cxn ang="0">
                      <a:pos x="323" y="39"/>
                    </a:cxn>
                    <a:cxn ang="0">
                      <a:pos x="303" y="0"/>
                    </a:cxn>
                    <a:cxn ang="0">
                      <a:pos x="177" y="74"/>
                    </a:cxn>
                    <a:cxn ang="0">
                      <a:pos x="64" y="90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326" h="228">
                      <a:moveTo>
                        <a:pt x="66" y="203"/>
                      </a:moveTo>
                      <a:cubicBezTo>
                        <a:pt x="107" y="228"/>
                        <a:pt x="148" y="208"/>
                        <a:pt x="186" y="196"/>
                      </a:cubicBezTo>
                      <a:cubicBezTo>
                        <a:pt x="272" y="167"/>
                        <a:pt x="295" y="119"/>
                        <a:pt x="323" y="39"/>
                      </a:cubicBezTo>
                      <a:cubicBezTo>
                        <a:pt x="314" y="26"/>
                        <a:pt x="326" y="5"/>
                        <a:pt x="303" y="0"/>
                      </a:cubicBezTo>
                      <a:cubicBezTo>
                        <a:pt x="298" y="45"/>
                        <a:pt x="215" y="68"/>
                        <a:pt x="177" y="74"/>
                      </a:cubicBezTo>
                      <a:cubicBezTo>
                        <a:pt x="140" y="79"/>
                        <a:pt x="100" y="78"/>
                        <a:pt x="64" y="90"/>
                      </a:cubicBezTo>
                      <a:cubicBezTo>
                        <a:pt x="40" y="98"/>
                        <a:pt x="28" y="114"/>
                        <a:pt x="0" y="11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7" name="Freeform 362"/>
                <p:cNvSpPr>
                  <a:spLocks/>
                </p:cNvSpPr>
                <p:nvPr/>
              </p:nvSpPr>
              <p:spPr bwMode="gray">
                <a:xfrm>
                  <a:off x="19045237" y="7697788"/>
                  <a:ext cx="1214438" cy="1057275"/>
                </a:xfrm>
                <a:custGeom>
                  <a:avLst/>
                  <a:gdLst/>
                  <a:ahLst/>
                  <a:cxnLst>
                    <a:cxn ang="0">
                      <a:pos x="0" y="119"/>
                    </a:cxn>
                    <a:cxn ang="0">
                      <a:pos x="324" y="0"/>
                    </a:cxn>
                  </a:cxnLst>
                  <a:rect l="0" t="0" r="r" b="b"/>
                  <a:pathLst>
                    <a:path w="324" h="282">
                      <a:moveTo>
                        <a:pt x="0" y="119"/>
                      </a:moveTo>
                      <a:cubicBezTo>
                        <a:pt x="104" y="282"/>
                        <a:pt x="266" y="109"/>
                        <a:pt x="324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8" name="Freeform 363"/>
                <p:cNvSpPr>
                  <a:spLocks/>
                </p:cNvSpPr>
                <p:nvPr/>
              </p:nvSpPr>
              <p:spPr bwMode="gray">
                <a:xfrm>
                  <a:off x="17811750" y="15444788"/>
                  <a:ext cx="295275" cy="600075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37" y="146"/>
                    </a:cxn>
                    <a:cxn ang="0">
                      <a:pos x="0" y="8"/>
                    </a:cxn>
                  </a:cxnLst>
                  <a:rect l="0" t="0" r="r" b="b"/>
                  <a:pathLst>
                    <a:path w="79" h="160">
                      <a:moveTo>
                        <a:pt x="13" y="0"/>
                      </a:moveTo>
                      <a:cubicBezTo>
                        <a:pt x="29" y="19"/>
                        <a:pt x="79" y="123"/>
                        <a:pt x="37" y="146"/>
                      </a:cubicBezTo>
                      <a:cubicBezTo>
                        <a:pt x="12" y="160"/>
                        <a:pt x="28" y="25"/>
                        <a:pt x="0" y="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39" name="Freeform 364"/>
                <p:cNvSpPr>
                  <a:spLocks/>
                </p:cNvSpPr>
                <p:nvPr/>
              </p:nvSpPr>
              <p:spPr bwMode="gray">
                <a:xfrm>
                  <a:off x="17811750" y="14492288"/>
                  <a:ext cx="528638" cy="996950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58" y="266"/>
                    </a:cxn>
                    <a:cxn ang="0">
                      <a:pos x="33" y="12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1" h="266">
                      <a:moveTo>
                        <a:pt x="0" y="4"/>
                      </a:moveTo>
                      <a:cubicBezTo>
                        <a:pt x="37" y="34"/>
                        <a:pt x="141" y="257"/>
                        <a:pt x="58" y="266"/>
                      </a:cubicBezTo>
                      <a:cubicBezTo>
                        <a:pt x="30" y="226"/>
                        <a:pt x="46" y="172"/>
                        <a:pt x="33" y="129"/>
                      </a:cubicBezTo>
                      <a:cubicBezTo>
                        <a:pt x="18" y="81"/>
                        <a:pt x="0" y="53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0" name="Freeform 365"/>
                <p:cNvSpPr>
                  <a:spLocks/>
                </p:cNvSpPr>
                <p:nvPr/>
              </p:nvSpPr>
              <p:spPr bwMode="gray">
                <a:xfrm>
                  <a:off x="16495712" y="8416926"/>
                  <a:ext cx="4832350" cy="6521450"/>
                </a:xfrm>
                <a:custGeom>
                  <a:avLst/>
                  <a:gdLst/>
                  <a:ahLst/>
                  <a:cxnLst>
                    <a:cxn ang="0">
                      <a:pos x="530" y="466"/>
                    </a:cxn>
                    <a:cxn ang="0">
                      <a:pos x="636" y="308"/>
                    </a:cxn>
                    <a:cxn ang="0">
                      <a:pos x="710" y="120"/>
                    </a:cxn>
                    <a:cxn ang="0">
                      <a:pos x="583" y="280"/>
                    </a:cxn>
                    <a:cxn ang="0">
                      <a:pos x="401" y="380"/>
                    </a:cxn>
                    <a:cxn ang="0">
                      <a:pos x="386" y="477"/>
                    </a:cxn>
                    <a:cxn ang="0">
                      <a:pos x="342" y="555"/>
                    </a:cxn>
                    <a:cxn ang="0">
                      <a:pos x="302" y="660"/>
                    </a:cxn>
                    <a:cxn ang="0">
                      <a:pos x="264" y="662"/>
                    </a:cxn>
                    <a:cxn ang="0">
                      <a:pos x="197" y="820"/>
                    </a:cxn>
                    <a:cxn ang="0">
                      <a:pos x="108" y="958"/>
                    </a:cxn>
                    <a:cxn ang="0">
                      <a:pos x="6" y="1009"/>
                    </a:cxn>
                    <a:cxn ang="0">
                      <a:pos x="125" y="1314"/>
                    </a:cxn>
                    <a:cxn ang="0">
                      <a:pos x="311" y="1107"/>
                    </a:cxn>
                    <a:cxn ang="0">
                      <a:pos x="423" y="1224"/>
                    </a:cxn>
                    <a:cxn ang="0">
                      <a:pos x="337" y="1234"/>
                    </a:cxn>
                    <a:cxn ang="0">
                      <a:pos x="183" y="1566"/>
                    </a:cxn>
                    <a:cxn ang="0">
                      <a:pos x="634" y="1691"/>
                    </a:cxn>
                    <a:cxn ang="0">
                      <a:pos x="1134" y="1644"/>
                    </a:cxn>
                    <a:cxn ang="0">
                      <a:pos x="1076" y="1517"/>
                    </a:cxn>
                    <a:cxn ang="0">
                      <a:pos x="988" y="1169"/>
                    </a:cxn>
                    <a:cxn ang="0">
                      <a:pos x="1111" y="872"/>
                    </a:cxn>
                    <a:cxn ang="0">
                      <a:pos x="1158" y="185"/>
                    </a:cxn>
                    <a:cxn ang="0">
                      <a:pos x="1077" y="94"/>
                    </a:cxn>
                    <a:cxn ang="0">
                      <a:pos x="1029" y="0"/>
                    </a:cxn>
                  </a:cxnLst>
                  <a:rect l="0" t="0" r="r" b="b"/>
                  <a:pathLst>
                    <a:path w="1289" h="1739">
                      <a:moveTo>
                        <a:pt x="530" y="466"/>
                      </a:moveTo>
                      <a:cubicBezTo>
                        <a:pt x="550" y="401"/>
                        <a:pt x="583" y="351"/>
                        <a:pt x="636" y="308"/>
                      </a:cubicBezTo>
                      <a:cubicBezTo>
                        <a:pt x="701" y="255"/>
                        <a:pt x="687" y="195"/>
                        <a:pt x="710" y="120"/>
                      </a:cubicBezTo>
                      <a:cubicBezTo>
                        <a:pt x="677" y="180"/>
                        <a:pt x="635" y="245"/>
                        <a:pt x="583" y="280"/>
                      </a:cubicBezTo>
                      <a:cubicBezTo>
                        <a:pt x="539" y="309"/>
                        <a:pt x="454" y="365"/>
                        <a:pt x="401" y="380"/>
                      </a:cubicBezTo>
                      <a:cubicBezTo>
                        <a:pt x="391" y="411"/>
                        <a:pt x="397" y="448"/>
                        <a:pt x="386" y="477"/>
                      </a:cubicBezTo>
                      <a:cubicBezTo>
                        <a:pt x="372" y="514"/>
                        <a:pt x="332" y="500"/>
                        <a:pt x="342" y="555"/>
                      </a:cubicBezTo>
                      <a:cubicBezTo>
                        <a:pt x="289" y="563"/>
                        <a:pt x="280" y="620"/>
                        <a:pt x="302" y="660"/>
                      </a:cubicBezTo>
                      <a:cubicBezTo>
                        <a:pt x="290" y="659"/>
                        <a:pt x="276" y="663"/>
                        <a:pt x="264" y="662"/>
                      </a:cubicBezTo>
                      <a:cubicBezTo>
                        <a:pt x="227" y="692"/>
                        <a:pt x="224" y="776"/>
                        <a:pt x="197" y="820"/>
                      </a:cubicBezTo>
                      <a:cubicBezTo>
                        <a:pt x="170" y="862"/>
                        <a:pt x="99" y="907"/>
                        <a:pt x="108" y="958"/>
                      </a:cubicBezTo>
                      <a:cubicBezTo>
                        <a:pt x="71" y="972"/>
                        <a:pt x="42" y="997"/>
                        <a:pt x="6" y="1009"/>
                      </a:cubicBezTo>
                      <a:cubicBezTo>
                        <a:pt x="0" y="1119"/>
                        <a:pt x="1" y="1277"/>
                        <a:pt x="125" y="1314"/>
                      </a:cubicBezTo>
                      <a:cubicBezTo>
                        <a:pt x="246" y="1350"/>
                        <a:pt x="402" y="1227"/>
                        <a:pt x="311" y="1107"/>
                      </a:cubicBezTo>
                      <a:cubicBezTo>
                        <a:pt x="336" y="1151"/>
                        <a:pt x="421" y="1171"/>
                        <a:pt x="423" y="1224"/>
                      </a:cubicBezTo>
                      <a:cubicBezTo>
                        <a:pt x="396" y="1233"/>
                        <a:pt x="366" y="1235"/>
                        <a:pt x="337" y="1234"/>
                      </a:cubicBezTo>
                      <a:cubicBezTo>
                        <a:pt x="329" y="1389"/>
                        <a:pt x="276" y="1449"/>
                        <a:pt x="183" y="1566"/>
                      </a:cubicBezTo>
                      <a:cubicBezTo>
                        <a:pt x="274" y="1673"/>
                        <a:pt x="496" y="1683"/>
                        <a:pt x="634" y="1691"/>
                      </a:cubicBezTo>
                      <a:cubicBezTo>
                        <a:pt x="758" y="1699"/>
                        <a:pt x="1048" y="1739"/>
                        <a:pt x="1134" y="1644"/>
                      </a:cubicBezTo>
                      <a:cubicBezTo>
                        <a:pt x="1109" y="1609"/>
                        <a:pt x="1087" y="1557"/>
                        <a:pt x="1076" y="1517"/>
                      </a:cubicBezTo>
                      <a:cubicBezTo>
                        <a:pt x="973" y="1421"/>
                        <a:pt x="989" y="1307"/>
                        <a:pt x="988" y="1169"/>
                      </a:cubicBezTo>
                      <a:cubicBezTo>
                        <a:pt x="988" y="1052"/>
                        <a:pt x="1066" y="973"/>
                        <a:pt x="1111" y="872"/>
                      </a:cubicBezTo>
                      <a:cubicBezTo>
                        <a:pt x="1203" y="669"/>
                        <a:pt x="1289" y="402"/>
                        <a:pt x="1158" y="185"/>
                      </a:cubicBezTo>
                      <a:cubicBezTo>
                        <a:pt x="1138" y="152"/>
                        <a:pt x="1098" y="127"/>
                        <a:pt x="1077" y="94"/>
                      </a:cubicBezTo>
                      <a:cubicBezTo>
                        <a:pt x="1060" y="66"/>
                        <a:pt x="1063" y="15"/>
                        <a:pt x="1029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1" name="Freeform 366"/>
                <p:cNvSpPr>
                  <a:spLocks/>
                </p:cNvSpPr>
                <p:nvPr/>
              </p:nvSpPr>
              <p:spPr bwMode="gray">
                <a:xfrm>
                  <a:off x="19877087" y="11296651"/>
                  <a:ext cx="525463" cy="635000"/>
                </a:xfrm>
                <a:custGeom>
                  <a:avLst/>
                  <a:gdLst/>
                  <a:ahLst/>
                  <a:cxnLst>
                    <a:cxn ang="0">
                      <a:pos x="140" y="167"/>
                    </a:cxn>
                    <a:cxn ang="0">
                      <a:pos x="35" y="53"/>
                    </a:cxn>
                    <a:cxn ang="0">
                      <a:pos x="65" y="116"/>
                    </a:cxn>
                    <a:cxn ang="0">
                      <a:pos x="140" y="167"/>
                    </a:cxn>
                  </a:cxnLst>
                  <a:rect l="0" t="0" r="r" b="b"/>
                  <a:pathLst>
                    <a:path w="140" h="169">
                      <a:moveTo>
                        <a:pt x="140" y="167"/>
                      </a:moveTo>
                      <a:cubicBezTo>
                        <a:pt x="130" y="133"/>
                        <a:pt x="89" y="0"/>
                        <a:pt x="35" y="53"/>
                      </a:cubicBezTo>
                      <a:cubicBezTo>
                        <a:pt x="0" y="87"/>
                        <a:pt x="36" y="103"/>
                        <a:pt x="65" y="116"/>
                      </a:cubicBezTo>
                      <a:cubicBezTo>
                        <a:pt x="88" y="126"/>
                        <a:pt x="115" y="169"/>
                        <a:pt x="140" y="16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2" name="Freeform 367"/>
                <p:cNvSpPr>
                  <a:spLocks/>
                </p:cNvSpPr>
                <p:nvPr/>
              </p:nvSpPr>
              <p:spPr bwMode="gray">
                <a:xfrm>
                  <a:off x="20207287" y="11207751"/>
                  <a:ext cx="371475" cy="465138"/>
                </a:xfrm>
                <a:custGeom>
                  <a:avLst/>
                  <a:gdLst/>
                  <a:ahLst/>
                  <a:cxnLst>
                    <a:cxn ang="0">
                      <a:pos x="44" y="8"/>
                    </a:cxn>
                    <a:cxn ang="0">
                      <a:pos x="53" y="18"/>
                    </a:cxn>
                    <a:cxn ang="0">
                      <a:pos x="95" y="118"/>
                    </a:cxn>
                    <a:cxn ang="0">
                      <a:pos x="47" y="65"/>
                    </a:cxn>
                    <a:cxn ang="0">
                      <a:pos x="41" y="11"/>
                    </a:cxn>
                  </a:cxnLst>
                  <a:rect l="0" t="0" r="r" b="b"/>
                  <a:pathLst>
                    <a:path w="99" h="124">
                      <a:moveTo>
                        <a:pt x="44" y="8"/>
                      </a:moveTo>
                      <a:cubicBezTo>
                        <a:pt x="48" y="12"/>
                        <a:pt x="50" y="13"/>
                        <a:pt x="53" y="18"/>
                      </a:cubicBezTo>
                      <a:cubicBezTo>
                        <a:pt x="87" y="24"/>
                        <a:pt x="99" y="86"/>
                        <a:pt x="95" y="118"/>
                      </a:cubicBezTo>
                      <a:cubicBezTo>
                        <a:pt x="75" y="124"/>
                        <a:pt x="62" y="81"/>
                        <a:pt x="47" y="65"/>
                      </a:cubicBezTo>
                      <a:cubicBezTo>
                        <a:pt x="38" y="55"/>
                        <a:pt x="0" y="0"/>
                        <a:pt x="41" y="1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3" name="Freeform 368"/>
                <p:cNvSpPr>
                  <a:spLocks/>
                </p:cNvSpPr>
                <p:nvPr/>
              </p:nvSpPr>
              <p:spPr bwMode="gray">
                <a:xfrm>
                  <a:off x="19623087" y="13242926"/>
                  <a:ext cx="760413" cy="693738"/>
                </a:xfrm>
                <a:custGeom>
                  <a:avLst/>
                  <a:gdLst/>
                  <a:ahLst/>
                  <a:cxnLst>
                    <a:cxn ang="0">
                      <a:pos x="203" y="185"/>
                    </a:cxn>
                    <a:cxn ang="0">
                      <a:pos x="128" y="85"/>
                    </a:cxn>
                    <a:cxn ang="0">
                      <a:pos x="7" y="6"/>
                    </a:cxn>
                    <a:cxn ang="0">
                      <a:pos x="46" y="46"/>
                    </a:cxn>
                    <a:cxn ang="0">
                      <a:pos x="106" y="84"/>
                    </a:cxn>
                    <a:cxn ang="0">
                      <a:pos x="197" y="180"/>
                    </a:cxn>
                  </a:cxnLst>
                  <a:rect l="0" t="0" r="r" b="b"/>
                  <a:pathLst>
                    <a:path w="203" h="185">
                      <a:moveTo>
                        <a:pt x="203" y="185"/>
                      </a:moveTo>
                      <a:cubicBezTo>
                        <a:pt x="179" y="150"/>
                        <a:pt x="154" y="116"/>
                        <a:pt x="128" y="85"/>
                      </a:cubicBezTo>
                      <a:cubicBezTo>
                        <a:pt x="103" y="56"/>
                        <a:pt x="52" y="0"/>
                        <a:pt x="7" y="6"/>
                      </a:cubicBezTo>
                      <a:cubicBezTo>
                        <a:pt x="0" y="35"/>
                        <a:pt x="28" y="37"/>
                        <a:pt x="46" y="46"/>
                      </a:cubicBezTo>
                      <a:cubicBezTo>
                        <a:pt x="67" y="57"/>
                        <a:pt x="86" y="69"/>
                        <a:pt x="106" y="84"/>
                      </a:cubicBezTo>
                      <a:cubicBezTo>
                        <a:pt x="144" y="113"/>
                        <a:pt x="168" y="147"/>
                        <a:pt x="197" y="18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4" name="Freeform 369"/>
                <p:cNvSpPr>
                  <a:spLocks/>
                </p:cNvSpPr>
                <p:nvPr/>
              </p:nvSpPr>
              <p:spPr bwMode="gray">
                <a:xfrm>
                  <a:off x="19738975" y="9891713"/>
                  <a:ext cx="674688" cy="517525"/>
                </a:xfrm>
                <a:custGeom>
                  <a:avLst/>
                  <a:gdLst/>
                  <a:ahLst/>
                  <a:cxnLst>
                    <a:cxn ang="0">
                      <a:pos x="0" y="90"/>
                    </a:cxn>
                    <a:cxn ang="0">
                      <a:pos x="155" y="29"/>
                    </a:cxn>
                    <a:cxn ang="0">
                      <a:pos x="155" y="39"/>
                    </a:cxn>
                    <a:cxn ang="0">
                      <a:pos x="19" y="82"/>
                    </a:cxn>
                    <a:cxn ang="0">
                      <a:pos x="180" y="130"/>
                    </a:cxn>
                    <a:cxn ang="0">
                      <a:pos x="5" y="93"/>
                    </a:cxn>
                  </a:cxnLst>
                  <a:rect l="0" t="0" r="r" b="b"/>
                  <a:pathLst>
                    <a:path w="180" h="138">
                      <a:moveTo>
                        <a:pt x="0" y="90"/>
                      </a:moveTo>
                      <a:cubicBezTo>
                        <a:pt x="20" y="52"/>
                        <a:pt x="116" y="0"/>
                        <a:pt x="155" y="29"/>
                      </a:cubicBezTo>
                      <a:cubicBezTo>
                        <a:pt x="156" y="32"/>
                        <a:pt x="156" y="35"/>
                        <a:pt x="155" y="39"/>
                      </a:cubicBezTo>
                      <a:cubicBezTo>
                        <a:pt x="105" y="47"/>
                        <a:pt x="47" y="28"/>
                        <a:pt x="19" y="82"/>
                      </a:cubicBezTo>
                      <a:cubicBezTo>
                        <a:pt x="66" y="85"/>
                        <a:pt x="174" y="65"/>
                        <a:pt x="180" y="130"/>
                      </a:cubicBezTo>
                      <a:cubicBezTo>
                        <a:pt x="129" y="138"/>
                        <a:pt x="55" y="44"/>
                        <a:pt x="5" y="9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5" name="Freeform 370"/>
                <p:cNvSpPr>
                  <a:spLocks/>
                </p:cNvSpPr>
                <p:nvPr/>
              </p:nvSpPr>
              <p:spPr bwMode="gray">
                <a:xfrm>
                  <a:off x="20380325" y="9644063"/>
                  <a:ext cx="446088" cy="160338"/>
                </a:xfrm>
                <a:custGeom>
                  <a:avLst/>
                  <a:gdLst/>
                  <a:ahLst/>
                  <a:cxnLst>
                    <a:cxn ang="0">
                      <a:pos x="119" y="38"/>
                    </a:cxn>
                    <a:cxn ang="0">
                      <a:pos x="15" y="14"/>
                    </a:cxn>
                    <a:cxn ang="0">
                      <a:pos x="57" y="29"/>
                    </a:cxn>
                    <a:cxn ang="0">
                      <a:pos x="116" y="43"/>
                    </a:cxn>
                  </a:cxnLst>
                  <a:rect l="0" t="0" r="r" b="b"/>
                  <a:pathLst>
                    <a:path w="119" h="43">
                      <a:moveTo>
                        <a:pt x="119" y="38"/>
                      </a:moveTo>
                      <a:cubicBezTo>
                        <a:pt x="116" y="7"/>
                        <a:pt x="35" y="0"/>
                        <a:pt x="15" y="14"/>
                      </a:cubicBezTo>
                      <a:cubicBezTo>
                        <a:pt x="0" y="42"/>
                        <a:pt x="43" y="32"/>
                        <a:pt x="57" y="29"/>
                      </a:cubicBezTo>
                      <a:cubicBezTo>
                        <a:pt x="84" y="25"/>
                        <a:pt x="95" y="25"/>
                        <a:pt x="116" y="4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6" name="Freeform 371"/>
                <p:cNvSpPr>
                  <a:spLocks/>
                </p:cNvSpPr>
                <p:nvPr/>
              </p:nvSpPr>
              <p:spPr bwMode="gray">
                <a:xfrm>
                  <a:off x="20504150" y="10974388"/>
                  <a:ext cx="382588" cy="277813"/>
                </a:xfrm>
                <a:custGeom>
                  <a:avLst/>
                  <a:gdLst/>
                  <a:ahLst/>
                  <a:cxnLst>
                    <a:cxn ang="0">
                      <a:pos x="3" y="67"/>
                    </a:cxn>
                    <a:cxn ang="0">
                      <a:pos x="70" y="56"/>
                    </a:cxn>
                    <a:cxn ang="0">
                      <a:pos x="97" y="0"/>
                    </a:cxn>
                    <a:cxn ang="0">
                      <a:pos x="80" y="29"/>
                    </a:cxn>
                    <a:cxn ang="0">
                      <a:pos x="0" y="65"/>
                    </a:cxn>
                  </a:cxnLst>
                  <a:rect l="0" t="0" r="r" b="b"/>
                  <a:pathLst>
                    <a:path w="102" h="74">
                      <a:moveTo>
                        <a:pt x="3" y="67"/>
                      </a:moveTo>
                      <a:cubicBezTo>
                        <a:pt x="32" y="69"/>
                        <a:pt x="47" y="74"/>
                        <a:pt x="70" y="56"/>
                      </a:cubicBezTo>
                      <a:cubicBezTo>
                        <a:pt x="87" y="43"/>
                        <a:pt x="102" y="24"/>
                        <a:pt x="97" y="0"/>
                      </a:cubicBezTo>
                      <a:cubicBezTo>
                        <a:pt x="95" y="6"/>
                        <a:pt x="86" y="20"/>
                        <a:pt x="80" y="29"/>
                      </a:cubicBezTo>
                      <a:cubicBezTo>
                        <a:pt x="54" y="38"/>
                        <a:pt x="33" y="64"/>
                        <a:pt x="0" y="65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7" name="Freeform 372"/>
                <p:cNvSpPr>
                  <a:spLocks/>
                </p:cNvSpPr>
                <p:nvPr/>
              </p:nvSpPr>
              <p:spPr bwMode="gray">
                <a:xfrm>
                  <a:off x="19929475" y="9167813"/>
                  <a:ext cx="682625" cy="347663"/>
                </a:xfrm>
                <a:custGeom>
                  <a:avLst/>
                  <a:gdLst/>
                  <a:ahLst/>
                  <a:cxnLst>
                    <a:cxn ang="0">
                      <a:pos x="11" y="82"/>
                    </a:cxn>
                    <a:cxn ang="0">
                      <a:pos x="11" y="74"/>
                    </a:cxn>
                    <a:cxn ang="0">
                      <a:pos x="182" y="49"/>
                    </a:cxn>
                    <a:cxn ang="0">
                      <a:pos x="132" y="39"/>
                    </a:cxn>
                    <a:cxn ang="0">
                      <a:pos x="83" y="52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182" h="93">
                      <a:moveTo>
                        <a:pt x="11" y="82"/>
                      </a:moveTo>
                      <a:cubicBezTo>
                        <a:pt x="11" y="79"/>
                        <a:pt x="10" y="77"/>
                        <a:pt x="11" y="74"/>
                      </a:cubicBezTo>
                      <a:cubicBezTo>
                        <a:pt x="52" y="49"/>
                        <a:pt x="144" y="0"/>
                        <a:pt x="182" y="49"/>
                      </a:cubicBezTo>
                      <a:cubicBezTo>
                        <a:pt x="163" y="51"/>
                        <a:pt x="150" y="40"/>
                        <a:pt x="132" y="39"/>
                      </a:cubicBezTo>
                      <a:cubicBezTo>
                        <a:pt x="114" y="37"/>
                        <a:pt x="98" y="46"/>
                        <a:pt x="83" y="52"/>
                      </a:cubicBezTo>
                      <a:cubicBezTo>
                        <a:pt x="52" y="63"/>
                        <a:pt x="25" y="72"/>
                        <a:pt x="0" y="9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8" name="Freeform 373"/>
                <p:cNvSpPr>
                  <a:spLocks/>
                </p:cNvSpPr>
                <p:nvPr/>
              </p:nvSpPr>
              <p:spPr bwMode="gray">
                <a:xfrm>
                  <a:off x="18441987" y="9666288"/>
                  <a:ext cx="1198563" cy="1720850"/>
                </a:xfrm>
                <a:custGeom>
                  <a:avLst/>
                  <a:gdLst/>
                  <a:ahLst/>
                  <a:cxnLst>
                    <a:cxn ang="0">
                      <a:pos x="314" y="0"/>
                    </a:cxn>
                    <a:cxn ang="0">
                      <a:pos x="257" y="126"/>
                    </a:cxn>
                    <a:cxn ang="0">
                      <a:pos x="197" y="239"/>
                    </a:cxn>
                    <a:cxn ang="0">
                      <a:pos x="135" y="344"/>
                    </a:cxn>
                    <a:cxn ang="0">
                      <a:pos x="86" y="385"/>
                    </a:cxn>
                    <a:cxn ang="0">
                      <a:pos x="47" y="432"/>
                    </a:cxn>
                    <a:cxn ang="0">
                      <a:pos x="0" y="459"/>
                    </a:cxn>
                    <a:cxn ang="0">
                      <a:pos x="49" y="422"/>
                    </a:cxn>
                    <a:cxn ang="0">
                      <a:pos x="88" y="368"/>
                    </a:cxn>
                    <a:cxn ang="0">
                      <a:pos x="155" y="277"/>
                    </a:cxn>
                    <a:cxn ang="0">
                      <a:pos x="212" y="181"/>
                    </a:cxn>
                    <a:cxn ang="0">
                      <a:pos x="243" y="137"/>
                    </a:cxn>
                    <a:cxn ang="0">
                      <a:pos x="262" y="89"/>
                    </a:cxn>
                    <a:cxn ang="0">
                      <a:pos x="314" y="3"/>
                    </a:cxn>
                  </a:cxnLst>
                  <a:rect l="0" t="0" r="r" b="b"/>
                  <a:pathLst>
                    <a:path w="320" h="459">
                      <a:moveTo>
                        <a:pt x="314" y="0"/>
                      </a:moveTo>
                      <a:cubicBezTo>
                        <a:pt x="320" y="39"/>
                        <a:pt x="272" y="92"/>
                        <a:pt x="257" y="126"/>
                      </a:cubicBezTo>
                      <a:cubicBezTo>
                        <a:pt x="241" y="162"/>
                        <a:pt x="220" y="206"/>
                        <a:pt x="197" y="239"/>
                      </a:cubicBezTo>
                      <a:cubicBezTo>
                        <a:pt x="174" y="275"/>
                        <a:pt x="164" y="312"/>
                        <a:pt x="135" y="344"/>
                      </a:cubicBezTo>
                      <a:cubicBezTo>
                        <a:pt x="121" y="361"/>
                        <a:pt x="102" y="369"/>
                        <a:pt x="86" y="385"/>
                      </a:cubicBezTo>
                      <a:cubicBezTo>
                        <a:pt x="71" y="399"/>
                        <a:pt x="64" y="419"/>
                        <a:pt x="47" y="432"/>
                      </a:cubicBezTo>
                      <a:cubicBezTo>
                        <a:pt x="32" y="442"/>
                        <a:pt x="14" y="448"/>
                        <a:pt x="0" y="459"/>
                      </a:cubicBezTo>
                      <a:cubicBezTo>
                        <a:pt x="17" y="444"/>
                        <a:pt x="34" y="439"/>
                        <a:pt x="49" y="422"/>
                      </a:cubicBezTo>
                      <a:cubicBezTo>
                        <a:pt x="64" y="406"/>
                        <a:pt x="76" y="386"/>
                        <a:pt x="88" y="368"/>
                      </a:cubicBezTo>
                      <a:cubicBezTo>
                        <a:pt x="111" y="337"/>
                        <a:pt x="135" y="308"/>
                        <a:pt x="155" y="277"/>
                      </a:cubicBezTo>
                      <a:cubicBezTo>
                        <a:pt x="178" y="245"/>
                        <a:pt x="192" y="214"/>
                        <a:pt x="212" y="181"/>
                      </a:cubicBezTo>
                      <a:cubicBezTo>
                        <a:pt x="221" y="166"/>
                        <a:pt x="235" y="153"/>
                        <a:pt x="243" y="137"/>
                      </a:cubicBezTo>
                      <a:cubicBezTo>
                        <a:pt x="251" y="121"/>
                        <a:pt x="254" y="104"/>
                        <a:pt x="262" y="89"/>
                      </a:cubicBezTo>
                      <a:cubicBezTo>
                        <a:pt x="278" y="63"/>
                        <a:pt x="314" y="37"/>
                        <a:pt x="314" y="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49" name="Freeform 374"/>
                <p:cNvSpPr>
                  <a:spLocks/>
                </p:cNvSpPr>
                <p:nvPr/>
              </p:nvSpPr>
              <p:spPr bwMode="gray">
                <a:xfrm>
                  <a:off x="18348325" y="8818563"/>
                  <a:ext cx="2203450" cy="1736725"/>
                </a:xfrm>
                <a:custGeom>
                  <a:avLst/>
                  <a:gdLst/>
                  <a:ahLst/>
                  <a:cxnLst>
                    <a:cxn ang="0">
                      <a:pos x="588" y="8"/>
                    </a:cxn>
                    <a:cxn ang="0">
                      <a:pos x="460" y="28"/>
                    </a:cxn>
                    <a:cxn ang="0">
                      <a:pos x="352" y="80"/>
                    </a:cxn>
                    <a:cxn ang="0">
                      <a:pos x="272" y="178"/>
                    </a:cxn>
                    <a:cxn ang="0">
                      <a:pos x="242" y="220"/>
                    </a:cxn>
                    <a:cxn ang="0">
                      <a:pos x="199" y="263"/>
                    </a:cxn>
                    <a:cxn ang="0">
                      <a:pos x="83" y="370"/>
                    </a:cxn>
                    <a:cxn ang="0">
                      <a:pos x="43" y="427"/>
                    </a:cxn>
                    <a:cxn ang="0">
                      <a:pos x="0" y="463"/>
                    </a:cxn>
                    <a:cxn ang="0">
                      <a:pos x="97" y="385"/>
                    </a:cxn>
                    <a:cxn ang="0">
                      <a:pos x="188" y="296"/>
                    </a:cxn>
                    <a:cxn ang="0">
                      <a:pos x="230" y="250"/>
                    </a:cxn>
                    <a:cxn ang="0">
                      <a:pos x="277" y="215"/>
                    </a:cxn>
                    <a:cxn ang="0">
                      <a:pos x="302" y="162"/>
                    </a:cxn>
                    <a:cxn ang="0">
                      <a:pos x="349" y="116"/>
                    </a:cxn>
                    <a:cxn ang="0">
                      <a:pos x="452" y="49"/>
                    </a:cxn>
                    <a:cxn ang="0">
                      <a:pos x="521" y="21"/>
                    </a:cxn>
                    <a:cxn ang="0">
                      <a:pos x="583" y="3"/>
                    </a:cxn>
                  </a:cxnLst>
                  <a:rect l="0" t="0" r="r" b="b"/>
                  <a:pathLst>
                    <a:path w="588" h="463">
                      <a:moveTo>
                        <a:pt x="588" y="8"/>
                      </a:moveTo>
                      <a:cubicBezTo>
                        <a:pt x="539" y="8"/>
                        <a:pt x="503" y="11"/>
                        <a:pt x="460" y="28"/>
                      </a:cubicBezTo>
                      <a:cubicBezTo>
                        <a:pt x="422" y="42"/>
                        <a:pt x="386" y="54"/>
                        <a:pt x="352" y="80"/>
                      </a:cubicBezTo>
                      <a:cubicBezTo>
                        <a:pt x="319" y="105"/>
                        <a:pt x="286" y="138"/>
                        <a:pt x="272" y="178"/>
                      </a:cubicBezTo>
                      <a:cubicBezTo>
                        <a:pt x="263" y="204"/>
                        <a:pt x="265" y="205"/>
                        <a:pt x="242" y="220"/>
                      </a:cubicBezTo>
                      <a:cubicBezTo>
                        <a:pt x="225" y="231"/>
                        <a:pt x="212" y="247"/>
                        <a:pt x="199" y="263"/>
                      </a:cubicBezTo>
                      <a:cubicBezTo>
                        <a:pt x="168" y="305"/>
                        <a:pt x="118" y="330"/>
                        <a:pt x="83" y="370"/>
                      </a:cubicBezTo>
                      <a:cubicBezTo>
                        <a:pt x="68" y="387"/>
                        <a:pt x="59" y="409"/>
                        <a:pt x="43" y="427"/>
                      </a:cubicBezTo>
                      <a:cubicBezTo>
                        <a:pt x="30" y="442"/>
                        <a:pt x="12" y="453"/>
                        <a:pt x="0" y="463"/>
                      </a:cubicBezTo>
                      <a:cubicBezTo>
                        <a:pt x="36" y="445"/>
                        <a:pt x="72" y="419"/>
                        <a:pt x="97" y="385"/>
                      </a:cubicBezTo>
                      <a:cubicBezTo>
                        <a:pt x="125" y="348"/>
                        <a:pt x="152" y="324"/>
                        <a:pt x="188" y="296"/>
                      </a:cubicBezTo>
                      <a:cubicBezTo>
                        <a:pt x="205" y="282"/>
                        <a:pt x="217" y="268"/>
                        <a:pt x="230" y="250"/>
                      </a:cubicBezTo>
                      <a:cubicBezTo>
                        <a:pt x="245" y="231"/>
                        <a:pt x="262" y="229"/>
                        <a:pt x="277" y="215"/>
                      </a:cubicBezTo>
                      <a:cubicBezTo>
                        <a:pt x="291" y="201"/>
                        <a:pt x="291" y="178"/>
                        <a:pt x="302" y="162"/>
                      </a:cubicBezTo>
                      <a:cubicBezTo>
                        <a:pt x="314" y="142"/>
                        <a:pt x="331" y="129"/>
                        <a:pt x="349" y="116"/>
                      </a:cubicBezTo>
                      <a:cubicBezTo>
                        <a:pt x="382" y="93"/>
                        <a:pt x="416" y="64"/>
                        <a:pt x="452" y="49"/>
                      </a:cubicBezTo>
                      <a:cubicBezTo>
                        <a:pt x="475" y="39"/>
                        <a:pt x="498" y="29"/>
                        <a:pt x="521" y="21"/>
                      </a:cubicBezTo>
                      <a:cubicBezTo>
                        <a:pt x="539" y="16"/>
                        <a:pt x="564" y="0"/>
                        <a:pt x="583" y="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0" name="Freeform 375"/>
                <p:cNvSpPr>
                  <a:spLocks/>
                </p:cNvSpPr>
                <p:nvPr/>
              </p:nvSpPr>
              <p:spPr bwMode="gray">
                <a:xfrm>
                  <a:off x="18100675" y="10723563"/>
                  <a:ext cx="220663" cy="925513"/>
                </a:xfrm>
                <a:custGeom>
                  <a:avLst/>
                  <a:gdLst/>
                  <a:ahLst/>
                  <a:cxnLst>
                    <a:cxn ang="0">
                      <a:pos x="58" y="0"/>
                    </a:cxn>
                    <a:cxn ang="0">
                      <a:pos x="28" y="148"/>
                    </a:cxn>
                    <a:cxn ang="0">
                      <a:pos x="51" y="216"/>
                    </a:cxn>
                    <a:cxn ang="0">
                      <a:pos x="2" y="247"/>
                    </a:cxn>
                    <a:cxn ang="0">
                      <a:pos x="7" y="113"/>
                    </a:cxn>
                    <a:cxn ang="0">
                      <a:pos x="52" y="3"/>
                    </a:cxn>
                  </a:cxnLst>
                  <a:rect l="0" t="0" r="r" b="b"/>
                  <a:pathLst>
                    <a:path w="59" h="247">
                      <a:moveTo>
                        <a:pt x="58" y="0"/>
                      </a:moveTo>
                      <a:cubicBezTo>
                        <a:pt x="42" y="52"/>
                        <a:pt x="20" y="88"/>
                        <a:pt x="28" y="148"/>
                      </a:cubicBezTo>
                      <a:cubicBezTo>
                        <a:pt x="31" y="167"/>
                        <a:pt x="59" y="198"/>
                        <a:pt x="51" y="216"/>
                      </a:cubicBezTo>
                      <a:cubicBezTo>
                        <a:pt x="47" y="224"/>
                        <a:pt x="9" y="246"/>
                        <a:pt x="2" y="247"/>
                      </a:cubicBezTo>
                      <a:cubicBezTo>
                        <a:pt x="0" y="203"/>
                        <a:pt x="4" y="158"/>
                        <a:pt x="7" y="113"/>
                      </a:cubicBezTo>
                      <a:cubicBezTo>
                        <a:pt x="8" y="90"/>
                        <a:pt x="30" y="8"/>
                        <a:pt x="52" y="3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1" name="Freeform 376"/>
                <p:cNvSpPr>
                  <a:spLocks/>
                </p:cNvSpPr>
                <p:nvPr/>
              </p:nvSpPr>
              <p:spPr bwMode="gray">
                <a:xfrm>
                  <a:off x="17289462" y="11106151"/>
                  <a:ext cx="588963" cy="1236663"/>
                </a:xfrm>
                <a:custGeom>
                  <a:avLst/>
                  <a:gdLst/>
                  <a:ahLst/>
                  <a:cxnLst>
                    <a:cxn ang="0">
                      <a:pos x="96" y="0"/>
                    </a:cxn>
                    <a:cxn ang="0">
                      <a:pos x="157" y="194"/>
                    </a:cxn>
                    <a:cxn ang="0">
                      <a:pos x="73" y="259"/>
                    </a:cxn>
                    <a:cxn ang="0">
                      <a:pos x="0" y="330"/>
                    </a:cxn>
                    <a:cxn ang="0">
                      <a:pos x="82" y="191"/>
                    </a:cxn>
                    <a:cxn ang="0">
                      <a:pos x="96" y="0"/>
                    </a:cxn>
                  </a:cxnLst>
                  <a:rect l="0" t="0" r="r" b="b"/>
                  <a:pathLst>
                    <a:path w="157" h="330">
                      <a:moveTo>
                        <a:pt x="96" y="0"/>
                      </a:moveTo>
                      <a:cubicBezTo>
                        <a:pt x="96" y="69"/>
                        <a:pt x="125" y="137"/>
                        <a:pt x="157" y="194"/>
                      </a:cubicBezTo>
                      <a:cubicBezTo>
                        <a:pt x="132" y="219"/>
                        <a:pt x="101" y="236"/>
                        <a:pt x="73" y="259"/>
                      </a:cubicBezTo>
                      <a:cubicBezTo>
                        <a:pt x="47" y="281"/>
                        <a:pt x="24" y="308"/>
                        <a:pt x="0" y="330"/>
                      </a:cubicBezTo>
                      <a:cubicBezTo>
                        <a:pt x="1" y="258"/>
                        <a:pt x="51" y="247"/>
                        <a:pt x="82" y="191"/>
                      </a:cubicBezTo>
                      <a:cubicBezTo>
                        <a:pt x="116" y="131"/>
                        <a:pt x="74" y="60"/>
                        <a:pt x="96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2" name="Freeform 377"/>
                <p:cNvSpPr>
                  <a:spLocks/>
                </p:cNvSpPr>
                <p:nvPr/>
              </p:nvSpPr>
              <p:spPr bwMode="gray">
                <a:xfrm>
                  <a:off x="17803812" y="9534526"/>
                  <a:ext cx="877888" cy="1316038"/>
                </a:xfrm>
                <a:custGeom>
                  <a:avLst/>
                  <a:gdLst/>
                  <a:ahLst/>
                  <a:cxnLst>
                    <a:cxn ang="0">
                      <a:pos x="231" y="0"/>
                    </a:cxn>
                    <a:cxn ang="0">
                      <a:pos x="172" y="86"/>
                    </a:cxn>
                    <a:cxn ang="0">
                      <a:pos x="118" y="169"/>
                    </a:cxn>
                    <a:cxn ang="0">
                      <a:pos x="0" y="351"/>
                    </a:cxn>
                    <a:cxn ang="0">
                      <a:pos x="48" y="269"/>
                    </a:cxn>
                    <a:cxn ang="0">
                      <a:pos x="94" y="173"/>
                    </a:cxn>
                    <a:cxn ang="0">
                      <a:pos x="162" y="81"/>
                    </a:cxn>
                    <a:cxn ang="0">
                      <a:pos x="195" y="40"/>
                    </a:cxn>
                    <a:cxn ang="0">
                      <a:pos x="234" y="5"/>
                    </a:cxn>
                  </a:cxnLst>
                  <a:rect l="0" t="0" r="r" b="b"/>
                  <a:pathLst>
                    <a:path w="234" h="351">
                      <a:moveTo>
                        <a:pt x="231" y="0"/>
                      </a:moveTo>
                      <a:cubicBezTo>
                        <a:pt x="227" y="29"/>
                        <a:pt x="190" y="63"/>
                        <a:pt x="172" y="86"/>
                      </a:cubicBezTo>
                      <a:cubicBezTo>
                        <a:pt x="153" y="112"/>
                        <a:pt x="137" y="141"/>
                        <a:pt x="118" y="169"/>
                      </a:cubicBezTo>
                      <a:cubicBezTo>
                        <a:pt x="77" y="228"/>
                        <a:pt x="50" y="294"/>
                        <a:pt x="0" y="351"/>
                      </a:cubicBezTo>
                      <a:cubicBezTo>
                        <a:pt x="5" y="323"/>
                        <a:pt x="36" y="296"/>
                        <a:pt x="48" y="269"/>
                      </a:cubicBezTo>
                      <a:cubicBezTo>
                        <a:pt x="63" y="236"/>
                        <a:pt x="72" y="201"/>
                        <a:pt x="94" y="173"/>
                      </a:cubicBezTo>
                      <a:cubicBezTo>
                        <a:pt x="118" y="142"/>
                        <a:pt x="139" y="111"/>
                        <a:pt x="162" y="81"/>
                      </a:cubicBezTo>
                      <a:cubicBezTo>
                        <a:pt x="172" y="67"/>
                        <a:pt x="183" y="52"/>
                        <a:pt x="195" y="40"/>
                      </a:cubicBezTo>
                      <a:cubicBezTo>
                        <a:pt x="207" y="28"/>
                        <a:pt x="224" y="19"/>
                        <a:pt x="234" y="5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3" name="Freeform 378"/>
                <p:cNvSpPr>
                  <a:spLocks/>
                </p:cNvSpPr>
                <p:nvPr/>
              </p:nvSpPr>
              <p:spPr bwMode="gray">
                <a:xfrm>
                  <a:off x="17638712" y="12309476"/>
                  <a:ext cx="1725613" cy="1654175"/>
                </a:xfrm>
                <a:custGeom>
                  <a:avLst/>
                  <a:gdLst/>
                  <a:ahLst/>
                  <a:cxnLst>
                    <a:cxn ang="0">
                      <a:pos x="41" y="249"/>
                    </a:cxn>
                    <a:cxn ang="0">
                      <a:pos x="98" y="255"/>
                    </a:cxn>
                    <a:cxn ang="0">
                      <a:pos x="83" y="364"/>
                    </a:cxn>
                    <a:cxn ang="0">
                      <a:pos x="51" y="441"/>
                    </a:cxn>
                    <a:cxn ang="0">
                      <a:pos x="124" y="318"/>
                    </a:cxn>
                    <a:cxn ang="0">
                      <a:pos x="202" y="219"/>
                    </a:cxn>
                    <a:cxn ang="0">
                      <a:pos x="452" y="93"/>
                    </a:cxn>
                    <a:cxn ang="0">
                      <a:pos x="434" y="29"/>
                    </a:cxn>
                    <a:cxn ang="0">
                      <a:pos x="27" y="178"/>
                    </a:cxn>
                    <a:cxn ang="0">
                      <a:pos x="14" y="219"/>
                    </a:cxn>
                    <a:cxn ang="0">
                      <a:pos x="44" y="254"/>
                    </a:cxn>
                  </a:cxnLst>
                  <a:rect l="0" t="0" r="r" b="b"/>
                  <a:pathLst>
                    <a:path w="460" h="441">
                      <a:moveTo>
                        <a:pt x="41" y="249"/>
                      </a:moveTo>
                      <a:cubicBezTo>
                        <a:pt x="59" y="260"/>
                        <a:pt x="79" y="270"/>
                        <a:pt x="98" y="255"/>
                      </a:cubicBezTo>
                      <a:cubicBezTo>
                        <a:pt x="97" y="296"/>
                        <a:pt x="97" y="327"/>
                        <a:pt x="83" y="364"/>
                      </a:cubicBezTo>
                      <a:cubicBezTo>
                        <a:pt x="74" y="390"/>
                        <a:pt x="62" y="416"/>
                        <a:pt x="51" y="441"/>
                      </a:cubicBezTo>
                      <a:cubicBezTo>
                        <a:pt x="87" y="402"/>
                        <a:pt x="107" y="367"/>
                        <a:pt x="124" y="318"/>
                      </a:cubicBezTo>
                      <a:cubicBezTo>
                        <a:pt x="142" y="267"/>
                        <a:pt x="147" y="237"/>
                        <a:pt x="202" y="219"/>
                      </a:cubicBezTo>
                      <a:cubicBezTo>
                        <a:pt x="284" y="193"/>
                        <a:pt x="395" y="164"/>
                        <a:pt x="452" y="93"/>
                      </a:cubicBezTo>
                      <a:cubicBezTo>
                        <a:pt x="460" y="83"/>
                        <a:pt x="441" y="45"/>
                        <a:pt x="434" y="29"/>
                      </a:cubicBezTo>
                      <a:cubicBezTo>
                        <a:pt x="422" y="0"/>
                        <a:pt x="173" y="268"/>
                        <a:pt x="27" y="178"/>
                      </a:cubicBezTo>
                      <a:cubicBezTo>
                        <a:pt x="0" y="162"/>
                        <a:pt x="1" y="196"/>
                        <a:pt x="14" y="219"/>
                      </a:cubicBezTo>
                      <a:cubicBezTo>
                        <a:pt x="22" y="232"/>
                        <a:pt x="28" y="251"/>
                        <a:pt x="44" y="254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4" name="Freeform 379"/>
                <p:cNvSpPr>
                  <a:spLocks/>
                </p:cNvSpPr>
                <p:nvPr/>
              </p:nvSpPr>
              <p:spPr bwMode="gray">
                <a:xfrm>
                  <a:off x="16930687" y="11915776"/>
                  <a:ext cx="517525" cy="401638"/>
                </a:xfrm>
                <a:custGeom>
                  <a:avLst/>
                  <a:gdLst/>
                  <a:ahLst/>
                  <a:cxnLst>
                    <a:cxn ang="0">
                      <a:pos x="101" y="107"/>
                    </a:cxn>
                    <a:cxn ang="0">
                      <a:pos x="0" y="56"/>
                    </a:cxn>
                    <a:cxn ang="0">
                      <a:pos x="79" y="58"/>
                    </a:cxn>
                    <a:cxn ang="0">
                      <a:pos x="58" y="0"/>
                    </a:cxn>
                    <a:cxn ang="0">
                      <a:pos x="98" y="58"/>
                    </a:cxn>
                    <a:cxn ang="0">
                      <a:pos x="98" y="107"/>
                    </a:cxn>
                  </a:cxnLst>
                  <a:rect l="0" t="0" r="r" b="b"/>
                  <a:pathLst>
                    <a:path w="138" h="107">
                      <a:moveTo>
                        <a:pt x="101" y="107"/>
                      </a:moveTo>
                      <a:cubicBezTo>
                        <a:pt x="76" y="75"/>
                        <a:pt x="46" y="40"/>
                        <a:pt x="0" y="56"/>
                      </a:cubicBezTo>
                      <a:cubicBezTo>
                        <a:pt x="22" y="43"/>
                        <a:pt x="57" y="50"/>
                        <a:pt x="79" y="58"/>
                      </a:cubicBezTo>
                      <a:cubicBezTo>
                        <a:pt x="71" y="38"/>
                        <a:pt x="56" y="25"/>
                        <a:pt x="58" y="0"/>
                      </a:cubicBezTo>
                      <a:cubicBezTo>
                        <a:pt x="68" y="20"/>
                        <a:pt x="85" y="40"/>
                        <a:pt x="98" y="58"/>
                      </a:cubicBezTo>
                      <a:cubicBezTo>
                        <a:pt x="112" y="77"/>
                        <a:pt x="138" y="98"/>
                        <a:pt x="98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5" name="Freeform 380"/>
                <p:cNvSpPr>
                  <a:spLocks/>
                </p:cNvSpPr>
                <p:nvPr/>
              </p:nvSpPr>
              <p:spPr bwMode="gray">
                <a:xfrm>
                  <a:off x="16694150" y="11784013"/>
                  <a:ext cx="2913063" cy="1527175"/>
                </a:xfrm>
                <a:custGeom>
                  <a:avLst/>
                  <a:gdLst/>
                  <a:ahLst/>
                  <a:cxnLst>
                    <a:cxn ang="0">
                      <a:pos x="145" y="131"/>
                    </a:cxn>
                    <a:cxn ang="0">
                      <a:pos x="79" y="326"/>
                    </a:cxn>
                    <a:cxn ang="0">
                      <a:pos x="353" y="360"/>
                    </a:cxn>
                    <a:cxn ang="0">
                      <a:pos x="756" y="89"/>
                    </a:cxn>
                    <a:cxn ang="0">
                      <a:pos x="728" y="109"/>
                    </a:cxn>
                    <a:cxn ang="0">
                      <a:pos x="692" y="4"/>
                    </a:cxn>
                    <a:cxn ang="0">
                      <a:pos x="642" y="4"/>
                    </a:cxn>
                    <a:cxn ang="0">
                      <a:pos x="447" y="196"/>
                    </a:cxn>
                    <a:cxn ang="0">
                      <a:pos x="145" y="131"/>
                    </a:cxn>
                  </a:cxnLst>
                  <a:rect l="0" t="0" r="r" b="b"/>
                  <a:pathLst>
                    <a:path w="777" h="407">
                      <a:moveTo>
                        <a:pt x="145" y="131"/>
                      </a:moveTo>
                      <a:cubicBezTo>
                        <a:pt x="30" y="173"/>
                        <a:pt x="0" y="243"/>
                        <a:pt x="79" y="326"/>
                      </a:cubicBezTo>
                      <a:cubicBezTo>
                        <a:pt x="154" y="407"/>
                        <a:pt x="254" y="400"/>
                        <a:pt x="353" y="360"/>
                      </a:cubicBezTo>
                      <a:cubicBezTo>
                        <a:pt x="496" y="302"/>
                        <a:pt x="777" y="297"/>
                        <a:pt x="756" y="89"/>
                      </a:cubicBezTo>
                      <a:cubicBezTo>
                        <a:pt x="748" y="95"/>
                        <a:pt x="737" y="104"/>
                        <a:pt x="728" y="109"/>
                      </a:cubicBezTo>
                      <a:cubicBezTo>
                        <a:pt x="717" y="73"/>
                        <a:pt x="705" y="38"/>
                        <a:pt x="692" y="4"/>
                      </a:cubicBezTo>
                      <a:cubicBezTo>
                        <a:pt x="676" y="0"/>
                        <a:pt x="658" y="0"/>
                        <a:pt x="642" y="4"/>
                      </a:cubicBezTo>
                      <a:cubicBezTo>
                        <a:pt x="593" y="86"/>
                        <a:pt x="551" y="172"/>
                        <a:pt x="447" y="196"/>
                      </a:cubicBezTo>
                      <a:cubicBezTo>
                        <a:pt x="329" y="222"/>
                        <a:pt x="254" y="134"/>
                        <a:pt x="145" y="13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6" name="Freeform 381"/>
                <p:cNvSpPr>
                  <a:spLocks/>
                </p:cNvSpPr>
                <p:nvPr/>
              </p:nvSpPr>
              <p:spPr bwMode="gray">
                <a:xfrm>
                  <a:off x="19296062" y="12133263"/>
                  <a:ext cx="255588" cy="544513"/>
                </a:xfrm>
                <a:custGeom>
                  <a:avLst/>
                  <a:gdLst/>
                  <a:ahLst/>
                  <a:cxnLst>
                    <a:cxn ang="0">
                      <a:pos x="40" y="9"/>
                    </a:cxn>
                    <a:cxn ang="0">
                      <a:pos x="40" y="44"/>
                    </a:cxn>
                    <a:cxn ang="0">
                      <a:pos x="29" y="84"/>
                    </a:cxn>
                    <a:cxn ang="0">
                      <a:pos x="16" y="119"/>
                    </a:cxn>
                    <a:cxn ang="0">
                      <a:pos x="0" y="145"/>
                    </a:cxn>
                    <a:cxn ang="0">
                      <a:pos x="50" y="87"/>
                    </a:cxn>
                    <a:cxn ang="0">
                      <a:pos x="61" y="47"/>
                    </a:cxn>
                    <a:cxn ang="0">
                      <a:pos x="57" y="0"/>
                    </a:cxn>
                    <a:cxn ang="0">
                      <a:pos x="41" y="9"/>
                    </a:cxn>
                  </a:cxnLst>
                  <a:rect l="0" t="0" r="r" b="b"/>
                  <a:pathLst>
                    <a:path w="68" h="145">
                      <a:moveTo>
                        <a:pt x="40" y="9"/>
                      </a:moveTo>
                      <a:cubicBezTo>
                        <a:pt x="42" y="22"/>
                        <a:pt x="44" y="32"/>
                        <a:pt x="40" y="44"/>
                      </a:cubicBezTo>
                      <a:cubicBezTo>
                        <a:pt x="36" y="57"/>
                        <a:pt x="32" y="70"/>
                        <a:pt x="29" y="84"/>
                      </a:cubicBezTo>
                      <a:cubicBezTo>
                        <a:pt x="26" y="96"/>
                        <a:pt x="22" y="109"/>
                        <a:pt x="16" y="119"/>
                      </a:cubicBezTo>
                      <a:cubicBezTo>
                        <a:pt x="12" y="126"/>
                        <a:pt x="0" y="137"/>
                        <a:pt x="0" y="145"/>
                      </a:cubicBezTo>
                      <a:cubicBezTo>
                        <a:pt x="22" y="128"/>
                        <a:pt x="41" y="114"/>
                        <a:pt x="50" y="87"/>
                      </a:cubicBezTo>
                      <a:cubicBezTo>
                        <a:pt x="55" y="73"/>
                        <a:pt x="59" y="62"/>
                        <a:pt x="61" y="47"/>
                      </a:cubicBezTo>
                      <a:cubicBezTo>
                        <a:pt x="63" y="35"/>
                        <a:pt x="68" y="9"/>
                        <a:pt x="57" y="0"/>
                      </a:cubicBezTo>
                      <a:cubicBezTo>
                        <a:pt x="52" y="3"/>
                        <a:pt x="47" y="7"/>
                        <a:pt x="41" y="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7" name="Freeform 382"/>
                <p:cNvSpPr>
                  <a:spLocks/>
                </p:cNvSpPr>
                <p:nvPr/>
              </p:nvSpPr>
              <p:spPr bwMode="gray">
                <a:xfrm>
                  <a:off x="17252950" y="11772901"/>
                  <a:ext cx="884238" cy="900113"/>
                </a:xfrm>
                <a:custGeom>
                  <a:avLst/>
                  <a:gdLst/>
                  <a:ahLst/>
                  <a:cxnLst>
                    <a:cxn ang="0">
                      <a:pos x="235" y="0"/>
                    </a:cxn>
                    <a:cxn ang="0">
                      <a:pos x="65" y="44"/>
                    </a:cxn>
                    <a:cxn ang="0">
                      <a:pos x="0" y="148"/>
                    </a:cxn>
                    <a:cxn ang="0">
                      <a:pos x="83" y="152"/>
                    </a:cxn>
                    <a:cxn ang="0">
                      <a:pos x="130" y="224"/>
                    </a:cxn>
                    <a:cxn ang="0">
                      <a:pos x="223" y="234"/>
                    </a:cxn>
                    <a:cxn ang="0">
                      <a:pos x="214" y="21"/>
                    </a:cxn>
                  </a:cxnLst>
                  <a:rect l="0" t="0" r="r" b="b"/>
                  <a:pathLst>
                    <a:path w="236" h="240">
                      <a:moveTo>
                        <a:pt x="235" y="0"/>
                      </a:moveTo>
                      <a:cubicBezTo>
                        <a:pt x="194" y="28"/>
                        <a:pt x="121" y="36"/>
                        <a:pt x="65" y="44"/>
                      </a:cubicBezTo>
                      <a:cubicBezTo>
                        <a:pt x="41" y="73"/>
                        <a:pt x="13" y="108"/>
                        <a:pt x="0" y="148"/>
                      </a:cubicBezTo>
                      <a:cubicBezTo>
                        <a:pt x="25" y="143"/>
                        <a:pt x="58" y="156"/>
                        <a:pt x="83" y="152"/>
                      </a:cubicBezTo>
                      <a:cubicBezTo>
                        <a:pt x="96" y="179"/>
                        <a:pt x="118" y="195"/>
                        <a:pt x="130" y="224"/>
                      </a:cubicBezTo>
                      <a:cubicBezTo>
                        <a:pt x="155" y="236"/>
                        <a:pt x="194" y="240"/>
                        <a:pt x="223" y="234"/>
                      </a:cubicBezTo>
                      <a:cubicBezTo>
                        <a:pt x="226" y="168"/>
                        <a:pt x="236" y="82"/>
                        <a:pt x="214" y="2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8" name="Freeform 383"/>
                <p:cNvSpPr>
                  <a:spLocks/>
                </p:cNvSpPr>
                <p:nvPr/>
              </p:nvSpPr>
              <p:spPr bwMode="gray">
                <a:xfrm>
                  <a:off x="16821150" y="12711113"/>
                  <a:ext cx="1579563" cy="5540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136" y="118"/>
                    </a:cxn>
                    <a:cxn ang="0">
                      <a:pos x="307" y="110"/>
                    </a:cxn>
                    <a:cxn ang="0">
                      <a:pos x="421" y="81"/>
                    </a:cxn>
                    <a:cxn ang="0">
                      <a:pos x="249" y="135"/>
                    </a:cxn>
                    <a:cxn ang="0">
                      <a:pos x="73" y="105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421" h="148">
                      <a:moveTo>
                        <a:pt x="5" y="0"/>
                      </a:moveTo>
                      <a:cubicBezTo>
                        <a:pt x="9" y="48"/>
                        <a:pt x="93" y="101"/>
                        <a:pt x="136" y="118"/>
                      </a:cubicBezTo>
                      <a:cubicBezTo>
                        <a:pt x="194" y="140"/>
                        <a:pt x="250" y="131"/>
                        <a:pt x="307" y="110"/>
                      </a:cubicBezTo>
                      <a:cubicBezTo>
                        <a:pt x="323" y="104"/>
                        <a:pt x="399" y="75"/>
                        <a:pt x="421" y="81"/>
                      </a:cubicBezTo>
                      <a:cubicBezTo>
                        <a:pt x="371" y="91"/>
                        <a:pt x="305" y="123"/>
                        <a:pt x="249" y="135"/>
                      </a:cubicBezTo>
                      <a:cubicBezTo>
                        <a:pt x="188" y="148"/>
                        <a:pt x="129" y="147"/>
                        <a:pt x="73" y="105"/>
                      </a:cubicBezTo>
                      <a:cubicBezTo>
                        <a:pt x="46" y="87"/>
                        <a:pt x="0" y="37"/>
                        <a:pt x="5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59" name="Freeform 384"/>
                <p:cNvSpPr>
                  <a:spLocks/>
                </p:cNvSpPr>
                <p:nvPr/>
              </p:nvSpPr>
              <p:spPr bwMode="gray">
                <a:xfrm>
                  <a:off x="17330737" y="11926888"/>
                  <a:ext cx="858838" cy="615950"/>
                </a:xfrm>
                <a:custGeom>
                  <a:avLst/>
                  <a:gdLst/>
                  <a:ahLst/>
                  <a:cxnLst>
                    <a:cxn ang="0">
                      <a:pos x="0" y="89"/>
                    </a:cxn>
                    <a:cxn ang="0">
                      <a:pos x="226" y="163"/>
                    </a:cxn>
                    <a:cxn ang="0">
                      <a:pos x="200" y="0"/>
                    </a:cxn>
                    <a:cxn ang="0">
                      <a:pos x="134" y="122"/>
                    </a:cxn>
                    <a:cxn ang="0">
                      <a:pos x="0" y="89"/>
                    </a:cxn>
                  </a:cxnLst>
                  <a:rect l="0" t="0" r="r" b="b"/>
                  <a:pathLst>
                    <a:path w="229" h="164">
                      <a:moveTo>
                        <a:pt x="0" y="89"/>
                      </a:moveTo>
                      <a:cubicBezTo>
                        <a:pt x="74" y="77"/>
                        <a:pt x="140" y="164"/>
                        <a:pt x="226" y="163"/>
                      </a:cubicBezTo>
                      <a:cubicBezTo>
                        <a:pt x="229" y="109"/>
                        <a:pt x="214" y="47"/>
                        <a:pt x="200" y="0"/>
                      </a:cubicBezTo>
                      <a:cubicBezTo>
                        <a:pt x="196" y="46"/>
                        <a:pt x="190" y="122"/>
                        <a:pt x="134" y="122"/>
                      </a:cubicBezTo>
                      <a:cubicBezTo>
                        <a:pt x="89" y="121"/>
                        <a:pt x="46" y="34"/>
                        <a:pt x="0" y="8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0" name="Freeform 385"/>
                <p:cNvSpPr>
                  <a:spLocks/>
                </p:cNvSpPr>
                <p:nvPr/>
              </p:nvSpPr>
              <p:spPr bwMode="gray">
                <a:xfrm>
                  <a:off x="19416712" y="11772901"/>
                  <a:ext cx="914400" cy="1508125"/>
                </a:xfrm>
                <a:custGeom>
                  <a:avLst/>
                  <a:gdLst/>
                  <a:ahLst/>
                  <a:cxnLst>
                    <a:cxn ang="0">
                      <a:pos x="86" y="24"/>
                    </a:cxn>
                    <a:cxn ang="0">
                      <a:pos x="115" y="123"/>
                    </a:cxn>
                    <a:cxn ang="0">
                      <a:pos x="152" y="215"/>
                    </a:cxn>
                    <a:cxn ang="0">
                      <a:pos x="183" y="402"/>
                    </a:cxn>
                    <a:cxn ang="0">
                      <a:pos x="84" y="174"/>
                    </a:cxn>
                    <a:cxn ang="0">
                      <a:pos x="21" y="86"/>
                    </a:cxn>
                    <a:cxn ang="0">
                      <a:pos x="77" y="3"/>
                    </a:cxn>
                    <a:cxn ang="0">
                      <a:pos x="86" y="26"/>
                    </a:cxn>
                  </a:cxnLst>
                  <a:rect l="0" t="0" r="r" b="b"/>
                  <a:pathLst>
                    <a:path w="244" h="402">
                      <a:moveTo>
                        <a:pt x="86" y="24"/>
                      </a:moveTo>
                      <a:cubicBezTo>
                        <a:pt x="84" y="57"/>
                        <a:pt x="103" y="93"/>
                        <a:pt x="115" y="123"/>
                      </a:cubicBezTo>
                      <a:cubicBezTo>
                        <a:pt x="128" y="154"/>
                        <a:pt x="140" y="184"/>
                        <a:pt x="152" y="215"/>
                      </a:cubicBezTo>
                      <a:cubicBezTo>
                        <a:pt x="162" y="238"/>
                        <a:pt x="244" y="397"/>
                        <a:pt x="183" y="402"/>
                      </a:cubicBezTo>
                      <a:cubicBezTo>
                        <a:pt x="147" y="329"/>
                        <a:pt x="124" y="248"/>
                        <a:pt x="84" y="174"/>
                      </a:cubicBezTo>
                      <a:cubicBezTo>
                        <a:pt x="67" y="143"/>
                        <a:pt x="36" y="117"/>
                        <a:pt x="21" y="86"/>
                      </a:cubicBezTo>
                      <a:cubicBezTo>
                        <a:pt x="0" y="43"/>
                        <a:pt x="29" y="0"/>
                        <a:pt x="77" y="3"/>
                      </a:cubicBezTo>
                      <a:cubicBezTo>
                        <a:pt x="80" y="11"/>
                        <a:pt x="83" y="17"/>
                        <a:pt x="86" y="2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1" name="Freeform 386"/>
                <p:cNvSpPr>
                  <a:spLocks/>
                </p:cNvSpPr>
                <p:nvPr/>
              </p:nvSpPr>
              <p:spPr bwMode="gray">
                <a:xfrm>
                  <a:off x="19562762" y="5732463"/>
                  <a:ext cx="828675" cy="768350"/>
                </a:xfrm>
                <a:custGeom>
                  <a:avLst/>
                  <a:gdLst/>
                  <a:ahLst/>
                  <a:cxnLst>
                    <a:cxn ang="0">
                      <a:pos x="1" y="49"/>
                    </a:cxn>
                    <a:cxn ang="0">
                      <a:pos x="64" y="106"/>
                    </a:cxn>
                    <a:cxn ang="0">
                      <a:pos x="42" y="56"/>
                    </a:cxn>
                    <a:cxn ang="0">
                      <a:pos x="88" y="92"/>
                    </a:cxn>
                    <a:cxn ang="0">
                      <a:pos x="67" y="53"/>
                    </a:cxn>
                    <a:cxn ang="0">
                      <a:pos x="145" y="115"/>
                    </a:cxn>
                    <a:cxn ang="0">
                      <a:pos x="187" y="173"/>
                    </a:cxn>
                    <a:cxn ang="0">
                      <a:pos x="221" y="205"/>
                    </a:cxn>
                    <a:cxn ang="0">
                      <a:pos x="192" y="164"/>
                    </a:cxn>
                    <a:cxn ang="0">
                      <a:pos x="168" y="119"/>
                    </a:cxn>
                    <a:cxn ang="0">
                      <a:pos x="100" y="52"/>
                    </a:cxn>
                    <a:cxn ang="0">
                      <a:pos x="159" y="97"/>
                    </a:cxn>
                    <a:cxn ang="0">
                      <a:pos x="212" y="150"/>
                    </a:cxn>
                    <a:cxn ang="0">
                      <a:pos x="153" y="70"/>
                    </a:cxn>
                    <a:cxn ang="0">
                      <a:pos x="119" y="43"/>
                    </a:cxn>
                    <a:cxn ang="0">
                      <a:pos x="73" y="45"/>
                    </a:cxn>
                    <a:cxn ang="0">
                      <a:pos x="84" y="17"/>
                    </a:cxn>
                    <a:cxn ang="0">
                      <a:pos x="34" y="45"/>
                    </a:cxn>
                    <a:cxn ang="0">
                      <a:pos x="51" y="28"/>
                    </a:cxn>
                    <a:cxn ang="0">
                      <a:pos x="56" y="0"/>
                    </a:cxn>
                    <a:cxn ang="0">
                      <a:pos x="0" y="52"/>
                    </a:cxn>
                  </a:cxnLst>
                  <a:rect l="0" t="0" r="r" b="b"/>
                  <a:pathLst>
                    <a:path w="221" h="205">
                      <a:moveTo>
                        <a:pt x="1" y="49"/>
                      </a:moveTo>
                      <a:cubicBezTo>
                        <a:pt x="36" y="45"/>
                        <a:pt x="54" y="79"/>
                        <a:pt x="64" y="106"/>
                      </a:cubicBezTo>
                      <a:cubicBezTo>
                        <a:pt x="64" y="85"/>
                        <a:pt x="53" y="73"/>
                        <a:pt x="42" y="56"/>
                      </a:cubicBezTo>
                      <a:cubicBezTo>
                        <a:pt x="63" y="56"/>
                        <a:pt x="84" y="71"/>
                        <a:pt x="88" y="92"/>
                      </a:cubicBezTo>
                      <a:cubicBezTo>
                        <a:pt x="90" y="74"/>
                        <a:pt x="79" y="63"/>
                        <a:pt x="67" y="53"/>
                      </a:cubicBezTo>
                      <a:cubicBezTo>
                        <a:pt x="103" y="46"/>
                        <a:pt x="129" y="90"/>
                        <a:pt x="145" y="115"/>
                      </a:cubicBezTo>
                      <a:cubicBezTo>
                        <a:pt x="158" y="134"/>
                        <a:pt x="171" y="157"/>
                        <a:pt x="187" y="173"/>
                      </a:cubicBezTo>
                      <a:cubicBezTo>
                        <a:pt x="196" y="183"/>
                        <a:pt x="208" y="201"/>
                        <a:pt x="221" y="205"/>
                      </a:cubicBezTo>
                      <a:cubicBezTo>
                        <a:pt x="217" y="188"/>
                        <a:pt x="201" y="176"/>
                        <a:pt x="192" y="164"/>
                      </a:cubicBezTo>
                      <a:cubicBezTo>
                        <a:pt x="181" y="149"/>
                        <a:pt x="175" y="135"/>
                        <a:pt x="168" y="119"/>
                      </a:cubicBezTo>
                      <a:cubicBezTo>
                        <a:pt x="157" y="95"/>
                        <a:pt x="129" y="49"/>
                        <a:pt x="100" y="52"/>
                      </a:cubicBezTo>
                      <a:cubicBezTo>
                        <a:pt x="134" y="52"/>
                        <a:pt x="141" y="73"/>
                        <a:pt x="159" y="97"/>
                      </a:cubicBezTo>
                      <a:cubicBezTo>
                        <a:pt x="173" y="118"/>
                        <a:pt x="189" y="137"/>
                        <a:pt x="212" y="150"/>
                      </a:cubicBezTo>
                      <a:cubicBezTo>
                        <a:pt x="204" y="122"/>
                        <a:pt x="172" y="90"/>
                        <a:pt x="153" y="70"/>
                      </a:cubicBezTo>
                      <a:cubicBezTo>
                        <a:pt x="142" y="58"/>
                        <a:pt x="134" y="46"/>
                        <a:pt x="119" y="43"/>
                      </a:cubicBezTo>
                      <a:cubicBezTo>
                        <a:pt x="109" y="40"/>
                        <a:pt x="80" y="37"/>
                        <a:pt x="73" y="45"/>
                      </a:cubicBezTo>
                      <a:cubicBezTo>
                        <a:pt x="75" y="36"/>
                        <a:pt x="79" y="25"/>
                        <a:pt x="84" y="17"/>
                      </a:cubicBezTo>
                      <a:cubicBezTo>
                        <a:pt x="68" y="25"/>
                        <a:pt x="53" y="43"/>
                        <a:pt x="34" y="45"/>
                      </a:cubicBezTo>
                      <a:cubicBezTo>
                        <a:pt x="38" y="40"/>
                        <a:pt x="48" y="33"/>
                        <a:pt x="51" y="28"/>
                      </a:cubicBezTo>
                      <a:cubicBezTo>
                        <a:pt x="55" y="21"/>
                        <a:pt x="54" y="7"/>
                        <a:pt x="56" y="0"/>
                      </a:cubicBezTo>
                      <a:cubicBezTo>
                        <a:pt x="37" y="17"/>
                        <a:pt x="28" y="50"/>
                        <a:pt x="0" y="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2" name="Freeform 387"/>
                <p:cNvSpPr>
                  <a:spLocks/>
                </p:cNvSpPr>
                <p:nvPr/>
              </p:nvSpPr>
              <p:spPr bwMode="gray">
                <a:xfrm>
                  <a:off x="19464337" y="14600238"/>
                  <a:ext cx="1189038" cy="503238"/>
                </a:xfrm>
                <a:custGeom>
                  <a:avLst/>
                  <a:gdLst/>
                  <a:ahLst/>
                  <a:cxnLst>
                    <a:cxn ang="0">
                      <a:pos x="301" y="40"/>
                    </a:cxn>
                    <a:cxn ang="0">
                      <a:pos x="0" y="48"/>
                    </a:cxn>
                    <a:cxn ang="0">
                      <a:pos x="184" y="67"/>
                    </a:cxn>
                    <a:cxn ang="0">
                      <a:pos x="308" y="0"/>
                    </a:cxn>
                    <a:cxn ang="0">
                      <a:pos x="301" y="48"/>
                    </a:cxn>
                  </a:cxnLst>
                  <a:rect l="0" t="0" r="r" b="b"/>
                  <a:pathLst>
                    <a:path w="317" h="134">
                      <a:moveTo>
                        <a:pt x="301" y="40"/>
                      </a:moveTo>
                      <a:cubicBezTo>
                        <a:pt x="252" y="134"/>
                        <a:pt x="71" y="84"/>
                        <a:pt x="0" y="48"/>
                      </a:cubicBezTo>
                      <a:cubicBezTo>
                        <a:pt x="62" y="49"/>
                        <a:pt x="123" y="61"/>
                        <a:pt x="184" y="67"/>
                      </a:cubicBezTo>
                      <a:cubicBezTo>
                        <a:pt x="260" y="75"/>
                        <a:pt x="262" y="39"/>
                        <a:pt x="308" y="0"/>
                      </a:cubicBezTo>
                      <a:cubicBezTo>
                        <a:pt x="317" y="16"/>
                        <a:pt x="315" y="37"/>
                        <a:pt x="301" y="4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3" name="Freeform 388"/>
                <p:cNvSpPr>
                  <a:spLocks/>
                </p:cNvSpPr>
                <p:nvPr/>
              </p:nvSpPr>
              <p:spPr bwMode="gray">
                <a:xfrm>
                  <a:off x="18519775" y="6126163"/>
                  <a:ext cx="685800" cy="2943225"/>
                </a:xfrm>
                <a:custGeom>
                  <a:avLst/>
                  <a:gdLst/>
                  <a:ahLst/>
                  <a:cxnLst>
                    <a:cxn ang="0">
                      <a:pos x="174" y="0"/>
                    </a:cxn>
                    <a:cxn ang="0">
                      <a:pos x="32" y="212"/>
                    </a:cxn>
                    <a:cxn ang="0">
                      <a:pos x="69" y="509"/>
                    </a:cxn>
                    <a:cxn ang="0">
                      <a:pos x="105" y="565"/>
                    </a:cxn>
                    <a:cxn ang="0">
                      <a:pos x="155" y="616"/>
                    </a:cxn>
                    <a:cxn ang="0">
                      <a:pos x="156" y="753"/>
                    </a:cxn>
                    <a:cxn ang="0">
                      <a:pos x="110" y="678"/>
                    </a:cxn>
                    <a:cxn ang="0">
                      <a:pos x="123" y="785"/>
                    </a:cxn>
                    <a:cxn ang="0">
                      <a:pos x="75" y="670"/>
                    </a:cxn>
                    <a:cxn ang="0">
                      <a:pos x="37" y="543"/>
                    </a:cxn>
                    <a:cxn ang="0">
                      <a:pos x="37" y="476"/>
                    </a:cxn>
                    <a:cxn ang="0">
                      <a:pos x="20" y="420"/>
                    </a:cxn>
                    <a:cxn ang="0">
                      <a:pos x="2" y="291"/>
                    </a:cxn>
                    <a:cxn ang="0">
                      <a:pos x="49" y="109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83" h="785">
                      <a:moveTo>
                        <a:pt x="174" y="0"/>
                      </a:moveTo>
                      <a:cubicBezTo>
                        <a:pt x="120" y="52"/>
                        <a:pt x="39" y="134"/>
                        <a:pt x="32" y="212"/>
                      </a:cubicBezTo>
                      <a:cubicBezTo>
                        <a:pt x="23" y="310"/>
                        <a:pt x="26" y="424"/>
                        <a:pt x="69" y="509"/>
                      </a:cubicBezTo>
                      <a:cubicBezTo>
                        <a:pt x="79" y="529"/>
                        <a:pt x="92" y="545"/>
                        <a:pt x="105" y="565"/>
                      </a:cubicBezTo>
                      <a:cubicBezTo>
                        <a:pt x="120" y="587"/>
                        <a:pt x="140" y="598"/>
                        <a:pt x="155" y="616"/>
                      </a:cubicBezTo>
                      <a:cubicBezTo>
                        <a:pt x="183" y="651"/>
                        <a:pt x="170" y="719"/>
                        <a:pt x="156" y="753"/>
                      </a:cubicBezTo>
                      <a:cubicBezTo>
                        <a:pt x="157" y="720"/>
                        <a:pt x="132" y="698"/>
                        <a:pt x="110" y="678"/>
                      </a:cubicBezTo>
                      <a:cubicBezTo>
                        <a:pt x="100" y="714"/>
                        <a:pt x="113" y="752"/>
                        <a:pt x="123" y="785"/>
                      </a:cubicBezTo>
                      <a:cubicBezTo>
                        <a:pt x="80" y="765"/>
                        <a:pt x="81" y="710"/>
                        <a:pt x="75" y="670"/>
                      </a:cubicBezTo>
                      <a:cubicBezTo>
                        <a:pt x="68" y="625"/>
                        <a:pt x="39" y="589"/>
                        <a:pt x="37" y="543"/>
                      </a:cubicBezTo>
                      <a:cubicBezTo>
                        <a:pt x="36" y="521"/>
                        <a:pt x="37" y="498"/>
                        <a:pt x="37" y="476"/>
                      </a:cubicBezTo>
                      <a:cubicBezTo>
                        <a:pt x="37" y="447"/>
                        <a:pt x="34" y="443"/>
                        <a:pt x="20" y="420"/>
                      </a:cubicBezTo>
                      <a:cubicBezTo>
                        <a:pt x="0" y="386"/>
                        <a:pt x="2" y="332"/>
                        <a:pt x="2" y="291"/>
                      </a:cubicBezTo>
                      <a:cubicBezTo>
                        <a:pt x="2" y="225"/>
                        <a:pt x="19" y="166"/>
                        <a:pt x="49" y="109"/>
                      </a:cubicBezTo>
                      <a:cubicBezTo>
                        <a:pt x="70" y="67"/>
                        <a:pt x="133" y="24"/>
                        <a:pt x="172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4" name="Freeform 389"/>
                <p:cNvSpPr>
                  <a:spLocks/>
                </p:cNvSpPr>
                <p:nvPr/>
              </p:nvSpPr>
              <p:spPr bwMode="gray">
                <a:xfrm>
                  <a:off x="20121562" y="6272213"/>
                  <a:ext cx="947738" cy="2343150"/>
                </a:xfrm>
                <a:custGeom>
                  <a:avLst/>
                  <a:gdLst/>
                  <a:ahLst/>
                  <a:cxnLst>
                    <a:cxn ang="0">
                      <a:pos x="13" y="26"/>
                    </a:cxn>
                    <a:cxn ang="0">
                      <a:pos x="150" y="220"/>
                    </a:cxn>
                    <a:cxn ang="0">
                      <a:pos x="253" y="450"/>
                    </a:cxn>
                    <a:cxn ang="0">
                      <a:pos x="208" y="572"/>
                    </a:cxn>
                    <a:cxn ang="0">
                      <a:pos x="97" y="625"/>
                    </a:cxn>
                    <a:cxn ang="0">
                      <a:pos x="63" y="566"/>
                    </a:cxn>
                    <a:cxn ang="0">
                      <a:pos x="194" y="391"/>
                    </a:cxn>
                    <a:cxn ang="0">
                      <a:pos x="85" y="177"/>
                    </a:cxn>
                    <a:cxn ang="0">
                      <a:pos x="0" y="0"/>
                    </a:cxn>
                    <a:cxn ang="0">
                      <a:pos x="16" y="26"/>
                    </a:cxn>
                  </a:cxnLst>
                  <a:rect l="0" t="0" r="r" b="b"/>
                  <a:pathLst>
                    <a:path w="253" h="625">
                      <a:moveTo>
                        <a:pt x="13" y="26"/>
                      </a:moveTo>
                      <a:cubicBezTo>
                        <a:pt x="43" y="104"/>
                        <a:pt x="86" y="166"/>
                        <a:pt x="150" y="220"/>
                      </a:cubicBezTo>
                      <a:cubicBezTo>
                        <a:pt x="217" y="278"/>
                        <a:pt x="253" y="360"/>
                        <a:pt x="253" y="450"/>
                      </a:cubicBezTo>
                      <a:cubicBezTo>
                        <a:pt x="252" y="504"/>
                        <a:pt x="249" y="541"/>
                        <a:pt x="208" y="572"/>
                      </a:cubicBezTo>
                      <a:cubicBezTo>
                        <a:pt x="173" y="598"/>
                        <a:pt x="138" y="610"/>
                        <a:pt x="97" y="625"/>
                      </a:cubicBezTo>
                      <a:cubicBezTo>
                        <a:pt x="90" y="601"/>
                        <a:pt x="76" y="583"/>
                        <a:pt x="63" y="566"/>
                      </a:cubicBezTo>
                      <a:cubicBezTo>
                        <a:pt x="129" y="543"/>
                        <a:pt x="185" y="456"/>
                        <a:pt x="194" y="391"/>
                      </a:cubicBezTo>
                      <a:cubicBezTo>
                        <a:pt x="205" y="302"/>
                        <a:pt x="132" y="238"/>
                        <a:pt x="85" y="177"/>
                      </a:cubicBezTo>
                      <a:cubicBezTo>
                        <a:pt x="43" y="122"/>
                        <a:pt x="8" y="68"/>
                        <a:pt x="0" y="0"/>
                      </a:cubicBezTo>
                      <a:cubicBezTo>
                        <a:pt x="1" y="11"/>
                        <a:pt x="8" y="20"/>
                        <a:pt x="16" y="2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765" name="Freeform 390"/>
                <p:cNvSpPr>
                  <a:spLocks/>
                </p:cNvSpPr>
                <p:nvPr/>
              </p:nvSpPr>
              <p:spPr bwMode="gray">
                <a:xfrm>
                  <a:off x="18175287" y="24730076"/>
                  <a:ext cx="419100" cy="336550"/>
                </a:xfrm>
                <a:custGeom>
                  <a:avLst/>
                  <a:gdLst/>
                  <a:ahLst/>
                  <a:cxnLst>
                    <a:cxn ang="0">
                      <a:pos x="16" y="60"/>
                    </a:cxn>
                    <a:cxn ang="0">
                      <a:pos x="86" y="0"/>
                    </a:cxn>
                    <a:cxn ang="0">
                      <a:pos x="107" y="59"/>
                    </a:cxn>
                    <a:cxn ang="0">
                      <a:pos x="49" y="61"/>
                    </a:cxn>
                    <a:cxn ang="0">
                      <a:pos x="2" y="87"/>
                    </a:cxn>
                    <a:cxn ang="0">
                      <a:pos x="27" y="60"/>
                    </a:cxn>
                  </a:cxnLst>
                  <a:rect l="0" t="0" r="r" b="b"/>
                  <a:pathLst>
                    <a:path w="112" h="90">
                      <a:moveTo>
                        <a:pt x="16" y="60"/>
                      </a:moveTo>
                      <a:cubicBezTo>
                        <a:pt x="42" y="45"/>
                        <a:pt x="68" y="23"/>
                        <a:pt x="86" y="0"/>
                      </a:cubicBezTo>
                      <a:cubicBezTo>
                        <a:pt x="104" y="14"/>
                        <a:pt x="112" y="37"/>
                        <a:pt x="107" y="59"/>
                      </a:cubicBezTo>
                      <a:cubicBezTo>
                        <a:pt x="91" y="78"/>
                        <a:pt x="68" y="60"/>
                        <a:pt x="49" y="61"/>
                      </a:cubicBezTo>
                      <a:cubicBezTo>
                        <a:pt x="47" y="81"/>
                        <a:pt x="23" y="90"/>
                        <a:pt x="2" y="87"/>
                      </a:cubicBezTo>
                      <a:cubicBezTo>
                        <a:pt x="0" y="79"/>
                        <a:pt x="23" y="62"/>
                        <a:pt x="27" y="6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35" name="Gruppieren 984"/>
            <p:cNvGrpSpPr/>
            <p:nvPr/>
          </p:nvGrpSpPr>
          <p:grpSpPr>
            <a:xfrm>
              <a:off x="5986411" y="1609852"/>
              <a:ext cx="1410832" cy="2166029"/>
              <a:chOff x="5986411" y="1609852"/>
              <a:chExt cx="1410832" cy="2166029"/>
            </a:xfrm>
          </p:grpSpPr>
          <p:sp>
            <p:nvSpPr>
              <p:cNvPr id="33" name="Ellipse 32" descr="© INSCALE GmbH, 26.05.2010&#10;http://www.presentationload.com/"/>
              <p:cNvSpPr/>
              <p:nvPr/>
            </p:nvSpPr>
            <p:spPr bwMode="gray">
              <a:xfrm>
                <a:off x="5986411" y="2811008"/>
                <a:ext cx="1410832" cy="96487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7112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Relaxed" fov="0">
                  <a:rot lat="17099998" lon="0" rev="0"/>
                </a:camera>
                <a:lightRig rig="threePt" dir="t"/>
              </a:scene3d>
              <a:sp3d extrusionH="571500" prstMaterial="matte">
                <a:bevelT w="139700" h="50800" prst="hardEdge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36" name="Gruppieren 1107"/>
              <p:cNvGrpSpPr/>
              <p:nvPr/>
            </p:nvGrpSpPr>
            <p:grpSpPr bwMode="gray">
              <a:xfrm>
                <a:off x="6234029" y="1609852"/>
                <a:ext cx="840919" cy="1759686"/>
                <a:chOff x="456277" y="1575807"/>
                <a:chExt cx="1095328" cy="2292056"/>
              </a:xfrm>
            </p:grpSpPr>
            <p:grpSp>
              <p:nvGrpSpPr>
                <p:cNvPr id="37" name="Gruppieren 28"/>
                <p:cNvGrpSpPr/>
                <p:nvPr/>
              </p:nvGrpSpPr>
              <p:grpSpPr bwMode="gray">
                <a:xfrm>
                  <a:off x="456277" y="1681612"/>
                  <a:ext cx="716518" cy="2169986"/>
                  <a:chOff x="-4095750" y="5688013"/>
                  <a:chExt cx="6791325" cy="20567650"/>
                </a:xfrm>
                <a:solidFill>
                  <a:srgbClr val="C8C8C8"/>
                </a:solidFill>
              </p:grpSpPr>
              <p:sp>
                <p:nvSpPr>
                  <p:cNvPr id="1180" name="Freeform 267"/>
                  <p:cNvSpPr>
                    <a:spLocks/>
                  </p:cNvSpPr>
                  <p:nvPr/>
                </p:nvSpPr>
                <p:spPr bwMode="gray">
                  <a:xfrm>
                    <a:off x="1247775" y="10442576"/>
                    <a:ext cx="641350" cy="3325813"/>
                  </a:xfrm>
                  <a:custGeom>
                    <a:avLst/>
                    <a:gdLst/>
                    <a:ahLst/>
                    <a:cxnLst>
                      <a:cxn ang="0">
                        <a:pos x="12" y="41"/>
                      </a:cxn>
                      <a:cxn ang="0">
                        <a:pos x="0" y="275"/>
                      </a:cxn>
                      <a:cxn ang="0">
                        <a:pos x="34" y="498"/>
                      </a:cxn>
                      <a:cxn ang="0">
                        <a:pos x="1" y="887"/>
                      </a:cxn>
                      <a:cxn ang="0">
                        <a:pos x="35" y="736"/>
                      </a:cxn>
                      <a:cxn ang="0">
                        <a:pos x="18" y="415"/>
                      </a:cxn>
                      <a:cxn ang="0">
                        <a:pos x="24" y="211"/>
                      </a:cxn>
                      <a:cxn ang="0">
                        <a:pos x="29" y="0"/>
                      </a:cxn>
                    </a:cxnLst>
                    <a:rect l="0" t="0" r="r" b="b"/>
                    <a:pathLst>
                      <a:path w="171" h="887">
                        <a:moveTo>
                          <a:pt x="12" y="41"/>
                        </a:moveTo>
                        <a:cubicBezTo>
                          <a:pt x="37" y="97"/>
                          <a:pt x="0" y="207"/>
                          <a:pt x="0" y="275"/>
                        </a:cubicBezTo>
                        <a:cubicBezTo>
                          <a:pt x="0" y="361"/>
                          <a:pt x="6" y="422"/>
                          <a:pt x="34" y="498"/>
                        </a:cubicBezTo>
                        <a:cubicBezTo>
                          <a:pt x="80" y="621"/>
                          <a:pt x="171" y="811"/>
                          <a:pt x="1" y="887"/>
                        </a:cubicBezTo>
                        <a:cubicBezTo>
                          <a:pt x="13" y="832"/>
                          <a:pt x="35" y="802"/>
                          <a:pt x="35" y="736"/>
                        </a:cubicBezTo>
                        <a:cubicBezTo>
                          <a:pt x="35" y="631"/>
                          <a:pt x="28" y="520"/>
                          <a:pt x="18" y="415"/>
                        </a:cubicBezTo>
                        <a:cubicBezTo>
                          <a:pt x="11" y="345"/>
                          <a:pt x="18" y="278"/>
                          <a:pt x="24" y="211"/>
                        </a:cubicBezTo>
                        <a:cubicBezTo>
                          <a:pt x="30" y="144"/>
                          <a:pt x="7" y="62"/>
                          <a:pt x="2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1" name="Freeform 268"/>
                  <p:cNvSpPr>
                    <a:spLocks/>
                  </p:cNvSpPr>
                  <p:nvPr/>
                </p:nvSpPr>
                <p:spPr bwMode="gray">
                  <a:xfrm>
                    <a:off x="-3135313" y="23976013"/>
                    <a:ext cx="1889125" cy="2017713"/>
                  </a:xfrm>
                  <a:custGeom>
                    <a:avLst/>
                    <a:gdLst/>
                    <a:ahLst/>
                    <a:cxnLst>
                      <a:cxn ang="0">
                        <a:pos x="453" y="0"/>
                      </a:cxn>
                      <a:cxn ang="0">
                        <a:pos x="491" y="43"/>
                      </a:cxn>
                      <a:cxn ang="0">
                        <a:pos x="503" y="116"/>
                      </a:cxn>
                      <a:cxn ang="0">
                        <a:pos x="451" y="228"/>
                      </a:cxn>
                      <a:cxn ang="0">
                        <a:pos x="385" y="327"/>
                      </a:cxn>
                      <a:cxn ang="0">
                        <a:pos x="343" y="382"/>
                      </a:cxn>
                      <a:cxn ang="0">
                        <a:pos x="324" y="452"/>
                      </a:cxn>
                      <a:cxn ang="0">
                        <a:pos x="196" y="515"/>
                      </a:cxn>
                      <a:cxn ang="0">
                        <a:pos x="56" y="537"/>
                      </a:cxn>
                      <a:cxn ang="0">
                        <a:pos x="4" y="531"/>
                      </a:cxn>
                      <a:cxn ang="0">
                        <a:pos x="44" y="415"/>
                      </a:cxn>
                      <a:cxn ang="0">
                        <a:pos x="94" y="301"/>
                      </a:cxn>
                      <a:cxn ang="0">
                        <a:pos x="205" y="239"/>
                      </a:cxn>
                      <a:cxn ang="0">
                        <a:pos x="318" y="133"/>
                      </a:cxn>
                      <a:cxn ang="0">
                        <a:pos x="372" y="26"/>
                      </a:cxn>
                      <a:cxn ang="0">
                        <a:pos x="471" y="11"/>
                      </a:cxn>
                    </a:cxnLst>
                    <a:rect l="0" t="0" r="r" b="b"/>
                    <a:pathLst>
                      <a:path w="504" h="538">
                        <a:moveTo>
                          <a:pt x="453" y="0"/>
                        </a:moveTo>
                        <a:cubicBezTo>
                          <a:pt x="468" y="18"/>
                          <a:pt x="482" y="20"/>
                          <a:pt x="491" y="43"/>
                        </a:cubicBezTo>
                        <a:cubicBezTo>
                          <a:pt x="500" y="66"/>
                          <a:pt x="502" y="91"/>
                          <a:pt x="503" y="116"/>
                        </a:cubicBezTo>
                        <a:cubicBezTo>
                          <a:pt x="504" y="156"/>
                          <a:pt x="497" y="220"/>
                          <a:pt x="451" y="228"/>
                        </a:cubicBezTo>
                        <a:cubicBezTo>
                          <a:pt x="427" y="259"/>
                          <a:pt x="408" y="295"/>
                          <a:pt x="385" y="327"/>
                        </a:cubicBezTo>
                        <a:cubicBezTo>
                          <a:pt x="373" y="344"/>
                          <a:pt x="349" y="362"/>
                          <a:pt x="343" y="382"/>
                        </a:cubicBezTo>
                        <a:cubicBezTo>
                          <a:pt x="334" y="411"/>
                          <a:pt x="345" y="427"/>
                          <a:pt x="324" y="452"/>
                        </a:cubicBezTo>
                        <a:cubicBezTo>
                          <a:pt x="289" y="493"/>
                          <a:pt x="242" y="495"/>
                          <a:pt x="196" y="515"/>
                        </a:cubicBezTo>
                        <a:cubicBezTo>
                          <a:pt x="151" y="535"/>
                          <a:pt x="109" y="535"/>
                          <a:pt x="56" y="537"/>
                        </a:cubicBezTo>
                        <a:cubicBezTo>
                          <a:pt x="42" y="538"/>
                          <a:pt x="19" y="532"/>
                          <a:pt x="4" y="531"/>
                        </a:cubicBezTo>
                        <a:cubicBezTo>
                          <a:pt x="0" y="499"/>
                          <a:pt x="30" y="441"/>
                          <a:pt x="44" y="415"/>
                        </a:cubicBezTo>
                        <a:cubicBezTo>
                          <a:pt x="62" y="381"/>
                          <a:pt x="70" y="333"/>
                          <a:pt x="94" y="301"/>
                        </a:cubicBezTo>
                        <a:cubicBezTo>
                          <a:pt x="120" y="267"/>
                          <a:pt x="170" y="258"/>
                          <a:pt x="205" y="239"/>
                        </a:cubicBezTo>
                        <a:cubicBezTo>
                          <a:pt x="250" y="213"/>
                          <a:pt x="288" y="178"/>
                          <a:pt x="318" y="133"/>
                        </a:cubicBezTo>
                        <a:cubicBezTo>
                          <a:pt x="340" y="101"/>
                          <a:pt x="341" y="52"/>
                          <a:pt x="372" y="26"/>
                        </a:cubicBezTo>
                        <a:cubicBezTo>
                          <a:pt x="398" y="5"/>
                          <a:pt x="439" y="6"/>
                          <a:pt x="471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2" name="Freeform 269"/>
                  <p:cNvSpPr>
                    <a:spLocks/>
                  </p:cNvSpPr>
                  <p:nvPr/>
                </p:nvSpPr>
                <p:spPr bwMode="gray">
                  <a:xfrm>
                    <a:off x="-2787650" y="15524163"/>
                    <a:ext cx="2917825" cy="9955213"/>
                  </a:xfrm>
                  <a:custGeom>
                    <a:avLst/>
                    <a:gdLst/>
                    <a:ahLst/>
                    <a:cxnLst>
                      <a:cxn ang="0">
                        <a:pos x="751" y="46"/>
                      </a:cxn>
                      <a:cxn ang="0">
                        <a:pos x="715" y="302"/>
                      </a:cxn>
                      <a:cxn ang="0">
                        <a:pos x="696" y="587"/>
                      </a:cxn>
                      <a:cxn ang="0">
                        <a:pos x="681" y="884"/>
                      </a:cxn>
                      <a:cxn ang="0">
                        <a:pos x="689" y="1016"/>
                      </a:cxn>
                      <a:cxn ang="0">
                        <a:pos x="651" y="1113"/>
                      </a:cxn>
                      <a:cxn ang="0">
                        <a:pos x="622" y="1298"/>
                      </a:cxn>
                      <a:cxn ang="0">
                        <a:pos x="568" y="1465"/>
                      </a:cxn>
                      <a:cxn ang="0">
                        <a:pos x="547" y="1679"/>
                      </a:cxn>
                      <a:cxn ang="0">
                        <a:pos x="424" y="2026"/>
                      </a:cxn>
                      <a:cxn ang="0">
                        <a:pos x="377" y="2201"/>
                      </a:cxn>
                      <a:cxn ang="0">
                        <a:pos x="377" y="2291"/>
                      </a:cxn>
                      <a:cxn ang="0">
                        <a:pos x="374" y="2408"/>
                      </a:cxn>
                      <a:cxn ang="0">
                        <a:pos x="286" y="2521"/>
                      </a:cxn>
                      <a:cxn ang="0">
                        <a:pos x="211" y="2655"/>
                      </a:cxn>
                      <a:cxn ang="0">
                        <a:pos x="12" y="2581"/>
                      </a:cxn>
                      <a:cxn ang="0">
                        <a:pos x="113" y="2475"/>
                      </a:cxn>
                      <a:cxn ang="0">
                        <a:pos x="210" y="2354"/>
                      </a:cxn>
                      <a:cxn ang="0">
                        <a:pos x="252" y="1741"/>
                      </a:cxn>
                      <a:cxn ang="0">
                        <a:pos x="270" y="1473"/>
                      </a:cxn>
                      <a:cxn ang="0">
                        <a:pos x="283" y="1380"/>
                      </a:cxn>
                      <a:cxn ang="0">
                        <a:pos x="345" y="1184"/>
                      </a:cxn>
                      <a:cxn ang="0">
                        <a:pos x="354" y="1079"/>
                      </a:cxn>
                      <a:cxn ang="0">
                        <a:pos x="372" y="967"/>
                      </a:cxn>
                      <a:cxn ang="0">
                        <a:pos x="357" y="676"/>
                      </a:cxn>
                      <a:cxn ang="0">
                        <a:pos x="358" y="8"/>
                      </a:cxn>
                      <a:cxn ang="0">
                        <a:pos x="778" y="50"/>
                      </a:cxn>
                    </a:cxnLst>
                    <a:rect l="0" t="0" r="r" b="b"/>
                    <a:pathLst>
                      <a:path w="778" h="2655">
                        <a:moveTo>
                          <a:pt x="751" y="46"/>
                        </a:moveTo>
                        <a:cubicBezTo>
                          <a:pt x="750" y="133"/>
                          <a:pt x="733" y="218"/>
                          <a:pt x="715" y="302"/>
                        </a:cubicBezTo>
                        <a:cubicBezTo>
                          <a:pt x="694" y="393"/>
                          <a:pt x="701" y="495"/>
                          <a:pt x="696" y="587"/>
                        </a:cubicBezTo>
                        <a:cubicBezTo>
                          <a:pt x="692" y="687"/>
                          <a:pt x="680" y="784"/>
                          <a:pt x="681" y="884"/>
                        </a:cubicBezTo>
                        <a:cubicBezTo>
                          <a:pt x="681" y="929"/>
                          <a:pt x="689" y="970"/>
                          <a:pt x="689" y="1016"/>
                        </a:cubicBezTo>
                        <a:cubicBezTo>
                          <a:pt x="688" y="1062"/>
                          <a:pt x="669" y="1075"/>
                          <a:pt x="651" y="1113"/>
                        </a:cubicBezTo>
                        <a:cubicBezTo>
                          <a:pt x="634" y="1151"/>
                          <a:pt x="641" y="1272"/>
                          <a:pt x="622" y="1298"/>
                        </a:cubicBezTo>
                        <a:cubicBezTo>
                          <a:pt x="592" y="1340"/>
                          <a:pt x="568" y="1404"/>
                          <a:pt x="568" y="1465"/>
                        </a:cubicBezTo>
                        <a:cubicBezTo>
                          <a:pt x="568" y="1538"/>
                          <a:pt x="568" y="1609"/>
                          <a:pt x="547" y="1679"/>
                        </a:cubicBezTo>
                        <a:cubicBezTo>
                          <a:pt x="529" y="1741"/>
                          <a:pt x="445" y="1972"/>
                          <a:pt x="424" y="2026"/>
                        </a:cubicBezTo>
                        <a:cubicBezTo>
                          <a:pt x="402" y="2084"/>
                          <a:pt x="382" y="2137"/>
                          <a:pt x="377" y="2201"/>
                        </a:cubicBezTo>
                        <a:cubicBezTo>
                          <a:pt x="374" y="2231"/>
                          <a:pt x="370" y="2262"/>
                          <a:pt x="377" y="2291"/>
                        </a:cubicBezTo>
                        <a:cubicBezTo>
                          <a:pt x="384" y="2320"/>
                          <a:pt x="384" y="2374"/>
                          <a:pt x="374" y="2408"/>
                        </a:cubicBezTo>
                        <a:cubicBezTo>
                          <a:pt x="358" y="2461"/>
                          <a:pt x="327" y="2480"/>
                          <a:pt x="286" y="2521"/>
                        </a:cubicBezTo>
                        <a:cubicBezTo>
                          <a:pt x="255" y="2552"/>
                          <a:pt x="255" y="2616"/>
                          <a:pt x="211" y="2655"/>
                        </a:cubicBezTo>
                        <a:cubicBezTo>
                          <a:pt x="211" y="2655"/>
                          <a:pt x="0" y="2611"/>
                          <a:pt x="12" y="2581"/>
                        </a:cubicBezTo>
                        <a:cubicBezTo>
                          <a:pt x="29" y="2541"/>
                          <a:pt x="79" y="2502"/>
                          <a:pt x="113" y="2475"/>
                        </a:cubicBezTo>
                        <a:cubicBezTo>
                          <a:pt x="148" y="2445"/>
                          <a:pt x="189" y="2396"/>
                          <a:pt x="210" y="2354"/>
                        </a:cubicBezTo>
                        <a:cubicBezTo>
                          <a:pt x="236" y="2303"/>
                          <a:pt x="255" y="1803"/>
                          <a:pt x="252" y="1741"/>
                        </a:cubicBezTo>
                        <a:cubicBezTo>
                          <a:pt x="251" y="1710"/>
                          <a:pt x="264" y="1503"/>
                          <a:pt x="270" y="1473"/>
                        </a:cubicBezTo>
                        <a:cubicBezTo>
                          <a:pt x="277" y="1436"/>
                          <a:pt x="286" y="1414"/>
                          <a:pt x="283" y="1380"/>
                        </a:cubicBezTo>
                        <a:cubicBezTo>
                          <a:pt x="278" y="1310"/>
                          <a:pt x="329" y="1249"/>
                          <a:pt x="345" y="1184"/>
                        </a:cubicBezTo>
                        <a:cubicBezTo>
                          <a:pt x="354" y="1152"/>
                          <a:pt x="350" y="1112"/>
                          <a:pt x="354" y="1079"/>
                        </a:cubicBezTo>
                        <a:cubicBezTo>
                          <a:pt x="357" y="1041"/>
                          <a:pt x="368" y="1005"/>
                          <a:pt x="372" y="967"/>
                        </a:cubicBezTo>
                        <a:cubicBezTo>
                          <a:pt x="382" y="870"/>
                          <a:pt x="373" y="768"/>
                          <a:pt x="357" y="676"/>
                        </a:cubicBezTo>
                        <a:cubicBezTo>
                          <a:pt x="321" y="456"/>
                          <a:pt x="347" y="227"/>
                          <a:pt x="358" y="8"/>
                        </a:cubicBezTo>
                        <a:cubicBezTo>
                          <a:pt x="506" y="0"/>
                          <a:pt x="644" y="5"/>
                          <a:pt x="778" y="5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3" name="Freeform 270"/>
                  <p:cNvSpPr>
                    <a:spLocks/>
                  </p:cNvSpPr>
                  <p:nvPr/>
                </p:nvSpPr>
                <p:spPr bwMode="gray">
                  <a:xfrm>
                    <a:off x="-1133475" y="7926388"/>
                    <a:ext cx="2122488" cy="3573463"/>
                  </a:xfrm>
                  <a:custGeom>
                    <a:avLst/>
                    <a:gdLst/>
                    <a:ahLst/>
                    <a:cxnLst>
                      <a:cxn ang="0">
                        <a:pos x="136" y="59"/>
                      </a:cxn>
                      <a:cxn ang="0">
                        <a:pos x="84" y="133"/>
                      </a:cxn>
                      <a:cxn ang="0">
                        <a:pos x="53" y="222"/>
                      </a:cxn>
                      <a:cxn ang="0">
                        <a:pos x="12" y="339"/>
                      </a:cxn>
                      <a:cxn ang="0">
                        <a:pos x="3" y="386"/>
                      </a:cxn>
                      <a:cxn ang="0">
                        <a:pos x="46" y="494"/>
                      </a:cxn>
                      <a:cxn ang="0">
                        <a:pos x="96" y="654"/>
                      </a:cxn>
                      <a:cxn ang="0">
                        <a:pos x="136" y="714"/>
                      </a:cxn>
                      <a:cxn ang="0">
                        <a:pos x="142" y="820"/>
                      </a:cxn>
                      <a:cxn ang="0">
                        <a:pos x="260" y="931"/>
                      </a:cxn>
                      <a:cxn ang="0">
                        <a:pos x="377" y="829"/>
                      </a:cxn>
                      <a:cxn ang="0">
                        <a:pos x="429" y="674"/>
                      </a:cxn>
                      <a:cxn ang="0">
                        <a:pos x="471" y="538"/>
                      </a:cxn>
                      <a:cxn ang="0">
                        <a:pos x="534" y="445"/>
                      </a:cxn>
                      <a:cxn ang="0">
                        <a:pos x="560" y="355"/>
                      </a:cxn>
                      <a:cxn ang="0">
                        <a:pos x="514" y="238"/>
                      </a:cxn>
                      <a:cxn ang="0">
                        <a:pos x="436" y="124"/>
                      </a:cxn>
                      <a:cxn ang="0">
                        <a:pos x="322" y="4"/>
                      </a:cxn>
                      <a:cxn ang="0">
                        <a:pos x="179" y="36"/>
                      </a:cxn>
                    </a:cxnLst>
                    <a:rect l="0" t="0" r="r" b="b"/>
                    <a:pathLst>
                      <a:path w="566" h="953">
                        <a:moveTo>
                          <a:pt x="136" y="59"/>
                        </a:moveTo>
                        <a:cubicBezTo>
                          <a:pt x="136" y="88"/>
                          <a:pt x="99" y="110"/>
                          <a:pt x="84" y="133"/>
                        </a:cubicBezTo>
                        <a:cubicBezTo>
                          <a:pt x="65" y="163"/>
                          <a:pt x="62" y="189"/>
                          <a:pt x="53" y="222"/>
                        </a:cubicBezTo>
                        <a:cubicBezTo>
                          <a:pt x="43" y="258"/>
                          <a:pt x="23" y="300"/>
                          <a:pt x="12" y="339"/>
                        </a:cubicBezTo>
                        <a:cubicBezTo>
                          <a:pt x="7" y="356"/>
                          <a:pt x="4" y="368"/>
                          <a:pt x="3" y="386"/>
                        </a:cubicBezTo>
                        <a:cubicBezTo>
                          <a:pt x="0" y="439"/>
                          <a:pt x="30" y="452"/>
                          <a:pt x="46" y="494"/>
                        </a:cubicBezTo>
                        <a:cubicBezTo>
                          <a:pt x="66" y="547"/>
                          <a:pt x="69" y="601"/>
                          <a:pt x="96" y="654"/>
                        </a:cubicBezTo>
                        <a:cubicBezTo>
                          <a:pt x="106" y="675"/>
                          <a:pt x="127" y="692"/>
                          <a:pt x="136" y="714"/>
                        </a:cubicBezTo>
                        <a:cubicBezTo>
                          <a:pt x="148" y="744"/>
                          <a:pt x="137" y="786"/>
                          <a:pt x="142" y="820"/>
                        </a:cubicBezTo>
                        <a:cubicBezTo>
                          <a:pt x="153" y="889"/>
                          <a:pt x="176" y="953"/>
                          <a:pt x="260" y="931"/>
                        </a:cubicBezTo>
                        <a:cubicBezTo>
                          <a:pt x="282" y="880"/>
                          <a:pt x="342" y="868"/>
                          <a:pt x="377" y="829"/>
                        </a:cubicBezTo>
                        <a:cubicBezTo>
                          <a:pt x="417" y="784"/>
                          <a:pt x="421" y="730"/>
                          <a:pt x="429" y="674"/>
                        </a:cubicBezTo>
                        <a:cubicBezTo>
                          <a:pt x="435" y="631"/>
                          <a:pt x="447" y="575"/>
                          <a:pt x="471" y="538"/>
                        </a:cubicBezTo>
                        <a:cubicBezTo>
                          <a:pt x="494" y="502"/>
                          <a:pt x="520" y="487"/>
                          <a:pt x="534" y="445"/>
                        </a:cubicBezTo>
                        <a:cubicBezTo>
                          <a:pt x="544" y="414"/>
                          <a:pt x="557" y="388"/>
                          <a:pt x="560" y="355"/>
                        </a:cubicBezTo>
                        <a:cubicBezTo>
                          <a:pt x="566" y="305"/>
                          <a:pt x="541" y="281"/>
                          <a:pt x="514" y="238"/>
                        </a:cubicBezTo>
                        <a:cubicBezTo>
                          <a:pt x="487" y="197"/>
                          <a:pt x="453" y="170"/>
                          <a:pt x="436" y="124"/>
                        </a:cubicBezTo>
                        <a:cubicBezTo>
                          <a:pt x="413" y="64"/>
                          <a:pt x="396" y="10"/>
                          <a:pt x="322" y="4"/>
                        </a:cubicBezTo>
                        <a:cubicBezTo>
                          <a:pt x="271" y="0"/>
                          <a:pt x="227" y="27"/>
                          <a:pt x="179" y="3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4" name="Freeform 271"/>
                  <p:cNvSpPr>
                    <a:spLocks/>
                  </p:cNvSpPr>
                  <p:nvPr/>
                </p:nvSpPr>
                <p:spPr bwMode="gray">
                  <a:xfrm>
                    <a:off x="-304800" y="23855363"/>
                    <a:ext cx="1431925" cy="2400300"/>
                  </a:xfrm>
                  <a:custGeom>
                    <a:avLst/>
                    <a:gdLst/>
                    <a:ahLst/>
                    <a:cxnLst>
                      <a:cxn ang="0">
                        <a:pos x="99" y="26"/>
                      </a:cxn>
                      <a:cxn ang="0">
                        <a:pos x="29" y="111"/>
                      </a:cxn>
                      <a:cxn ang="0">
                        <a:pos x="8" y="172"/>
                      </a:cxn>
                      <a:cxn ang="0">
                        <a:pos x="31" y="239"/>
                      </a:cxn>
                      <a:cxn ang="0">
                        <a:pos x="78" y="368"/>
                      </a:cxn>
                      <a:cxn ang="0">
                        <a:pos x="93" y="429"/>
                      </a:cxn>
                      <a:cxn ang="0">
                        <a:pos x="99" y="508"/>
                      </a:cxn>
                      <a:cxn ang="0">
                        <a:pos x="209" y="588"/>
                      </a:cxn>
                      <a:cxn ang="0">
                        <a:pos x="370" y="639"/>
                      </a:cxn>
                      <a:cxn ang="0">
                        <a:pos x="377" y="496"/>
                      </a:cxn>
                      <a:cxn ang="0">
                        <a:pos x="362" y="438"/>
                      </a:cxn>
                      <a:cxn ang="0">
                        <a:pos x="327" y="390"/>
                      </a:cxn>
                      <a:cxn ang="0">
                        <a:pos x="279" y="275"/>
                      </a:cxn>
                      <a:cxn ang="0">
                        <a:pos x="238" y="146"/>
                      </a:cxn>
                      <a:cxn ang="0">
                        <a:pos x="186" y="38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382" h="640">
                        <a:moveTo>
                          <a:pt x="99" y="26"/>
                        </a:moveTo>
                        <a:cubicBezTo>
                          <a:pt x="49" y="19"/>
                          <a:pt x="36" y="75"/>
                          <a:pt x="29" y="111"/>
                        </a:cubicBezTo>
                        <a:cubicBezTo>
                          <a:pt x="25" y="132"/>
                          <a:pt x="13" y="152"/>
                          <a:pt x="8" y="172"/>
                        </a:cubicBezTo>
                        <a:cubicBezTo>
                          <a:pt x="0" y="203"/>
                          <a:pt x="19" y="212"/>
                          <a:pt x="31" y="239"/>
                        </a:cubicBezTo>
                        <a:cubicBezTo>
                          <a:pt x="49" y="281"/>
                          <a:pt x="70" y="324"/>
                          <a:pt x="78" y="368"/>
                        </a:cubicBezTo>
                        <a:cubicBezTo>
                          <a:pt x="82" y="389"/>
                          <a:pt x="89" y="408"/>
                          <a:pt x="93" y="429"/>
                        </a:cubicBezTo>
                        <a:cubicBezTo>
                          <a:pt x="98" y="453"/>
                          <a:pt x="91" y="484"/>
                          <a:pt x="99" y="508"/>
                        </a:cubicBezTo>
                        <a:cubicBezTo>
                          <a:pt x="113" y="556"/>
                          <a:pt x="168" y="570"/>
                          <a:pt x="209" y="588"/>
                        </a:cubicBezTo>
                        <a:cubicBezTo>
                          <a:pt x="259" y="609"/>
                          <a:pt x="315" y="640"/>
                          <a:pt x="370" y="639"/>
                        </a:cubicBezTo>
                        <a:cubicBezTo>
                          <a:pt x="376" y="592"/>
                          <a:pt x="382" y="545"/>
                          <a:pt x="377" y="496"/>
                        </a:cubicBezTo>
                        <a:cubicBezTo>
                          <a:pt x="375" y="474"/>
                          <a:pt x="372" y="457"/>
                          <a:pt x="362" y="438"/>
                        </a:cubicBezTo>
                        <a:cubicBezTo>
                          <a:pt x="352" y="421"/>
                          <a:pt x="338" y="407"/>
                          <a:pt x="327" y="390"/>
                        </a:cubicBezTo>
                        <a:cubicBezTo>
                          <a:pt x="306" y="355"/>
                          <a:pt x="294" y="313"/>
                          <a:pt x="279" y="275"/>
                        </a:cubicBezTo>
                        <a:cubicBezTo>
                          <a:pt x="263" y="233"/>
                          <a:pt x="245" y="189"/>
                          <a:pt x="238" y="146"/>
                        </a:cubicBezTo>
                        <a:cubicBezTo>
                          <a:pt x="232" y="107"/>
                          <a:pt x="215" y="66"/>
                          <a:pt x="186" y="38"/>
                        </a:cubicBezTo>
                        <a:cubicBezTo>
                          <a:pt x="162" y="15"/>
                          <a:pt x="107" y="0"/>
                          <a:pt x="81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5" name="Freeform 272"/>
                  <p:cNvSpPr>
                    <a:spLocks/>
                  </p:cNvSpPr>
                  <p:nvPr/>
                </p:nvSpPr>
                <p:spPr bwMode="gray">
                  <a:xfrm>
                    <a:off x="-117475" y="15621001"/>
                    <a:ext cx="1766888" cy="10001250"/>
                  </a:xfrm>
                  <a:custGeom>
                    <a:avLst/>
                    <a:gdLst/>
                    <a:ahLst/>
                    <a:cxnLst>
                      <a:cxn ang="0">
                        <a:pos x="66" y="16"/>
                      </a:cxn>
                      <a:cxn ang="0">
                        <a:pos x="48" y="498"/>
                      </a:cxn>
                      <a:cxn ang="0">
                        <a:pos x="84" y="980"/>
                      </a:cxn>
                      <a:cxn ang="0">
                        <a:pos x="89" y="1181"/>
                      </a:cxn>
                      <a:cxn ang="0">
                        <a:pos x="62" y="1388"/>
                      </a:cxn>
                      <a:cxn ang="0">
                        <a:pos x="66" y="1789"/>
                      </a:cxn>
                      <a:cxn ang="0">
                        <a:pos x="20" y="2297"/>
                      </a:cxn>
                      <a:cxn ang="0">
                        <a:pos x="4" y="2358"/>
                      </a:cxn>
                      <a:cxn ang="0">
                        <a:pos x="48" y="2479"/>
                      </a:cxn>
                      <a:cxn ang="0">
                        <a:pos x="91" y="2636"/>
                      </a:cxn>
                      <a:cxn ang="0">
                        <a:pos x="273" y="2631"/>
                      </a:cxn>
                      <a:cxn ang="0">
                        <a:pos x="201" y="2214"/>
                      </a:cxn>
                      <a:cxn ang="0">
                        <a:pos x="364" y="1357"/>
                      </a:cxn>
                      <a:cxn ang="0">
                        <a:pos x="353" y="1118"/>
                      </a:cxn>
                      <a:cxn ang="0">
                        <a:pos x="407" y="761"/>
                      </a:cxn>
                      <a:cxn ang="0">
                        <a:pos x="434" y="515"/>
                      </a:cxn>
                      <a:cxn ang="0">
                        <a:pos x="407" y="8"/>
                      </a:cxn>
                      <a:cxn ang="0">
                        <a:pos x="66" y="7"/>
                      </a:cxn>
                    </a:cxnLst>
                    <a:rect l="0" t="0" r="r" b="b"/>
                    <a:pathLst>
                      <a:path w="471" h="2667">
                        <a:moveTo>
                          <a:pt x="66" y="16"/>
                        </a:moveTo>
                        <a:cubicBezTo>
                          <a:pt x="97" y="171"/>
                          <a:pt x="48" y="335"/>
                          <a:pt x="48" y="498"/>
                        </a:cubicBezTo>
                        <a:cubicBezTo>
                          <a:pt x="48" y="668"/>
                          <a:pt x="53" y="823"/>
                          <a:pt x="84" y="980"/>
                        </a:cubicBezTo>
                        <a:cubicBezTo>
                          <a:pt x="97" y="1046"/>
                          <a:pt x="92" y="1111"/>
                          <a:pt x="89" y="1181"/>
                        </a:cubicBezTo>
                        <a:cubicBezTo>
                          <a:pt x="85" y="1254"/>
                          <a:pt x="89" y="1324"/>
                          <a:pt x="62" y="1388"/>
                        </a:cubicBezTo>
                        <a:cubicBezTo>
                          <a:pt x="0" y="1540"/>
                          <a:pt x="59" y="1653"/>
                          <a:pt x="66" y="1789"/>
                        </a:cubicBezTo>
                        <a:cubicBezTo>
                          <a:pt x="72" y="1893"/>
                          <a:pt x="35" y="2179"/>
                          <a:pt x="20" y="2297"/>
                        </a:cubicBezTo>
                        <a:cubicBezTo>
                          <a:pt x="19" y="2307"/>
                          <a:pt x="1" y="2333"/>
                          <a:pt x="4" y="2358"/>
                        </a:cubicBezTo>
                        <a:cubicBezTo>
                          <a:pt x="8" y="2405"/>
                          <a:pt x="36" y="2460"/>
                          <a:pt x="48" y="2479"/>
                        </a:cubicBezTo>
                        <a:cubicBezTo>
                          <a:pt x="75" y="2521"/>
                          <a:pt x="52" y="2613"/>
                          <a:pt x="91" y="2636"/>
                        </a:cubicBezTo>
                        <a:cubicBezTo>
                          <a:pt x="144" y="2667"/>
                          <a:pt x="273" y="2631"/>
                          <a:pt x="273" y="2631"/>
                        </a:cubicBezTo>
                        <a:cubicBezTo>
                          <a:pt x="232" y="2565"/>
                          <a:pt x="185" y="2354"/>
                          <a:pt x="201" y="2214"/>
                        </a:cubicBezTo>
                        <a:cubicBezTo>
                          <a:pt x="216" y="2078"/>
                          <a:pt x="371" y="1520"/>
                          <a:pt x="364" y="1357"/>
                        </a:cubicBezTo>
                        <a:cubicBezTo>
                          <a:pt x="359" y="1232"/>
                          <a:pt x="343" y="1241"/>
                          <a:pt x="353" y="1118"/>
                        </a:cubicBezTo>
                        <a:cubicBezTo>
                          <a:pt x="359" y="1043"/>
                          <a:pt x="391" y="831"/>
                          <a:pt x="407" y="761"/>
                        </a:cubicBezTo>
                        <a:cubicBezTo>
                          <a:pt x="426" y="679"/>
                          <a:pt x="434" y="601"/>
                          <a:pt x="434" y="515"/>
                        </a:cubicBezTo>
                        <a:cubicBezTo>
                          <a:pt x="434" y="360"/>
                          <a:pt x="471" y="144"/>
                          <a:pt x="407" y="8"/>
                        </a:cubicBezTo>
                        <a:cubicBezTo>
                          <a:pt x="295" y="0"/>
                          <a:pt x="179" y="7"/>
                          <a:pt x="66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6" name="Freeform 273"/>
                  <p:cNvSpPr>
                    <a:spLocks/>
                  </p:cNvSpPr>
                  <p:nvPr/>
                </p:nvSpPr>
                <p:spPr bwMode="gray">
                  <a:xfrm>
                    <a:off x="-71438" y="19408776"/>
                    <a:ext cx="1577975" cy="2628900"/>
                  </a:xfrm>
                  <a:custGeom>
                    <a:avLst/>
                    <a:gdLst/>
                    <a:ahLst/>
                    <a:cxnLst>
                      <a:cxn ang="0">
                        <a:pos x="54" y="701"/>
                      </a:cxn>
                      <a:cxn ang="0">
                        <a:pos x="71" y="427"/>
                      </a:cxn>
                      <a:cxn ang="0">
                        <a:pos x="195" y="194"/>
                      </a:cxn>
                      <a:cxn ang="0">
                        <a:pos x="329" y="35"/>
                      </a:cxn>
                      <a:cxn ang="0">
                        <a:pos x="88" y="121"/>
                      </a:cxn>
                      <a:cxn ang="0">
                        <a:pos x="72" y="275"/>
                      </a:cxn>
                      <a:cxn ang="0">
                        <a:pos x="24" y="409"/>
                      </a:cxn>
                      <a:cxn ang="0">
                        <a:pos x="54" y="701"/>
                      </a:cxn>
                    </a:cxnLst>
                    <a:rect l="0" t="0" r="r" b="b"/>
                    <a:pathLst>
                      <a:path w="421" h="701">
                        <a:moveTo>
                          <a:pt x="54" y="701"/>
                        </a:moveTo>
                        <a:cubicBezTo>
                          <a:pt x="64" y="608"/>
                          <a:pt x="46" y="519"/>
                          <a:pt x="71" y="427"/>
                        </a:cubicBezTo>
                        <a:cubicBezTo>
                          <a:pt x="89" y="362"/>
                          <a:pt x="145" y="234"/>
                          <a:pt x="195" y="194"/>
                        </a:cubicBezTo>
                        <a:cubicBezTo>
                          <a:pt x="230" y="166"/>
                          <a:pt x="421" y="104"/>
                          <a:pt x="329" y="35"/>
                        </a:cubicBezTo>
                        <a:cubicBezTo>
                          <a:pt x="283" y="0"/>
                          <a:pt x="115" y="77"/>
                          <a:pt x="88" y="121"/>
                        </a:cubicBezTo>
                        <a:cubicBezTo>
                          <a:pt x="65" y="159"/>
                          <a:pt x="78" y="232"/>
                          <a:pt x="72" y="275"/>
                        </a:cubicBezTo>
                        <a:cubicBezTo>
                          <a:pt x="64" y="323"/>
                          <a:pt x="34" y="361"/>
                          <a:pt x="24" y="409"/>
                        </a:cubicBezTo>
                        <a:cubicBezTo>
                          <a:pt x="0" y="523"/>
                          <a:pt x="41" y="601"/>
                          <a:pt x="54" y="7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7" name="Freeform 274"/>
                  <p:cNvSpPr>
                    <a:spLocks/>
                  </p:cNvSpPr>
                  <p:nvPr/>
                </p:nvSpPr>
                <p:spPr bwMode="gray">
                  <a:xfrm>
                    <a:off x="-1557338" y="19745326"/>
                    <a:ext cx="1219200" cy="1957388"/>
                  </a:xfrm>
                  <a:custGeom>
                    <a:avLst/>
                    <a:gdLst/>
                    <a:ahLst/>
                    <a:cxnLst>
                      <a:cxn ang="0">
                        <a:pos x="23" y="109"/>
                      </a:cxn>
                      <a:cxn ang="0">
                        <a:pos x="107" y="178"/>
                      </a:cxn>
                      <a:cxn ang="0">
                        <a:pos x="205" y="237"/>
                      </a:cxn>
                      <a:cxn ang="0">
                        <a:pos x="210" y="390"/>
                      </a:cxn>
                      <a:cxn ang="0">
                        <a:pos x="216" y="522"/>
                      </a:cxn>
                      <a:cxn ang="0">
                        <a:pos x="246" y="337"/>
                      </a:cxn>
                      <a:cxn ang="0">
                        <a:pos x="300" y="163"/>
                      </a:cxn>
                      <a:cxn ang="0">
                        <a:pos x="199" y="43"/>
                      </a:cxn>
                      <a:cxn ang="0">
                        <a:pos x="0" y="62"/>
                      </a:cxn>
                    </a:cxnLst>
                    <a:rect l="0" t="0" r="r" b="b"/>
                    <a:pathLst>
                      <a:path w="325" h="522">
                        <a:moveTo>
                          <a:pt x="23" y="109"/>
                        </a:moveTo>
                        <a:cubicBezTo>
                          <a:pt x="61" y="126"/>
                          <a:pt x="76" y="155"/>
                          <a:pt x="107" y="178"/>
                        </a:cubicBezTo>
                        <a:cubicBezTo>
                          <a:pt x="135" y="199"/>
                          <a:pt x="186" y="202"/>
                          <a:pt x="205" y="237"/>
                        </a:cubicBezTo>
                        <a:cubicBezTo>
                          <a:pt x="226" y="276"/>
                          <a:pt x="204" y="345"/>
                          <a:pt x="210" y="390"/>
                        </a:cubicBezTo>
                        <a:cubicBezTo>
                          <a:pt x="217" y="436"/>
                          <a:pt x="241" y="473"/>
                          <a:pt x="216" y="522"/>
                        </a:cubicBezTo>
                        <a:cubicBezTo>
                          <a:pt x="263" y="493"/>
                          <a:pt x="243" y="387"/>
                          <a:pt x="246" y="337"/>
                        </a:cubicBezTo>
                        <a:cubicBezTo>
                          <a:pt x="249" y="268"/>
                          <a:pt x="280" y="226"/>
                          <a:pt x="300" y="163"/>
                        </a:cubicBezTo>
                        <a:cubicBezTo>
                          <a:pt x="325" y="84"/>
                          <a:pt x="269" y="64"/>
                          <a:pt x="199" y="43"/>
                        </a:cubicBezTo>
                        <a:cubicBezTo>
                          <a:pt x="152" y="29"/>
                          <a:pt x="25" y="0"/>
                          <a:pt x="0" y="6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8" name="Freeform 275"/>
                  <p:cNvSpPr>
                    <a:spLocks/>
                  </p:cNvSpPr>
                  <p:nvPr/>
                </p:nvSpPr>
                <p:spPr bwMode="gray">
                  <a:xfrm>
                    <a:off x="-1920875" y="9531351"/>
                    <a:ext cx="4233863" cy="5718175"/>
                  </a:xfrm>
                  <a:custGeom>
                    <a:avLst/>
                    <a:gdLst/>
                    <a:ahLst/>
                    <a:cxnLst>
                      <a:cxn ang="0">
                        <a:pos x="22" y="1482"/>
                      </a:cxn>
                      <a:cxn ang="0">
                        <a:pos x="50" y="1171"/>
                      </a:cxn>
                      <a:cxn ang="0">
                        <a:pos x="103" y="1012"/>
                      </a:cxn>
                      <a:cxn ang="0">
                        <a:pos x="220" y="880"/>
                      </a:cxn>
                      <a:cxn ang="0">
                        <a:pos x="268" y="712"/>
                      </a:cxn>
                      <a:cxn ang="0">
                        <a:pos x="237" y="502"/>
                      </a:cxn>
                      <a:cxn ang="0">
                        <a:pos x="190" y="437"/>
                      </a:cxn>
                      <a:cxn ang="0">
                        <a:pos x="227" y="56"/>
                      </a:cxn>
                      <a:cxn ang="0">
                        <a:pos x="390" y="296"/>
                      </a:cxn>
                      <a:cxn ang="0">
                        <a:pos x="507" y="220"/>
                      </a:cxn>
                      <a:cxn ang="0">
                        <a:pos x="642" y="179"/>
                      </a:cxn>
                      <a:cxn ang="0">
                        <a:pos x="792" y="489"/>
                      </a:cxn>
                      <a:cxn ang="0">
                        <a:pos x="954" y="897"/>
                      </a:cxn>
                      <a:cxn ang="0">
                        <a:pos x="1032" y="950"/>
                      </a:cxn>
                      <a:cxn ang="0">
                        <a:pos x="1051" y="1086"/>
                      </a:cxn>
                      <a:cxn ang="0">
                        <a:pos x="1111" y="1312"/>
                      </a:cxn>
                      <a:cxn ang="0">
                        <a:pos x="1126" y="1481"/>
                      </a:cxn>
                      <a:cxn ang="0">
                        <a:pos x="870" y="1517"/>
                      </a:cxn>
                      <a:cxn ang="0">
                        <a:pos x="624" y="1499"/>
                      </a:cxn>
                      <a:cxn ang="0">
                        <a:pos x="344" y="1505"/>
                      </a:cxn>
                      <a:cxn ang="0">
                        <a:pos x="222" y="1504"/>
                      </a:cxn>
                      <a:cxn ang="0">
                        <a:pos x="122" y="1395"/>
                      </a:cxn>
                      <a:cxn ang="0">
                        <a:pos x="22" y="1476"/>
                      </a:cxn>
                    </a:cxnLst>
                    <a:rect l="0" t="0" r="r" b="b"/>
                    <a:pathLst>
                      <a:path w="1129" h="1525">
                        <a:moveTo>
                          <a:pt x="22" y="1482"/>
                        </a:moveTo>
                        <a:cubicBezTo>
                          <a:pt x="57" y="1380"/>
                          <a:pt x="0" y="1268"/>
                          <a:pt x="50" y="1171"/>
                        </a:cubicBezTo>
                        <a:cubicBezTo>
                          <a:pt x="78" y="1116"/>
                          <a:pt x="86" y="1070"/>
                          <a:pt x="103" y="1012"/>
                        </a:cubicBezTo>
                        <a:cubicBezTo>
                          <a:pt x="127" y="930"/>
                          <a:pt x="156" y="924"/>
                          <a:pt x="220" y="880"/>
                        </a:cubicBezTo>
                        <a:cubicBezTo>
                          <a:pt x="287" y="833"/>
                          <a:pt x="283" y="799"/>
                          <a:pt x="268" y="712"/>
                        </a:cubicBezTo>
                        <a:cubicBezTo>
                          <a:pt x="256" y="646"/>
                          <a:pt x="263" y="566"/>
                          <a:pt x="237" y="502"/>
                        </a:cubicBezTo>
                        <a:cubicBezTo>
                          <a:pt x="226" y="474"/>
                          <a:pt x="204" y="462"/>
                          <a:pt x="190" y="437"/>
                        </a:cubicBezTo>
                        <a:cubicBezTo>
                          <a:pt x="147" y="359"/>
                          <a:pt x="119" y="106"/>
                          <a:pt x="227" y="56"/>
                        </a:cubicBezTo>
                        <a:cubicBezTo>
                          <a:pt x="346" y="0"/>
                          <a:pt x="336" y="256"/>
                          <a:pt x="390" y="296"/>
                        </a:cubicBezTo>
                        <a:cubicBezTo>
                          <a:pt x="455" y="344"/>
                          <a:pt x="484" y="256"/>
                          <a:pt x="507" y="220"/>
                        </a:cubicBezTo>
                        <a:cubicBezTo>
                          <a:pt x="534" y="178"/>
                          <a:pt x="590" y="161"/>
                          <a:pt x="642" y="179"/>
                        </a:cubicBezTo>
                        <a:cubicBezTo>
                          <a:pt x="769" y="223"/>
                          <a:pt x="784" y="376"/>
                          <a:pt x="792" y="489"/>
                        </a:cubicBezTo>
                        <a:cubicBezTo>
                          <a:pt x="804" y="649"/>
                          <a:pt x="825" y="792"/>
                          <a:pt x="954" y="897"/>
                        </a:cubicBezTo>
                        <a:cubicBezTo>
                          <a:pt x="976" y="915"/>
                          <a:pt x="1018" y="925"/>
                          <a:pt x="1032" y="950"/>
                        </a:cubicBezTo>
                        <a:cubicBezTo>
                          <a:pt x="1050" y="982"/>
                          <a:pt x="1046" y="1048"/>
                          <a:pt x="1051" y="1086"/>
                        </a:cubicBezTo>
                        <a:cubicBezTo>
                          <a:pt x="1060" y="1168"/>
                          <a:pt x="1091" y="1231"/>
                          <a:pt x="1111" y="1312"/>
                        </a:cubicBezTo>
                        <a:cubicBezTo>
                          <a:pt x="1125" y="1367"/>
                          <a:pt x="1129" y="1423"/>
                          <a:pt x="1126" y="1481"/>
                        </a:cubicBezTo>
                        <a:cubicBezTo>
                          <a:pt x="1041" y="1476"/>
                          <a:pt x="952" y="1509"/>
                          <a:pt x="870" y="1517"/>
                        </a:cubicBezTo>
                        <a:cubicBezTo>
                          <a:pt x="789" y="1525"/>
                          <a:pt x="705" y="1503"/>
                          <a:pt x="624" y="1499"/>
                        </a:cubicBezTo>
                        <a:cubicBezTo>
                          <a:pt x="530" y="1496"/>
                          <a:pt x="437" y="1506"/>
                          <a:pt x="344" y="1505"/>
                        </a:cubicBezTo>
                        <a:cubicBezTo>
                          <a:pt x="316" y="1505"/>
                          <a:pt x="244" y="1518"/>
                          <a:pt x="222" y="1504"/>
                        </a:cubicBezTo>
                        <a:cubicBezTo>
                          <a:pt x="164" y="1467"/>
                          <a:pt x="229" y="1376"/>
                          <a:pt x="122" y="1395"/>
                        </a:cubicBezTo>
                        <a:cubicBezTo>
                          <a:pt x="130" y="1436"/>
                          <a:pt x="58" y="1476"/>
                          <a:pt x="22" y="14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89" name="Freeform 276"/>
                  <p:cNvSpPr>
                    <a:spLocks/>
                  </p:cNvSpPr>
                  <p:nvPr/>
                </p:nvSpPr>
                <p:spPr bwMode="gray">
                  <a:xfrm>
                    <a:off x="-1741488" y="14217651"/>
                    <a:ext cx="4021138" cy="6184900"/>
                  </a:xfrm>
                  <a:custGeom>
                    <a:avLst/>
                    <a:gdLst/>
                    <a:ahLst/>
                    <a:cxnLst>
                      <a:cxn ang="0">
                        <a:pos x="49" y="197"/>
                      </a:cxn>
                      <a:cxn ang="0">
                        <a:pos x="5" y="390"/>
                      </a:cxn>
                      <a:cxn ang="0">
                        <a:pos x="15" y="591"/>
                      </a:cxn>
                      <a:cxn ang="0">
                        <a:pos x="40" y="1036"/>
                      </a:cxn>
                      <a:cxn ang="0">
                        <a:pos x="40" y="1450"/>
                      </a:cxn>
                      <a:cxn ang="0">
                        <a:pos x="93" y="1609"/>
                      </a:cxn>
                      <a:cxn ang="0">
                        <a:pos x="338" y="1617"/>
                      </a:cxn>
                      <a:cxn ang="0">
                        <a:pos x="522" y="1555"/>
                      </a:cxn>
                      <a:cxn ang="0">
                        <a:pos x="741" y="1503"/>
                      </a:cxn>
                      <a:cxn ang="0">
                        <a:pos x="917" y="1442"/>
                      </a:cxn>
                      <a:cxn ang="0">
                        <a:pos x="932" y="1343"/>
                      </a:cxn>
                      <a:cxn ang="0">
                        <a:pos x="972" y="1249"/>
                      </a:cxn>
                      <a:cxn ang="0">
                        <a:pos x="1014" y="820"/>
                      </a:cxn>
                      <a:cxn ang="0">
                        <a:pos x="1039" y="379"/>
                      </a:cxn>
                      <a:cxn ang="0">
                        <a:pos x="987" y="100"/>
                      </a:cxn>
                      <a:cxn ang="0">
                        <a:pos x="680" y="21"/>
                      </a:cxn>
                      <a:cxn ang="0">
                        <a:pos x="338" y="30"/>
                      </a:cxn>
                      <a:cxn ang="0">
                        <a:pos x="40" y="109"/>
                      </a:cxn>
                    </a:cxnLst>
                    <a:rect l="0" t="0" r="r" b="b"/>
                    <a:pathLst>
                      <a:path w="1072" h="1649">
                        <a:moveTo>
                          <a:pt x="49" y="197"/>
                        </a:moveTo>
                        <a:cubicBezTo>
                          <a:pt x="49" y="268"/>
                          <a:pt x="9" y="321"/>
                          <a:pt x="5" y="390"/>
                        </a:cubicBezTo>
                        <a:cubicBezTo>
                          <a:pt x="1" y="463"/>
                          <a:pt x="23" y="516"/>
                          <a:pt x="15" y="591"/>
                        </a:cubicBezTo>
                        <a:cubicBezTo>
                          <a:pt x="0" y="742"/>
                          <a:pt x="40" y="880"/>
                          <a:pt x="40" y="1036"/>
                        </a:cubicBezTo>
                        <a:cubicBezTo>
                          <a:pt x="40" y="1175"/>
                          <a:pt x="58" y="1322"/>
                          <a:pt x="40" y="1450"/>
                        </a:cubicBezTo>
                        <a:cubicBezTo>
                          <a:pt x="30" y="1526"/>
                          <a:pt x="4" y="1558"/>
                          <a:pt x="93" y="1609"/>
                        </a:cubicBezTo>
                        <a:cubicBezTo>
                          <a:pt x="163" y="1649"/>
                          <a:pt x="272" y="1628"/>
                          <a:pt x="338" y="1617"/>
                        </a:cubicBezTo>
                        <a:cubicBezTo>
                          <a:pt x="401" y="1607"/>
                          <a:pt x="459" y="1564"/>
                          <a:pt x="522" y="1555"/>
                        </a:cubicBezTo>
                        <a:cubicBezTo>
                          <a:pt x="611" y="1543"/>
                          <a:pt x="669" y="1531"/>
                          <a:pt x="741" y="1503"/>
                        </a:cubicBezTo>
                        <a:cubicBezTo>
                          <a:pt x="801" y="1480"/>
                          <a:pt x="887" y="1491"/>
                          <a:pt x="917" y="1442"/>
                        </a:cubicBezTo>
                        <a:cubicBezTo>
                          <a:pt x="926" y="1426"/>
                          <a:pt x="927" y="1364"/>
                          <a:pt x="932" y="1343"/>
                        </a:cubicBezTo>
                        <a:cubicBezTo>
                          <a:pt x="942" y="1309"/>
                          <a:pt x="962" y="1280"/>
                          <a:pt x="972" y="1249"/>
                        </a:cubicBezTo>
                        <a:cubicBezTo>
                          <a:pt x="1013" y="1120"/>
                          <a:pt x="986" y="953"/>
                          <a:pt x="1014" y="820"/>
                        </a:cubicBezTo>
                        <a:cubicBezTo>
                          <a:pt x="1044" y="674"/>
                          <a:pt x="1047" y="525"/>
                          <a:pt x="1039" y="379"/>
                        </a:cubicBezTo>
                        <a:cubicBezTo>
                          <a:pt x="1035" y="279"/>
                          <a:pt x="1072" y="163"/>
                          <a:pt x="987" y="100"/>
                        </a:cubicBezTo>
                        <a:cubicBezTo>
                          <a:pt x="918" y="49"/>
                          <a:pt x="767" y="37"/>
                          <a:pt x="680" y="21"/>
                        </a:cubicBezTo>
                        <a:cubicBezTo>
                          <a:pt x="564" y="0"/>
                          <a:pt x="454" y="26"/>
                          <a:pt x="338" y="30"/>
                        </a:cubicBezTo>
                        <a:cubicBezTo>
                          <a:pt x="253" y="34"/>
                          <a:pt x="102" y="49"/>
                          <a:pt x="40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0" name="Freeform 277"/>
                  <p:cNvSpPr>
                    <a:spLocks/>
                  </p:cNvSpPr>
                  <p:nvPr/>
                </p:nvSpPr>
                <p:spPr bwMode="gray">
                  <a:xfrm>
                    <a:off x="-1141413" y="14004926"/>
                    <a:ext cx="1987550" cy="806450"/>
                  </a:xfrm>
                  <a:custGeom>
                    <a:avLst/>
                    <a:gdLst/>
                    <a:ahLst/>
                    <a:cxnLst>
                      <a:cxn ang="0">
                        <a:pos x="35" y="132"/>
                      </a:cxn>
                      <a:cxn ang="0">
                        <a:pos x="251" y="195"/>
                      </a:cxn>
                      <a:cxn ang="0">
                        <a:pos x="252" y="168"/>
                      </a:cxn>
                      <a:cxn ang="0">
                        <a:pos x="345" y="208"/>
                      </a:cxn>
                      <a:cxn ang="0">
                        <a:pos x="462" y="196"/>
                      </a:cxn>
                      <a:cxn ang="0">
                        <a:pos x="526" y="132"/>
                      </a:cxn>
                      <a:cxn ang="0">
                        <a:pos x="440" y="60"/>
                      </a:cxn>
                      <a:cxn ang="0">
                        <a:pos x="221" y="9"/>
                      </a:cxn>
                      <a:cxn ang="0">
                        <a:pos x="0" y="108"/>
                      </a:cxn>
                    </a:cxnLst>
                    <a:rect l="0" t="0" r="r" b="b"/>
                    <a:pathLst>
                      <a:path w="530" h="215">
                        <a:moveTo>
                          <a:pt x="35" y="132"/>
                        </a:moveTo>
                        <a:cubicBezTo>
                          <a:pt x="56" y="196"/>
                          <a:pt x="194" y="198"/>
                          <a:pt x="251" y="195"/>
                        </a:cubicBezTo>
                        <a:cubicBezTo>
                          <a:pt x="250" y="187"/>
                          <a:pt x="253" y="176"/>
                          <a:pt x="252" y="168"/>
                        </a:cubicBezTo>
                        <a:cubicBezTo>
                          <a:pt x="306" y="141"/>
                          <a:pt x="309" y="199"/>
                          <a:pt x="345" y="208"/>
                        </a:cubicBezTo>
                        <a:cubicBezTo>
                          <a:pt x="371" y="215"/>
                          <a:pt x="434" y="201"/>
                          <a:pt x="462" y="196"/>
                        </a:cubicBezTo>
                        <a:cubicBezTo>
                          <a:pt x="500" y="189"/>
                          <a:pt x="530" y="182"/>
                          <a:pt x="526" y="132"/>
                        </a:cubicBezTo>
                        <a:cubicBezTo>
                          <a:pt x="522" y="79"/>
                          <a:pt x="479" y="76"/>
                          <a:pt x="440" y="60"/>
                        </a:cubicBezTo>
                        <a:cubicBezTo>
                          <a:pt x="364" y="31"/>
                          <a:pt x="304" y="16"/>
                          <a:pt x="221" y="9"/>
                        </a:cubicBezTo>
                        <a:cubicBezTo>
                          <a:pt x="115" y="0"/>
                          <a:pt x="78" y="59"/>
                          <a:pt x="0" y="1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1" name="Freeform 278"/>
                  <p:cNvSpPr>
                    <a:spLocks/>
                  </p:cNvSpPr>
                  <p:nvPr/>
                </p:nvSpPr>
                <p:spPr bwMode="gray">
                  <a:xfrm>
                    <a:off x="-1774825" y="8439151"/>
                    <a:ext cx="3055938" cy="6232525"/>
                  </a:xfrm>
                  <a:custGeom>
                    <a:avLst/>
                    <a:gdLst/>
                    <a:ahLst/>
                    <a:cxnLst>
                      <a:cxn ang="0">
                        <a:pos x="256" y="0"/>
                      </a:cxn>
                      <a:cxn ang="0">
                        <a:pos x="124" y="102"/>
                      </a:cxn>
                      <a:cxn ang="0">
                        <a:pos x="0" y="191"/>
                      </a:cxn>
                      <a:cxn ang="0">
                        <a:pos x="169" y="149"/>
                      </a:cxn>
                      <a:cxn ang="0">
                        <a:pos x="238" y="254"/>
                      </a:cxn>
                      <a:cxn ang="0">
                        <a:pos x="205" y="535"/>
                      </a:cxn>
                      <a:cxn ang="0">
                        <a:pos x="194" y="880"/>
                      </a:cxn>
                      <a:cxn ang="0">
                        <a:pos x="209" y="1027"/>
                      </a:cxn>
                      <a:cxn ang="0">
                        <a:pos x="213" y="1130"/>
                      </a:cxn>
                      <a:cxn ang="0">
                        <a:pos x="232" y="1246"/>
                      </a:cxn>
                      <a:cxn ang="0">
                        <a:pos x="178" y="1344"/>
                      </a:cxn>
                      <a:cxn ang="0">
                        <a:pos x="198" y="1395"/>
                      </a:cxn>
                      <a:cxn ang="0">
                        <a:pos x="198" y="1467"/>
                      </a:cxn>
                      <a:cxn ang="0">
                        <a:pos x="251" y="1638"/>
                      </a:cxn>
                      <a:cxn ang="0">
                        <a:pos x="338" y="1660"/>
                      </a:cxn>
                      <a:cxn ang="0">
                        <a:pos x="411" y="1585"/>
                      </a:cxn>
                      <a:cxn ang="0">
                        <a:pos x="434" y="1403"/>
                      </a:cxn>
                      <a:cxn ang="0">
                        <a:pos x="454" y="1613"/>
                      </a:cxn>
                      <a:cxn ang="0">
                        <a:pos x="514" y="1660"/>
                      </a:cxn>
                      <a:cxn ang="0">
                        <a:pos x="626" y="1655"/>
                      </a:cxn>
                      <a:cxn ang="0">
                        <a:pos x="615" y="1451"/>
                      </a:cxn>
                      <a:cxn ang="0">
                        <a:pos x="639" y="1083"/>
                      </a:cxn>
                      <a:cxn ang="0">
                        <a:pos x="623" y="546"/>
                      </a:cxn>
                      <a:cxn ang="0">
                        <a:pos x="630" y="346"/>
                      </a:cxn>
                      <a:cxn ang="0">
                        <a:pos x="600" y="215"/>
                      </a:cxn>
                      <a:cxn ang="0">
                        <a:pos x="654" y="176"/>
                      </a:cxn>
                      <a:cxn ang="0">
                        <a:pos x="705" y="202"/>
                      </a:cxn>
                      <a:cxn ang="0">
                        <a:pos x="760" y="225"/>
                      </a:cxn>
                      <a:cxn ang="0">
                        <a:pos x="813" y="265"/>
                      </a:cxn>
                      <a:cxn ang="0">
                        <a:pos x="779" y="202"/>
                      </a:cxn>
                      <a:cxn ang="0">
                        <a:pos x="746" y="129"/>
                      </a:cxn>
                      <a:cxn ang="0">
                        <a:pos x="607" y="23"/>
                      </a:cxn>
                      <a:cxn ang="0">
                        <a:pos x="576" y="191"/>
                      </a:cxn>
                      <a:cxn ang="0">
                        <a:pos x="483" y="316"/>
                      </a:cxn>
                      <a:cxn ang="0">
                        <a:pos x="427" y="480"/>
                      </a:cxn>
                      <a:cxn ang="0">
                        <a:pos x="393" y="654"/>
                      </a:cxn>
                      <a:cxn ang="0">
                        <a:pos x="381" y="479"/>
                      </a:cxn>
                      <a:cxn ang="0">
                        <a:pos x="350" y="331"/>
                      </a:cxn>
                      <a:cxn ang="0">
                        <a:pos x="272" y="187"/>
                      </a:cxn>
                      <a:cxn ang="0">
                        <a:pos x="182" y="78"/>
                      </a:cxn>
                    </a:cxnLst>
                    <a:rect l="0" t="0" r="r" b="b"/>
                    <a:pathLst>
                      <a:path w="815" h="1662">
                        <a:moveTo>
                          <a:pt x="256" y="0"/>
                        </a:moveTo>
                        <a:cubicBezTo>
                          <a:pt x="211" y="40"/>
                          <a:pt x="171" y="69"/>
                          <a:pt x="124" y="102"/>
                        </a:cubicBezTo>
                        <a:cubicBezTo>
                          <a:pt x="87" y="129"/>
                          <a:pt x="50" y="196"/>
                          <a:pt x="0" y="191"/>
                        </a:cubicBezTo>
                        <a:cubicBezTo>
                          <a:pt x="63" y="237"/>
                          <a:pt x="121" y="165"/>
                          <a:pt x="169" y="149"/>
                        </a:cubicBezTo>
                        <a:cubicBezTo>
                          <a:pt x="204" y="186"/>
                          <a:pt x="255" y="201"/>
                          <a:pt x="238" y="254"/>
                        </a:cubicBezTo>
                        <a:cubicBezTo>
                          <a:pt x="209" y="343"/>
                          <a:pt x="205" y="438"/>
                          <a:pt x="205" y="535"/>
                        </a:cubicBezTo>
                        <a:cubicBezTo>
                          <a:pt x="206" y="650"/>
                          <a:pt x="189" y="764"/>
                          <a:pt x="194" y="880"/>
                        </a:cubicBezTo>
                        <a:cubicBezTo>
                          <a:pt x="196" y="931"/>
                          <a:pt x="209" y="976"/>
                          <a:pt x="209" y="1027"/>
                        </a:cubicBezTo>
                        <a:cubicBezTo>
                          <a:pt x="209" y="1062"/>
                          <a:pt x="209" y="1096"/>
                          <a:pt x="213" y="1130"/>
                        </a:cubicBezTo>
                        <a:cubicBezTo>
                          <a:pt x="217" y="1168"/>
                          <a:pt x="234" y="1209"/>
                          <a:pt x="232" y="1246"/>
                        </a:cubicBezTo>
                        <a:cubicBezTo>
                          <a:pt x="212" y="1257"/>
                          <a:pt x="178" y="1320"/>
                          <a:pt x="178" y="1344"/>
                        </a:cubicBezTo>
                        <a:cubicBezTo>
                          <a:pt x="178" y="1362"/>
                          <a:pt x="194" y="1378"/>
                          <a:pt x="198" y="1395"/>
                        </a:cubicBezTo>
                        <a:cubicBezTo>
                          <a:pt x="203" y="1417"/>
                          <a:pt x="196" y="1444"/>
                          <a:pt x="198" y="1467"/>
                        </a:cubicBezTo>
                        <a:cubicBezTo>
                          <a:pt x="200" y="1524"/>
                          <a:pt x="198" y="1610"/>
                          <a:pt x="251" y="1638"/>
                        </a:cubicBezTo>
                        <a:cubicBezTo>
                          <a:pt x="278" y="1652"/>
                          <a:pt x="306" y="1660"/>
                          <a:pt x="338" y="1660"/>
                        </a:cubicBezTo>
                        <a:cubicBezTo>
                          <a:pt x="391" y="1660"/>
                          <a:pt x="400" y="1638"/>
                          <a:pt x="411" y="1585"/>
                        </a:cubicBezTo>
                        <a:cubicBezTo>
                          <a:pt x="423" y="1528"/>
                          <a:pt x="392" y="1448"/>
                          <a:pt x="434" y="1403"/>
                        </a:cubicBezTo>
                        <a:cubicBezTo>
                          <a:pt x="458" y="1464"/>
                          <a:pt x="436" y="1549"/>
                          <a:pt x="454" y="1613"/>
                        </a:cubicBezTo>
                        <a:cubicBezTo>
                          <a:pt x="467" y="1658"/>
                          <a:pt x="471" y="1662"/>
                          <a:pt x="514" y="1660"/>
                        </a:cubicBezTo>
                        <a:cubicBezTo>
                          <a:pt x="550" y="1658"/>
                          <a:pt x="590" y="1654"/>
                          <a:pt x="626" y="1655"/>
                        </a:cubicBezTo>
                        <a:cubicBezTo>
                          <a:pt x="633" y="1591"/>
                          <a:pt x="612" y="1518"/>
                          <a:pt x="615" y="1451"/>
                        </a:cubicBezTo>
                        <a:cubicBezTo>
                          <a:pt x="621" y="1327"/>
                          <a:pt x="650" y="1208"/>
                          <a:pt x="639" y="1083"/>
                        </a:cubicBezTo>
                        <a:cubicBezTo>
                          <a:pt x="623" y="910"/>
                          <a:pt x="596" y="718"/>
                          <a:pt x="623" y="546"/>
                        </a:cubicBezTo>
                        <a:cubicBezTo>
                          <a:pt x="680" y="550"/>
                          <a:pt x="641" y="384"/>
                          <a:pt x="630" y="346"/>
                        </a:cubicBezTo>
                        <a:cubicBezTo>
                          <a:pt x="618" y="305"/>
                          <a:pt x="571" y="247"/>
                          <a:pt x="600" y="215"/>
                        </a:cubicBezTo>
                        <a:cubicBezTo>
                          <a:pt x="608" y="206"/>
                          <a:pt x="646" y="179"/>
                          <a:pt x="654" y="176"/>
                        </a:cubicBezTo>
                        <a:cubicBezTo>
                          <a:pt x="695" y="163"/>
                          <a:pt x="682" y="184"/>
                          <a:pt x="705" y="202"/>
                        </a:cubicBezTo>
                        <a:cubicBezTo>
                          <a:pt x="723" y="216"/>
                          <a:pt x="741" y="215"/>
                          <a:pt x="760" y="225"/>
                        </a:cubicBezTo>
                        <a:cubicBezTo>
                          <a:pt x="779" y="235"/>
                          <a:pt x="792" y="256"/>
                          <a:pt x="813" y="265"/>
                        </a:cubicBezTo>
                        <a:cubicBezTo>
                          <a:pt x="815" y="238"/>
                          <a:pt x="791" y="223"/>
                          <a:pt x="779" y="202"/>
                        </a:cubicBezTo>
                        <a:cubicBezTo>
                          <a:pt x="767" y="180"/>
                          <a:pt x="764" y="150"/>
                          <a:pt x="746" y="129"/>
                        </a:cubicBezTo>
                        <a:cubicBezTo>
                          <a:pt x="708" y="85"/>
                          <a:pt x="641" y="69"/>
                          <a:pt x="607" y="23"/>
                        </a:cubicBezTo>
                        <a:cubicBezTo>
                          <a:pt x="592" y="80"/>
                          <a:pt x="607" y="139"/>
                          <a:pt x="576" y="191"/>
                        </a:cubicBezTo>
                        <a:cubicBezTo>
                          <a:pt x="548" y="236"/>
                          <a:pt x="505" y="268"/>
                          <a:pt x="483" y="316"/>
                        </a:cubicBezTo>
                        <a:cubicBezTo>
                          <a:pt x="459" y="368"/>
                          <a:pt x="446" y="424"/>
                          <a:pt x="427" y="480"/>
                        </a:cubicBezTo>
                        <a:cubicBezTo>
                          <a:pt x="411" y="527"/>
                          <a:pt x="428" y="620"/>
                          <a:pt x="393" y="654"/>
                        </a:cubicBezTo>
                        <a:cubicBezTo>
                          <a:pt x="376" y="608"/>
                          <a:pt x="381" y="529"/>
                          <a:pt x="381" y="479"/>
                        </a:cubicBezTo>
                        <a:cubicBezTo>
                          <a:pt x="380" y="421"/>
                          <a:pt x="381" y="374"/>
                          <a:pt x="350" y="331"/>
                        </a:cubicBezTo>
                        <a:cubicBezTo>
                          <a:pt x="317" y="282"/>
                          <a:pt x="287" y="242"/>
                          <a:pt x="272" y="187"/>
                        </a:cubicBezTo>
                        <a:cubicBezTo>
                          <a:pt x="262" y="153"/>
                          <a:pt x="229" y="68"/>
                          <a:pt x="182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2" name="Freeform 279"/>
                  <p:cNvSpPr>
                    <a:spLocks/>
                  </p:cNvSpPr>
                  <p:nvPr/>
                </p:nvSpPr>
                <p:spPr bwMode="gray">
                  <a:xfrm>
                    <a:off x="-2914650" y="13449301"/>
                    <a:ext cx="1031875" cy="720725"/>
                  </a:xfrm>
                  <a:custGeom>
                    <a:avLst/>
                    <a:gdLst/>
                    <a:ahLst/>
                    <a:cxnLst>
                      <a:cxn ang="0">
                        <a:pos x="135" y="191"/>
                      </a:cxn>
                      <a:cxn ang="0">
                        <a:pos x="188" y="4"/>
                      </a:cxn>
                      <a:cxn ang="0">
                        <a:pos x="234" y="116"/>
                      </a:cxn>
                      <a:cxn ang="0">
                        <a:pos x="129" y="191"/>
                      </a:cxn>
                    </a:cxnLst>
                    <a:rect l="0" t="0" r="r" b="b"/>
                    <a:pathLst>
                      <a:path w="275" h="192">
                        <a:moveTo>
                          <a:pt x="135" y="191"/>
                        </a:moveTo>
                        <a:cubicBezTo>
                          <a:pt x="0" y="192"/>
                          <a:pt x="88" y="10"/>
                          <a:pt x="188" y="4"/>
                        </a:cubicBezTo>
                        <a:cubicBezTo>
                          <a:pt x="259" y="0"/>
                          <a:pt x="275" y="74"/>
                          <a:pt x="234" y="116"/>
                        </a:cubicBezTo>
                        <a:cubicBezTo>
                          <a:pt x="207" y="143"/>
                          <a:pt x="162" y="165"/>
                          <a:pt x="129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3" name="Freeform 280"/>
                  <p:cNvSpPr>
                    <a:spLocks/>
                  </p:cNvSpPr>
                  <p:nvPr/>
                </p:nvSpPr>
                <p:spPr bwMode="gray">
                  <a:xfrm>
                    <a:off x="400050" y="14341476"/>
                    <a:ext cx="1808163" cy="1276350"/>
                  </a:xfrm>
                  <a:custGeom>
                    <a:avLst/>
                    <a:gdLst/>
                    <a:ahLst/>
                    <a:cxnLst>
                      <a:cxn ang="0">
                        <a:pos x="460" y="287"/>
                      </a:cxn>
                      <a:cxn ang="0">
                        <a:pos x="232" y="257"/>
                      </a:cxn>
                      <a:cxn ang="0">
                        <a:pos x="11" y="327"/>
                      </a:cxn>
                      <a:cxn ang="0">
                        <a:pos x="15" y="236"/>
                      </a:cxn>
                      <a:cxn ang="0">
                        <a:pos x="0" y="235"/>
                      </a:cxn>
                      <a:cxn ang="0">
                        <a:pos x="482" y="228"/>
                      </a:cxn>
                      <a:cxn ang="0">
                        <a:pos x="466" y="235"/>
                      </a:cxn>
                    </a:cxnLst>
                    <a:rect l="0" t="0" r="r" b="b"/>
                    <a:pathLst>
                      <a:path w="482" h="340">
                        <a:moveTo>
                          <a:pt x="460" y="287"/>
                        </a:moveTo>
                        <a:cubicBezTo>
                          <a:pt x="386" y="340"/>
                          <a:pt x="304" y="274"/>
                          <a:pt x="232" y="257"/>
                        </a:cubicBezTo>
                        <a:cubicBezTo>
                          <a:pt x="132" y="232"/>
                          <a:pt x="95" y="302"/>
                          <a:pt x="11" y="327"/>
                        </a:cubicBezTo>
                        <a:cubicBezTo>
                          <a:pt x="11" y="297"/>
                          <a:pt x="20" y="267"/>
                          <a:pt x="15" y="236"/>
                        </a:cubicBezTo>
                        <a:cubicBezTo>
                          <a:pt x="11" y="235"/>
                          <a:pt x="4" y="236"/>
                          <a:pt x="0" y="235"/>
                        </a:cubicBezTo>
                        <a:cubicBezTo>
                          <a:pt x="109" y="206"/>
                          <a:pt x="473" y="0"/>
                          <a:pt x="482" y="228"/>
                        </a:cubicBezTo>
                        <a:cubicBezTo>
                          <a:pt x="476" y="229"/>
                          <a:pt x="472" y="232"/>
                          <a:pt x="466" y="23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4" name="Freeform 281"/>
                  <p:cNvSpPr>
                    <a:spLocks/>
                  </p:cNvSpPr>
                  <p:nvPr/>
                </p:nvSpPr>
                <p:spPr bwMode="gray">
                  <a:xfrm>
                    <a:off x="-1665288" y="14825663"/>
                    <a:ext cx="1098550" cy="919163"/>
                  </a:xfrm>
                  <a:custGeom>
                    <a:avLst/>
                    <a:gdLst/>
                    <a:ahLst/>
                    <a:cxnLst>
                      <a:cxn ang="0">
                        <a:pos x="0" y="59"/>
                      </a:cxn>
                      <a:cxn ang="0">
                        <a:pos x="98" y="182"/>
                      </a:cxn>
                      <a:cxn ang="0">
                        <a:pos x="293" y="240"/>
                      </a:cxn>
                      <a:cxn ang="0">
                        <a:pos x="227" y="19"/>
                      </a:cxn>
                      <a:cxn ang="0">
                        <a:pos x="75" y="6"/>
                      </a:cxn>
                      <a:cxn ang="0">
                        <a:pos x="0" y="76"/>
                      </a:cxn>
                    </a:cxnLst>
                    <a:rect l="0" t="0" r="r" b="b"/>
                    <a:pathLst>
                      <a:path w="293" h="245">
                        <a:moveTo>
                          <a:pt x="0" y="59"/>
                        </a:moveTo>
                        <a:cubicBezTo>
                          <a:pt x="40" y="113"/>
                          <a:pt x="22" y="156"/>
                          <a:pt x="98" y="182"/>
                        </a:cubicBezTo>
                        <a:cubicBezTo>
                          <a:pt x="149" y="199"/>
                          <a:pt x="239" y="245"/>
                          <a:pt x="293" y="240"/>
                        </a:cubicBezTo>
                        <a:cubicBezTo>
                          <a:pt x="214" y="196"/>
                          <a:pt x="232" y="106"/>
                          <a:pt x="227" y="19"/>
                        </a:cubicBezTo>
                        <a:cubicBezTo>
                          <a:pt x="177" y="14"/>
                          <a:pt x="128" y="0"/>
                          <a:pt x="75" y="6"/>
                        </a:cubicBezTo>
                        <a:cubicBezTo>
                          <a:pt x="11" y="14"/>
                          <a:pt x="36" y="33"/>
                          <a:pt x="0" y="7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5" name="Freeform 282"/>
                  <p:cNvSpPr>
                    <a:spLocks/>
                  </p:cNvSpPr>
                  <p:nvPr/>
                </p:nvSpPr>
                <p:spPr bwMode="gray">
                  <a:xfrm>
                    <a:off x="-739775" y="15628938"/>
                    <a:ext cx="2692400" cy="2411413"/>
                  </a:xfrm>
                  <a:custGeom>
                    <a:avLst/>
                    <a:gdLst/>
                    <a:ahLst/>
                    <a:cxnLst>
                      <a:cxn ang="0">
                        <a:pos x="653" y="225"/>
                      </a:cxn>
                      <a:cxn ang="0">
                        <a:pos x="513" y="353"/>
                      </a:cxn>
                      <a:cxn ang="0">
                        <a:pos x="361" y="480"/>
                      </a:cxn>
                      <a:cxn ang="0">
                        <a:pos x="0" y="621"/>
                      </a:cxn>
                      <a:cxn ang="0">
                        <a:pos x="435" y="305"/>
                      </a:cxn>
                      <a:cxn ang="0">
                        <a:pos x="573" y="104"/>
                      </a:cxn>
                      <a:cxn ang="0">
                        <a:pos x="675" y="21"/>
                      </a:cxn>
                      <a:cxn ang="0">
                        <a:pos x="682" y="153"/>
                      </a:cxn>
                      <a:cxn ang="0">
                        <a:pos x="589" y="283"/>
                      </a:cxn>
                    </a:cxnLst>
                    <a:rect l="0" t="0" r="r" b="b"/>
                    <a:pathLst>
                      <a:path w="718" h="643">
                        <a:moveTo>
                          <a:pt x="653" y="225"/>
                        </a:moveTo>
                        <a:cubicBezTo>
                          <a:pt x="637" y="279"/>
                          <a:pt x="556" y="321"/>
                          <a:pt x="513" y="353"/>
                        </a:cubicBezTo>
                        <a:cubicBezTo>
                          <a:pt x="459" y="393"/>
                          <a:pt x="411" y="438"/>
                          <a:pt x="361" y="480"/>
                        </a:cubicBezTo>
                        <a:cubicBezTo>
                          <a:pt x="264" y="561"/>
                          <a:pt x="132" y="643"/>
                          <a:pt x="0" y="621"/>
                        </a:cubicBezTo>
                        <a:cubicBezTo>
                          <a:pt x="150" y="549"/>
                          <a:pt x="337" y="442"/>
                          <a:pt x="435" y="305"/>
                        </a:cubicBezTo>
                        <a:cubicBezTo>
                          <a:pt x="483" y="238"/>
                          <a:pt x="524" y="167"/>
                          <a:pt x="573" y="104"/>
                        </a:cubicBezTo>
                        <a:cubicBezTo>
                          <a:pt x="593" y="77"/>
                          <a:pt x="630" y="0"/>
                          <a:pt x="675" y="21"/>
                        </a:cubicBezTo>
                        <a:cubicBezTo>
                          <a:pt x="718" y="41"/>
                          <a:pt x="695" y="127"/>
                          <a:pt x="682" y="153"/>
                        </a:cubicBezTo>
                        <a:cubicBezTo>
                          <a:pt x="663" y="191"/>
                          <a:pt x="626" y="263"/>
                          <a:pt x="589" y="28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6" name="Freeform 283"/>
                  <p:cNvSpPr>
                    <a:spLocks/>
                  </p:cNvSpPr>
                  <p:nvPr/>
                </p:nvSpPr>
                <p:spPr bwMode="gray">
                  <a:xfrm>
                    <a:off x="-477838" y="16422688"/>
                    <a:ext cx="2482850" cy="3222625"/>
                  </a:xfrm>
                  <a:custGeom>
                    <a:avLst/>
                    <a:gdLst/>
                    <a:ahLst/>
                    <a:cxnLst>
                      <a:cxn ang="0">
                        <a:pos x="554" y="112"/>
                      </a:cxn>
                      <a:cxn ang="0">
                        <a:pos x="436" y="323"/>
                      </a:cxn>
                      <a:cxn ang="0">
                        <a:pos x="315" y="511"/>
                      </a:cxn>
                      <a:cxn ang="0">
                        <a:pos x="0" y="859"/>
                      </a:cxn>
                      <a:cxn ang="0">
                        <a:pos x="223" y="732"/>
                      </a:cxn>
                      <a:cxn ang="0">
                        <a:pos x="459" y="529"/>
                      </a:cxn>
                      <a:cxn ang="0">
                        <a:pos x="344" y="782"/>
                      </a:cxn>
                      <a:cxn ang="0">
                        <a:pos x="548" y="387"/>
                      </a:cxn>
                      <a:cxn ang="0">
                        <a:pos x="596" y="169"/>
                      </a:cxn>
                      <a:cxn ang="0">
                        <a:pos x="652" y="8"/>
                      </a:cxn>
                      <a:cxn ang="0">
                        <a:pos x="542" y="137"/>
                      </a:cxn>
                      <a:cxn ang="0">
                        <a:pos x="449" y="258"/>
                      </a:cxn>
                    </a:cxnLst>
                    <a:rect l="0" t="0" r="r" b="b"/>
                    <a:pathLst>
                      <a:path w="662" h="859">
                        <a:moveTo>
                          <a:pt x="554" y="112"/>
                        </a:moveTo>
                        <a:cubicBezTo>
                          <a:pt x="559" y="166"/>
                          <a:pt x="462" y="270"/>
                          <a:pt x="436" y="323"/>
                        </a:cubicBezTo>
                        <a:cubicBezTo>
                          <a:pt x="401" y="390"/>
                          <a:pt x="359" y="448"/>
                          <a:pt x="315" y="511"/>
                        </a:cubicBezTo>
                        <a:cubicBezTo>
                          <a:pt x="222" y="646"/>
                          <a:pt x="129" y="762"/>
                          <a:pt x="0" y="859"/>
                        </a:cubicBezTo>
                        <a:cubicBezTo>
                          <a:pt x="79" y="822"/>
                          <a:pt x="156" y="788"/>
                          <a:pt x="223" y="732"/>
                        </a:cubicBezTo>
                        <a:cubicBezTo>
                          <a:pt x="301" y="667"/>
                          <a:pt x="376" y="588"/>
                          <a:pt x="459" y="529"/>
                        </a:cubicBezTo>
                        <a:cubicBezTo>
                          <a:pt x="464" y="635"/>
                          <a:pt x="411" y="705"/>
                          <a:pt x="344" y="782"/>
                        </a:cubicBezTo>
                        <a:cubicBezTo>
                          <a:pt x="477" y="691"/>
                          <a:pt x="524" y="541"/>
                          <a:pt x="548" y="387"/>
                        </a:cubicBezTo>
                        <a:cubicBezTo>
                          <a:pt x="561" y="307"/>
                          <a:pt x="569" y="239"/>
                          <a:pt x="596" y="169"/>
                        </a:cubicBezTo>
                        <a:cubicBezTo>
                          <a:pt x="616" y="117"/>
                          <a:pt x="662" y="68"/>
                          <a:pt x="652" y="8"/>
                        </a:cubicBezTo>
                        <a:cubicBezTo>
                          <a:pt x="607" y="0"/>
                          <a:pt x="572" y="106"/>
                          <a:pt x="542" y="137"/>
                        </a:cubicBezTo>
                        <a:cubicBezTo>
                          <a:pt x="507" y="173"/>
                          <a:pt x="454" y="204"/>
                          <a:pt x="449" y="25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7" name="Freeform 284"/>
                  <p:cNvSpPr>
                    <a:spLocks/>
                  </p:cNvSpPr>
                  <p:nvPr/>
                </p:nvSpPr>
                <p:spPr bwMode="gray">
                  <a:xfrm>
                    <a:off x="1765300" y="14338301"/>
                    <a:ext cx="817563" cy="2287588"/>
                  </a:xfrm>
                  <a:custGeom>
                    <a:avLst/>
                    <a:gdLst/>
                    <a:ahLst/>
                    <a:cxnLst>
                      <a:cxn ang="0">
                        <a:pos x="99" y="1"/>
                      </a:cxn>
                      <a:cxn ang="0">
                        <a:pos x="61" y="160"/>
                      </a:cxn>
                      <a:cxn ang="0">
                        <a:pos x="40" y="273"/>
                      </a:cxn>
                      <a:cxn ang="0">
                        <a:pos x="23" y="348"/>
                      </a:cxn>
                      <a:cxn ang="0">
                        <a:pos x="7" y="447"/>
                      </a:cxn>
                      <a:cxn ang="0">
                        <a:pos x="79" y="361"/>
                      </a:cxn>
                      <a:cxn ang="0">
                        <a:pos x="56" y="501"/>
                      </a:cxn>
                      <a:cxn ang="0">
                        <a:pos x="48" y="556"/>
                      </a:cxn>
                      <a:cxn ang="0">
                        <a:pos x="58" y="610"/>
                      </a:cxn>
                      <a:cxn ang="0">
                        <a:pos x="109" y="467"/>
                      </a:cxn>
                      <a:cxn ang="0">
                        <a:pos x="109" y="594"/>
                      </a:cxn>
                      <a:cxn ang="0">
                        <a:pos x="147" y="493"/>
                      </a:cxn>
                      <a:cxn ang="0">
                        <a:pos x="155" y="570"/>
                      </a:cxn>
                      <a:cxn ang="0">
                        <a:pos x="211" y="327"/>
                      </a:cxn>
                      <a:cxn ang="0">
                        <a:pos x="206" y="178"/>
                      </a:cxn>
                      <a:cxn ang="0">
                        <a:pos x="208" y="124"/>
                      </a:cxn>
                      <a:cxn ang="0">
                        <a:pos x="201" y="89"/>
                      </a:cxn>
                      <a:cxn ang="0">
                        <a:pos x="191" y="35"/>
                      </a:cxn>
                      <a:cxn ang="0">
                        <a:pos x="100" y="1"/>
                      </a:cxn>
                    </a:cxnLst>
                    <a:rect l="0" t="0" r="r" b="b"/>
                    <a:pathLst>
                      <a:path w="218" h="610">
                        <a:moveTo>
                          <a:pt x="99" y="1"/>
                        </a:moveTo>
                        <a:cubicBezTo>
                          <a:pt x="91" y="55"/>
                          <a:pt x="75" y="107"/>
                          <a:pt x="61" y="160"/>
                        </a:cubicBezTo>
                        <a:cubicBezTo>
                          <a:pt x="51" y="197"/>
                          <a:pt x="46" y="235"/>
                          <a:pt x="40" y="273"/>
                        </a:cubicBezTo>
                        <a:cubicBezTo>
                          <a:pt x="36" y="298"/>
                          <a:pt x="27" y="323"/>
                          <a:pt x="23" y="348"/>
                        </a:cubicBezTo>
                        <a:cubicBezTo>
                          <a:pt x="21" y="356"/>
                          <a:pt x="0" y="440"/>
                          <a:pt x="7" y="447"/>
                        </a:cubicBezTo>
                        <a:cubicBezTo>
                          <a:pt x="37" y="449"/>
                          <a:pt x="71" y="360"/>
                          <a:pt x="79" y="361"/>
                        </a:cubicBezTo>
                        <a:cubicBezTo>
                          <a:pt x="83" y="379"/>
                          <a:pt x="59" y="484"/>
                          <a:pt x="56" y="501"/>
                        </a:cubicBezTo>
                        <a:cubicBezTo>
                          <a:pt x="53" y="519"/>
                          <a:pt x="50" y="538"/>
                          <a:pt x="48" y="556"/>
                        </a:cubicBezTo>
                        <a:cubicBezTo>
                          <a:pt x="46" y="571"/>
                          <a:pt x="36" y="609"/>
                          <a:pt x="58" y="610"/>
                        </a:cubicBezTo>
                        <a:cubicBezTo>
                          <a:pt x="69" y="610"/>
                          <a:pt x="101" y="480"/>
                          <a:pt x="109" y="467"/>
                        </a:cubicBezTo>
                        <a:cubicBezTo>
                          <a:pt x="115" y="476"/>
                          <a:pt x="96" y="592"/>
                          <a:pt x="109" y="594"/>
                        </a:cubicBezTo>
                        <a:cubicBezTo>
                          <a:pt x="130" y="596"/>
                          <a:pt x="143" y="502"/>
                          <a:pt x="147" y="493"/>
                        </a:cubicBezTo>
                        <a:cubicBezTo>
                          <a:pt x="147" y="495"/>
                          <a:pt x="141" y="559"/>
                          <a:pt x="155" y="570"/>
                        </a:cubicBezTo>
                        <a:cubicBezTo>
                          <a:pt x="172" y="569"/>
                          <a:pt x="218" y="396"/>
                          <a:pt x="211" y="327"/>
                        </a:cubicBezTo>
                        <a:cubicBezTo>
                          <a:pt x="205" y="276"/>
                          <a:pt x="204" y="228"/>
                          <a:pt x="206" y="178"/>
                        </a:cubicBezTo>
                        <a:cubicBezTo>
                          <a:pt x="207" y="161"/>
                          <a:pt x="209" y="142"/>
                          <a:pt x="208" y="124"/>
                        </a:cubicBezTo>
                        <a:cubicBezTo>
                          <a:pt x="207" y="112"/>
                          <a:pt x="202" y="101"/>
                          <a:pt x="201" y="89"/>
                        </a:cubicBezTo>
                        <a:cubicBezTo>
                          <a:pt x="199" y="74"/>
                          <a:pt x="200" y="49"/>
                          <a:pt x="191" y="35"/>
                        </a:cubicBezTo>
                        <a:cubicBezTo>
                          <a:pt x="173" y="9"/>
                          <a:pt x="130" y="0"/>
                          <a:pt x="100" y="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8" name="Freeform 285"/>
                  <p:cNvSpPr>
                    <a:spLocks/>
                  </p:cNvSpPr>
                  <p:nvPr/>
                </p:nvSpPr>
                <p:spPr bwMode="gray">
                  <a:xfrm>
                    <a:off x="-863600" y="6575426"/>
                    <a:ext cx="1585913" cy="2251075"/>
                  </a:xfrm>
                  <a:custGeom>
                    <a:avLst/>
                    <a:gdLst/>
                    <a:ahLst/>
                    <a:cxnLst>
                      <a:cxn ang="0">
                        <a:pos x="6" y="213"/>
                      </a:cxn>
                      <a:cxn ang="0">
                        <a:pos x="35" y="379"/>
                      </a:cxn>
                      <a:cxn ang="0">
                        <a:pos x="76" y="526"/>
                      </a:cxn>
                      <a:cxn ang="0">
                        <a:pos x="199" y="599"/>
                      </a:cxn>
                      <a:cxn ang="0">
                        <a:pos x="330" y="527"/>
                      </a:cxn>
                      <a:cxn ang="0">
                        <a:pos x="374" y="392"/>
                      </a:cxn>
                      <a:cxn ang="0">
                        <a:pos x="329" y="70"/>
                      </a:cxn>
                      <a:cxn ang="0">
                        <a:pos x="158" y="0"/>
                      </a:cxn>
                      <a:cxn ang="0">
                        <a:pos x="0" y="85"/>
                      </a:cxn>
                    </a:cxnLst>
                    <a:rect l="0" t="0" r="r" b="b"/>
                    <a:pathLst>
                      <a:path w="423" h="600">
                        <a:moveTo>
                          <a:pt x="6" y="213"/>
                        </a:moveTo>
                        <a:cubicBezTo>
                          <a:pt x="0" y="277"/>
                          <a:pt x="15" y="323"/>
                          <a:pt x="35" y="379"/>
                        </a:cubicBezTo>
                        <a:cubicBezTo>
                          <a:pt x="53" y="428"/>
                          <a:pt x="42" y="480"/>
                          <a:pt x="76" y="526"/>
                        </a:cubicBezTo>
                        <a:cubicBezTo>
                          <a:pt x="102" y="561"/>
                          <a:pt x="152" y="597"/>
                          <a:pt x="199" y="599"/>
                        </a:cubicBezTo>
                        <a:cubicBezTo>
                          <a:pt x="244" y="600"/>
                          <a:pt x="305" y="565"/>
                          <a:pt x="330" y="527"/>
                        </a:cubicBezTo>
                        <a:cubicBezTo>
                          <a:pt x="356" y="487"/>
                          <a:pt x="352" y="434"/>
                          <a:pt x="374" y="392"/>
                        </a:cubicBezTo>
                        <a:cubicBezTo>
                          <a:pt x="423" y="295"/>
                          <a:pt x="402" y="146"/>
                          <a:pt x="329" y="70"/>
                        </a:cubicBezTo>
                        <a:cubicBezTo>
                          <a:pt x="281" y="20"/>
                          <a:pt x="227" y="0"/>
                          <a:pt x="158" y="0"/>
                        </a:cubicBezTo>
                        <a:cubicBezTo>
                          <a:pt x="115" y="0"/>
                          <a:pt x="3" y="73"/>
                          <a:pt x="0" y="8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99" name="Freeform 286"/>
                  <p:cNvSpPr>
                    <a:spLocks/>
                  </p:cNvSpPr>
                  <p:nvPr/>
                </p:nvSpPr>
                <p:spPr bwMode="gray">
                  <a:xfrm>
                    <a:off x="-971550" y="5983288"/>
                    <a:ext cx="1795463" cy="2549525"/>
                  </a:xfrm>
                  <a:custGeom>
                    <a:avLst/>
                    <a:gdLst/>
                    <a:ahLst/>
                    <a:cxnLst>
                      <a:cxn ang="0">
                        <a:pos x="7" y="242"/>
                      </a:cxn>
                      <a:cxn ang="0">
                        <a:pos x="39" y="429"/>
                      </a:cxn>
                      <a:cxn ang="0">
                        <a:pos x="86" y="596"/>
                      </a:cxn>
                      <a:cxn ang="0">
                        <a:pos x="225" y="678"/>
                      </a:cxn>
                      <a:cxn ang="0">
                        <a:pos x="373" y="597"/>
                      </a:cxn>
                      <a:cxn ang="0">
                        <a:pos x="423" y="444"/>
                      </a:cxn>
                      <a:cxn ang="0">
                        <a:pos x="372" y="79"/>
                      </a:cxn>
                      <a:cxn ang="0">
                        <a:pos x="178" y="0"/>
                      </a:cxn>
                      <a:cxn ang="0">
                        <a:pos x="0" y="97"/>
                      </a:cxn>
                    </a:cxnLst>
                    <a:rect l="0" t="0" r="r" b="b"/>
                    <a:pathLst>
                      <a:path w="479" h="680">
                        <a:moveTo>
                          <a:pt x="7" y="242"/>
                        </a:moveTo>
                        <a:cubicBezTo>
                          <a:pt x="0" y="314"/>
                          <a:pt x="16" y="366"/>
                          <a:pt x="39" y="429"/>
                        </a:cubicBezTo>
                        <a:cubicBezTo>
                          <a:pt x="59" y="485"/>
                          <a:pt x="47" y="544"/>
                          <a:pt x="86" y="596"/>
                        </a:cubicBezTo>
                        <a:cubicBezTo>
                          <a:pt x="115" y="635"/>
                          <a:pt x="172" y="677"/>
                          <a:pt x="225" y="678"/>
                        </a:cubicBezTo>
                        <a:cubicBezTo>
                          <a:pt x="276" y="680"/>
                          <a:pt x="346" y="640"/>
                          <a:pt x="373" y="597"/>
                        </a:cubicBezTo>
                        <a:cubicBezTo>
                          <a:pt x="403" y="552"/>
                          <a:pt x="398" y="492"/>
                          <a:pt x="423" y="444"/>
                        </a:cubicBezTo>
                        <a:cubicBezTo>
                          <a:pt x="479" y="334"/>
                          <a:pt x="455" y="166"/>
                          <a:pt x="372" y="79"/>
                        </a:cubicBezTo>
                        <a:cubicBezTo>
                          <a:pt x="318" y="23"/>
                          <a:pt x="257" y="0"/>
                          <a:pt x="178" y="0"/>
                        </a:cubicBezTo>
                        <a:cubicBezTo>
                          <a:pt x="130" y="0"/>
                          <a:pt x="3" y="83"/>
                          <a:pt x="0" y="9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0" name="Freeform 287"/>
                  <p:cNvSpPr>
                    <a:spLocks/>
                  </p:cNvSpPr>
                  <p:nvPr/>
                </p:nvSpPr>
                <p:spPr bwMode="gray">
                  <a:xfrm>
                    <a:off x="-117475" y="11623676"/>
                    <a:ext cx="1038225" cy="2324100"/>
                  </a:xfrm>
                  <a:custGeom>
                    <a:avLst/>
                    <a:gdLst/>
                    <a:ahLst/>
                    <a:cxnLst>
                      <a:cxn ang="0">
                        <a:pos x="200" y="59"/>
                      </a:cxn>
                      <a:cxn ang="0">
                        <a:pos x="101" y="65"/>
                      </a:cxn>
                      <a:cxn ang="0">
                        <a:pos x="38" y="19"/>
                      </a:cxn>
                      <a:cxn ang="0">
                        <a:pos x="61" y="201"/>
                      </a:cxn>
                      <a:cxn ang="0">
                        <a:pos x="95" y="293"/>
                      </a:cxn>
                      <a:cxn ang="0">
                        <a:pos x="54" y="404"/>
                      </a:cxn>
                      <a:cxn ang="0">
                        <a:pos x="78" y="522"/>
                      </a:cxn>
                      <a:cxn ang="0">
                        <a:pos x="176" y="615"/>
                      </a:cxn>
                      <a:cxn ang="0">
                        <a:pos x="253" y="464"/>
                      </a:cxn>
                      <a:cxn ang="0">
                        <a:pos x="276" y="286"/>
                      </a:cxn>
                      <a:cxn ang="0">
                        <a:pos x="203" y="78"/>
                      </a:cxn>
                      <a:cxn ang="0">
                        <a:pos x="85" y="57"/>
                      </a:cxn>
                      <a:cxn ang="0">
                        <a:pos x="25" y="48"/>
                      </a:cxn>
                    </a:cxnLst>
                    <a:rect l="0" t="0" r="r" b="b"/>
                    <a:pathLst>
                      <a:path w="277" h="620">
                        <a:moveTo>
                          <a:pt x="200" y="59"/>
                        </a:moveTo>
                        <a:cubicBezTo>
                          <a:pt x="175" y="76"/>
                          <a:pt x="127" y="78"/>
                          <a:pt x="101" y="65"/>
                        </a:cubicBezTo>
                        <a:cubicBezTo>
                          <a:pt x="75" y="52"/>
                          <a:pt x="68" y="17"/>
                          <a:pt x="38" y="19"/>
                        </a:cubicBezTo>
                        <a:cubicBezTo>
                          <a:pt x="26" y="65"/>
                          <a:pt x="135" y="171"/>
                          <a:pt x="61" y="201"/>
                        </a:cubicBezTo>
                        <a:cubicBezTo>
                          <a:pt x="46" y="250"/>
                          <a:pt x="96" y="253"/>
                          <a:pt x="95" y="293"/>
                        </a:cubicBezTo>
                        <a:cubicBezTo>
                          <a:pt x="95" y="334"/>
                          <a:pt x="49" y="349"/>
                          <a:pt x="54" y="404"/>
                        </a:cubicBezTo>
                        <a:cubicBezTo>
                          <a:pt x="57" y="438"/>
                          <a:pt x="68" y="488"/>
                          <a:pt x="78" y="522"/>
                        </a:cubicBezTo>
                        <a:cubicBezTo>
                          <a:pt x="89" y="562"/>
                          <a:pt x="124" y="620"/>
                          <a:pt x="176" y="615"/>
                        </a:cubicBezTo>
                        <a:cubicBezTo>
                          <a:pt x="249" y="607"/>
                          <a:pt x="253" y="521"/>
                          <a:pt x="253" y="464"/>
                        </a:cubicBezTo>
                        <a:cubicBezTo>
                          <a:pt x="253" y="398"/>
                          <a:pt x="276" y="352"/>
                          <a:pt x="276" y="286"/>
                        </a:cubicBezTo>
                        <a:cubicBezTo>
                          <a:pt x="276" y="197"/>
                          <a:pt x="277" y="138"/>
                          <a:pt x="203" y="78"/>
                        </a:cubicBezTo>
                        <a:cubicBezTo>
                          <a:pt x="173" y="54"/>
                          <a:pt x="115" y="6"/>
                          <a:pt x="85" y="57"/>
                        </a:cubicBezTo>
                        <a:cubicBezTo>
                          <a:pt x="70" y="18"/>
                          <a:pt x="0" y="0"/>
                          <a:pt x="25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1" name="Freeform 288"/>
                  <p:cNvSpPr>
                    <a:spLocks/>
                  </p:cNvSpPr>
                  <p:nvPr/>
                </p:nvSpPr>
                <p:spPr bwMode="gray">
                  <a:xfrm>
                    <a:off x="-219075" y="10855326"/>
                    <a:ext cx="657225" cy="704850"/>
                  </a:xfrm>
                  <a:custGeom>
                    <a:avLst/>
                    <a:gdLst/>
                    <a:ahLst/>
                    <a:cxnLst>
                      <a:cxn ang="0">
                        <a:pos x="157" y="183"/>
                      </a:cxn>
                      <a:cxn ang="0">
                        <a:pos x="75" y="20"/>
                      </a:cxn>
                      <a:cxn ang="0">
                        <a:pos x="87" y="118"/>
                      </a:cxn>
                      <a:cxn ang="0">
                        <a:pos x="175" y="188"/>
                      </a:cxn>
                    </a:cxnLst>
                    <a:rect l="0" t="0" r="r" b="b"/>
                    <a:pathLst>
                      <a:path w="175" h="188">
                        <a:moveTo>
                          <a:pt x="157" y="183"/>
                        </a:moveTo>
                        <a:cubicBezTo>
                          <a:pt x="117" y="174"/>
                          <a:pt x="0" y="57"/>
                          <a:pt x="75" y="20"/>
                        </a:cubicBezTo>
                        <a:cubicBezTo>
                          <a:pt x="116" y="0"/>
                          <a:pt x="82" y="106"/>
                          <a:pt x="87" y="118"/>
                        </a:cubicBezTo>
                        <a:cubicBezTo>
                          <a:pt x="99" y="149"/>
                          <a:pt x="147" y="167"/>
                          <a:pt x="175" y="18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2" name="Freeform 289"/>
                  <p:cNvSpPr>
                    <a:spLocks/>
                  </p:cNvSpPr>
                  <p:nvPr/>
                </p:nvSpPr>
                <p:spPr bwMode="gray">
                  <a:xfrm>
                    <a:off x="-1287463" y="11717338"/>
                    <a:ext cx="1196975" cy="3367088"/>
                  </a:xfrm>
                  <a:custGeom>
                    <a:avLst/>
                    <a:gdLst/>
                    <a:ahLst/>
                    <a:cxnLst>
                      <a:cxn ang="0">
                        <a:pos x="127" y="122"/>
                      </a:cxn>
                      <a:cxn ang="0">
                        <a:pos x="144" y="227"/>
                      </a:cxn>
                      <a:cxn ang="0">
                        <a:pos x="198" y="308"/>
                      </a:cxn>
                      <a:cxn ang="0">
                        <a:pos x="319" y="472"/>
                      </a:cxn>
                      <a:cxn ang="0">
                        <a:pos x="157" y="339"/>
                      </a:cxn>
                      <a:cxn ang="0">
                        <a:pos x="169" y="594"/>
                      </a:cxn>
                      <a:cxn ang="0">
                        <a:pos x="238" y="695"/>
                      </a:cxn>
                      <a:cxn ang="0">
                        <a:pos x="259" y="829"/>
                      </a:cxn>
                      <a:cxn ang="0">
                        <a:pos x="74" y="397"/>
                      </a:cxn>
                      <a:cxn ang="0">
                        <a:pos x="4" y="128"/>
                      </a:cxn>
                      <a:cxn ang="0">
                        <a:pos x="161" y="35"/>
                      </a:cxn>
                      <a:cxn ang="0">
                        <a:pos x="92" y="134"/>
                      </a:cxn>
                      <a:cxn ang="0">
                        <a:pos x="156" y="210"/>
                      </a:cxn>
                    </a:cxnLst>
                    <a:rect l="0" t="0" r="r" b="b"/>
                    <a:pathLst>
                      <a:path w="319" h="898">
                        <a:moveTo>
                          <a:pt x="127" y="122"/>
                        </a:moveTo>
                        <a:cubicBezTo>
                          <a:pt x="148" y="154"/>
                          <a:pt x="133" y="189"/>
                          <a:pt x="144" y="227"/>
                        </a:cubicBezTo>
                        <a:cubicBezTo>
                          <a:pt x="152" y="254"/>
                          <a:pt x="181" y="284"/>
                          <a:pt x="198" y="308"/>
                        </a:cubicBezTo>
                        <a:cubicBezTo>
                          <a:pt x="238" y="364"/>
                          <a:pt x="288" y="410"/>
                          <a:pt x="319" y="472"/>
                        </a:cubicBezTo>
                        <a:cubicBezTo>
                          <a:pt x="273" y="430"/>
                          <a:pt x="238" y="326"/>
                          <a:pt x="157" y="339"/>
                        </a:cubicBezTo>
                        <a:cubicBezTo>
                          <a:pt x="137" y="420"/>
                          <a:pt x="112" y="529"/>
                          <a:pt x="169" y="594"/>
                        </a:cubicBezTo>
                        <a:cubicBezTo>
                          <a:pt x="198" y="626"/>
                          <a:pt x="227" y="651"/>
                          <a:pt x="238" y="695"/>
                        </a:cubicBezTo>
                        <a:cubicBezTo>
                          <a:pt x="249" y="737"/>
                          <a:pt x="209" y="810"/>
                          <a:pt x="259" y="829"/>
                        </a:cubicBezTo>
                        <a:cubicBezTo>
                          <a:pt x="43" y="898"/>
                          <a:pt x="109" y="499"/>
                          <a:pt x="74" y="397"/>
                        </a:cubicBezTo>
                        <a:cubicBezTo>
                          <a:pt x="43" y="305"/>
                          <a:pt x="0" y="232"/>
                          <a:pt x="4" y="128"/>
                        </a:cubicBezTo>
                        <a:cubicBezTo>
                          <a:pt x="9" y="0"/>
                          <a:pt x="83" y="57"/>
                          <a:pt x="161" y="35"/>
                        </a:cubicBezTo>
                        <a:cubicBezTo>
                          <a:pt x="179" y="98"/>
                          <a:pt x="85" y="76"/>
                          <a:pt x="92" y="134"/>
                        </a:cubicBezTo>
                        <a:cubicBezTo>
                          <a:pt x="93" y="151"/>
                          <a:pt x="147" y="202"/>
                          <a:pt x="156" y="21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3" name="Freeform 290"/>
                  <p:cNvSpPr>
                    <a:spLocks/>
                  </p:cNvSpPr>
                  <p:nvPr/>
                </p:nvSpPr>
                <p:spPr bwMode="gray">
                  <a:xfrm>
                    <a:off x="193675" y="8870951"/>
                    <a:ext cx="919163" cy="884238"/>
                  </a:xfrm>
                  <a:custGeom>
                    <a:avLst/>
                    <a:gdLst/>
                    <a:ahLst/>
                    <a:cxnLst>
                      <a:cxn ang="0">
                        <a:pos x="123" y="39"/>
                      </a:cxn>
                      <a:cxn ang="0">
                        <a:pos x="6" y="236"/>
                      </a:cxn>
                      <a:cxn ang="0">
                        <a:pos x="166" y="139"/>
                      </a:cxn>
                      <a:cxn ang="0">
                        <a:pos x="77" y="69"/>
                      </a:cxn>
                    </a:cxnLst>
                    <a:rect l="0" t="0" r="r" b="b"/>
                    <a:pathLst>
                      <a:path w="245" h="236">
                        <a:moveTo>
                          <a:pt x="123" y="39"/>
                        </a:moveTo>
                        <a:cubicBezTo>
                          <a:pt x="55" y="75"/>
                          <a:pt x="0" y="158"/>
                          <a:pt x="6" y="236"/>
                        </a:cubicBezTo>
                        <a:cubicBezTo>
                          <a:pt x="33" y="141"/>
                          <a:pt x="109" y="197"/>
                          <a:pt x="166" y="139"/>
                        </a:cubicBezTo>
                        <a:cubicBezTo>
                          <a:pt x="245" y="58"/>
                          <a:pt x="100" y="0"/>
                          <a:pt x="77" y="6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4" name="Freeform 291"/>
                  <p:cNvSpPr>
                    <a:spLocks/>
                  </p:cNvSpPr>
                  <p:nvPr/>
                </p:nvSpPr>
                <p:spPr bwMode="gray">
                  <a:xfrm>
                    <a:off x="1919287" y="14533563"/>
                    <a:ext cx="655638" cy="809625"/>
                  </a:xfrm>
                  <a:custGeom>
                    <a:avLst/>
                    <a:gdLst/>
                    <a:ahLst/>
                    <a:cxnLst>
                      <a:cxn ang="0">
                        <a:pos x="172" y="35"/>
                      </a:cxn>
                      <a:cxn ang="0">
                        <a:pos x="143" y="88"/>
                      </a:cxn>
                      <a:cxn ang="0">
                        <a:pos x="87" y="125"/>
                      </a:cxn>
                      <a:cxn ang="0">
                        <a:pos x="43" y="172"/>
                      </a:cxn>
                      <a:cxn ang="0">
                        <a:pos x="1" y="216"/>
                      </a:cxn>
                      <a:cxn ang="0">
                        <a:pos x="9" y="154"/>
                      </a:cxn>
                      <a:cxn ang="0">
                        <a:pos x="39" y="100"/>
                      </a:cxn>
                      <a:cxn ang="0">
                        <a:pos x="55" y="65"/>
                      </a:cxn>
                      <a:cxn ang="0">
                        <a:pos x="119" y="20"/>
                      </a:cxn>
                      <a:cxn ang="0">
                        <a:pos x="158" y="13"/>
                      </a:cxn>
                      <a:cxn ang="0">
                        <a:pos x="175" y="33"/>
                      </a:cxn>
                      <a:cxn ang="0">
                        <a:pos x="169" y="33"/>
                      </a:cxn>
                    </a:cxnLst>
                    <a:rect l="0" t="0" r="r" b="b"/>
                    <a:pathLst>
                      <a:path w="175" h="216">
                        <a:moveTo>
                          <a:pt x="172" y="35"/>
                        </a:moveTo>
                        <a:cubicBezTo>
                          <a:pt x="174" y="49"/>
                          <a:pt x="152" y="77"/>
                          <a:pt x="143" y="88"/>
                        </a:cubicBezTo>
                        <a:cubicBezTo>
                          <a:pt x="128" y="106"/>
                          <a:pt x="103" y="110"/>
                          <a:pt x="87" y="125"/>
                        </a:cubicBezTo>
                        <a:cubicBezTo>
                          <a:pt x="70" y="141"/>
                          <a:pt x="57" y="153"/>
                          <a:pt x="43" y="172"/>
                        </a:cubicBezTo>
                        <a:cubicBezTo>
                          <a:pt x="30" y="188"/>
                          <a:pt x="19" y="207"/>
                          <a:pt x="1" y="216"/>
                        </a:cubicBezTo>
                        <a:cubicBezTo>
                          <a:pt x="0" y="196"/>
                          <a:pt x="6" y="174"/>
                          <a:pt x="9" y="154"/>
                        </a:cubicBezTo>
                        <a:cubicBezTo>
                          <a:pt x="12" y="132"/>
                          <a:pt x="30" y="120"/>
                          <a:pt x="39" y="100"/>
                        </a:cubicBezTo>
                        <a:cubicBezTo>
                          <a:pt x="45" y="88"/>
                          <a:pt x="48" y="76"/>
                          <a:pt x="55" y="65"/>
                        </a:cubicBezTo>
                        <a:cubicBezTo>
                          <a:pt x="71" y="41"/>
                          <a:pt x="95" y="34"/>
                          <a:pt x="119" y="20"/>
                        </a:cubicBezTo>
                        <a:cubicBezTo>
                          <a:pt x="135" y="10"/>
                          <a:pt x="141" y="0"/>
                          <a:pt x="158" y="13"/>
                        </a:cubicBezTo>
                        <a:cubicBezTo>
                          <a:pt x="164" y="18"/>
                          <a:pt x="168" y="29"/>
                          <a:pt x="175" y="33"/>
                        </a:cubicBezTo>
                        <a:cubicBezTo>
                          <a:pt x="173" y="33"/>
                          <a:pt x="171" y="33"/>
                          <a:pt x="169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5" name="Freeform 292"/>
                  <p:cNvSpPr>
                    <a:spLocks/>
                  </p:cNvSpPr>
                  <p:nvPr/>
                </p:nvSpPr>
                <p:spPr bwMode="gray">
                  <a:xfrm>
                    <a:off x="-4095750" y="8386763"/>
                    <a:ext cx="6791325" cy="7204075"/>
                  </a:xfrm>
                  <a:custGeom>
                    <a:avLst/>
                    <a:gdLst/>
                    <a:ahLst/>
                    <a:cxnLst>
                      <a:cxn ang="0">
                        <a:pos x="1156" y="1557"/>
                      </a:cxn>
                      <a:cxn ang="0">
                        <a:pos x="1157" y="1117"/>
                      </a:cxn>
                      <a:cxn ang="0">
                        <a:pos x="1207" y="345"/>
                      </a:cxn>
                      <a:cxn ang="0">
                        <a:pos x="1346" y="124"/>
                      </a:cxn>
                      <a:cxn ang="0">
                        <a:pos x="1642" y="268"/>
                      </a:cxn>
                      <a:cxn ang="0">
                        <a:pos x="1689" y="578"/>
                      </a:cxn>
                      <a:cxn ang="0">
                        <a:pos x="1731" y="1101"/>
                      </a:cxn>
                      <a:cxn ang="0">
                        <a:pos x="1767" y="1289"/>
                      </a:cxn>
                      <a:cxn ang="0">
                        <a:pos x="1788" y="1685"/>
                      </a:cxn>
                      <a:cxn ang="0">
                        <a:pos x="1359" y="1806"/>
                      </a:cxn>
                      <a:cxn ang="0">
                        <a:pos x="993" y="1908"/>
                      </a:cxn>
                      <a:cxn ang="0">
                        <a:pos x="575" y="1568"/>
                      </a:cxn>
                      <a:cxn ang="0">
                        <a:pos x="611" y="1378"/>
                      </a:cxn>
                      <a:cxn ang="0">
                        <a:pos x="603" y="1284"/>
                      </a:cxn>
                      <a:cxn ang="0">
                        <a:pos x="618" y="1144"/>
                      </a:cxn>
                      <a:cxn ang="0">
                        <a:pos x="559" y="922"/>
                      </a:cxn>
                      <a:cxn ang="0">
                        <a:pos x="493" y="703"/>
                      </a:cxn>
                      <a:cxn ang="0">
                        <a:pos x="412" y="759"/>
                      </a:cxn>
                      <a:cxn ang="0">
                        <a:pos x="330" y="915"/>
                      </a:cxn>
                      <a:cxn ang="0">
                        <a:pos x="345" y="1062"/>
                      </a:cxn>
                      <a:cxn ang="0">
                        <a:pos x="472" y="1291"/>
                      </a:cxn>
                      <a:cxn ang="0">
                        <a:pos x="571" y="1381"/>
                      </a:cxn>
                      <a:cxn ang="0">
                        <a:pos x="487" y="1410"/>
                      </a:cxn>
                      <a:cxn ang="0">
                        <a:pos x="480" y="1558"/>
                      </a:cxn>
                      <a:cxn ang="0">
                        <a:pos x="282" y="1383"/>
                      </a:cxn>
                      <a:cxn ang="0">
                        <a:pos x="143" y="1207"/>
                      </a:cxn>
                      <a:cxn ang="0">
                        <a:pos x="79" y="1097"/>
                      </a:cxn>
                      <a:cxn ang="0">
                        <a:pos x="100" y="755"/>
                      </a:cxn>
                      <a:cxn ang="0">
                        <a:pos x="276" y="475"/>
                      </a:cxn>
                      <a:cxn ang="0">
                        <a:pos x="384" y="353"/>
                      </a:cxn>
                      <a:cxn ang="0">
                        <a:pos x="477" y="185"/>
                      </a:cxn>
                      <a:cxn ang="0">
                        <a:pos x="741" y="87"/>
                      </a:cxn>
                      <a:cxn ang="0">
                        <a:pos x="851" y="189"/>
                      </a:cxn>
                      <a:cxn ang="0">
                        <a:pos x="817" y="548"/>
                      </a:cxn>
                      <a:cxn ang="0">
                        <a:pos x="848" y="856"/>
                      </a:cxn>
                      <a:cxn ang="0">
                        <a:pos x="898" y="1421"/>
                      </a:cxn>
                      <a:cxn ang="0">
                        <a:pos x="993" y="1908"/>
                      </a:cxn>
                    </a:cxnLst>
                    <a:rect l="0" t="0" r="r" b="b"/>
                    <a:pathLst>
                      <a:path w="1811" h="1921">
                        <a:moveTo>
                          <a:pt x="1143" y="1908"/>
                        </a:moveTo>
                        <a:cubicBezTo>
                          <a:pt x="1187" y="1827"/>
                          <a:pt x="1155" y="1642"/>
                          <a:pt x="1156" y="1557"/>
                        </a:cubicBezTo>
                        <a:cubicBezTo>
                          <a:pt x="1156" y="1504"/>
                          <a:pt x="1169" y="1457"/>
                          <a:pt x="1171" y="1405"/>
                        </a:cubicBezTo>
                        <a:cubicBezTo>
                          <a:pt x="1176" y="1314"/>
                          <a:pt x="1164" y="1210"/>
                          <a:pt x="1157" y="1117"/>
                        </a:cubicBezTo>
                        <a:cubicBezTo>
                          <a:pt x="1144" y="955"/>
                          <a:pt x="1127" y="801"/>
                          <a:pt x="1151" y="642"/>
                        </a:cubicBezTo>
                        <a:cubicBezTo>
                          <a:pt x="1166" y="540"/>
                          <a:pt x="1176" y="444"/>
                          <a:pt x="1207" y="345"/>
                        </a:cubicBezTo>
                        <a:cubicBezTo>
                          <a:pt x="1231" y="269"/>
                          <a:pt x="1215" y="188"/>
                          <a:pt x="1232" y="111"/>
                        </a:cubicBezTo>
                        <a:cubicBezTo>
                          <a:pt x="1251" y="26"/>
                          <a:pt x="1303" y="94"/>
                          <a:pt x="1346" y="124"/>
                        </a:cubicBezTo>
                        <a:cubicBezTo>
                          <a:pt x="1380" y="148"/>
                          <a:pt x="1405" y="164"/>
                          <a:pt x="1444" y="185"/>
                        </a:cubicBezTo>
                        <a:cubicBezTo>
                          <a:pt x="1510" y="219"/>
                          <a:pt x="1571" y="248"/>
                          <a:pt x="1642" y="268"/>
                        </a:cubicBezTo>
                        <a:cubicBezTo>
                          <a:pt x="1655" y="321"/>
                          <a:pt x="1645" y="379"/>
                          <a:pt x="1667" y="430"/>
                        </a:cubicBezTo>
                        <a:cubicBezTo>
                          <a:pt x="1689" y="480"/>
                          <a:pt x="1686" y="520"/>
                          <a:pt x="1689" y="578"/>
                        </a:cubicBezTo>
                        <a:cubicBezTo>
                          <a:pt x="1693" y="635"/>
                          <a:pt x="1709" y="688"/>
                          <a:pt x="1709" y="749"/>
                        </a:cubicBezTo>
                        <a:cubicBezTo>
                          <a:pt x="1709" y="805"/>
                          <a:pt x="1723" y="1043"/>
                          <a:pt x="1731" y="1101"/>
                        </a:cubicBezTo>
                        <a:cubicBezTo>
                          <a:pt x="1735" y="1130"/>
                          <a:pt x="1723" y="1157"/>
                          <a:pt x="1737" y="1184"/>
                        </a:cubicBezTo>
                        <a:cubicBezTo>
                          <a:pt x="1755" y="1221"/>
                          <a:pt x="1763" y="1248"/>
                          <a:pt x="1767" y="1289"/>
                        </a:cubicBezTo>
                        <a:cubicBezTo>
                          <a:pt x="1773" y="1343"/>
                          <a:pt x="1758" y="1392"/>
                          <a:pt x="1780" y="1443"/>
                        </a:cubicBezTo>
                        <a:cubicBezTo>
                          <a:pt x="1811" y="1510"/>
                          <a:pt x="1788" y="1606"/>
                          <a:pt x="1788" y="1685"/>
                        </a:cubicBezTo>
                        <a:cubicBezTo>
                          <a:pt x="1788" y="1712"/>
                          <a:pt x="1603" y="1756"/>
                          <a:pt x="1605" y="1823"/>
                        </a:cubicBezTo>
                        <a:cubicBezTo>
                          <a:pt x="1457" y="1829"/>
                          <a:pt x="1505" y="1792"/>
                          <a:pt x="1359" y="1806"/>
                        </a:cubicBezTo>
                        <a:cubicBezTo>
                          <a:pt x="1319" y="1810"/>
                          <a:pt x="1240" y="1879"/>
                          <a:pt x="1143" y="1908"/>
                        </a:cubicBezTo>
                        <a:cubicBezTo>
                          <a:pt x="1097" y="1921"/>
                          <a:pt x="1043" y="1908"/>
                          <a:pt x="993" y="1908"/>
                        </a:cubicBezTo>
                        <a:cubicBezTo>
                          <a:pt x="820" y="1907"/>
                          <a:pt x="643" y="1809"/>
                          <a:pt x="572" y="1806"/>
                        </a:cubicBezTo>
                        <a:cubicBezTo>
                          <a:pt x="567" y="1725"/>
                          <a:pt x="575" y="1645"/>
                          <a:pt x="575" y="1568"/>
                        </a:cubicBezTo>
                        <a:cubicBezTo>
                          <a:pt x="575" y="1529"/>
                          <a:pt x="555" y="1500"/>
                          <a:pt x="559" y="1460"/>
                        </a:cubicBezTo>
                        <a:cubicBezTo>
                          <a:pt x="564" y="1421"/>
                          <a:pt x="591" y="1408"/>
                          <a:pt x="611" y="1378"/>
                        </a:cubicBezTo>
                        <a:cubicBezTo>
                          <a:pt x="620" y="1364"/>
                          <a:pt x="650" y="1313"/>
                          <a:pt x="641" y="1297"/>
                        </a:cubicBezTo>
                        <a:cubicBezTo>
                          <a:pt x="631" y="1281"/>
                          <a:pt x="612" y="1296"/>
                          <a:pt x="603" y="1284"/>
                        </a:cubicBezTo>
                        <a:cubicBezTo>
                          <a:pt x="597" y="1275"/>
                          <a:pt x="602" y="1244"/>
                          <a:pt x="602" y="1234"/>
                        </a:cubicBezTo>
                        <a:cubicBezTo>
                          <a:pt x="604" y="1202"/>
                          <a:pt x="620" y="1177"/>
                          <a:pt x="618" y="1144"/>
                        </a:cubicBezTo>
                        <a:cubicBezTo>
                          <a:pt x="615" y="1108"/>
                          <a:pt x="597" y="1065"/>
                          <a:pt x="586" y="1031"/>
                        </a:cubicBezTo>
                        <a:cubicBezTo>
                          <a:pt x="575" y="996"/>
                          <a:pt x="561" y="963"/>
                          <a:pt x="559" y="922"/>
                        </a:cubicBezTo>
                        <a:cubicBezTo>
                          <a:pt x="557" y="867"/>
                          <a:pt x="557" y="827"/>
                          <a:pt x="539" y="775"/>
                        </a:cubicBezTo>
                        <a:cubicBezTo>
                          <a:pt x="533" y="757"/>
                          <a:pt x="522" y="701"/>
                          <a:pt x="493" y="703"/>
                        </a:cubicBezTo>
                        <a:cubicBezTo>
                          <a:pt x="480" y="704"/>
                          <a:pt x="468" y="733"/>
                          <a:pt x="459" y="740"/>
                        </a:cubicBezTo>
                        <a:cubicBezTo>
                          <a:pt x="446" y="749"/>
                          <a:pt x="427" y="752"/>
                          <a:pt x="412" y="759"/>
                        </a:cubicBezTo>
                        <a:cubicBezTo>
                          <a:pt x="409" y="783"/>
                          <a:pt x="385" y="811"/>
                          <a:pt x="369" y="832"/>
                        </a:cubicBezTo>
                        <a:cubicBezTo>
                          <a:pt x="349" y="860"/>
                          <a:pt x="347" y="887"/>
                          <a:pt x="330" y="915"/>
                        </a:cubicBezTo>
                        <a:cubicBezTo>
                          <a:pt x="314" y="943"/>
                          <a:pt x="284" y="944"/>
                          <a:pt x="297" y="985"/>
                        </a:cubicBezTo>
                        <a:cubicBezTo>
                          <a:pt x="306" y="1013"/>
                          <a:pt x="331" y="1037"/>
                          <a:pt x="345" y="1062"/>
                        </a:cubicBezTo>
                        <a:cubicBezTo>
                          <a:pt x="376" y="1117"/>
                          <a:pt x="387" y="1181"/>
                          <a:pt x="426" y="1230"/>
                        </a:cubicBezTo>
                        <a:cubicBezTo>
                          <a:pt x="442" y="1250"/>
                          <a:pt x="454" y="1272"/>
                          <a:pt x="472" y="1291"/>
                        </a:cubicBezTo>
                        <a:cubicBezTo>
                          <a:pt x="492" y="1314"/>
                          <a:pt x="514" y="1324"/>
                          <a:pt x="537" y="1347"/>
                        </a:cubicBezTo>
                        <a:cubicBezTo>
                          <a:pt x="548" y="1358"/>
                          <a:pt x="562" y="1368"/>
                          <a:pt x="571" y="1381"/>
                        </a:cubicBezTo>
                        <a:cubicBezTo>
                          <a:pt x="546" y="1382"/>
                          <a:pt x="522" y="1371"/>
                          <a:pt x="500" y="1385"/>
                        </a:cubicBezTo>
                        <a:cubicBezTo>
                          <a:pt x="496" y="1387"/>
                          <a:pt x="490" y="1406"/>
                          <a:pt x="487" y="1410"/>
                        </a:cubicBezTo>
                        <a:cubicBezTo>
                          <a:pt x="478" y="1420"/>
                          <a:pt x="460" y="1431"/>
                          <a:pt x="455" y="1445"/>
                        </a:cubicBezTo>
                        <a:cubicBezTo>
                          <a:pt x="445" y="1471"/>
                          <a:pt x="445" y="1555"/>
                          <a:pt x="480" y="1558"/>
                        </a:cubicBezTo>
                        <a:cubicBezTo>
                          <a:pt x="413" y="1576"/>
                          <a:pt x="366" y="1524"/>
                          <a:pt x="330" y="1475"/>
                        </a:cubicBezTo>
                        <a:cubicBezTo>
                          <a:pt x="308" y="1444"/>
                          <a:pt x="298" y="1414"/>
                          <a:pt x="282" y="1383"/>
                        </a:cubicBezTo>
                        <a:cubicBezTo>
                          <a:pt x="266" y="1354"/>
                          <a:pt x="236" y="1333"/>
                          <a:pt x="217" y="1308"/>
                        </a:cubicBezTo>
                        <a:cubicBezTo>
                          <a:pt x="192" y="1273"/>
                          <a:pt x="170" y="1239"/>
                          <a:pt x="143" y="1207"/>
                        </a:cubicBezTo>
                        <a:cubicBezTo>
                          <a:pt x="124" y="1186"/>
                          <a:pt x="113" y="1183"/>
                          <a:pt x="100" y="1158"/>
                        </a:cubicBezTo>
                        <a:cubicBezTo>
                          <a:pt x="91" y="1138"/>
                          <a:pt x="90" y="1117"/>
                          <a:pt x="79" y="1097"/>
                        </a:cubicBezTo>
                        <a:cubicBezTo>
                          <a:pt x="50" y="1043"/>
                          <a:pt x="0" y="1002"/>
                          <a:pt x="6" y="934"/>
                        </a:cubicBezTo>
                        <a:cubicBezTo>
                          <a:pt x="12" y="858"/>
                          <a:pt x="60" y="813"/>
                          <a:pt x="100" y="755"/>
                        </a:cubicBezTo>
                        <a:cubicBezTo>
                          <a:pt x="146" y="688"/>
                          <a:pt x="165" y="616"/>
                          <a:pt x="232" y="564"/>
                        </a:cubicBezTo>
                        <a:cubicBezTo>
                          <a:pt x="271" y="535"/>
                          <a:pt x="257" y="517"/>
                          <a:pt x="276" y="475"/>
                        </a:cubicBezTo>
                        <a:cubicBezTo>
                          <a:pt x="288" y="448"/>
                          <a:pt x="310" y="432"/>
                          <a:pt x="333" y="411"/>
                        </a:cubicBezTo>
                        <a:cubicBezTo>
                          <a:pt x="354" y="391"/>
                          <a:pt x="372" y="386"/>
                          <a:pt x="384" y="353"/>
                        </a:cubicBezTo>
                        <a:cubicBezTo>
                          <a:pt x="395" y="323"/>
                          <a:pt x="404" y="294"/>
                          <a:pt x="418" y="264"/>
                        </a:cubicBezTo>
                        <a:cubicBezTo>
                          <a:pt x="430" y="237"/>
                          <a:pt x="453" y="198"/>
                          <a:pt x="477" y="185"/>
                        </a:cubicBezTo>
                        <a:cubicBezTo>
                          <a:pt x="506" y="171"/>
                          <a:pt x="536" y="183"/>
                          <a:pt x="567" y="178"/>
                        </a:cubicBezTo>
                        <a:cubicBezTo>
                          <a:pt x="633" y="166"/>
                          <a:pt x="686" y="122"/>
                          <a:pt x="741" y="87"/>
                        </a:cubicBezTo>
                        <a:cubicBezTo>
                          <a:pt x="777" y="64"/>
                          <a:pt x="893" y="0"/>
                          <a:pt x="887" y="85"/>
                        </a:cubicBezTo>
                        <a:cubicBezTo>
                          <a:pt x="884" y="118"/>
                          <a:pt x="859" y="155"/>
                          <a:pt x="851" y="189"/>
                        </a:cubicBezTo>
                        <a:cubicBezTo>
                          <a:pt x="842" y="225"/>
                          <a:pt x="840" y="262"/>
                          <a:pt x="836" y="299"/>
                        </a:cubicBezTo>
                        <a:cubicBezTo>
                          <a:pt x="827" y="383"/>
                          <a:pt x="813" y="461"/>
                          <a:pt x="817" y="548"/>
                        </a:cubicBezTo>
                        <a:cubicBezTo>
                          <a:pt x="819" y="607"/>
                          <a:pt x="824" y="667"/>
                          <a:pt x="824" y="728"/>
                        </a:cubicBezTo>
                        <a:cubicBezTo>
                          <a:pt x="825" y="777"/>
                          <a:pt x="840" y="808"/>
                          <a:pt x="848" y="856"/>
                        </a:cubicBezTo>
                        <a:cubicBezTo>
                          <a:pt x="870" y="995"/>
                          <a:pt x="855" y="1139"/>
                          <a:pt x="876" y="1280"/>
                        </a:cubicBezTo>
                        <a:cubicBezTo>
                          <a:pt x="882" y="1324"/>
                          <a:pt x="896" y="1372"/>
                          <a:pt x="898" y="1421"/>
                        </a:cubicBezTo>
                        <a:cubicBezTo>
                          <a:pt x="901" y="1479"/>
                          <a:pt x="897" y="1538"/>
                          <a:pt x="902" y="1596"/>
                        </a:cubicBezTo>
                        <a:cubicBezTo>
                          <a:pt x="910" y="1675"/>
                          <a:pt x="896" y="1821"/>
                          <a:pt x="993" y="19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6" name="Freeform 293"/>
                  <p:cNvSpPr>
                    <a:spLocks/>
                  </p:cNvSpPr>
                  <p:nvPr/>
                </p:nvSpPr>
                <p:spPr bwMode="gray">
                  <a:xfrm>
                    <a:off x="490537" y="8915401"/>
                    <a:ext cx="633413" cy="593725"/>
                  </a:xfrm>
                  <a:custGeom>
                    <a:avLst/>
                    <a:gdLst/>
                    <a:ahLst/>
                    <a:cxnLst>
                      <a:cxn ang="0">
                        <a:pos x="4" y="103"/>
                      </a:cxn>
                      <a:cxn ang="0">
                        <a:pos x="86" y="106"/>
                      </a:cxn>
                      <a:cxn ang="0">
                        <a:pos x="163" y="158"/>
                      </a:cxn>
                      <a:cxn ang="0">
                        <a:pos x="109" y="28"/>
                      </a:cxn>
                      <a:cxn ang="0">
                        <a:pos x="35" y="6"/>
                      </a:cxn>
                      <a:cxn ang="0">
                        <a:pos x="0" y="68"/>
                      </a:cxn>
                    </a:cxnLst>
                    <a:rect l="0" t="0" r="r" b="b"/>
                    <a:pathLst>
                      <a:path w="169" h="158">
                        <a:moveTo>
                          <a:pt x="4" y="103"/>
                        </a:moveTo>
                        <a:cubicBezTo>
                          <a:pt x="49" y="98"/>
                          <a:pt x="42" y="81"/>
                          <a:pt x="86" y="106"/>
                        </a:cubicBezTo>
                        <a:cubicBezTo>
                          <a:pt x="114" y="122"/>
                          <a:pt x="137" y="140"/>
                          <a:pt x="163" y="158"/>
                        </a:cubicBezTo>
                        <a:cubicBezTo>
                          <a:pt x="169" y="119"/>
                          <a:pt x="141" y="50"/>
                          <a:pt x="109" y="28"/>
                        </a:cubicBezTo>
                        <a:cubicBezTo>
                          <a:pt x="98" y="21"/>
                          <a:pt x="47" y="0"/>
                          <a:pt x="35" y="6"/>
                        </a:cubicBezTo>
                        <a:cubicBezTo>
                          <a:pt x="15" y="14"/>
                          <a:pt x="17" y="56"/>
                          <a:pt x="0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7" name="Freeform 294"/>
                  <p:cNvSpPr>
                    <a:spLocks/>
                  </p:cNvSpPr>
                  <p:nvPr/>
                </p:nvSpPr>
                <p:spPr bwMode="gray">
                  <a:xfrm>
                    <a:off x="-1816100" y="8859838"/>
                    <a:ext cx="866775" cy="465138"/>
                  </a:xfrm>
                  <a:custGeom>
                    <a:avLst/>
                    <a:gdLst/>
                    <a:ahLst/>
                    <a:cxnLst>
                      <a:cxn ang="0">
                        <a:pos x="65" y="64"/>
                      </a:cxn>
                      <a:cxn ang="0">
                        <a:pos x="0" y="114"/>
                      </a:cxn>
                      <a:cxn ang="0">
                        <a:pos x="108" y="103"/>
                      </a:cxn>
                      <a:cxn ang="0">
                        <a:pos x="191" y="71"/>
                      </a:cxn>
                      <a:cxn ang="0">
                        <a:pos x="225" y="60"/>
                      </a:cxn>
                      <a:cxn ang="0">
                        <a:pos x="209" y="18"/>
                      </a:cxn>
                      <a:cxn ang="0">
                        <a:pos x="112" y="25"/>
                      </a:cxn>
                    </a:cxnLst>
                    <a:rect l="0" t="0" r="r" b="b"/>
                    <a:pathLst>
                      <a:path w="231" h="124">
                        <a:moveTo>
                          <a:pt x="65" y="64"/>
                        </a:moveTo>
                        <a:cubicBezTo>
                          <a:pt x="50" y="98"/>
                          <a:pt x="31" y="101"/>
                          <a:pt x="0" y="114"/>
                        </a:cubicBezTo>
                        <a:cubicBezTo>
                          <a:pt x="37" y="124"/>
                          <a:pt x="75" y="121"/>
                          <a:pt x="108" y="103"/>
                        </a:cubicBezTo>
                        <a:cubicBezTo>
                          <a:pt x="145" y="82"/>
                          <a:pt x="149" y="74"/>
                          <a:pt x="191" y="71"/>
                        </a:cubicBezTo>
                        <a:cubicBezTo>
                          <a:pt x="208" y="69"/>
                          <a:pt x="216" y="84"/>
                          <a:pt x="225" y="60"/>
                        </a:cubicBezTo>
                        <a:cubicBezTo>
                          <a:pt x="231" y="44"/>
                          <a:pt x="219" y="25"/>
                          <a:pt x="209" y="18"/>
                        </a:cubicBezTo>
                        <a:cubicBezTo>
                          <a:pt x="185" y="0"/>
                          <a:pt x="132" y="6"/>
                          <a:pt x="112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8" name="Freeform 295"/>
                  <p:cNvSpPr>
                    <a:spLocks/>
                  </p:cNvSpPr>
                  <p:nvPr/>
                </p:nvSpPr>
                <p:spPr bwMode="gray">
                  <a:xfrm>
                    <a:off x="823912" y="8807451"/>
                    <a:ext cx="1225550" cy="828675"/>
                  </a:xfrm>
                  <a:custGeom>
                    <a:avLst/>
                    <a:gdLst/>
                    <a:ahLst/>
                    <a:cxnLst>
                      <a:cxn ang="0">
                        <a:pos x="55" y="74"/>
                      </a:cxn>
                      <a:cxn ang="0">
                        <a:pos x="128" y="114"/>
                      </a:cxn>
                      <a:cxn ang="0">
                        <a:pos x="183" y="167"/>
                      </a:cxn>
                      <a:cxn ang="0">
                        <a:pos x="164" y="125"/>
                      </a:cxn>
                      <a:cxn ang="0">
                        <a:pos x="327" y="15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27" h="221">
                        <a:moveTo>
                          <a:pt x="55" y="74"/>
                        </a:moveTo>
                        <a:cubicBezTo>
                          <a:pt x="78" y="91"/>
                          <a:pt x="106" y="95"/>
                          <a:pt x="128" y="114"/>
                        </a:cubicBezTo>
                        <a:cubicBezTo>
                          <a:pt x="146" y="131"/>
                          <a:pt x="159" y="161"/>
                          <a:pt x="183" y="167"/>
                        </a:cubicBezTo>
                        <a:cubicBezTo>
                          <a:pt x="178" y="152"/>
                          <a:pt x="167" y="141"/>
                          <a:pt x="164" y="125"/>
                        </a:cubicBezTo>
                        <a:cubicBezTo>
                          <a:pt x="209" y="117"/>
                          <a:pt x="280" y="221"/>
                          <a:pt x="327" y="153"/>
                        </a:cubicBezTo>
                        <a:cubicBezTo>
                          <a:pt x="209" y="137"/>
                          <a:pt x="122" y="16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09" name="Freeform 296"/>
                  <p:cNvSpPr>
                    <a:spLocks/>
                  </p:cNvSpPr>
                  <p:nvPr/>
                </p:nvSpPr>
                <p:spPr bwMode="gray">
                  <a:xfrm>
                    <a:off x="-1804988" y="8394701"/>
                    <a:ext cx="3055938" cy="2590800"/>
                  </a:xfrm>
                  <a:custGeom>
                    <a:avLst/>
                    <a:gdLst/>
                    <a:ahLst/>
                    <a:cxnLst>
                      <a:cxn ang="0">
                        <a:pos x="130" y="73"/>
                      </a:cxn>
                      <a:cxn ang="0">
                        <a:pos x="0" y="192"/>
                      </a:cxn>
                      <a:cxn ang="0">
                        <a:pos x="170" y="150"/>
                      </a:cxn>
                      <a:cxn ang="0">
                        <a:pos x="238" y="256"/>
                      </a:cxn>
                      <a:cxn ang="0">
                        <a:pos x="213" y="547"/>
                      </a:cxn>
                      <a:cxn ang="0">
                        <a:pos x="580" y="403"/>
                      </a:cxn>
                      <a:cxn ang="0">
                        <a:pos x="600" y="217"/>
                      </a:cxn>
                      <a:cxn ang="0">
                        <a:pos x="655" y="177"/>
                      </a:cxn>
                      <a:cxn ang="0">
                        <a:pos x="705" y="203"/>
                      </a:cxn>
                      <a:cxn ang="0">
                        <a:pos x="760" y="226"/>
                      </a:cxn>
                      <a:cxn ang="0">
                        <a:pos x="813" y="266"/>
                      </a:cxn>
                      <a:cxn ang="0">
                        <a:pos x="779" y="203"/>
                      </a:cxn>
                      <a:cxn ang="0">
                        <a:pos x="746" y="131"/>
                      </a:cxn>
                      <a:cxn ang="0">
                        <a:pos x="619" y="7"/>
                      </a:cxn>
                      <a:cxn ang="0">
                        <a:pos x="576" y="192"/>
                      </a:cxn>
                      <a:cxn ang="0">
                        <a:pos x="483" y="318"/>
                      </a:cxn>
                      <a:cxn ang="0">
                        <a:pos x="407" y="480"/>
                      </a:cxn>
                      <a:cxn ang="0">
                        <a:pos x="407" y="691"/>
                      </a:cxn>
                      <a:cxn ang="0">
                        <a:pos x="381" y="481"/>
                      </a:cxn>
                      <a:cxn ang="0">
                        <a:pos x="350" y="332"/>
                      </a:cxn>
                      <a:cxn ang="0">
                        <a:pos x="272" y="188"/>
                      </a:cxn>
                      <a:cxn ang="0">
                        <a:pos x="260" y="0"/>
                      </a:cxn>
                    </a:cxnLst>
                    <a:rect l="0" t="0" r="r" b="b"/>
                    <a:pathLst>
                      <a:path w="815" h="691">
                        <a:moveTo>
                          <a:pt x="130" y="73"/>
                        </a:moveTo>
                        <a:cubicBezTo>
                          <a:pt x="93" y="100"/>
                          <a:pt x="50" y="197"/>
                          <a:pt x="0" y="192"/>
                        </a:cubicBezTo>
                        <a:cubicBezTo>
                          <a:pt x="64" y="238"/>
                          <a:pt x="121" y="166"/>
                          <a:pt x="170" y="150"/>
                        </a:cubicBezTo>
                        <a:cubicBezTo>
                          <a:pt x="204" y="188"/>
                          <a:pt x="255" y="202"/>
                          <a:pt x="238" y="256"/>
                        </a:cubicBezTo>
                        <a:cubicBezTo>
                          <a:pt x="209" y="344"/>
                          <a:pt x="213" y="450"/>
                          <a:pt x="213" y="547"/>
                        </a:cubicBezTo>
                        <a:cubicBezTo>
                          <a:pt x="214" y="662"/>
                          <a:pt x="591" y="441"/>
                          <a:pt x="580" y="403"/>
                        </a:cubicBezTo>
                        <a:cubicBezTo>
                          <a:pt x="567" y="362"/>
                          <a:pt x="571" y="248"/>
                          <a:pt x="600" y="217"/>
                        </a:cubicBezTo>
                        <a:cubicBezTo>
                          <a:pt x="609" y="207"/>
                          <a:pt x="646" y="180"/>
                          <a:pt x="655" y="177"/>
                        </a:cubicBezTo>
                        <a:cubicBezTo>
                          <a:pt x="695" y="164"/>
                          <a:pt x="682" y="185"/>
                          <a:pt x="705" y="203"/>
                        </a:cubicBezTo>
                        <a:cubicBezTo>
                          <a:pt x="723" y="217"/>
                          <a:pt x="741" y="217"/>
                          <a:pt x="760" y="226"/>
                        </a:cubicBezTo>
                        <a:cubicBezTo>
                          <a:pt x="779" y="236"/>
                          <a:pt x="792" y="257"/>
                          <a:pt x="813" y="266"/>
                        </a:cubicBezTo>
                        <a:cubicBezTo>
                          <a:pt x="815" y="239"/>
                          <a:pt x="791" y="224"/>
                          <a:pt x="779" y="203"/>
                        </a:cubicBezTo>
                        <a:cubicBezTo>
                          <a:pt x="767" y="182"/>
                          <a:pt x="764" y="151"/>
                          <a:pt x="746" y="131"/>
                        </a:cubicBezTo>
                        <a:cubicBezTo>
                          <a:pt x="708" y="87"/>
                          <a:pt x="652" y="52"/>
                          <a:pt x="619" y="7"/>
                        </a:cubicBezTo>
                        <a:cubicBezTo>
                          <a:pt x="603" y="63"/>
                          <a:pt x="607" y="140"/>
                          <a:pt x="576" y="192"/>
                        </a:cubicBezTo>
                        <a:cubicBezTo>
                          <a:pt x="549" y="237"/>
                          <a:pt x="505" y="270"/>
                          <a:pt x="483" y="318"/>
                        </a:cubicBezTo>
                        <a:cubicBezTo>
                          <a:pt x="459" y="369"/>
                          <a:pt x="425" y="424"/>
                          <a:pt x="407" y="480"/>
                        </a:cubicBezTo>
                        <a:cubicBezTo>
                          <a:pt x="390" y="527"/>
                          <a:pt x="571" y="551"/>
                          <a:pt x="407" y="691"/>
                        </a:cubicBezTo>
                        <a:cubicBezTo>
                          <a:pt x="389" y="645"/>
                          <a:pt x="381" y="530"/>
                          <a:pt x="381" y="481"/>
                        </a:cubicBezTo>
                        <a:cubicBezTo>
                          <a:pt x="380" y="423"/>
                          <a:pt x="381" y="376"/>
                          <a:pt x="350" y="332"/>
                        </a:cubicBezTo>
                        <a:cubicBezTo>
                          <a:pt x="317" y="283"/>
                          <a:pt x="287" y="244"/>
                          <a:pt x="272" y="188"/>
                        </a:cubicBezTo>
                        <a:cubicBezTo>
                          <a:pt x="262" y="154"/>
                          <a:pt x="292" y="7"/>
                          <a:pt x="2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0" name="Freeform 297"/>
                  <p:cNvSpPr>
                    <a:spLocks/>
                  </p:cNvSpPr>
                  <p:nvPr/>
                </p:nvSpPr>
                <p:spPr bwMode="gray">
                  <a:xfrm>
                    <a:off x="-1519238" y="8405813"/>
                    <a:ext cx="812800" cy="487363"/>
                  </a:xfrm>
                  <a:custGeom>
                    <a:avLst/>
                    <a:gdLst/>
                    <a:ahLst/>
                    <a:cxnLst>
                      <a:cxn ang="0">
                        <a:pos x="0" y="130"/>
                      </a:cxn>
                      <a:cxn ang="0">
                        <a:pos x="86" y="76"/>
                      </a:cxn>
                      <a:cxn ang="0">
                        <a:pos x="74" y="103"/>
                      </a:cxn>
                      <a:cxn ang="0">
                        <a:pos x="124" y="62"/>
                      </a:cxn>
                      <a:cxn ang="0">
                        <a:pos x="127" y="91"/>
                      </a:cxn>
                      <a:cxn ang="0">
                        <a:pos x="163" y="64"/>
                      </a:cxn>
                      <a:cxn ang="0">
                        <a:pos x="173" y="91"/>
                      </a:cxn>
                      <a:cxn ang="0">
                        <a:pos x="187" y="71"/>
                      </a:cxn>
                      <a:cxn ang="0">
                        <a:pos x="208" y="93"/>
                      </a:cxn>
                      <a:cxn ang="0">
                        <a:pos x="176" y="22"/>
                      </a:cxn>
                      <a:cxn ang="0">
                        <a:pos x="107" y="26"/>
                      </a:cxn>
                      <a:cxn ang="0">
                        <a:pos x="15" y="101"/>
                      </a:cxn>
                    </a:cxnLst>
                    <a:rect l="0" t="0" r="r" b="b"/>
                    <a:pathLst>
                      <a:path w="217" h="130">
                        <a:moveTo>
                          <a:pt x="0" y="130"/>
                        </a:moveTo>
                        <a:cubicBezTo>
                          <a:pt x="23" y="129"/>
                          <a:pt x="76" y="97"/>
                          <a:pt x="86" y="76"/>
                        </a:cubicBezTo>
                        <a:cubicBezTo>
                          <a:pt x="87" y="87"/>
                          <a:pt x="82" y="97"/>
                          <a:pt x="74" y="103"/>
                        </a:cubicBezTo>
                        <a:cubicBezTo>
                          <a:pt x="105" y="108"/>
                          <a:pt x="94" y="54"/>
                          <a:pt x="124" y="62"/>
                        </a:cubicBezTo>
                        <a:cubicBezTo>
                          <a:pt x="128" y="71"/>
                          <a:pt x="126" y="81"/>
                          <a:pt x="127" y="91"/>
                        </a:cubicBezTo>
                        <a:cubicBezTo>
                          <a:pt x="143" y="91"/>
                          <a:pt x="150" y="71"/>
                          <a:pt x="163" y="64"/>
                        </a:cubicBezTo>
                        <a:cubicBezTo>
                          <a:pt x="162" y="74"/>
                          <a:pt x="166" y="85"/>
                          <a:pt x="173" y="91"/>
                        </a:cubicBezTo>
                        <a:cubicBezTo>
                          <a:pt x="176" y="84"/>
                          <a:pt x="180" y="76"/>
                          <a:pt x="187" y="71"/>
                        </a:cubicBezTo>
                        <a:cubicBezTo>
                          <a:pt x="187" y="85"/>
                          <a:pt x="190" y="97"/>
                          <a:pt x="208" y="93"/>
                        </a:cubicBezTo>
                        <a:cubicBezTo>
                          <a:pt x="217" y="68"/>
                          <a:pt x="196" y="37"/>
                          <a:pt x="176" y="22"/>
                        </a:cubicBezTo>
                        <a:cubicBezTo>
                          <a:pt x="149" y="0"/>
                          <a:pt x="132" y="11"/>
                          <a:pt x="107" y="26"/>
                        </a:cubicBezTo>
                        <a:cubicBezTo>
                          <a:pt x="69" y="50"/>
                          <a:pt x="40" y="62"/>
                          <a:pt x="15" y="10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1" name="Freeform 298"/>
                  <p:cNvSpPr>
                    <a:spLocks/>
                  </p:cNvSpPr>
                  <p:nvPr/>
                </p:nvSpPr>
                <p:spPr bwMode="gray">
                  <a:xfrm>
                    <a:off x="411162" y="8405813"/>
                    <a:ext cx="735013" cy="803275"/>
                  </a:xfrm>
                  <a:custGeom>
                    <a:avLst/>
                    <a:gdLst/>
                    <a:ahLst/>
                    <a:cxnLst>
                      <a:cxn ang="0">
                        <a:pos x="11" y="66"/>
                      </a:cxn>
                      <a:cxn ang="0">
                        <a:pos x="9" y="126"/>
                      </a:cxn>
                      <a:cxn ang="0">
                        <a:pos x="40" y="105"/>
                      </a:cxn>
                      <a:cxn ang="0">
                        <a:pos x="69" y="78"/>
                      </a:cxn>
                      <a:cxn ang="0">
                        <a:pos x="142" y="142"/>
                      </a:cxn>
                      <a:cxn ang="0">
                        <a:pos x="196" y="212"/>
                      </a:cxn>
                      <a:cxn ang="0">
                        <a:pos x="165" y="144"/>
                      </a:cxn>
                      <a:cxn ang="0">
                        <a:pos x="124" y="71"/>
                      </a:cxn>
                      <a:cxn ang="0">
                        <a:pos x="54" y="7"/>
                      </a:cxn>
                      <a:cxn ang="0">
                        <a:pos x="3" y="72"/>
                      </a:cxn>
                      <a:cxn ang="0">
                        <a:pos x="13" y="78"/>
                      </a:cxn>
                    </a:cxnLst>
                    <a:rect l="0" t="0" r="r" b="b"/>
                    <a:pathLst>
                      <a:path w="196" h="214">
                        <a:moveTo>
                          <a:pt x="11" y="66"/>
                        </a:moveTo>
                        <a:cubicBezTo>
                          <a:pt x="20" y="73"/>
                          <a:pt x="13" y="114"/>
                          <a:pt x="9" y="126"/>
                        </a:cubicBezTo>
                        <a:cubicBezTo>
                          <a:pt x="20" y="122"/>
                          <a:pt x="31" y="112"/>
                          <a:pt x="40" y="105"/>
                        </a:cubicBezTo>
                        <a:cubicBezTo>
                          <a:pt x="49" y="98"/>
                          <a:pt x="60" y="81"/>
                          <a:pt x="69" y="78"/>
                        </a:cubicBezTo>
                        <a:cubicBezTo>
                          <a:pt x="86" y="109"/>
                          <a:pt x="122" y="118"/>
                          <a:pt x="142" y="142"/>
                        </a:cubicBezTo>
                        <a:cubicBezTo>
                          <a:pt x="155" y="158"/>
                          <a:pt x="171" y="214"/>
                          <a:pt x="196" y="212"/>
                        </a:cubicBezTo>
                        <a:cubicBezTo>
                          <a:pt x="189" y="191"/>
                          <a:pt x="175" y="165"/>
                          <a:pt x="165" y="144"/>
                        </a:cubicBezTo>
                        <a:cubicBezTo>
                          <a:pt x="153" y="120"/>
                          <a:pt x="138" y="95"/>
                          <a:pt x="124" y="71"/>
                        </a:cubicBezTo>
                        <a:cubicBezTo>
                          <a:pt x="108" y="45"/>
                          <a:pt x="85" y="13"/>
                          <a:pt x="54" y="7"/>
                        </a:cubicBezTo>
                        <a:cubicBezTo>
                          <a:pt x="17" y="0"/>
                          <a:pt x="0" y="40"/>
                          <a:pt x="3" y="72"/>
                        </a:cubicBezTo>
                        <a:cubicBezTo>
                          <a:pt x="7" y="73"/>
                          <a:pt x="10" y="77"/>
                          <a:pt x="13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2" name="Freeform 299"/>
                  <p:cNvSpPr>
                    <a:spLocks/>
                  </p:cNvSpPr>
                  <p:nvPr/>
                </p:nvSpPr>
                <p:spPr bwMode="gray">
                  <a:xfrm>
                    <a:off x="-1095375" y="9036051"/>
                    <a:ext cx="547688" cy="80962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46" y="216"/>
                      </a:cxn>
                      <a:cxn ang="0">
                        <a:pos x="53" y="131"/>
                      </a:cxn>
                      <a:cxn ang="0">
                        <a:pos x="28" y="193"/>
                      </a:cxn>
                    </a:cxnLst>
                    <a:rect l="0" t="0" r="r" b="b"/>
                    <a:pathLst>
                      <a:path w="146" h="216">
                        <a:moveTo>
                          <a:pt x="0" y="0"/>
                        </a:moveTo>
                        <a:cubicBezTo>
                          <a:pt x="40" y="3"/>
                          <a:pt x="144" y="168"/>
                          <a:pt x="146" y="216"/>
                        </a:cubicBezTo>
                        <a:cubicBezTo>
                          <a:pt x="134" y="178"/>
                          <a:pt x="97" y="126"/>
                          <a:pt x="53" y="131"/>
                        </a:cubicBezTo>
                        <a:cubicBezTo>
                          <a:pt x="54" y="153"/>
                          <a:pt x="29" y="170"/>
                          <a:pt x="28" y="19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3" name="Freeform 300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4" name="Freeform 301"/>
                  <p:cNvSpPr>
                    <a:spLocks/>
                  </p:cNvSpPr>
                  <p:nvPr/>
                </p:nvSpPr>
                <p:spPr bwMode="gray">
                  <a:xfrm>
                    <a:off x="-2127250" y="5688013"/>
                    <a:ext cx="3724275" cy="3937000"/>
                  </a:xfrm>
                  <a:custGeom>
                    <a:avLst/>
                    <a:gdLst/>
                    <a:ahLst/>
                    <a:cxnLst>
                      <a:cxn ang="0">
                        <a:pos x="440" y="222"/>
                      </a:cxn>
                      <a:cxn ang="0">
                        <a:pos x="433" y="840"/>
                      </a:cxn>
                      <a:cxn ang="0">
                        <a:pos x="406" y="823"/>
                      </a:cxn>
                      <a:cxn ang="0">
                        <a:pos x="394" y="795"/>
                      </a:cxn>
                      <a:cxn ang="0">
                        <a:pos x="392" y="829"/>
                      </a:cxn>
                      <a:cxn ang="0">
                        <a:pos x="358" y="794"/>
                      </a:cxn>
                      <a:cxn ang="0">
                        <a:pos x="346" y="807"/>
                      </a:cxn>
                      <a:cxn ang="0">
                        <a:pos x="318" y="754"/>
                      </a:cxn>
                      <a:cxn ang="0">
                        <a:pos x="277" y="805"/>
                      </a:cxn>
                      <a:cxn ang="0">
                        <a:pos x="269" y="772"/>
                      </a:cxn>
                      <a:cxn ang="0">
                        <a:pos x="164" y="840"/>
                      </a:cxn>
                      <a:cxn ang="0">
                        <a:pos x="8" y="869"/>
                      </a:cxn>
                      <a:cxn ang="0">
                        <a:pos x="0" y="837"/>
                      </a:cxn>
                      <a:cxn ang="0">
                        <a:pos x="94" y="830"/>
                      </a:cxn>
                      <a:cxn ang="0">
                        <a:pos x="79" y="750"/>
                      </a:cxn>
                      <a:cxn ang="0">
                        <a:pos x="223" y="718"/>
                      </a:cxn>
                      <a:cxn ang="0">
                        <a:pos x="222" y="584"/>
                      </a:cxn>
                      <a:cxn ang="0">
                        <a:pos x="201" y="445"/>
                      </a:cxn>
                      <a:cxn ang="0">
                        <a:pos x="223" y="332"/>
                      </a:cxn>
                      <a:cxn ang="0">
                        <a:pos x="254" y="281"/>
                      </a:cxn>
                      <a:cxn ang="0">
                        <a:pos x="264" y="216"/>
                      </a:cxn>
                      <a:cxn ang="0">
                        <a:pos x="334" y="121"/>
                      </a:cxn>
                      <a:cxn ang="0">
                        <a:pos x="405" y="46"/>
                      </a:cxn>
                      <a:cxn ang="0">
                        <a:pos x="371" y="46"/>
                      </a:cxn>
                      <a:cxn ang="0">
                        <a:pos x="637" y="36"/>
                      </a:cxn>
                      <a:cxn ang="0">
                        <a:pos x="792" y="214"/>
                      </a:cxn>
                      <a:cxn ang="0">
                        <a:pos x="820" y="344"/>
                      </a:cxn>
                      <a:cxn ang="0">
                        <a:pos x="843" y="479"/>
                      </a:cxn>
                      <a:cxn ang="0">
                        <a:pos x="808" y="760"/>
                      </a:cxn>
                      <a:cxn ang="0">
                        <a:pos x="966" y="826"/>
                      </a:cxn>
                      <a:cxn ang="0">
                        <a:pos x="903" y="870"/>
                      </a:cxn>
                      <a:cxn ang="0">
                        <a:pos x="993" y="854"/>
                      </a:cxn>
                      <a:cxn ang="0">
                        <a:pos x="721" y="748"/>
                      </a:cxn>
                      <a:cxn ang="0">
                        <a:pos x="636" y="1034"/>
                      </a:cxn>
                      <a:cxn ang="0">
                        <a:pos x="592" y="1030"/>
                      </a:cxn>
                      <a:cxn ang="0">
                        <a:pos x="609" y="1050"/>
                      </a:cxn>
                      <a:cxn ang="0">
                        <a:pos x="692" y="403"/>
                      </a:cxn>
                      <a:cxn ang="0">
                        <a:pos x="685" y="421"/>
                      </a:cxn>
                      <a:cxn ang="0">
                        <a:pos x="643" y="363"/>
                      </a:cxn>
                      <a:cxn ang="0">
                        <a:pos x="626" y="384"/>
                      </a:cxn>
                      <a:cxn ang="0">
                        <a:pos x="575" y="384"/>
                      </a:cxn>
                      <a:cxn ang="0">
                        <a:pos x="458" y="228"/>
                      </a:cxn>
                      <a:cxn ang="0">
                        <a:pos x="513" y="339"/>
                      </a:cxn>
                      <a:cxn ang="0">
                        <a:pos x="440" y="233"/>
                      </a:cxn>
                    </a:cxnLst>
                    <a:rect l="0" t="0" r="r" b="b"/>
                    <a:pathLst>
                      <a:path w="993" h="1050">
                        <a:moveTo>
                          <a:pt x="440" y="222"/>
                        </a:moveTo>
                        <a:cubicBezTo>
                          <a:pt x="185" y="237"/>
                          <a:pt x="447" y="729"/>
                          <a:pt x="433" y="840"/>
                        </a:cubicBezTo>
                        <a:cubicBezTo>
                          <a:pt x="426" y="837"/>
                          <a:pt x="411" y="827"/>
                          <a:pt x="406" y="823"/>
                        </a:cubicBezTo>
                        <a:cubicBezTo>
                          <a:pt x="403" y="812"/>
                          <a:pt x="397" y="803"/>
                          <a:pt x="394" y="795"/>
                        </a:cubicBezTo>
                        <a:cubicBezTo>
                          <a:pt x="395" y="805"/>
                          <a:pt x="392" y="818"/>
                          <a:pt x="392" y="829"/>
                        </a:cubicBezTo>
                        <a:cubicBezTo>
                          <a:pt x="372" y="827"/>
                          <a:pt x="362" y="814"/>
                          <a:pt x="358" y="794"/>
                        </a:cubicBezTo>
                        <a:cubicBezTo>
                          <a:pt x="361" y="788"/>
                          <a:pt x="348" y="805"/>
                          <a:pt x="346" y="807"/>
                        </a:cubicBezTo>
                        <a:cubicBezTo>
                          <a:pt x="333" y="793"/>
                          <a:pt x="328" y="771"/>
                          <a:pt x="318" y="754"/>
                        </a:cubicBezTo>
                        <a:cubicBezTo>
                          <a:pt x="309" y="777"/>
                          <a:pt x="297" y="794"/>
                          <a:pt x="277" y="805"/>
                        </a:cubicBezTo>
                        <a:cubicBezTo>
                          <a:pt x="276" y="792"/>
                          <a:pt x="270" y="785"/>
                          <a:pt x="269" y="772"/>
                        </a:cubicBezTo>
                        <a:cubicBezTo>
                          <a:pt x="234" y="790"/>
                          <a:pt x="198" y="817"/>
                          <a:pt x="164" y="840"/>
                        </a:cubicBezTo>
                        <a:cubicBezTo>
                          <a:pt x="115" y="872"/>
                          <a:pt x="76" y="873"/>
                          <a:pt x="8" y="869"/>
                        </a:cubicBezTo>
                        <a:cubicBezTo>
                          <a:pt x="6" y="864"/>
                          <a:pt x="1" y="842"/>
                          <a:pt x="0" y="837"/>
                        </a:cubicBezTo>
                        <a:cubicBezTo>
                          <a:pt x="30" y="855"/>
                          <a:pt x="82" y="872"/>
                          <a:pt x="94" y="830"/>
                        </a:cubicBezTo>
                        <a:cubicBezTo>
                          <a:pt x="63" y="819"/>
                          <a:pt x="66" y="773"/>
                          <a:pt x="79" y="750"/>
                        </a:cubicBezTo>
                        <a:cubicBezTo>
                          <a:pt x="89" y="853"/>
                          <a:pt x="214" y="801"/>
                          <a:pt x="223" y="718"/>
                        </a:cubicBezTo>
                        <a:cubicBezTo>
                          <a:pt x="228" y="675"/>
                          <a:pt x="224" y="627"/>
                          <a:pt x="222" y="584"/>
                        </a:cubicBezTo>
                        <a:cubicBezTo>
                          <a:pt x="220" y="537"/>
                          <a:pt x="193" y="491"/>
                          <a:pt x="201" y="445"/>
                        </a:cubicBezTo>
                        <a:cubicBezTo>
                          <a:pt x="235" y="418"/>
                          <a:pt x="212" y="372"/>
                          <a:pt x="223" y="332"/>
                        </a:cubicBezTo>
                        <a:cubicBezTo>
                          <a:pt x="227" y="316"/>
                          <a:pt x="248" y="299"/>
                          <a:pt x="254" y="281"/>
                        </a:cubicBezTo>
                        <a:cubicBezTo>
                          <a:pt x="262" y="262"/>
                          <a:pt x="258" y="237"/>
                          <a:pt x="264" y="216"/>
                        </a:cubicBezTo>
                        <a:cubicBezTo>
                          <a:pt x="275" y="176"/>
                          <a:pt x="304" y="148"/>
                          <a:pt x="334" y="121"/>
                        </a:cubicBezTo>
                        <a:cubicBezTo>
                          <a:pt x="358" y="99"/>
                          <a:pt x="389" y="56"/>
                          <a:pt x="405" y="46"/>
                        </a:cubicBezTo>
                        <a:cubicBezTo>
                          <a:pt x="394" y="47"/>
                          <a:pt x="382" y="44"/>
                          <a:pt x="371" y="46"/>
                        </a:cubicBezTo>
                        <a:cubicBezTo>
                          <a:pt x="449" y="27"/>
                          <a:pt x="559" y="0"/>
                          <a:pt x="637" y="36"/>
                        </a:cubicBezTo>
                        <a:cubicBezTo>
                          <a:pt x="697" y="63"/>
                          <a:pt x="760" y="158"/>
                          <a:pt x="792" y="214"/>
                        </a:cubicBezTo>
                        <a:cubicBezTo>
                          <a:pt x="817" y="258"/>
                          <a:pt x="820" y="291"/>
                          <a:pt x="820" y="344"/>
                        </a:cubicBezTo>
                        <a:cubicBezTo>
                          <a:pt x="819" y="396"/>
                          <a:pt x="835" y="430"/>
                          <a:pt x="843" y="479"/>
                        </a:cubicBezTo>
                        <a:cubicBezTo>
                          <a:pt x="858" y="576"/>
                          <a:pt x="787" y="667"/>
                          <a:pt x="808" y="760"/>
                        </a:cubicBezTo>
                        <a:cubicBezTo>
                          <a:pt x="822" y="825"/>
                          <a:pt x="909" y="889"/>
                          <a:pt x="966" y="826"/>
                        </a:cubicBezTo>
                        <a:cubicBezTo>
                          <a:pt x="960" y="855"/>
                          <a:pt x="930" y="864"/>
                          <a:pt x="903" y="870"/>
                        </a:cubicBezTo>
                        <a:cubicBezTo>
                          <a:pt x="935" y="870"/>
                          <a:pt x="970" y="879"/>
                          <a:pt x="993" y="854"/>
                        </a:cubicBezTo>
                        <a:cubicBezTo>
                          <a:pt x="922" y="976"/>
                          <a:pt x="782" y="783"/>
                          <a:pt x="721" y="748"/>
                        </a:cubicBezTo>
                        <a:cubicBezTo>
                          <a:pt x="697" y="823"/>
                          <a:pt x="491" y="954"/>
                          <a:pt x="636" y="1034"/>
                        </a:cubicBezTo>
                        <a:cubicBezTo>
                          <a:pt x="622" y="1031"/>
                          <a:pt x="607" y="1033"/>
                          <a:pt x="592" y="1030"/>
                        </a:cubicBezTo>
                        <a:cubicBezTo>
                          <a:pt x="597" y="1038"/>
                          <a:pt x="600" y="1045"/>
                          <a:pt x="609" y="1050"/>
                        </a:cubicBezTo>
                        <a:cubicBezTo>
                          <a:pt x="375" y="971"/>
                          <a:pt x="854" y="481"/>
                          <a:pt x="692" y="403"/>
                        </a:cubicBezTo>
                        <a:cubicBezTo>
                          <a:pt x="690" y="411"/>
                          <a:pt x="686" y="417"/>
                          <a:pt x="685" y="421"/>
                        </a:cubicBezTo>
                        <a:cubicBezTo>
                          <a:pt x="670" y="405"/>
                          <a:pt x="651" y="383"/>
                          <a:pt x="643" y="363"/>
                        </a:cubicBezTo>
                        <a:cubicBezTo>
                          <a:pt x="639" y="369"/>
                          <a:pt x="630" y="374"/>
                          <a:pt x="626" y="384"/>
                        </a:cubicBezTo>
                        <a:cubicBezTo>
                          <a:pt x="612" y="388"/>
                          <a:pt x="588" y="388"/>
                          <a:pt x="575" y="384"/>
                        </a:cubicBezTo>
                        <a:cubicBezTo>
                          <a:pt x="549" y="344"/>
                          <a:pt x="530" y="218"/>
                          <a:pt x="458" y="228"/>
                        </a:cubicBezTo>
                        <a:cubicBezTo>
                          <a:pt x="447" y="273"/>
                          <a:pt x="482" y="314"/>
                          <a:pt x="513" y="339"/>
                        </a:cubicBezTo>
                        <a:cubicBezTo>
                          <a:pt x="476" y="315"/>
                          <a:pt x="435" y="284"/>
                          <a:pt x="440" y="23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5" name="Freeform 302"/>
                  <p:cNvSpPr>
                    <a:spLocks/>
                  </p:cNvSpPr>
                  <p:nvPr/>
                </p:nvSpPr>
                <p:spPr bwMode="gray">
                  <a:xfrm>
                    <a:off x="-1965325" y="13963651"/>
                    <a:ext cx="746125" cy="757238"/>
                  </a:xfrm>
                  <a:custGeom>
                    <a:avLst/>
                    <a:gdLst/>
                    <a:ahLst/>
                    <a:cxnLst>
                      <a:cxn ang="0">
                        <a:pos x="4" y="47"/>
                      </a:cxn>
                      <a:cxn ang="0">
                        <a:pos x="16" y="105"/>
                      </a:cxn>
                      <a:cxn ang="0">
                        <a:pos x="128" y="168"/>
                      </a:cxn>
                      <a:cxn ang="0">
                        <a:pos x="176" y="188"/>
                      </a:cxn>
                      <a:cxn ang="0">
                        <a:pos x="171" y="138"/>
                      </a:cxn>
                      <a:cxn ang="0">
                        <a:pos x="86" y="71"/>
                      </a:cxn>
                      <a:cxn ang="0">
                        <a:pos x="186" y="58"/>
                      </a:cxn>
                      <a:cxn ang="0">
                        <a:pos x="97" y="16"/>
                      </a:cxn>
                      <a:cxn ang="0">
                        <a:pos x="39" y="4"/>
                      </a:cxn>
                      <a:cxn ang="0">
                        <a:pos x="0" y="43"/>
                      </a:cxn>
                    </a:cxnLst>
                    <a:rect l="0" t="0" r="r" b="b"/>
                    <a:pathLst>
                      <a:path w="199" h="202">
                        <a:moveTo>
                          <a:pt x="4" y="47"/>
                        </a:moveTo>
                        <a:cubicBezTo>
                          <a:pt x="14" y="65"/>
                          <a:pt x="16" y="85"/>
                          <a:pt x="16" y="105"/>
                        </a:cubicBezTo>
                        <a:cubicBezTo>
                          <a:pt x="64" y="87"/>
                          <a:pt x="95" y="139"/>
                          <a:pt x="128" y="168"/>
                        </a:cubicBezTo>
                        <a:cubicBezTo>
                          <a:pt x="142" y="181"/>
                          <a:pt x="157" y="202"/>
                          <a:pt x="176" y="188"/>
                        </a:cubicBezTo>
                        <a:cubicBezTo>
                          <a:pt x="193" y="176"/>
                          <a:pt x="181" y="151"/>
                          <a:pt x="171" y="138"/>
                        </a:cubicBezTo>
                        <a:cubicBezTo>
                          <a:pt x="154" y="117"/>
                          <a:pt x="88" y="99"/>
                          <a:pt x="86" y="71"/>
                        </a:cubicBezTo>
                        <a:cubicBezTo>
                          <a:pt x="83" y="30"/>
                          <a:pt x="159" y="61"/>
                          <a:pt x="186" y="58"/>
                        </a:cubicBezTo>
                        <a:cubicBezTo>
                          <a:pt x="199" y="12"/>
                          <a:pt x="125" y="20"/>
                          <a:pt x="97" y="16"/>
                        </a:cubicBezTo>
                        <a:cubicBezTo>
                          <a:pt x="82" y="14"/>
                          <a:pt x="53" y="0"/>
                          <a:pt x="39" y="4"/>
                        </a:cubicBezTo>
                        <a:cubicBezTo>
                          <a:pt x="22" y="9"/>
                          <a:pt x="12" y="35"/>
                          <a:pt x="0" y="4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6" name="Freeform 303"/>
                  <p:cNvSpPr>
                    <a:spLocks/>
                  </p:cNvSpPr>
                  <p:nvPr/>
                </p:nvSpPr>
                <p:spPr bwMode="gray">
                  <a:xfrm>
                    <a:off x="-2424113" y="13239751"/>
                    <a:ext cx="1387475" cy="993775"/>
                  </a:xfrm>
                  <a:custGeom>
                    <a:avLst/>
                    <a:gdLst/>
                    <a:ahLst/>
                    <a:cxnLst>
                      <a:cxn ang="0">
                        <a:pos x="4" y="216"/>
                      </a:cxn>
                      <a:cxn ang="0">
                        <a:pos x="1" y="259"/>
                      </a:cxn>
                      <a:cxn ang="0">
                        <a:pos x="78" y="255"/>
                      </a:cxn>
                      <a:cxn ang="0">
                        <a:pos x="144" y="224"/>
                      </a:cxn>
                      <a:cxn ang="0">
                        <a:pos x="185" y="214"/>
                      </a:cxn>
                      <a:cxn ang="0">
                        <a:pos x="299" y="219"/>
                      </a:cxn>
                      <a:cxn ang="0">
                        <a:pos x="193" y="179"/>
                      </a:cxn>
                      <a:cxn ang="0">
                        <a:pos x="180" y="165"/>
                      </a:cxn>
                      <a:cxn ang="0">
                        <a:pos x="335" y="197"/>
                      </a:cxn>
                      <a:cxn ang="0">
                        <a:pos x="265" y="146"/>
                      </a:cxn>
                      <a:cxn ang="0">
                        <a:pos x="184" y="122"/>
                      </a:cxn>
                      <a:cxn ang="0">
                        <a:pos x="284" y="114"/>
                      </a:cxn>
                      <a:cxn ang="0">
                        <a:pos x="370" y="142"/>
                      </a:cxn>
                      <a:cxn ang="0">
                        <a:pos x="285" y="82"/>
                      </a:cxn>
                      <a:cxn ang="0">
                        <a:pos x="191" y="66"/>
                      </a:cxn>
                      <a:cxn ang="0">
                        <a:pos x="339" y="34"/>
                      </a:cxn>
                      <a:cxn ang="0">
                        <a:pos x="241" y="3"/>
                      </a:cxn>
                      <a:cxn ang="0">
                        <a:pos x="143" y="48"/>
                      </a:cxn>
                      <a:cxn ang="0">
                        <a:pos x="4" y="216"/>
                      </a:cxn>
                    </a:cxnLst>
                    <a:rect l="0" t="0" r="r" b="b"/>
                    <a:pathLst>
                      <a:path w="370" h="265">
                        <a:moveTo>
                          <a:pt x="4" y="216"/>
                        </a:moveTo>
                        <a:cubicBezTo>
                          <a:pt x="2" y="231"/>
                          <a:pt x="0" y="243"/>
                          <a:pt x="1" y="259"/>
                        </a:cubicBezTo>
                        <a:cubicBezTo>
                          <a:pt x="28" y="265"/>
                          <a:pt x="53" y="263"/>
                          <a:pt x="78" y="255"/>
                        </a:cubicBezTo>
                        <a:cubicBezTo>
                          <a:pt x="98" y="250"/>
                          <a:pt x="133" y="240"/>
                          <a:pt x="144" y="224"/>
                        </a:cubicBezTo>
                        <a:cubicBezTo>
                          <a:pt x="147" y="219"/>
                          <a:pt x="175" y="214"/>
                          <a:pt x="185" y="214"/>
                        </a:cubicBezTo>
                        <a:cubicBezTo>
                          <a:pt x="229" y="214"/>
                          <a:pt x="302" y="248"/>
                          <a:pt x="299" y="219"/>
                        </a:cubicBezTo>
                        <a:cubicBezTo>
                          <a:pt x="296" y="213"/>
                          <a:pt x="226" y="193"/>
                          <a:pt x="193" y="179"/>
                        </a:cubicBezTo>
                        <a:cubicBezTo>
                          <a:pt x="181" y="173"/>
                          <a:pt x="178" y="167"/>
                          <a:pt x="180" y="165"/>
                        </a:cubicBezTo>
                        <a:cubicBezTo>
                          <a:pt x="200" y="139"/>
                          <a:pt x="329" y="219"/>
                          <a:pt x="335" y="197"/>
                        </a:cubicBezTo>
                        <a:cubicBezTo>
                          <a:pt x="334" y="181"/>
                          <a:pt x="293" y="161"/>
                          <a:pt x="265" y="146"/>
                        </a:cubicBezTo>
                        <a:cubicBezTo>
                          <a:pt x="241" y="133"/>
                          <a:pt x="214" y="125"/>
                          <a:pt x="184" y="122"/>
                        </a:cubicBezTo>
                        <a:cubicBezTo>
                          <a:pt x="186" y="93"/>
                          <a:pt x="237" y="103"/>
                          <a:pt x="284" y="114"/>
                        </a:cubicBezTo>
                        <a:cubicBezTo>
                          <a:pt x="326" y="127"/>
                          <a:pt x="367" y="149"/>
                          <a:pt x="370" y="142"/>
                        </a:cubicBezTo>
                        <a:cubicBezTo>
                          <a:pt x="370" y="119"/>
                          <a:pt x="306" y="92"/>
                          <a:pt x="285" y="82"/>
                        </a:cubicBezTo>
                        <a:cubicBezTo>
                          <a:pt x="262" y="72"/>
                          <a:pt x="204" y="81"/>
                          <a:pt x="191" y="66"/>
                        </a:cubicBezTo>
                        <a:cubicBezTo>
                          <a:pt x="212" y="5"/>
                          <a:pt x="338" y="49"/>
                          <a:pt x="339" y="34"/>
                        </a:cubicBezTo>
                        <a:cubicBezTo>
                          <a:pt x="336" y="15"/>
                          <a:pt x="265" y="4"/>
                          <a:pt x="241" y="3"/>
                        </a:cubicBezTo>
                        <a:cubicBezTo>
                          <a:pt x="191" y="0"/>
                          <a:pt x="179" y="20"/>
                          <a:pt x="143" y="48"/>
                        </a:cubicBezTo>
                        <a:cubicBezTo>
                          <a:pt x="89" y="90"/>
                          <a:pt x="0" y="130"/>
                          <a:pt x="4" y="21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7" name="Oval 304"/>
                  <p:cNvSpPr>
                    <a:spLocks noChangeArrowheads="1"/>
                  </p:cNvSpPr>
                  <p:nvPr/>
                </p:nvSpPr>
                <p:spPr bwMode="gray">
                  <a:xfrm>
                    <a:off x="-417513" y="15395576"/>
                    <a:ext cx="668338" cy="671513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8" name="Freeform 305"/>
                  <p:cNvSpPr>
                    <a:spLocks/>
                  </p:cNvSpPr>
                  <p:nvPr/>
                </p:nvSpPr>
                <p:spPr bwMode="gray">
                  <a:xfrm>
                    <a:off x="-533400" y="15692438"/>
                    <a:ext cx="2347913" cy="1858963"/>
                  </a:xfrm>
                  <a:custGeom>
                    <a:avLst/>
                    <a:gdLst/>
                    <a:ahLst/>
                    <a:cxnLst>
                      <a:cxn ang="0">
                        <a:pos x="24" y="461"/>
                      </a:cxn>
                      <a:cxn ang="0">
                        <a:pos x="189" y="375"/>
                      </a:cxn>
                      <a:cxn ang="0">
                        <a:pos x="347" y="276"/>
                      </a:cxn>
                      <a:cxn ang="0">
                        <a:pos x="497" y="157"/>
                      </a:cxn>
                      <a:cxn ang="0">
                        <a:pos x="625" y="12"/>
                      </a:cxn>
                      <a:cxn ang="0">
                        <a:pos x="452" y="111"/>
                      </a:cxn>
                      <a:cxn ang="0">
                        <a:pos x="268" y="240"/>
                      </a:cxn>
                      <a:cxn ang="0">
                        <a:pos x="0" y="496"/>
                      </a:cxn>
                    </a:cxnLst>
                    <a:rect l="0" t="0" r="r" b="b"/>
                    <a:pathLst>
                      <a:path w="626" h="496">
                        <a:moveTo>
                          <a:pt x="24" y="461"/>
                        </a:moveTo>
                        <a:cubicBezTo>
                          <a:pt x="83" y="466"/>
                          <a:pt x="144" y="404"/>
                          <a:pt x="189" y="375"/>
                        </a:cubicBezTo>
                        <a:cubicBezTo>
                          <a:pt x="240" y="343"/>
                          <a:pt x="297" y="313"/>
                          <a:pt x="347" y="276"/>
                        </a:cubicBezTo>
                        <a:cubicBezTo>
                          <a:pt x="397" y="237"/>
                          <a:pt x="450" y="200"/>
                          <a:pt x="497" y="157"/>
                        </a:cubicBezTo>
                        <a:cubicBezTo>
                          <a:pt x="535" y="123"/>
                          <a:pt x="626" y="64"/>
                          <a:pt x="625" y="12"/>
                        </a:cubicBezTo>
                        <a:cubicBezTo>
                          <a:pt x="557" y="0"/>
                          <a:pt x="498" y="71"/>
                          <a:pt x="452" y="111"/>
                        </a:cubicBezTo>
                        <a:cubicBezTo>
                          <a:pt x="395" y="159"/>
                          <a:pt x="326" y="191"/>
                          <a:pt x="268" y="240"/>
                        </a:cubicBezTo>
                        <a:cubicBezTo>
                          <a:pt x="172" y="320"/>
                          <a:pt x="62" y="387"/>
                          <a:pt x="0" y="49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19" name="Freeform 306"/>
                  <p:cNvSpPr>
                    <a:spLocks/>
                  </p:cNvSpPr>
                  <p:nvPr/>
                </p:nvSpPr>
                <p:spPr bwMode="gray">
                  <a:xfrm>
                    <a:off x="-1835150" y="15640051"/>
                    <a:ext cx="1890713" cy="989013"/>
                  </a:xfrm>
                  <a:custGeom>
                    <a:avLst/>
                    <a:gdLst/>
                    <a:ahLst/>
                    <a:cxnLst>
                      <a:cxn ang="0">
                        <a:pos x="103" y="46"/>
                      </a:cxn>
                      <a:cxn ang="0">
                        <a:pos x="179" y="82"/>
                      </a:cxn>
                      <a:cxn ang="0">
                        <a:pos x="290" y="87"/>
                      </a:cxn>
                      <a:cxn ang="0">
                        <a:pos x="500" y="41"/>
                      </a:cxn>
                      <a:cxn ang="0">
                        <a:pos x="354" y="146"/>
                      </a:cxn>
                      <a:cxn ang="0">
                        <a:pos x="91" y="90"/>
                      </a:cxn>
                      <a:cxn ang="0">
                        <a:pos x="202" y="238"/>
                      </a:cxn>
                      <a:cxn ang="0">
                        <a:pos x="86" y="0"/>
                      </a:cxn>
                    </a:cxnLst>
                    <a:rect l="0" t="0" r="r" b="b"/>
                    <a:pathLst>
                      <a:path w="504" h="264">
                        <a:moveTo>
                          <a:pt x="103" y="46"/>
                        </a:moveTo>
                        <a:cubicBezTo>
                          <a:pt x="131" y="56"/>
                          <a:pt x="151" y="74"/>
                          <a:pt x="179" y="82"/>
                        </a:cubicBezTo>
                        <a:cubicBezTo>
                          <a:pt x="213" y="90"/>
                          <a:pt x="253" y="88"/>
                          <a:pt x="290" y="87"/>
                        </a:cubicBezTo>
                        <a:cubicBezTo>
                          <a:pt x="369" y="86"/>
                          <a:pt x="426" y="47"/>
                          <a:pt x="500" y="41"/>
                        </a:cubicBezTo>
                        <a:cubicBezTo>
                          <a:pt x="504" y="138"/>
                          <a:pt x="442" y="146"/>
                          <a:pt x="354" y="146"/>
                        </a:cubicBezTo>
                        <a:cubicBezTo>
                          <a:pt x="248" y="146"/>
                          <a:pt x="177" y="138"/>
                          <a:pt x="91" y="90"/>
                        </a:cubicBezTo>
                        <a:cubicBezTo>
                          <a:pt x="93" y="164"/>
                          <a:pt x="164" y="188"/>
                          <a:pt x="202" y="238"/>
                        </a:cubicBezTo>
                        <a:cubicBezTo>
                          <a:pt x="89" y="264"/>
                          <a:pt x="0" y="69"/>
                          <a:pt x="8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0" name="Freeform 307"/>
                  <p:cNvSpPr>
                    <a:spLocks/>
                  </p:cNvSpPr>
                  <p:nvPr/>
                </p:nvSpPr>
                <p:spPr bwMode="gray">
                  <a:xfrm>
                    <a:off x="246062" y="17765713"/>
                    <a:ext cx="1792288" cy="2166938"/>
                  </a:xfrm>
                  <a:custGeom>
                    <a:avLst/>
                    <a:gdLst/>
                    <a:ahLst/>
                    <a:cxnLst>
                      <a:cxn ang="0">
                        <a:pos x="437" y="187"/>
                      </a:cxn>
                      <a:cxn ang="0">
                        <a:pos x="383" y="519"/>
                      </a:cxn>
                      <a:cxn ang="0">
                        <a:pos x="192" y="543"/>
                      </a:cxn>
                      <a:cxn ang="0">
                        <a:pos x="0" y="577"/>
                      </a:cxn>
                      <a:cxn ang="0">
                        <a:pos x="197" y="484"/>
                      </a:cxn>
                      <a:cxn ang="0">
                        <a:pos x="330" y="356"/>
                      </a:cxn>
                      <a:cxn ang="0">
                        <a:pos x="408" y="175"/>
                      </a:cxn>
                      <a:cxn ang="0">
                        <a:pos x="443" y="0"/>
                      </a:cxn>
                    </a:cxnLst>
                    <a:rect l="0" t="0" r="r" b="b"/>
                    <a:pathLst>
                      <a:path w="478" h="578">
                        <a:moveTo>
                          <a:pt x="437" y="187"/>
                        </a:moveTo>
                        <a:cubicBezTo>
                          <a:pt x="478" y="282"/>
                          <a:pt x="415" y="429"/>
                          <a:pt x="383" y="519"/>
                        </a:cubicBezTo>
                        <a:cubicBezTo>
                          <a:pt x="320" y="532"/>
                          <a:pt x="254" y="532"/>
                          <a:pt x="192" y="543"/>
                        </a:cubicBezTo>
                        <a:cubicBezTo>
                          <a:pt x="129" y="555"/>
                          <a:pt x="64" y="578"/>
                          <a:pt x="0" y="577"/>
                        </a:cubicBezTo>
                        <a:cubicBezTo>
                          <a:pt x="46" y="530"/>
                          <a:pt x="137" y="510"/>
                          <a:pt x="197" y="484"/>
                        </a:cubicBezTo>
                        <a:cubicBezTo>
                          <a:pt x="264" y="456"/>
                          <a:pt x="295" y="423"/>
                          <a:pt x="330" y="356"/>
                        </a:cubicBezTo>
                        <a:cubicBezTo>
                          <a:pt x="359" y="301"/>
                          <a:pt x="389" y="237"/>
                          <a:pt x="408" y="175"/>
                        </a:cubicBezTo>
                        <a:cubicBezTo>
                          <a:pt x="425" y="118"/>
                          <a:pt x="419" y="53"/>
                          <a:pt x="44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1" name="Freeform 308"/>
                  <p:cNvSpPr>
                    <a:spLocks/>
                  </p:cNvSpPr>
                  <p:nvPr/>
                </p:nvSpPr>
                <p:spPr bwMode="gray">
                  <a:xfrm>
                    <a:off x="1371600" y="10360026"/>
                    <a:ext cx="363538" cy="3490913"/>
                  </a:xfrm>
                  <a:custGeom>
                    <a:avLst/>
                    <a:gdLst/>
                    <a:ahLst/>
                    <a:cxnLst>
                      <a:cxn ang="0">
                        <a:pos x="0" y="29"/>
                      </a:cxn>
                      <a:cxn ang="0">
                        <a:pos x="12" y="235"/>
                      </a:cxn>
                      <a:cxn ang="0">
                        <a:pos x="30" y="450"/>
                      </a:cxn>
                      <a:cxn ang="0">
                        <a:pos x="18" y="666"/>
                      </a:cxn>
                      <a:cxn ang="0">
                        <a:pos x="12" y="771"/>
                      </a:cxn>
                      <a:cxn ang="0">
                        <a:pos x="94" y="931"/>
                      </a:cxn>
                      <a:cxn ang="0">
                        <a:pos x="94" y="666"/>
                      </a:cxn>
                      <a:cxn ang="0">
                        <a:pos x="83" y="399"/>
                      </a:cxn>
                      <a:cxn ang="0">
                        <a:pos x="29" y="158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97" h="931">
                        <a:moveTo>
                          <a:pt x="0" y="29"/>
                        </a:moveTo>
                        <a:cubicBezTo>
                          <a:pt x="33" y="79"/>
                          <a:pt x="3" y="174"/>
                          <a:pt x="12" y="235"/>
                        </a:cubicBezTo>
                        <a:cubicBezTo>
                          <a:pt x="23" y="307"/>
                          <a:pt x="19" y="379"/>
                          <a:pt x="30" y="450"/>
                        </a:cubicBezTo>
                        <a:cubicBezTo>
                          <a:pt x="41" y="525"/>
                          <a:pt x="24" y="593"/>
                          <a:pt x="18" y="666"/>
                        </a:cubicBezTo>
                        <a:cubicBezTo>
                          <a:pt x="15" y="694"/>
                          <a:pt x="7" y="748"/>
                          <a:pt x="12" y="771"/>
                        </a:cubicBezTo>
                        <a:cubicBezTo>
                          <a:pt x="20" y="804"/>
                          <a:pt x="76" y="906"/>
                          <a:pt x="94" y="931"/>
                        </a:cubicBezTo>
                        <a:cubicBezTo>
                          <a:pt x="97" y="875"/>
                          <a:pt x="93" y="728"/>
                          <a:pt x="94" y="666"/>
                        </a:cubicBezTo>
                        <a:cubicBezTo>
                          <a:pt x="95" y="576"/>
                          <a:pt x="90" y="487"/>
                          <a:pt x="83" y="399"/>
                        </a:cubicBezTo>
                        <a:cubicBezTo>
                          <a:pt x="75" y="317"/>
                          <a:pt x="42" y="239"/>
                          <a:pt x="29" y="158"/>
                        </a:cubicBezTo>
                        <a:cubicBezTo>
                          <a:pt x="20" y="97"/>
                          <a:pt x="25" y="55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2" name="Freeform 309"/>
                  <p:cNvSpPr>
                    <a:spLocks/>
                  </p:cNvSpPr>
                  <p:nvPr/>
                </p:nvSpPr>
                <p:spPr bwMode="gray">
                  <a:xfrm>
                    <a:off x="479425" y="13655676"/>
                    <a:ext cx="1484313" cy="1492250"/>
                  </a:xfrm>
                  <a:custGeom>
                    <a:avLst/>
                    <a:gdLst/>
                    <a:ahLst/>
                    <a:cxnLst>
                      <a:cxn ang="0">
                        <a:pos x="330" y="55"/>
                      </a:cxn>
                      <a:cxn ang="0">
                        <a:pos x="318" y="109"/>
                      </a:cxn>
                      <a:cxn ang="0">
                        <a:pos x="108" y="33"/>
                      </a:cxn>
                      <a:cxn ang="0">
                        <a:pos x="209" y="113"/>
                      </a:cxn>
                      <a:cxn ang="0">
                        <a:pos x="243" y="164"/>
                      </a:cxn>
                      <a:cxn ang="0">
                        <a:pos x="287" y="214"/>
                      </a:cxn>
                      <a:cxn ang="0">
                        <a:pos x="221" y="219"/>
                      </a:cxn>
                      <a:cxn ang="0">
                        <a:pos x="256" y="289"/>
                      </a:cxn>
                      <a:cxn ang="0">
                        <a:pos x="170" y="329"/>
                      </a:cxn>
                      <a:cxn ang="0">
                        <a:pos x="0" y="398"/>
                      </a:cxn>
                      <a:cxn ang="0">
                        <a:pos x="194" y="344"/>
                      </a:cxn>
                      <a:cxn ang="0">
                        <a:pos x="314" y="351"/>
                      </a:cxn>
                      <a:cxn ang="0">
                        <a:pos x="396" y="370"/>
                      </a:cxn>
                      <a:cxn ang="0">
                        <a:pos x="357" y="238"/>
                      </a:cxn>
                      <a:cxn ang="0">
                        <a:pos x="330" y="98"/>
                      </a:cxn>
                    </a:cxnLst>
                    <a:rect l="0" t="0" r="r" b="b"/>
                    <a:pathLst>
                      <a:path w="396" h="398">
                        <a:moveTo>
                          <a:pt x="330" y="55"/>
                        </a:moveTo>
                        <a:cubicBezTo>
                          <a:pt x="319" y="72"/>
                          <a:pt x="324" y="91"/>
                          <a:pt x="318" y="109"/>
                        </a:cubicBezTo>
                        <a:cubicBezTo>
                          <a:pt x="238" y="165"/>
                          <a:pt x="183" y="0"/>
                          <a:pt x="108" y="33"/>
                        </a:cubicBezTo>
                        <a:cubicBezTo>
                          <a:pt x="96" y="79"/>
                          <a:pt x="186" y="88"/>
                          <a:pt x="209" y="113"/>
                        </a:cubicBezTo>
                        <a:cubicBezTo>
                          <a:pt x="222" y="129"/>
                          <a:pt x="223" y="147"/>
                          <a:pt x="243" y="164"/>
                        </a:cubicBezTo>
                        <a:cubicBezTo>
                          <a:pt x="262" y="180"/>
                          <a:pt x="285" y="188"/>
                          <a:pt x="287" y="214"/>
                        </a:cubicBezTo>
                        <a:cubicBezTo>
                          <a:pt x="266" y="222"/>
                          <a:pt x="243" y="218"/>
                          <a:pt x="221" y="219"/>
                        </a:cubicBezTo>
                        <a:cubicBezTo>
                          <a:pt x="210" y="261"/>
                          <a:pt x="255" y="250"/>
                          <a:pt x="256" y="289"/>
                        </a:cubicBezTo>
                        <a:cubicBezTo>
                          <a:pt x="257" y="338"/>
                          <a:pt x="204" y="331"/>
                          <a:pt x="170" y="329"/>
                        </a:cubicBezTo>
                        <a:cubicBezTo>
                          <a:pt x="94" y="325"/>
                          <a:pt x="33" y="326"/>
                          <a:pt x="0" y="398"/>
                        </a:cubicBezTo>
                        <a:cubicBezTo>
                          <a:pt x="21" y="350"/>
                          <a:pt x="148" y="348"/>
                          <a:pt x="194" y="344"/>
                        </a:cubicBezTo>
                        <a:cubicBezTo>
                          <a:pt x="237" y="339"/>
                          <a:pt x="273" y="340"/>
                          <a:pt x="314" y="351"/>
                        </a:cubicBezTo>
                        <a:cubicBezTo>
                          <a:pt x="341" y="357"/>
                          <a:pt x="369" y="383"/>
                          <a:pt x="396" y="370"/>
                        </a:cubicBezTo>
                        <a:cubicBezTo>
                          <a:pt x="384" y="326"/>
                          <a:pt x="364" y="287"/>
                          <a:pt x="357" y="238"/>
                        </a:cubicBezTo>
                        <a:cubicBezTo>
                          <a:pt x="351" y="193"/>
                          <a:pt x="326" y="145"/>
                          <a:pt x="330" y="9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3" name="Freeform 310"/>
                  <p:cNvSpPr>
                    <a:spLocks/>
                  </p:cNvSpPr>
                  <p:nvPr/>
                </p:nvSpPr>
                <p:spPr bwMode="gray">
                  <a:xfrm>
                    <a:off x="-3533775" y="11672888"/>
                    <a:ext cx="1027113" cy="1357313"/>
                  </a:xfrm>
                  <a:custGeom>
                    <a:avLst/>
                    <a:gdLst/>
                    <a:ahLst/>
                    <a:cxnLst>
                      <a:cxn ang="0">
                        <a:pos x="173" y="43"/>
                      </a:cxn>
                      <a:cxn ang="0">
                        <a:pos x="47" y="57"/>
                      </a:cxn>
                      <a:cxn ang="0">
                        <a:pos x="133" y="133"/>
                      </a:cxn>
                      <a:cxn ang="0">
                        <a:pos x="181" y="236"/>
                      </a:cxn>
                      <a:cxn ang="0">
                        <a:pos x="122" y="311"/>
                      </a:cxn>
                      <a:cxn ang="0">
                        <a:pos x="211" y="320"/>
                      </a:cxn>
                      <a:cxn ang="0">
                        <a:pos x="274" y="362"/>
                      </a:cxn>
                      <a:cxn ang="0">
                        <a:pos x="197" y="182"/>
                      </a:cxn>
                      <a:cxn ang="0">
                        <a:pos x="144" y="94"/>
                      </a:cxn>
                      <a:cxn ang="0">
                        <a:pos x="192" y="0"/>
                      </a:cxn>
                    </a:cxnLst>
                    <a:rect l="0" t="0" r="r" b="b"/>
                    <a:pathLst>
                      <a:path w="274" h="362">
                        <a:moveTo>
                          <a:pt x="173" y="43"/>
                        </a:moveTo>
                        <a:cubicBezTo>
                          <a:pt x="131" y="91"/>
                          <a:pt x="76" y="24"/>
                          <a:pt x="47" y="57"/>
                        </a:cubicBezTo>
                        <a:cubicBezTo>
                          <a:pt x="0" y="111"/>
                          <a:pt x="107" y="119"/>
                          <a:pt x="133" y="133"/>
                        </a:cubicBezTo>
                        <a:cubicBezTo>
                          <a:pt x="142" y="171"/>
                          <a:pt x="169" y="200"/>
                          <a:pt x="181" y="236"/>
                        </a:cubicBezTo>
                        <a:cubicBezTo>
                          <a:pt x="206" y="307"/>
                          <a:pt x="107" y="248"/>
                          <a:pt x="122" y="311"/>
                        </a:cubicBezTo>
                        <a:cubicBezTo>
                          <a:pt x="156" y="316"/>
                          <a:pt x="179" y="302"/>
                          <a:pt x="211" y="320"/>
                        </a:cubicBezTo>
                        <a:cubicBezTo>
                          <a:pt x="235" y="334"/>
                          <a:pt x="245" y="354"/>
                          <a:pt x="274" y="362"/>
                        </a:cubicBezTo>
                        <a:cubicBezTo>
                          <a:pt x="232" y="335"/>
                          <a:pt x="223" y="229"/>
                          <a:pt x="197" y="182"/>
                        </a:cubicBezTo>
                        <a:cubicBezTo>
                          <a:pt x="181" y="153"/>
                          <a:pt x="150" y="128"/>
                          <a:pt x="144" y="94"/>
                        </a:cubicBezTo>
                        <a:cubicBezTo>
                          <a:pt x="136" y="43"/>
                          <a:pt x="186" y="43"/>
                          <a:pt x="19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4" name="Freeform 311"/>
                  <p:cNvSpPr>
                    <a:spLocks/>
                  </p:cNvSpPr>
                  <p:nvPr/>
                </p:nvSpPr>
                <p:spPr bwMode="gray">
                  <a:xfrm>
                    <a:off x="-2686050" y="10748963"/>
                    <a:ext cx="685800" cy="747713"/>
                  </a:xfrm>
                  <a:custGeom>
                    <a:avLst/>
                    <a:gdLst/>
                    <a:ahLst/>
                    <a:cxnLst>
                      <a:cxn ang="0">
                        <a:pos x="180" y="199"/>
                      </a:cxn>
                      <a:cxn ang="0">
                        <a:pos x="162" y="77"/>
                      </a:cxn>
                      <a:cxn ang="0">
                        <a:pos x="76" y="28"/>
                      </a:cxn>
                      <a:cxn ang="0">
                        <a:pos x="28" y="94"/>
                      </a:cxn>
                      <a:cxn ang="0">
                        <a:pos x="2" y="175"/>
                      </a:cxn>
                      <a:cxn ang="0">
                        <a:pos x="20" y="148"/>
                      </a:cxn>
                      <a:cxn ang="0">
                        <a:pos x="52" y="125"/>
                      </a:cxn>
                      <a:cxn ang="0">
                        <a:pos x="114" y="78"/>
                      </a:cxn>
                      <a:cxn ang="0">
                        <a:pos x="180" y="191"/>
                      </a:cxn>
                    </a:cxnLst>
                    <a:rect l="0" t="0" r="r" b="b"/>
                    <a:pathLst>
                      <a:path w="183" h="199">
                        <a:moveTo>
                          <a:pt x="180" y="199"/>
                        </a:moveTo>
                        <a:cubicBezTo>
                          <a:pt x="180" y="154"/>
                          <a:pt x="183" y="115"/>
                          <a:pt x="162" y="77"/>
                        </a:cubicBezTo>
                        <a:cubicBezTo>
                          <a:pt x="145" y="47"/>
                          <a:pt x="112" y="0"/>
                          <a:pt x="76" y="28"/>
                        </a:cubicBezTo>
                        <a:cubicBezTo>
                          <a:pt x="72" y="76"/>
                          <a:pt x="57" y="67"/>
                          <a:pt x="28" y="94"/>
                        </a:cubicBezTo>
                        <a:cubicBezTo>
                          <a:pt x="0" y="120"/>
                          <a:pt x="25" y="147"/>
                          <a:pt x="2" y="175"/>
                        </a:cubicBezTo>
                        <a:cubicBezTo>
                          <a:pt x="12" y="169"/>
                          <a:pt x="14" y="155"/>
                          <a:pt x="20" y="148"/>
                        </a:cubicBezTo>
                        <a:cubicBezTo>
                          <a:pt x="34" y="135"/>
                          <a:pt x="36" y="135"/>
                          <a:pt x="52" y="125"/>
                        </a:cubicBezTo>
                        <a:cubicBezTo>
                          <a:pt x="66" y="117"/>
                          <a:pt x="101" y="80"/>
                          <a:pt x="114" y="78"/>
                        </a:cubicBezTo>
                        <a:cubicBezTo>
                          <a:pt x="164" y="70"/>
                          <a:pt x="158" y="165"/>
                          <a:pt x="180" y="19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5" name="Freeform 312"/>
                  <p:cNvSpPr>
                    <a:spLocks/>
                  </p:cNvSpPr>
                  <p:nvPr/>
                </p:nvSpPr>
                <p:spPr bwMode="gray">
                  <a:xfrm>
                    <a:off x="-3184525" y="10048876"/>
                    <a:ext cx="209550" cy="603250"/>
                  </a:xfrm>
                  <a:custGeom>
                    <a:avLst/>
                    <a:gdLst/>
                    <a:ahLst/>
                    <a:cxnLst>
                      <a:cxn ang="0">
                        <a:pos x="56" y="0"/>
                      </a:cxn>
                      <a:cxn ang="0">
                        <a:pos x="34" y="89"/>
                      </a:cxn>
                      <a:cxn ang="0">
                        <a:pos x="10" y="155"/>
                      </a:cxn>
                      <a:cxn ang="0">
                        <a:pos x="21" y="78"/>
                      </a:cxn>
                    </a:cxnLst>
                    <a:rect l="0" t="0" r="r" b="b"/>
                    <a:pathLst>
                      <a:path w="56" h="161">
                        <a:moveTo>
                          <a:pt x="56" y="0"/>
                        </a:moveTo>
                        <a:cubicBezTo>
                          <a:pt x="49" y="35"/>
                          <a:pt x="30" y="47"/>
                          <a:pt x="34" y="89"/>
                        </a:cubicBezTo>
                        <a:cubicBezTo>
                          <a:pt x="36" y="112"/>
                          <a:pt x="55" y="161"/>
                          <a:pt x="10" y="155"/>
                        </a:cubicBezTo>
                        <a:cubicBezTo>
                          <a:pt x="0" y="123"/>
                          <a:pt x="14" y="107"/>
                          <a:pt x="21" y="7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6" name="Freeform 313"/>
                  <p:cNvSpPr>
                    <a:spLocks/>
                  </p:cNvSpPr>
                  <p:nvPr/>
                </p:nvSpPr>
                <p:spPr bwMode="gray">
                  <a:xfrm>
                    <a:off x="2098675" y="12576176"/>
                    <a:ext cx="338138" cy="584200"/>
                  </a:xfrm>
                  <a:custGeom>
                    <a:avLst/>
                    <a:gdLst/>
                    <a:ahLst/>
                    <a:cxnLst>
                      <a:cxn ang="0">
                        <a:pos x="77" y="0"/>
                      </a:cxn>
                      <a:cxn ang="0">
                        <a:pos x="12" y="144"/>
                      </a:cxn>
                      <a:cxn ang="0">
                        <a:pos x="73" y="20"/>
                      </a:cxn>
                    </a:cxnLst>
                    <a:rect l="0" t="0" r="r" b="b"/>
                    <a:pathLst>
                      <a:path w="90" h="156">
                        <a:moveTo>
                          <a:pt x="77" y="0"/>
                        </a:moveTo>
                        <a:cubicBezTo>
                          <a:pt x="90" y="55"/>
                          <a:pt x="0" y="75"/>
                          <a:pt x="12" y="144"/>
                        </a:cubicBezTo>
                        <a:cubicBezTo>
                          <a:pt x="69" y="156"/>
                          <a:pt x="57" y="50"/>
                          <a:pt x="73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7" name="Freeform 314"/>
                  <p:cNvSpPr>
                    <a:spLocks/>
                  </p:cNvSpPr>
                  <p:nvPr/>
                </p:nvSpPr>
                <p:spPr bwMode="gray">
                  <a:xfrm>
                    <a:off x="-2006600" y="11877676"/>
                    <a:ext cx="688975" cy="1328738"/>
                  </a:xfrm>
                  <a:custGeom>
                    <a:avLst/>
                    <a:gdLst/>
                    <a:ahLst/>
                    <a:cxnLst>
                      <a:cxn ang="0">
                        <a:pos x="46" y="323"/>
                      </a:cxn>
                      <a:cxn ang="0">
                        <a:pos x="81" y="249"/>
                      </a:cxn>
                      <a:cxn ang="0">
                        <a:pos x="166" y="244"/>
                      </a:cxn>
                      <a:cxn ang="0">
                        <a:pos x="74" y="139"/>
                      </a:cxn>
                      <a:cxn ang="0">
                        <a:pos x="0" y="0"/>
                      </a:cxn>
                      <a:cxn ang="0">
                        <a:pos x="30" y="85"/>
                      </a:cxn>
                      <a:cxn ang="0">
                        <a:pos x="49" y="179"/>
                      </a:cxn>
                      <a:cxn ang="0">
                        <a:pos x="50" y="272"/>
                      </a:cxn>
                      <a:cxn ang="0">
                        <a:pos x="50" y="354"/>
                      </a:cxn>
                    </a:cxnLst>
                    <a:rect l="0" t="0" r="r" b="b"/>
                    <a:pathLst>
                      <a:path w="184" h="354">
                        <a:moveTo>
                          <a:pt x="46" y="323"/>
                        </a:moveTo>
                        <a:cubicBezTo>
                          <a:pt x="53" y="297"/>
                          <a:pt x="55" y="264"/>
                          <a:pt x="81" y="249"/>
                        </a:cubicBezTo>
                        <a:cubicBezTo>
                          <a:pt x="108" y="232"/>
                          <a:pt x="137" y="249"/>
                          <a:pt x="166" y="244"/>
                        </a:cubicBezTo>
                        <a:cubicBezTo>
                          <a:pt x="184" y="213"/>
                          <a:pt x="93" y="159"/>
                          <a:pt x="74" y="139"/>
                        </a:cubicBezTo>
                        <a:cubicBezTo>
                          <a:pt x="48" y="109"/>
                          <a:pt x="33" y="11"/>
                          <a:pt x="0" y="0"/>
                        </a:cubicBezTo>
                        <a:cubicBezTo>
                          <a:pt x="1" y="28"/>
                          <a:pt x="21" y="59"/>
                          <a:pt x="30" y="85"/>
                        </a:cubicBezTo>
                        <a:cubicBezTo>
                          <a:pt x="41" y="115"/>
                          <a:pt x="43" y="150"/>
                          <a:pt x="49" y="179"/>
                        </a:cubicBezTo>
                        <a:cubicBezTo>
                          <a:pt x="56" y="213"/>
                          <a:pt x="59" y="237"/>
                          <a:pt x="50" y="272"/>
                        </a:cubicBezTo>
                        <a:cubicBezTo>
                          <a:pt x="44" y="296"/>
                          <a:pt x="23" y="334"/>
                          <a:pt x="50" y="35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8" name="Freeform 315"/>
                  <p:cNvSpPr>
                    <a:spLocks/>
                  </p:cNvSpPr>
                  <p:nvPr/>
                </p:nvSpPr>
                <p:spPr bwMode="gray">
                  <a:xfrm>
                    <a:off x="1614487" y="9932988"/>
                    <a:ext cx="654050" cy="1104900"/>
                  </a:xfrm>
                  <a:custGeom>
                    <a:avLst/>
                    <a:gdLst/>
                    <a:ahLst/>
                    <a:cxnLst>
                      <a:cxn ang="0">
                        <a:pos x="128" y="0"/>
                      </a:cxn>
                      <a:cxn ang="0">
                        <a:pos x="79" y="98"/>
                      </a:cxn>
                      <a:cxn ang="0">
                        <a:pos x="20" y="175"/>
                      </a:cxn>
                      <a:cxn ang="0">
                        <a:pos x="109" y="179"/>
                      </a:cxn>
                      <a:cxn ang="0">
                        <a:pos x="74" y="238"/>
                      </a:cxn>
                      <a:cxn ang="0">
                        <a:pos x="82" y="288"/>
                      </a:cxn>
                      <a:cxn ang="0">
                        <a:pos x="136" y="8"/>
                      </a:cxn>
                    </a:cxnLst>
                    <a:rect l="0" t="0" r="r" b="b"/>
                    <a:pathLst>
                      <a:path w="174" h="295">
                        <a:moveTo>
                          <a:pt x="128" y="0"/>
                        </a:moveTo>
                        <a:cubicBezTo>
                          <a:pt x="134" y="41"/>
                          <a:pt x="105" y="72"/>
                          <a:pt x="79" y="98"/>
                        </a:cubicBezTo>
                        <a:cubicBezTo>
                          <a:pt x="60" y="117"/>
                          <a:pt x="0" y="144"/>
                          <a:pt x="20" y="175"/>
                        </a:cubicBezTo>
                        <a:cubicBezTo>
                          <a:pt x="45" y="214"/>
                          <a:pt x="99" y="149"/>
                          <a:pt x="109" y="179"/>
                        </a:cubicBezTo>
                        <a:cubicBezTo>
                          <a:pt x="115" y="197"/>
                          <a:pt x="77" y="221"/>
                          <a:pt x="74" y="238"/>
                        </a:cubicBezTo>
                        <a:cubicBezTo>
                          <a:pt x="72" y="248"/>
                          <a:pt x="83" y="273"/>
                          <a:pt x="82" y="288"/>
                        </a:cubicBezTo>
                        <a:cubicBezTo>
                          <a:pt x="174" y="295"/>
                          <a:pt x="147" y="64"/>
                          <a:pt x="136" y="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29" name="Freeform 316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0" name="Freeform 317"/>
                  <p:cNvSpPr>
                    <a:spLocks/>
                  </p:cNvSpPr>
                  <p:nvPr/>
                </p:nvSpPr>
                <p:spPr bwMode="gray">
                  <a:xfrm>
                    <a:off x="-1208088" y="6396038"/>
                    <a:ext cx="584200" cy="2230438"/>
                  </a:xfrm>
                  <a:custGeom>
                    <a:avLst/>
                    <a:gdLst/>
                    <a:ahLst/>
                    <a:cxnLst>
                      <a:cxn ang="0">
                        <a:pos x="98" y="68"/>
                      </a:cxn>
                      <a:cxn ang="0">
                        <a:pos x="66" y="108"/>
                      </a:cxn>
                      <a:cxn ang="0">
                        <a:pos x="55" y="169"/>
                      </a:cxn>
                      <a:cxn ang="0">
                        <a:pos x="75" y="304"/>
                      </a:cxn>
                      <a:cxn ang="0">
                        <a:pos x="107" y="414"/>
                      </a:cxn>
                      <a:cxn ang="0">
                        <a:pos x="116" y="472"/>
                      </a:cxn>
                      <a:cxn ang="0">
                        <a:pos x="108" y="530"/>
                      </a:cxn>
                      <a:cxn ang="0">
                        <a:pos x="119" y="561"/>
                      </a:cxn>
                      <a:cxn ang="0">
                        <a:pos x="123" y="595"/>
                      </a:cxn>
                      <a:cxn ang="0">
                        <a:pos x="66" y="384"/>
                      </a:cxn>
                      <a:cxn ang="0">
                        <a:pos x="47" y="296"/>
                      </a:cxn>
                      <a:cxn ang="0">
                        <a:pos x="41" y="197"/>
                      </a:cxn>
                      <a:cxn ang="0">
                        <a:pos x="8" y="267"/>
                      </a:cxn>
                      <a:cxn ang="0">
                        <a:pos x="18" y="344"/>
                      </a:cxn>
                      <a:cxn ang="0">
                        <a:pos x="1" y="212"/>
                      </a:cxn>
                      <a:cxn ang="0">
                        <a:pos x="37" y="108"/>
                      </a:cxn>
                      <a:cxn ang="0">
                        <a:pos x="40" y="123"/>
                      </a:cxn>
                      <a:cxn ang="0">
                        <a:pos x="57" y="86"/>
                      </a:cxn>
                      <a:cxn ang="0">
                        <a:pos x="84" y="50"/>
                      </a:cxn>
                      <a:cxn ang="0">
                        <a:pos x="118" y="16"/>
                      </a:cxn>
                      <a:cxn ang="0">
                        <a:pos x="156" y="0"/>
                      </a:cxn>
                      <a:cxn ang="0">
                        <a:pos x="77" y="107"/>
                      </a:cxn>
                    </a:cxnLst>
                    <a:rect l="0" t="0" r="r" b="b"/>
                    <a:pathLst>
                      <a:path w="156" h="595">
                        <a:moveTo>
                          <a:pt x="98" y="68"/>
                        </a:moveTo>
                        <a:cubicBezTo>
                          <a:pt x="93" y="84"/>
                          <a:pt x="74" y="93"/>
                          <a:pt x="66" y="108"/>
                        </a:cubicBezTo>
                        <a:cubicBezTo>
                          <a:pt x="54" y="127"/>
                          <a:pt x="54" y="147"/>
                          <a:pt x="55" y="169"/>
                        </a:cubicBezTo>
                        <a:cubicBezTo>
                          <a:pt x="57" y="215"/>
                          <a:pt x="72" y="259"/>
                          <a:pt x="75" y="304"/>
                        </a:cubicBezTo>
                        <a:cubicBezTo>
                          <a:pt x="77" y="343"/>
                          <a:pt x="94" y="379"/>
                          <a:pt x="107" y="414"/>
                        </a:cubicBezTo>
                        <a:cubicBezTo>
                          <a:pt x="113" y="431"/>
                          <a:pt x="118" y="452"/>
                          <a:pt x="116" y="472"/>
                        </a:cubicBezTo>
                        <a:cubicBezTo>
                          <a:pt x="113" y="491"/>
                          <a:pt x="104" y="509"/>
                          <a:pt x="108" y="530"/>
                        </a:cubicBezTo>
                        <a:cubicBezTo>
                          <a:pt x="110" y="540"/>
                          <a:pt x="117" y="550"/>
                          <a:pt x="119" y="561"/>
                        </a:cubicBezTo>
                        <a:cubicBezTo>
                          <a:pt x="122" y="572"/>
                          <a:pt x="120" y="584"/>
                          <a:pt x="123" y="595"/>
                        </a:cubicBezTo>
                        <a:cubicBezTo>
                          <a:pt x="121" y="524"/>
                          <a:pt x="92" y="450"/>
                          <a:pt x="66" y="384"/>
                        </a:cubicBezTo>
                        <a:cubicBezTo>
                          <a:pt x="55" y="353"/>
                          <a:pt x="49" y="330"/>
                          <a:pt x="47" y="296"/>
                        </a:cubicBezTo>
                        <a:cubicBezTo>
                          <a:pt x="46" y="262"/>
                          <a:pt x="46" y="230"/>
                          <a:pt x="41" y="197"/>
                        </a:cubicBezTo>
                        <a:cubicBezTo>
                          <a:pt x="28" y="213"/>
                          <a:pt x="12" y="245"/>
                          <a:pt x="8" y="267"/>
                        </a:cubicBezTo>
                        <a:cubicBezTo>
                          <a:pt x="4" y="295"/>
                          <a:pt x="22" y="318"/>
                          <a:pt x="18" y="344"/>
                        </a:cubicBezTo>
                        <a:cubicBezTo>
                          <a:pt x="2" y="306"/>
                          <a:pt x="1" y="253"/>
                          <a:pt x="1" y="212"/>
                        </a:cubicBezTo>
                        <a:cubicBezTo>
                          <a:pt x="0" y="180"/>
                          <a:pt x="16" y="132"/>
                          <a:pt x="37" y="108"/>
                        </a:cubicBezTo>
                        <a:cubicBezTo>
                          <a:pt x="37" y="113"/>
                          <a:pt x="40" y="117"/>
                          <a:pt x="40" y="123"/>
                        </a:cubicBezTo>
                        <a:cubicBezTo>
                          <a:pt x="46" y="113"/>
                          <a:pt x="50" y="96"/>
                          <a:pt x="57" y="86"/>
                        </a:cubicBezTo>
                        <a:cubicBezTo>
                          <a:pt x="66" y="73"/>
                          <a:pt x="76" y="63"/>
                          <a:pt x="84" y="50"/>
                        </a:cubicBezTo>
                        <a:cubicBezTo>
                          <a:pt x="94" y="34"/>
                          <a:pt x="102" y="25"/>
                          <a:pt x="118" y="16"/>
                        </a:cubicBezTo>
                        <a:cubicBezTo>
                          <a:pt x="129" y="9"/>
                          <a:pt x="144" y="8"/>
                          <a:pt x="156" y="0"/>
                        </a:cubicBezTo>
                        <a:cubicBezTo>
                          <a:pt x="129" y="36"/>
                          <a:pt x="96" y="70"/>
                          <a:pt x="77" y="10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1" name="Freeform 318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2" name="Freeform 319"/>
                  <p:cNvSpPr>
                    <a:spLocks/>
                  </p:cNvSpPr>
                  <p:nvPr/>
                </p:nvSpPr>
                <p:spPr bwMode="gray">
                  <a:xfrm>
                    <a:off x="-1841500" y="7648576"/>
                    <a:ext cx="730250" cy="1177925"/>
                  </a:xfrm>
                  <a:custGeom>
                    <a:avLst/>
                    <a:gdLst/>
                    <a:ahLst/>
                    <a:cxnLst>
                      <a:cxn ang="0">
                        <a:pos x="0" y="229"/>
                      </a:cxn>
                      <a:cxn ang="0">
                        <a:pos x="8" y="266"/>
                      </a:cxn>
                      <a:cxn ang="0">
                        <a:pos x="30" y="295"/>
                      </a:cxn>
                      <a:cxn ang="0">
                        <a:pos x="173" y="221"/>
                      </a:cxn>
                      <a:cxn ang="0">
                        <a:pos x="189" y="109"/>
                      </a:cxn>
                      <a:cxn ang="0">
                        <a:pos x="170" y="54"/>
                      </a:cxn>
                      <a:cxn ang="0">
                        <a:pos x="168" y="0"/>
                      </a:cxn>
                      <a:cxn ang="0">
                        <a:pos x="170" y="69"/>
                      </a:cxn>
                      <a:cxn ang="0">
                        <a:pos x="164" y="148"/>
                      </a:cxn>
                      <a:cxn ang="0">
                        <a:pos x="152" y="60"/>
                      </a:cxn>
                      <a:cxn ang="0">
                        <a:pos x="142" y="151"/>
                      </a:cxn>
                      <a:cxn ang="0">
                        <a:pos x="126" y="233"/>
                      </a:cxn>
                      <a:cxn ang="0">
                        <a:pos x="55" y="282"/>
                      </a:cxn>
                      <a:cxn ang="0">
                        <a:pos x="6" y="227"/>
                      </a:cxn>
                    </a:cxnLst>
                    <a:rect l="0" t="0" r="r" b="b"/>
                    <a:pathLst>
                      <a:path w="195" h="314">
                        <a:moveTo>
                          <a:pt x="0" y="229"/>
                        </a:moveTo>
                        <a:cubicBezTo>
                          <a:pt x="2" y="238"/>
                          <a:pt x="4" y="256"/>
                          <a:pt x="8" y="266"/>
                        </a:cubicBezTo>
                        <a:cubicBezTo>
                          <a:pt x="13" y="277"/>
                          <a:pt x="25" y="283"/>
                          <a:pt x="30" y="295"/>
                        </a:cubicBezTo>
                        <a:cubicBezTo>
                          <a:pt x="87" y="314"/>
                          <a:pt x="154" y="274"/>
                          <a:pt x="173" y="221"/>
                        </a:cubicBezTo>
                        <a:cubicBezTo>
                          <a:pt x="184" y="193"/>
                          <a:pt x="195" y="140"/>
                          <a:pt x="189" y="109"/>
                        </a:cubicBezTo>
                        <a:cubicBezTo>
                          <a:pt x="186" y="90"/>
                          <a:pt x="173" y="72"/>
                          <a:pt x="170" y="54"/>
                        </a:cubicBezTo>
                        <a:cubicBezTo>
                          <a:pt x="166" y="36"/>
                          <a:pt x="168" y="18"/>
                          <a:pt x="168" y="0"/>
                        </a:cubicBezTo>
                        <a:cubicBezTo>
                          <a:pt x="168" y="24"/>
                          <a:pt x="171" y="48"/>
                          <a:pt x="170" y="69"/>
                        </a:cubicBezTo>
                        <a:cubicBezTo>
                          <a:pt x="168" y="95"/>
                          <a:pt x="163" y="121"/>
                          <a:pt x="164" y="148"/>
                        </a:cubicBezTo>
                        <a:cubicBezTo>
                          <a:pt x="146" y="127"/>
                          <a:pt x="152" y="86"/>
                          <a:pt x="152" y="60"/>
                        </a:cubicBezTo>
                        <a:cubicBezTo>
                          <a:pt x="145" y="89"/>
                          <a:pt x="142" y="120"/>
                          <a:pt x="142" y="151"/>
                        </a:cubicBezTo>
                        <a:cubicBezTo>
                          <a:pt x="142" y="182"/>
                          <a:pt x="146" y="211"/>
                          <a:pt x="126" y="233"/>
                        </a:cubicBezTo>
                        <a:cubicBezTo>
                          <a:pt x="106" y="255"/>
                          <a:pt x="87" y="277"/>
                          <a:pt x="55" y="282"/>
                        </a:cubicBezTo>
                        <a:cubicBezTo>
                          <a:pt x="23" y="286"/>
                          <a:pt x="9" y="252"/>
                          <a:pt x="6" y="227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3" name="Freeform 320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4" name="Freeform 321"/>
                  <p:cNvSpPr>
                    <a:spLocks/>
                  </p:cNvSpPr>
                  <p:nvPr/>
                </p:nvSpPr>
                <p:spPr bwMode="gray">
                  <a:xfrm>
                    <a:off x="-2127250" y="8799513"/>
                    <a:ext cx="446088" cy="184150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0" y="17"/>
                      </a:cxn>
                      <a:cxn ang="0">
                        <a:pos x="119" y="2"/>
                      </a:cxn>
                      <a:cxn ang="0">
                        <a:pos x="59" y="23"/>
                      </a:cxn>
                      <a:cxn ang="0">
                        <a:pos x="0" y="6"/>
                      </a:cxn>
                    </a:cxnLst>
                    <a:rect l="0" t="0" r="r" b="b"/>
                    <a:pathLst>
                      <a:path w="119" h="49">
                        <a:moveTo>
                          <a:pt x="0" y="10"/>
                        </a:moveTo>
                        <a:cubicBezTo>
                          <a:pt x="0" y="12"/>
                          <a:pt x="0" y="15"/>
                          <a:pt x="0" y="17"/>
                        </a:cubicBezTo>
                        <a:cubicBezTo>
                          <a:pt x="40" y="33"/>
                          <a:pt x="93" y="49"/>
                          <a:pt x="119" y="2"/>
                        </a:cubicBezTo>
                        <a:cubicBezTo>
                          <a:pt x="91" y="0"/>
                          <a:pt x="82" y="16"/>
                          <a:pt x="59" y="23"/>
                        </a:cubicBezTo>
                        <a:cubicBezTo>
                          <a:pt x="29" y="33"/>
                          <a:pt x="26" y="6"/>
                          <a:pt x="0" y="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5" name="Freeform 322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6" name="Freeform 323"/>
                  <p:cNvSpPr>
                    <a:spLocks/>
                  </p:cNvSpPr>
                  <p:nvPr/>
                </p:nvSpPr>
                <p:spPr bwMode="gray">
                  <a:xfrm>
                    <a:off x="-1103313" y="8147051"/>
                    <a:ext cx="173038" cy="558800"/>
                  </a:xfrm>
                  <a:custGeom>
                    <a:avLst/>
                    <a:gdLst/>
                    <a:ahLst/>
                    <a:cxnLst>
                      <a:cxn ang="0">
                        <a:pos x="2" y="149"/>
                      </a:cxn>
                      <a:cxn ang="0">
                        <a:pos x="31" y="0"/>
                      </a:cxn>
                      <a:cxn ang="0">
                        <a:pos x="43" y="90"/>
                      </a:cxn>
                      <a:cxn ang="0">
                        <a:pos x="0" y="149"/>
                      </a:cxn>
                    </a:cxnLst>
                    <a:rect l="0" t="0" r="r" b="b"/>
                    <a:pathLst>
                      <a:path w="46" h="149">
                        <a:moveTo>
                          <a:pt x="2" y="149"/>
                        </a:moveTo>
                        <a:cubicBezTo>
                          <a:pt x="44" y="125"/>
                          <a:pt x="31" y="38"/>
                          <a:pt x="31" y="0"/>
                        </a:cubicBezTo>
                        <a:cubicBezTo>
                          <a:pt x="30" y="32"/>
                          <a:pt x="41" y="59"/>
                          <a:pt x="43" y="90"/>
                        </a:cubicBezTo>
                        <a:cubicBezTo>
                          <a:pt x="46" y="121"/>
                          <a:pt x="26" y="137"/>
                          <a:pt x="0" y="149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7" name="Freeform 324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8" name="Freeform 325"/>
                  <p:cNvSpPr>
                    <a:spLocks/>
                  </p:cNvSpPr>
                  <p:nvPr/>
                </p:nvSpPr>
                <p:spPr bwMode="gray">
                  <a:xfrm>
                    <a:off x="-847725" y="8450263"/>
                    <a:ext cx="52388" cy="266700"/>
                  </a:xfrm>
                  <a:custGeom>
                    <a:avLst/>
                    <a:gdLst/>
                    <a:ahLst/>
                    <a:cxnLst>
                      <a:cxn ang="0">
                        <a:pos x="14" y="58"/>
                      </a:cxn>
                      <a:cxn ang="0">
                        <a:pos x="4" y="0"/>
                      </a:cxn>
                      <a:cxn ang="0">
                        <a:pos x="2" y="71"/>
                      </a:cxn>
                      <a:cxn ang="0">
                        <a:pos x="8" y="60"/>
                      </a:cxn>
                    </a:cxnLst>
                    <a:rect l="0" t="0" r="r" b="b"/>
                    <a:pathLst>
                      <a:path w="14" h="71">
                        <a:moveTo>
                          <a:pt x="14" y="58"/>
                        </a:moveTo>
                        <a:cubicBezTo>
                          <a:pt x="14" y="40"/>
                          <a:pt x="13" y="15"/>
                          <a:pt x="4" y="0"/>
                        </a:cubicBezTo>
                        <a:cubicBezTo>
                          <a:pt x="4" y="24"/>
                          <a:pt x="0" y="48"/>
                          <a:pt x="2" y="71"/>
                        </a:cubicBezTo>
                        <a:cubicBezTo>
                          <a:pt x="3" y="65"/>
                          <a:pt x="5" y="65"/>
                          <a:pt x="8" y="60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39" name="Freeform 326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0" name="Freeform 327"/>
                  <p:cNvSpPr>
                    <a:spLocks/>
                  </p:cNvSpPr>
                  <p:nvPr/>
                </p:nvSpPr>
                <p:spPr bwMode="gray">
                  <a:xfrm>
                    <a:off x="576262" y="7712076"/>
                    <a:ext cx="352425" cy="1057275"/>
                  </a:xfrm>
                  <a:custGeom>
                    <a:avLst/>
                    <a:gdLst/>
                    <a:ahLst/>
                    <a:cxnLst>
                      <a:cxn ang="0">
                        <a:pos x="2" y="206"/>
                      </a:cxn>
                      <a:cxn ang="0">
                        <a:pos x="45" y="119"/>
                      </a:cxn>
                      <a:cxn ang="0">
                        <a:pos x="68" y="62"/>
                      </a:cxn>
                      <a:cxn ang="0">
                        <a:pos x="92" y="0"/>
                      </a:cxn>
                      <a:cxn ang="0">
                        <a:pos x="64" y="91"/>
                      </a:cxn>
                      <a:cxn ang="0">
                        <a:pos x="45" y="173"/>
                      </a:cxn>
                      <a:cxn ang="0">
                        <a:pos x="51" y="239"/>
                      </a:cxn>
                      <a:cxn ang="0">
                        <a:pos x="83" y="282"/>
                      </a:cxn>
                      <a:cxn ang="0">
                        <a:pos x="45" y="247"/>
                      </a:cxn>
                      <a:cxn ang="0">
                        <a:pos x="0" y="212"/>
                      </a:cxn>
                    </a:cxnLst>
                    <a:rect l="0" t="0" r="r" b="b"/>
                    <a:pathLst>
                      <a:path w="94" h="282">
                        <a:moveTo>
                          <a:pt x="2" y="206"/>
                        </a:moveTo>
                        <a:cubicBezTo>
                          <a:pt x="16" y="177"/>
                          <a:pt x="32" y="149"/>
                          <a:pt x="45" y="119"/>
                        </a:cubicBezTo>
                        <a:cubicBezTo>
                          <a:pt x="53" y="101"/>
                          <a:pt x="60" y="81"/>
                          <a:pt x="68" y="62"/>
                        </a:cubicBezTo>
                        <a:cubicBezTo>
                          <a:pt x="76" y="43"/>
                          <a:pt x="90" y="21"/>
                          <a:pt x="92" y="0"/>
                        </a:cubicBezTo>
                        <a:cubicBezTo>
                          <a:pt x="94" y="35"/>
                          <a:pt x="76" y="61"/>
                          <a:pt x="64" y="91"/>
                        </a:cubicBezTo>
                        <a:cubicBezTo>
                          <a:pt x="54" y="118"/>
                          <a:pt x="48" y="146"/>
                          <a:pt x="45" y="173"/>
                        </a:cubicBezTo>
                        <a:cubicBezTo>
                          <a:pt x="43" y="195"/>
                          <a:pt x="38" y="221"/>
                          <a:pt x="51" y="239"/>
                        </a:cubicBezTo>
                        <a:cubicBezTo>
                          <a:pt x="61" y="253"/>
                          <a:pt x="79" y="265"/>
                          <a:pt x="83" y="282"/>
                        </a:cubicBezTo>
                        <a:cubicBezTo>
                          <a:pt x="70" y="271"/>
                          <a:pt x="59" y="258"/>
                          <a:pt x="45" y="247"/>
                        </a:cubicBezTo>
                        <a:cubicBezTo>
                          <a:pt x="32" y="237"/>
                          <a:pt x="10" y="225"/>
                          <a:pt x="0" y="212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1" name="Freeform 328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2" name="Freeform 329"/>
                  <p:cNvSpPr>
                    <a:spLocks/>
                  </p:cNvSpPr>
                  <p:nvPr/>
                </p:nvSpPr>
                <p:spPr bwMode="gray">
                  <a:xfrm>
                    <a:off x="1090612" y="8821738"/>
                    <a:ext cx="385763" cy="131763"/>
                  </a:xfrm>
                  <a:custGeom>
                    <a:avLst/>
                    <a:gdLst/>
                    <a:ahLst/>
                    <a:cxnLst>
                      <a:cxn ang="0">
                        <a:pos x="58" y="31"/>
                      </a:cxn>
                      <a:cxn ang="0">
                        <a:pos x="0" y="0"/>
                      </a:cxn>
                      <a:cxn ang="0">
                        <a:pos x="103" y="1"/>
                      </a:cxn>
                      <a:cxn ang="0">
                        <a:pos x="54" y="35"/>
                      </a:cxn>
                    </a:cxnLst>
                    <a:rect l="0" t="0" r="r" b="b"/>
                    <a:pathLst>
                      <a:path w="103" h="35">
                        <a:moveTo>
                          <a:pt x="58" y="31"/>
                        </a:moveTo>
                        <a:cubicBezTo>
                          <a:pt x="43" y="30"/>
                          <a:pt x="9" y="15"/>
                          <a:pt x="0" y="0"/>
                        </a:cubicBezTo>
                        <a:cubicBezTo>
                          <a:pt x="33" y="15"/>
                          <a:pt x="71" y="24"/>
                          <a:pt x="103" y="1"/>
                        </a:cubicBezTo>
                        <a:cubicBezTo>
                          <a:pt x="100" y="13"/>
                          <a:pt x="67" y="35"/>
                          <a:pt x="54" y="35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3" name="Freeform 330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4" name="Freeform 331"/>
                  <p:cNvSpPr>
                    <a:spLocks/>
                  </p:cNvSpPr>
                  <p:nvPr/>
                </p:nvSpPr>
                <p:spPr bwMode="gray">
                  <a:xfrm>
                    <a:off x="-431800" y="6511926"/>
                    <a:ext cx="641350" cy="638175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45" y="1"/>
                      </a:cxn>
                      <a:cxn ang="0">
                        <a:pos x="96" y="95"/>
                      </a:cxn>
                      <a:cxn ang="0">
                        <a:pos x="171" y="160"/>
                      </a:cxn>
                      <a:cxn ang="0">
                        <a:pos x="105" y="152"/>
                      </a:cxn>
                      <a:cxn ang="0">
                        <a:pos x="78" y="94"/>
                      </a:cxn>
                      <a:cxn ang="0">
                        <a:pos x="0" y="4"/>
                      </a:cxn>
                    </a:cxnLst>
                    <a:rect l="0" t="0" r="r" b="b"/>
                    <a:pathLst>
                      <a:path w="171" h="170">
                        <a:moveTo>
                          <a:pt x="2" y="2"/>
                        </a:moveTo>
                        <a:cubicBezTo>
                          <a:pt x="16" y="2"/>
                          <a:pt x="30" y="0"/>
                          <a:pt x="45" y="1"/>
                        </a:cubicBezTo>
                        <a:cubicBezTo>
                          <a:pt x="65" y="33"/>
                          <a:pt x="86" y="58"/>
                          <a:pt x="96" y="95"/>
                        </a:cubicBezTo>
                        <a:cubicBezTo>
                          <a:pt x="108" y="139"/>
                          <a:pt x="121" y="160"/>
                          <a:pt x="171" y="160"/>
                        </a:cubicBezTo>
                        <a:cubicBezTo>
                          <a:pt x="146" y="163"/>
                          <a:pt x="122" y="170"/>
                          <a:pt x="105" y="152"/>
                        </a:cubicBezTo>
                        <a:cubicBezTo>
                          <a:pt x="90" y="136"/>
                          <a:pt x="86" y="114"/>
                          <a:pt x="78" y="94"/>
                        </a:cubicBezTo>
                        <a:cubicBezTo>
                          <a:pt x="65" y="60"/>
                          <a:pt x="48" y="2"/>
                          <a:pt x="0" y="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5" name="Freeform 332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6" name="Freeform 333"/>
                  <p:cNvSpPr>
                    <a:spLocks/>
                  </p:cNvSpPr>
                  <p:nvPr/>
                </p:nvSpPr>
                <p:spPr bwMode="gray">
                  <a:xfrm>
                    <a:off x="411162" y="7108826"/>
                    <a:ext cx="285750" cy="944563"/>
                  </a:xfrm>
                  <a:custGeom>
                    <a:avLst/>
                    <a:gdLst/>
                    <a:ahLst/>
                    <a:cxnLst>
                      <a:cxn ang="0">
                        <a:pos x="18" y="22"/>
                      </a:cxn>
                      <a:cxn ang="0">
                        <a:pos x="38" y="8"/>
                      </a:cxn>
                      <a:cxn ang="0">
                        <a:pos x="56" y="33"/>
                      </a:cxn>
                      <a:cxn ang="0">
                        <a:pos x="71" y="121"/>
                      </a:cxn>
                      <a:cxn ang="0">
                        <a:pos x="1" y="252"/>
                      </a:cxn>
                      <a:cxn ang="0">
                        <a:pos x="23" y="193"/>
                      </a:cxn>
                      <a:cxn ang="0">
                        <a:pos x="44" y="134"/>
                      </a:cxn>
                      <a:cxn ang="0">
                        <a:pos x="47" y="67"/>
                      </a:cxn>
                      <a:cxn ang="0">
                        <a:pos x="20" y="24"/>
                      </a:cxn>
                    </a:cxnLst>
                    <a:rect l="0" t="0" r="r" b="b"/>
                    <a:pathLst>
                      <a:path w="76" h="252">
                        <a:moveTo>
                          <a:pt x="18" y="22"/>
                        </a:moveTo>
                        <a:cubicBezTo>
                          <a:pt x="24" y="10"/>
                          <a:pt x="23" y="0"/>
                          <a:pt x="38" y="8"/>
                        </a:cubicBezTo>
                        <a:cubicBezTo>
                          <a:pt x="46" y="11"/>
                          <a:pt x="52" y="26"/>
                          <a:pt x="56" y="33"/>
                        </a:cubicBezTo>
                        <a:cubicBezTo>
                          <a:pt x="68" y="57"/>
                          <a:pt x="76" y="94"/>
                          <a:pt x="71" y="121"/>
                        </a:cubicBezTo>
                        <a:cubicBezTo>
                          <a:pt x="63" y="165"/>
                          <a:pt x="27" y="216"/>
                          <a:pt x="1" y="252"/>
                        </a:cubicBezTo>
                        <a:cubicBezTo>
                          <a:pt x="0" y="233"/>
                          <a:pt x="17" y="209"/>
                          <a:pt x="23" y="193"/>
                        </a:cubicBezTo>
                        <a:cubicBezTo>
                          <a:pt x="30" y="174"/>
                          <a:pt x="39" y="154"/>
                          <a:pt x="44" y="134"/>
                        </a:cubicBezTo>
                        <a:cubicBezTo>
                          <a:pt x="50" y="112"/>
                          <a:pt x="49" y="90"/>
                          <a:pt x="47" y="67"/>
                        </a:cubicBezTo>
                        <a:cubicBezTo>
                          <a:pt x="45" y="44"/>
                          <a:pt x="36" y="37"/>
                          <a:pt x="20" y="24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7" name="Freeform 334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8" name="Freeform 335"/>
                  <p:cNvSpPr>
                    <a:spLocks/>
                  </p:cNvSpPr>
                  <p:nvPr/>
                </p:nvSpPr>
                <p:spPr bwMode="gray">
                  <a:xfrm>
                    <a:off x="-825500" y="5776913"/>
                    <a:ext cx="1600200" cy="690563"/>
                  </a:xfrm>
                  <a:custGeom>
                    <a:avLst/>
                    <a:gdLst/>
                    <a:ahLst/>
                    <a:cxnLst>
                      <a:cxn ang="0">
                        <a:pos x="23" y="85"/>
                      </a:cxn>
                      <a:cxn ang="0">
                        <a:pos x="77" y="64"/>
                      </a:cxn>
                      <a:cxn ang="0">
                        <a:pos x="156" y="58"/>
                      </a:cxn>
                      <a:cxn ang="0">
                        <a:pos x="269" y="119"/>
                      </a:cxn>
                      <a:cxn ang="0">
                        <a:pos x="172" y="54"/>
                      </a:cxn>
                      <a:cxn ang="0">
                        <a:pos x="208" y="50"/>
                      </a:cxn>
                      <a:cxn ang="0">
                        <a:pos x="179" y="40"/>
                      </a:cxn>
                      <a:cxn ang="0">
                        <a:pos x="241" y="27"/>
                      </a:cxn>
                      <a:cxn ang="0">
                        <a:pos x="309" y="70"/>
                      </a:cxn>
                      <a:cxn ang="0">
                        <a:pos x="349" y="126"/>
                      </a:cxn>
                      <a:cxn ang="0">
                        <a:pos x="427" y="184"/>
                      </a:cxn>
                      <a:cxn ang="0">
                        <a:pos x="366" y="112"/>
                      </a:cxn>
                      <a:cxn ang="0">
                        <a:pos x="304" y="45"/>
                      </a:cxn>
                      <a:cxn ang="0">
                        <a:pos x="215" y="11"/>
                      </a:cxn>
                      <a:cxn ang="0">
                        <a:pos x="140" y="21"/>
                      </a:cxn>
                      <a:cxn ang="0">
                        <a:pos x="142" y="40"/>
                      </a:cxn>
                      <a:cxn ang="0">
                        <a:pos x="77" y="53"/>
                      </a:cxn>
                      <a:cxn ang="0">
                        <a:pos x="4" y="104"/>
                      </a:cxn>
                      <a:cxn ang="0">
                        <a:pos x="31" y="83"/>
                      </a:cxn>
                    </a:cxnLst>
                    <a:rect l="0" t="0" r="r" b="b"/>
                    <a:pathLst>
                      <a:path w="427" h="184">
                        <a:moveTo>
                          <a:pt x="23" y="85"/>
                        </a:moveTo>
                        <a:cubicBezTo>
                          <a:pt x="37" y="68"/>
                          <a:pt x="57" y="66"/>
                          <a:pt x="77" y="64"/>
                        </a:cubicBezTo>
                        <a:cubicBezTo>
                          <a:pt x="103" y="61"/>
                          <a:pt x="130" y="55"/>
                          <a:pt x="156" y="58"/>
                        </a:cubicBezTo>
                        <a:cubicBezTo>
                          <a:pt x="198" y="62"/>
                          <a:pt x="239" y="91"/>
                          <a:pt x="269" y="119"/>
                        </a:cubicBezTo>
                        <a:cubicBezTo>
                          <a:pt x="273" y="77"/>
                          <a:pt x="194" y="71"/>
                          <a:pt x="172" y="54"/>
                        </a:cubicBezTo>
                        <a:cubicBezTo>
                          <a:pt x="185" y="53"/>
                          <a:pt x="195" y="49"/>
                          <a:pt x="208" y="50"/>
                        </a:cubicBezTo>
                        <a:cubicBezTo>
                          <a:pt x="200" y="44"/>
                          <a:pt x="191" y="39"/>
                          <a:pt x="179" y="40"/>
                        </a:cubicBezTo>
                        <a:cubicBezTo>
                          <a:pt x="188" y="23"/>
                          <a:pt x="224" y="24"/>
                          <a:pt x="241" y="27"/>
                        </a:cubicBezTo>
                        <a:cubicBezTo>
                          <a:pt x="272" y="31"/>
                          <a:pt x="292" y="46"/>
                          <a:pt x="309" y="70"/>
                        </a:cubicBezTo>
                        <a:cubicBezTo>
                          <a:pt x="323" y="87"/>
                          <a:pt x="334" y="110"/>
                          <a:pt x="349" y="126"/>
                        </a:cubicBezTo>
                        <a:cubicBezTo>
                          <a:pt x="371" y="148"/>
                          <a:pt x="404" y="162"/>
                          <a:pt x="427" y="184"/>
                        </a:cubicBezTo>
                        <a:cubicBezTo>
                          <a:pt x="418" y="150"/>
                          <a:pt x="386" y="138"/>
                          <a:pt x="366" y="112"/>
                        </a:cubicBezTo>
                        <a:cubicBezTo>
                          <a:pt x="347" y="87"/>
                          <a:pt x="331" y="64"/>
                          <a:pt x="304" y="45"/>
                        </a:cubicBezTo>
                        <a:cubicBezTo>
                          <a:pt x="277" y="26"/>
                          <a:pt x="245" y="15"/>
                          <a:pt x="215" y="11"/>
                        </a:cubicBezTo>
                        <a:cubicBezTo>
                          <a:pt x="195" y="9"/>
                          <a:pt x="152" y="0"/>
                          <a:pt x="140" y="21"/>
                        </a:cubicBezTo>
                        <a:cubicBezTo>
                          <a:pt x="155" y="31"/>
                          <a:pt x="175" y="38"/>
                          <a:pt x="142" y="40"/>
                        </a:cubicBezTo>
                        <a:cubicBezTo>
                          <a:pt x="116" y="42"/>
                          <a:pt x="101" y="45"/>
                          <a:pt x="77" y="53"/>
                        </a:cubicBezTo>
                        <a:cubicBezTo>
                          <a:pt x="57" y="59"/>
                          <a:pt x="0" y="74"/>
                          <a:pt x="4" y="104"/>
                        </a:cubicBezTo>
                        <a:cubicBezTo>
                          <a:pt x="11" y="95"/>
                          <a:pt x="20" y="87"/>
                          <a:pt x="31" y="83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49" name="Freeform 336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0" name="Freeform 337"/>
                  <p:cNvSpPr>
                    <a:spLocks/>
                  </p:cNvSpPr>
                  <p:nvPr/>
                </p:nvSpPr>
                <p:spPr bwMode="gray">
                  <a:xfrm>
                    <a:off x="328612" y="6462713"/>
                    <a:ext cx="600075" cy="1166813"/>
                  </a:xfrm>
                  <a:custGeom>
                    <a:avLst/>
                    <a:gdLst/>
                    <a:ahLst/>
                    <a:cxnLst>
                      <a:cxn ang="0">
                        <a:pos x="54" y="48"/>
                      </a:cxn>
                      <a:cxn ang="0">
                        <a:pos x="97" y="108"/>
                      </a:cxn>
                      <a:cxn ang="0">
                        <a:pos x="119" y="190"/>
                      </a:cxn>
                      <a:cxn ang="0">
                        <a:pos x="123" y="161"/>
                      </a:cxn>
                      <a:cxn ang="0">
                        <a:pos x="150" y="311"/>
                      </a:cxn>
                      <a:cxn ang="0">
                        <a:pos x="151" y="261"/>
                      </a:cxn>
                      <a:cxn ang="0">
                        <a:pos x="146" y="206"/>
                      </a:cxn>
                      <a:cxn ang="0">
                        <a:pos x="121" y="103"/>
                      </a:cxn>
                      <a:cxn ang="0">
                        <a:pos x="142" y="128"/>
                      </a:cxn>
                      <a:cxn ang="0">
                        <a:pos x="111" y="31"/>
                      </a:cxn>
                      <a:cxn ang="0">
                        <a:pos x="101" y="81"/>
                      </a:cxn>
                      <a:cxn ang="0">
                        <a:pos x="60" y="31"/>
                      </a:cxn>
                      <a:cxn ang="0">
                        <a:pos x="0" y="1"/>
                      </a:cxn>
                    </a:cxnLst>
                    <a:rect l="0" t="0" r="r" b="b"/>
                    <a:pathLst>
                      <a:path w="160" h="311">
                        <a:moveTo>
                          <a:pt x="54" y="48"/>
                        </a:moveTo>
                        <a:cubicBezTo>
                          <a:pt x="78" y="45"/>
                          <a:pt x="88" y="91"/>
                          <a:pt x="97" y="108"/>
                        </a:cubicBezTo>
                        <a:cubicBezTo>
                          <a:pt x="109" y="133"/>
                          <a:pt x="120" y="159"/>
                          <a:pt x="119" y="190"/>
                        </a:cubicBezTo>
                        <a:cubicBezTo>
                          <a:pt x="119" y="180"/>
                          <a:pt x="124" y="171"/>
                          <a:pt x="123" y="161"/>
                        </a:cubicBezTo>
                        <a:cubicBezTo>
                          <a:pt x="148" y="198"/>
                          <a:pt x="150" y="265"/>
                          <a:pt x="150" y="311"/>
                        </a:cubicBezTo>
                        <a:cubicBezTo>
                          <a:pt x="160" y="296"/>
                          <a:pt x="155" y="276"/>
                          <a:pt x="151" y="261"/>
                        </a:cubicBezTo>
                        <a:cubicBezTo>
                          <a:pt x="147" y="243"/>
                          <a:pt x="146" y="226"/>
                          <a:pt x="146" y="206"/>
                        </a:cubicBezTo>
                        <a:cubicBezTo>
                          <a:pt x="146" y="169"/>
                          <a:pt x="140" y="133"/>
                          <a:pt x="121" y="103"/>
                        </a:cubicBezTo>
                        <a:cubicBezTo>
                          <a:pt x="132" y="110"/>
                          <a:pt x="137" y="115"/>
                          <a:pt x="142" y="128"/>
                        </a:cubicBezTo>
                        <a:cubicBezTo>
                          <a:pt x="144" y="100"/>
                          <a:pt x="126" y="55"/>
                          <a:pt x="111" y="31"/>
                        </a:cubicBezTo>
                        <a:cubicBezTo>
                          <a:pt x="111" y="52"/>
                          <a:pt x="105" y="63"/>
                          <a:pt x="101" y="81"/>
                        </a:cubicBezTo>
                        <a:cubicBezTo>
                          <a:pt x="78" y="76"/>
                          <a:pt x="73" y="47"/>
                          <a:pt x="60" y="31"/>
                        </a:cubicBezTo>
                        <a:cubicBezTo>
                          <a:pt x="47" y="15"/>
                          <a:pt x="20" y="0"/>
                          <a:pt x="0" y="1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1" name="Freeform 338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2" name="Freeform 339"/>
                  <p:cNvSpPr>
                    <a:spLocks/>
                  </p:cNvSpPr>
                  <p:nvPr/>
                </p:nvSpPr>
                <p:spPr bwMode="gray">
                  <a:xfrm>
                    <a:off x="276225" y="7910513"/>
                    <a:ext cx="558800" cy="974725"/>
                  </a:xfrm>
                  <a:custGeom>
                    <a:avLst/>
                    <a:gdLst/>
                    <a:ahLst/>
                    <a:cxnLst>
                      <a:cxn ang="0">
                        <a:pos x="137" y="23"/>
                      </a:cxn>
                      <a:cxn ang="0">
                        <a:pos x="149" y="0"/>
                      </a:cxn>
                      <a:cxn ang="0">
                        <a:pos x="70" y="149"/>
                      </a:cxn>
                      <a:cxn ang="0">
                        <a:pos x="32" y="208"/>
                      </a:cxn>
                      <a:cxn ang="0">
                        <a:pos x="0" y="260"/>
                      </a:cxn>
                      <a:cxn ang="0">
                        <a:pos x="23" y="208"/>
                      </a:cxn>
                      <a:cxn ang="0">
                        <a:pos x="65" y="145"/>
                      </a:cxn>
                      <a:cxn ang="0">
                        <a:pos x="86" y="93"/>
                      </a:cxn>
                      <a:cxn ang="0">
                        <a:pos x="110" y="46"/>
                      </a:cxn>
                    </a:cxnLst>
                    <a:rect l="0" t="0" r="r" b="b"/>
                    <a:pathLst>
                      <a:path w="149" h="260">
                        <a:moveTo>
                          <a:pt x="137" y="23"/>
                        </a:moveTo>
                        <a:cubicBezTo>
                          <a:pt x="144" y="17"/>
                          <a:pt x="146" y="9"/>
                          <a:pt x="149" y="0"/>
                        </a:cubicBezTo>
                        <a:cubicBezTo>
                          <a:pt x="120" y="47"/>
                          <a:pt x="103" y="105"/>
                          <a:pt x="70" y="149"/>
                        </a:cubicBezTo>
                        <a:cubicBezTo>
                          <a:pt x="56" y="169"/>
                          <a:pt x="42" y="185"/>
                          <a:pt x="32" y="208"/>
                        </a:cubicBezTo>
                        <a:cubicBezTo>
                          <a:pt x="24" y="229"/>
                          <a:pt x="12" y="241"/>
                          <a:pt x="0" y="260"/>
                        </a:cubicBezTo>
                        <a:cubicBezTo>
                          <a:pt x="9" y="244"/>
                          <a:pt x="13" y="224"/>
                          <a:pt x="23" y="208"/>
                        </a:cubicBezTo>
                        <a:cubicBezTo>
                          <a:pt x="36" y="187"/>
                          <a:pt x="55" y="168"/>
                          <a:pt x="65" y="145"/>
                        </a:cubicBezTo>
                        <a:cubicBezTo>
                          <a:pt x="72" y="128"/>
                          <a:pt x="77" y="108"/>
                          <a:pt x="86" y="93"/>
                        </a:cubicBezTo>
                        <a:cubicBezTo>
                          <a:pt x="96" y="78"/>
                          <a:pt x="113" y="66"/>
                          <a:pt x="110" y="46"/>
                        </a:cubicBezTo>
                      </a:path>
                    </a:pathLst>
                  </a:custGeom>
                  <a:grpFill/>
                  <a:ln w="5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3" name="Freeform 340"/>
                  <p:cNvSpPr>
                    <a:spLocks/>
                  </p:cNvSpPr>
                  <p:nvPr/>
                </p:nvSpPr>
                <p:spPr bwMode="gray">
                  <a:xfrm>
                    <a:off x="-1662113" y="24028401"/>
                    <a:ext cx="319088" cy="892175"/>
                  </a:xfrm>
                  <a:custGeom>
                    <a:avLst/>
                    <a:gdLst/>
                    <a:ahLst/>
                    <a:cxnLst>
                      <a:cxn ang="0">
                        <a:pos x="72" y="9"/>
                      </a:cxn>
                      <a:cxn ang="0">
                        <a:pos x="65" y="71"/>
                      </a:cxn>
                      <a:cxn ang="0">
                        <a:pos x="66" y="137"/>
                      </a:cxn>
                      <a:cxn ang="0">
                        <a:pos x="33" y="187"/>
                      </a:cxn>
                      <a:cxn ang="0">
                        <a:pos x="0" y="238"/>
                      </a:cxn>
                      <a:cxn ang="0">
                        <a:pos x="82" y="134"/>
                      </a:cxn>
                      <a:cxn ang="0">
                        <a:pos x="84" y="61"/>
                      </a:cxn>
                      <a:cxn ang="0">
                        <a:pos x="78" y="31"/>
                      </a:cxn>
                      <a:cxn ang="0">
                        <a:pos x="69" y="0"/>
                      </a:cxn>
                    </a:cxnLst>
                    <a:rect l="0" t="0" r="r" b="b"/>
                    <a:pathLst>
                      <a:path w="85" h="238">
                        <a:moveTo>
                          <a:pt x="72" y="9"/>
                        </a:moveTo>
                        <a:cubicBezTo>
                          <a:pt x="72" y="31"/>
                          <a:pt x="66" y="50"/>
                          <a:pt x="65" y="71"/>
                        </a:cubicBezTo>
                        <a:cubicBezTo>
                          <a:pt x="64" y="93"/>
                          <a:pt x="73" y="117"/>
                          <a:pt x="66" y="137"/>
                        </a:cubicBezTo>
                        <a:cubicBezTo>
                          <a:pt x="60" y="157"/>
                          <a:pt x="42" y="170"/>
                          <a:pt x="33" y="187"/>
                        </a:cubicBezTo>
                        <a:cubicBezTo>
                          <a:pt x="23" y="206"/>
                          <a:pt x="13" y="224"/>
                          <a:pt x="0" y="238"/>
                        </a:cubicBezTo>
                        <a:cubicBezTo>
                          <a:pt x="38" y="219"/>
                          <a:pt x="77" y="177"/>
                          <a:pt x="82" y="134"/>
                        </a:cubicBezTo>
                        <a:cubicBezTo>
                          <a:pt x="85" y="111"/>
                          <a:pt x="84" y="86"/>
                          <a:pt x="84" y="61"/>
                        </a:cubicBezTo>
                        <a:cubicBezTo>
                          <a:pt x="84" y="49"/>
                          <a:pt x="83" y="41"/>
                          <a:pt x="78" y="31"/>
                        </a:cubicBezTo>
                        <a:cubicBezTo>
                          <a:pt x="73" y="21"/>
                          <a:pt x="68" y="13"/>
                          <a:pt x="6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4" name="Freeform 341"/>
                  <p:cNvSpPr>
                    <a:spLocks/>
                  </p:cNvSpPr>
                  <p:nvPr/>
                </p:nvSpPr>
                <p:spPr bwMode="gray">
                  <a:xfrm>
                    <a:off x="-2741613" y="25190451"/>
                    <a:ext cx="911225" cy="300038"/>
                  </a:xfrm>
                  <a:custGeom>
                    <a:avLst/>
                    <a:gdLst/>
                    <a:ahLst/>
                    <a:cxnLst>
                      <a:cxn ang="0">
                        <a:pos x="0" y="4"/>
                      </a:cxn>
                      <a:cxn ang="0">
                        <a:pos x="66" y="26"/>
                      </a:cxn>
                      <a:cxn ang="0">
                        <a:pos x="129" y="42"/>
                      </a:cxn>
                      <a:cxn ang="0">
                        <a:pos x="243" y="0"/>
                      </a:cxn>
                      <a:cxn ang="0">
                        <a:pos x="208" y="61"/>
                      </a:cxn>
                      <a:cxn ang="0">
                        <a:pos x="180" y="75"/>
                      </a:cxn>
                      <a:cxn ang="0">
                        <a:pos x="145" y="66"/>
                      </a:cxn>
                      <a:cxn ang="0">
                        <a:pos x="82" y="50"/>
                      </a:cxn>
                      <a:cxn ang="0">
                        <a:pos x="19" y="2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243" h="80">
                        <a:moveTo>
                          <a:pt x="0" y="4"/>
                        </a:moveTo>
                        <a:cubicBezTo>
                          <a:pt x="17" y="19"/>
                          <a:pt x="44" y="21"/>
                          <a:pt x="66" y="26"/>
                        </a:cubicBezTo>
                        <a:cubicBezTo>
                          <a:pt x="87" y="31"/>
                          <a:pt x="108" y="40"/>
                          <a:pt x="129" y="42"/>
                        </a:cubicBezTo>
                        <a:cubicBezTo>
                          <a:pt x="173" y="46"/>
                          <a:pt x="214" y="35"/>
                          <a:pt x="243" y="0"/>
                        </a:cubicBezTo>
                        <a:cubicBezTo>
                          <a:pt x="235" y="23"/>
                          <a:pt x="222" y="41"/>
                          <a:pt x="208" y="61"/>
                        </a:cubicBezTo>
                        <a:cubicBezTo>
                          <a:pt x="198" y="75"/>
                          <a:pt x="198" y="80"/>
                          <a:pt x="180" y="75"/>
                        </a:cubicBezTo>
                        <a:cubicBezTo>
                          <a:pt x="168" y="71"/>
                          <a:pt x="157" y="69"/>
                          <a:pt x="145" y="66"/>
                        </a:cubicBezTo>
                        <a:cubicBezTo>
                          <a:pt x="125" y="61"/>
                          <a:pt x="102" y="57"/>
                          <a:pt x="82" y="50"/>
                        </a:cubicBezTo>
                        <a:cubicBezTo>
                          <a:pt x="62" y="43"/>
                          <a:pt x="38" y="38"/>
                          <a:pt x="19" y="27"/>
                        </a:cubicBezTo>
                        <a:cubicBezTo>
                          <a:pt x="12" y="23"/>
                          <a:pt x="4" y="16"/>
                          <a:pt x="0" y="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5" name="Freeform 342"/>
                  <p:cNvSpPr>
                    <a:spLocks/>
                  </p:cNvSpPr>
                  <p:nvPr/>
                </p:nvSpPr>
                <p:spPr bwMode="gray">
                  <a:xfrm>
                    <a:off x="-98425" y="24039513"/>
                    <a:ext cx="203200" cy="941388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12" y="60"/>
                      </a:cxn>
                      <a:cxn ang="0">
                        <a:pos x="1" y="127"/>
                      </a:cxn>
                      <a:cxn ang="0">
                        <a:pos x="13" y="158"/>
                      </a:cxn>
                      <a:cxn ang="0">
                        <a:pos x="26" y="194"/>
                      </a:cxn>
                      <a:cxn ang="0">
                        <a:pos x="43" y="218"/>
                      </a:cxn>
                      <a:cxn ang="0">
                        <a:pos x="54" y="251"/>
                      </a:cxn>
                      <a:cxn ang="0">
                        <a:pos x="21" y="125"/>
                      </a:cxn>
                      <a:cxn ang="0">
                        <a:pos x="27" y="61"/>
                      </a:cxn>
                      <a:cxn ang="0">
                        <a:pos x="26" y="6"/>
                      </a:cxn>
                      <a:cxn ang="0">
                        <a:pos x="20" y="33"/>
                      </a:cxn>
                    </a:cxnLst>
                    <a:rect l="0" t="0" r="r" b="b"/>
                    <a:pathLst>
                      <a:path w="54" h="251">
                        <a:moveTo>
                          <a:pt x="28" y="0"/>
                        </a:moveTo>
                        <a:cubicBezTo>
                          <a:pt x="28" y="26"/>
                          <a:pt x="24" y="39"/>
                          <a:pt x="12" y="60"/>
                        </a:cubicBezTo>
                        <a:cubicBezTo>
                          <a:pt x="0" y="81"/>
                          <a:pt x="0" y="102"/>
                          <a:pt x="1" y="127"/>
                        </a:cubicBezTo>
                        <a:cubicBezTo>
                          <a:pt x="2" y="141"/>
                          <a:pt x="6" y="146"/>
                          <a:pt x="13" y="158"/>
                        </a:cubicBezTo>
                        <a:cubicBezTo>
                          <a:pt x="19" y="169"/>
                          <a:pt x="19" y="183"/>
                          <a:pt x="26" y="194"/>
                        </a:cubicBezTo>
                        <a:cubicBezTo>
                          <a:pt x="31" y="203"/>
                          <a:pt x="39" y="209"/>
                          <a:pt x="43" y="218"/>
                        </a:cubicBezTo>
                        <a:cubicBezTo>
                          <a:pt x="49" y="228"/>
                          <a:pt x="51" y="240"/>
                          <a:pt x="54" y="251"/>
                        </a:cubicBezTo>
                        <a:cubicBezTo>
                          <a:pt x="53" y="206"/>
                          <a:pt x="29" y="167"/>
                          <a:pt x="21" y="125"/>
                        </a:cubicBezTo>
                        <a:cubicBezTo>
                          <a:pt x="16" y="102"/>
                          <a:pt x="19" y="82"/>
                          <a:pt x="27" y="61"/>
                        </a:cubicBezTo>
                        <a:cubicBezTo>
                          <a:pt x="34" y="43"/>
                          <a:pt x="37" y="24"/>
                          <a:pt x="26" y="6"/>
                        </a:cubicBezTo>
                        <a:cubicBezTo>
                          <a:pt x="22" y="15"/>
                          <a:pt x="22" y="24"/>
                          <a:pt x="20" y="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6" name="Freeform 343"/>
                  <p:cNvSpPr>
                    <a:spLocks/>
                  </p:cNvSpPr>
                  <p:nvPr/>
                </p:nvSpPr>
                <p:spPr bwMode="gray">
                  <a:xfrm>
                    <a:off x="231775" y="25336501"/>
                    <a:ext cx="655638" cy="195263"/>
                  </a:xfrm>
                  <a:custGeom>
                    <a:avLst/>
                    <a:gdLst/>
                    <a:ahLst/>
                    <a:cxnLst>
                      <a:cxn ang="0">
                        <a:pos x="159" y="0"/>
                      </a:cxn>
                      <a:cxn ang="0">
                        <a:pos x="145" y="35"/>
                      </a:cxn>
                      <a:cxn ang="0">
                        <a:pos x="93" y="45"/>
                      </a:cxn>
                      <a:cxn ang="0">
                        <a:pos x="0" y="25"/>
                      </a:cxn>
                      <a:cxn ang="0">
                        <a:pos x="35" y="45"/>
                      </a:cxn>
                      <a:cxn ang="0">
                        <a:pos x="87" y="51"/>
                      </a:cxn>
                      <a:cxn ang="0">
                        <a:pos x="134" y="50"/>
                      </a:cxn>
                      <a:cxn ang="0">
                        <a:pos x="175" y="38"/>
                      </a:cxn>
                      <a:cxn ang="0">
                        <a:pos x="168" y="26"/>
                      </a:cxn>
                    </a:cxnLst>
                    <a:rect l="0" t="0" r="r" b="b"/>
                    <a:pathLst>
                      <a:path w="175" h="52">
                        <a:moveTo>
                          <a:pt x="159" y="0"/>
                        </a:moveTo>
                        <a:cubicBezTo>
                          <a:pt x="161" y="18"/>
                          <a:pt x="162" y="27"/>
                          <a:pt x="145" y="35"/>
                        </a:cubicBezTo>
                        <a:cubicBezTo>
                          <a:pt x="130" y="43"/>
                          <a:pt x="111" y="45"/>
                          <a:pt x="93" y="45"/>
                        </a:cubicBezTo>
                        <a:cubicBezTo>
                          <a:pt x="60" y="47"/>
                          <a:pt x="28" y="37"/>
                          <a:pt x="0" y="25"/>
                        </a:cubicBezTo>
                        <a:cubicBezTo>
                          <a:pt x="13" y="32"/>
                          <a:pt x="20" y="42"/>
                          <a:pt x="35" y="45"/>
                        </a:cubicBezTo>
                        <a:cubicBezTo>
                          <a:pt x="51" y="49"/>
                          <a:pt x="70" y="50"/>
                          <a:pt x="87" y="51"/>
                        </a:cubicBezTo>
                        <a:cubicBezTo>
                          <a:pt x="102" y="52"/>
                          <a:pt x="120" y="52"/>
                          <a:pt x="134" y="50"/>
                        </a:cubicBezTo>
                        <a:cubicBezTo>
                          <a:pt x="148" y="48"/>
                          <a:pt x="161" y="41"/>
                          <a:pt x="175" y="38"/>
                        </a:cubicBezTo>
                        <a:cubicBezTo>
                          <a:pt x="174" y="33"/>
                          <a:pt x="171" y="29"/>
                          <a:pt x="168" y="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7" name="Freeform 344"/>
                  <p:cNvSpPr>
                    <a:spLocks/>
                  </p:cNvSpPr>
                  <p:nvPr/>
                </p:nvSpPr>
                <p:spPr bwMode="gray">
                  <a:xfrm>
                    <a:off x="104775" y="25633363"/>
                    <a:ext cx="430213" cy="407988"/>
                  </a:xfrm>
                  <a:custGeom>
                    <a:avLst/>
                    <a:gdLst/>
                    <a:ahLst/>
                    <a:cxnLst>
                      <a:cxn ang="0">
                        <a:pos x="15" y="15"/>
                      </a:cxn>
                      <a:cxn ang="0">
                        <a:pos x="53" y="38"/>
                      </a:cxn>
                      <a:cxn ang="0">
                        <a:pos x="114" y="60"/>
                      </a:cxn>
                      <a:cxn ang="0">
                        <a:pos x="114" y="64"/>
                      </a:cxn>
                      <a:cxn ang="0">
                        <a:pos x="67" y="69"/>
                      </a:cxn>
                      <a:cxn ang="0">
                        <a:pos x="115" y="92"/>
                      </a:cxn>
                      <a:cxn ang="0">
                        <a:pos x="35" y="65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15" h="109">
                        <a:moveTo>
                          <a:pt x="15" y="15"/>
                        </a:moveTo>
                        <a:cubicBezTo>
                          <a:pt x="28" y="21"/>
                          <a:pt x="40" y="30"/>
                          <a:pt x="53" y="38"/>
                        </a:cubicBezTo>
                        <a:cubicBezTo>
                          <a:pt x="73" y="51"/>
                          <a:pt x="91" y="53"/>
                          <a:pt x="114" y="60"/>
                        </a:cubicBezTo>
                        <a:cubicBezTo>
                          <a:pt x="114" y="61"/>
                          <a:pt x="114" y="63"/>
                          <a:pt x="114" y="64"/>
                        </a:cubicBezTo>
                        <a:cubicBezTo>
                          <a:pt x="99" y="67"/>
                          <a:pt x="82" y="69"/>
                          <a:pt x="67" y="69"/>
                        </a:cubicBezTo>
                        <a:cubicBezTo>
                          <a:pt x="78" y="79"/>
                          <a:pt x="103" y="81"/>
                          <a:pt x="115" y="92"/>
                        </a:cubicBezTo>
                        <a:cubicBezTo>
                          <a:pt x="88" y="109"/>
                          <a:pt x="56" y="78"/>
                          <a:pt x="35" y="65"/>
                        </a:cubicBezTo>
                        <a:cubicBezTo>
                          <a:pt x="9" y="50"/>
                          <a:pt x="16" y="2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258" name="Freeform 345"/>
                  <p:cNvSpPr>
                    <a:spLocks/>
                  </p:cNvSpPr>
                  <p:nvPr/>
                </p:nvSpPr>
                <p:spPr bwMode="gray">
                  <a:xfrm>
                    <a:off x="-3090863" y="25314276"/>
                    <a:ext cx="468313" cy="600075"/>
                  </a:xfrm>
                  <a:custGeom>
                    <a:avLst/>
                    <a:gdLst/>
                    <a:ahLst/>
                    <a:cxnLst>
                      <a:cxn ang="0">
                        <a:pos x="85" y="0"/>
                      </a:cxn>
                      <a:cxn ang="0">
                        <a:pos x="42" y="76"/>
                      </a:cxn>
                      <a:cxn ang="0">
                        <a:pos x="0" y="160"/>
                      </a:cxn>
                      <a:cxn ang="0">
                        <a:pos x="62" y="88"/>
                      </a:cxn>
                      <a:cxn ang="0">
                        <a:pos x="85" y="73"/>
                      </a:cxn>
                      <a:cxn ang="0">
                        <a:pos x="87" y="47"/>
                      </a:cxn>
                      <a:cxn ang="0">
                        <a:pos x="125" y="29"/>
                      </a:cxn>
                      <a:cxn ang="0">
                        <a:pos x="125" y="21"/>
                      </a:cxn>
                      <a:cxn ang="0">
                        <a:pos x="91" y="12"/>
                      </a:cxn>
                    </a:cxnLst>
                    <a:rect l="0" t="0" r="r" b="b"/>
                    <a:pathLst>
                      <a:path w="125" h="160">
                        <a:moveTo>
                          <a:pt x="85" y="0"/>
                        </a:moveTo>
                        <a:cubicBezTo>
                          <a:pt x="55" y="15"/>
                          <a:pt x="56" y="50"/>
                          <a:pt x="42" y="76"/>
                        </a:cubicBezTo>
                        <a:cubicBezTo>
                          <a:pt x="28" y="101"/>
                          <a:pt x="1" y="133"/>
                          <a:pt x="0" y="160"/>
                        </a:cubicBezTo>
                        <a:cubicBezTo>
                          <a:pt x="17" y="132"/>
                          <a:pt x="36" y="108"/>
                          <a:pt x="62" y="88"/>
                        </a:cubicBezTo>
                        <a:cubicBezTo>
                          <a:pt x="70" y="81"/>
                          <a:pt x="79" y="83"/>
                          <a:pt x="85" y="73"/>
                        </a:cubicBezTo>
                        <a:cubicBezTo>
                          <a:pt x="90" y="66"/>
                          <a:pt x="83" y="54"/>
                          <a:pt x="87" y="47"/>
                        </a:cubicBezTo>
                        <a:cubicBezTo>
                          <a:pt x="96" y="33"/>
                          <a:pt x="108" y="27"/>
                          <a:pt x="125" y="29"/>
                        </a:cubicBezTo>
                        <a:cubicBezTo>
                          <a:pt x="125" y="28"/>
                          <a:pt x="125" y="22"/>
                          <a:pt x="125" y="21"/>
                        </a:cubicBezTo>
                        <a:cubicBezTo>
                          <a:pt x="114" y="16"/>
                          <a:pt x="103" y="11"/>
                          <a:pt x="91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  <p:grpSp>
              <p:nvGrpSpPr>
                <p:cNvPr id="38" name="Gruppieren 158"/>
                <p:cNvGrpSpPr/>
                <p:nvPr/>
              </p:nvGrpSpPr>
              <p:grpSpPr bwMode="gray">
                <a:xfrm>
                  <a:off x="925081" y="1575807"/>
                  <a:ext cx="626524" cy="2292056"/>
                  <a:chOff x="-3870325" y="-19711987"/>
                  <a:chExt cx="5864225" cy="21453475"/>
                </a:xfrm>
                <a:solidFill>
                  <a:srgbClr val="C8C8C8"/>
                </a:solidFill>
              </p:grpSpPr>
              <p:sp>
                <p:nvSpPr>
                  <p:cNvPr id="1111" name="Freeform 81"/>
                  <p:cNvSpPr>
                    <a:spLocks/>
                  </p:cNvSpPr>
                  <p:nvPr/>
                </p:nvSpPr>
                <p:spPr bwMode="gray">
                  <a:xfrm>
                    <a:off x="-3076575" y="-676275"/>
                    <a:ext cx="3457575" cy="1844675"/>
                  </a:xfrm>
                  <a:custGeom>
                    <a:avLst/>
                    <a:gdLst/>
                    <a:ahLst/>
                    <a:cxnLst>
                      <a:cxn ang="0">
                        <a:pos x="429" y="101"/>
                      </a:cxn>
                      <a:cxn ang="0">
                        <a:pos x="355" y="179"/>
                      </a:cxn>
                      <a:cxn ang="0">
                        <a:pos x="276" y="240"/>
                      </a:cxn>
                      <a:cxn ang="0">
                        <a:pos x="188" y="309"/>
                      </a:cxn>
                      <a:cxn ang="0">
                        <a:pos x="14" y="421"/>
                      </a:cxn>
                      <a:cxn ang="0">
                        <a:pos x="76" y="477"/>
                      </a:cxn>
                      <a:cxn ang="0">
                        <a:pos x="159" y="490"/>
                      </a:cxn>
                      <a:cxn ang="0">
                        <a:pos x="323" y="467"/>
                      </a:cxn>
                      <a:cxn ang="0">
                        <a:pos x="470" y="412"/>
                      </a:cxn>
                      <a:cxn ang="0">
                        <a:pos x="699" y="376"/>
                      </a:cxn>
                      <a:cxn ang="0">
                        <a:pos x="452" y="112"/>
                      </a:cxn>
                    </a:cxnLst>
                    <a:rect l="0" t="0" r="r" b="b"/>
                    <a:pathLst>
                      <a:path w="922" h="492">
                        <a:moveTo>
                          <a:pt x="429" y="101"/>
                        </a:moveTo>
                        <a:cubicBezTo>
                          <a:pt x="402" y="122"/>
                          <a:pt x="363" y="146"/>
                          <a:pt x="355" y="179"/>
                        </a:cubicBezTo>
                        <a:cubicBezTo>
                          <a:pt x="335" y="183"/>
                          <a:pt x="296" y="222"/>
                          <a:pt x="276" y="240"/>
                        </a:cubicBezTo>
                        <a:cubicBezTo>
                          <a:pt x="247" y="266"/>
                          <a:pt x="226" y="294"/>
                          <a:pt x="188" y="309"/>
                        </a:cubicBezTo>
                        <a:cubicBezTo>
                          <a:pt x="149" y="324"/>
                          <a:pt x="0" y="364"/>
                          <a:pt x="14" y="421"/>
                        </a:cubicBezTo>
                        <a:cubicBezTo>
                          <a:pt x="42" y="435"/>
                          <a:pt x="50" y="466"/>
                          <a:pt x="76" y="477"/>
                        </a:cubicBezTo>
                        <a:cubicBezTo>
                          <a:pt x="92" y="484"/>
                          <a:pt x="143" y="489"/>
                          <a:pt x="159" y="490"/>
                        </a:cubicBezTo>
                        <a:cubicBezTo>
                          <a:pt x="216" y="492"/>
                          <a:pt x="263" y="467"/>
                          <a:pt x="323" y="467"/>
                        </a:cubicBezTo>
                        <a:cubicBezTo>
                          <a:pt x="396" y="467"/>
                          <a:pt x="411" y="447"/>
                          <a:pt x="470" y="412"/>
                        </a:cubicBezTo>
                        <a:cubicBezTo>
                          <a:pt x="539" y="371"/>
                          <a:pt x="622" y="392"/>
                          <a:pt x="699" y="376"/>
                        </a:cubicBezTo>
                        <a:cubicBezTo>
                          <a:pt x="922" y="224"/>
                          <a:pt x="494" y="0"/>
                          <a:pt x="452" y="1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2" name="Freeform 82"/>
                  <p:cNvSpPr>
                    <a:spLocks/>
                  </p:cNvSpPr>
                  <p:nvPr/>
                </p:nvSpPr>
                <p:spPr bwMode="gray">
                  <a:xfrm>
                    <a:off x="-101600" y="-522287"/>
                    <a:ext cx="2095500" cy="2263775"/>
                  </a:xfrm>
                  <a:custGeom>
                    <a:avLst/>
                    <a:gdLst/>
                    <a:ahLst/>
                    <a:cxnLst>
                      <a:cxn ang="0">
                        <a:pos x="36" y="184"/>
                      </a:cxn>
                      <a:cxn ang="0">
                        <a:pos x="99" y="402"/>
                      </a:cxn>
                      <a:cxn ang="0">
                        <a:pos x="156" y="413"/>
                      </a:cxn>
                      <a:cxn ang="0">
                        <a:pos x="183" y="465"/>
                      </a:cxn>
                      <a:cxn ang="0">
                        <a:pos x="261" y="538"/>
                      </a:cxn>
                      <a:cxn ang="0">
                        <a:pos x="532" y="527"/>
                      </a:cxn>
                      <a:cxn ang="0">
                        <a:pos x="409" y="317"/>
                      </a:cxn>
                      <a:cxn ang="0">
                        <a:pos x="341" y="212"/>
                      </a:cxn>
                      <a:cxn ang="0">
                        <a:pos x="257" y="77"/>
                      </a:cxn>
                      <a:cxn ang="0">
                        <a:pos x="48" y="184"/>
                      </a:cxn>
                    </a:cxnLst>
                    <a:rect l="0" t="0" r="r" b="b"/>
                    <a:pathLst>
                      <a:path w="559" h="604">
                        <a:moveTo>
                          <a:pt x="36" y="184"/>
                        </a:moveTo>
                        <a:cubicBezTo>
                          <a:pt x="36" y="271"/>
                          <a:pt x="0" y="373"/>
                          <a:pt x="99" y="402"/>
                        </a:cubicBezTo>
                        <a:cubicBezTo>
                          <a:pt x="122" y="409"/>
                          <a:pt x="136" y="401"/>
                          <a:pt x="156" y="413"/>
                        </a:cubicBezTo>
                        <a:cubicBezTo>
                          <a:pt x="190" y="435"/>
                          <a:pt x="167" y="433"/>
                          <a:pt x="183" y="465"/>
                        </a:cubicBezTo>
                        <a:cubicBezTo>
                          <a:pt x="202" y="505"/>
                          <a:pt x="221" y="523"/>
                          <a:pt x="261" y="538"/>
                        </a:cubicBezTo>
                        <a:cubicBezTo>
                          <a:pt x="323" y="562"/>
                          <a:pt x="501" y="604"/>
                          <a:pt x="532" y="527"/>
                        </a:cubicBezTo>
                        <a:cubicBezTo>
                          <a:pt x="559" y="459"/>
                          <a:pt x="449" y="364"/>
                          <a:pt x="409" y="317"/>
                        </a:cubicBezTo>
                        <a:cubicBezTo>
                          <a:pt x="375" y="277"/>
                          <a:pt x="361" y="259"/>
                          <a:pt x="341" y="212"/>
                        </a:cubicBezTo>
                        <a:cubicBezTo>
                          <a:pt x="323" y="171"/>
                          <a:pt x="292" y="106"/>
                          <a:pt x="257" y="77"/>
                        </a:cubicBezTo>
                        <a:cubicBezTo>
                          <a:pt x="168" y="0"/>
                          <a:pt x="73" y="105"/>
                          <a:pt x="48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3" name="Freeform 83"/>
                  <p:cNvSpPr>
                    <a:spLocks/>
                  </p:cNvSpPr>
                  <p:nvPr/>
                </p:nvSpPr>
                <p:spPr bwMode="gray">
                  <a:xfrm>
                    <a:off x="-1706563" y="61913"/>
                    <a:ext cx="382588" cy="393700"/>
                  </a:xfrm>
                  <a:custGeom>
                    <a:avLst/>
                    <a:gdLst/>
                    <a:ahLst/>
                    <a:cxnLst>
                      <a:cxn ang="0">
                        <a:pos x="31" y="41"/>
                      </a:cxn>
                      <a:cxn ang="0">
                        <a:pos x="2" y="74"/>
                      </a:cxn>
                      <a:cxn ang="0">
                        <a:pos x="30" y="76"/>
                      </a:cxn>
                      <a:cxn ang="0">
                        <a:pos x="31" y="91"/>
                      </a:cxn>
                      <a:cxn ang="0">
                        <a:pos x="31" y="45"/>
                      </a:cxn>
                    </a:cxnLst>
                    <a:rect l="0" t="0" r="r" b="b"/>
                    <a:pathLst>
                      <a:path w="102" h="105">
                        <a:moveTo>
                          <a:pt x="31" y="41"/>
                        </a:moveTo>
                        <a:cubicBezTo>
                          <a:pt x="12" y="42"/>
                          <a:pt x="0" y="55"/>
                          <a:pt x="2" y="74"/>
                        </a:cubicBezTo>
                        <a:cubicBezTo>
                          <a:pt x="10" y="72"/>
                          <a:pt x="22" y="77"/>
                          <a:pt x="30" y="76"/>
                        </a:cubicBezTo>
                        <a:cubicBezTo>
                          <a:pt x="30" y="80"/>
                          <a:pt x="31" y="86"/>
                          <a:pt x="31" y="91"/>
                        </a:cubicBezTo>
                        <a:cubicBezTo>
                          <a:pt x="102" y="105"/>
                          <a:pt x="90" y="0"/>
                          <a:pt x="31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4" name="Freeform 84"/>
                  <p:cNvSpPr>
                    <a:spLocks/>
                  </p:cNvSpPr>
                  <p:nvPr/>
                </p:nvSpPr>
                <p:spPr bwMode="gray">
                  <a:xfrm>
                    <a:off x="-1651000" y="249238"/>
                    <a:ext cx="1304925" cy="495300"/>
                  </a:xfrm>
                  <a:custGeom>
                    <a:avLst/>
                    <a:gdLst/>
                    <a:ahLst/>
                    <a:cxnLst>
                      <a:cxn ang="0">
                        <a:pos x="315" y="16"/>
                      </a:cxn>
                      <a:cxn ang="0">
                        <a:pos x="146" y="79"/>
                      </a:cxn>
                      <a:cxn ang="0">
                        <a:pos x="0" y="131"/>
                      </a:cxn>
                      <a:cxn ang="0">
                        <a:pos x="167" y="32"/>
                      </a:cxn>
                      <a:cxn ang="0">
                        <a:pos x="252" y="4"/>
                      </a:cxn>
                      <a:cxn ang="0">
                        <a:pos x="299" y="26"/>
                      </a:cxn>
                      <a:cxn ang="0">
                        <a:pos x="307" y="38"/>
                      </a:cxn>
                    </a:cxnLst>
                    <a:rect l="0" t="0" r="r" b="b"/>
                    <a:pathLst>
                      <a:path w="348" h="132">
                        <a:moveTo>
                          <a:pt x="315" y="16"/>
                        </a:moveTo>
                        <a:cubicBezTo>
                          <a:pt x="238" y="16"/>
                          <a:pt x="205" y="34"/>
                          <a:pt x="146" y="79"/>
                        </a:cubicBezTo>
                        <a:cubicBezTo>
                          <a:pt x="99" y="115"/>
                          <a:pt x="61" y="132"/>
                          <a:pt x="0" y="131"/>
                        </a:cubicBezTo>
                        <a:cubicBezTo>
                          <a:pt x="58" y="101"/>
                          <a:pt x="117" y="75"/>
                          <a:pt x="167" y="32"/>
                        </a:cubicBezTo>
                        <a:cubicBezTo>
                          <a:pt x="196" y="8"/>
                          <a:pt x="212" y="9"/>
                          <a:pt x="252" y="4"/>
                        </a:cubicBezTo>
                        <a:cubicBezTo>
                          <a:pt x="264" y="2"/>
                          <a:pt x="348" y="0"/>
                          <a:pt x="299" y="26"/>
                        </a:cubicBezTo>
                        <a:cubicBezTo>
                          <a:pt x="301" y="29"/>
                          <a:pt x="305" y="33"/>
                          <a:pt x="307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5" name="Freeform 85"/>
                  <p:cNvSpPr>
                    <a:spLocks/>
                  </p:cNvSpPr>
                  <p:nvPr/>
                </p:nvSpPr>
                <p:spPr bwMode="gray">
                  <a:xfrm>
                    <a:off x="1000125" y="419100"/>
                    <a:ext cx="949325" cy="911225"/>
                  </a:xfrm>
                  <a:custGeom>
                    <a:avLst/>
                    <a:gdLst/>
                    <a:ahLst/>
                    <a:cxnLst>
                      <a:cxn ang="0">
                        <a:pos x="35" y="35"/>
                      </a:cxn>
                      <a:cxn ang="0">
                        <a:pos x="68" y="106"/>
                      </a:cxn>
                      <a:cxn ang="0">
                        <a:pos x="10" y="135"/>
                      </a:cxn>
                      <a:cxn ang="0">
                        <a:pos x="72" y="162"/>
                      </a:cxn>
                      <a:cxn ang="0">
                        <a:pos x="187" y="220"/>
                      </a:cxn>
                      <a:cxn ang="0">
                        <a:pos x="135" y="124"/>
                      </a:cxn>
                      <a:cxn ang="0">
                        <a:pos x="55" y="10"/>
                      </a:cxn>
                      <a:cxn ang="0">
                        <a:pos x="14" y="14"/>
                      </a:cxn>
                    </a:cxnLst>
                    <a:rect l="0" t="0" r="r" b="b"/>
                    <a:pathLst>
                      <a:path w="253" h="243">
                        <a:moveTo>
                          <a:pt x="35" y="35"/>
                        </a:moveTo>
                        <a:cubicBezTo>
                          <a:pt x="52" y="54"/>
                          <a:pt x="67" y="81"/>
                          <a:pt x="68" y="106"/>
                        </a:cubicBezTo>
                        <a:cubicBezTo>
                          <a:pt x="50" y="105"/>
                          <a:pt x="0" y="104"/>
                          <a:pt x="10" y="135"/>
                        </a:cubicBezTo>
                        <a:cubicBezTo>
                          <a:pt x="15" y="150"/>
                          <a:pt x="61" y="156"/>
                          <a:pt x="72" y="162"/>
                        </a:cubicBezTo>
                        <a:cubicBezTo>
                          <a:pt x="102" y="180"/>
                          <a:pt x="143" y="243"/>
                          <a:pt x="187" y="220"/>
                        </a:cubicBezTo>
                        <a:cubicBezTo>
                          <a:pt x="253" y="185"/>
                          <a:pt x="156" y="138"/>
                          <a:pt x="135" y="124"/>
                        </a:cubicBezTo>
                        <a:cubicBezTo>
                          <a:pt x="96" y="98"/>
                          <a:pt x="79" y="53"/>
                          <a:pt x="55" y="10"/>
                        </a:cubicBezTo>
                        <a:cubicBezTo>
                          <a:pt x="40" y="5"/>
                          <a:pt x="21" y="0"/>
                          <a:pt x="14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6" name="Freeform 86"/>
                  <p:cNvSpPr>
                    <a:spLocks/>
                  </p:cNvSpPr>
                  <p:nvPr/>
                </p:nvSpPr>
                <p:spPr bwMode="gray">
                  <a:xfrm>
                    <a:off x="47625" y="452438"/>
                    <a:ext cx="809625" cy="919163"/>
                  </a:xfrm>
                  <a:custGeom>
                    <a:avLst/>
                    <a:gdLst/>
                    <a:ahLst/>
                    <a:cxnLst>
                      <a:cxn ang="0">
                        <a:pos x="36" y="13"/>
                      </a:cxn>
                      <a:cxn ang="0">
                        <a:pos x="216" y="237"/>
                      </a:cxn>
                      <a:cxn ang="0">
                        <a:pos x="108" y="13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216" h="245">
                        <a:moveTo>
                          <a:pt x="36" y="13"/>
                        </a:moveTo>
                        <a:cubicBezTo>
                          <a:pt x="156" y="33"/>
                          <a:pt x="104" y="200"/>
                          <a:pt x="216" y="237"/>
                        </a:cubicBezTo>
                        <a:cubicBezTo>
                          <a:pt x="163" y="245"/>
                          <a:pt x="127" y="165"/>
                          <a:pt x="108" y="130"/>
                        </a:cubicBezTo>
                        <a:cubicBezTo>
                          <a:pt x="94" y="104"/>
                          <a:pt x="0" y="23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7" name="Freeform 87"/>
                  <p:cNvSpPr>
                    <a:spLocks/>
                  </p:cNvSpPr>
                  <p:nvPr/>
                </p:nvSpPr>
                <p:spPr bwMode="gray">
                  <a:xfrm>
                    <a:off x="1427163" y="1300163"/>
                    <a:ext cx="180975" cy="130175"/>
                  </a:xfrm>
                  <a:custGeom>
                    <a:avLst/>
                    <a:gdLst/>
                    <a:ahLst/>
                    <a:cxnLst>
                      <a:cxn ang="0">
                        <a:pos x="31" y="2"/>
                      </a:cxn>
                      <a:cxn ang="0">
                        <a:pos x="2" y="3"/>
                      </a:cxn>
                      <a:cxn ang="0">
                        <a:pos x="43" y="31"/>
                      </a:cxn>
                      <a:cxn ang="0">
                        <a:pos x="47" y="7"/>
                      </a:cxn>
                      <a:cxn ang="0">
                        <a:pos x="35" y="2"/>
                      </a:cxn>
                    </a:cxnLst>
                    <a:rect l="0" t="0" r="r" b="b"/>
                    <a:pathLst>
                      <a:path w="48" h="35">
                        <a:moveTo>
                          <a:pt x="31" y="2"/>
                        </a:moveTo>
                        <a:cubicBezTo>
                          <a:pt x="22" y="0"/>
                          <a:pt x="10" y="2"/>
                          <a:pt x="2" y="3"/>
                        </a:cubicBezTo>
                        <a:cubicBezTo>
                          <a:pt x="0" y="27"/>
                          <a:pt x="21" y="35"/>
                          <a:pt x="43" y="31"/>
                        </a:cubicBezTo>
                        <a:cubicBezTo>
                          <a:pt x="47" y="24"/>
                          <a:pt x="48" y="16"/>
                          <a:pt x="47" y="7"/>
                        </a:cubicBezTo>
                        <a:cubicBezTo>
                          <a:pt x="40" y="9"/>
                          <a:pt x="38" y="4"/>
                          <a:pt x="35" y="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8" name="Freeform 88"/>
                  <p:cNvSpPr>
                    <a:spLocks/>
                  </p:cNvSpPr>
                  <p:nvPr/>
                </p:nvSpPr>
                <p:spPr bwMode="gray">
                  <a:xfrm>
                    <a:off x="614363" y="265113"/>
                    <a:ext cx="280988" cy="330200"/>
                  </a:xfrm>
                  <a:custGeom>
                    <a:avLst/>
                    <a:gdLst/>
                    <a:ahLst/>
                    <a:cxnLst>
                      <a:cxn ang="0">
                        <a:pos x="62" y="4"/>
                      </a:cxn>
                      <a:cxn ang="0">
                        <a:pos x="41" y="5"/>
                      </a:cxn>
                      <a:cxn ang="0">
                        <a:pos x="53" y="88"/>
                      </a:cxn>
                      <a:cxn ang="0">
                        <a:pos x="50" y="38"/>
                      </a:cxn>
                      <a:cxn ang="0">
                        <a:pos x="58" y="0"/>
                      </a:cxn>
                    </a:cxnLst>
                    <a:rect l="0" t="0" r="r" b="b"/>
                    <a:pathLst>
                      <a:path w="75" h="88">
                        <a:moveTo>
                          <a:pt x="62" y="4"/>
                        </a:moveTo>
                        <a:cubicBezTo>
                          <a:pt x="56" y="3"/>
                          <a:pt x="48" y="4"/>
                          <a:pt x="41" y="5"/>
                        </a:cubicBezTo>
                        <a:cubicBezTo>
                          <a:pt x="46" y="28"/>
                          <a:pt x="0" y="86"/>
                          <a:pt x="53" y="88"/>
                        </a:cubicBezTo>
                        <a:cubicBezTo>
                          <a:pt x="56" y="71"/>
                          <a:pt x="53" y="53"/>
                          <a:pt x="50" y="38"/>
                        </a:cubicBezTo>
                        <a:cubicBezTo>
                          <a:pt x="72" y="33"/>
                          <a:pt x="75" y="13"/>
                          <a:pt x="5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19" name="Freeform 89"/>
                  <p:cNvSpPr>
                    <a:spLocks/>
                  </p:cNvSpPr>
                  <p:nvPr/>
                </p:nvSpPr>
                <p:spPr bwMode="gray">
                  <a:xfrm>
                    <a:off x="-2847975" y="-150812"/>
                    <a:ext cx="1328738" cy="963613"/>
                  </a:xfrm>
                  <a:custGeom>
                    <a:avLst/>
                    <a:gdLst/>
                    <a:ahLst/>
                    <a:cxnLst>
                      <a:cxn ang="0">
                        <a:pos x="39" y="233"/>
                      </a:cxn>
                      <a:cxn ang="0">
                        <a:pos x="179" y="201"/>
                      </a:cxn>
                      <a:cxn ang="0">
                        <a:pos x="271" y="132"/>
                      </a:cxn>
                      <a:cxn ang="0">
                        <a:pos x="259" y="131"/>
                      </a:cxn>
                      <a:cxn ang="0">
                        <a:pos x="329" y="23"/>
                      </a:cxn>
                      <a:cxn ang="0">
                        <a:pos x="230" y="112"/>
                      </a:cxn>
                      <a:cxn ang="0">
                        <a:pos x="98" y="195"/>
                      </a:cxn>
                      <a:cxn ang="0">
                        <a:pos x="27" y="217"/>
                      </a:cxn>
                      <a:cxn ang="0">
                        <a:pos x="52" y="242"/>
                      </a:cxn>
                    </a:cxnLst>
                    <a:rect l="0" t="0" r="r" b="b"/>
                    <a:pathLst>
                      <a:path w="354" h="257">
                        <a:moveTo>
                          <a:pt x="39" y="233"/>
                        </a:moveTo>
                        <a:cubicBezTo>
                          <a:pt x="93" y="233"/>
                          <a:pt x="133" y="229"/>
                          <a:pt x="179" y="201"/>
                        </a:cubicBezTo>
                        <a:cubicBezTo>
                          <a:pt x="210" y="182"/>
                          <a:pt x="274" y="175"/>
                          <a:pt x="271" y="132"/>
                        </a:cubicBezTo>
                        <a:cubicBezTo>
                          <a:pt x="267" y="131"/>
                          <a:pt x="263" y="132"/>
                          <a:pt x="259" y="131"/>
                        </a:cubicBezTo>
                        <a:cubicBezTo>
                          <a:pt x="257" y="108"/>
                          <a:pt x="354" y="52"/>
                          <a:pt x="329" y="23"/>
                        </a:cubicBezTo>
                        <a:cubicBezTo>
                          <a:pt x="310" y="0"/>
                          <a:pt x="240" y="96"/>
                          <a:pt x="230" y="112"/>
                        </a:cubicBezTo>
                        <a:cubicBezTo>
                          <a:pt x="199" y="158"/>
                          <a:pt x="149" y="179"/>
                          <a:pt x="98" y="195"/>
                        </a:cubicBezTo>
                        <a:cubicBezTo>
                          <a:pt x="80" y="201"/>
                          <a:pt x="40" y="205"/>
                          <a:pt x="27" y="217"/>
                        </a:cubicBezTo>
                        <a:cubicBezTo>
                          <a:pt x="0" y="241"/>
                          <a:pt x="21" y="257"/>
                          <a:pt x="52" y="2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0" name="Freeform 90"/>
                  <p:cNvSpPr>
                    <a:spLocks/>
                  </p:cNvSpPr>
                  <p:nvPr/>
                </p:nvSpPr>
                <p:spPr bwMode="gray">
                  <a:xfrm>
                    <a:off x="-3046413" y="-11569700"/>
                    <a:ext cx="4418013" cy="12044363"/>
                  </a:xfrm>
                  <a:custGeom>
                    <a:avLst/>
                    <a:gdLst/>
                    <a:ahLst/>
                    <a:cxnLst>
                      <a:cxn ang="0">
                        <a:pos x="55" y="151"/>
                      </a:cxn>
                      <a:cxn ang="0">
                        <a:pos x="78" y="281"/>
                      </a:cxn>
                      <a:cxn ang="0">
                        <a:pos x="37" y="382"/>
                      </a:cxn>
                      <a:cxn ang="0">
                        <a:pos x="33" y="686"/>
                      </a:cxn>
                      <a:cxn ang="0">
                        <a:pos x="72" y="1082"/>
                      </a:cxn>
                      <a:cxn ang="0">
                        <a:pos x="100" y="1473"/>
                      </a:cxn>
                      <a:cxn ang="0">
                        <a:pos x="203" y="2087"/>
                      </a:cxn>
                      <a:cxn ang="0">
                        <a:pos x="268" y="2377"/>
                      </a:cxn>
                      <a:cxn ang="0">
                        <a:pos x="331" y="2676"/>
                      </a:cxn>
                      <a:cxn ang="0">
                        <a:pos x="331" y="2712"/>
                      </a:cxn>
                      <a:cxn ang="0">
                        <a:pos x="360" y="2865"/>
                      </a:cxn>
                      <a:cxn ang="0">
                        <a:pos x="398" y="3028"/>
                      </a:cxn>
                      <a:cxn ang="0">
                        <a:pos x="465" y="3046"/>
                      </a:cxn>
                      <a:cxn ang="0">
                        <a:pos x="551" y="3097"/>
                      </a:cxn>
                      <a:cxn ang="0">
                        <a:pos x="746" y="3164"/>
                      </a:cxn>
                      <a:cxn ang="0">
                        <a:pos x="765" y="2895"/>
                      </a:cxn>
                      <a:cxn ang="0">
                        <a:pos x="699" y="2595"/>
                      </a:cxn>
                      <a:cxn ang="0">
                        <a:pos x="664" y="2318"/>
                      </a:cxn>
                      <a:cxn ang="0">
                        <a:pos x="668" y="2009"/>
                      </a:cxn>
                      <a:cxn ang="0">
                        <a:pos x="635" y="1824"/>
                      </a:cxn>
                      <a:cxn ang="0">
                        <a:pos x="658" y="1638"/>
                      </a:cxn>
                      <a:cxn ang="0">
                        <a:pos x="613" y="1458"/>
                      </a:cxn>
                      <a:cxn ang="0">
                        <a:pos x="614" y="1261"/>
                      </a:cxn>
                      <a:cxn ang="0">
                        <a:pos x="681" y="1356"/>
                      </a:cxn>
                      <a:cxn ang="0">
                        <a:pos x="699" y="1501"/>
                      </a:cxn>
                      <a:cxn ang="0">
                        <a:pos x="742" y="1767"/>
                      </a:cxn>
                      <a:cxn ang="0">
                        <a:pos x="709" y="2110"/>
                      </a:cxn>
                      <a:cxn ang="0">
                        <a:pos x="720" y="2437"/>
                      </a:cxn>
                      <a:cxn ang="0">
                        <a:pos x="708" y="2657"/>
                      </a:cxn>
                      <a:cxn ang="0">
                        <a:pos x="681" y="2858"/>
                      </a:cxn>
                      <a:cxn ang="0">
                        <a:pos x="761" y="3062"/>
                      </a:cxn>
                      <a:cxn ang="0">
                        <a:pos x="888" y="3206"/>
                      </a:cxn>
                      <a:cxn ang="0">
                        <a:pos x="1108" y="3109"/>
                      </a:cxn>
                      <a:cxn ang="0">
                        <a:pos x="1125" y="2843"/>
                      </a:cxn>
                      <a:cxn ang="0">
                        <a:pos x="1125" y="2765"/>
                      </a:cxn>
                      <a:cxn ang="0">
                        <a:pos x="1108" y="2702"/>
                      </a:cxn>
                      <a:cxn ang="0">
                        <a:pos x="1148" y="2578"/>
                      </a:cxn>
                      <a:cxn ang="0">
                        <a:pos x="1148" y="2229"/>
                      </a:cxn>
                      <a:cxn ang="0">
                        <a:pos x="1153" y="2071"/>
                      </a:cxn>
                      <a:cxn ang="0">
                        <a:pos x="1125" y="1914"/>
                      </a:cxn>
                      <a:cxn ang="0">
                        <a:pos x="1148" y="1587"/>
                      </a:cxn>
                      <a:cxn ang="0">
                        <a:pos x="1142" y="1282"/>
                      </a:cxn>
                      <a:cxn ang="0">
                        <a:pos x="1153" y="1092"/>
                      </a:cxn>
                      <a:cxn ang="0">
                        <a:pos x="1125" y="911"/>
                      </a:cxn>
                      <a:cxn ang="0">
                        <a:pos x="1107" y="541"/>
                      </a:cxn>
                      <a:cxn ang="0">
                        <a:pos x="1024" y="168"/>
                      </a:cxn>
                      <a:cxn ang="0">
                        <a:pos x="731" y="17"/>
                      </a:cxn>
                      <a:cxn ang="0">
                        <a:pos x="152" y="79"/>
                      </a:cxn>
                      <a:cxn ang="0">
                        <a:pos x="72" y="151"/>
                      </a:cxn>
                    </a:cxnLst>
                    <a:rect l="0" t="0" r="r" b="b"/>
                    <a:pathLst>
                      <a:path w="1178" h="3212">
                        <a:moveTo>
                          <a:pt x="55" y="151"/>
                        </a:moveTo>
                        <a:cubicBezTo>
                          <a:pt x="49" y="196"/>
                          <a:pt x="81" y="231"/>
                          <a:pt x="78" y="281"/>
                        </a:cubicBezTo>
                        <a:cubicBezTo>
                          <a:pt x="75" y="326"/>
                          <a:pt x="52" y="346"/>
                          <a:pt x="37" y="382"/>
                        </a:cubicBezTo>
                        <a:cubicBezTo>
                          <a:pt x="0" y="468"/>
                          <a:pt x="24" y="594"/>
                          <a:pt x="33" y="686"/>
                        </a:cubicBezTo>
                        <a:cubicBezTo>
                          <a:pt x="45" y="819"/>
                          <a:pt x="58" y="950"/>
                          <a:pt x="72" y="1082"/>
                        </a:cubicBezTo>
                        <a:cubicBezTo>
                          <a:pt x="86" y="1213"/>
                          <a:pt x="107" y="1338"/>
                          <a:pt x="100" y="1473"/>
                        </a:cubicBezTo>
                        <a:cubicBezTo>
                          <a:pt x="90" y="1687"/>
                          <a:pt x="167" y="1885"/>
                          <a:pt x="203" y="2087"/>
                        </a:cubicBezTo>
                        <a:cubicBezTo>
                          <a:pt x="221" y="2184"/>
                          <a:pt x="253" y="2275"/>
                          <a:pt x="268" y="2377"/>
                        </a:cubicBezTo>
                        <a:cubicBezTo>
                          <a:pt x="282" y="2471"/>
                          <a:pt x="342" y="2574"/>
                          <a:pt x="331" y="2676"/>
                        </a:cubicBezTo>
                        <a:cubicBezTo>
                          <a:pt x="330" y="2688"/>
                          <a:pt x="331" y="2700"/>
                          <a:pt x="331" y="2712"/>
                        </a:cubicBezTo>
                        <a:cubicBezTo>
                          <a:pt x="268" y="2741"/>
                          <a:pt x="351" y="2832"/>
                          <a:pt x="360" y="2865"/>
                        </a:cubicBezTo>
                        <a:cubicBezTo>
                          <a:pt x="375" y="2925"/>
                          <a:pt x="339" y="2982"/>
                          <a:pt x="398" y="3028"/>
                        </a:cubicBezTo>
                        <a:cubicBezTo>
                          <a:pt x="420" y="3045"/>
                          <a:pt x="440" y="3037"/>
                          <a:pt x="465" y="3046"/>
                        </a:cubicBezTo>
                        <a:cubicBezTo>
                          <a:pt x="487" y="3054"/>
                          <a:pt x="527" y="3085"/>
                          <a:pt x="551" y="3097"/>
                        </a:cubicBezTo>
                        <a:cubicBezTo>
                          <a:pt x="609" y="3126"/>
                          <a:pt x="681" y="3156"/>
                          <a:pt x="746" y="3164"/>
                        </a:cubicBezTo>
                        <a:cubicBezTo>
                          <a:pt x="725" y="3072"/>
                          <a:pt x="773" y="2987"/>
                          <a:pt x="765" y="2895"/>
                        </a:cubicBezTo>
                        <a:cubicBezTo>
                          <a:pt x="757" y="2795"/>
                          <a:pt x="726" y="2690"/>
                          <a:pt x="699" y="2595"/>
                        </a:cubicBezTo>
                        <a:cubicBezTo>
                          <a:pt x="673" y="2503"/>
                          <a:pt x="654" y="2417"/>
                          <a:pt x="664" y="2318"/>
                        </a:cubicBezTo>
                        <a:cubicBezTo>
                          <a:pt x="673" y="2225"/>
                          <a:pt x="695" y="2102"/>
                          <a:pt x="668" y="2009"/>
                        </a:cubicBezTo>
                        <a:cubicBezTo>
                          <a:pt x="650" y="1949"/>
                          <a:pt x="625" y="1893"/>
                          <a:pt x="635" y="1824"/>
                        </a:cubicBezTo>
                        <a:cubicBezTo>
                          <a:pt x="646" y="1757"/>
                          <a:pt x="672" y="1710"/>
                          <a:pt x="658" y="1638"/>
                        </a:cubicBezTo>
                        <a:cubicBezTo>
                          <a:pt x="645" y="1572"/>
                          <a:pt x="613" y="1532"/>
                          <a:pt x="613" y="1458"/>
                        </a:cubicBezTo>
                        <a:cubicBezTo>
                          <a:pt x="613" y="1392"/>
                          <a:pt x="610" y="1326"/>
                          <a:pt x="614" y="1261"/>
                        </a:cubicBezTo>
                        <a:cubicBezTo>
                          <a:pt x="645" y="1296"/>
                          <a:pt x="669" y="1309"/>
                          <a:pt x="681" y="1356"/>
                        </a:cubicBezTo>
                        <a:cubicBezTo>
                          <a:pt x="693" y="1402"/>
                          <a:pt x="692" y="1455"/>
                          <a:pt x="699" y="1501"/>
                        </a:cubicBezTo>
                        <a:cubicBezTo>
                          <a:pt x="712" y="1593"/>
                          <a:pt x="742" y="1668"/>
                          <a:pt x="742" y="1767"/>
                        </a:cubicBezTo>
                        <a:cubicBezTo>
                          <a:pt x="742" y="1887"/>
                          <a:pt x="727" y="1996"/>
                          <a:pt x="709" y="2110"/>
                        </a:cubicBezTo>
                        <a:cubicBezTo>
                          <a:pt x="692" y="2218"/>
                          <a:pt x="720" y="2327"/>
                          <a:pt x="720" y="2437"/>
                        </a:cubicBezTo>
                        <a:cubicBezTo>
                          <a:pt x="720" y="2509"/>
                          <a:pt x="719" y="2585"/>
                          <a:pt x="708" y="2657"/>
                        </a:cubicBezTo>
                        <a:cubicBezTo>
                          <a:pt x="698" y="2726"/>
                          <a:pt x="676" y="2784"/>
                          <a:pt x="681" y="2858"/>
                        </a:cubicBezTo>
                        <a:cubicBezTo>
                          <a:pt x="685" y="2936"/>
                          <a:pt x="733" y="2993"/>
                          <a:pt x="761" y="3062"/>
                        </a:cubicBezTo>
                        <a:cubicBezTo>
                          <a:pt x="779" y="3106"/>
                          <a:pt x="832" y="3212"/>
                          <a:pt x="888" y="3206"/>
                        </a:cubicBezTo>
                        <a:cubicBezTo>
                          <a:pt x="920" y="3108"/>
                          <a:pt x="1051" y="3169"/>
                          <a:pt x="1108" y="3109"/>
                        </a:cubicBezTo>
                        <a:cubicBezTo>
                          <a:pt x="1178" y="3035"/>
                          <a:pt x="1133" y="2934"/>
                          <a:pt x="1125" y="2843"/>
                        </a:cubicBezTo>
                        <a:cubicBezTo>
                          <a:pt x="1123" y="2817"/>
                          <a:pt x="1129" y="2790"/>
                          <a:pt x="1125" y="2765"/>
                        </a:cubicBezTo>
                        <a:cubicBezTo>
                          <a:pt x="1122" y="2744"/>
                          <a:pt x="1107" y="2723"/>
                          <a:pt x="1108" y="2702"/>
                        </a:cubicBezTo>
                        <a:cubicBezTo>
                          <a:pt x="1111" y="2665"/>
                          <a:pt x="1139" y="2616"/>
                          <a:pt x="1148" y="2578"/>
                        </a:cubicBezTo>
                        <a:cubicBezTo>
                          <a:pt x="1175" y="2463"/>
                          <a:pt x="1153" y="2350"/>
                          <a:pt x="1148" y="2229"/>
                        </a:cubicBezTo>
                        <a:cubicBezTo>
                          <a:pt x="1145" y="2175"/>
                          <a:pt x="1151" y="2124"/>
                          <a:pt x="1153" y="2071"/>
                        </a:cubicBezTo>
                        <a:cubicBezTo>
                          <a:pt x="1156" y="2014"/>
                          <a:pt x="1131" y="1968"/>
                          <a:pt x="1125" y="1914"/>
                        </a:cubicBezTo>
                        <a:cubicBezTo>
                          <a:pt x="1112" y="1802"/>
                          <a:pt x="1143" y="1694"/>
                          <a:pt x="1148" y="1587"/>
                        </a:cubicBezTo>
                        <a:cubicBezTo>
                          <a:pt x="1153" y="1484"/>
                          <a:pt x="1137" y="1386"/>
                          <a:pt x="1142" y="1282"/>
                        </a:cubicBezTo>
                        <a:cubicBezTo>
                          <a:pt x="1145" y="1218"/>
                          <a:pt x="1154" y="1157"/>
                          <a:pt x="1153" y="1092"/>
                        </a:cubicBezTo>
                        <a:cubicBezTo>
                          <a:pt x="1153" y="1028"/>
                          <a:pt x="1131" y="969"/>
                          <a:pt x="1125" y="911"/>
                        </a:cubicBezTo>
                        <a:cubicBezTo>
                          <a:pt x="1114" y="786"/>
                          <a:pt x="1151" y="664"/>
                          <a:pt x="1107" y="541"/>
                        </a:cubicBezTo>
                        <a:cubicBezTo>
                          <a:pt x="1063" y="418"/>
                          <a:pt x="1051" y="297"/>
                          <a:pt x="1024" y="168"/>
                        </a:cubicBezTo>
                        <a:cubicBezTo>
                          <a:pt x="1000" y="52"/>
                          <a:pt x="839" y="26"/>
                          <a:pt x="731" y="17"/>
                        </a:cubicBezTo>
                        <a:cubicBezTo>
                          <a:pt x="534" y="0"/>
                          <a:pt x="335" y="29"/>
                          <a:pt x="152" y="79"/>
                        </a:cubicBezTo>
                        <a:cubicBezTo>
                          <a:pt x="146" y="114"/>
                          <a:pt x="107" y="143"/>
                          <a:pt x="72" y="15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1" name="Freeform 91"/>
                  <p:cNvSpPr>
                    <a:spLocks/>
                  </p:cNvSpPr>
                  <p:nvPr/>
                </p:nvSpPr>
                <p:spPr bwMode="gray">
                  <a:xfrm>
                    <a:off x="-2055813" y="-18129250"/>
                    <a:ext cx="1924050" cy="2647950"/>
                  </a:xfrm>
                  <a:custGeom>
                    <a:avLst/>
                    <a:gdLst/>
                    <a:ahLst/>
                    <a:cxnLst>
                      <a:cxn ang="0">
                        <a:pos x="122" y="205"/>
                      </a:cxn>
                      <a:cxn ang="0">
                        <a:pos x="141" y="437"/>
                      </a:cxn>
                      <a:cxn ang="0">
                        <a:pos x="214" y="683"/>
                      </a:cxn>
                      <a:cxn ang="0">
                        <a:pos x="488" y="510"/>
                      </a:cxn>
                      <a:cxn ang="0">
                        <a:pos x="407" y="124"/>
                      </a:cxn>
                      <a:cxn ang="0">
                        <a:pos x="143" y="184"/>
                      </a:cxn>
                    </a:cxnLst>
                    <a:rect l="0" t="0" r="r" b="b"/>
                    <a:pathLst>
                      <a:path w="513" h="706">
                        <a:moveTo>
                          <a:pt x="122" y="205"/>
                        </a:moveTo>
                        <a:cubicBezTo>
                          <a:pt x="137" y="280"/>
                          <a:pt x="146" y="354"/>
                          <a:pt x="141" y="437"/>
                        </a:cubicBezTo>
                        <a:cubicBezTo>
                          <a:pt x="0" y="522"/>
                          <a:pt x="74" y="660"/>
                          <a:pt x="214" y="683"/>
                        </a:cubicBezTo>
                        <a:cubicBezTo>
                          <a:pt x="351" y="706"/>
                          <a:pt x="455" y="646"/>
                          <a:pt x="488" y="510"/>
                        </a:cubicBezTo>
                        <a:cubicBezTo>
                          <a:pt x="513" y="407"/>
                          <a:pt x="455" y="214"/>
                          <a:pt x="407" y="124"/>
                        </a:cubicBezTo>
                        <a:cubicBezTo>
                          <a:pt x="342" y="0"/>
                          <a:pt x="146" y="43"/>
                          <a:pt x="143" y="18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2" name="Freeform 92"/>
                  <p:cNvSpPr>
                    <a:spLocks/>
                  </p:cNvSpPr>
                  <p:nvPr/>
                </p:nvSpPr>
                <p:spPr bwMode="gray">
                  <a:xfrm>
                    <a:off x="-409575" y="-17097375"/>
                    <a:ext cx="157163" cy="258763"/>
                  </a:xfrm>
                  <a:custGeom>
                    <a:avLst/>
                    <a:gdLst/>
                    <a:ahLst/>
                    <a:cxnLst>
                      <a:cxn ang="0">
                        <a:pos x="20" y="45"/>
                      </a:cxn>
                      <a:cxn ang="0">
                        <a:pos x="42" y="69"/>
                      </a:cxn>
                      <a:cxn ang="0">
                        <a:pos x="37" y="42"/>
                      </a:cxn>
                      <a:cxn ang="0">
                        <a:pos x="26" y="12"/>
                      </a:cxn>
                      <a:cxn ang="0">
                        <a:pos x="14" y="4"/>
                      </a:cxn>
                      <a:cxn ang="0">
                        <a:pos x="5" y="17"/>
                      </a:cxn>
                      <a:cxn ang="0">
                        <a:pos x="18" y="45"/>
                      </a:cxn>
                    </a:cxnLst>
                    <a:rect l="0" t="0" r="r" b="b"/>
                    <a:pathLst>
                      <a:path w="42" h="69">
                        <a:moveTo>
                          <a:pt x="20" y="45"/>
                        </a:moveTo>
                        <a:cubicBezTo>
                          <a:pt x="26" y="51"/>
                          <a:pt x="34" y="66"/>
                          <a:pt x="42" y="69"/>
                        </a:cubicBezTo>
                        <a:cubicBezTo>
                          <a:pt x="42" y="59"/>
                          <a:pt x="39" y="51"/>
                          <a:pt x="37" y="42"/>
                        </a:cubicBezTo>
                        <a:cubicBezTo>
                          <a:pt x="34" y="29"/>
                          <a:pt x="30" y="22"/>
                          <a:pt x="26" y="12"/>
                        </a:cubicBezTo>
                        <a:cubicBezTo>
                          <a:pt x="22" y="5"/>
                          <a:pt x="22" y="0"/>
                          <a:pt x="14" y="4"/>
                        </a:cubicBezTo>
                        <a:cubicBezTo>
                          <a:pt x="11" y="5"/>
                          <a:pt x="6" y="14"/>
                          <a:pt x="5" y="17"/>
                        </a:cubicBezTo>
                        <a:cubicBezTo>
                          <a:pt x="0" y="32"/>
                          <a:pt x="16" y="37"/>
                          <a:pt x="18" y="4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3" name="Freeform 93"/>
                  <p:cNvSpPr>
                    <a:spLocks/>
                  </p:cNvSpPr>
                  <p:nvPr/>
                </p:nvSpPr>
                <p:spPr bwMode="gray">
                  <a:xfrm>
                    <a:off x="-1587500" y="-17067212"/>
                    <a:ext cx="1296988" cy="76835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23" y="45"/>
                      </a:cxn>
                      <a:cxn ang="0">
                        <a:pos x="45" y="97"/>
                      </a:cxn>
                      <a:cxn ang="0">
                        <a:pos x="125" y="177"/>
                      </a:cxn>
                      <a:cxn ang="0">
                        <a:pos x="246" y="190"/>
                      </a:cxn>
                      <a:cxn ang="0">
                        <a:pos x="346" y="14"/>
                      </a:cxn>
                    </a:cxnLst>
                    <a:rect l="0" t="0" r="r" b="b"/>
                    <a:pathLst>
                      <a:path w="346" h="205">
                        <a:moveTo>
                          <a:pt x="0" y="0"/>
                        </a:moveTo>
                        <a:cubicBezTo>
                          <a:pt x="7" y="19"/>
                          <a:pt x="13" y="29"/>
                          <a:pt x="23" y="45"/>
                        </a:cubicBezTo>
                        <a:cubicBezTo>
                          <a:pt x="33" y="62"/>
                          <a:pt x="33" y="82"/>
                          <a:pt x="45" y="97"/>
                        </a:cubicBezTo>
                        <a:cubicBezTo>
                          <a:pt x="70" y="127"/>
                          <a:pt x="87" y="157"/>
                          <a:pt x="125" y="177"/>
                        </a:cubicBezTo>
                        <a:cubicBezTo>
                          <a:pt x="150" y="191"/>
                          <a:pt x="216" y="205"/>
                          <a:pt x="246" y="190"/>
                        </a:cubicBezTo>
                        <a:cubicBezTo>
                          <a:pt x="303" y="163"/>
                          <a:pt x="346" y="38"/>
                          <a:pt x="346" y="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4" name="Freeform 94"/>
                  <p:cNvSpPr>
                    <a:spLocks/>
                  </p:cNvSpPr>
                  <p:nvPr/>
                </p:nvSpPr>
                <p:spPr bwMode="gray">
                  <a:xfrm>
                    <a:off x="-2055813" y="-19629437"/>
                    <a:ext cx="2047875" cy="3203575"/>
                  </a:xfrm>
                  <a:custGeom>
                    <a:avLst/>
                    <a:gdLst/>
                    <a:ahLst/>
                    <a:cxnLst>
                      <a:cxn ang="0">
                        <a:pos x="48" y="367"/>
                      </a:cxn>
                      <a:cxn ang="0">
                        <a:pos x="1" y="422"/>
                      </a:cxn>
                      <a:cxn ang="0">
                        <a:pos x="43" y="495"/>
                      </a:cxn>
                      <a:cxn ang="0">
                        <a:pos x="63" y="525"/>
                      </a:cxn>
                      <a:cxn ang="0">
                        <a:pos x="76" y="578"/>
                      </a:cxn>
                      <a:cxn ang="0">
                        <a:pos x="132" y="702"/>
                      </a:cxn>
                      <a:cxn ang="0">
                        <a:pos x="171" y="746"/>
                      </a:cxn>
                      <a:cxn ang="0">
                        <a:pos x="251" y="827"/>
                      </a:cxn>
                      <a:cxn ang="0">
                        <a:pos x="372" y="840"/>
                      </a:cxn>
                      <a:cxn ang="0">
                        <a:pos x="473" y="692"/>
                      </a:cxn>
                      <a:cxn ang="0">
                        <a:pos x="511" y="599"/>
                      </a:cxn>
                      <a:cxn ang="0">
                        <a:pos x="529" y="410"/>
                      </a:cxn>
                      <a:cxn ang="0">
                        <a:pos x="372" y="60"/>
                      </a:cxn>
                      <a:cxn ang="0">
                        <a:pos x="112" y="89"/>
                      </a:cxn>
                      <a:cxn ang="0">
                        <a:pos x="40" y="216"/>
                      </a:cxn>
                      <a:cxn ang="0">
                        <a:pos x="48" y="367"/>
                      </a:cxn>
                    </a:cxnLst>
                    <a:rect l="0" t="0" r="r" b="b"/>
                    <a:pathLst>
                      <a:path w="546" h="854">
                        <a:moveTo>
                          <a:pt x="48" y="367"/>
                        </a:moveTo>
                        <a:cubicBezTo>
                          <a:pt x="6" y="358"/>
                          <a:pt x="2" y="391"/>
                          <a:pt x="1" y="422"/>
                        </a:cubicBezTo>
                        <a:cubicBezTo>
                          <a:pt x="0" y="467"/>
                          <a:pt x="17" y="469"/>
                          <a:pt x="43" y="495"/>
                        </a:cubicBezTo>
                        <a:cubicBezTo>
                          <a:pt x="51" y="503"/>
                          <a:pt x="54" y="517"/>
                          <a:pt x="63" y="525"/>
                        </a:cubicBezTo>
                        <a:cubicBezTo>
                          <a:pt x="75" y="534"/>
                          <a:pt x="67" y="564"/>
                          <a:pt x="76" y="578"/>
                        </a:cubicBezTo>
                        <a:cubicBezTo>
                          <a:pt x="92" y="600"/>
                          <a:pt x="122" y="686"/>
                          <a:pt x="132" y="702"/>
                        </a:cubicBezTo>
                        <a:cubicBezTo>
                          <a:pt x="142" y="719"/>
                          <a:pt x="159" y="731"/>
                          <a:pt x="171" y="746"/>
                        </a:cubicBezTo>
                        <a:cubicBezTo>
                          <a:pt x="196" y="777"/>
                          <a:pt x="213" y="806"/>
                          <a:pt x="251" y="827"/>
                        </a:cubicBezTo>
                        <a:cubicBezTo>
                          <a:pt x="277" y="840"/>
                          <a:pt x="342" y="854"/>
                          <a:pt x="372" y="840"/>
                        </a:cubicBezTo>
                        <a:cubicBezTo>
                          <a:pt x="400" y="826"/>
                          <a:pt x="464" y="716"/>
                          <a:pt x="473" y="692"/>
                        </a:cubicBezTo>
                        <a:cubicBezTo>
                          <a:pt x="485" y="660"/>
                          <a:pt x="498" y="628"/>
                          <a:pt x="511" y="599"/>
                        </a:cubicBezTo>
                        <a:cubicBezTo>
                          <a:pt x="537" y="542"/>
                          <a:pt x="521" y="470"/>
                          <a:pt x="529" y="410"/>
                        </a:cubicBezTo>
                        <a:cubicBezTo>
                          <a:pt x="546" y="285"/>
                          <a:pt x="466" y="132"/>
                          <a:pt x="372" y="60"/>
                        </a:cubicBezTo>
                        <a:cubicBezTo>
                          <a:pt x="294" y="0"/>
                          <a:pt x="170" y="12"/>
                          <a:pt x="112" y="89"/>
                        </a:cubicBezTo>
                        <a:cubicBezTo>
                          <a:pt x="88" y="120"/>
                          <a:pt x="55" y="179"/>
                          <a:pt x="40" y="216"/>
                        </a:cubicBezTo>
                        <a:cubicBezTo>
                          <a:pt x="28" y="248"/>
                          <a:pt x="1" y="298"/>
                          <a:pt x="48" y="3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5" name="Freeform 95"/>
                  <p:cNvSpPr>
                    <a:spLocks/>
                  </p:cNvSpPr>
                  <p:nvPr/>
                </p:nvSpPr>
                <p:spPr bwMode="gray">
                  <a:xfrm>
                    <a:off x="-3870325" y="-16865596"/>
                    <a:ext cx="5691179" cy="6361109"/>
                  </a:xfrm>
                  <a:custGeom>
                    <a:avLst/>
                    <a:gdLst/>
                    <a:ahLst/>
                    <a:cxnLst>
                      <a:cxn ang="0">
                        <a:pos x="568" y="110"/>
                      </a:cxn>
                      <a:cxn ang="0">
                        <a:pos x="365" y="239"/>
                      </a:cxn>
                      <a:cxn ang="0">
                        <a:pos x="185" y="357"/>
                      </a:cxn>
                      <a:cxn ang="0">
                        <a:pos x="67" y="567"/>
                      </a:cxn>
                      <a:cxn ang="0">
                        <a:pos x="74" y="680"/>
                      </a:cxn>
                      <a:cxn ang="0">
                        <a:pos x="62" y="820"/>
                      </a:cxn>
                      <a:cxn ang="0">
                        <a:pos x="5" y="1011"/>
                      </a:cxn>
                      <a:cxn ang="0">
                        <a:pos x="16" y="1237"/>
                      </a:cxn>
                      <a:cxn ang="0">
                        <a:pos x="101" y="1406"/>
                      </a:cxn>
                      <a:cxn ang="0">
                        <a:pos x="264" y="1417"/>
                      </a:cxn>
                      <a:cxn ang="0">
                        <a:pos x="276" y="1591"/>
                      </a:cxn>
                      <a:cxn ang="0">
                        <a:pos x="731" y="1681"/>
                      </a:cxn>
                      <a:cxn ang="0">
                        <a:pos x="968" y="1655"/>
                      </a:cxn>
                      <a:cxn ang="0">
                        <a:pos x="1154" y="1631"/>
                      </a:cxn>
                      <a:cxn ang="0">
                        <a:pos x="1283" y="1569"/>
                      </a:cxn>
                      <a:cxn ang="0">
                        <a:pos x="1447" y="1147"/>
                      </a:cxn>
                      <a:cxn ang="0">
                        <a:pos x="1509" y="617"/>
                      </a:cxn>
                      <a:cxn ang="0">
                        <a:pos x="1492" y="398"/>
                      </a:cxn>
                      <a:cxn ang="0">
                        <a:pos x="1417" y="202"/>
                      </a:cxn>
                      <a:cxn ang="0">
                        <a:pos x="1014" y="53"/>
                      </a:cxn>
                      <a:cxn ang="0">
                        <a:pos x="745" y="222"/>
                      </a:cxn>
                      <a:cxn ang="0">
                        <a:pos x="608" y="70"/>
                      </a:cxn>
                      <a:cxn ang="0">
                        <a:pos x="535" y="133"/>
                      </a:cxn>
                    </a:cxnLst>
                    <a:rect l="0" t="0" r="r" b="b"/>
                    <a:pathLst>
                      <a:path w="1518" h="1696">
                        <a:moveTo>
                          <a:pt x="568" y="110"/>
                        </a:moveTo>
                        <a:cubicBezTo>
                          <a:pt x="491" y="130"/>
                          <a:pt x="436" y="199"/>
                          <a:pt x="365" y="239"/>
                        </a:cubicBezTo>
                        <a:cubicBezTo>
                          <a:pt x="303" y="273"/>
                          <a:pt x="246" y="311"/>
                          <a:pt x="185" y="357"/>
                        </a:cubicBezTo>
                        <a:cubicBezTo>
                          <a:pt x="127" y="401"/>
                          <a:pt x="49" y="492"/>
                          <a:pt x="67" y="567"/>
                        </a:cubicBezTo>
                        <a:cubicBezTo>
                          <a:pt x="79" y="619"/>
                          <a:pt x="85" y="626"/>
                          <a:pt x="74" y="680"/>
                        </a:cubicBezTo>
                        <a:cubicBezTo>
                          <a:pt x="65" y="726"/>
                          <a:pt x="69" y="773"/>
                          <a:pt x="62" y="820"/>
                        </a:cubicBezTo>
                        <a:cubicBezTo>
                          <a:pt x="52" y="884"/>
                          <a:pt x="11" y="945"/>
                          <a:pt x="5" y="1011"/>
                        </a:cubicBezTo>
                        <a:cubicBezTo>
                          <a:pt x="0" y="1079"/>
                          <a:pt x="9" y="1168"/>
                          <a:pt x="16" y="1237"/>
                        </a:cubicBezTo>
                        <a:cubicBezTo>
                          <a:pt x="22" y="1288"/>
                          <a:pt x="46" y="1388"/>
                          <a:pt x="101" y="1406"/>
                        </a:cubicBezTo>
                        <a:cubicBezTo>
                          <a:pt x="173" y="1429"/>
                          <a:pt x="202" y="1362"/>
                          <a:pt x="264" y="1417"/>
                        </a:cubicBezTo>
                        <a:cubicBezTo>
                          <a:pt x="255" y="1448"/>
                          <a:pt x="169" y="1479"/>
                          <a:pt x="276" y="1591"/>
                        </a:cubicBezTo>
                        <a:cubicBezTo>
                          <a:pt x="319" y="1637"/>
                          <a:pt x="670" y="1696"/>
                          <a:pt x="731" y="1681"/>
                        </a:cubicBezTo>
                        <a:cubicBezTo>
                          <a:pt x="804" y="1663"/>
                          <a:pt x="915" y="1665"/>
                          <a:pt x="968" y="1655"/>
                        </a:cubicBezTo>
                        <a:cubicBezTo>
                          <a:pt x="1014" y="1646"/>
                          <a:pt x="1154" y="1630"/>
                          <a:pt x="1154" y="1631"/>
                        </a:cubicBezTo>
                        <a:cubicBezTo>
                          <a:pt x="1151" y="1611"/>
                          <a:pt x="1278" y="1590"/>
                          <a:pt x="1283" y="1569"/>
                        </a:cubicBezTo>
                        <a:cubicBezTo>
                          <a:pt x="1362" y="1451"/>
                          <a:pt x="1355" y="1386"/>
                          <a:pt x="1447" y="1147"/>
                        </a:cubicBezTo>
                        <a:cubicBezTo>
                          <a:pt x="1509" y="985"/>
                          <a:pt x="1518" y="806"/>
                          <a:pt x="1509" y="617"/>
                        </a:cubicBezTo>
                        <a:cubicBezTo>
                          <a:pt x="1505" y="543"/>
                          <a:pt x="1492" y="476"/>
                          <a:pt x="1492" y="398"/>
                        </a:cubicBezTo>
                        <a:cubicBezTo>
                          <a:pt x="1492" y="311"/>
                          <a:pt x="1485" y="256"/>
                          <a:pt x="1417" y="202"/>
                        </a:cubicBezTo>
                        <a:cubicBezTo>
                          <a:pt x="1308" y="115"/>
                          <a:pt x="1156" y="67"/>
                          <a:pt x="1014" y="53"/>
                        </a:cubicBezTo>
                        <a:cubicBezTo>
                          <a:pt x="988" y="0"/>
                          <a:pt x="813" y="250"/>
                          <a:pt x="745" y="222"/>
                        </a:cubicBezTo>
                        <a:cubicBezTo>
                          <a:pt x="667" y="189"/>
                          <a:pt x="574" y="100"/>
                          <a:pt x="608" y="70"/>
                        </a:cubicBezTo>
                        <a:cubicBezTo>
                          <a:pt x="588" y="98"/>
                          <a:pt x="551" y="100"/>
                          <a:pt x="535" y="13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6" name="Freeform 96"/>
                  <p:cNvSpPr>
                    <a:spLocks/>
                  </p:cNvSpPr>
                  <p:nvPr/>
                </p:nvSpPr>
                <p:spPr bwMode="gray">
                  <a:xfrm>
                    <a:off x="-577850" y="-16665575"/>
                    <a:ext cx="1341438" cy="857250"/>
                  </a:xfrm>
                  <a:custGeom>
                    <a:avLst/>
                    <a:gdLst/>
                    <a:ahLst/>
                    <a:cxnLst>
                      <a:cxn ang="0">
                        <a:pos x="97" y="0"/>
                      </a:cxn>
                      <a:cxn ang="0">
                        <a:pos x="303" y="60"/>
                      </a:cxn>
                      <a:cxn ang="0">
                        <a:pos x="358" y="106"/>
                      </a:cxn>
                      <a:cxn ang="0">
                        <a:pos x="203" y="76"/>
                      </a:cxn>
                      <a:cxn ang="0">
                        <a:pos x="136" y="173"/>
                      </a:cxn>
                      <a:cxn ang="0">
                        <a:pos x="21" y="223"/>
                      </a:cxn>
                      <a:cxn ang="0">
                        <a:pos x="58" y="105"/>
                      </a:cxn>
                      <a:cxn ang="0">
                        <a:pos x="131" y="13"/>
                      </a:cxn>
                    </a:cxnLst>
                    <a:rect l="0" t="0" r="r" b="b"/>
                    <a:pathLst>
                      <a:path w="358" h="229">
                        <a:moveTo>
                          <a:pt x="97" y="0"/>
                        </a:moveTo>
                        <a:cubicBezTo>
                          <a:pt x="155" y="28"/>
                          <a:pt x="241" y="50"/>
                          <a:pt x="303" y="60"/>
                        </a:cubicBezTo>
                        <a:cubicBezTo>
                          <a:pt x="315" y="77"/>
                          <a:pt x="339" y="97"/>
                          <a:pt x="358" y="106"/>
                        </a:cubicBezTo>
                        <a:cubicBezTo>
                          <a:pt x="309" y="97"/>
                          <a:pt x="254" y="70"/>
                          <a:pt x="203" y="76"/>
                        </a:cubicBezTo>
                        <a:cubicBezTo>
                          <a:pt x="136" y="84"/>
                          <a:pt x="190" y="147"/>
                          <a:pt x="136" y="173"/>
                        </a:cubicBezTo>
                        <a:cubicBezTo>
                          <a:pt x="106" y="119"/>
                          <a:pt x="62" y="229"/>
                          <a:pt x="21" y="223"/>
                        </a:cubicBezTo>
                        <a:cubicBezTo>
                          <a:pt x="0" y="173"/>
                          <a:pt x="31" y="144"/>
                          <a:pt x="58" y="105"/>
                        </a:cubicBezTo>
                        <a:cubicBezTo>
                          <a:pt x="76" y="79"/>
                          <a:pt x="92" y="8"/>
                          <a:pt x="131" y="1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7" name="Freeform 97"/>
                  <p:cNvSpPr>
                    <a:spLocks/>
                  </p:cNvSpPr>
                  <p:nvPr/>
                </p:nvSpPr>
                <p:spPr bwMode="gray">
                  <a:xfrm>
                    <a:off x="-1238250" y="-13482637"/>
                    <a:ext cx="390525" cy="850900"/>
                  </a:xfrm>
                  <a:custGeom>
                    <a:avLst/>
                    <a:gdLst/>
                    <a:ahLst/>
                    <a:cxnLst>
                      <a:cxn ang="0">
                        <a:pos x="79" y="17"/>
                      </a:cxn>
                      <a:cxn ang="0">
                        <a:pos x="3" y="131"/>
                      </a:cxn>
                      <a:cxn ang="0">
                        <a:pos x="45" y="227"/>
                      </a:cxn>
                      <a:cxn ang="0">
                        <a:pos x="99" y="21"/>
                      </a:cxn>
                      <a:cxn ang="0">
                        <a:pos x="87" y="0"/>
                      </a:cxn>
                    </a:cxnLst>
                    <a:rect l="0" t="0" r="r" b="b"/>
                    <a:pathLst>
                      <a:path w="104" h="227">
                        <a:moveTo>
                          <a:pt x="79" y="17"/>
                        </a:moveTo>
                        <a:cubicBezTo>
                          <a:pt x="44" y="66"/>
                          <a:pt x="6" y="63"/>
                          <a:pt x="3" y="131"/>
                        </a:cubicBezTo>
                        <a:cubicBezTo>
                          <a:pt x="0" y="185"/>
                          <a:pt x="11" y="194"/>
                          <a:pt x="45" y="227"/>
                        </a:cubicBezTo>
                        <a:cubicBezTo>
                          <a:pt x="42" y="170"/>
                          <a:pt x="3" y="39"/>
                          <a:pt x="99" y="21"/>
                        </a:cubicBezTo>
                        <a:cubicBezTo>
                          <a:pt x="104" y="6"/>
                          <a:pt x="97" y="5"/>
                          <a:pt x="8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8" name="Freeform 98"/>
                  <p:cNvSpPr>
                    <a:spLocks/>
                  </p:cNvSpPr>
                  <p:nvPr/>
                </p:nvSpPr>
                <p:spPr bwMode="gray">
                  <a:xfrm>
                    <a:off x="-3536950" y="-14465300"/>
                    <a:ext cx="738188" cy="492125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197" y="131"/>
                      </a:cxn>
                      <a:cxn ang="0">
                        <a:pos x="84" y="73"/>
                      </a:cxn>
                      <a:cxn ang="0">
                        <a:pos x="12" y="5"/>
                      </a:cxn>
                      <a:cxn ang="0">
                        <a:pos x="41" y="5"/>
                      </a:cxn>
                    </a:cxnLst>
                    <a:rect l="0" t="0" r="r" b="b"/>
                    <a:pathLst>
                      <a:path w="197" h="131">
                        <a:moveTo>
                          <a:pt x="12" y="0"/>
                        </a:moveTo>
                        <a:cubicBezTo>
                          <a:pt x="72" y="19"/>
                          <a:pt x="176" y="59"/>
                          <a:pt x="197" y="131"/>
                        </a:cubicBezTo>
                        <a:cubicBezTo>
                          <a:pt x="156" y="116"/>
                          <a:pt x="123" y="90"/>
                          <a:pt x="84" y="73"/>
                        </a:cubicBezTo>
                        <a:cubicBezTo>
                          <a:pt x="54" y="61"/>
                          <a:pt x="0" y="51"/>
                          <a:pt x="12" y="5"/>
                        </a:cubicBezTo>
                        <a:cubicBezTo>
                          <a:pt x="21" y="4"/>
                          <a:pt x="33" y="2"/>
                          <a:pt x="41" y="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29" name="Freeform 99"/>
                  <p:cNvSpPr>
                    <a:spLocks/>
                  </p:cNvSpPr>
                  <p:nvPr/>
                </p:nvSpPr>
                <p:spPr bwMode="gray">
                  <a:xfrm>
                    <a:off x="-2806700" y="-10966450"/>
                    <a:ext cx="3787775" cy="825500"/>
                  </a:xfrm>
                  <a:custGeom>
                    <a:avLst/>
                    <a:gdLst/>
                    <a:ahLst/>
                    <a:cxnLst>
                      <a:cxn ang="0">
                        <a:pos x="37" y="13"/>
                      </a:cxn>
                      <a:cxn ang="0">
                        <a:pos x="132" y="45"/>
                      </a:cxn>
                      <a:cxn ang="0">
                        <a:pos x="245" y="69"/>
                      </a:cxn>
                      <a:cxn ang="0">
                        <a:pos x="470" y="86"/>
                      </a:cxn>
                      <a:cxn ang="0">
                        <a:pos x="735" y="69"/>
                      </a:cxn>
                      <a:cxn ang="0">
                        <a:pos x="976" y="37"/>
                      </a:cxn>
                      <a:cxn ang="0">
                        <a:pos x="986" y="148"/>
                      </a:cxn>
                      <a:cxn ang="0">
                        <a:pos x="842" y="187"/>
                      </a:cxn>
                      <a:cxn ang="0">
                        <a:pos x="577" y="215"/>
                      </a:cxn>
                      <a:cxn ang="0">
                        <a:pos x="311" y="194"/>
                      </a:cxn>
                      <a:cxn ang="0">
                        <a:pos x="183" y="159"/>
                      </a:cxn>
                      <a:cxn ang="0">
                        <a:pos x="29" y="121"/>
                      </a:cxn>
                      <a:cxn ang="0">
                        <a:pos x="14" y="120"/>
                      </a:cxn>
                      <a:cxn ang="0">
                        <a:pos x="3" y="24"/>
                      </a:cxn>
                    </a:cxnLst>
                    <a:rect l="0" t="0" r="r" b="b"/>
                    <a:pathLst>
                      <a:path w="1010" h="220">
                        <a:moveTo>
                          <a:pt x="37" y="13"/>
                        </a:moveTo>
                        <a:cubicBezTo>
                          <a:pt x="73" y="16"/>
                          <a:pt x="98" y="32"/>
                          <a:pt x="132" y="45"/>
                        </a:cubicBezTo>
                        <a:cubicBezTo>
                          <a:pt x="171" y="59"/>
                          <a:pt x="206" y="60"/>
                          <a:pt x="245" y="69"/>
                        </a:cubicBezTo>
                        <a:cubicBezTo>
                          <a:pt x="317" y="84"/>
                          <a:pt x="391" y="82"/>
                          <a:pt x="470" y="86"/>
                        </a:cubicBezTo>
                        <a:cubicBezTo>
                          <a:pt x="563" y="90"/>
                          <a:pt x="652" y="100"/>
                          <a:pt x="735" y="69"/>
                        </a:cubicBezTo>
                        <a:cubicBezTo>
                          <a:pt x="797" y="46"/>
                          <a:pt x="909" y="0"/>
                          <a:pt x="976" y="37"/>
                        </a:cubicBezTo>
                        <a:cubicBezTo>
                          <a:pt x="975" y="87"/>
                          <a:pt x="1010" y="114"/>
                          <a:pt x="986" y="148"/>
                        </a:cubicBezTo>
                        <a:cubicBezTo>
                          <a:pt x="970" y="172"/>
                          <a:pt x="869" y="180"/>
                          <a:pt x="842" y="187"/>
                        </a:cubicBezTo>
                        <a:cubicBezTo>
                          <a:pt x="756" y="211"/>
                          <a:pt x="672" y="215"/>
                          <a:pt x="577" y="215"/>
                        </a:cubicBezTo>
                        <a:cubicBezTo>
                          <a:pt x="485" y="215"/>
                          <a:pt x="395" y="220"/>
                          <a:pt x="311" y="194"/>
                        </a:cubicBezTo>
                        <a:cubicBezTo>
                          <a:pt x="267" y="180"/>
                          <a:pt x="226" y="169"/>
                          <a:pt x="183" y="159"/>
                        </a:cubicBezTo>
                        <a:cubicBezTo>
                          <a:pt x="140" y="150"/>
                          <a:pt x="67" y="141"/>
                          <a:pt x="29" y="121"/>
                        </a:cubicBezTo>
                        <a:cubicBezTo>
                          <a:pt x="18" y="115"/>
                          <a:pt x="26" y="124"/>
                          <a:pt x="14" y="120"/>
                        </a:cubicBezTo>
                        <a:cubicBezTo>
                          <a:pt x="9" y="91"/>
                          <a:pt x="0" y="52"/>
                          <a:pt x="3" y="2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0" name="Freeform 100"/>
                  <p:cNvSpPr>
                    <a:spLocks/>
                  </p:cNvSpPr>
                  <p:nvPr/>
                </p:nvSpPr>
                <p:spPr bwMode="gray">
                  <a:xfrm>
                    <a:off x="-1778000" y="-10768012"/>
                    <a:ext cx="884238" cy="638175"/>
                  </a:xfrm>
                  <a:custGeom>
                    <a:avLst/>
                    <a:gdLst/>
                    <a:ahLst/>
                    <a:cxnLst>
                      <a:cxn ang="0">
                        <a:pos x="32" y="131"/>
                      </a:cxn>
                      <a:cxn ang="0">
                        <a:pos x="170" y="141"/>
                      </a:cxn>
                      <a:cxn ang="0">
                        <a:pos x="184" y="39"/>
                      </a:cxn>
                      <a:cxn ang="0">
                        <a:pos x="137" y="26"/>
                      </a:cxn>
                      <a:cxn ang="0">
                        <a:pos x="206" y="20"/>
                      </a:cxn>
                      <a:cxn ang="0">
                        <a:pos x="198" y="152"/>
                      </a:cxn>
                      <a:cxn ang="0">
                        <a:pos x="156" y="168"/>
                      </a:cxn>
                      <a:cxn ang="0">
                        <a:pos x="13" y="151"/>
                      </a:cxn>
                      <a:cxn ang="0">
                        <a:pos x="12" y="40"/>
                      </a:cxn>
                      <a:cxn ang="0">
                        <a:pos x="156" y="13"/>
                      </a:cxn>
                      <a:cxn ang="0">
                        <a:pos x="141" y="37"/>
                      </a:cxn>
                      <a:cxn ang="0">
                        <a:pos x="37" y="61"/>
                      </a:cxn>
                    </a:cxnLst>
                    <a:rect l="0" t="0" r="r" b="b"/>
                    <a:pathLst>
                      <a:path w="236" h="170">
                        <a:moveTo>
                          <a:pt x="32" y="131"/>
                        </a:moveTo>
                        <a:cubicBezTo>
                          <a:pt x="61" y="144"/>
                          <a:pt x="154" y="156"/>
                          <a:pt x="170" y="141"/>
                        </a:cubicBezTo>
                        <a:cubicBezTo>
                          <a:pt x="171" y="124"/>
                          <a:pt x="186" y="58"/>
                          <a:pt x="184" y="39"/>
                        </a:cubicBezTo>
                        <a:cubicBezTo>
                          <a:pt x="164" y="29"/>
                          <a:pt x="137" y="52"/>
                          <a:pt x="137" y="26"/>
                        </a:cubicBezTo>
                        <a:cubicBezTo>
                          <a:pt x="137" y="2"/>
                          <a:pt x="198" y="20"/>
                          <a:pt x="206" y="20"/>
                        </a:cubicBezTo>
                        <a:cubicBezTo>
                          <a:pt x="236" y="20"/>
                          <a:pt x="202" y="124"/>
                          <a:pt x="198" y="152"/>
                        </a:cubicBezTo>
                        <a:cubicBezTo>
                          <a:pt x="195" y="170"/>
                          <a:pt x="180" y="166"/>
                          <a:pt x="156" y="168"/>
                        </a:cubicBezTo>
                        <a:cubicBezTo>
                          <a:pt x="123" y="169"/>
                          <a:pt x="46" y="162"/>
                          <a:pt x="13" y="151"/>
                        </a:cubicBezTo>
                        <a:cubicBezTo>
                          <a:pt x="0" y="147"/>
                          <a:pt x="2" y="88"/>
                          <a:pt x="12" y="40"/>
                        </a:cubicBezTo>
                        <a:cubicBezTo>
                          <a:pt x="20" y="0"/>
                          <a:pt x="123" y="20"/>
                          <a:pt x="156" y="13"/>
                        </a:cubicBezTo>
                        <a:cubicBezTo>
                          <a:pt x="172" y="10"/>
                          <a:pt x="143" y="23"/>
                          <a:pt x="141" y="37"/>
                        </a:cubicBezTo>
                        <a:cubicBezTo>
                          <a:pt x="124" y="38"/>
                          <a:pt x="30" y="30"/>
                          <a:pt x="37" y="6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1" name="Freeform 101"/>
                  <p:cNvSpPr>
                    <a:spLocks/>
                  </p:cNvSpPr>
                  <p:nvPr/>
                </p:nvSpPr>
                <p:spPr bwMode="gray">
                  <a:xfrm>
                    <a:off x="-2228850" y="-19711987"/>
                    <a:ext cx="2320925" cy="2089150"/>
                  </a:xfrm>
                  <a:custGeom>
                    <a:avLst/>
                    <a:gdLst/>
                    <a:ahLst/>
                    <a:cxnLst>
                      <a:cxn ang="0">
                        <a:pos x="111" y="540"/>
                      </a:cxn>
                      <a:cxn ang="0">
                        <a:pos x="94" y="541"/>
                      </a:cxn>
                      <a:cxn ang="0">
                        <a:pos x="81" y="432"/>
                      </a:cxn>
                      <a:cxn ang="0">
                        <a:pos x="67" y="390"/>
                      </a:cxn>
                      <a:cxn ang="0">
                        <a:pos x="33" y="348"/>
                      </a:cxn>
                      <a:cxn ang="0">
                        <a:pos x="81" y="145"/>
                      </a:cxn>
                      <a:cxn ang="0">
                        <a:pos x="48" y="144"/>
                      </a:cxn>
                      <a:cxn ang="0">
                        <a:pos x="131" y="76"/>
                      </a:cxn>
                      <a:cxn ang="0">
                        <a:pos x="115" y="57"/>
                      </a:cxn>
                      <a:cxn ang="0">
                        <a:pos x="190" y="34"/>
                      </a:cxn>
                      <a:cxn ang="0">
                        <a:pos x="263" y="1"/>
                      </a:cxn>
                      <a:cxn ang="0">
                        <a:pos x="426" y="51"/>
                      </a:cxn>
                      <a:cxn ang="0">
                        <a:pos x="428" y="27"/>
                      </a:cxn>
                      <a:cxn ang="0">
                        <a:pos x="469" y="77"/>
                      </a:cxn>
                      <a:cxn ang="0">
                        <a:pos x="530" y="110"/>
                      </a:cxn>
                      <a:cxn ang="0">
                        <a:pos x="596" y="229"/>
                      </a:cxn>
                      <a:cxn ang="0">
                        <a:pos x="608" y="388"/>
                      </a:cxn>
                      <a:cxn ang="0">
                        <a:pos x="572" y="557"/>
                      </a:cxn>
                      <a:cxn ang="0">
                        <a:pos x="546" y="457"/>
                      </a:cxn>
                      <a:cxn ang="0">
                        <a:pos x="550" y="313"/>
                      </a:cxn>
                      <a:cxn ang="0">
                        <a:pos x="482" y="216"/>
                      </a:cxn>
                      <a:cxn ang="0">
                        <a:pos x="348" y="216"/>
                      </a:cxn>
                      <a:cxn ang="0">
                        <a:pos x="327" y="191"/>
                      </a:cxn>
                      <a:cxn ang="0">
                        <a:pos x="334" y="228"/>
                      </a:cxn>
                      <a:cxn ang="0">
                        <a:pos x="250" y="188"/>
                      </a:cxn>
                      <a:cxn ang="0">
                        <a:pos x="179" y="230"/>
                      </a:cxn>
                      <a:cxn ang="0">
                        <a:pos x="127" y="322"/>
                      </a:cxn>
                      <a:cxn ang="0">
                        <a:pos x="123" y="377"/>
                      </a:cxn>
                      <a:cxn ang="0">
                        <a:pos x="111" y="426"/>
                      </a:cxn>
                      <a:cxn ang="0">
                        <a:pos x="111" y="540"/>
                      </a:cxn>
                    </a:cxnLst>
                    <a:rect l="0" t="0" r="r" b="b"/>
                    <a:pathLst>
                      <a:path w="619" h="557">
                        <a:moveTo>
                          <a:pt x="111" y="540"/>
                        </a:moveTo>
                        <a:cubicBezTo>
                          <a:pt x="85" y="549"/>
                          <a:pt x="102" y="543"/>
                          <a:pt x="94" y="541"/>
                        </a:cubicBezTo>
                        <a:cubicBezTo>
                          <a:pt x="82" y="499"/>
                          <a:pt x="79" y="474"/>
                          <a:pt x="81" y="432"/>
                        </a:cubicBezTo>
                        <a:cubicBezTo>
                          <a:pt x="82" y="415"/>
                          <a:pt x="95" y="378"/>
                          <a:pt x="67" y="390"/>
                        </a:cubicBezTo>
                        <a:cubicBezTo>
                          <a:pt x="56" y="395"/>
                          <a:pt x="44" y="366"/>
                          <a:pt x="33" y="348"/>
                        </a:cubicBezTo>
                        <a:cubicBezTo>
                          <a:pt x="0" y="293"/>
                          <a:pt x="48" y="189"/>
                          <a:pt x="81" y="145"/>
                        </a:cubicBezTo>
                        <a:cubicBezTo>
                          <a:pt x="71" y="147"/>
                          <a:pt x="58" y="142"/>
                          <a:pt x="48" y="144"/>
                        </a:cubicBezTo>
                        <a:cubicBezTo>
                          <a:pt x="52" y="107"/>
                          <a:pt x="97" y="82"/>
                          <a:pt x="131" y="76"/>
                        </a:cubicBezTo>
                        <a:cubicBezTo>
                          <a:pt x="125" y="71"/>
                          <a:pt x="121" y="61"/>
                          <a:pt x="115" y="57"/>
                        </a:cubicBezTo>
                        <a:cubicBezTo>
                          <a:pt x="142" y="51"/>
                          <a:pt x="168" y="47"/>
                          <a:pt x="190" y="34"/>
                        </a:cubicBezTo>
                        <a:cubicBezTo>
                          <a:pt x="220" y="15"/>
                          <a:pt x="222" y="1"/>
                          <a:pt x="263" y="1"/>
                        </a:cubicBezTo>
                        <a:cubicBezTo>
                          <a:pt x="327" y="0"/>
                          <a:pt x="377" y="13"/>
                          <a:pt x="426" y="51"/>
                        </a:cubicBezTo>
                        <a:cubicBezTo>
                          <a:pt x="426" y="44"/>
                          <a:pt x="429" y="34"/>
                          <a:pt x="428" y="27"/>
                        </a:cubicBezTo>
                        <a:cubicBezTo>
                          <a:pt x="443" y="40"/>
                          <a:pt x="453" y="63"/>
                          <a:pt x="469" y="77"/>
                        </a:cubicBezTo>
                        <a:cubicBezTo>
                          <a:pt x="489" y="96"/>
                          <a:pt x="509" y="94"/>
                          <a:pt x="530" y="110"/>
                        </a:cubicBezTo>
                        <a:cubicBezTo>
                          <a:pt x="558" y="130"/>
                          <a:pt x="581" y="197"/>
                          <a:pt x="596" y="229"/>
                        </a:cubicBezTo>
                        <a:cubicBezTo>
                          <a:pt x="617" y="274"/>
                          <a:pt x="619" y="337"/>
                          <a:pt x="608" y="388"/>
                        </a:cubicBezTo>
                        <a:cubicBezTo>
                          <a:pt x="599" y="429"/>
                          <a:pt x="611" y="534"/>
                          <a:pt x="572" y="557"/>
                        </a:cubicBezTo>
                        <a:cubicBezTo>
                          <a:pt x="575" y="530"/>
                          <a:pt x="547" y="490"/>
                          <a:pt x="546" y="457"/>
                        </a:cubicBezTo>
                        <a:cubicBezTo>
                          <a:pt x="544" y="409"/>
                          <a:pt x="556" y="362"/>
                          <a:pt x="550" y="313"/>
                        </a:cubicBezTo>
                        <a:cubicBezTo>
                          <a:pt x="545" y="273"/>
                          <a:pt x="525" y="227"/>
                          <a:pt x="482" y="216"/>
                        </a:cubicBezTo>
                        <a:cubicBezTo>
                          <a:pt x="438" y="205"/>
                          <a:pt x="391" y="230"/>
                          <a:pt x="348" y="216"/>
                        </a:cubicBezTo>
                        <a:cubicBezTo>
                          <a:pt x="343" y="205"/>
                          <a:pt x="333" y="200"/>
                          <a:pt x="327" y="191"/>
                        </a:cubicBezTo>
                        <a:cubicBezTo>
                          <a:pt x="328" y="206"/>
                          <a:pt x="326" y="217"/>
                          <a:pt x="334" y="228"/>
                        </a:cubicBezTo>
                        <a:cubicBezTo>
                          <a:pt x="306" y="232"/>
                          <a:pt x="273" y="204"/>
                          <a:pt x="250" y="188"/>
                        </a:cubicBezTo>
                        <a:cubicBezTo>
                          <a:pt x="267" y="225"/>
                          <a:pt x="201" y="212"/>
                          <a:pt x="179" y="230"/>
                        </a:cubicBezTo>
                        <a:cubicBezTo>
                          <a:pt x="152" y="252"/>
                          <a:pt x="134" y="290"/>
                          <a:pt x="127" y="322"/>
                        </a:cubicBezTo>
                        <a:cubicBezTo>
                          <a:pt x="124" y="339"/>
                          <a:pt x="130" y="360"/>
                          <a:pt x="123" y="377"/>
                        </a:cubicBezTo>
                        <a:cubicBezTo>
                          <a:pt x="116" y="396"/>
                          <a:pt x="116" y="408"/>
                          <a:pt x="111" y="426"/>
                        </a:cubicBezTo>
                        <a:cubicBezTo>
                          <a:pt x="102" y="466"/>
                          <a:pt x="123" y="521"/>
                          <a:pt x="111" y="54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2" name="Freeform 102"/>
                  <p:cNvSpPr>
                    <a:spLocks/>
                  </p:cNvSpPr>
                  <p:nvPr/>
                </p:nvSpPr>
                <p:spPr bwMode="gray">
                  <a:xfrm>
                    <a:off x="-2928938" y="-12233275"/>
                    <a:ext cx="4244975" cy="1217613"/>
                  </a:xfrm>
                  <a:custGeom>
                    <a:avLst/>
                    <a:gdLst/>
                    <a:ahLst/>
                    <a:cxnLst>
                      <a:cxn ang="0">
                        <a:pos x="638" y="9"/>
                      </a:cxn>
                      <a:cxn ang="0">
                        <a:pos x="47" y="123"/>
                      </a:cxn>
                      <a:cxn ang="0">
                        <a:pos x="2" y="190"/>
                      </a:cxn>
                      <a:cxn ang="0">
                        <a:pos x="70" y="218"/>
                      </a:cxn>
                      <a:cxn ang="0">
                        <a:pos x="146" y="221"/>
                      </a:cxn>
                      <a:cxn ang="0">
                        <a:pos x="208" y="208"/>
                      </a:cxn>
                      <a:cxn ang="0">
                        <a:pos x="275" y="196"/>
                      </a:cxn>
                      <a:cxn ang="0">
                        <a:pos x="319" y="164"/>
                      </a:cxn>
                      <a:cxn ang="0">
                        <a:pos x="408" y="142"/>
                      </a:cxn>
                      <a:cxn ang="0">
                        <a:pos x="552" y="92"/>
                      </a:cxn>
                      <a:cxn ang="0">
                        <a:pos x="630" y="77"/>
                      </a:cxn>
                      <a:cxn ang="0">
                        <a:pos x="645" y="122"/>
                      </a:cxn>
                      <a:cxn ang="0">
                        <a:pos x="794" y="120"/>
                      </a:cxn>
                      <a:cxn ang="0">
                        <a:pos x="785" y="229"/>
                      </a:cxn>
                      <a:cxn ang="0">
                        <a:pos x="869" y="199"/>
                      </a:cxn>
                      <a:cxn ang="0">
                        <a:pos x="943" y="241"/>
                      </a:cxn>
                      <a:cxn ang="0">
                        <a:pos x="1008" y="325"/>
                      </a:cxn>
                      <a:cxn ang="0">
                        <a:pos x="1077" y="230"/>
                      </a:cxn>
                      <a:cxn ang="0">
                        <a:pos x="1107" y="121"/>
                      </a:cxn>
                      <a:cxn ang="0">
                        <a:pos x="661" y="15"/>
                      </a:cxn>
                    </a:cxnLst>
                    <a:rect l="0" t="0" r="r" b="b"/>
                    <a:pathLst>
                      <a:path w="1132" h="325">
                        <a:moveTo>
                          <a:pt x="638" y="9"/>
                        </a:moveTo>
                        <a:cubicBezTo>
                          <a:pt x="608" y="0"/>
                          <a:pt x="87" y="112"/>
                          <a:pt x="47" y="123"/>
                        </a:cubicBezTo>
                        <a:cubicBezTo>
                          <a:pt x="1" y="135"/>
                          <a:pt x="0" y="143"/>
                          <a:pt x="2" y="190"/>
                        </a:cubicBezTo>
                        <a:cubicBezTo>
                          <a:pt x="27" y="195"/>
                          <a:pt x="45" y="213"/>
                          <a:pt x="70" y="218"/>
                        </a:cubicBezTo>
                        <a:cubicBezTo>
                          <a:pt x="93" y="222"/>
                          <a:pt x="120" y="221"/>
                          <a:pt x="146" y="221"/>
                        </a:cubicBezTo>
                        <a:cubicBezTo>
                          <a:pt x="172" y="221"/>
                          <a:pt x="185" y="215"/>
                          <a:pt x="208" y="208"/>
                        </a:cubicBezTo>
                        <a:cubicBezTo>
                          <a:pt x="230" y="201"/>
                          <a:pt x="254" y="205"/>
                          <a:pt x="275" y="196"/>
                        </a:cubicBezTo>
                        <a:cubicBezTo>
                          <a:pt x="291" y="189"/>
                          <a:pt x="304" y="174"/>
                          <a:pt x="319" y="164"/>
                        </a:cubicBezTo>
                        <a:cubicBezTo>
                          <a:pt x="348" y="144"/>
                          <a:pt x="372" y="145"/>
                          <a:pt x="408" y="142"/>
                        </a:cubicBezTo>
                        <a:cubicBezTo>
                          <a:pt x="462" y="139"/>
                          <a:pt x="503" y="113"/>
                          <a:pt x="552" y="92"/>
                        </a:cubicBezTo>
                        <a:cubicBezTo>
                          <a:pt x="576" y="82"/>
                          <a:pt x="598" y="73"/>
                          <a:pt x="630" y="77"/>
                        </a:cubicBezTo>
                        <a:cubicBezTo>
                          <a:pt x="667" y="83"/>
                          <a:pt x="672" y="100"/>
                          <a:pt x="645" y="122"/>
                        </a:cubicBezTo>
                        <a:cubicBezTo>
                          <a:pt x="695" y="127"/>
                          <a:pt x="744" y="83"/>
                          <a:pt x="794" y="120"/>
                        </a:cubicBezTo>
                        <a:cubicBezTo>
                          <a:pt x="850" y="162"/>
                          <a:pt x="786" y="184"/>
                          <a:pt x="785" y="229"/>
                        </a:cubicBezTo>
                        <a:cubicBezTo>
                          <a:pt x="815" y="220"/>
                          <a:pt x="835" y="204"/>
                          <a:pt x="869" y="199"/>
                        </a:cubicBezTo>
                        <a:cubicBezTo>
                          <a:pt x="898" y="195"/>
                          <a:pt x="958" y="201"/>
                          <a:pt x="943" y="241"/>
                        </a:cubicBezTo>
                        <a:cubicBezTo>
                          <a:pt x="987" y="214"/>
                          <a:pt x="1045" y="292"/>
                          <a:pt x="1008" y="325"/>
                        </a:cubicBezTo>
                        <a:cubicBezTo>
                          <a:pt x="1040" y="304"/>
                          <a:pt x="1072" y="267"/>
                          <a:pt x="1077" y="230"/>
                        </a:cubicBezTo>
                        <a:cubicBezTo>
                          <a:pt x="1080" y="207"/>
                          <a:pt x="1132" y="121"/>
                          <a:pt x="1107" y="121"/>
                        </a:cubicBezTo>
                        <a:cubicBezTo>
                          <a:pt x="931" y="121"/>
                          <a:pt x="680" y="24"/>
                          <a:pt x="661" y="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3" name="Freeform 103"/>
                  <p:cNvSpPr>
                    <a:spLocks/>
                  </p:cNvSpPr>
                  <p:nvPr/>
                </p:nvSpPr>
                <p:spPr bwMode="gray">
                  <a:xfrm>
                    <a:off x="985838" y="-13890625"/>
                    <a:ext cx="704850" cy="1952625"/>
                  </a:xfrm>
                  <a:custGeom>
                    <a:avLst/>
                    <a:gdLst/>
                    <a:ahLst/>
                    <a:cxnLst>
                      <a:cxn ang="0">
                        <a:pos x="0" y="387"/>
                      </a:cxn>
                      <a:cxn ang="0">
                        <a:pos x="27" y="416"/>
                      </a:cxn>
                      <a:cxn ang="0">
                        <a:pos x="159" y="275"/>
                      </a:cxn>
                      <a:cxn ang="0">
                        <a:pos x="185" y="0"/>
                      </a:cxn>
                      <a:cxn ang="0">
                        <a:pos x="184" y="32"/>
                      </a:cxn>
                      <a:cxn ang="0">
                        <a:pos x="79" y="45"/>
                      </a:cxn>
                      <a:cxn ang="0">
                        <a:pos x="145" y="101"/>
                      </a:cxn>
                      <a:cxn ang="0">
                        <a:pos x="79" y="167"/>
                      </a:cxn>
                      <a:cxn ang="0">
                        <a:pos x="78" y="147"/>
                      </a:cxn>
                      <a:cxn ang="0">
                        <a:pos x="123" y="229"/>
                      </a:cxn>
                      <a:cxn ang="0">
                        <a:pos x="45" y="208"/>
                      </a:cxn>
                      <a:cxn ang="0">
                        <a:pos x="57" y="310"/>
                      </a:cxn>
                      <a:cxn ang="0">
                        <a:pos x="39" y="415"/>
                      </a:cxn>
                    </a:cxnLst>
                    <a:rect l="0" t="0" r="r" b="b"/>
                    <a:pathLst>
                      <a:path w="188" h="521">
                        <a:moveTo>
                          <a:pt x="0" y="387"/>
                        </a:moveTo>
                        <a:cubicBezTo>
                          <a:pt x="3" y="405"/>
                          <a:pt x="5" y="416"/>
                          <a:pt x="27" y="416"/>
                        </a:cubicBezTo>
                        <a:cubicBezTo>
                          <a:pt x="65" y="521"/>
                          <a:pt x="154" y="307"/>
                          <a:pt x="159" y="275"/>
                        </a:cubicBezTo>
                        <a:cubicBezTo>
                          <a:pt x="172" y="182"/>
                          <a:pt x="185" y="98"/>
                          <a:pt x="185" y="0"/>
                        </a:cubicBezTo>
                        <a:cubicBezTo>
                          <a:pt x="188" y="10"/>
                          <a:pt x="185" y="22"/>
                          <a:pt x="184" y="32"/>
                        </a:cubicBezTo>
                        <a:cubicBezTo>
                          <a:pt x="152" y="49"/>
                          <a:pt x="115" y="43"/>
                          <a:pt x="79" y="45"/>
                        </a:cubicBezTo>
                        <a:cubicBezTo>
                          <a:pt x="72" y="81"/>
                          <a:pt x="114" y="101"/>
                          <a:pt x="145" y="101"/>
                        </a:cubicBezTo>
                        <a:cubicBezTo>
                          <a:pt x="156" y="149"/>
                          <a:pt x="126" y="176"/>
                          <a:pt x="79" y="167"/>
                        </a:cubicBezTo>
                        <a:cubicBezTo>
                          <a:pt x="78" y="160"/>
                          <a:pt x="78" y="154"/>
                          <a:pt x="78" y="147"/>
                        </a:cubicBezTo>
                        <a:cubicBezTo>
                          <a:pt x="84" y="180"/>
                          <a:pt x="120" y="198"/>
                          <a:pt x="123" y="229"/>
                        </a:cubicBezTo>
                        <a:cubicBezTo>
                          <a:pt x="86" y="236"/>
                          <a:pt x="82" y="201"/>
                          <a:pt x="45" y="208"/>
                        </a:cubicBezTo>
                        <a:cubicBezTo>
                          <a:pt x="72" y="270"/>
                          <a:pt x="99" y="239"/>
                          <a:pt x="57" y="310"/>
                        </a:cubicBezTo>
                        <a:cubicBezTo>
                          <a:pt x="37" y="345"/>
                          <a:pt x="24" y="373"/>
                          <a:pt x="39" y="41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4" name="Freeform 104"/>
                  <p:cNvSpPr>
                    <a:spLocks/>
                  </p:cNvSpPr>
                  <p:nvPr/>
                </p:nvSpPr>
                <p:spPr bwMode="gray">
                  <a:xfrm>
                    <a:off x="-3746500" y="-11974512"/>
                    <a:ext cx="715963" cy="457200"/>
                  </a:xfrm>
                  <a:custGeom>
                    <a:avLst/>
                    <a:gdLst/>
                    <a:ahLst/>
                    <a:cxnLst>
                      <a:cxn ang="0">
                        <a:pos x="0" y="6"/>
                      </a:cxn>
                      <a:cxn ang="0">
                        <a:pos x="191" y="8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91" h="122">
                        <a:moveTo>
                          <a:pt x="0" y="6"/>
                        </a:moveTo>
                        <a:cubicBezTo>
                          <a:pt x="46" y="112"/>
                          <a:pt x="71" y="122"/>
                          <a:pt x="191" y="83"/>
                        </a:cubicBezTo>
                        <a:cubicBezTo>
                          <a:pt x="131" y="41"/>
                          <a:pt x="34" y="9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5" name="Freeform 105"/>
                  <p:cNvSpPr>
                    <a:spLocks/>
                  </p:cNvSpPr>
                  <p:nvPr/>
                </p:nvSpPr>
                <p:spPr bwMode="gray">
                  <a:xfrm>
                    <a:off x="798513" y="-15954375"/>
                    <a:ext cx="1109663" cy="1612900"/>
                  </a:xfrm>
                  <a:custGeom>
                    <a:avLst/>
                    <a:gdLst/>
                    <a:ahLst/>
                    <a:cxnLst>
                      <a:cxn ang="0">
                        <a:pos x="241" y="346"/>
                      </a:cxn>
                      <a:cxn ang="0">
                        <a:pos x="101" y="430"/>
                      </a:cxn>
                      <a:cxn ang="0">
                        <a:pos x="180" y="359"/>
                      </a:cxn>
                      <a:cxn ang="0">
                        <a:pos x="223" y="257"/>
                      </a:cxn>
                      <a:cxn ang="0">
                        <a:pos x="140" y="316"/>
                      </a:cxn>
                      <a:cxn ang="0">
                        <a:pos x="39" y="356"/>
                      </a:cxn>
                      <a:cxn ang="0">
                        <a:pos x="207" y="194"/>
                      </a:cxn>
                      <a:cxn ang="0">
                        <a:pos x="0" y="272"/>
                      </a:cxn>
                      <a:cxn ang="0">
                        <a:pos x="151" y="156"/>
                      </a:cxn>
                      <a:cxn ang="0">
                        <a:pos x="169" y="20"/>
                      </a:cxn>
                      <a:cxn ang="0">
                        <a:pos x="235" y="352"/>
                      </a:cxn>
                    </a:cxnLst>
                    <a:rect l="0" t="0" r="r" b="b"/>
                    <a:pathLst>
                      <a:path w="296" h="430">
                        <a:moveTo>
                          <a:pt x="241" y="346"/>
                        </a:moveTo>
                        <a:cubicBezTo>
                          <a:pt x="189" y="354"/>
                          <a:pt x="151" y="409"/>
                          <a:pt x="101" y="430"/>
                        </a:cubicBezTo>
                        <a:cubicBezTo>
                          <a:pt x="111" y="403"/>
                          <a:pt x="157" y="381"/>
                          <a:pt x="180" y="359"/>
                        </a:cubicBezTo>
                        <a:cubicBezTo>
                          <a:pt x="218" y="323"/>
                          <a:pt x="217" y="308"/>
                          <a:pt x="223" y="257"/>
                        </a:cubicBezTo>
                        <a:cubicBezTo>
                          <a:pt x="184" y="250"/>
                          <a:pt x="168" y="297"/>
                          <a:pt x="140" y="316"/>
                        </a:cubicBezTo>
                        <a:cubicBezTo>
                          <a:pt x="111" y="337"/>
                          <a:pt x="72" y="351"/>
                          <a:pt x="39" y="356"/>
                        </a:cubicBezTo>
                        <a:cubicBezTo>
                          <a:pt x="74" y="291"/>
                          <a:pt x="247" y="304"/>
                          <a:pt x="207" y="194"/>
                        </a:cubicBezTo>
                        <a:cubicBezTo>
                          <a:pt x="179" y="117"/>
                          <a:pt x="51" y="243"/>
                          <a:pt x="0" y="272"/>
                        </a:cubicBezTo>
                        <a:cubicBezTo>
                          <a:pt x="44" y="228"/>
                          <a:pt x="97" y="189"/>
                          <a:pt x="151" y="156"/>
                        </a:cubicBezTo>
                        <a:cubicBezTo>
                          <a:pt x="234" y="106"/>
                          <a:pt x="185" y="93"/>
                          <a:pt x="169" y="20"/>
                        </a:cubicBezTo>
                        <a:cubicBezTo>
                          <a:pt x="266" y="0"/>
                          <a:pt x="296" y="307"/>
                          <a:pt x="235" y="3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6" name="Freeform 106"/>
                  <p:cNvSpPr>
                    <a:spLocks/>
                  </p:cNvSpPr>
                  <p:nvPr/>
                </p:nvSpPr>
                <p:spPr bwMode="gray">
                  <a:xfrm>
                    <a:off x="-2224088" y="-12871450"/>
                    <a:ext cx="1916113" cy="985838"/>
                  </a:xfrm>
                  <a:custGeom>
                    <a:avLst/>
                    <a:gdLst/>
                    <a:ahLst/>
                    <a:cxnLst>
                      <a:cxn ang="0">
                        <a:pos x="45" y="8"/>
                      </a:cxn>
                      <a:cxn ang="0">
                        <a:pos x="249" y="97"/>
                      </a:cxn>
                      <a:cxn ang="0">
                        <a:pos x="511" y="195"/>
                      </a:cxn>
                      <a:cxn ang="0">
                        <a:pos x="394" y="176"/>
                      </a:cxn>
                      <a:cxn ang="0">
                        <a:pos x="252" y="117"/>
                      </a:cxn>
                      <a:cxn ang="0">
                        <a:pos x="0" y="3"/>
                      </a:cxn>
                    </a:cxnLst>
                    <a:rect l="0" t="0" r="r" b="b"/>
                    <a:pathLst>
                      <a:path w="511" h="263">
                        <a:moveTo>
                          <a:pt x="45" y="8"/>
                        </a:moveTo>
                        <a:cubicBezTo>
                          <a:pt x="120" y="0"/>
                          <a:pt x="186" y="70"/>
                          <a:pt x="249" y="97"/>
                        </a:cubicBezTo>
                        <a:cubicBezTo>
                          <a:pt x="327" y="130"/>
                          <a:pt x="427" y="177"/>
                          <a:pt x="511" y="195"/>
                        </a:cubicBezTo>
                        <a:cubicBezTo>
                          <a:pt x="494" y="263"/>
                          <a:pt x="420" y="190"/>
                          <a:pt x="394" y="176"/>
                        </a:cubicBezTo>
                        <a:cubicBezTo>
                          <a:pt x="349" y="152"/>
                          <a:pt x="299" y="136"/>
                          <a:pt x="252" y="117"/>
                        </a:cubicBezTo>
                        <a:cubicBezTo>
                          <a:pt x="166" y="82"/>
                          <a:pt x="61" y="69"/>
                          <a:pt x="0" y="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7" name="Freeform 107"/>
                  <p:cNvSpPr>
                    <a:spLocks/>
                  </p:cNvSpPr>
                  <p:nvPr/>
                </p:nvSpPr>
                <p:spPr bwMode="gray">
                  <a:xfrm>
                    <a:off x="-1689100" y="-16235362"/>
                    <a:ext cx="1609725" cy="784225"/>
                  </a:xfrm>
                  <a:custGeom>
                    <a:avLst/>
                    <a:gdLst/>
                    <a:ahLst/>
                    <a:cxnLst>
                      <a:cxn ang="0">
                        <a:pos x="51" y="147"/>
                      </a:cxn>
                      <a:cxn ang="0">
                        <a:pos x="46" y="209"/>
                      </a:cxn>
                      <a:cxn ang="0">
                        <a:pos x="103" y="160"/>
                      </a:cxn>
                      <a:cxn ang="0">
                        <a:pos x="178" y="177"/>
                      </a:cxn>
                      <a:cxn ang="0">
                        <a:pos x="220" y="172"/>
                      </a:cxn>
                      <a:cxn ang="0">
                        <a:pos x="254" y="161"/>
                      </a:cxn>
                      <a:cxn ang="0">
                        <a:pos x="309" y="192"/>
                      </a:cxn>
                      <a:cxn ang="0">
                        <a:pos x="309" y="122"/>
                      </a:cxn>
                      <a:cxn ang="0">
                        <a:pos x="394" y="23"/>
                      </a:cxn>
                      <a:cxn ang="0">
                        <a:pos x="262" y="71"/>
                      </a:cxn>
                      <a:cxn ang="0">
                        <a:pos x="106" y="63"/>
                      </a:cxn>
                      <a:cxn ang="0">
                        <a:pos x="14" y="54"/>
                      </a:cxn>
                      <a:cxn ang="0">
                        <a:pos x="47" y="109"/>
                      </a:cxn>
                    </a:cxnLst>
                    <a:rect l="0" t="0" r="r" b="b"/>
                    <a:pathLst>
                      <a:path w="429" h="209">
                        <a:moveTo>
                          <a:pt x="51" y="147"/>
                        </a:moveTo>
                        <a:cubicBezTo>
                          <a:pt x="51" y="168"/>
                          <a:pt x="52" y="189"/>
                          <a:pt x="46" y="209"/>
                        </a:cubicBezTo>
                        <a:cubicBezTo>
                          <a:pt x="56" y="199"/>
                          <a:pt x="91" y="163"/>
                          <a:pt x="103" y="160"/>
                        </a:cubicBezTo>
                        <a:cubicBezTo>
                          <a:pt x="123" y="156"/>
                          <a:pt x="152" y="177"/>
                          <a:pt x="178" y="177"/>
                        </a:cubicBezTo>
                        <a:cubicBezTo>
                          <a:pt x="193" y="177"/>
                          <a:pt x="206" y="175"/>
                          <a:pt x="220" y="172"/>
                        </a:cubicBezTo>
                        <a:cubicBezTo>
                          <a:pt x="224" y="172"/>
                          <a:pt x="260" y="161"/>
                          <a:pt x="254" y="161"/>
                        </a:cubicBezTo>
                        <a:cubicBezTo>
                          <a:pt x="281" y="162"/>
                          <a:pt x="280" y="184"/>
                          <a:pt x="309" y="192"/>
                        </a:cubicBezTo>
                        <a:cubicBezTo>
                          <a:pt x="308" y="169"/>
                          <a:pt x="308" y="145"/>
                          <a:pt x="309" y="122"/>
                        </a:cubicBezTo>
                        <a:cubicBezTo>
                          <a:pt x="341" y="127"/>
                          <a:pt x="429" y="56"/>
                          <a:pt x="394" y="23"/>
                        </a:cubicBezTo>
                        <a:cubicBezTo>
                          <a:pt x="369" y="0"/>
                          <a:pt x="289" y="64"/>
                          <a:pt x="262" y="71"/>
                        </a:cubicBezTo>
                        <a:cubicBezTo>
                          <a:pt x="212" y="84"/>
                          <a:pt x="153" y="86"/>
                          <a:pt x="106" y="63"/>
                        </a:cubicBezTo>
                        <a:cubicBezTo>
                          <a:pt x="86" y="53"/>
                          <a:pt x="32" y="18"/>
                          <a:pt x="14" y="54"/>
                        </a:cubicBezTo>
                        <a:cubicBezTo>
                          <a:pt x="0" y="81"/>
                          <a:pt x="33" y="99"/>
                          <a:pt x="47" y="10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8" name="Freeform 108"/>
                  <p:cNvSpPr>
                    <a:spLocks/>
                  </p:cNvSpPr>
                  <p:nvPr/>
                </p:nvSpPr>
                <p:spPr bwMode="gray">
                  <a:xfrm>
                    <a:off x="-1463675" y="-15713075"/>
                    <a:ext cx="768350" cy="2320925"/>
                  </a:xfrm>
                  <a:custGeom>
                    <a:avLst/>
                    <a:gdLst/>
                    <a:ahLst/>
                    <a:cxnLst>
                      <a:cxn ang="0">
                        <a:pos x="181" y="8"/>
                      </a:cxn>
                      <a:cxn ang="0">
                        <a:pos x="160" y="135"/>
                      </a:cxn>
                      <a:cxn ang="0">
                        <a:pos x="184" y="283"/>
                      </a:cxn>
                      <a:cxn ang="0">
                        <a:pos x="177" y="607"/>
                      </a:cxn>
                      <a:cxn ang="0">
                        <a:pos x="89" y="578"/>
                      </a:cxn>
                      <a:cxn ang="0">
                        <a:pos x="80" y="359"/>
                      </a:cxn>
                      <a:cxn ang="0">
                        <a:pos x="89" y="142"/>
                      </a:cxn>
                      <a:cxn ang="0">
                        <a:pos x="160" y="0"/>
                      </a:cxn>
                    </a:cxnLst>
                    <a:rect l="0" t="0" r="r" b="b"/>
                    <a:pathLst>
                      <a:path w="205" h="619">
                        <a:moveTo>
                          <a:pt x="181" y="8"/>
                        </a:moveTo>
                        <a:cubicBezTo>
                          <a:pt x="205" y="54"/>
                          <a:pt x="155" y="85"/>
                          <a:pt x="160" y="135"/>
                        </a:cubicBezTo>
                        <a:cubicBezTo>
                          <a:pt x="164" y="182"/>
                          <a:pt x="179" y="232"/>
                          <a:pt x="184" y="283"/>
                        </a:cubicBezTo>
                        <a:cubicBezTo>
                          <a:pt x="194" y="382"/>
                          <a:pt x="205" y="514"/>
                          <a:pt x="177" y="607"/>
                        </a:cubicBezTo>
                        <a:cubicBezTo>
                          <a:pt x="200" y="619"/>
                          <a:pt x="122" y="584"/>
                          <a:pt x="89" y="578"/>
                        </a:cubicBezTo>
                        <a:cubicBezTo>
                          <a:pt x="0" y="563"/>
                          <a:pt x="72" y="442"/>
                          <a:pt x="80" y="359"/>
                        </a:cubicBezTo>
                        <a:cubicBezTo>
                          <a:pt x="86" y="286"/>
                          <a:pt x="78" y="214"/>
                          <a:pt x="89" y="142"/>
                        </a:cubicBezTo>
                        <a:cubicBezTo>
                          <a:pt x="96" y="92"/>
                          <a:pt x="103" y="15"/>
                          <a:pt x="16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39" name="Freeform 109"/>
                  <p:cNvSpPr>
                    <a:spLocks/>
                  </p:cNvSpPr>
                  <p:nvPr/>
                </p:nvSpPr>
                <p:spPr bwMode="gray">
                  <a:xfrm>
                    <a:off x="-1673225" y="-12009437"/>
                    <a:ext cx="955675" cy="1216025"/>
                  </a:xfrm>
                  <a:custGeom>
                    <a:avLst/>
                    <a:gdLst/>
                    <a:ahLst/>
                    <a:cxnLst>
                      <a:cxn ang="0">
                        <a:pos x="26" y="291"/>
                      </a:cxn>
                      <a:cxn ang="0">
                        <a:pos x="22" y="324"/>
                      </a:cxn>
                      <a:cxn ang="0">
                        <a:pos x="203" y="218"/>
                      </a:cxn>
                      <a:cxn ang="0">
                        <a:pos x="241" y="118"/>
                      </a:cxn>
                      <a:cxn ang="0">
                        <a:pos x="249" y="1"/>
                      </a:cxn>
                      <a:cxn ang="0">
                        <a:pos x="119" y="151"/>
                      </a:cxn>
                      <a:cxn ang="0">
                        <a:pos x="0" y="308"/>
                      </a:cxn>
                    </a:cxnLst>
                    <a:rect l="0" t="0" r="r" b="b"/>
                    <a:pathLst>
                      <a:path w="255" h="324">
                        <a:moveTo>
                          <a:pt x="26" y="291"/>
                        </a:moveTo>
                        <a:cubicBezTo>
                          <a:pt x="22" y="301"/>
                          <a:pt x="23" y="314"/>
                          <a:pt x="22" y="324"/>
                        </a:cubicBezTo>
                        <a:cubicBezTo>
                          <a:pt x="74" y="321"/>
                          <a:pt x="165" y="255"/>
                          <a:pt x="203" y="218"/>
                        </a:cubicBezTo>
                        <a:cubicBezTo>
                          <a:pt x="237" y="187"/>
                          <a:pt x="239" y="163"/>
                          <a:pt x="241" y="118"/>
                        </a:cubicBezTo>
                        <a:cubicBezTo>
                          <a:pt x="243" y="81"/>
                          <a:pt x="255" y="36"/>
                          <a:pt x="249" y="1"/>
                        </a:cubicBezTo>
                        <a:cubicBezTo>
                          <a:pt x="195" y="0"/>
                          <a:pt x="144" y="111"/>
                          <a:pt x="119" y="151"/>
                        </a:cubicBezTo>
                        <a:cubicBezTo>
                          <a:pt x="83" y="207"/>
                          <a:pt x="30" y="254"/>
                          <a:pt x="0" y="30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0" name="Freeform 110"/>
                  <p:cNvSpPr>
                    <a:spLocks/>
                  </p:cNvSpPr>
                  <p:nvPr/>
                </p:nvSpPr>
                <p:spPr bwMode="gray">
                  <a:xfrm>
                    <a:off x="-593725" y="-14671675"/>
                    <a:ext cx="574675" cy="1274763"/>
                  </a:xfrm>
                  <a:custGeom>
                    <a:avLst/>
                    <a:gdLst/>
                    <a:ahLst/>
                    <a:cxnLst>
                      <a:cxn ang="0">
                        <a:pos x="101" y="300"/>
                      </a:cxn>
                      <a:cxn ang="0">
                        <a:pos x="152" y="103"/>
                      </a:cxn>
                      <a:cxn ang="0">
                        <a:pos x="59" y="250"/>
                      </a:cxn>
                      <a:cxn ang="0">
                        <a:pos x="84" y="0"/>
                      </a:cxn>
                      <a:cxn ang="0">
                        <a:pos x="5" y="332"/>
                      </a:cxn>
                      <a:cxn ang="0">
                        <a:pos x="93" y="334"/>
                      </a:cxn>
                    </a:cxnLst>
                    <a:rect l="0" t="0" r="r" b="b"/>
                    <a:pathLst>
                      <a:path w="153" h="340">
                        <a:moveTo>
                          <a:pt x="101" y="300"/>
                        </a:moveTo>
                        <a:cubicBezTo>
                          <a:pt x="98" y="233"/>
                          <a:pt x="153" y="169"/>
                          <a:pt x="152" y="103"/>
                        </a:cubicBezTo>
                        <a:cubicBezTo>
                          <a:pt x="119" y="151"/>
                          <a:pt x="76" y="194"/>
                          <a:pt x="59" y="250"/>
                        </a:cubicBezTo>
                        <a:cubicBezTo>
                          <a:pt x="59" y="196"/>
                          <a:pt x="68" y="55"/>
                          <a:pt x="84" y="0"/>
                        </a:cubicBezTo>
                        <a:cubicBezTo>
                          <a:pt x="43" y="50"/>
                          <a:pt x="0" y="290"/>
                          <a:pt x="5" y="332"/>
                        </a:cubicBezTo>
                        <a:cubicBezTo>
                          <a:pt x="52" y="340"/>
                          <a:pt x="44" y="336"/>
                          <a:pt x="93" y="33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1" name="Freeform 111"/>
                  <p:cNvSpPr>
                    <a:spLocks/>
                  </p:cNvSpPr>
                  <p:nvPr/>
                </p:nvSpPr>
                <p:spPr bwMode="gray">
                  <a:xfrm>
                    <a:off x="-1819275" y="-16100425"/>
                    <a:ext cx="1258888" cy="2697163"/>
                  </a:xfrm>
                  <a:custGeom>
                    <a:avLst/>
                    <a:gdLst/>
                    <a:ahLst/>
                    <a:cxnLst>
                      <a:cxn ang="0">
                        <a:pos x="173" y="120"/>
                      </a:cxn>
                      <a:cxn ang="0">
                        <a:pos x="146" y="37"/>
                      </a:cxn>
                      <a:cxn ang="0">
                        <a:pos x="287" y="110"/>
                      </a:cxn>
                      <a:cxn ang="0">
                        <a:pos x="246" y="222"/>
                      </a:cxn>
                      <a:cxn ang="0">
                        <a:pos x="263" y="351"/>
                      </a:cxn>
                      <a:cxn ang="0">
                        <a:pos x="269" y="650"/>
                      </a:cxn>
                      <a:cxn ang="0">
                        <a:pos x="207" y="701"/>
                      </a:cxn>
                      <a:cxn ang="0">
                        <a:pos x="89" y="672"/>
                      </a:cxn>
                      <a:cxn ang="0">
                        <a:pos x="5" y="660"/>
                      </a:cxn>
                      <a:cxn ang="0">
                        <a:pos x="44" y="362"/>
                      </a:cxn>
                      <a:cxn ang="0">
                        <a:pos x="173" y="120"/>
                      </a:cxn>
                    </a:cxnLst>
                    <a:rect l="0" t="0" r="r" b="b"/>
                    <a:pathLst>
                      <a:path w="336" h="719">
                        <a:moveTo>
                          <a:pt x="173" y="120"/>
                        </a:moveTo>
                        <a:cubicBezTo>
                          <a:pt x="153" y="99"/>
                          <a:pt x="142" y="70"/>
                          <a:pt x="146" y="37"/>
                        </a:cubicBezTo>
                        <a:cubicBezTo>
                          <a:pt x="218" y="0"/>
                          <a:pt x="336" y="3"/>
                          <a:pt x="287" y="110"/>
                        </a:cubicBezTo>
                        <a:cubicBezTo>
                          <a:pt x="268" y="154"/>
                          <a:pt x="242" y="168"/>
                          <a:pt x="246" y="222"/>
                        </a:cubicBezTo>
                        <a:cubicBezTo>
                          <a:pt x="249" y="265"/>
                          <a:pt x="263" y="304"/>
                          <a:pt x="263" y="351"/>
                        </a:cubicBezTo>
                        <a:cubicBezTo>
                          <a:pt x="263" y="452"/>
                          <a:pt x="269" y="550"/>
                          <a:pt x="269" y="650"/>
                        </a:cubicBezTo>
                        <a:cubicBezTo>
                          <a:pt x="269" y="716"/>
                          <a:pt x="265" y="719"/>
                          <a:pt x="207" y="701"/>
                        </a:cubicBezTo>
                        <a:cubicBezTo>
                          <a:pt x="168" y="688"/>
                          <a:pt x="130" y="681"/>
                          <a:pt x="89" y="672"/>
                        </a:cubicBezTo>
                        <a:cubicBezTo>
                          <a:pt x="61" y="666"/>
                          <a:pt x="34" y="663"/>
                          <a:pt x="5" y="660"/>
                        </a:cubicBezTo>
                        <a:cubicBezTo>
                          <a:pt x="0" y="563"/>
                          <a:pt x="10" y="449"/>
                          <a:pt x="44" y="362"/>
                        </a:cubicBezTo>
                        <a:cubicBezTo>
                          <a:pt x="72" y="289"/>
                          <a:pt x="189" y="204"/>
                          <a:pt x="173" y="1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2" name="Freeform 112"/>
                  <p:cNvSpPr>
                    <a:spLocks/>
                  </p:cNvSpPr>
                  <p:nvPr/>
                </p:nvSpPr>
                <p:spPr bwMode="gray">
                  <a:xfrm>
                    <a:off x="-2124075" y="-12166600"/>
                    <a:ext cx="1339850" cy="1365250"/>
                  </a:xfrm>
                  <a:custGeom>
                    <a:avLst/>
                    <a:gdLst/>
                    <a:ahLst/>
                    <a:cxnLst>
                      <a:cxn ang="0">
                        <a:pos x="66" y="53"/>
                      </a:cxn>
                      <a:cxn ang="0">
                        <a:pos x="28" y="270"/>
                      </a:cxn>
                      <a:cxn ang="0">
                        <a:pos x="121" y="364"/>
                      </a:cxn>
                      <a:cxn ang="0">
                        <a:pos x="323" y="227"/>
                      </a:cxn>
                      <a:cxn ang="0">
                        <a:pos x="343" y="0"/>
                      </a:cxn>
                      <a:cxn ang="0">
                        <a:pos x="66" y="53"/>
                      </a:cxn>
                    </a:cxnLst>
                    <a:rect l="0" t="0" r="r" b="b"/>
                    <a:pathLst>
                      <a:path w="357" h="364">
                        <a:moveTo>
                          <a:pt x="66" y="53"/>
                        </a:moveTo>
                        <a:cubicBezTo>
                          <a:pt x="73" y="113"/>
                          <a:pt x="0" y="234"/>
                          <a:pt x="28" y="270"/>
                        </a:cubicBezTo>
                        <a:cubicBezTo>
                          <a:pt x="56" y="307"/>
                          <a:pt x="103" y="349"/>
                          <a:pt x="121" y="364"/>
                        </a:cubicBezTo>
                        <a:cubicBezTo>
                          <a:pt x="121" y="364"/>
                          <a:pt x="302" y="256"/>
                          <a:pt x="323" y="227"/>
                        </a:cubicBezTo>
                        <a:cubicBezTo>
                          <a:pt x="357" y="182"/>
                          <a:pt x="346" y="58"/>
                          <a:pt x="343" y="0"/>
                        </a:cubicBezTo>
                        <a:cubicBezTo>
                          <a:pt x="241" y="17"/>
                          <a:pt x="183" y="36"/>
                          <a:pt x="66" y="5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3" name="Freeform 113"/>
                  <p:cNvSpPr>
                    <a:spLocks/>
                  </p:cNvSpPr>
                  <p:nvPr/>
                </p:nvSpPr>
                <p:spPr bwMode="gray">
                  <a:xfrm>
                    <a:off x="-1755775" y="-16681450"/>
                    <a:ext cx="633413" cy="1219200"/>
                  </a:xfrm>
                  <a:custGeom>
                    <a:avLst/>
                    <a:gdLst/>
                    <a:ahLst/>
                    <a:cxnLst>
                      <a:cxn ang="0">
                        <a:pos x="62" y="0"/>
                      </a:cxn>
                      <a:cxn ang="0">
                        <a:pos x="95" y="84"/>
                      </a:cxn>
                      <a:cxn ang="0">
                        <a:pos x="167" y="164"/>
                      </a:cxn>
                      <a:cxn ang="0">
                        <a:pos x="42" y="325"/>
                      </a:cxn>
                      <a:cxn ang="0">
                        <a:pos x="62" y="0"/>
                      </a:cxn>
                    </a:cxnLst>
                    <a:rect l="0" t="0" r="r" b="b"/>
                    <a:pathLst>
                      <a:path w="169" h="325">
                        <a:moveTo>
                          <a:pt x="62" y="0"/>
                        </a:moveTo>
                        <a:cubicBezTo>
                          <a:pt x="66" y="35"/>
                          <a:pt x="73" y="58"/>
                          <a:pt x="95" y="84"/>
                        </a:cubicBezTo>
                        <a:cubicBezTo>
                          <a:pt x="105" y="97"/>
                          <a:pt x="169" y="155"/>
                          <a:pt x="167" y="164"/>
                        </a:cubicBezTo>
                        <a:cubicBezTo>
                          <a:pt x="161" y="183"/>
                          <a:pt x="63" y="289"/>
                          <a:pt x="42" y="325"/>
                        </a:cubicBezTo>
                        <a:cubicBezTo>
                          <a:pt x="0" y="295"/>
                          <a:pt x="10" y="21"/>
                          <a:pt x="6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4" name="Freeform 114"/>
                  <p:cNvSpPr>
                    <a:spLocks/>
                  </p:cNvSpPr>
                  <p:nvPr/>
                </p:nvSpPr>
                <p:spPr bwMode="gray">
                  <a:xfrm>
                    <a:off x="-1020763" y="-16843375"/>
                    <a:ext cx="1027113" cy="1193800"/>
                  </a:xfrm>
                  <a:custGeom>
                    <a:avLst/>
                    <a:gdLst/>
                    <a:ahLst/>
                    <a:cxnLst>
                      <a:cxn ang="0">
                        <a:pos x="0" y="206"/>
                      </a:cxn>
                      <a:cxn ang="0">
                        <a:pos x="152" y="318"/>
                      </a:cxn>
                      <a:cxn ang="0">
                        <a:pos x="246" y="132"/>
                      </a:cxn>
                      <a:cxn ang="0">
                        <a:pos x="206" y="0"/>
                      </a:cxn>
                      <a:cxn ang="0">
                        <a:pos x="0" y="206"/>
                      </a:cxn>
                    </a:cxnLst>
                    <a:rect l="0" t="0" r="r" b="b"/>
                    <a:pathLst>
                      <a:path w="274" h="318">
                        <a:moveTo>
                          <a:pt x="0" y="206"/>
                        </a:moveTo>
                        <a:cubicBezTo>
                          <a:pt x="43" y="235"/>
                          <a:pt x="108" y="288"/>
                          <a:pt x="152" y="318"/>
                        </a:cubicBezTo>
                        <a:cubicBezTo>
                          <a:pt x="181" y="255"/>
                          <a:pt x="222" y="196"/>
                          <a:pt x="246" y="132"/>
                        </a:cubicBezTo>
                        <a:cubicBezTo>
                          <a:pt x="273" y="61"/>
                          <a:pt x="274" y="51"/>
                          <a:pt x="206" y="0"/>
                        </a:cubicBezTo>
                        <a:cubicBezTo>
                          <a:pt x="166" y="79"/>
                          <a:pt x="89" y="176"/>
                          <a:pt x="0" y="20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5" name="Freeform 115"/>
                  <p:cNvSpPr>
                    <a:spLocks/>
                  </p:cNvSpPr>
                  <p:nvPr/>
                </p:nvSpPr>
                <p:spPr bwMode="gray">
                  <a:xfrm>
                    <a:off x="-2689225" y="-14930437"/>
                    <a:ext cx="322263" cy="1849438"/>
                  </a:xfrm>
                  <a:custGeom>
                    <a:avLst/>
                    <a:gdLst/>
                    <a:ahLst/>
                    <a:cxnLst>
                      <a:cxn ang="0">
                        <a:pos x="84" y="355"/>
                      </a:cxn>
                      <a:cxn ang="0">
                        <a:pos x="62" y="283"/>
                      </a:cxn>
                      <a:cxn ang="0">
                        <a:pos x="56" y="186"/>
                      </a:cxn>
                      <a:cxn ang="0">
                        <a:pos x="39" y="0"/>
                      </a:cxn>
                      <a:cxn ang="0">
                        <a:pos x="28" y="298"/>
                      </a:cxn>
                      <a:cxn ang="0">
                        <a:pos x="22" y="446"/>
                      </a:cxn>
                      <a:cxn ang="0">
                        <a:pos x="79" y="349"/>
                      </a:cxn>
                    </a:cxnLst>
                    <a:rect l="0" t="0" r="r" b="b"/>
                    <a:pathLst>
                      <a:path w="86" h="493">
                        <a:moveTo>
                          <a:pt x="84" y="355"/>
                        </a:moveTo>
                        <a:cubicBezTo>
                          <a:pt x="86" y="322"/>
                          <a:pt x="68" y="310"/>
                          <a:pt x="62" y="283"/>
                        </a:cubicBezTo>
                        <a:cubicBezTo>
                          <a:pt x="57" y="259"/>
                          <a:pt x="58" y="217"/>
                          <a:pt x="56" y="186"/>
                        </a:cubicBezTo>
                        <a:cubicBezTo>
                          <a:pt x="54" y="132"/>
                          <a:pt x="72" y="37"/>
                          <a:pt x="39" y="0"/>
                        </a:cubicBezTo>
                        <a:cubicBezTo>
                          <a:pt x="6" y="91"/>
                          <a:pt x="23" y="203"/>
                          <a:pt x="28" y="298"/>
                        </a:cubicBezTo>
                        <a:cubicBezTo>
                          <a:pt x="30" y="331"/>
                          <a:pt x="0" y="422"/>
                          <a:pt x="22" y="446"/>
                        </a:cubicBezTo>
                        <a:cubicBezTo>
                          <a:pt x="64" y="493"/>
                          <a:pt x="83" y="381"/>
                          <a:pt x="79" y="349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6" name="Freeform 116"/>
                  <p:cNvSpPr>
                    <a:spLocks/>
                  </p:cNvSpPr>
                  <p:nvPr/>
                </p:nvSpPr>
                <p:spPr bwMode="gray">
                  <a:xfrm>
                    <a:off x="55563" y="-15409862"/>
                    <a:ext cx="742950" cy="1765300"/>
                  </a:xfrm>
                  <a:custGeom>
                    <a:avLst/>
                    <a:gdLst/>
                    <a:ahLst/>
                    <a:cxnLst>
                      <a:cxn ang="0">
                        <a:pos x="51" y="415"/>
                      </a:cxn>
                      <a:cxn ang="0">
                        <a:pos x="101" y="195"/>
                      </a:cxn>
                      <a:cxn ang="0">
                        <a:pos x="198" y="0"/>
                      </a:cxn>
                      <a:cxn ang="0">
                        <a:pos x="84" y="201"/>
                      </a:cxn>
                      <a:cxn ang="0">
                        <a:pos x="12" y="420"/>
                      </a:cxn>
                      <a:cxn ang="0">
                        <a:pos x="73" y="426"/>
                      </a:cxn>
                    </a:cxnLst>
                    <a:rect l="0" t="0" r="r" b="b"/>
                    <a:pathLst>
                      <a:path w="198" h="471">
                        <a:moveTo>
                          <a:pt x="51" y="415"/>
                        </a:moveTo>
                        <a:cubicBezTo>
                          <a:pt x="95" y="346"/>
                          <a:pt x="66" y="265"/>
                          <a:pt x="101" y="195"/>
                        </a:cubicBezTo>
                        <a:cubicBezTo>
                          <a:pt x="135" y="128"/>
                          <a:pt x="176" y="73"/>
                          <a:pt x="198" y="0"/>
                        </a:cubicBezTo>
                        <a:cubicBezTo>
                          <a:pt x="139" y="59"/>
                          <a:pt x="110" y="125"/>
                          <a:pt x="84" y="201"/>
                        </a:cubicBezTo>
                        <a:cubicBezTo>
                          <a:pt x="64" y="262"/>
                          <a:pt x="0" y="357"/>
                          <a:pt x="12" y="420"/>
                        </a:cubicBezTo>
                        <a:cubicBezTo>
                          <a:pt x="34" y="430"/>
                          <a:pt x="65" y="471"/>
                          <a:pt x="73" y="426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7" name="Freeform 117"/>
                  <p:cNvSpPr>
                    <a:spLocks/>
                  </p:cNvSpPr>
                  <p:nvPr/>
                </p:nvSpPr>
                <p:spPr bwMode="gray">
                  <a:xfrm>
                    <a:off x="-2835275" y="-13689012"/>
                    <a:ext cx="922338" cy="858838"/>
                  </a:xfrm>
                  <a:custGeom>
                    <a:avLst/>
                    <a:gdLst/>
                    <a:ahLst/>
                    <a:cxnLst>
                      <a:cxn ang="0">
                        <a:pos x="191" y="226"/>
                      </a:cxn>
                      <a:cxn ang="0">
                        <a:pos x="246" y="45"/>
                      </a:cxn>
                      <a:cxn ang="0">
                        <a:pos x="94" y="51"/>
                      </a:cxn>
                      <a:cxn ang="0">
                        <a:pos x="55" y="135"/>
                      </a:cxn>
                      <a:cxn ang="0">
                        <a:pos x="60" y="211"/>
                      </a:cxn>
                      <a:cxn ang="0">
                        <a:pos x="197" y="221"/>
                      </a:cxn>
                    </a:cxnLst>
                    <a:rect l="0" t="0" r="r" b="b"/>
                    <a:pathLst>
                      <a:path w="246" h="229">
                        <a:moveTo>
                          <a:pt x="191" y="226"/>
                        </a:moveTo>
                        <a:cubicBezTo>
                          <a:pt x="186" y="181"/>
                          <a:pt x="206" y="61"/>
                          <a:pt x="246" y="45"/>
                        </a:cubicBezTo>
                        <a:cubicBezTo>
                          <a:pt x="243" y="3"/>
                          <a:pt x="105" y="0"/>
                          <a:pt x="94" y="51"/>
                        </a:cubicBezTo>
                        <a:cubicBezTo>
                          <a:pt x="29" y="52"/>
                          <a:pt x="54" y="92"/>
                          <a:pt x="55" y="135"/>
                        </a:cubicBezTo>
                        <a:cubicBezTo>
                          <a:pt x="0" y="149"/>
                          <a:pt x="26" y="194"/>
                          <a:pt x="60" y="211"/>
                        </a:cubicBezTo>
                        <a:cubicBezTo>
                          <a:pt x="97" y="229"/>
                          <a:pt x="153" y="221"/>
                          <a:pt x="197" y="2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8" name="Freeform 118"/>
                  <p:cNvSpPr>
                    <a:spLocks/>
                  </p:cNvSpPr>
                  <p:nvPr/>
                </p:nvSpPr>
                <p:spPr bwMode="gray">
                  <a:xfrm>
                    <a:off x="-387350" y="-13857287"/>
                    <a:ext cx="649288" cy="449263"/>
                  </a:xfrm>
                  <a:custGeom>
                    <a:avLst/>
                    <a:gdLst/>
                    <a:ahLst/>
                    <a:cxnLst>
                      <a:cxn ang="0">
                        <a:pos x="17" y="119"/>
                      </a:cxn>
                      <a:cxn ang="0">
                        <a:pos x="173" y="102"/>
                      </a:cxn>
                      <a:cxn ang="0">
                        <a:pos x="162" y="7"/>
                      </a:cxn>
                      <a:cxn ang="0">
                        <a:pos x="74" y="36"/>
                      </a:cxn>
                      <a:cxn ang="0">
                        <a:pos x="0" y="114"/>
                      </a:cxn>
                    </a:cxnLst>
                    <a:rect l="0" t="0" r="r" b="b"/>
                    <a:pathLst>
                      <a:path w="173" h="120">
                        <a:moveTo>
                          <a:pt x="17" y="119"/>
                        </a:moveTo>
                        <a:cubicBezTo>
                          <a:pt x="67" y="120"/>
                          <a:pt x="119" y="104"/>
                          <a:pt x="173" y="102"/>
                        </a:cubicBezTo>
                        <a:cubicBezTo>
                          <a:pt x="170" y="72"/>
                          <a:pt x="171" y="37"/>
                          <a:pt x="162" y="7"/>
                        </a:cubicBezTo>
                        <a:cubicBezTo>
                          <a:pt x="108" y="3"/>
                          <a:pt x="110" y="0"/>
                          <a:pt x="74" y="36"/>
                        </a:cubicBezTo>
                        <a:cubicBezTo>
                          <a:pt x="53" y="57"/>
                          <a:pt x="19" y="88"/>
                          <a:pt x="0" y="11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49" name="Freeform 119"/>
                  <p:cNvSpPr>
                    <a:spLocks/>
                  </p:cNvSpPr>
                  <p:nvPr/>
                </p:nvSpPr>
                <p:spPr bwMode="gray">
                  <a:xfrm>
                    <a:off x="-2798763" y="-13155612"/>
                    <a:ext cx="742950" cy="355600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95" y="65"/>
                      </a:cxn>
                      <a:cxn ang="0">
                        <a:pos x="162" y="65"/>
                      </a:cxn>
                      <a:cxn ang="0">
                        <a:pos x="183" y="26"/>
                      </a:cxn>
                      <a:cxn ang="0">
                        <a:pos x="177" y="86"/>
                      </a:cxn>
                      <a:cxn ang="0">
                        <a:pos x="32" y="59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198" h="95">
                        <a:moveTo>
                          <a:pt x="27" y="0"/>
                        </a:moveTo>
                        <a:cubicBezTo>
                          <a:pt x="14" y="38"/>
                          <a:pt x="64" y="59"/>
                          <a:pt x="95" y="65"/>
                        </a:cubicBezTo>
                        <a:cubicBezTo>
                          <a:pt x="111" y="67"/>
                          <a:pt x="147" y="70"/>
                          <a:pt x="162" y="65"/>
                        </a:cubicBezTo>
                        <a:cubicBezTo>
                          <a:pt x="179" y="58"/>
                          <a:pt x="180" y="41"/>
                          <a:pt x="183" y="26"/>
                        </a:cubicBezTo>
                        <a:cubicBezTo>
                          <a:pt x="185" y="52"/>
                          <a:pt x="198" y="77"/>
                          <a:pt x="177" y="86"/>
                        </a:cubicBezTo>
                        <a:cubicBezTo>
                          <a:pt x="157" y="95"/>
                          <a:pt x="55" y="79"/>
                          <a:pt x="32" y="59"/>
                        </a:cubicBezTo>
                        <a:cubicBezTo>
                          <a:pt x="18" y="45"/>
                          <a:pt x="0" y="16"/>
                          <a:pt x="27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0" name="Freeform 120"/>
                  <p:cNvSpPr>
                    <a:spLocks/>
                  </p:cNvSpPr>
                  <p:nvPr/>
                </p:nvSpPr>
                <p:spPr bwMode="gray">
                  <a:xfrm>
                    <a:off x="-304800" y="-13796962"/>
                    <a:ext cx="581025" cy="446088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97" y="79"/>
                      </a:cxn>
                      <a:cxn ang="0">
                        <a:pos x="0" y="106"/>
                      </a:cxn>
                      <a:cxn ang="0">
                        <a:pos x="66" y="107"/>
                      </a:cxn>
                      <a:cxn ang="0">
                        <a:pos x="125" y="95"/>
                      </a:cxn>
                      <a:cxn ang="0">
                        <a:pos x="151" y="56"/>
                      </a:cxn>
                      <a:cxn ang="0">
                        <a:pos x="139" y="0"/>
                      </a:cxn>
                    </a:cxnLst>
                    <a:rect l="0" t="0" r="r" b="b"/>
                    <a:pathLst>
                      <a:path w="155" h="119">
                        <a:moveTo>
                          <a:pt x="134" y="0"/>
                        </a:moveTo>
                        <a:cubicBezTo>
                          <a:pt x="134" y="41"/>
                          <a:pt x="139" y="64"/>
                          <a:pt x="97" y="79"/>
                        </a:cubicBezTo>
                        <a:cubicBezTo>
                          <a:pt x="68" y="88"/>
                          <a:pt x="23" y="82"/>
                          <a:pt x="0" y="106"/>
                        </a:cubicBezTo>
                        <a:cubicBezTo>
                          <a:pt x="16" y="119"/>
                          <a:pt x="48" y="113"/>
                          <a:pt x="66" y="107"/>
                        </a:cubicBezTo>
                        <a:cubicBezTo>
                          <a:pt x="88" y="101"/>
                          <a:pt x="102" y="99"/>
                          <a:pt x="125" y="95"/>
                        </a:cubicBezTo>
                        <a:cubicBezTo>
                          <a:pt x="155" y="91"/>
                          <a:pt x="154" y="85"/>
                          <a:pt x="151" y="56"/>
                        </a:cubicBezTo>
                        <a:cubicBezTo>
                          <a:pt x="149" y="37"/>
                          <a:pt x="149" y="13"/>
                          <a:pt x="139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1" name="Freeform 121"/>
                  <p:cNvSpPr>
                    <a:spLocks/>
                  </p:cNvSpPr>
                  <p:nvPr/>
                </p:nvSpPr>
                <p:spPr bwMode="gray">
                  <a:xfrm>
                    <a:off x="-1882775" y="-12166600"/>
                    <a:ext cx="1046163" cy="322263"/>
                  </a:xfrm>
                  <a:custGeom>
                    <a:avLst/>
                    <a:gdLst/>
                    <a:ahLst/>
                    <a:cxnLst>
                      <a:cxn ang="0">
                        <a:pos x="3" y="53"/>
                      </a:cxn>
                      <a:cxn ang="0">
                        <a:pos x="0" y="84"/>
                      </a:cxn>
                      <a:cxn ang="0">
                        <a:pos x="160" y="64"/>
                      </a:cxn>
                      <a:cxn ang="0">
                        <a:pos x="239" y="50"/>
                      </a:cxn>
                      <a:cxn ang="0">
                        <a:pos x="278" y="3"/>
                      </a:cxn>
                      <a:cxn ang="0">
                        <a:pos x="141" y="22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279" h="86">
                        <a:moveTo>
                          <a:pt x="3" y="53"/>
                        </a:moveTo>
                        <a:cubicBezTo>
                          <a:pt x="4" y="64"/>
                          <a:pt x="2" y="75"/>
                          <a:pt x="0" y="84"/>
                        </a:cubicBezTo>
                        <a:cubicBezTo>
                          <a:pt x="53" y="86"/>
                          <a:pt x="113" y="82"/>
                          <a:pt x="160" y="64"/>
                        </a:cubicBezTo>
                        <a:cubicBezTo>
                          <a:pt x="187" y="53"/>
                          <a:pt x="208" y="55"/>
                          <a:pt x="239" y="50"/>
                        </a:cubicBezTo>
                        <a:cubicBezTo>
                          <a:pt x="274" y="45"/>
                          <a:pt x="279" y="39"/>
                          <a:pt x="278" y="3"/>
                        </a:cubicBezTo>
                        <a:cubicBezTo>
                          <a:pt x="229" y="0"/>
                          <a:pt x="186" y="13"/>
                          <a:pt x="141" y="22"/>
                        </a:cubicBezTo>
                        <a:cubicBezTo>
                          <a:pt x="95" y="32"/>
                          <a:pt x="46" y="37"/>
                          <a:pt x="0" y="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2" name="Freeform 122"/>
                  <p:cNvSpPr>
                    <a:spLocks/>
                  </p:cNvSpPr>
                  <p:nvPr/>
                </p:nvSpPr>
                <p:spPr bwMode="gray">
                  <a:xfrm>
                    <a:off x="-1695450" y="-7954962"/>
                    <a:ext cx="2128838" cy="3386138"/>
                  </a:xfrm>
                  <a:custGeom>
                    <a:avLst/>
                    <a:gdLst/>
                    <a:ahLst/>
                    <a:cxnLst>
                      <a:cxn ang="0">
                        <a:pos x="133" y="38"/>
                      </a:cxn>
                      <a:cxn ang="0">
                        <a:pos x="301" y="292"/>
                      </a:cxn>
                      <a:cxn ang="0">
                        <a:pos x="568" y="540"/>
                      </a:cxn>
                      <a:cxn ang="0">
                        <a:pos x="508" y="490"/>
                      </a:cxn>
                      <a:cxn ang="0">
                        <a:pos x="430" y="429"/>
                      </a:cxn>
                      <a:cxn ang="0">
                        <a:pos x="319" y="372"/>
                      </a:cxn>
                      <a:cxn ang="0">
                        <a:pos x="373" y="448"/>
                      </a:cxn>
                      <a:cxn ang="0">
                        <a:pos x="415" y="515"/>
                      </a:cxn>
                      <a:cxn ang="0">
                        <a:pos x="513" y="648"/>
                      </a:cxn>
                      <a:cxn ang="0">
                        <a:pos x="375" y="524"/>
                      </a:cxn>
                      <a:cxn ang="0">
                        <a:pos x="430" y="653"/>
                      </a:cxn>
                      <a:cxn ang="0">
                        <a:pos x="478" y="768"/>
                      </a:cxn>
                      <a:cxn ang="0">
                        <a:pos x="388" y="646"/>
                      </a:cxn>
                      <a:cxn ang="0">
                        <a:pos x="332" y="541"/>
                      </a:cxn>
                      <a:cxn ang="0">
                        <a:pos x="252" y="296"/>
                      </a:cxn>
                      <a:cxn ang="0">
                        <a:pos x="257" y="642"/>
                      </a:cxn>
                      <a:cxn ang="0">
                        <a:pos x="208" y="718"/>
                      </a:cxn>
                      <a:cxn ang="0">
                        <a:pos x="175" y="781"/>
                      </a:cxn>
                      <a:cxn ang="0">
                        <a:pos x="41" y="903"/>
                      </a:cxn>
                      <a:cxn ang="0">
                        <a:pos x="99" y="803"/>
                      </a:cxn>
                      <a:cxn ang="0">
                        <a:pos x="10" y="736"/>
                      </a:cxn>
                      <a:cxn ang="0">
                        <a:pos x="87" y="642"/>
                      </a:cxn>
                      <a:cxn ang="0">
                        <a:pos x="71" y="498"/>
                      </a:cxn>
                      <a:cxn ang="0">
                        <a:pos x="54" y="334"/>
                      </a:cxn>
                      <a:cxn ang="0">
                        <a:pos x="112" y="489"/>
                      </a:cxn>
                      <a:cxn ang="0">
                        <a:pos x="167" y="363"/>
                      </a:cxn>
                      <a:cxn ang="0">
                        <a:pos x="151" y="172"/>
                      </a:cxn>
                      <a:cxn ang="0">
                        <a:pos x="117" y="0"/>
                      </a:cxn>
                      <a:cxn ang="0">
                        <a:pos x="129" y="42"/>
                      </a:cxn>
                    </a:cxnLst>
                    <a:rect l="0" t="0" r="r" b="b"/>
                    <a:pathLst>
                      <a:path w="568" h="903">
                        <a:moveTo>
                          <a:pt x="133" y="38"/>
                        </a:moveTo>
                        <a:cubicBezTo>
                          <a:pt x="146" y="122"/>
                          <a:pt x="232" y="241"/>
                          <a:pt x="301" y="292"/>
                        </a:cubicBezTo>
                        <a:cubicBezTo>
                          <a:pt x="401" y="367"/>
                          <a:pt x="496" y="440"/>
                          <a:pt x="568" y="540"/>
                        </a:cubicBezTo>
                        <a:cubicBezTo>
                          <a:pt x="537" y="529"/>
                          <a:pt x="530" y="512"/>
                          <a:pt x="508" y="490"/>
                        </a:cubicBezTo>
                        <a:cubicBezTo>
                          <a:pt x="486" y="467"/>
                          <a:pt x="454" y="454"/>
                          <a:pt x="430" y="429"/>
                        </a:cubicBezTo>
                        <a:cubicBezTo>
                          <a:pt x="415" y="414"/>
                          <a:pt x="325" y="293"/>
                          <a:pt x="319" y="372"/>
                        </a:cubicBezTo>
                        <a:cubicBezTo>
                          <a:pt x="316" y="408"/>
                          <a:pt x="352" y="428"/>
                          <a:pt x="373" y="448"/>
                        </a:cubicBezTo>
                        <a:cubicBezTo>
                          <a:pt x="394" y="468"/>
                          <a:pt x="400" y="487"/>
                          <a:pt x="415" y="515"/>
                        </a:cubicBezTo>
                        <a:cubicBezTo>
                          <a:pt x="439" y="560"/>
                          <a:pt x="478" y="604"/>
                          <a:pt x="513" y="648"/>
                        </a:cubicBezTo>
                        <a:cubicBezTo>
                          <a:pt x="464" y="628"/>
                          <a:pt x="411" y="567"/>
                          <a:pt x="375" y="524"/>
                        </a:cubicBezTo>
                        <a:cubicBezTo>
                          <a:pt x="370" y="573"/>
                          <a:pt x="407" y="615"/>
                          <a:pt x="430" y="653"/>
                        </a:cubicBezTo>
                        <a:cubicBezTo>
                          <a:pt x="452" y="690"/>
                          <a:pt x="456" y="733"/>
                          <a:pt x="478" y="768"/>
                        </a:cubicBezTo>
                        <a:cubicBezTo>
                          <a:pt x="430" y="762"/>
                          <a:pt x="407" y="682"/>
                          <a:pt x="388" y="646"/>
                        </a:cubicBezTo>
                        <a:cubicBezTo>
                          <a:pt x="365" y="606"/>
                          <a:pt x="341" y="586"/>
                          <a:pt x="332" y="541"/>
                        </a:cubicBezTo>
                        <a:cubicBezTo>
                          <a:pt x="313" y="451"/>
                          <a:pt x="310" y="365"/>
                          <a:pt x="252" y="296"/>
                        </a:cubicBezTo>
                        <a:cubicBezTo>
                          <a:pt x="268" y="402"/>
                          <a:pt x="308" y="535"/>
                          <a:pt x="257" y="642"/>
                        </a:cubicBezTo>
                        <a:cubicBezTo>
                          <a:pt x="242" y="672"/>
                          <a:pt x="229" y="692"/>
                          <a:pt x="208" y="718"/>
                        </a:cubicBezTo>
                        <a:cubicBezTo>
                          <a:pt x="189" y="742"/>
                          <a:pt x="189" y="756"/>
                          <a:pt x="175" y="781"/>
                        </a:cubicBezTo>
                        <a:cubicBezTo>
                          <a:pt x="156" y="818"/>
                          <a:pt x="83" y="902"/>
                          <a:pt x="41" y="903"/>
                        </a:cubicBezTo>
                        <a:cubicBezTo>
                          <a:pt x="55" y="863"/>
                          <a:pt x="107" y="862"/>
                          <a:pt x="99" y="803"/>
                        </a:cubicBezTo>
                        <a:cubicBezTo>
                          <a:pt x="61" y="803"/>
                          <a:pt x="17" y="776"/>
                          <a:pt x="10" y="736"/>
                        </a:cubicBezTo>
                        <a:cubicBezTo>
                          <a:pt x="0" y="684"/>
                          <a:pt x="63" y="680"/>
                          <a:pt x="87" y="642"/>
                        </a:cubicBezTo>
                        <a:cubicBezTo>
                          <a:pt x="115" y="596"/>
                          <a:pt x="88" y="545"/>
                          <a:pt x="71" y="498"/>
                        </a:cubicBezTo>
                        <a:cubicBezTo>
                          <a:pt x="51" y="445"/>
                          <a:pt x="50" y="392"/>
                          <a:pt x="54" y="334"/>
                        </a:cubicBezTo>
                        <a:cubicBezTo>
                          <a:pt x="95" y="325"/>
                          <a:pt x="87" y="460"/>
                          <a:pt x="112" y="489"/>
                        </a:cubicBezTo>
                        <a:cubicBezTo>
                          <a:pt x="166" y="551"/>
                          <a:pt x="167" y="403"/>
                          <a:pt x="167" y="363"/>
                        </a:cubicBezTo>
                        <a:cubicBezTo>
                          <a:pt x="168" y="296"/>
                          <a:pt x="170" y="232"/>
                          <a:pt x="151" y="172"/>
                        </a:cubicBezTo>
                        <a:cubicBezTo>
                          <a:pt x="134" y="120"/>
                          <a:pt x="115" y="56"/>
                          <a:pt x="117" y="0"/>
                        </a:cubicBezTo>
                        <a:cubicBezTo>
                          <a:pt x="121" y="11"/>
                          <a:pt x="126" y="29"/>
                          <a:pt x="129" y="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3" name="Freeform 123"/>
                  <p:cNvSpPr>
                    <a:spLocks/>
                  </p:cNvSpPr>
                  <p:nvPr/>
                </p:nvSpPr>
                <p:spPr bwMode="gray">
                  <a:xfrm>
                    <a:off x="-1717675" y="-1122362"/>
                    <a:ext cx="854075" cy="655638"/>
                  </a:xfrm>
                  <a:custGeom>
                    <a:avLst/>
                    <a:gdLst/>
                    <a:ahLst/>
                    <a:cxnLst>
                      <a:cxn ang="0">
                        <a:pos x="228" y="175"/>
                      </a:cxn>
                      <a:cxn ang="0">
                        <a:pos x="130" y="75"/>
                      </a:cxn>
                      <a:cxn ang="0">
                        <a:pos x="0" y="0"/>
                      </a:cxn>
                      <a:cxn ang="0">
                        <a:pos x="54" y="54"/>
                      </a:cxn>
                      <a:cxn ang="0">
                        <a:pos x="60" y="137"/>
                      </a:cxn>
                      <a:cxn ang="0">
                        <a:pos x="152" y="137"/>
                      </a:cxn>
                      <a:cxn ang="0">
                        <a:pos x="228" y="167"/>
                      </a:cxn>
                    </a:cxnLst>
                    <a:rect l="0" t="0" r="r" b="b"/>
                    <a:pathLst>
                      <a:path w="228" h="175">
                        <a:moveTo>
                          <a:pt x="228" y="175"/>
                        </a:moveTo>
                        <a:cubicBezTo>
                          <a:pt x="209" y="136"/>
                          <a:pt x="165" y="105"/>
                          <a:pt x="130" y="75"/>
                        </a:cubicBezTo>
                        <a:cubicBezTo>
                          <a:pt x="90" y="42"/>
                          <a:pt x="34" y="30"/>
                          <a:pt x="0" y="0"/>
                        </a:cubicBezTo>
                        <a:cubicBezTo>
                          <a:pt x="4" y="32"/>
                          <a:pt x="37" y="32"/>
                          <a:pt x="54" y="54"/>
                        </a:cubicBezTo>
                        <a:cubicBezTo>
                          <a:pt x="72" y="77"/>
                          <a:pt x="70" y="113"/>
                          <a:pt x="60" y="137"/>
                        </a:cubicBezTo>
                        <a:cubicBezTo>
                          <a:pt x="90" y="149"/>
                          <a:pt x="120" y="134"/>
                          <a:pt x="152" y="137"/>
                        </a:cubicBezTo>
                        <a:cubicBezTo>
                          <a:pt x="180" y="141"/>
                          <a:pt x="203" y="157"/>
                          <a:pt x="228" y="167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4" name="Freeform 124"/>
                  <p:cNvSpPr>
                    <a:spLocks/>
                  </p:cNvSpPr>
                  <p:nvPr/>
                </p:nvSpPr>
                <p:spPr bwMode="gray">
                  <a:xfrm>
                    <a:off x="-87313" y="-639762"/>
                    <a:ext cx="1308100" cy="571500"/>
                  </a:xfrm>
                  <a:custGeom>
                    <a:avLst/>
                    <a:gdLst/>
                    <a:ahLst/>
                    <a:cxnLst>
                      <a:cxn ang="0">
                        <a:pos x="42" y="122"/>
                      </a:cxn>
                      <a:cxn ang="0">
                        <a:pos x="232" y="0"/>
                      </a:cxn>
                      <a:cxn ang="0">
                        <a:pos x="324" y="43"/>
                      </a:cxn>
                      <a:cxn ang="0">
                        <a:pos x="309" y="147"/>
                      </a:cxn>
                      <a:cxn ang="0">
                        <a:pos x="271" y="66"/>
                      </a:cxn>
                      <a:cxn ang="0">
                        <a:pos x="186" y="56"/>
                      </a:cxn>
                      <a:cxn ang="0">
                        <a:pos x="93" y="89"/>
                      </a:cxn>
                      <a:cxn ang="0">
                        <a:pos x="0" y="152"/>
                      </a:cxn>
                    </a:cxnLst>
                    <a:rect l="0" t="0" r="r" b="b"/>
                    <a:pathLst>
                      <a:path w="349" h="152">
                        <a:moveTo>
                          <a:pt x="42" y="122"/>
                        </a:moveTo>
                        <a:cubicBezTo>
                          <a:pt x="99" y="79"/>
                          <a:pt x="159" y="0"/>
                          <a:pt x="232" y="0"/>
                        </a:cubicBezTo>
                        <a:cubicBezTo>
                          <a:pt x="263" y="0"/>
                          <a:pt x="304" y="17"/>
                          <a:pt x="324" y="43"/>
                        </a:cubicBezTo>
                        <a:cubicBezTo>
                          <a:pt x="344" y="70"/>
                          <a:pt x="349" y="138"/>
                          <a:pt x="309" y="147"/>
                        </a:cubicBezTo>
                        <a:cubicBezTo>
                          <a:pt x="303" y="117"/>
                          <a:pt x="295" y="86"/>
                          <a:pt x="271" y="66"/>
                        </a:cubicBezTo>
                        <a:cubicBezTo>
                          <a:pt x="239" y="41"/>
                          <a:pt x="220" y="47"/>
                          <a:pt x="186" y="56"/>
                        </a:cubicBezTo>
                        <a:cubicBezTo>
                          <a:pt x="152" y="65"/>
                          <a:pt x="122" y="71"/>
                          <a:pt x="93" y="89"/>
                        </a:cubicBezTo>
                        <a:cubicBezTo>
                          <a:pt x="62" y="107"/>
                          <a:pt x="34" y="141"/>
                          <a:pt x="0" y="15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5" name="Freeform 125"/>
                  <p:cNvSpPr>
                    <a:spLocks/>
                  </p:cNvSpPr>
                  <p:nvPr/>
                </p:nvSpPr>
                <p:spPr bwMode="gray">
                  <a:xfrm>
                    <a:off x="-2501900" y="-6432550"/>
                    <a:ext cx="2092325" cy="4953000"/>
                  </a:xfrm>
                  <a:custGeom>
                    <a:avLst/>
                    <a:gdLst/>
                    <a:ahLst/>
                    <a:cxnLst>
                      <a:cxn ang="0">
                        <a:pos x="542" y="1169"/>
                      </a:cxn>
                      <a:cxn ang="0">
                        <a:pos x="541" y="1266"/>
                      </a:cxn>
                      <a:cxn ang="0">
                        <a:pos x="455" y="1312"/>
                      </a:cxn>
                      <a:cxn ang="0">
                        <a:pos x="398" y="1245"/>
                      </a:cxn>
                      <a:cxn ang="0">
                        <a:pos x="336" y="1160"/>
                      </a:cxn>
                      <a:cxn ang="0">
                        <a:pos x="233" y="990"/>
                      </a:cxn>
                      <a:cxn ang="0">
                        <a:pos x="155" y="793"/>
                      </a:cxn>
                      <a:cxn ang="0">
                        <a:pos x="27" y="404"/>
                      </a:cxn>
                      <a:cxn ang="0">
                        <a:pos x="23" y="185"/>
                      </a:cxn>
                      <a:cxn ang="0">
                        <a:pos x="6" y="0"/>
                      </a:cxn>
                      <a:cxn ang="0">
                        <a:pos x="10" y="170"/>
                      </a:cxn>
                      <a:cxn ang="0">
                        <a:pos x="44" y="346"/>
                      </a:cxn>
                      <a:cxn ang="0">
                        <a:pos x="106" y="591"/>
                      </a:cxn>
                      <a:cxn ang="0">
                        <a:pos x="276" y="1025"/>
                      </a:cxn>
                      <a:cxn ang="0">
                        <a:pos x="386" y="1213"/>
                      </a:cxn>
                      <a:cxn ang="0">
                        <a:pos x="482" y="1240"/>
                      </a:cxn>
                      <a:cxn ang="0">
                        <a:pos x="530" y="1148"/>
                      </a:cxn>
                    </a:cxnLst>
                    <a:rect l="0" t="0" r="r" b="b"/>
                    <a:pathLst>
                      <a:path w="558" h="1321">
                        <a:moveTo>
                          <a:pt x="542" y="1169"/>
                        </a:moveTo>
                        <a:cubicBezTo>
                          <a:pt x="558" y="1191"/>
                          <a:pt x="555" y="1242"/>
                          <a:pt x="541" y="1266"/>
                        </a:cubicBezTo>
                        <a:cubicBezTo>
                          <a:pt x="530" y="1287"/>
                          <a:pt x="479" y="1321"/>
                          <a:pt x="455" y="1312"/>
                        </a:cubicBezTo>
                        <a:cubicBezTo>
                          <a:pt x="444" y="1308"/>
                          <a:pt x="405" y="1254"/>
                          <a:pt x="398" y="1245"/>
                        </a:cubicBezTo>
                        <a:cubicBezTo>
                          <a:pt x="377" y="1220"/>
                          <a:pt x="353" y="1189"/>
                          <a:pt x="336" y="1160"/>
                        </a:cubicBezTo>
                        <a:cubicBezTo>
                          <a:pt x="303" y="1104"/>
                          <a:pt x="260" y="1050"/>
                          <a:pt x="233" y="990"/>
                        </a:cubicBezTo>
                        <a:cubicBezTo>
                          <a:pt x="205" y="927"/>
                          <a:pt x="177" y="855"/>
                          <a:pt x="155" y="793"/>
                        </a:cubicBezTo>
                        <a:cubicBezTo>
                          <a:pt x="111" y="667"/>
                          <a:pt x="41" y="541"/>
                          <a:pt x="27" y="404"/>
                        </a:cubicBezTo>
                        <a:cubicBezTo>
                          <a:pt x="20" y="326"/>
                          <a:pt x="43" y="261"/>
                          <a:pt x="23" y="185"/>
                        </a:cubicBezTo>
                        <a:cubicBezTo>
                          <a:pt x="6" y="123"/>
                          <a:pt x="0" y="66"/>
                          <a:pt x="6" y="0"/>
                        </a:cubicBezTo>
                        <a:cubicBezTo>
                          <a:pt x="6" y="58"/>
                          <a:pt x="11" y="114"/>
                          <a:pt x="10" y="170"/>
                        </a:cubicBezTo>
                        <a:cubicBezTo>
                          <a:pt x="10" y="236"/>
                          <a:pt x="29" y="286"/>
                          <a:pt x="44" y="346"/>
                        </a:cubicBezTo>
                        <a:cubicBezTo>
                          <a:pt x="65" y="427"/>
                          <a:pt x="79" y="511"/>
                          <a:pt x="106" y="591"/>
                        </a:cubicBezTo>
                        <a:cubicBezTo>
                          <a:pt x="157" y="739"/>
                          <a:pt x="225" y="885"/>
                          <a:pt x="276" y="1025"/>
                        </a:cubicBezTo>
                        <a:cubicBezTo>
                          <a:pt x="306" y="1106"/>
                          <a:pt x="317" y="1165"/>
                          <a:pt x="386" y="1213"/>
                        </a:cubicBezTo>
                        <a:cubicBezTo>
                          <a:pt x="412" y="1230"/>
                          <a:pt x="449" y="1254"/>
                          <a:pt x="482" y="1240"/>
                        </a:cubicBezTo>
                        <a:cubicBezTo>
                          <a:pt x="523" y="1224"/>
                          <a:pt x="518" y="1182"/>
                          <a:pt x="530" y="114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6" name="Freeform 126"/>
                  <p:cNvSpPr>
                    <a:spLocks/>
                  </p:cNvSpPr>
                  <p:nvPr/>
                </p:nvSpPr>
                <p:spPr bwMode="gray">
                  <a:xfrm>
                    <a:off x="-1466850" y="-1479550"/>
                    <a:ext cx="854075" cy="693738"/>
                  </a:xfrm>
                  <a:custGeom>
                    <a:avLst/>
                    <a:gdLst/>
                    <a:ahLst/>
                    <a:cxnLst>
                      <a:cxn ang="0">
                        <a:pos x="13" y="30"/>
                      </a:cxn>
                      <a:cxn ang="0">
                        <a:pos x="228" y="181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228" h="185">
                        <a:moveTo>
                          <a:pt x="13" y="30"/>
                        </a:moveTo>
                        <a:cubicBezTo>
                          <a:pt x="80" y="65"/>
                          <a:pt x="145" y="185"/>
                          <a:pt x="228" y="181"/>
                        </a:cubicBezTo>
                        <a:cubicBezTo>
                          <a:pt x="216" y="68"/>
                          <a:pt x="79" y="39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7" name="Freeform 127"/>
                  <p:cNvSpPr>
                    <a:spLocks/>
                  </p:cNvSpPr>
                  <p:nvPr/>
                </p:nvSpPr>
                <p:spPr bwMode="gray">
                  <a:xfrm>
                    <a:off x="-1069975" y="-7924800"/>
                    <a:ext cx="1316038" cy="647700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56" y="77"/>
                      </a:cxn>
                      <a:cxn ang="0">
                        <a:pos x="351" y="123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351" h="173">
                        <a:moveTo>
                          <a:pt x="4" y="0"/>
                        </a:moveTo>
                        <a:cubicBezTo>
                          <a:pt x="61" y="17"/>
                          <a:pt x="98" y="62"/>
                          <a:pt x="156" y="77"/>
                        </a:cubicBezTo>
                        <a:cubicBezTo>
                          <a:pt x="212" y="92"/>
                          <a:pt x="304" y="90"/>
                          <a:pt x="351" y="123"/>
                        </a:cubicBezTo>
                        <a:cubicBezTo>
                          <a:pt x="231" y="173"/>
                          <a:pt x="90" y="60"/>
                          <a:pt x="0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8" name="Freeform 128"/>
                  <p:cNvSpPr>
                    <a:spLocks/>
                  </p:cNvSpPr>
                  <p:nvPr/>
                </p:nvSpPr>
                <p:spPr bwMode="gray">
                  <a:xfrm>
                    <a:off x="22225" y="-1809750"/>
                    <a:ext cx="441325" cy="627063"/>
                  </a:xfrm>
                  <a:custGeom>
                    <a:avLst/>
                    <a:gdLst/>
                    <a:ahLst/>
                    <a:cxnLst>
                      <a:cxn ang="0">
                        <a:pos x="5" y="71"/>
                      </a:cxn>
                      <a:cxn ang="0">
                        <a:pos x="97" y="4"/>
                      </a:cxn>
                      <a:cxn ang="0">
                        <a:pos x="25" y="167"/>
                      </a:cxn>
                      <a:cxn ang="0">
                        <a:pos x="46" y="64"/>
                      </a:cxn>
                      <a:cxn ang="0">
                        <a:pos x="0" y="80"/>
                      </a:cxn>
                    </a:cxnLst>
                    <a:rect l="0" t="0" r="r" b="b"/>
                    <a:pathLst>
                      <a:path w="118" h="167">
                        <a:moveTo>
                          <a:pt x="5" y="71"/>
                        </a:moveTo>
                        <a:cubicBezTo>
                          <a:pt x="22" y="46"/>
                          <a:pt x="63" y="0"/>
                          <a:pt x="97" y="4"/>
                        </a:cubicBezTo>
                        <a:cubicBezTo>
                          <a:pt x="118" y="70"/>
                          <a:pt x="64" y="119"/>
                          <a:pt x="25" y="167"/>
                        </a:cubicBezTo>
                        <a:cubicBezTo>
                          <a:pt x="38" y="136"/>
                          <a:pt x="85" y="96"/>
                          <a:pt x="46" y="64"/>
                        </a:cubicBezTo>
                        <a:cubicBezTo>
                          <a:pt x="27" y="58"/>
                          <a:pt x="9" y="63"/>
                          <a:pt x="0" y="8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59" name="Freeform 129"/>
                  <p:cNvSpPr>
                    <a:spLocks/>
                  </p:cNvSpPr>
                  <p:nvPr/>
                </p:nvSpPr>
                <p:spPr bwMode="gray">
                  <a:xfrm>
                    <a:off x="969963" y="-4073525"/>
                    <a:ext cx="304800" cy="2241550"/>
                  </a:xfrm>
                  <a:custGeom>
                    <a:avLst/>
                    <a:gdLst/>
                    <a:ahLst/>
                    <a:cxnLst>
                      <a:cxn ang="0">
                        <a:pos x="26" y="17"/>
                      </a:cxn>
                      <a:cxn ang="0">
                        <a:pos x="5" y="295"/>
                      </a:cxn>
                      <a:cxn ang="0">
                        <a:pos x="9" y="460"/>
                      </a:cxn>
                      <a:cxn ang="0">
                        <a:pos x="18" y="598"/>
                      </a:cxn>
                      <a:cxn ang="0">
                        <a:pos x="64" y="309"/>
                      </a:cxn>
                      <a:cxn ang="0">
                        <a:pos x="26" y="0"/>
                      </a:cxn>
                    </a:cxnLst>
                    <a:rect l="0" t="0" r="r" b="b"/>
                    <a:pathLst>
                      <a:path w="81" h="598">
                        <a:moveTo>
                          <a:pt x="26" y="17"/>
                        </a:moveTo>
                        <a:cubicBezTo>
                          <a:pt x="26" y="112"/>
                          <a:pt x="0" y="198"/>
                          <a:pt x="5" y="295"/>
                        </a:cubicBezTo>
                        <a:cubicBezTo>
                          <a:pt x="8" y="348"/>
                          <a:pt x="4" y="406"/>
                          <a:pt x="9" y="460"/>
                        </a:cubicBezTo>
                        <a:cubicBezTo>
                          <a:pt x="13" y="505"/>
                          <a:pt x="31" y="551"/>
                          <a:pt x="18" y="598"/>
                        </a:cubicBezTo>
                        <a:cubicBezTo>
                          <a:pt x="81" y="529"/>
                          <a:pt x="65" y="399"/>
                          <a:pt x="64" y="309"/>
                        </a:cubicBezTo>
                        <a:cubicBezTo>
                          <a:pt x="63" y="204"/>
                          <a:pt x="15" y="103"/>
                          <a:pt x="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0" name="Freeform 130"/>
                  <p:cNvSpPr>
                    <a:spLocks/>
                  </p:cNvSpPr>
                  <p:nvPr/>
                </p:nvSpPr>
                <p:spPr bwMode="gray">
                  <a:xfrm>
                    <a:off x="708025" y="-8191500"/>
                    <a:ext cx="501650" cy="3529013"/>
                  </a:xfrm>
                  <a:custGeom>
                    <a:avLst/>
                    <a:gdLst/>
                    <a:ahLst/>
                    <a:cxnLst>
                      <a:cxn ang="0">
                        <a:pos x="134" y="67"/>
                      </a:cxn>
                      <a:cxn ang="0">
                        <a:pos x="0" y="182"/>
                      </a:cxn>
                      <a:cxn ang="0">
                        <a:pos x="104" y="333"/>
                      </a:cxn>
                      <a:cxn ang="0">
                        <a:pos x="66" y="544"/>
                      </a:cxn>
                      <a:cxn ang="0">
                        <a:pos x="92" y="760"/>
                      </a:cxn>
                      <a:cxn ang="0">
                        <a:pos x="100" y="857"/>
                      </a:cxn>
                      <a:cxn ang="0">
                        <a:pos x="46" y="941"/>
                      </a:cxn>
                      <a:cxn ang="0">
                        <a:pos x="130" y="751"/>
                      </a:cxn>
                      <a:cxn ang="0">
                        <a:pos x="126" y="498"/>
                      </a:cxn>
                      <a:cxn ang="0">
                        <a:pos x="126" y="0"/>
                      </a:cxn>
                    </a:cxnLst>
                    <a:rect l="0" t="0" r="r" b="b"/>
                    <a:pathLst>
                      <a:path w="134" h="941">
                        <a:moveTo>
                          <a:pt x="134" y="67"/>
                        </a:moveTo>
                        <a:cubicBezTo>
                          <a:pt x="99" y="118"/>
                          <a:pt x="41" y="139"/>
                          <a:pt x="0" y="182"/>
                        </a:cubicBezTo>
                        <a:cubicBezTo>
                          <a:pt x="74" y="171"/>
                          <a:pt x="105" y="277"/>
                          <a:pt x="104" y="333"/>
                        </a:cubicBezTo>
                        <a:cubicBezTo>
                          <a:pt x="104" y="412"/>
                          <a:pt x="83" y="473"/>
                          <a:pt x="66" y="544"/>
                        </a:cubicBezTo>
                        <a:cubicBezTo>
                          <a:pt x="49" y="619"/>
                          <a:pt x="82" y="689"/>
                          <a:pt x="92" y="760"/>
                        </a:cubicBezTo>
                        <a:cubicBezTo>
                          <a:pt x="96" y="789"/>
                          <a:pt x="103" y="828"/>
                          <a:pt x="100" y="857"/>
                        </a:cubicBezTo>
                        <a:cubicBezTo>
                          <a:pt x="96" y="902"/>
                          <a:pt x="66" y="902"/>
                          <a:pt x="46" y="941"/>
                        </a:cubicBezTo>
                        <a:cubicBezTo>
                          <a:pt x="123" y="926"/>
                          <a:pt x="133" y="817"/>
                          <a:pt x="130" y="751"/>
                        </a:cubicBezTo>
                        <a:cubicBezTo>
                          <a:pt x="126" y="669"/>
                          <a:pt x="126" y="582"/>
                          <a:pt x="126" y="498"/>
                        </a:cubicBezTo>
                        <a:cubicBezTo>
                          <a:pt x="126" y="332"/>
                          <a:pt x="126" y="166"/>
                          <a:pt x="12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1" name="Freeform 131"/>
                  <p:cNvSpPr>
                    <a:spLocks/>
                  </p:cNvSpPr>
                  <p:nvPr/>
                </p:nvSpPr>
                <p:spPr bwMode="gray">
                  <a:xfrm>
                    <a:off x="198438" y="-10363200"/>
                    <a:ext cx="1046163" cy="1816100"/>
                  </a:xfrm>
                  <a:custGeom>
                    <a:avLst/>
                    <a:gdLst/>
                    <a:ahLst/>
                    <a:cxnLst>
                      <a:cxn ang="0">
                        <a:pos x="160" y="42"/>
                      </a:cxn>
                      <a:cxn ang="0">
                        <a:pos x="98" y="97"/>
                      </a:cxn>
                      <a:cxn ang="0">
                        <a:pos x="0" y="135"/>
                      </a:cxn>
                      <a:cxn ang="0">
                        <a:pos x="113" y="136"/>
                      </a:cxn>
                      <a:cxn ang="0">
                        <a:pos x="38" y="244"/>
                      </a:cxn>
                      <a:cxn ang="0">
                        <a:pos x="152" y="244"/>
                      </a:cxn>
                      <a:cxn ang="0">
                        <a:pos x="173" y="358"/>
                      </a:cxn>
                      <a:cxn ang="0">
                        <a:pos x="106" y="430"/>
                      </a:cxn>
                      <a:cxn ang="0">
                        <a:pos x="186" y="448"/>
                      </a:cxn>
                      <a:cxn ang="0">
                        <a:pos x="207" y="477"/>
                      </a:cxn>
                      <a:cxn ang="0">
                        <a:pos x="257" y="481"/>
                      </a:cxn>
                      <a:cxn ang="0">
                        <a:pos x="236" y="233"/>
                      </a:cxn>
                      <a:cxn ang="0">
                        <a:pos x="194" y="131"/>
                      </a:cxn>
                      <a:cxn ang="0">
                        <a:pos x="173" y="0"/>
                      </a:cxn>
                    </a:cxnLst>
                    <a:rect l="0" t="0" r="r" b="b"/>
                    <a:pathLst>
                      <a:path w="279" h="484">
                        <a:moveTo>
                          <a:pt x="160" y="42"/>
                        </a:moveTo>
                        <a:cubicBezTo>
                          <a:pt x="137" y="59"/>
                          <a:pt x="123" y="82"/>
                          <a:pt x="98" y="97"/>
                        </a:cubicBezTo>
                        <a:cubicBezTo>
                          <a:pt x="67" y="115"/>
                          <a:pt x="23" y="110"/>
                          <a:pt x="0" y="135"/>
                        </a:cubicBezTo>
                        <a:cubicBezTo>
                          <a:pt x="27" y="146"/>
                          <a:pt x="84" y="151"/>
                          <a:pt x="113" y="136"/>
                        </a:cubicBezTo>
                        <a:cubicBezTo>
                          <a:pt x="109" y="175"/>
                          <a:pt x="67" y="217"/>
                          <a:pt x="38" y="244"/>
                        </a:cubicBezTo>
                        <a:cubicBezTo>
                          <a:pt x="71" y="268"/>
                          <a:pt x="117" y="259"/>
                          <a:pt x="152" y="244"/>
                        </a:cubicBezTo>
                        <a:cubicBezTo>
                          <a:pt x="168" y="277"/>
                          <a:pt x="184" y="320"/>
                          <a:pt x="173" y="358"/>
                        </a:cubicBezTo>
                        <a:cubicBezTo>
                          <a:pt x="163" y="391"/>
                          <a:pt x="129" y="404"/>
                          <a:pt x="106" y="430"/>
                        </a:cubicBezTo>
                        <a:cubicBezTo>
                          <a:pt x="142" y="433"/>
                          <a:pt x="162" y="428"/>
                          <a:pt x="186" y="448"/>
                        </a:cubicBezTo>
                        <a:cubicBezTo>
                          <a:pt x="197" y="457"/>
                          <a:pt x="188" y="467"/>
                          <a:pt x="207" y="477"/>
                        </a:cubicBezTo>
                        <a:cubicBezTo>
                          <a:pt x="220" y="484"/>
                          <a:pt x="242" y="483"/>
                          <a:pt x="257" y="481"/>
                        </a:cubicBezTo>
                        <a:cubicBezTo>
                          <a:pt x="279" y="401"/>
                          <a:pt x="265" y="309"/>
                          <a:pt x="236" y="233"/>
                        </a:cubicBezTo>
                        <a:cubicBezTo>
                          <a:pt x="223" y="198"/>
                          <a:pt x="203" y="165"/>
                          <a:pt x="194" y="131"/>
                        </a:cubicBezTo>
                        <a:cubicBezTo>
                          <a:pt x="183" y="88"/>
                          <a:pt x="190" y="41"/>
                          <a:pt x="173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2" name="Freeform 132"/>
                  <p:cNvSpPr>
                    <a:spLocks/>
                  </p:cNvSpPr>
                  <p:nvPr/>
                </p:nvSpPr>
                <p:spPr bwMode="gray">
                  <a:xfrm>
                    <a:off x="-1928813" y="-10028237"/>
                    <a:ext cx="690563" cy="1974850"/>
                  </a:xfrm>
                  <a:custGeom>
                    <a:avLst/>
                    <a:gdLst/>
                    <a:ahLst/>
                    <a:cxnLst>
                      <a:cxn ang="0">
                        <a:pos x="153" y="21"/>
                      </a:cxn>
                      <a:cxn ang="0">
                        <a:pos x="149" y="307"/>
                      </a:cxn>
                      <a:cxn ang="0">
                        <a:pos x="148" y="423"/>
                      </a:cxn>
                      <a:cxn ang="0">
                        <a:pos x="173" y="527"/>
                      </a:cxn>
                      <a:cxn ang="0">
                        <a:pos x="127" y="334"/>
                      </a:cxn>
                      <a:cxn ang="0">
                        <a:pos x="0" y="219"/>
                      </a:cxn>
                      <a:cxn ang="0">
                        <a:pos x="111" y="219"/>
                      </a:cxn>
                      <a:cxn ang="0">
                        <a:pos x="128" y="159"/>
                      </a:cxn>
                      <a:cxn ang="0">
                        <a:pos x="76" y="118"/>
                      </a:cxn>
                      <a:cxn ang="0">
                        <a:pos x="146" y="89"/>
                      </a:cxn>
                      <a:cxn ang="0">
                        <a:pos x="166" y="0"/>
                      </a:cxn>
                    </a:cxnLst>
                    <a:rect l="0" t="0" r="r" b="b"/>
                    <a:pathLst>
                      <a:path w="184" h="527">
                        <a:moveTo>
                          <a:pt x="153" y="21"/>
                        </a:moveTo>
                        <a:cubicBezTo>
                          <a:pt x="184" y="90"/>
                          <a:pt x="153" y="230"/>
                          <a:pt x="149" y="307"/>
                        </a:cubicBezTo>
                        <a:cubicBezTo>
                          <a:pt x="147" y="346"/>
                          <a:pt x="141" y="385"/>
                          <a:pt x="148" y="423"/>
                        </a:cubicBezTo>
                        <a:cubicBezTo>
                          <a:pt x="156" y="460"/>
                          <a:pt x="180" y="487"/>
                          <a:pt x="173" y="527"/>
                        </a:cubicBezTo>
                        <a:cubicBezTo>
                          <a:pt x="136" y="491"/>
                          <a:pt x="143" y="384"/>
                          <a:pt x="127" y="334"/>
                        </a:cubicBezTo>
                        <a:cubicBezTo>
                          <a:pt x="112" y="284"/>
                          <a:pt x="51" y="241"/>
                          <a:pt x="0" y="219"/>
                        </a:cubicBezTo>
                        <a:cubicBezTo>
                          <a:pt x="34" y="218"/>
                          <a:pt x="84" y="248"/>
                          <a:pt x="111" y="219"/>
                        </a:cubicBezTo>
                        <a:cubicBezTo>
                          <a:pt x="121" y="208"/>
                          <a:pt x="131" y="174"/>
                          <a:pt x="128" y="159"/>
                        </a:cubicBezTo>
                        <a:cubicBezTo>
                          <a:pt x="120" y="128"/>
                          <a:pt x="97" y="140"/>
                          <a:pt x="76" y="118"/>
                        </a:cubicBezTo>
                        <a:cubicBezTo>
                          <a:pt x="93" y="93"/>
                          <a:pt x="125" y="108"/>
                          <a:pt x="146" y="89"/>
                        </a:cubicBezTo>
                        <a:cubicBezTo>
                          <a:pt x="165" y="70"/>
                          <a:pt x="168" y="25"/>
                          <a:pt x="166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3" name="Freeform 133"/>
                  <p:cNvSpPr>
                    <a:spLocks/>
                  </p:cNvSpPr>
                  <p:nvPr/>
                </p:nvSpPr>
                <p:spPr bwMode="gray">
                  <a:xfrm>
                    <a:off x="-3011488" y="-10186987"/>
                    <a:ext cx="482600" cy="506413"/>
                  </a:xfrm>
                  <a:custGeom>
                    <a:avLst/>
                    <a:gdLst/>
                    <a:ahLst/>
                    <a:cxnLst>
                      <a:cxn ang="0">
                        <a:pos x="53" y="0"/>
                      </a:cxn>
                      <a:cxn ang="0">
                        <a:pos x="129" y="34"/>
                      </a:cxn>
                      <a:cxn ang="0">
                        <a:pos x="67" y="59"/>
                      </a:cxn>
                      <a:cxn ang="0">
                        <a:pos x="101" y="105"/>
                      </a:cxn>
                      <a:cxn ang="0">
                        <a:pos x="8" y="130"/>
                      </a:cxn>
                      <a:cxn ang="0">
                        <a:pos x="49" y="4"/>
                      </a:cxn>
                    </a:cxnLst>
                    <a:rect l="0" t="0" r="r" b="b"/>
                    <a:pathLst>
                      <a:path w="129" h="135">
                        <a:moveTo>
                          <a:pt x="53" y="0"/>
                        </a:moveTo>
                        <a:cubicBezTo>
                          <a:pt x="72" y="15"/>
                          <a:pt x="106" y="33"/>
                          <a:pt x="129" y="34"/>
                        </a:cubicBezTo>
                        <a:cubicBezTo>
                          <a:pt x="125" y="56"/>
                          <a:pt x="88" y="55"/>
                          <a:pt x="67" y="59"/>
                        </a:cubicBezTo>
                        <a:cubicBezTo>
                          <a:pt x="59" y="85"/>
                          <a:pt x="72" y="107"/>
                          <a:pt x="101" y="105"/>
                        </a:cubicBezTo>
                        <a:cubicBezTo>
                          <a:pt x="76" y="109"/>
                          <a:pt x="36" y="135"/>
                          <a:pt x="8" y="130"/>
                        </a:cubicBezTo>
                        <a:cubicBezTo>
                          <a:pt x="0" y="92"/>
                          <a:pt x="19" y="27"/>
                          <a:pt x="49" y="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4" name="Freeform 134"/>
                  <p:cNvSpPr>
                    <a:spLocks/>
                  </p:cNvSpPr>
                  <p:nvPr/>
                </p:nvSpPr>
                <p:spPr bwMode="gray">
                  <a:xfrm>
                    <a:off x="-668338" y="-1020762"/>
                    <a:ext cx="517525" cy="1327150"/>
                  </a:xfrm>
                  <a:custGeom>
                    <a:avLst/>
                    <a:gdLst/>
                    <a:ahLst/>
                    <a:cxnLst>
                      <a:cxn ang="0">
                        <a:pos x="113" y="220"/>
                      </a:cxn>
                      <a:cxn ang="0">
                        <a:pos x="83" y="0"/>
                      </a:cxn>
                      <a:cxn ang="0">
                        <a:pos x="29" y="190"/>
                      </a:cxn>
                      <a:cxn ang="0">
                        <a:pos x="20" y="250"/>
                      </a:cxn>
                      <a:cxn ang="0">
                        <a:pos x="27" y="300"/>
                      </a:cxn>
                      <a:cxn ang="0">
                        <a:pos x="8" y="305"/>
                      </a:cxn>
                      <a:cxn ang="0">
                        <a:pos x="112" y="351"/>
                      </a:cxn>
                      <a:cxn ang="0">
                        <a:pos x="121" y="203"/>
                      </a:cxn>
                    </a:cxnLst>
                    <a:rect l="0" t="0" r="r" b="b"/>
                    <a:pathLst>
                      <a:path w="138" h="354">
                        <a:moveTo>
                          <a:pt x="113" y="220"/>
                        </a:moveTo>
                        <a:cubicBezTo>
                          <a:pt x="84" y="153"/>
                          <a:pt x="83" y="76"/>
                          <a:pt x="83" y="0"/>
                        </a:cubicBezTo>
                        <a:cubicBezTo>
                          <a:pt x="71" y="48"/>
                          <a:pt x="22" y="132"/>
                          <a:pt x="29" y="190"/>
                        </a:cubicBezTo>
                        <a:cubicBezTo>
                          <a:pt x="67" y="202"/>
                          <a:pt x="68" y="259"/>
                          <a:pt x="20" y="250"/>
                        </a:cubicBezTo>
                        <a:cubicBezTo>
                          <a:pt x="18" y="269"/>
                          <a:pt x="25" y="283"/>
                          <a:pt x="27" y="300"/>
                        </a:cubicBezTo>
                        <a:cubicBezTo>
                          <a:pt x="20" y="301"/>
                          <a:pt x="16" y="305"/>
                          <a:pt x="8" y="305"/>
                        </a:cubicBezTo>
                        <a:cubicBezTo>
                          <a:pt x="0" y="345"/>
                          <a:pt x="83" y="354"/>
                          <a:pt x="112" y="351"/>
                        </a:cubicBezTo>
                        <a:cubicBezTo>
                          <a:pt x="114" y="306"/>
                          <a:pt x="138" y="244"/>
                          <a:pt x="121" y="203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5" name="Freeform 135"/>
                  <p:cNvSpPr>
                    <a:spLocks/>
                  </p:cNvSpPr>
                  <p:nvPr/>
                </p:nvSpPr>
                <p:spPr bwMode="gray">
                  <a:xfrm>
                    <a:off x="-604838" y="-2014537"/>
                    <a:ext cx="479425" cy="1439863"/>
                  </a:xfrm>
                  <a:custGeom>
                    <a:avLst/>
                    <a:gdLst/>
                    <a:ahLst/>
                    <a:cxnLst>
                      <a:cxn ang="0">
                        <a:pos x="24" y="4"/>
                      </a:cxn>
                      <a:cxn ang="0">
                        <a:pos x="44" y="237"/>
                      </a:cxn>
                      <a:cxn ang="0">
                        <a:pos x="104" y="313"/>
                      </a:cxn>
                      <a:cxn ang="0">
                        <a:pos x="87" y="122"/>
                      </a:cxn>
                      <a:cxn ang="0">
                        <a:pos x="28" y="0"/>
                      </a:cxn>
                    </a:cxnLst>
                    <a:rect l="0" t="0" r="r" b="b"/>
                    <a:pathLst>
                      <a:path w="128" h="384">
                        <a:moveTo>
                          <a:pt x="24" y="4"/>
                        </a:moveTo>
                        <a:cubicBezTo>
                          <a:pt x="0" y="68"/>
                          <a:pt x="31" y="173"/>
                          <a:pt x="44" y="237"/>
                        </a:cubicBezTo>
                        <a:cubicBezTo>
                          <a:pt x="49" y="263"/>
                          <a:pt x="60" y="384"/>
                          <a:pt x="104" y="313"/>
                        </a:cubicBezTo>
                        <a:cubicBezTo>
                          <a:pt x="128" y="274"/>
                          <a:pt x="104" y="160"/>
                          <a:pt x="87" y="122"/>
                        </a:cubicBezTo>
                        <a:cubicBezTo>
                          <a:pt x="67" y="76"/>
                          <a:pt x="36" y="50"/>
                          <a:pt x="28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6" name="Freeform 136"/>
                  <p:cNvSpPr>
                    <a:spLocks/>
                  </p:cNvSpPr>
                  <p:nvPr/>
                </p:nvSpPr>
                <p:spPr bwMode="gray">
                  <a:xfrm>
                    <a:off x="-2559050" y="-12211050"/>
                    <a:ext cx="1046163" cy="311150"/>
                  </a:xfrm>
                  <a:custGeom>
                    <a:avLst/>
                    <a:gdLst/>
                    <a:ahLst/>
                    <a:cxnLst>
                      <a:cxn ang="0">
                        <a:pos x="258" y="20"/>
                      </a:cxn>
                      <a:cxn ang="0">
                        <a:pos x="110" y="7"/>
                      </a:cxn>
                      <a:cxn ang="0">
                        <a:pos x="0" y="83"/>
                      </a:cxn>
                      <a:cxn ang="0">
                        <a:pos x="122" y="41"/>
                      </a:cxn>
                      <a:cxn ang="0">
                        <a:pos x="279" y="20"/>
                      </a:cxn>
                    </a:cxnLst>
                    <a:rect l="0" t="0" r="r" b="b"/>
                    <a:pathLst>
                      <a:path w="279" h="83">
                        <a:moveTo>
                          <a:pt x="258" y="20"/>
                        </a:moveTo>
                        <a:cubicBezTo>
                          <a:pt x="206" y="20"/>
                          <a:pt x="162" y="0"/>
                          <a:pt x="110" y="7"/>
                        </a:cubicBezTo>
                        <a:cubicBezTo>
                          <a:pt x="77" y="12"/>
                          <a:pt x="7" y="47"/>
                          <a:pt x="0" y="83"/>
                        </a:cubicBezTo>
                        <a:cubicBezTo>
                          <a:pt x="44" y="75"/>
                          <a:pt x="78" y="45"/>
                          <a:pt x="122" y="41"/>
                        </a:cubicBezTo>
                        <a:cubicBezTo>
                          <a:pt x="168" y="37"/>
                          <a:pt x="243" y="51"/>
                          <a:pt x="279" y="2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7" name="Freeform 137"/>
                  <p:cNvSpPr>
                    <a:spLocks/>
                  </p:cNvSpPr>
                  <p:nvPr/>
                </p:nvSpPr>
                <p:spPr bwMode="gray">
                  <a:xfrm>
                    <a:off x="-3270250" y="-12414250"/>
                    <a:ext cx="600075" cy="454025"/>
                  </a:xfrm>
                  <a:custGeom>
                    <a:avLst/>
                    <a:gdLst/>
                    <a:ahLst/>
                    <a:cxnLst>
                      <a:cxn ang="0">
                        <a:pos x="4" y="116"/>
                      </a:cxn>
                      <a:cxn ang="0">
                        <a:pos x="160" y="0"/>
                      </a:cxn>
                      <a:cxn ang="0">
                        <a:pos x="0" y="121"/>
                      </a:cxn>
                    </a:cxnLst>
                    <a:rect l="0" t="0" r="r" b="b"/>
                    <a:pathLst>
                      <a:path w="160" h="121">
                        <a:moveTo>
                          <a:pt x="4" y="116"/>
                        </a:moveTo>
                        <a:cubicBezTo>
                          <a:pt x="36" y="75"/>
                          <a:pt x="109" y="19"/>
                          <a:pt x="160" y="0"/>
                        </a:cubicBezTo>
                        <a:cubicBezTo>
                          <a:pt x="136" y="36"/>
                          <a:pt x="44" y="115"/>
                          <a:pt x="0" y="12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8" name="Freeform 138"/>
                  <p:cNvSpPr>
                    <a:spLocks/>
                  </p:cNvSpPr>
                  <p:nvPr/>
                </p:nvSpPr>
                <p:spPr bwMode="gray">
                  <a:xfrm>
                    <a:off x="-3713163" y="-13385800"/>
                    <a:ext cx="944563" cy="746125"/>
                  </a:xfrm>
                  <a:custGeom>
                    <a:avLst/>
                    <a:gdLst/>
                    <a:ahLst/>
                    <a:cxnLst>
                      <a:cxn ang="0">
                        <a:pos x="207" y="101"/>
                      </a:cxn>
                      <a:cxn ang="0">
                        <a:pos x="30" y="0"/>
                      </a:cxn>
                      <a:cxn ang="0">
                        <a:pos x="101" y="114"/>
                      </a:cxn>
                      <a:cxn ang="0">
                        <a:pos x="0" y="152"/>
                      </a:cxn>
                      <a:cxn ang="0">
                        <a:pos x="126" y="138"/>
                      </a:cxn>
                      <a:cxn ang="0">
                        <a:pos x="252" y="126"/>
                      </a:cxn>
                      <a:cxn ang="0">
                        <a:pos x="223" y="92"/>
                      </a:cxn>
                    </a:cxnLst>
                    <a:rect l="0" t="0" r="r" b="b"/>
                    <a:pathLst>
                      <a:path w="252" h="199">
                        <a:moveTo>
                          <a:pt x="207" y="101"/>
                        </a:moveTo>
                        <a:cubicBezTo>
                          <a:pt x="131" y="101"/>
                          <a:pt x="92" y="34"/>
                          <a:pt x="30" y="0"/>
                        </a:cubicBezTo>
                        <a:cubicBezTo>
                          <a:pt x="40" y="43"/>
                          <a:pt x="84" y="73"/>
                          <a:pt x="101" y="114"/>
                        </a:cubicBezTo>
                        <a:cubicBezTo>
                          <a:pt x="70" y="130"/>
                          <a:pt x="38" y="157"/>
                          <a:pt x="0" y="152"/>
                        </a:cubicBezTo>
                        <a:cubicBezTo>
                          <a:pt x="11" y="199"/>
                          <a:pt x="102" y="157"/>
                          <a:pt x="126" y="138"/>
                        </a:cubicBezTo>
                        <a:cubicBezTo>
                          <a:pt x="175" y="100"/>
                          <a:pt x="199" y="115"/>
                          <a:pt x="252" y="126"/>
                        </a:cubicBezTo>
                        <a:cubicBezTo>
                          <a:pt x="250" y="111"/>
                          <a:pt x="236" y="100"/>
                          <a:pt x="223" y="9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69" name="Freeform 139"/>
                  <p:cNvSpPr>
                    <a:spLocks/>
                  </p:cNvSpPr>
                  <p:nvPr/>
                </p:nvSpPr>
                <p:spPr bwMode="gray">
                  <a:xfrm>
                    <a:off x="-3349625" y="-15114587"/>
                    <a:ext cx="498475" cy="495300"/>
                  </a:xfrm>
                  <a:custGeom>
                    <a:avLst/>
                    <a:gdLst/>
                    <a:ahLst/>
                    <a:cxnLst>
                      <a:cxn ang="0">
                        <a:pos x="0" y="13"/>
                      </a:cxn>
                      <a:cxn ang="0">
                        <a:pos x="126" y="126"/>
                      </a:cxn>
                      <a:cxn ang="0">
                        <a:pos x="66" y="77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133" h="132">
                        <a:moveTo>
                          <a:pt x="0" y="13"/>
                        </a:moveTo>
                        <a:cubicBezTo>
                          <a:pt x="26" y="71"/>
                          <a:pt x="52" y="132"/>
                          <a:pt x="126" y="126"/>
                        </a:cubicBezTo>
                        <a:cubicBezTo>
                          <a:pt x="133" y="95"/>
                          <a:pt x="87" y="89"/>
                          <a:pt x="66" y="77"/>
                        </a:cubicBezTo>
                        <a:cubicBezTo>
                          <a:pt x="34" y="59"/>
                          <a:pt x="12" y="43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0" name="Freeform 140"/>
                  <p:cNvSpPr>
                    <a:spLocks/>
                  </p:cNvSpPr>
                  <p:nvPr/>
                </p:nvSpPr>
                <p:spPr bwMode="gray">
                  <a:xfrm>
                    <a:off x="-3035300" y="-11566525"/>
                    <a:ext cx="304800" cy="600075"/>
                  </a:xfrm>
                  <a:custGeom>
                    <a:avLst/>
                    <a:gdLst/>
                    <a:ahLst/>
                    <a:cxnLst>
                      <a:cxn ang="0">
                        <a:pos x="72" y="55"/>
                      </a:cxn>
                      <a:cxn ang="0">
                        <a:pos x="76" y="151"/>
                      </a:cxn>
                      <a:cxn ang="0">
                        <a:pos x="4" y="80"/>
                      </a:cxn>
                      <a:cxn ang="0">
                        <a:pos x="68" y="68"/>
                      </a:cxn>
                    </a:cxnLst>
                    <a:rect l="0" t="0" r="r" b="b"/>
                    <a:pathLst>
                      <a:path w="81" h="160">
                        <a:moveTo>
                          <a:pt x="72" y="55"/>
                        </a:moveTo>
                        <a:cubicBezTo>
                          <a:pt x="61" y="108"/>
                          <a:pt x="27" y="104"/>
                          <a:pt x="76" y="151"/>
                        </a:cubicBezTo>
                        <a:cubicBezTo>
                          <a:pt x="37" y="160"/>
                          <a:pt x="0" y="117"/>
                          <a:pt x="4" y="80"/>
                        </a:cubicBezTo>
                        <a:cubicBezTo>
                          <a:pt x="10" y="31"/>
                          <a:pt x="81" y="0"/>
                          <a:pt x="68" y="6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1" name="Freeform 141"/>
                  <p:cNvSpPr>
                    <a:spLocks/>
                  </p:cNvSpPr>
                  <p:nvPr/>
                </p:nvSpPr>
                <p:spPr bwMode="gray">
                  <a:xfrm>
                    <a:off x="-1174750" y="-15687675"/>
                    <a:ext cx="423863" cy="173038"/>
                  </a:xfrm>
                  <a:custGeom>
                    <a:avLst/>
                    <a:gdLst/>
                    <a:ahLst/>
                    <a:cxnLst>
                      <a:cxn ang="0">
                        <a:pos x="5" y="13"/>
                      </a:cxn>
                      <a:cxn ang="0">
                        <a:pos x="113" y="0"/>
                      </a:cxn>
                      <a:cxn ang="0">
                        <a:pos x="92" y="32"/>
                      </a:cxn>
                      <a:cxn ang="0">
                        <a:pos x="56" y="45"/>
                      </a:cxn>
                      <a:cxn ang="0">
                        <a:pos x="42" y="40"/>
                      </a:cxn>
                      <a:cxn ang="0">
                        <a:pos x="20" y="37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113" h="46">
                        <a:moveTo>
                          <a:pt x="5" y="13"/>
                        </a:moveTo>
                        <a:cubicBezTo>
                          <a:pt x="41" y="29"/>
                          <a:pt x="80" y="18"/>
                          <a:pt x="113" y="0"/>
                        </a:cubicBezTo>
                        <a:cubicBezTo>
                          <a:pt x="107" y="10"/>
                          <a:pt x="102" y="26"/>
                          <a:pt x="92" y="32"/>
                        </a:cubicBezTo>
                        <a:cubicBezTo>
                          <a:pt x="84" y="37"/>
                          <a:pt x="66" y="46"/>
                          <a:pt x="56" y="45"/>
                        </a:cubicBezTo>
                        <a:cubicBezTo>
                          <a:pt x="50" y="45"/>
                          <a:pt x="47" y="42"/>
                          <a:pt x="42" y="40"/>
                        </a:cubicBezTo>
                        <a:cubicBezTo>
                          <a:pt x="35" y="38"/>
                          <a:pt x="27" y="39"/>
                          <a:pt x="20" y="37"/>
                        </a:cubicBezTo>
                        <a:cubicBezTo>
                          <a:pt x="11" y="34"/>
                          <a:pt x="3" y="21"/>
                          <a:pt x="0" y="1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2" name="Freeform 142"/>
                  <p:cNvSpPr>
                    <a:spLocks/>
                  </p:cNvSpPr>
                  <p:nvPr/>
                </p:nvSpPr>
                <p:spPr bwMode="gray">
                  <a:xfrm>
                    <a:off x="-1246188" y="-11239500"/>
                    <a:ext cx="1897063" cy="614363"/>
                  </a:xfrm>
                  <a:custGeom>
                    <a:avLst/>
                    <a:gdLst/>
                    <a:ahLst/>
                    <a:cxnLst>
                      <a:cxn ang="0">
                        <a:pos x="433" y="0"/>
                      </a:cxn>
                      <a:cxn ang="0">
                        <a:pos x="331" y="121"/>
                      </a:cxn>
                      <a:cxn ang="0">
                        <a:pos x="135" y="122"/>
                      </a:cxn>
                      <a:cxn ang="0">
                        <a:pos x="17" y="73"/>
                      </a:cxn>
                      <a:cxn ang="0">
                        <a:pos x="95" y="95"/>
                      </a:cxn>
                    </a:cxnLst>
                    <a:rect l="0" t="0" r="r" b="b"/>
                    <a:pathLst>
                      <a:path w="506" h="164">
                        <a:moveTo>
                          <a:pt x="433" y="0"/>
                        </a:moveTo>
                        <a:cubicBezTo>
                          <a:pt x="506" y="50"/>
                          <a:pt x="358" y="108"/>
                          <a:pt x="331" y="121"/>
                        </a:cubicBezTo>
                        <a:cubicBezTo>
                          <a:pt x="253" y="160"/>
                          <a:pt x="212" y="126"/>
                          <a:pt x="135" y="122"/>
                        </a:cubicBezTo>
                        <a:cubicBezTo>
                          <a:pt x="91" y="119"/>
                          <a:pt x="0" y="164"/>
                          <a:pt x="17" y="73"/>
                        </a:cubicBezTo>
                        <a:cubicBezTo>
                          <a:pt x="48" y="50"/>
                          <a:pt x="76" y="69"/>
                          <a:pt x="95" y="9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3" name="Freeform 143"/>
                  <p:cNvSpPr>
                    <a:spLocks/>
                  </p:cNvSpPr>
                  <p:nvPr/>
                </p:nvSpPr>
                <p:spPr bwMode="gray">
                  <a:xfrm>
                    <a:off x="-825500" y="-11150600"/>
                    <a:ext cx="592138" cy="203200"/>
                  </a:xfrm>
                  <a:custGeom>
                    <a:avLst/>
                    <a:gdLst/>
                    <a:ahLst/>
                    <a:cxnLst>
                      <a:cxn ang="0">
                        <a:pos x="0" y="54"/>
                      </a:cxn>
                      <a:cxn ang="0">
                        <a:pos x="106" y="0"/>
                      </a:cxn>
                      <a:cxn ang="0">
                        <a:pos x="90" y="42"/>
                      </a:cxn>
                      <a:cxn ang="0">
                        <a:pos x="156" y="5"/>
                      </a:cxn>
                      <a:cxn ang="0">
                        <a:pos x="158" y="25"/>
                      </a:cxn>
                    </a:cxnLst>
                    <a:rect l="0" t="0" r="r" b="b"/>
                    <a:pathLst>
                      <a:path w="158" h="54">
                        <a:moveTo>
                          <a:pt x="0" y="54"/>
                        </a:moveTo>
                        <a:cubicBezTo>
                          <a:pt x="44" y="50"/>
                          <a:pt x="68" y="17"/>
                          <a:pt x="106" y="0"/>
                        </a:cubicBezTo>
                        <a:cubicBezTo>
                          <a:pt x="100" y="16"/>
                          <a:pt x="103" y="28"/>
                          <a:pt x="90" y="42"/>
                        </a:cubicBezTo>
                        <a:cubicBezTo>
                          <a:pt x="115" y="37"/>
                          <a:pt x="136" y="19"/>
                          <a:pt x="156" y="5"/>
                        </a:cubicBezTo>
                        <a:cubicBezTo>
                          <a:pt x="157" y="11"/>
                          <a:pt x="158" y="18"/>
                          <a:pt x="158" y="25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4" name="Freeform 144"/>
                  <p:cNvSpPr>
                    <a:spLocks/>
                  </p:cNvSpPr>
                  <p:nvPr/>
                </p:nvSpPr>
                <p:spPr bwMode="gray">
                  <a:xfrm>
                    <a:off x="-417513" y="-19359562"/>
                    <a:ext cx="180975" cy="488950"/>
                  </a:xfrm>
                  <a:custGeom>
                    <a:avLst/>
                    <a:gdLst/>
                    <a:ahLst/>
                    <a:cxnLst>
                      <a:cxn ang="0">
                        <a:pos x="12" y="0"/>
                      </a:cxn>
                      <a:cxn ang="0">
                        <a:pos x="21" y="30"/>
                      </a:cxn>
                      <a:cxn ang="0">
                        <a:pos x="15" y="26"/>
                      </a:cxn>
                      <a:cxn ang="0">
                        <a:pos x="6" y="53"/>
                      </a:cxn>
                      <a:cxn ang="0">
                        <a:pos x="12" y="75"/>
                      </a:cxn>
                      <a:cxn ang="0">
                        <a:pos x="4" y="72"/>
                      </a:cxn>
                      <a:cxn ang="0">
                        <a:pos x="7" y="108"/>
                      </a:cxn>
                      <a:cxn ang="0">
                        <a:pos x="3" y="105"/>
                      </a:cxn>
                      <a:cxn ang="0">
                        <a:pos x="1" y="122"/>
                      </a:cxn>
                      <a:cxn ang="0">
                        <a:pos x="16" y="130"/>
                      </a:cxn>
                      <a:cxn ang="0">
                        <a:pos x="16" y="114"/>
                      </a:cxn>
                      <a:cxn ang="0">
                        <a:pos x="26" y="121"/>
                      </a:cxn>
                      <a:cxn ang="0">
                        <a:pos x="27" y="100"/>
                      </a:cxn>
                      <a:cxn ang="0">
                        <a:pos x="34" y="105"/>
                      </a:cxn>
                      <a:cxn ang="0">
                        <a:pos x="34" y="69"/>
                      </a:cxn>
                      <a:cxn ang="0">
                        <a:pos x="48" y="78"/>
                      </a:cxn>
                      <a:cxn ang="0">
                        <a:pos x="39" y="48"/>
                      </a:cxn>
                      <a:cxn ang="0">
                        <a:pos x="37" y="23"/>
                      </a:cxn>
                      <a:cxn ang="0">
                        <a:pos x="42" y="23"/>
                      </a:cxn>
                      <a:cxn ang="0">
                        <a:pos x="40" y="13"/>
                      </a:cxn>
                      <a:cxn ang="0">
                        <a:pos x="33" y="8"/>
                      </a:cxn>
                      <a:cxn ang="0">
                        <a:pos x="12" y="0"/>
                      </a:cxn>
                    </a:cxnLst>
                    <a:rect l="0" t="0" r="r" b="b"/>
                    <a:pathLst>
                      <a:path w="48" h="130">
                        <a:moveTo>
                          <a:pt x="12" y="0"/>
                        </a:moveTo>
                        <a:cubicBezTo>
                          <a:pt x="22" y="7"/>
                          <a:pt x="21" y="18"/>
                          <a:pt x="21" y="30"/>
                        </a:cubicBezTo>
                        <a:cubicBezTo>
                          <a:pt x="19" y="29"/>
                          <a:pt x="17" y="28"/>
                          <a:pt x="15" y="26"/>
                        </a:cubicBezTo>
                        <a:cubicBezTo>
                          <a:pt x="14" y="30"/>
                          <a:pt x="20" y="66"/>
                          <a:pt x="6" y="53"/>
                        </a:cubicBezTo>
                        <a:cubicBezTo>
                          <a:pt x="6" y="61"/>
                          <a:pt x="8" y="68"/>
                          <a:pt x="12" y="75"/>
                        </a:cubicBezTo>
                        <a:cubicBezTo>
                          <a:pt x="9" y="76"/>
                          <a:pt x="7" y="74"/>
                          <a:pt x="4" y="72"/>
                        </a:cubicBezTo>
                        <a:cubicBezTo>
                          <a:pt x="3" y="84"/>
                          <a:pt x="5" y="97"/>
                          <a:pt x="7" y="108"/>
                        </a:cubicBezTo>
                        <a:cubicBezTo>
                          <a:pt x="6" y="107"/>
                          <a:pt x="5" y="107"/>
                          <a:pt x="3" y="105"/>
                        </a:cubicBezTo>
                        <a:cubicBezTo>
                          <a:pt x="3" y="113"/>
                          <a:pt x="0" y="115"/>
                          <a:pt x="1" y="122"/>
                        </a:cubicBezTo>
                        <a:cubicBezTo>
                          <a:pt x="5" y="124"/>
                          <a:pt x="11" y="127"/>
                          <a:pt x="16" y="130"/>
                        </a:cubicBezTo>
                        <a:cubicBezTo>
                          <a:pt x="16" y="125"/>
                          <a:pt x="16" y="120"/>
                          <a:pt x="16" y="114"/>
                        </a:cubicBezTo>
                        <a:cubicBezTo>
                          <a:pt x="19" y="116"/>
                          <a:pt x="22" y="119"/>
                          <a:pt x="26" y="121"/>
                        </a:cubicBezTo>
                        <a:cubicBezTo>
                          <a:pt x="26" y="114"/>
                          <a:pt x="27" y="107"/>
                          <a:pt x="27" y="100"/>
                        </a:cubicBezTo>
                        <a:cubicBezTo>
                          <a:pt x="30" y="101"/>
                          <a:pt x="32" y="103"/>
                          <a:pt x="34" y="105"/>
                        </a:cubicBezTo>
                        <a:cubicBezTo>
                          <a:pt x="39" y="97"/>
                          <a:pt x="35" y="78"/>
                          <a:pt x="34" y="69"/>
                        </a:cubicBezTo>
                        <a:cubicBezTo>
                          <a:pt x="35" y="73"/>
                          <a:pt x="44" y="76"/>
                          <a:pt x="48" y="78"/>
                        </a:cubicBezTo>
                        <a:cubicBezTo>
                          <a:pt x="48" y="68"/>
                          <a:pt x="40" y="59"/>
                          <a:pt x="39" y="48"/>
                        </a:cubicBezTo>
                        <a:cubicBezTo>
                          <a:pt x="46" y="47"/>
                          <a:pt x="38" y="28"/>
                          <a:pt x="37" y="23"/>
                        </a:cubicBezTo>
                        <a:cubicBezTo>
                          <a:pt x="38" y="23"/>
                          <a:pt x="40" y="23"/>
                          <a:pt x="42" y="23"/>
                        </a:cubicBezTo>
                        <a:cubicBezTo>
                          <a:pt x="42" y="23"/>
                          <a:pt x="40" y="14"/>
                          <a:pt x="40" y="13"/>
                        </a:cubicBezTo>
                        <a:cubicBezTo>
                          <a:pt x="38" y="11"/>
                          <a:pt x="36" y="9"/>
                          <a:pt x="33" y="8"/>
                        </a:cubicBezTo>
                        <a:cubicBezTo>
                          <a:pt x="28" y="5"/>
                          <a:pt x="17" y="1"/>
                          <a:pt x="12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5" name="Freeform 145"/>
                  <p:cNvSpPr>
                    <a:spLocks/>
                  </p:cNvSpPr>
                  <p:nvPr/>
                </p:nvSpPr>
                <p:spPr bwMode="gray">
                  <a:xfrm>
                    <a:off x="-95250" y="-19073812"/>
                    <a:ext cx="184150" cy="1450975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9" y="38"/>
                      </a:cxn>
                      <a:cxn ang="0">
                        <a:pos x="22" y="74"/>
                      </a:cxn>
                      <a:cxn ang="0">
                        <a:pos x="32" y="176"/>
                      </a:cxn>
                      <a:cxn ang="0">
                        <a:pos x="26" y="162"/>
                      </a:cxn>
                      <a:cxn ang="0">
                        <a:pos x="25" y="188"/>
                      </a:cxn>
                      <a:cxn ang="0">
                        <a:pos x="25" y="222"/>
                      </a:cxn>
                      <a:cxn ang="0">
                        <a:pos x="15" y="250"/>
                      </a:cxn>
                      <a:cxn ang="0">
                        <a:pos x="19" y="273"/>
                      </a:cxn>
                      <a:cxn ang="0">
                        <a:pos x="14" y="252"/>
                      </a:cxn>
                      <a:cxn ang="0">
                        <a:pos x="11" y="328"/>
                      </a:cxn>
                      <a:cxn ang="0">
                        <a:pos x="8" y="362"/>
                      </a:cxn>
                      <a:cxn ang="0">
                        <a:pos x="2" y="387"/>
                      </a:cxn>
                      <a:cxn ang="0">
                        <a:pos x="21" y="363"/>
                      </a:cxn>
                      <a:cxn ang="0">
                        <a:pos x="31" y="328"/>
                      </a:cxn>
                      <a:cxn ang="0">
                        <a:pos x="34" y="285"/>
                      </a:cxn>
                      <a:cxn ang="0">
                        <a:pos x="38" y="241"/>
                      </a:cxn>
                      <a:cxn ang="0">
                        <a:pos x="45" y="196"/>
                      </a:cxn>
                      <a:cxn ang="0">
                        <a:pos x="46" y="157"/>
                      </a:cxn>
                      <a:cxn ang="0">
                        <a:pos x="43" y="117"/>
                      </a:cxn>
                      <a:cxn ang="0">
                        <a:pos x="36" y="81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49" h="387">
                        <a:moveTo>
                          <a:pt x="1" y="0"/>
                        </a:moveTo>
                        <a:cubicBezTo>
                          <a:pt x="0" y="12"/>
                          <a:pt x="8" y="27"/>
                          <a:pt x="9" y="38"/>
                        </a:cubicBezTo>
                        <a:cubicBezTo>
                          <a:pt x="11" y="50"/>
                          <a:pt x="18" y="62"/>
                          <a:pt x="22" y="74"/>
                        </a:cubicBezTo>
                        <a:cubicBezTo>
                          <a:pt x="33" y="104"/>
                          <a:pt x="38" y="143"/>
                          <a:pt x="32" y="176"/>
                        </a:cubicBezTo>
                        <a:cubicBezTo>
                          <a:pt x="31" y="171"/>
                          <a:pt x="26" y="168"/>
                          <a:pt x="26" y="162"/>
                        </a:cubicBezTo>
                        <a:cubicBezTo>
                          <a:pt x="27" y="171"/>
                          <a:pt x="25" y="180"/>
                          <a:pt x="25" y="188"/>
                        </a:cubicBezTo>
                        <a:cubicBezTo>
                          <a:pt x="25" y="199"/>
                          <a:pt x="27" y="212"/>
                          <a:pt x="25" y="222"/>
                        </a:cubicBezTo>
                        <a:cubicBezTo>
                          <a:pt x="23" y="231"/>
                          <a:pt x="16" y="241"/>
                          <a:pt x="15" y="250"/>
                        </a:cubicBezTo>
                        <a:cubicBezTo>
                          <a:pt x="14" y="258"/>
                          <a:pt x="17" y="266"/>
                          <a:pt x="19" y="273"/>
                        </a:cubicBezTo>
                        <a:cubicBezTo>
                          <a:pt x="19" y="267"/>
                          <a:pt x="16" y="258"/>
                          <a:pt x="14" y="252"/>
                        </a:cubicBezTo>
                        <a:cubicBezTo>
                          <a:pt x="2" y="276"/>
                          <a:pt x="11" y="303"/>
                          <a:pt x="11" y="328"/>
                        </a:cubicBezTo>
                        <a:cubicBezTo>
                          <a:pt x="11" y="340"/>
                          <a:pt x="10" y="351"/>
                          <a:pt x="8" y="362"/>
                        </a:cubicBezTo>
                        <a:cubicBezTo>
                          <a:pt x="7" y="370"/>
                          <a:pt x="6" y="380"/>
                          <a:pt x="2" y="387"/>
                        </a:cubicBezTo>
                        <a:cubicBezTo>
                          <a:pt x="7" y="378"/>
                          <a:pt x="17" y="373"/>
                          <a:pt x="21" y="363"/>
                        </a:cubicBezTo>
                        <a:cubicBezTo>
                          <a:pt x="26" y="351"/>
                          <a:pt x="29" y="340"/>
                          <a:pt x="31" y="328"/>
                        </a:cubicBezTo>
                        <a:cubicBezTo>
                          <a:pt x="33" y="314"/>
                          <a:pt x="32" y="299"/>
                          <a:pt x="34" y="285"/>
                        </a:cubicBezTo>
                        <a:cubicBezTo>
                          <a:pt x="35" y="270"/>
                          <a:pt x="38" y="256"/>
                          <a:pt x="38" y="241"/>
                        </a:cubicBezTo>
                        <a:cubicBezTo>
                          <a:pt x="39" y="226"/>
                          <a:pt x="41" y="210"/>
                          <a:pt x="45" y="196"/>
                        </a:cubicBezTo>
                        <a:cubicBezTo>
                          <a:pt x="49" y="182"/>
                          <a:pt x="46" y="172"/>
                          <a:pt x="46" y="157"/>
                        </a:cubicBezTo>
                        <a:cubicBezTo>
                          <a:pt x="46" y="143"/>
                          <a:pt x="46" y="131"/>
                          <a:pt x="43" y="117"/>
                        </a:cubicBezTo>
                        <a:cubicBezTo>
                          <a:pt x="42" y="106"/>
                          <a:pt x="40" y="92"/>
                          <a:pt x="36" y="81"/>
                        </a:cubicBezTo>
                        <a:cubicBezTo>
                          <a:pt x="30" y="67"/>
                          <a:pt x="9" y="10"/>
                          <a:pt x="1" y="0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6" name="Freeform 146"/>
                  <p:cNvSpPr>
                    <a:spLocks/>
                  </p:cNvSpPr>
                  <p:nvPr/>
                </p:nvSpPr>
                <p:spPr bwMode="gray">
                  <a:xfrm>
                    <a:off x="-2160588" y="-18788062"/>
                    <a:ext cx="220663" cy="557213"/>
                  </a:xfrm>
                  <a:custGeom>
                    <a:avLst/>
                    <a:gdLst/>
                    <a:ahLst/>
                    <a:cxnLst>
                      <a:cxn ang="0">
                        <a:pos x="59" y="142"/>
                      </a:cxn>
                      <a:cxn ang="0">
                        <a:pos x="50" y="113"/>
                      </a:cxn>
                      <a:cxn ang="0">
                        <a:pos x="54" y="79"/>
                      </a:cxn>
                      <a:cxn ang="0">
                        <a:pos x="39" y="97"/>
                      </a:cxn>
                      <a:cxn ang="0">
                        <a:pos x="38" y="63"/>
                      </a:cxn>
                      <a:cxn ang="0">
                        <a:pos x="18" y="73"/>
                      </a:cxn>
                      <a:cxn ang="0">
                        <a:pos x="21" y="0"/>
                      </a:cxn>
                      <a:cxn ang="0">
                        <a:pos x="2" y="34"/>
                      </a:cxn>
                      <a:cxn ang="0">
                        <a:pos x="1" y="72"/>
                      </a:cxn>
                      <a:cxn ang="0">
                        <a:pos x="14" y="106"/>
                      </a:cxn>
                      <a:cxn ang="0">
                        <a:pos x="22" y="122"/>
                      </a:cxn>
                      <a:cxn ang="0">
                        <a:pos x="29" y="140"/>
                      </a:cxn>
                      <a:cxn ang="0">
                        <a:pos x="38" y="147"/>
                      </a:cxn>
                      <a:cxn ang="0">
                        <a:pos x="38" y="149"/>
                      </a:cxn>
                      <a:cxn ang="0">
                        <a:pos x="49" y="144"/>
                      </a:cxn>
                      <a:cxn ang="0">
                        <a:pos x="59" y="142"/>
                      </a:cxn>
                    </a:cxnLst>
                    <a:rect l="0" t="0" r="r" b="b"/>
                    <a:pathLst>
                      <a:path w="59" h="149">
                        <a:moveTo>
                          <a:pt x="59" y="142"/>
                        </a:moveTo>
                        <a:cubicBezTo>
                          <a:pt x="57" y="132"/>
                          <a:pt x="50" y="124"/>
                          <a:pt x="50" y="113"/>
                        </a:cubicBezTo>
                        <a:cubicBezTo>
                          <a:pt x="49" y="101"/>
                          <a:pt x="52" y="90"/>
                          <a:pt x="54" y="79"/>
                        </a:cubicBezTo>
                        <a:cubicBezTo>
                          <a:pt x="46" y="78"/>
                          <a:pt x="38" y="90"/>
                          <a:pt x="39" y="97"/>
                        </a:cubicBezTo>
                        <a:cubicBezTo>
                          <a:pt x="34" y="86"/>
                          <a:pt x="31" y="73"/>
                          <a:pt x="38" y="63"/>
                        </a:cubicBezTo>
                        <a:cubicBezTo>
                          <a:pt x="29" y="59"/>
                          <a:pt x="23" y="68"/>
                          <a:pt x="18" y="73"/>
                        </a:cubicBezTo>
                        <a:cubicBezTo>
                          <a:pt x="11" y="49"/>
                          <a:pt x="16" y="24"/>
                          <a:pt x="21" y="0"/>
                        </a:cubicBezTo>
                        <a:cubicBezTo>
                          <a:pt x="9" y="4"/>
                          <a:pt x="3" y="23"/>
                          <a:pt x="2" y="34"/>
                        </a:cubicBezTo>
                        <a:cubicBezTo>
                          <a:pt x="1" y="46"/>
                          <a:pt x="0" y="61"/>
                          <a:pt x="1" y="72"/>
                        </a:cubicBezTo>
                        <a:cubicBezTo>
                          <a:pt x="3" y="85"/>
                          <a:pt x="7" y="95"/>
                          <a:pt x="14" y="106"/>
                        </a:cubicBezTo>
                        <a:cubicBezTo>
                          <a:pt x="17" y="111"/>
                          <a:pt x="20" y="117"/>
                          <a:pt x="22" y="122"/>
                        </a:cubicBezTo>
                        <a:cubicBezTo>
                          <a:pt x="25" y="127"/>
                          <a:pt x="26" y="135"/>
                          <a:pt x="29" y="140"/>
                        </a:cubicBezTo>
                        <a:cubicBezTo>
                          <a:pt x="31" y="144"/>
                          <a:pt x="34" y="146"/>
                          <a:pt x="38" y="147"/>
                        </a:cubicBezTo>
                        <a:cubicBezTo>
                          <a:pt x="38" y="148"/>
                          <a:pt x="38" y="148"/>
                          <a:pt x="38" y="149"/>
                        </a:cubicBezTo>
                        <a:cubicBezTo>
                          <a:pt x="43" y="149"/>
                          <a:pt x="45" y="146"/>
                          <a:pt x="49" y="144"/>
                        </a:cubicBezTo>
                        <a:cubicBezTo>
                          <a:pt x="52" y="143"/>
                          <a:pt x="57" y="142"/>
                          <a:pt x="59" y="142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7" name="Freeform 147"/>
                  <p:cNvSpPr>
                    <a:spLocks/>
                  </p:cNvSpPr>
                  <p:nvPr/>
                </p:nvSpPr>
                <p:spPr bwMode="gray">
                  <a:xfrm>
                    <a:off x="-2044700" y="-19318287"/>
                    <a:ext cx="280988" cy="176213"/>
                  </a:xfrm>
                  <a:custGeom>
                    <a:avLst/>
                    <a:gdLst/>
                    <a:ahLst/>
                    <a:cxnLst>
                      <a:cxn ang="0">
                        <a:pos x="0" y="38"/>
                      </a:cxn>
                      <a:cxn ang="0">
                        <a:pos x="75" y="1"/>
                      </a:cxn>
                      <a:cxn ang="0">
                        <a:pos x="58" y="18"/>
                      </a:cxn>
                      <a:cxn ang="0">
                        <a:pos x="40" y="34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75" h="47">
                        <a:moveTo>
                          <a:pt x="0" y="38"/>
                        </a:moveTo>
                        <a:cubicBezTo>
                          <a:pt x="20" y="17"/>
                          <a:pt x="45" y="0"/>
                          <a:pt x="75" y="1"/>
                        </a:cubicBezTo>
                        <a:cubicBezTo>
                          <a:pt x="75" y="7"/>
                          <a:pt x="62" y="15"/>
                          <a:pt x="58" y="18"/>
                        </a:cubicBezTo>
                        <a:cubicBezTo>
                          <a:pt x="52" y="23"/>
                          <a:pt x="46" y="28"/>
                          <a:pt x="40" y="34"/>
                        </a:cubicBezTo>
                        <a:cubicBezTo>
                          <a:pt x="27" y="47"/>
                          <a:pt x="16" y="38"/>
                          <a:pt x="0" y="38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8" name="Freeform 148"/>
                  <p:cNvSpPr>
                    <a:spLocks/>
                  </p:cNvSpPr>
                  <p:nvPr/>
                </p:nvSpPr>
                <p:spPr bwMode="gray">
                  <a:xfrm>
                    <a:off x="-1789113" y="-19535775"/>
                    <a:ext cx="295275" cy="117475"/>
                  </a:xfrm>
                  <a:custGeom>
                    <a:avLst/>
                    <a:gdLst/>
                    <a:ahLst/>
                    <a:cxnLst>
                      <a:cxn ang="0">
                        <a:pos x="0" y="10"/>
                      </a:cxn>
                      <a:cxn ang="0">
                        <a:pos x="39" y="16"/>
                      </a:cxn>
                      <a:cxn ang="0">
                        <a:pos x="79" y="0"/>
                      </a:cxn>
                      <a:cxn ang="0">
                        <a:pos x="55" y="14"/>
                      </a:cxn>
                      <a:cxn ang="0">
                        <a:pos x="41" y="20"/>
                      </a:cxn>
                      <a:cxn ang="0">
                        <a:pos x="13" y="29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79" h="31">
                        <a:moveTo>
                          <a:pt x="0" y="10"/>
                        </a:moveTo>
                        <a:cubicBezTo>
                          <a:pt x="5" y="19"/>
                          <a:pt x="31" y="17"/>
                          <a:pt x="39" y="16"/>
                        </a:cubicBezTo>
                        <a:cubicBezTo>
                          <a:pt x="53" y="13"/>
                          <a:pt x="66" y="4"/>
                          <a:pt x="79" y="0"/>
                        </a:cubicBezTo>
                        <a:cubicBezTo>
                          <a:pt x="77" y="5"/>
                          <a:pt x="61" y="11"/>
                          <a:pt x="55" y="14"/>
                        </a:cubicBezTo>
                        <a:cubicBezTo>
                          <a:pt x="51" y="17"/>
                          <a:pt x="46" y="18"/>
                          <a:pt x="41" y="20"/>
                        </a:cubicBezTo>
                        <a:cubicBezTo>
                          <a:pt x="33" y="24"/>
                          <a:pt x="23" y="31"/>
                          <a:pt x="13" y="29"/>
                        </a:cubicBezTo>
                        <a:cubicBezTo>
                          <a:pt x="10" y="22"/>
                          <a:pt x="7" y="14"/>
                          <a:pt x="0" y="11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  <p:sp>
                <p:nvSpPr>
                  <p:cNvPr id="1179" name="Freeform 149"/>
                  <p:cNvSpPr>
                    <a:spLocks/>
                  </p:cNvSpPr>
                  <p:nvPr/>
                </p:nvSpPr>
                <p:spPr bwMode="gray">
                  <a:xfrm>
                    <a:off x="-2052638" y="-19335750"/>
                    <a:ext cx="652463" cy="704850"/>
                  </a:xfrm>
                  <a:custGeom>
                    <a:avLst/>
                    <a:gdLst/>
                    <a:ahLst/>
                    <a:cxnLst>
                      <a:cxn ang="0">
                        <a:pos x="42" y="93"/>
                      </a:cxn>
                      <a:cxn ang="0">
                        <a:pos x="94" y="38"/>
                      </a:cxn>
                      <a:cxn ang="0">
                        <a:pos x="174" y="20"/>
                      </a:cxn>
                      <a:cxn ang="0">
                        <a:pos x="117" y="11"/>
                      </a:cxn>
                      <a:cxn ang="0">
                        <a:pos x="152" y="7"/>
                      </a:cxn>
                      <a:cxn ang="0">
                        <a:pos x="0" y="160"/>
                      </a:cxn>
                      <a:cxn ang="0">
                        <a:pos x="11" y="142"/>
                      </a:cxn>
                      <a:cxn ang="0">
                        <a:pos x="14" y="188"/>
                      </a:cxn>
                      <a:cxn ang="0">
                        <a:pos x="76" y="74"/>
                      </a:cxn>
                    </a:cxnLst>
                    <a:rect l="0" t="0" r="r" b="b"/>
                    <a:pathLst>
                      <a:path w="174" h="188">
                        <a:moveTo>
                          <a:pt x="42" y="93"/>
                        </a:moveTo>
                        <a:cubicBezTo>
                          <a:pt x="64" y="80"/>
                          <a:pt x="71" y="52"/>
                          <a:pt x="94" y="38"/>
                        </a:cubicBezTo>
                        <a:cubicBezTo>
                          <a:pt x="120" y="21"/>
                          <a:pt x="148" y="30"/>
                          <a:pt x="174" y="20"/>
                        </a:cubicBezTo>
                        <a:cubicBezTo>
                          <a:pt x="164" y="5"/>
                          <a:pt x="134" y="6"/>
                          <a:pt x="117" y="11"/>
                        </a:cubicBezTo>
                        <a:cubicBezTo>
                          <a:pt x="128" y="11"/>
                          <a:pt x="140" y="9"/>
                          <a:pt x="152" y="7"/>
                        </a:cubicBezTo>
                        <a:cubicBezTo>
                          <a:pt x="65" y="0"/>
                          <a:pt x="0" y="79"/>
                          <a:pt x="0" y="160"/>
                        </a:cubicBezTo>
                        <a:cubicBezTo>
                          <a:pt x="2" y="148"/>
                          <a:pt x="3" y="151"/>
                          <a:pt x="11" y="142"/>
                        </a:cubicBezTo>
                        <a:cubicBezTo>
                          <a:pt x="12" y="158"/>
                          <a:pt x="4" y="174"/>
                          <a:pt x="14" y="188"/>
                        </a:cubicBezTo>
                        <a:cubicBezTo>
                          <a:pt x="24" y="154"/>
                          <a:pt x="39" y="86"/>
                          <a:pt x="76" y="74"/>
                        </a:cubicBezTo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noProof="1"/>
                  </a:p>
                </p:txBody>
              </p:sp>
            </p:grpSp>
          </p:grpSp>
          <p:grpSp>
            <p:nvGrpSpPr>
              <p:cNvPr id="41" name="Gruppieren 991"/>
              <p:cNvGrpSpPr/>
              <p:nvPr/>
            </p:nvGrpSpPr>
            <p:grpSpPr bwMode="gray">
              <a:xfrm>
                <a:off x="6466988" y="2067466"/>
                <a:ext cx="423710" cy="411112"/>
                <a:chOff x="5181600" y="828675"/>
                <a:chExt cx="2936875" cy="2849562"/>
              </a:xfr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150" name="Oval 6"/>
                <p:cNvSpPr>
                  <a:spLocks noChangeArrowheads="1"/>
                </p:cNvSpPr>
                <p:nvPr/>
              </p:nvSpPr>
              <p:spPr bwMode="gray">
                <a:xfrm>
                  <a:off x="6076950" y="1682750"/>
                  <a:ext cx="1141412" cy="1139825"/>
                </a:xfrm>
                <a:prstGeom prst="ellipse">
                  <a:avLst/>
                </a:prstGeom>
                <a:solidFill>
                  <a:srgbClr val="FF0000"/>
                </a:solidFill>
                <a:ln w="14288" cap="flat">
                  <a:solidFill>
                    <a:srgbClr val="FF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1" name="Freeform 7"/>
                <p:cNvSpPr>
                  <a:spLocks/>
                </p:cNvSpPr>
                <p:nvPr/>
              </p:nvSpPr>
              <p:spPr bwMode="gray">
                <a:xfrm>
                  <a:off x="7000875" y="828675"/>
                  <a:ext cx="1117600" cy="284956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8" y="380"/>
                    </a:cxn>
                    <a:cxn ang="0">
                      <a:pos x="0" y="760"/>
                    </a:cxn>
                  </a:cxnLst>
                  <a:rect l="0" t="0" r="r" b="b"/>
                  <a:pathLst>
                    <a:path w="298" h="760">
                      <a:moveTo>
                        <a:pt x="0" y="0"/>
                      </a:moveTo>
                      <a:cubicBezTo>
                        <a:pt x="171" y="42"/>
                        <a:pt x="298" y="196"/>
                        <a:pt x="298" y="380"/>
                      </a:cubicBezTo>
                      <a:cubicBezTo>
                        <a:pt x="298" y="564"/>
                        <a:pt x="171" y="718"/>
                        <a:pt x="0" y="760"/>
                      </a:cubicBezTo>
                    </a:path>
                  </a:pathLst>
                </a:custGeom>
                <a:noFill/>
                <a:ln w="14288" cap="flat">
                  <a:solidFill>
                    <a:srgbClr val="FF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2" name="Freeform 8"/>
                <p:cNvSpPr>
                  <a:spLocks/>
                </p:cNvSpPr>
                <p:nvPr/>
              </p:nvSpPr>
              <p:spPr bwMode="gray">
                <a:xfrm>
                  <a:off x="5181600" y="828675"/>
                  <a:ext cx="1112837" cy="2849562"/>
                </a:xfrm>
                <a:custGeom>
                  <a:avLst/>
                  <a:gdLst/>
                  <a:ahLst/>
                  <a:cxnLst>
                    <a:cxn ang="0">
                      <a:pos x="297" y="760"/>
                    </a:cxn>
                    <a:cxn ang="0">
                      <a:pos x="0" y="380"/>
                    </a:cxn>
                    <a:cxn ang="0">
                      <a:pos x="297" y="0"/>
                    </a:cxn>
                  </a:cxnLst>
                  <a:rect l="0" t="0" r="r" b="b"/>
                  <a:pathLst>
                    <a:path w="297" h="760">
                      <a:moveTo>
                        <a:pt x="297" y="760"/>
                      </a:moveTo>
                      <a:cubicBezTo>
                        <a:pt x="126" y="718"/>
                        <a:pt x="0" y="564"/>
                        <a:pt x="0" y="380"/>
                      </a:cubicBezTo>
                      <a:cubicBezTo>
                        <a:pt x="0" y="196"/>
                        <a:pt x="126" y="42"/>
                        <a:pt x="297" y="0"/>
                      </a:cubicBezTo>
                    </a:path>
                  </a:pathLst>
                </a:custGeom>
                <a:noFill/>
                <a:ln w="14288" cap="flat">
                  <a:solidFill>
                    <a:srgbClr val="FF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3" name="Freeform 9"/>
                <p:cNvSpPr>
                  <a:spLocks/>
                </p:cNvSpPr>
                <p:nvPr/>
              </p:nvSpPr>
              <p:spPr bwMode="gray">
                <a:xfrm>
                  <a:off x="7000875" y="1282700"/>
                  <a:ext cx="677862" cy="194151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81" y="259"/>
                    </a:cxn>
                    <a:cxn ang="0">
                      <a:pos x="0" y="518"/>
                    </a:cxn>
                  </a:cxnLst>
                  <a:rect l="0" t="0" r="r" b="b"/>
                  <a:pathLst>
                    <a:path w="181" h="518">
                      <a:moveTo>
                        <a:pt x="0" y="0"/>
                      </a:moveTo>
                      <a:cubicBezTo>
                        <a:pt x="106" y="39"/>
                        <a:pt x="181" y="140"/>
                        <a:pt x="181" y="259"/>
                      </a:cubicBezTo>
                      <a:cubicBezTo>
                        <a:pt x="181" y="378"/>
                        <a:pt x="106" y="479"/>
                        <a:pt x="0" y="518"/>
                      </a:cubicBezTo>
                    </a:path>
                  </a:pathLst>
                </a:custGeom>
                <a:noFill/>
                <a:ln w="14288" cap="flat">
                  <a:solidFill>
                    <a:srgbClr val="FF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4" name="Freeform 10"/>
                <p:cNvSpPr>
                  <a:spLocks/>
                </p:cNvSpPr>
                <p:nvPr/>
              </p:nvSpPr>
              <p:spPr bwMode="gray">
                <a:xfrm>
                  <a:off x="5616575" y="1282700"/>
                  <a:ext cx="677862" cy="1941512"/>
                </a:xfrm>
                <a:custGeom>
                  <a:avLst/>
                  <a:gdLst/>
                  <a:ahLst/>
                  <a:cxnLst>
                    <a:cxn ang="0">
                      <a:pos x="181" y="518"/>
                    </a:cxn>
                    <a:cxn ang="0">
                      <a:pos x="0" y="259"/>
                    </a:cxn>
                    <a:cxn ang="0">
                      <a:pos x="181" y="0"/>
                    </a:cxn>
                  </a:cxnLst>
                  <a:rect l="0" t="0" r="r" b="b"/>
                  <a:pathLst>
                    <a:path w="181" h="518">
                      <a:moveTo>
                        <a:pt x="181" y="518"/>
                      </a:moveTo>
                      <a:cubicBezTo>
                        <a:pt x="75" y="479"/>
                        <a:pt x="0" y="378"/>
                        <a:pt x="0" y="259"/>
                      </a:cubicBezTo>
                      <a:cubicBezTo>
                        <a:pt x="0" y="140"/>
                        <a:pt x="75" y="39"/>
                        <a:pt x="181" y="0"/>
                      </a:cubicBezTo>
                    </a:path>
                  </a:pathLst>
                </a:custGeom>
                <a:noFill/>
                <a:ln w="14288" cap="flat">
                  <a:solidFill>
                    <a:srgbClr val="FF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353751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Overview of some marketing tools</a:t>
            </a:r>
            <a:endParaRPr lang="en-US" noProof="1" smtClean="0"/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pPr>
              <a:defRPr/>
            </a:pPr>
            <a:r>
              <a:rPr lang="en-US" noProof="1" smtClean="0"/>
              <a:t>Marketing </a:t>
            </a:r>
            <a:r>
              <a:rPr lang="en-US" b="0" noProof="1" smtClean="0"/>
              <a:t>- Classical vs. Alternative Marketing</a:t>
            </a:r>
            <a:endParaRPr lang="en-US" b="0" noProof="1"/>
          </a:p>
        </p:txBody>
      </p:sp>
      <p:grpSp>
        <p:nvGrpSpPr>
          <p:cNvPr id="29" name="Gruppieren 28"/>
          <p:cNvGrpSpPr/>
          <p:nvPr/>
        </p:nvGrpSpPr>
        <p:grpSpPr bwMode="gray">
          <a:xfrm>
            <a:off x="60976" y="1446084"/>
            <a:ext cx="8884040" cy="4296986"/>
            <a:chOff x="60976" y="1446084"/>
            <a:chExt cx="8884040" cy="4296986"/>
          </a:xfrm>
        </p:grpSpPr>
        <p:sp>
          <p:nvSpPr>
            <p:cNvPr id="3" name="Ellipse 2"/>
            <p:cNvSpPr/>
            <p:nvPr/>
          </p:nvSpPr>
          <p:spPr bwMode="gray">
            <a:xfrm>
              <a:off x="540056" y="2424182"/>
              <a:ext cx="8064392" cy="3318888"/>
            </a:xfrm>
            <a:prstGeom prst="ellipse">
              <a:avLst/>
            </a:prstGeom>
            <a:solidFill>
              <a:srgbClr val="E6E6E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71" name="Ellipse 70"/>
            <p:cNvSpPr/>
            <p:nvPr/>
          </p:nvSpPr>
          <p:spPr bwMode="gray">
            <a:xfrm>
              <a:off x="1456771" y="2618636"/>
              <a:ext cx="6230962" cy="2564342"/>
            </a:xfrm>
            <a:prstGeom prst="ellipse">
              <a:avLst/>
            </a:prstGeom>
            <a:solidFill>
              <a:srgbClr val="FFFFFF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grpSp>
          <p:nvGrpSpPr>
            <p:cNvPr id="2" name="Gruppieren 1"/>
            <p:cNvGrpSpPr/>
            <p:nvPr/>
          </p:nvGrpSpPr>
          <p:grpSpPr bwMode="gray">
            <a:xfrm>
              <a:off x="2644421" y="1446084"/>
              <a:ext cx="3855661" cy="3855661"/>
              <a:chOff x="2099733" y="987324"/>
              <a:chExt cx="4944534" cy="4944534"/>
            </a:xfrm>
          </p:grpSpPr>
          <p:sp>
            <p:nvSpPr>
              <p:cNvPr id="13" name="Ellipse 1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2099733" y="987324"/>
                <a:ext cx="4944534" cy="4944534"/>
              </a:xfrm>
              <a:prstGeom prst="ellipse">
                <a:avLst/>
              </a:prstGeom>
              <a:solidFill>
                <a:srgbClr val="AFAFAF"/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90000"/>
                  </a:srgbClr>
                </a:outerShdw>
              </a:effectLst>
              <a:scene3d>
                <a:camera prst="perspectiveFront" fov="4800000">
                  <a:rot lat="18647210" lon="18492508" rev="3509972"/>
                </a:camera>
                <a:lightRig rig="threePt" dir="t"/>
              </a:scene3d>
              <a:sp3d extrusionH="127000">
                <a:bevelT w="241300" h="152400" prst="artDeco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US" noProof="1"/>
              </a:p>
            </p:txBody>
          </p:sp>
          <p:sp>
            <p:nvSpPr>
              <p:cNvPr id="14" name="Ellipse 13" descr="© INSCALE GmbH, 26.05.2010&#10;http://www.presentationload.com/"/>
              <p:cNvSpPr/>
              <p:nvPr/>
            </p:nvSpPr>
            <p:spPr bwMode="gray">
              <a:xfrm>
                <a:off x="2515272" y="1173608"/>
                <a:ext cx="4090878" cy="4088977"/>
              </a:xfrm>
              <a:prstGeom prst="ellipse">
                <a:avLst/>
              </a:prstGeom>
              <a:gradFill flip="none" rotWithShape="1">
                <a:gsLst>
                  <a:gs pos="73000">
                    <a:schemeClr val="accent1">
                      <a:lumMod val="40000"/>
                      <a:lumOff val="60000"/>
                    </a:schemeClr>
                  </a:gs>
                  <a:gs pos="45000">
                    <a:schemeClr val="accent1">
                      <a:lumMod val="75000"/>
                    </a:schemeClr>
                  </a:gs>
                  <a:gs pos="100000">
                    <a:schemeClr val="accent1"/>
                  </a:gs>
                </a:gsLst>
                <a:lin ang="13500000" scaled="1"/>
                <a:tileRect/>
              </a:gradFill>
              <a:ln w="34925">
                <a:noFill/>
              </a:ln>
              <a:effectLst>
                <a:outerShdw blurRad="330200" dist="38100" dir="5400000" algn="t" rotWithShape="0">
                  <a:prstClr val="black">
                    <a:alpha val="61000"/>
                  </a:prstClr>
                </a:outerShdw>
              </a:effectLst>
              <a:scene3d>
                <a:camera prst="perspectiveFront" fov="4800000">
                  <a:rot lat="18647210" lon="18492508" rev="3509972"/>
                </a:camera>
                <a:lightRig rig="threePt" dir="t"/>
              </a:scene3d>
              <a:sp3d extrusionH="127000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0" tIns="0" rIns="0" bIns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US" sz="4800" b="1" noProof="1"/>
              </a:p>
            </p:txBody>
          </p:sp>
          <p:sp>
            <p:nvSpPr>
              <p:cNvPr id="15" name="Textfeld 14"/>
              <p:cNvSpPr txBox="1"/>
              <p:nvPr/>
            </p:nvSpPr>
            <p:spPr bwMode="gray">
              <a:xfrm>
                <a:off x="2815769" y="2860571"/>
                <a:ext cx="3528002" cy="907799"/>
              </a:xfrm>
              <a:prstGeom prst="rect">
                <a:avLst/>
              </a:prstGeom>
              <a:noFill/>
              <a:scene3d>
                <a:camera prst="perspectiveRelaxedModerately" fov="4800000">
                  <a:rot lat="18890638" lon="0" rev="0"/>
                </a:camera>
                <a:lightRig rig="threePt" dir="t"/>
              </a:scene3d>
            </p:spPr>
            <p:txBody>
              <a:bodyPr wrap="none" rtlCol="0">
                <a:spAutoFit/>
                <a:scene3d>
                  <a:camera prst="perspectiveRelaxedModerately" fov="4800000">
                    <a:rot lat="18890638" lon="0" rev="0"/>
                  </a:camera>
                  <a:lightRig rig="threePt" dir="t"/>
                </a:scene3d>
              </a:bodyPr>
              <a:lstStyle/>
              <a:p>
                <a:pPr algn="ctr"/>
                <a:r>
                  <a:rPr lang="en-US" sz="4000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MARKETING</a:t>
                </a:r>
                <a:endParaRPr lang="en-US" sz="4000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25" name="Rechteck 24"/>
            <p:cNvSpPr/>
            <p:nvPr/>
          </p:nvSpPr>
          <p:spPr bwMode="gray">
            <a:xfrm>
              <a:off x="696318" y="4776932"/>
              <a:ext cx="2760114" cy="40011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Classical advertisement </a:t>
              </a: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2092188" y="2427585"/>
              <a:ext cx="1171218" cy="27699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Public relations</a:t>
              </a:r>
            </a:p>
          </p:txBody>
        </p:sp>
        <p:sp>
          <p:nvSpPr>
            <p:cNvPr id="43" name="Rechteck 42"/>
            <p:cNvSpPr/>
            <p:nvPr/>
          </p:nvSpPr>
          <p:spPr bwMode="gray">
            <a:xfrm>
              <a:off x="2946326" y="5219416"/>
              <a:ext cx="1801489" cy="52322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ponsoring</a:t>
              </a:r>
            </a:p>
          </p:txBody>
        </p:sp>
        <p:sp>
          <p:nvSpPr>
            <p:cNvPr id="44" name="Rechteck 43"/>
            <p:cNvSpPr/>
            <p:nvPr/>
          </p:nvSpPr>
          <p:spPr bwMode="gray">
            <a:xfrm>
              <a:off x="4614186" y="5090728"/>
              <a:ext cx="2527278" cy="461665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Event marketing</a:t>
              </a:r>
            </a:p>
          </p:txBody>
        </p:sp>
        <p:sp>
          <p:nvSpPr>
            <p:cNvPr id="45" name="Rechteck 44"/>
            <p:cNvSpPr/>
            <p:nvPr/>
          </p:nvSpPr>
          <p:spPr bwMode="gray">
            <a:xfrm>
              <a:off x="6158446" y="4681883"/>
              <a:ext cx="2425086" cy="36933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Fairs / Exhibitions</a:t>
              </a:r>
            </a:p>
          </p:txBody>
        </p:sp>
        <p:sp>
          <p:nvSpPr>
            <p:cNvPr id="46" name="Rechteck 45"/>
            <p:cNvSpPr/>
            <p:nvPr/>
          </p:nvSpPr>
          <p:spPr bwMode="gray">
            <a:xfrm>
              <a:off x="6838733" y="4105661"/>
              <a:ext cx="1982209" cy="36933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Product placement</a:t>
              </a: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7092392" y="3685250"/>
              <a:ext cx="1728550" cy="33855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6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ales promotion</a:t>
              </a:r>
            </a:p>
          </p:txBody>
        </p:sp>
        <p:sp>
          <p:nvSpPr>
            <p:cNvPr id="48" name="Rechteck 47"/>
            <p:cNvSpPr/>
            <p:nvPr/>
          </p:nvSpPr>
          <p:spPr bwMode="gray">
            <a:xfrm>
              <a:off x="7164288" y="3203607"/>
              <a:ext cx="1780728" cy="33855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Direct marketing</a:t>
              </a: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6623241" y="2895830"/>
              <a:ext cx="1490793" cy="30777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Mobile marketing</a:t>
              </a:r>
            </a:p>
          </p:txBody>
        </p:sp>
        <p:sp>
          <p:nvSpPr>
            <p:cNvPr id="50" name="Rechteck 49"/>
            <p:cNvSpPr/>
            <p:nvPr/>
          </p:nvSpPr>
          <p:spPr bwMode="gray">
            <a:xfrm>
              <a:off x="323850" y="4188372"/>
              <a:ext cx="1614678" cy="36933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Print media</a:t>
              </a: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60976" y="3561128"/>
              <a:ext cx="1932416" cy="33855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Radio / TV / Movies</a:t>
              </a: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394599" y="2742564"/>
              <a:ext cx="2129146" cy="52322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Outside advertisement  / </a:t>
              </a:r>
              <a:b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</a:br>
              <a: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Billboard advertisement </a:t>
              </a:r>
              <a:endParaRPr lang="en-US" sz="1400" noProof="1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  <p:sp>
          <p:nvSpPr>
            <p:cNvPr id="53" name="Rechteck 52"/>
            <p:cNvSpPr/>
            <p:nvPr/>
          </p:nvSpPr>
          <p:spPr bwMode="gray">
            <a:xfrm>
              <a:off x="6158446" y="2591184"/>
              <a:ext cx="1321195" cy="30777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earch engines</a:t>
              </a: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3782359" y="2295135"/>
              <a:ext cx="1357102" cy="27699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Guerilla marketing</a:t>
              </a: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258534" y="1555750"/>
              <a:ext cx="264460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b="1" noProof="1" smtClean="0"/>
                <a:t>Classical Marketing</a:t>
              </a:r>
              <a:endParaRPr lang="en-US" sz="2000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6026346" y="1570740"/>
              <a:ext cx="279459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2000" b="1" noProof="1" smtClean="0"/>
                <a:t>Alternative Marketing</a:t>
              </a:r>
              <a:endParaRPr lang="en-US" sz="2000" noProof="1"/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5187800" y="2341637"/>
              <a:ext cx="1312282" cy="276999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Viral marketing </a:t>
              </a:r>
              <a:endParaRPr lang="en-US" sz="1200" noProof="1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349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Value that the customer is prepared to pay for the services of a company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The Value Chain</a:t>
            </a:r>
            <a:endParaRPr lang="en-US" b="0" noProof="1" smtClean="0"/>
          </a:p>
        </p:txBody>
      </p:sp>
      <p:grpSp>
        <p:nvGrpSpPr>
          <p:cNvPr id="20" name="Gruppieren 19"/>
          <p:cNvGrpSpPr/>
          <p:nvPr/>
        </p:nvGrpSpPr>
        <p:grpSpPr>
          <a:xfrm>
            <a:off x="293429" y="1566637"/>
            <a:ext cx="8526721" cy="4344536"/>
            <a:chOff x="293429" y="1566637"/>
            <a:chExt cx="8526721" cy="4344536"/>
          </a:xfrm>
        </p:grpSpPr>
        <p:sp>
          <p:nvSpPr>
            <p:cNvPr id="39" name="Rechteck 38"/>
            <p:cNvSpPr/>
            <p:nvPr/>
          </p:nvSpPr>
          <p:spPr bwMode="gray">
            <a:xfrm rot="16200000">
              <a:off x="-1448675" y="3354203"/>
              <a:ext cx="385354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noProof="1" smtClean="0">
                  <a:cs typeface="Arial" charset="0"/>
                </a:rPr>
                <a:t>Support Activities</a:t>
              </a:r>
            </a:p>
          </p:txBody>
        </p:sp>
        <p:grpSp>
          <p:nvGrpSpPr>
            <p:cNvPr id="2" name="Gruppieren 1"/>
            <p:cNvGrpSpPr/>
            <p:nvPr/>
          </p:nvGrpSpPr>
          <p:grpSpPr bwMode="gray">
            <a:xfrm>
              <a:off x="728078" y="1566637"/>
              <a:ext cx="8092072" cy="4344536"/>
              <a:chOff x="1524682" y="1588409"/>
              <a:chExt cx="7295468" cy="4344536"/>
            </a:xfrm>
          </p:grpSpPr>
          <p:sp>
            <p:nvSpPr>
              <p:cNvPr id="1032" name="Freeform 8"/>
              <p:cNvSpPr>
                <a:spLocks/>
              </p:cNvSpPr>
              <p:nvPr/>
            </p:nvSpPr>
            <p:spPr bwMode="gray">
              <a:xfrm>
                <a:off x="1524682" y="1588409"/>
                <a:ext cx="5841092" cy="487185"/>
              </a:xfrm>
              <a:custGeom>
                <a:avLst/>
                <a:gdLst/>
                <a:ahLst/>
                <a:cxnLst>
                  <a:cxn ang="0">
                    <a:pos x="5407" y="0"/>
                  </a:cxn>
                  <a:cxn ang="0">
                    <a:pos x="0" y="0"/>
                  </a:cxn>
                  <a:cxn ang="0">
                    <a:pos x="0" y="475"/>
                  </a:cxn>
                  <a:cxn ang="0">
                    <a:pos x="5695" y="475"/>
                  </a:cxn>
                  <a:cxn ang="0">
                    <a:pos x="5407" y="0"/>
                  </a:cxn>
                </a:cxnLst>
                <a:rect l="0" t="0" r="r" b="b"/>
                <a:pathLst>
                  <a:path w="5695" h="475">
                    <a:moveTo>
                      <a:pt x="5407" y="0"/>
                    </a:moveTo>
                    <a:lnTo>
                      <a:pt x="0" y="0"/>
                    </a:lnTo>
                    <a:lnTo>
                      <a:pt x="0" y="475"/>
                    </a:lnTo>
                    <a:lnTo>
                      <a:pt x="5695" y="475"/>
                    </a:lnTo>
                    <a:lnTo>
                      <a:pt x="5407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Infrastructure management</a:t>
                </a:r>
              </a:p>
            </p:txBody>
          </p:sp>
          <p:sp>
            <p:nvSpPr>
              <p:cNvPr id="1035" name="Freeform 11"/>
              <p:cNvSpPr>
                <a:spLocks/>
              </p:cNvSpPr>
              <p:nvPr/>
            </p:nvSpPr>
            <p:spPr bwMode="gray">
              <a:xfrm>
                <a:off x="1524682" y="2075594"/>
                <a:ext cx="6137506" cy="484108"/>
              </a:xfrm>
              <a:custGeom>
                <a:avLst/>
                <a:gdLst/>
                <a:ahLst/>
                <a:cxnLst>
                  <a:cxn ang="0">
                    <a:pos x="5695" y="0"/>
                  </a:cxn>
                  <a:cxn ang="0">
                    <a:pos x="0" y="0"/>
                  </a:cxn>
                  <a:cxn ang="0">
                    <a:pos x="0" y="472"/>
                  </a:cxn>
                  <a:cxn ang="0">
                    <a:pos x="5984" y="472"/>
                  </a:cxn>
                  <a:cxn ang="0">
                    <a:pos x="5695" y="0"/>
                  </a:cxn>
                </a:cxnLst>
                <a:rect l="0" t="0" r="r" b="b"/>
                <a:pathLst>
                  <a:path w="5984" h="472">
                    <a:moveTo>
                      <a:pt x="5695" y="0"/>
                    </a:moveTo>
                    <a:lnTo>
                      <a:pt x="0" y="0"/>
                    </a:lnTo>
                    <a:lnTo>
                      <a:pt x="0" y="472"/>
                    </a:lnTo>
                    <a:lnTo>
                      <a:pt x="5984" y="472"/>
                    </a:lnTo>
                    <a:lnTo>
                      <a:pt x="569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288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Personal management</a:t>
                </a:r>
              </a:p>
            </p:txBody>
          </p:sp>
          <p:sp>
            <p:nvSpPr>
              <p:cNvPr id="1034" name="Freeform 10"/>
              <p:cNvSpPr>
                <a:spLocks/>
              </p:cNvSpPr>
              <p:nvPr/>
            </p:nvSpPr>
            <p:spPr bwMode="gray">
              <a:xfrm>
                <a:off x="1524682" y="2559703"/>
                <a:ext cx="6432894" cy="4871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75"/>
                  </a:cxn>
                  <a:cxn ang="0">
                    <a:pos x="6272" y="475"/>
                  </a:cxn>
                  <a:cxn ang="0">
                    <a:pos x="5984" y="0"/>
                  </a:cxn>
                  <a:cxn ang="0">
                    <a:pos x="0" y="0"/>
                  </a:cxn>
                </a:cxnLst>
                <a:rect l="0" t="0" r="r" b="b"/>
                <a:pathLst>
                  <a:path w="6272" h="475">
                    <a:moveTo>
                      <a:pt x="0" y="0"/>
                    </a:moveTo>
                    <a:lnTo>
                      <a:pt x="0" y="475"/>
                    </a:lnTo>
                    <a:lnTo>
                      <a:pt x="6272" y="475"/>
                    </a:lnTo>
                    <a:lnTo>
                      <a:pt x="5984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576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Technology development</a:t>
                </a:r>
              </a:p>
            </p:txBody>
          </p:sp>
          <p:sp>
            <p:nvSpPr>
              <p:cNvPr id="1033" name="Freeform 9"/>
              <p:cNvSpPr>
                <a:spLocks/>
              </p:cNvSpPr>
              <p:nvPr/>
            </p:nvSpPr>
            <p:spPr bwMode="gray">
              <a:xfrm>
                <a:off x="1524682" y="3046887"/>
                <a:ext cx="6728282" cy="485134"/>
              </a:xfrm>
              <a:custGeom>
                <a:avLst/>
                <a:gdLst/>
                <a:ahLst/>
                <a:cxnLst>
                  <a:cxn ang="0">
                    <a:pos x="0" y="473"/>
                  </a:cxn>
                  <a:cxn ang="0">
                    <a:pos x="6560" y="473"/>
                  </a:cxn>
                  <a:cxn ang="0">
                    <a:pos x="6272" y="0"/>
                  </a:cxn>
                  <a:cxn ang="0">
                    <a:pos x="0" y="0"/>
                  </a:cxn>
                  <a:cxn ang="0">
                    <a:pos x="0" y="473"/>
                  </a:cxn>
                </a:cxnLst>
                <a:rect l="0" t="0" r="r" b="b"/>
                <a:pathLst>
                  <a:path w="6560" h="473">
                    <a:moveTo>
                      <a:pt x="0" y="473"/>
                    </a:moveTo>
                    <a:lnTo>
                      <a:pt x="6560" y="473"/>
                    </a:lnTo>
                    <a:lnTo>
                      <a:pt x="6272" y="0"/>
                    </a:lnTo>
                    <a:lnTo>
                      <a:pt x="0" y="0"/>
                    </a:lnTo>
                    <a:lnTo>
                      <a:pt x="0" y="47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900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b="1" noProof="1" smtClean="0">
                    <a:solidFill>
                      <a:srgbClr val="000000"/>
                    </a:solidFill>
                    <a:cs typeface="Arial" charset="0"/>
                  </a:rPr>
                  <a:t>Procurement</a:t>
                </a:r>
              </a:p>
            </p:txBody>
          </p:sp>
          <p:sp>
            <p:nvSpPr>
              <p:cNvPr id="1037" name="Rectangle 13"/>
              <p:cNvSpPr>
                <a:spLocks noChangeArrowheads="1"/>
              </p:cNvSpPr>
              <p:nvPr/>
            </p:nvSpPr>
            <p:spPr bwMode="gray">
              <a:xfrm>
                <a:off x="1524682" y="3532021"/>
                <a:ext cx="1211296" cy="1942587"/>
              </a:xfrm>
              <a:prstGeom prst="rect">
                <a:avLst/>
              </a:prstGeom>
              <a:gradFill flip="none" rotWithShape="1">
                <a:gsLst>
                  <a:gs pos="0">
                    <a:srgbClr val="969696"/>
                  </a:gs>
                  <a:gs pos="100000">
                    <a:srgbClr val="D7D7D7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0" rIns="36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Input </a:t>
                </a:r>
                <a:b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logistics</a:t>
                </a:r>
              </a:p>
            </p:txBody>
          </p:sp>
          <p:sp>
            <p:nvSpPr>
              <p:cNvPr id="1036" name="Rectangle 12"/>
              <p:cNvSpPr>
                <a:spLocks noChangeArrowheads="1"/>
              </p:cNvSpPr>
              <p:nvPr/>
            </p:nvSpPr>
            <p:spPr bwMode="gray">
              <a:xfrm>
                <a:off x="2735978" y="3532021"/>
                <a:ext cx="1148731" cy="1942587"/>
              </a:xfrm>
              <a:prstGeom prst="rect">
                <a:avLst/>
              </a:prstGeom>
              <a:gradFill flip="none" rotWithShape="1">
                <a:gsLst>
                  <a:gs pos="0">
                    <a:srgbClr val="969696"/>
                  </a:gs>
                  <a:gs pos="100000">
                    <a:srgbClr val="D7D7D7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0" rIns="36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Operation</a:t>
                </a:r>
              </a:p>
            </p:txBody>
          </p:sp>
          <p:sp>
            <p:nvSpPr>
              <p:cNvPr id="1038" name="Rectangle 14"/>
              <p:cNvSpPr>
                <a:spLocks noChangeArrowheads="1"/>
              </p:cNvSpPr>
              <p:nvPr/>
            </p:nvSpPr>
            <p:spPr bwMode="gray">
              <a:xfrm>
                <a:off x="3884709" y="3532021"/>
                <a:ext cx="1175398" cy="1942587"/>
              </a:xfrm>
              <a:prstGeom prst="rect">
                <a:avLst/>
              </a:prstGeom>
              <a:gradFill flip="none" rotWithShape="1">
                <a:gsLst>
                  <a:gs pos="0">
                    <a:srgbClr val="969696"/>
                  </a:gs>
                  <a:gs pos="100000">
                    <a:srgbClr val="D7D7D7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0" rIns="36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Output logistics</a:t>
                </a:r>
              </a:p>
            </p:txBody>
          </p:sp>
          <p:sp>
            <p:nvSpPr>
              <p:cNvPr id="1039" name="Rectangle 15"/>
              <p:cNvSpPr>
                <a:spLocks noChangeArrowheads="1"/>
              </p:cNvSpPr>
              <p:nvPr/>
            </p:nvSpPr>
            <p:spPr bwMode="gray">
              <a:xfrm>
                <a:off x="5060107" y="3532021"/>
                <a:ext cx="1310784" cy="1942587"/>
              </a:xfrm>
              <a:prstGeom prst="rect">
                <a:avLst/>
              </a:prstGeom>
              <a:gradFill flip="none" rotWithShape="1">
                <a:gsLst>
                  <a:gs pos="0">
                    <a:srgbClr val="969696"/>
                  </a:gs>
                  <a:gs pos="100000">
                    <a:srgbClr val="D7D7D7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0" rIns="36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Marketing </a:t>
                </a:r>
                <a:b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and Sales</a:t>
                </a:r>
              </a:p>
            </p:txBody>
          </p:sp>
          <p:sp>
            <p:nvSpPr>
              <p:cNvPr id="1040" name="Freeform 16"/>
              <p:cNvSpPr>
                <a:spLocks/>
              </p:cNvSpPr>
              <p:nvPr/>
            </p:nvSpPr>
            <p:spPr bwMode="gray">
              <a:xfrm>
                <a:off x="6370891" y="3532021"/>
                <a:ext cx="1882073" cy="1942587"/>
              </a:xfrm>
              <a:custGeom>
                <a:avLst/>
                <a:gdLst/>
                <a:ahLst/>
                <a:cxnLst>
                  <a:cxn ang="0">
                    <a:pos x="1835" y="0"/>
                  </a:cxn>
                  <a:cxn ang="0">
                    <a:pos x="0" y="0"/>
                  </a:cxn>
                  <a:cxn ang="0">
                    <a:pos x="0" y="1894"/>
                  </a:cxn>
                  <a:cxn ang="0">
                    <a:pos x="682" y="1894"/>
                  </a:cxn>
                  <a:cxn ang="0">
                    <a:pos x="1835" y="0"/>
                  </a:cxn>
                </a:cxnLst>
                <a:rect l="0" t="0" r="r" b="b"/>
                <a:pathLst>
                  <a:path w="1835" h="1894">
                    <a:moveTo>
                      <a:pt x="1835" y="0"/>
                    </a:moveTo>
                    <a:lnTo>
                      <a:pt x="0" y="0"/>
                    </a:lnTo>
                    <a:lnTo>
                      <a:pt x="0" y="1894"/>
                    </a:lnTo>
                    <a:lnTo>
                      <a:pt x="682" y="1894"/>
                    </a:lnTo>
                    <a:lnTo>
                      <a:pt x="183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69696"/>
                  </a:gs>
                  <a:gs pos="100000">
                    <a:srgbClr val="D7D7D7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972000" bIns="0" anchor="ctr" anchorCtr="0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cs typeface="Arial" charset="0"/>
                  </a:rPr>
                  <a:t>Service</a:t>
                </a:r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gray">
              <a:xfrm>
                <a:off x="7070386" y="1588409"/>
                <a:ext cx="1749764" cy="3886199"/>
              </a:xfrm>
              <a:custGeom>
                <a:avLst/>
                <a:gdLst/>
                <a:ahLst/>
                <a:cxnLst>
                  <a:cxn ang="0">
                    <a:pos x="1706" y="1895"/>
                  </a:cxn>
                  <a:cxn ang="0">
                    <a:pos x="551" y="0"/>
                  </a:cxn>
                  <a:cxn ang="0">
                    <a:pos x="0" y="0"/>
                  </a:cxn>
                  <a:cxn ang="0">
                    <a:pos x="1153" y="1895"/>
                  </a:cxn>
                  <a:cxn ang="0">
                    <a:pos x="0" y="3789"/>
                  </a:cxn>
                  <a:cxn ang="0">
                    <a:pos x="551" y="3789"/>
                  </a:cxn>
                  <a:cxn ang="0">
                    <a:pos x="1706" y="1895"/>
                  </a:cxn>
                </a:cxnLst>
                <a:rect l="0" t="0" r="r" b="b"/>
                <a:pathLst>
                  <a:path w="1706" h="3789">
                    <a:moveTo>
                      <a:pt x="1706" y="1895"/>
                    </a:moveTo>
                    <a:lnTo>
                      <a:pt x="551" y="0"/>
                    </a:lnTo>
                    <a:lnTo>
                      <a:pt x="0" y="0"/>
                    </a:lnTo>
                    <a:lnTo>
                      <a:pt x="1153" y="1895"/>
                    </a:lnTo>
                    <a:lnTo>
                      <a:pt x="0" y="3789"/>
                    </a:lnTo>
                    <a:lnTo>
                      <a:pt x="551" y="3789"/>
                    </a:lnTo>
                    <a:lnTo>
                      <a:pt x="1706" y="1895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7" name="Rechteck 36"/>
              <p:cNvSpPr/>
              <p:nvPr/>
            </p:nvSpPr>
            <p:spPr bwMode="gray">
              <a:xfrm rot="3348826">
                <a:off x="7644494" y="2481140"/>
                <a:ext cx="653123" cy="249731"/>
              </a:xfrm>
              <a:prstGeom prst="rect">
                <a:avLst/>
              </a:prstGeom>
            </p:spPr>
            <p:txBody>
              <a:bodyPr wrap="none" lIns="0" tIns="0" rIns="36000" bIns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Marge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hteck 37"/>
              <p:cNvSpPr/>
              <p:nvPr/>
            </p:nvSpPr>
            <p:spPr bwMode="gray">
              <a:xfrm rot="18260858">
                <a:off x="7631013" y="4357897"/>
                <a:ext cx="653123" cy="249731"/>
              </a:xfrm>
              <a:prstGeom prst="rect">
                <a:avLst/>
              </a:prstGeom>
            </p:spPr>
            <p:txBody>
              <a:bodyPr wrap="none" lIns="0" tIns="0" rIns="36000" bIns="0"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Marge</a:t>
                </a:r>
                <a:endParaRPr lang="en-US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hteck 39"/>
              <p:cNvSpPr/>
              <p:nvPr/>
            </p:nvSpPr>
            <p:spPr bwMode="gray">
              <a:xfrm>
                <a:off x="1711153" y="5563613"/>
                <a:ext cx="554570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noProof="1" smtClean="0">
                    <a:cs typeface="Arial" charset="0"/>
                  </a:rPr>
                  <a:t>Main Activiti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58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21"/>
          <p:cNvGrpSpPr/>
          <p:nvPr/>
        </p:nvGrpSpPr>
        <p:grpSpPr>
          <a:xfrm>
            <a:off x="323851" y="3064322"/>
            <a:ext cx="8497091" cy="2730490"/>
            <a:chOff x="323851" y="2422791"/>
            <a:chExt cx="8497091" cy="2730490"/>
          </a:xfrm>
        </p:grpSpPr>
        <p:grpSp>
          <p:nvGrpSpPr>
            <p:cNvPr id="4" name="Gruppieren 9"/>
            <p:cNvGrpSpPr/>
            <p:nvPr/>
          </p:nvGrpSpPr>
          <p:grpSpPr bwMode="gray">
            <a:xfrm>
              <a:off x="323851" y="3768286"/>
              <a:ext cx="8497091" cy="1384995"/>
              <a:chOff x="323850" y="3319788"/>
              <a:chExt cx="12450474" cy="1384995"/>
            </a:xfrm>
          </p:grpSpPr>
          <p:sp>
            <p:nvSpPr>
              <p:cNvPr id="6" name="Rechteck 5"/>
              <p:cNvSpPr/>
              <p:nvPr/>
            </p:nvSpPr>
            <p:spPr bwMode="gray">
              <a:xfrm>
                <a:off x="323850" y="3319788"/>
                <a:ext cx="1948502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 smtClean="0"/>
                  <a:t>Contact</a:t>
                </a:r>
                <a:r>
                  <a:rPr lang="en-US" b="1" noProof="1" smtClean="0"/>
                  <a:t> </a:t>
                </a:r>
                <a:br>
                  <a:rPr lang="en-US" b="1" noProof="1" smtClean="0"/>
                </a:br>
                <a:r>
                  <a:rPr lang="en-US" sz="1200" noProof="1" smtClean="0"/>
                  <a:t>Is the </a:t>
                </a:r>
                <a:br>
                  <a:rPr lang="en-US" sz="1200" noProof="1" smtClean="0"/>
                </a:br>
                <a:r>
                  <a:rPr lang="en-US" sz="1200" noProof="1" smtClean="0"/>
                  <a:t>advertising recognized?</a:t>
                </a:r>
                <a:endParaRPr lang="en-US" sz="1400" noProof="1"/>
              </a:p>
            </p:txBody>
          </p:sp>
          <p:sp>
            <p:nvSpPr>
              <p:cNvPr id="7" name="Rechteck 6"/>
              <p:cNvSpPr/>
              <p:nvPr/>
            </p:nvSpPr>
            <p:spPr bwMode="gray">
              <a:xfrm>
                <a:off x="2267744" y="3319788"/>
                <a:ext cx="1948502" cy="1384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 smtClean="0"/>
                  <a:t>Acceptance</a:t>
                </a:r>
                <a:r>
                  <a:rPr lang="en-US" b="1" noProof="1" smtClean="0"/>
                  <a:t/>
                </a:r>
                <a:br>
                  <a:rPr lang="en-US" b="1" noProof="1" smtClean="0"/>
                </a:br>
                <a:r>
                  <a:rPr lang="en-US" sz="1200" noProof="1" smtClean="0"/>
                  <a:t>Is</a:t>
                </a:r>
                <a:r>
                  <a:rPr lang="en-US" b="1" noProof="1" smtClean="0"/>
                  <a:t> </a:t>
                </a:r>
                <a:r>
                  <a:rPr lang="en-US" sz="1200" noProof="1" smtClean="0"/>
                  <a:t>the promotional information recognized quickly?</a:t>
                </a:r>
                <a:endParaRPr lang="en-US" sz="1400" noProof="1"/>
              </a:p>
            </p:txBody>
          </p:sp>
          <p:sp>
            <p:nvSpPr>
              <p:cNvPr id="8" name="Rechteck 7"/>
              <p:cNvSpPr/>
              <p:nvPr/>
            </p:nvSpPr>
            <p:spPr bwMode="gray">
              <a:xfrm>
                <a:off x="4216247" y="3319788"/>
                <a:ext cx="2160169" cy="10772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 smtClean="0"/>
                  <a:t>Understanding</a:t>
                </a:r>
                <a:r>
                  <a:rPr lang="en-US" b="1" noProof="1" smtClean="0"/>
                  <a:t/>
                </a:r>
                <a:br>
                  <a:rPr lang="en-US" b="1" noProof="1" smtClean="0"/>
                </a:br>
                <a:r>
                  <a:rPr lang="en-US" sz="1200" noProof="1" smtClean="0"/>
                  <a:t> Is the advertising message instantly understood by the target group?</a:t>
                </a:r>
                <a:endParaRPr lang="en-US" sz="1400" noProof="1"/>
              </a:p>
            </p:txBody>
          </p:sp>
          <p:sp>
            <p:nvSpPr>
              <p:cNvPr id="9" name="Rechteck 8"/>
              <p:cNvSpPr/>
              <p:nvPr/>
            </p:nvSpPr>
            <p:spPr bwMode="gray">
              <a:xfrm>
                <a:off x="6372200" y="3319788"/>
                <a:ext cx="2160169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 smtClean="0"/>
                  <a:t>Storage</a:t>
                </a:r>
                <a:r>
                  <a:rPr lang="en-US" b="1" noProof="1" smtClean="0"/>
                  <a:t/>
                </a:r>
                <a:br>
                  <a:rPr lang="en-US" b="1" noProof="1" smtClean="0"/>
                </a:br>
                <a:r>
                  <a:rPr lang="en-US" sz="1200" noProof="1" smtClean="0"/>
                  <a:t>Is the core </a:t>
                </a:r>
                <a:br>
                  <a:rPr lang="en-US" sz="1200" noProof="1" smtClean="0"/>
                </a:br>
                <a:r>
                  <a:rPr lang="en-US" sz="1200" noProof="1" smtClean="0"/>
                  <a:t>message easily absorbed?</a:t>
                </a:r>
                <a:endParaRPr lang="en-US" sz="1400" noProof="1"/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8470218" y="3319788"/>
                <a:ext cx="2160169" cy="12926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/>
                  <a:t>Attitude</a:t>
                </a:r>
                <a:r>
                  <a:rPr lang="en-US" b="1" noProof="1" smtClean="0"/>
                  <a:t/>
                </a:r>
                <a:br>
                  <a:rPr lang="en-US" b="1" noProof="1" smtClean="0"/>
                </a:br>
                <a:r>
                  <a:rPr lang="en-US" sz="1200" noProof="1" smtClean="0"/>
                  <a:t>Is the advertising message </a:t>
                </a:r>
                <a:br>
                  <a:rPr lang="en-US" sz="1200" noProof="1" smtClean="0"/>
                </a:br>
                <a:r>
                  <a:rPr lang="en-US" sz="1200" noProof="1" smtClean="0"/>
                  <a:t>credible, </a:t>
                </a:r>
                <a:br>
                  <a:rPr lang="en-US" sz="1200" noProof="1" smtClean="0"/>
                </a:br>
                <a:r>
                  <a:rPr lang="en-US" sz="1200" noProof="1" smtClean="0"/>
                  <a:t>likeable, prestigious?</a:t>
                </a:r>
                <a:endParaRPr lang="en-US" sz="1400" noProof="1"/>
              </a:p>
            </p:txBody>
          </p:sp>
          <p:sp>
            <p:nvSpPr>
              <p:cNvPr id="12" name="Rechteck 11"/>
              <p:cNvSpPr/>
              <p:nvPr/>
            </p:nvSpPr>
            <p:spPr bwMode="gray">
              <a:xfrm>
                <a:off x="10614155" y="3319788"/>
                <a:ext cx="2160169" cy="11079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noProof="1" smtClean="0"/>
                  <a:t>Action</a:t>
                </a:r>
                <a:r>
                  <a:rPr lang="en-US" b="1" noProof="1" smtClean="0"/>
                  <a:t/>
                </a:r>
                <a:br>
                  <a:rPr lang="en-US" b="1" noProof="1" smtClean="0"/>
                </a:br>
                <a:r>
                  <a:rPr lang="en-US" sz="1200" noProof="1" smtClean="0"/>
                  <a:t>Purchase due </a:t>
                </a:r>
                <a:br>
                  <a:rPr lang="en-US" sz="1200" noProof="1" smtClean="0"/>
                </a:br>
                <a:r>
                  <a:rPr lang="en-US" sz="1200" noProof="1" smtClean="0"/>
                  <a:t>to the positive perception of </a:t>
                </a:r>
                <a:br>
                  <a:rPr lang="en-US" sz="1200" noProof="1" smtClean="0"/>
                </a:br>
                <a:r>
                  <a:rPr lang="en-US" sz="1200" noProof="1" smtClean="0"/>
                  <a:t>the consumer.</a:t>
                </a:r>
                <a:endParaRPr lang="en-US" sz="1400" noProof="1"/>
              </a:p>
            </p:txBody>
          </p:sp>
        </p:grpSp>
        <p:grpSp>
          <p:nvGrpSpPr>
            <p:cNvPr id="10" name="Gruppieren 28"/>
            <p:cNvGrpSpPr/>
            <p:nvPr/>
          </p:nvGrpSpPr>
          <p:grpSpPr>
            <a:xfrm>
              <a:off x="323851" y="2422791"/>
              <a:ext cx="8208311" cy="1081663"/>
              <a:chOff x="323851" y="2422791"/>
              <a:chExt cx="8208311" cy="1081663"/>
            </a:xfrm>
          </p:grpSpPr>
          <p:sp>
            <p:nvSpPr>
              <p:cNvPr id="13" name="Pfeil nach rechts 12"/>
              <p:cNvSpPr/>
              <p:nvPr/>
            </p:nvSpPr>
            <p:spPr bwMode="gray">
              <a:xfrm>
                <a:off x="323851" y="2422791"/>
                <a:ext cx="7995650" cy="896997"/>
              </a:xfrm>
              <a:prstGeom prst="rightArrow">
                <a:avLst>
                  <a:gd name="adj1" fmla="val 50000"/>
                  <a:gd name="adj2" fmla="val 103009"/>
                </a:avLst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</a:gra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perspectiveRelaxedModerately">
                  <a:rot lat="19800000" lon="0" rev="0"/>
                </a:camera>
                <a:lightRig rig="balanced" dir="t"/>
              </a:scene3d>
            </p:spPr>
            <p:txBody>
              <a:bodyPr rtlCol="0" anchor="ctr"/>
              <a:lstStyle/>
              <a:p>
                <a:pPr algn="ctr"/>
                <a:endParaRPr lang="en-US" noProof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Textfeld 13"/>
              <p:cNvSpPr txBox="1"/>
              <p:nvPr/>
            </p:nvSpPr>
            <p:spPr bwMode="gray">
              <a:xfrm>
                <a:off x="3709234" y="2677572"/>
                <a:ext cx="1180580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perspectiveRelaxedModerately"/>
                  <a:lightRig rig="threePt" dir="t"/>
                </a:scene3d>
              </a:bodyPr>
              <a:lstStyle/>
              <a:p>
                <a:r>
                  <a:rPr lang="en-US" sz="2000" b="1" noProof="1" smtClean="0">
                    <a:solidFill>
                      <a:srgbClr val="FFFFFF"/>
                    </a:solidFill>
                  </a:rPr>
                  <a:t>DAGMAR</a:t>
                </a:r>
                <a:endParaRPr lang="en-US" sz="20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Textfeld 17"/>
              <p:cNvSpPr txBox="1"/>
              <p:nvPr/>
            </p:nvSpPr>
            <p:spPr bwMode="gray">
              <a:xfrm>
                <a:off x="979621" y="3135122"/>
                <a:ext cx="134434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perspectiveRelaxedModerately">
                    <a:rot lat="19800000" lon="0" rev="0"/>
                  </a:camera>
                  <a:lightRig rig="threePt" dir="t"/>
                </a:scene3d>
              </a:bodyPr>
              <a:lstStyle/>
              <a:p>
                <a:r>
                  <a:rPr lang="en-US" noProof="1" smtClean="0"/>
                  <a:t>AWARENESS</a:t>
                </a:r>
                <a:endParaRPr lang="en-US" noProof="1"/>
              </a:p>
            </p:txBody>
          </p:sp>
          <p:sp>
            <p:nvSpPr>
              <p:cNvPr id="19" name="Textfeld 18"/>
              <p:cNvSpPr txBox="1"/>
              <p:nvPr/>
            </p:nvSpPr>
            <p:spPr bwMode="gray">
              <a:xfrm>
                <a:off x="3021905" y="3135122"/>
                <a:ext cx="188179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perspectiveRelaxedModerately">
                    <a:rot lat="19800000" lon="0" rev="0"/>
                  </a:camera>
                  <a:lightRig rig="threePt" dir="t"/>
                </a:scene3d>
              </a:bodyPr>
              <a:lstStyle/>
              <a:p>
                <a:r>
                  <a:rPr lang="en-US" noProof="1" smtClean="0"/>
                  <a:t>COMPREHENSION</a:t>
                </a:r>
                <a:endParaRPr lang="en-US" noProof="1"/>
              </a:p>
            </p:txBody>
          </p:sp>
          <p:sp>
            <p:nvSpPr>
              <p:cNvPr id="20" name="Textfeld 19"/>
              <p:cNvSpPr txBox="1"/>
              <p:nvPr/>
            </p:nvSpPr>
            <p:spPr bwMode="gray">
              <a:xfrm>
                <a:off x="5206736" y="3135122"/>
                <a:ext cx="139243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perspectiveRelaxedModerately">
                    <a:rot lat="19800000" lon="0" rev="0"/>
                  </a:camera>
                  <a:lightRig rig="threePt" dir="t"/>
                </a:scene3d>
              </a:bodyPr>
              <a:lstStyle/>
              <a:p>
                <a:r>
                  <a:rPr lang="en-US" noProof="1" smtClean="0"/>
                  <a:t>CONVICTION</a:t>
                </a:r>
                <a:endParaRPr lang="en-US" noProof="1"/>
              </a:p>
            </p:txBody>
          </p:sp>
          <p:sp>
            <p:nvSpPr>
              <p:cNvPr id="21" name="Textfeld 20"/>
              <p:cNvSpPr txBox="1"/>
              <p:nvPr/>
            </p:nvSpPr>
            <p:spPr bwMode="gray">
              <a:xfrm>
                <a:off x="7620246" y="3135122"/>
                <a:ext cx="9119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perspectiveRelaxedModerately">
                    <a:rot lat="19800000" lon="0" rev="0"/>
                  </a:camera>
                  <a:lightRig rig="threePt" dir="t"/>
                </a:scene3d>
              </a:bodyPr>
              <a:lstStyle/>
              <a:p>
                <a:r>
                  <a:rPr lang="en-US" noProof="1" smtClean="0"/>
                  <a:t>ACTION</a:t>
                </a:r>
                <a:endParaRPr lang="en-US" noProof="1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AGMAR-Formula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ep model of advertising effectiveness and advertising success</a:t>
            </a:r>
            <a:endParaRPr lang="en-US" noProof="1"/>
          </a:p>
        </p:txBody>
      </p:sp>
      <p:sp>
        <p:nvSpPr>
          <p:cNvPr id="5" name="Textfeld 4"/>
          <p:cNvSpPr txBox="1"/>
          <p:nvPr/>
        </p:nvSpPr>
        <p:spPr bwMode="gray">
          <a:xfrm>
            <a:off x="323850" y="1555751"/>
            <a:ext cx="849629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noProof="1" smtClean="0"/>
              <a:t>Theory based on the assumption that advertisement doesn’t only have economic objectives but that it also has to meet particular communication tasks.</a:t>
            </a:r>
            <a:br>
              <a:rPr lang="en-US" noProof="1" smtClean="0"/>
            </a:br>
            <a:r>
              <a:rPr lang="en-US" b="1" noProof="1" smtClean="0"/>
              <a:t>The advertisement goes through several levels of consciousness with each customer:</a:t>
            </a:r>
            <a:endParaRPr lang="en-US" b="1" noProof="1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Visualize core competences as a matrix with evaluations according to increase in value for the company and customer satisfactio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re Competences</a:t>
            </a:r>
          </a:p>
        </p:txBody>
      </p:sp>
      <p:grpSp>
        <p:nvGrpSpPr>
          <p:cNvPr id="2" name="Gruppieren 37"/>
          <p:cNvGrpSpPr/>
          <p:nvPr/>
        </p:nvGrpSpPr>
        <p:grpSpPr>
          <a:xfrm>
            <a:off x="212536" y="1916113"/>
            <a:ext cx="7794323" cy="3886201"/>
            <a:chOff x="212536" y="1916113"/>
            <a:chExt cx="7794323" cy="3886201"/>
          </a:xfrm>
        </p:grpSpPr>
        <p:grpSp>
          <p:nvGrpSpPr>
            <p:cNvPr id="4" name="Gruppieren 7"/>
            <p:cNvGrpSpPr/>
            <p:nvPr/>
          </p:nvGrpSpPr>
          <p:grpSpPr bwMode="gray">
            <a:xfrm>
              <a:off x="1203298" y="1926493"/>
              <a:ext cx="3515458" cy="3515458"/>
              <a:chOff x="2493818" y="2202873"/>
              <a:chExt cx="5320146" cy="5320146"/>
            </a:xfrm>
            <a:solidFill>
              <a:schemeClr val="bg1">
                <a:lumMod val="95000"/>
              </a:schemeClr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" name="Rechteck 2"/>
              <p:cNvSpPr/>
              <p:nvPr/>
            </p:nvSpPr>
            <p:spPr bwMode="gray">
              <a:xfrm>
                <a:off x="2493818" y="2202873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Rechteck 41"/>
              <p:cNvSpPr/>
              <p:nvPr/>
            </p:nvSpPr>
            <p:spPr bwMode="gray">
              <a:xfrm>
                <a:off x="4267200" y="2202873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2493818" y="3976255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4267200" y="3976255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6040582" y="3976255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Rechteck 46"/>
              <p:cNvSpPr/>
              <p:nvPr/>
            </p:nvSpPr>
            <p:spPr bwMode="gray">
              <a:xfrm>
                <a:off x="2493818" y="5749637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Rechteck 47"/>
              <p:cNvSpPr/>
              <p:nvPr/>
            </p:nvSpPr>
            <p:spPr bwMode="gray">
              <a:xfrm>
                <a:off x="4267200" y="5749637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Rechteck 48"/>
              <p:cNvSpPr/>
              <p:nvPr/>
            </p:nvSpPr>
            <p:spPr bwMode="gray">
              <a:xfrm>
                <a:off x="6040582" y="5749637"/>
                <a:ext cx="1773382" cy="177338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Rechteck 42"/>
              <p:cNvSpPr/>
              <p:nvPr/>
            </p:nvSpPr>
            <p:spPr bwMode="gray">
              <a:xfrm>
                <a:off x="6040582" y="2202873"/>
                <a:ext cx="1773381" cy="177338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254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" name="Textfeld 9"/>
            <p:cNvSpPr txBox="1"/>
            <p:nvPr/>
          </p:nvSpPr>
          <p:spPr bwMode="gray">
            <a:xfrm rot="16200000">
              <a:off x="-235956" y="3550769"/>
              <a:ext cx="17801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Increase in value</a:t>
              </a:r>
              <a:endParaRPr lang="en-US" b="1" noProof="1"/>
            </a:p>
          </p:txBody>
        </p:sp>
        <p:sp>
          <p:nvSpPr>
            <p:cNvPr id="50" name="Textfeld 49"/>
            <p:cNvSpPr txBox="1"/>
            <p:nvPr/>
          </p:nvSpPr>
          <p:spPr bwMode="gray">
            <a:xfrm rot="16200000">
              <a:off x="780201" y="2086191"/>
              <a:ext cx="5004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high</a:t>
              </a:r>
              <a:endParaRPr lang="en-US" sz="1400" noProof="1"/>
            </a:p>
          </p:txBody>
        </p:sp>
        <p:sp>
          <p:nvSpPr>
            <p:cNvPr id="51" name="Textfeld 50"/>
            <p:cNvSpPr txBox="1"/>
            <p:nvPr/>
          </p:nvSpPr>
          <p:spPr bwMode="gray">
            <a:xfrm rot="16200000">
              <a:off x="635133" y="3527070"/>
              <a:ext cx="7906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medium</a:t>
              </a:r>
              <a:endParaRPr lang="en-US" sz="1400" noProof="1"/>
            </a:p>
          </p:txBody>
        </p:sp>
        <p:sp>
          <p:nvSpPr>
            <p:cNvPr id="52" name="Textfeld 51"/>
            <p:cNvSpPr txBox="1"/>
            <p:nvPr/>
          </p:nvSpPr>
          <p:spPr bwMode="gray">
            <a:xfrm rot="16200000">
              <a:off x="806204" y="4940427"/>
              <a:ext cx="44845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noProof="1" smtClean="0"/>
                <a:t>low</a:t>
              </a:r>
              <a:endParaRPr lang="en-US" sz="1400" noProof="1"/>
            </a:p>
          </p:txBody>
        </p:sp>
        <p:sp>
          <p:nvSpPr>
            <p:cNvPr id="53" name="Textfeld 52"/>
            <p:cNvSpPr txBox="1"/>
            <p:nvPr/>
          </p:nvSpPr>
          <p:spPr bwMode="gray">
            <a:xfrm>
              <a:off x="212536" y="5432982"/>
              <a:ext cx="11047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Customer</a:t>
              </a:r>
              <a:endParaRPr lang="en-US" b="1" noProof="1"/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1195348" y="5413482"/>
              <a:ext cx="129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/>
                <a:t>n</a:t>
              </a:r>
              <a:r>
                <a:rPr lang="en-US" sz="1400" noProof="1" smtClean="0"/>
                <a:t>ot satisfied</a:t>
              </a:r>
              <a:endParaRPr lang="en-US" sz="1400" noProof="1"/>
            </a:p>
          </p:txBody>
        </p:sp>
        <p:sp>
          <p:nvSpPr>
            <p:cNvPr id="55" name="Textfeld 54"/>
            <p:cNvSpPr txBox="1"/>
            <p:nvPr/>
          </p:nvSpPr>
          <p:spPr bwMode="gray">
            <a:xfrm>
              <a:off x="2395336" y="5413482"/>
              <a:ext cx="129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satisfied</a:t>
              </a:r>
              <a:endParaRPr lang="en-US" sz="1400" noProof="1"/>
            </a:p>
          </p:txBody>
        </p:sp>
        <p:sp>
          <p:nvSpPr>
            <p:cNvPr id="56" name="Textfeld 55"/>
            <p:cNvSpPr txBox="1"/>
            <p:nvPr/>
          </p:nvSpPr>
          <p:spPr bwMode="gray">
            <a:xfrm>
              <a:off x="3666882" y="5413482"/>
              <a:ext cx="12954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noProof="1" smtClean="0"/>
                <a:t>amazed</a:t>
              </a:r>
              <a:endParaRPr lang="en-US" sz="1400" noProof="1"/>
            </a:p>
          </p:txBody>
        </p:sp>
        <p:sp>
          <p:nvSpPr>
            <p:cNvPr id="58" name="Textfeld 57"/>
            <p:cNvSpPr txBox="1"/>
            <p:nvPr/>
          </p:nvSpPr>
          <p:spPr bwMode="gray">
            <a:xfrm>
              <a:off x="4875296" y="1916113"/>
              <a:ext cx="19398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Core competences</a:t>
              </a:r>
              <a:endParaRPr lang="en-US" b="1" noProof="1"/>
            </a:p>
          </p:txBody>
        </p:sp>
        <p:sp>
          <p:nvSpPr>
            <p:cNvPr id="59" name="Textfeld 58"/>
            <p:cNvSpPr txBox="1"/>
            <p:nvPr/>
          </p:nvSpPr>
          <p:spPr bwMode="gray">
            <a:xfrm>
              <a:off x="4875296" y="3140968"/>
              <a:ext cx="31315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Potential key skills </a:t>
              </a:r>
              <a:r>
                <a:rPr lang="en-US" noProof="1"/>
                <a:t>(ressources)</a:t>
              </a:r>
            </a:p>
          </p:txBody>
        </p:sp>
        <p:sp>
          <p:nvSpPr>
            <p:cNvPr id="34" name="Ellipse 33"/>
            <p:cNvSpPr/>
            <p:nvPr/>
          </p:nvSpPr>
          <p:spPr bwMode="gray">
            <a:xfrm>
              <a:off x="2628900" y="2695575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35" name="Ellipse 34"/>
            <p:cNvSpPr/>
            <p:nvPr/>
          </p:nvSpPr>
          <p:spPr bwMode="gray">
            <a:xfrm>
              <a:off x="3108960" y="3372059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57" name="Ellipse 56"/>
            <p:cNvSpPr/>
            <p:nvPr/>
          </p:nvSpPr>
          <p:spPr bwMode="gray">
            <a:xfrm>
              <a:off x="3970020" y="3372059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60" name="Ellipse 59"/>
            <p:cNvSpPr/>
            <p:nvPr/>
          </p:nvSpPr>
          <p:spPr bwMode="gray">
            <a:xfrm>
              <a:off x="3736948" y="2809875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61" name="Ellipse 60"/>
            <p:cNvSpPr/>
            <p:nvPr/>
          </p:nvSpPr>
          <p:spPr bwMode="gray">
            <a:xfrm>
              <a:off x="4027170" y="2511949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62" name="Ellipse 61"/>
            <p:cNvSpPr/>
            <p:nvPr/>
          </p:nvSpPr>
          <p:spPr bwMode="gray">
            <a:xfrm>
              <a:off x="3679798" y="2065020"/>
              <a:ext cx="114300" cy="1143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63" name="Textfeld 62"/>
            <p:cNvSpPr txBox="1"/>
            <p:nvPr/>
          </p:nvSpPr>
          <p:spPr bwMode="gray">
            <a:xfrm>
              <a:off x="3847438" y="2044410"/>
              <a:ext cx="242054" cy="153888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R&amp;D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64" name="Textfeld 63"/>
            <p:cNvSpPr txBox="1"/>
            <p:nvPr/>
          </p:nvSpPr>
          <p:spPr bwMode="gray">
            <a:xfrm>
              <a:off x="4059751" y="2334903"/>
              <a:ext cx="596317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Production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3881728" y="2798271"/>
              <a:ext cx="270908" cy="153888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Sales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4122420" y="3351109"/>
              <a:ext cx="37991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Service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67" name="Textfeld 66"/>
            <p:cNvSpPr txBox="1"/>
            <p:nvPr/>
          </p:nvSpPr>
          <p:spPr bwMode="gray">
            <a:xfrm>
              <a:off x="3108960" y="3486359"/>
              <a:ext cx="695703" cy="153888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Procurement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68" name="Textfeld 67"/>
            <p:cNvSpPr txBox="1"/>
            <p:nvPr/>
          </p:nvSpPr>
          <p:spPr bwMode="gray">
            <a:xfrm>
              <a:off x="2628900" y="2541687"/>
              <a:ext cx="448841" cy="153888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b="1" noProof="1" smtClean="0">
                  <a:solidFill>
                    <a:srgbClr val="000000"/>
                  </a:solidFill>
                </a:rPr>
                <a:t>Logistics</a:t>
              </a:r>
              <a:endParaRPr lang="en-US" sz="1000" b="1" noProof="1">
                <a:solidFill>
                  <a:srgbClr val="000000"/>
                </a:solidFill>
              </a:endParaRPr>
            </a:p>
          </p:txBody>
        </p:sp>
        <p:sp>
          <p:nvSpPr>
            <p:cNvPr id="1031" name="Freeform 7"/>
            <p:cNvSpPr>
              <a:spLocks/>
            </p:cNvSpPr>
            <p:nvPr/>
          </p:nvSpPr>
          <p:spPr bwMode="gray">
            <a:xfrm>
              <a:off x="2375117" y="1926493"/>
              <a:ext cx="2343639" cy="2343638"/>
            </a:xfrm>
            <a:custGeom>
              <a:avLst/>
              <a:gdLst/>
              <a:ahLst/>
              <a:cxnLst>
                <a:cxn ang="0">
                  <a:pos x="337" y="336"/>
                </a:cxn>
                <a:cxn ang="0">
                  <a:pos x="0" y="0"/>
                </a:cxn>
              </a:cxnLst>
              <a:rect l="0" t="0" r="r" b="b"/>
              <a:pathLst>
                <a:path w="337" h="336">
                  <a:moveTo>
                    <a:pt x="337" y="336"/>
                  </a:moveTo>
                  <a:cubicBezTo>
                    <a:pt x="151" y="336"/>
                    <a:pt x="0" y="186"/>
                    <a:pt x="0" y="0"/>
                  </a:cubicBezTo>
                </a:path>
              </a:pathLst>
            </a:custGeom>
            <a:noFill/>
            <a:ln w="15875" cap="flat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61303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iming and phases of the customer life cycle (customer relationship)</a:t>
            </a:r>
            <a:endParaRPr lang="en-US" noProof="1"/>
          </a:p>
        </p:txBody>
      </p:sp>
      <p:grpSp>
        <p:nvGrpSpPr>
          <p:cNvPr id="2" name="Gruppieren 37"/>
          <p:cNvGrpSpPr/>
          <p:nvPr/>
        </p:nvGrpSpPr>
        <p:grpSpPr>
          <a:xfrm>
            <a:off x="323850" y="1555749"/>
            <a:ext cx="8496300" cy="4461509"/>
            <a:chOff x="323850" y="1555749"/>
            <a:chExt cx="8496300" cy="4461509"/>
          </a:xfrm>
        </p:grpSpPr>
        <p:sp>
          <p:nvSpPr>
            <p:cNvPr id="20486" name="Text Box 6"/>
            <p:cNvSpPr txBox="1">
              <a:spLocks noChangeArrowheads="1"/>
            </p:cNvSpPr>
            <p:nvPr/>
          </p:nvSpPr>
          <p:spPr bwMode="gray">
            <a:xfrm>
              <a:off x="335370" y="5082294"/>
              <a:ext cx="1143360" cy="26354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2019" rIns="81639" bIns="40820"/>
            <a:lstStyle/>
            <a:p>
              <a:pPr>
                <a:tabLst>
                  <a:tab pos="656650" algn="l"/>
                </a:tabLst>
              </a:pPr>
              <a:r>
                <a:rPr lang="en-US" sz="1300" noProof="1" smtClean="0"/>
                <a:t>initiation</a:t>
              </a:r>
              <a:endParaRPr lang="en-US" sz="1300" noProof="1"/>
            </a:p>
          </p:txBody>
        </p:sp>
        <p:sp>
          <p:nvSpPr>
            <p:cNvPr id="20487" name="Text Box 7"/>
            <p:cNvSpPr txBox="1">
              <a:spLocks noChangeArrowheads="1"/>
            </p:cNvSpPr>
            <p:nvPr/>
          </p:nvSpPr>
          <p:spPr bwMode="gray">
            <a:xfrm>
              <a:off x="1493519" y="5229574"/>
              <a:ext cx="2020320" cy="647743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2019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b="1" noProof="1" smtClean="0"/>
                <a:t>Customer acquisition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100" noProof="1" smtClean="0"/>
                <a:t>- Initiation Phase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100" noProof="1" smtClean="0"/>
                <a:t>- Socialization Phase</a:t>
              </a:r>
              <a:endParaRPr lang="en-US" sz="1100" noProof="1"/>
            </a:p>
          </p:txBody>
        </p:sp>
        <p:sp>
          <p:nvSpPr>
            <p:cNvPr id="20488" name="Text Box 8"/>
            <p:cNvSpPr txBox="1">
              <a:spLocks noChangeArrowheads="1"/>
            </p:cNvSpPr>
            <p:nvPr/>
          </p:nvSpPr>
          <p:spPr bwMode="gray">
            <a:xfrm>
              <a:off x="3843599" y="5231015"/>
              <a:ext cx="1765440" cy="647743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2019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400" b="1" noProof="1" smtClean="0"/>
                <a:t>Customer loyalty</a:t>
              </a:r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100" noProof="1" smtClean="0"/>
                <a:t>- Growth Phase</a:t>
              </a:r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100" noProof="1" smtClean="0"/>
                <a:t>- Maturity Stage</a:t>
              </a:r>
              <a:endParaRPr lang="en-US" sz="1100" noProof="1"/>
            </a:p>
          </p:txBody>
        </p:sp>
        <p:sp>
          <p:nvSpPr>
            <p:cNvPr id="20489" name="Text Box 9"/>
            <p:cNvSpPr txBox="1">
              <a:spLocks noChangeArrowheads="1"/>
            </p:cNvSpPr>
            <p:nvPr/>
          </p:nvSpPr>
          <p:spPr bwMode="gray">
            <a:xfrm>
              <a:off x="6651599" y="5231015"/>
              <a:ext cx="2168551" cy="786243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81639" tIns="52019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200" b="1" noProof="1" smtClean="0"/>
                <a:t>Customer recovery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100" noProof="1" smtClean="0"/>
                <a:t>- Exposure Period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100" noProof="1" smtClean="0"/>
                <a:t>- Resolution Phase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100" noProof="1" smtClean="0"/>
                <a:t>- Abstinence Phase</a:t>
              </a:r>
              <a:endParaRPr lang="en-US" sz="1100" noProof="1"/>
            </a:p>
          </p:txBody>
        </p:sp>
        <p:sp>
          <p:nvSpPr>
            <p:cNvPr id="20495" name="Text Box 15"/>
            <p:cNvSpPr txBox="1">
              <a:spLocks noChangeArrowheads="1"/>
            </p:cNvSpPr>
            <p:nvPr/>
          </p:nvSpPr>
          <p:spPr bwMode="gray">
            <a:xfrm>
              <a:off x="323850" y="1857795"/>
              <a:ext cx="1184070" cy="129407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2019" rIns="81639" bIns="40820">
              <a:spAutoFit/>
            </a:bodyPr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/>
                <a:t>strength /</a:t>
              </a:r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 smtClean="0"/>
                <a:t>Intensity</a:t>
              </a:r>
              <a:br>
                <a:rPr lang="en-US" sz="1300" b="1" noProof="1" smtClean="0"/>
              </a:br>
              <a:endParaRPr lang="en-US" sz="1300" b="1" noProof="1"/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/>
                <a:t>(Quality)</a:t>
              </a:r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/>
                <a:t>the </a:t>
              </a:r>
              <a:r>
                <a:rPr lang="en-US" sz="1300" b="1" noProof="1" smtClean="0"/>
                <a:t>customers</a:t>
              </a:r>
              <a:endParaRPr lang="en-US" sz="1300" b="1" noProof="1"/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/>
                <a:t>relationship</a:t>
              </a:r>
            </a:p>
          </p:txBody>
        </p:sp>
        <p:sp>
          <p:nvSpPr>
            <p:cNvPr id="23" name="Freihandform 22"/>
            <p:cNvSpPr/>
            <p:nvPr/>
          </p:nvSpPr>
          <p:spPr bwMode="gray">
            <a:xfrm>
              <a:off x="1691038" y="1603694"/>
              <a:ext cx="4130993" cy="3419475"/>
            </a:xfrm>
            <a:custGeom>
              <a:avLst/>
              <a:gdLst>
                <a:gd name="connsiteX0" fmla="*/ 0 w 4747260"/>
                <a:gd name="connsiteY0" fmla="*/ 3693160 h 3693160"/>
                <a:gd name="connsiteX1" fmla="*/ 1226820 w 4747260"/>
                <a:gd name="connsiteY1" fmla="*/ 2565400 h 3693160"/>
                <a:gd name="connsiteX2" fmla="*/ 1897380 w 4747260"/>
                <a:gd name="connsiteY2" fmla="*/ 1574800 h 3693160"/>
                <a:gd name="connsiteX3" fmla="*/ 2887980 w 4747260"/>
                <a:gd name="connsiteY3" fmla="*/ 858520 h 3693160"/>
                <a:gd name="connsiteX4" fmla="*/ 4434840 w 4747260"/>
                <a:gd name="connsiteY4" fmla="*/ 134620 h 3693160"/>
                <a:gd name="connsiteX5" fmla="*/ 4747260 w 4747260"/>
                <a:gd name="connsiteY5" fmla="*/ 50800 h 3693160"/>
                <a:gd name="connsiteX0" fmla="*/ 0 w 4434840"/>
                <a:gd name="connsiteY0" fmla="*/ 3558540 h 3558540"/>
                <a:gd name="connsiteX1" fmla="*/ 1226820 w 4434840"/>
                <a:gd name="connsiteY1" fmla="*/ 2430780 h 3558540"/>
                <a:gd name="connsiteX2" fmla="*/ 1897380 w 4434840"/>
                <a:gd name="connsiteY2" fmla="*/ 1440180 h 3558540"/>
                <a:gd name="connsiteX3" fmla="*/ 2887980 w 4434840"/>
                <a:gd name="connsiteY3" fmla="*/ 723900 h 3558540"/>
                <a:gd name="connsiteX4" fmla="*/ 4434840 w 4434840"/>
                <a:gd name="connsiteY4" fmla="*/ 0 h 3558540"/>
                <a:gd name="connsiteX0" fmla="*/ 0 w 4434840"/>
                <a:gd name="connsiteY0" fmla="*/ 3558540 h 3558540"/>
                <a:gd name="connsiteX1" fmla="*/ 1226820 w 4434840"/>
                <a:gd name="connsiteY1" fmla="*/ 2430780 h 3558540"/>
                <a:gd name="connsiteX2" fmla="*/ 1897380 w 4434840"/>
                <a:gd name="connsiteY2" fmla="*/ 1440180 h 3558540"/>
                <a:gd name="connsiteX3" fmla="*/ 2887980 w 4434840"/>
                <a:gd name="connsiteY3" fmla="*/ 723900 h 3558540"/>
                <a:gd name="connsiteX4" fmla="*/ 4130993 w 4434840"/>
                <a:gd name="connsiteY4" fmla="*/ 139065 h 3558540"/>
                <a:gd name="connsiteX5" fmla="*/ 4434840 w 4434840"/>
                <a:gd name="connsiteY5" fmla="*/ 0 h 3558540"/>
                <a:gd name="connsiteX0" fmla="*/ 0 w 4130993"/>
                <a:gd name="connsiteY0" fmla="*/ 3419475 h 3419475"/>
                <a:gd name="connsiteX1" fmla="*/ 1226820 w 4130993"/>
                <a:gd name="connsiteY1" fmla="*/ 2291715 h 3419475"/>
                <a:gd name="connsiteX2" fmla="*/ 1897380 w 4130993"/>
                <a:gd name="connsiteY2" fmla="*/ 1301115 h 3419475"/>
                <a:gd name="connsiteX3" fmla="*/ 2887980 w 4130993"/>
                <a:gd name="connsiteY3" fmla="*/ 584835 h 3419475"/>
                <a:gd name="connsiteX4" fmla="*/ 4130993 w 4130993"/>
                <a:gd name="connsiteY4" fmla="*/ 0 h 341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0993" h="3419475">
                  <a:moveTo>
                    <a:pt x="0" y="3419475"/>
                  </a:moveTo>
                  <a:cubicBezTo>
                    <a:pt x="455295" y="3032125"/>
                    <a:pt x="910590" y="2644775"/>
                    <a:pt x="1226820" y="2291715"/>
                  </a:cubicBezTo>
                  <a:cubicBezTo>
                    <a:pt x="1543050" y="1938655"/>
                    <a:pt x="1620520" y="1585595"/>
                    <a:pt x="1897380" y="1301115"/>
                  </a:cubicBezTo>
                  <a:cubicBezTo>
                    <a:pt x="2174240" y="1016635"/>
                    <a:pt x="2515711" y="801687"/>
                    <a:pt x="2887980" y="584835"/>
                  </a:cubicBezTo>
                  <a:cubicBezTo>
                    <a:pt x="3260249" y="367983"/>
                    <a:pt x="3873183" y="120650"/>
                    <a:pt x="4130993" y="0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miter lim="800000"/>
              <a:headEnd/>
              <a:tailEnd type="triangle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20490" name="Text Box 10"/>
            <p:cNvSpPr txBox="1">
              <a:spLocks noChangeArrowheads="1"/>
            </p:cNvSpPr>
            <p:nvPr/>
          </p:nvSpPr>
          <p:spPr bwMode="gray">
            <a:xfrm>
              <a:off x="1554302" y="3819667"/>
              <a:ext cx="1143360" cy="26354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ctr" anchorCtr="0"/>
            <a:lstStyle/>
            <a:p>
              <a:pPr algn="r">
                <a:tabLst>
                  <a:tab pos="656650" algn="l"/>
                </a:tabLst>
              </a:pPr>
              <a:r>
                <a:rPr lang="en-US" sz="1300" noProof="1" smtClean="0"/>
                <a:t>development</a:t>
              </a:r>
              <a:endParaRPr lang="en-US" sz="1300" noProof="1"/>
            </a:p>
          </p:txBody>
        </p:sp>
        <p:sp>
          <p:nvSpPr>
            <p:cNvPr id="20491" name="Text Box 11"/>
            <p:cNvSpPr txBox="1">
              <a:spLocks noChangeArrowheads="1"/>
            </p:cNvSpPr>
            <p:nvPr/>
          </p:nvSpPr>
          <p:spPr bwMode="gray">
            <a:xfrm>
              <a:off x="2271994" y="2789959"/>
              <a:ext cx="1143360" cy="26354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ctr" anchorCtr="0"/>
            <a:lstStyle/>
            <a:p>
              <a:pPr algn="r">
                <a:tabLst>
                  <a:tab pos="656650" algn="l"/>
                </a:tabLst>
              </a:pPr>
              <a:r>
                <a:rPr lang="en-US" sz="1300" noProof="1" smtClean="0"/>
                <a:t>extension</a:t>
              </a:r>
              <a:endParaRPr lang="en-US" sz="1300" noProof="1"/>
            </a:p>
          </p:txBody>
        </p:sp>
        <p:sp>
          <p:nvSpPr>
            <p:cNvPr id="20492" name="Text Box 12"/>
            <p:cNvSpPr txBox="1">
              <a:spLocks noChangeArrowheads="1"/>
            </p:cNvSpPr>
            <p:nvPr/>
          </p:nvSpPr>
          <p:spPr bwMode="gray">
            <a:xfrm>
              <a:off x="4744224" y="2091486"/>
              <a:ext cx="1143360" cy="26354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ctr" anchorCtr="0"/>
            <a:lstStyle/>
            <a:p>
              <a:pPr>
                <a:tabLst>
                  <a:tab pos="656650" algn="l"/>
                </a:tabLst>
              </a:pPr>
              <a:r>
                <a:rPr lang="en-US" sz="1300" noProof="1" smtClean="0"/>
                <a:t>stability</a:t>
              </a:r>
              <a:endParaRPr lang="en-US" sz="1300" noProof="1"/>
            </a:p>
          </p:txBody>
        </p:sp>
        <p:sp>
          <p:nvSpPr>
            <p:cNvPr id="20493" name="Text Box 13"/>
            <p:cNvSpPr txBox="1">
              <a:spLocks noChangeArrowheads="1"/>
            </p:cNvSpPr>
            <p:nvPr/>
          </p:nvSpPr>
          <p:spPr bwMode="gray">
            <a:xfrm>
              <a:off x="7440126" y="3892149"/>
              <a:ext cx="1143360" cy="26354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ctr" anchorCtr="0"/>
            <a:lstStyle/>
            <a:p>
              <a:pPr algn="ctr">
                <a:tabLst>
                  <a:tab pos="656650" algn="l"/>
                </a:tabLst>
              </a:pPr>
              <a:r>
                <a:rPr lang="en-US" sz="1300" noProof="1" smtClean="0"/>
                <a:t>termination</a:t>
              </a:r>
              <a:endParaRPr lang="en-US" sz="1300" noProof="1"/>
            </a:p>
          </p:txBody>
        </p:sp>
        <p:sp>
          <p:nvSpPr>
            <p:cNvPr id="20494" name="Text Box 14"/>
            <p:cNvSpPr txBox="1">
              <a:spLocks noChangeArrowheads="1"/>
            </p:cNvSpPr>
            <p:nvPr/>
          </p:nvSpPr>
          <p:spPr bwMode="gray">
            <a:xfrm>
              <a:off x="7851855" y="4545504"/>
              <a:ext cx="934040" cy="60016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 smtClean="0"/>
                <a:t>duration of</a:t>
              </a:r>
            </a:p>
            <a:p>
              <a:pPr>
                <a:tabLst>
                  <a:tab pos="656650" algn="l"/>
                  <a:tab pos="1313299" algn="l"/>
                </a:tabLst>
              </a:pPr>
              <a:r>
                <a:rPr lang="en-US" sz="1300" b="1" noProof="1"/>
                <a:t>c</a:t>
              </a:r>
              <a:r>
                <a:rPr lang="en-US" sz="1300" b="1" noProof="1" smtClean="0"/>
                <a:t>ustomer relationship</a:t>
              </a:r>
              <a:endParaRPr lang="en-US" sz="1300" b="1" noProof="1"/>
            </a:p>
          </p:txBody>
        </p:sp>
        <p:sp>
          <p:nvSpPr>
            <p:cNvPr id="20496" name="Line 16"/>
            <p:cNvSpPr>
              <a:spLocks noChangeShapeType="1"/>
            </p:cNvSpPr>
            <p:nvPr/>
          </p:nvSpPr>
          <p:spPr bwMode="gray">
            <a:xfrm flipV="1">
              <a:off x="1506480" y="1555749"/>
              <a:ext cx="1440" cy="3675266"/>
            </a:xfrm>
            <a:prstGeom prst="line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lIns="82945" tIns="41473" rIns="82945" bIns="41473"/>
            <a:lstStyle/>
            <a:p>
              <a:endParaRPr lang="en-US" noProof="1"/>
            </a:p>
          </p:txBody>
        </p:sp>
        <p:grpSp>
          <p:nvGrpSpPr>
            <p:cNvPr id="3" name="Gruppieren 35"/>
            <p:cNvGrpSpPr/>
            <p:nvPr/>
          </p:nvGrpSpPr>
          <p:grpSpPr bwMode="gray">
            <a:xfrm>
              <a:off x="1493519" y="1555749"/>
              <a:ext cx="7254720" cy="3675266"/>
              <a:chOff x="1296000" y="1545283"/>
              <a:chExt cx="7254720" cy="3675266"/>
            </a:xfrm>
          </p:grpSpPr>
          <p:sp>
            <p:nvSpPr>
              <p:cNvPr id="20482" name="Line 2"/>
              <p:cNvSpPr>
                <a:spLocks noChangeShapeType="1"/>
              </p:cNvSpPr>
              <p:nvPr/>
            </p:nvSpPr>
            <p:spPr bwMode="gray">
              <a:xfrm>
                <a:off x="1296000" y="5219108"/>
                <a:ext cx="7254720" cy="1441"/>
              </a:xfrm>
              <a:prstGeom prst="lin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lIns="82945" tIns="41473" rIns="82945" bIns="41473"/>
              <a:lstStyle/>
              <a:p>
                <a:endParaRPr lang="en-US" noProof="1"/>
              </a:p>
            </p:txBody>
          </p:sp>
          <p:sp>
            <p:nvSpPr>
              <p:cNvPr id="20497" name="Line 17"/>
              <p:cNvSpPr>
                <a:spLocks noChangeShapeType="1"/>
              </p:cNvSpPr>
              <p:nvPr/>
            </p:nvSpPr>
            <p:spPr bwMode="gray">
              <a:xfrm flipV="1">
                <a:off x="3646080" y="1545283"/>
                <a:ext cx="0" cy="367526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US" noProof="1"/>
              </a:p>
            </p:txBody>
          </p:sp>
          <p:sp>
            <p:nvSpPr>
              <p:cNvPr id="20498" name="Line 18"/>
              <p:cNvSpPr>
                <a:spLocks noChangeShapeType="1"/>
              </p:cNvSpPr>
              <p:nvPr/>
            </p:nvSpPr>
            <p:spPr bwMode="gray">
              <a:xfrm flipV="1">
                <a:off x="6454080" y="1545283"/>
                <a:ext cx="0" cy="3675266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US" noProof="1"/>
              </a:p>
            </p:txBody>
          </p:sp>
        </p:grpSp>
        <p:sp>
          <p:nvSpPr>
            <p:cNvPr id="24" name="Freihandform 23"/>
            <p:cNvSpPr/>
            <p:nvPr/>
          </p:nvSpPr>
          <p:spPr bwMode="gray">
            <a:xfrm>
              <a:off x="4813969" y="1865102"/>
              <a:ext cx="3149600" cy="1932517"/>
            </a:xfrm>
            <a:custGeom>
              <a:avLst/>
              <a:gdLst>
                <a:gd name="connsiteX0" fmla="*/ 0 w 3149600"/>
                <a:gd name="connsiteY0" fmla="*/ 205317 h 1932517"/>
                <a:gd name="connsiteX1" fmla="*/ 1384300 w 3149600"/>
                <a:gd name="connsiteY1" fmla="*/ 46567 h 1932517"/>
                <a:gd name="connsiteX2" fmla="*/ 1993900 w 3149600"/>
                <a:gd name="connsiteY2" fmla="*/ 484717 h 1932517"/>
                <a:gd name="connsiteX3" fmla="*/ 3149600 w 3149600"/>
                <a:gd name="connsiteY3" fmla="*/ 1932517 h 1932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9600" h="1932517">
                  <a:moveTo>
                    <a:pt x="0" y="205317"/>
                  </a:moveTo>
                  <a:cubicBezTo>
                    <a:pt x="525991" y="102658"/>
                    <a:pt x="1051983" y="0"/>
                    <a:pt x="1384300" y="46567"/>
                  </a:cubicBezTo>
                  <a:cubicBezTo>
                    <a:pt x="1716617" y="93134"/>
                    <a:pt x="1699683" y="170392"/>
                    <a:pt x="1993900" y="484717"/>
                  </a:cubicBezTo>
                  <a:cubicBezTo>
                    <a:pt x="2288117" y="799042"/>
                    <a:pt x="2718858" y="1365779"/>
                    <a:pt x="3149600" y="1932517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miter lim="800000"/>
              <a:headEnd type="triangle"/>
              <a:tailEnd type="triangle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26" name="Freihandform 25"/>
            <p:cNvSpPr/>
            <p:nvPr/>
          </p:nvSpPr>
          <p:spPr bwMode="gray">
            <a:xfrm>
              <a:off x="7334919" y="2987059"/>
              <a:ext cx="1155700" cy="215900"/>
            </a:xfrm>
            <a:custGeom>
              <a:avLst/>
              <a:gdLst>
                <a:gd name="connsiteX0" fmla="*/ 0 w 1155700"/>
                <a:gd name="connsiteY0" fmla="*/ 0 h 215900"/>
                <a:gd name="connsiteX1" fmla="*/ 577850 w 1155700"/>
                <a:gd name="connsiteY1" fmla="*/ 209550 h 215900"/>
                <a:gd name="connsiteX2" fmla="*/ 1155700 w 1155700"/>
                <a:gd name="connsiteY2" fmla="*/ 38100 h 2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5700" h="215900">
                  <a:moveTo>
                    <a:pt x="0" y="0"/>
                  </a:moveTo>
                  <a:cubicBezTo>
                    <a:pt x="192616" y="101600"/>
                    <a:pt x="385233" y="203200"/>
                    <a:pt x="577850" y="209550"/>
                  </a:cubicBezTo>
                  <a:cubicBezTo>
                    <a:pt x="770467" y="215900"/>
                    <a:pt x="1155700" y="38100"/>
                    <a:pt x="1155700" y="38100"/>
                  </a:cubicBezTo>
                </a:path>
              </a:pathLst>
            </a:custGeom>
            <a:noFill/>
            <a:ln w="25400" cap="flat">
              <a:solidFill>
                <a:schemeClr val="accent1">
                  <a:lumMod val="60000"/>
                  <a:lumOff val="40000"/>
                </a:schemeClr>
              </a:solidFill>
              <a:prstDash val="sysDot"/>
              <a:miter lim="800000"/>
              <a:headEnd type="triangle"/>
              <a:tailEnd type="triangle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</p:grpSp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ustomer Lifetime Circle</a:t>
            </a:r>
            <a:endParaRPr lang="en-US" noProof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ustomer Profile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ustomer profile analysis according to sales and number of customers</a:t>
            </a:r>
            <a:endParaRPr lang="en-US" noProof="1"/>
          </a:p>
        </p:txBody>
      </p:sp>
      <p:grpSp>
        <p:nvGrpSpPr>
          <p:cNvPr id="90" name="Gruppieren 89"/>
          <p:cNvGrpSpPr/>
          <p:nvPr/>
        </p:nvGrpSpPr>
        <p:grpSpPr>
          <a:xfrm>
            <a:off x="224378" y="1537968"/>
            <a:ext cx="8715264" cy="4471484"/>
            <a:chOff x="224378" y="1537968"/>
            <a:chExt cx="8715264" cy="4471484"/>
          </a:xfrm>
        </p:grpSpPr>
        <p:sp>
          <p:nvSpPr>
            <p:cNvPr id="30" name="Textfeld 29"/>
            <p:cNvSpPr txBox="1"/>
            <p:nvPr/>
          </p:nvSpPr>
          <p:spPr bwMode="gray">
            <a:xfrm>
              <a:off x="7911732" y="5486232"/>
              <a:ext cx="102791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b="1" noProof="1" smtClean="0"/>
                <a:t>Number of </a:t>
              </a:r>
              <a:br>
                <a:rPr lang="en-US" sz="1400" b="1" noProof="1" smtClean="0"/>
              </a:br>
              <a:r>
                <a:rPr lang="en-US" sz="1400" b="1" noProof="1" smtClean="0"/>
                <a:t>customers</a:t>
              </a: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254522" y="1537968"/>
              <a:ext cx="10198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noProof="1" smtClean="0"/>
                <a:t>Sales in %</a:t>
              </a:r>
            </a:p>
          </p:txBody>
        </p:sp>
        <p:cxnSp>
          <p:nvCxnSpPr>
            <p:cNvPr id="34" name="Gerade Verbindung mit Pfeil 33"/>
            <p:cNvCxnSpPr/>
            <p:nvPr/>
          </p:nvCxnSpPr>
          <p:spPr bwMode="gray">
            <a:xfrm>
              <a:off x="799916" y="5439519"/>
              <a:ext cx="8021026" cy="0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prstDash val="solid"/>
              <a:round/>
              <a:headEnd type="none"/>
              <a:tailEnd type="triangle"/>
            </a:ln>
          </p:spPr>
        </p:cxnSp>
        <p:cxnSp>
          <p:nvCxnSpPr>
            <p:cNvPr id="35" name="Gerade Verbindung mit Pfeil 34"/>
            <p:cNvCxnSpPr/>
            <p:nvPr/>
          </p:nvCxnSpPr>
          <p:spPr bwMode="gray">
            <a:xfrm flipV="1">
              <a:off x="809440" y="1916114"/>
              <a:ext cx="0" cy="3526632"/>
            </a:xfrm>
            <a:prstGeom prst="straightConnector1">
              <a:avLst/>
            </a:prstGeom>
            <a:noFill/>
            <a:ln w="19050">
              <a:solidFill>
                <a:srgbClr val="969696"/>
              </a:solidFill>
              <a:prstDash val="solid"/>
              <a:round/>
              <a:headEnd type="none"/>
              <a:tailEnd type="triangle"/>
            </a:ln>
          </p:spPr>
        </p:cxnSp>
        <p:sp>
          <p:nvSpPr>
            <p:cNvPr id="37" name="Textfeld 36"/>
            <p:cNvSpPr txBox="1"/>
            <p:nvPr/>
          </p:nvSpPr>
          <p:spPr bwMode="gray">
            <a:xfrm>
              <a:off x="224378" y="1916112"/>
              <a:ext cx="53091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100%</a:t>
              </a:r>
              <a:endParaRPr lang="en-US" sz="1200" noProof="1"/>
            </a:p>
          </p:txBody>
        </p:sp>
        <p:cxnSp>
          <p:nvCxnSpPr>
            <p:cNvPr id="40" name="Gerade Verbindung 39"/>
            <p:cNvCxnSpPr/>
            <p:nvPr/>
          </p:nvCxnSpPr>
          <p:spPr bwMode="gray">
            <a:xfrm>
              <a:off x="734219" y="2055511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 bwMode="gray">
            <a:xfrm>
              <a:off x="734219" y="2394547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>
              <a:off x="734219" y="2733583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 bwMode="gray">
            <a:xfrm>
              <a:off x="734219" y="3072619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/>
          </p:nvCxnSpPr>
          <p:spPr bwMode="gray">
            <a:xfrm>
              <a:off x="734219" y="3411655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/>
          </p:nvCxnSpPr>
          <p:spPr bwMode="gray">
            <a:xfrm>
              <a:off x="734219" y="3750691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/>
          </p:nvCxnSpPr>
          <p:spPr bwMode="gray">
            <a:xfrm>
              <a:off x="734219" y="4089727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 bwMode="gray">
            <a:xfrm>
              <a:off x="734219" y="4428763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734219" y="4767799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734219" y="5106835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/>
            <p:nvPr/>
          </p:nvSpPr>
          <p:spPr bwMode="gray">
            <a:xfrm>
              <a:off x="302925" y="2256047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90%</a:t>
              </a:r>
              <a:endParaRPr lang="en-US" sz="1200" noProof="1"/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302925" y="2595083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80%</a:t>
              </a:r>
              <a:endParaRPr lang="en-US" sz="1200" noProof="1"/>
            </a:p>
          </p:txBody>
        </p:sp>
        <p:sp>
          <p:nvSpPr>
            <p:cNvPr id="55" name="Textfeld 54"/>
            <p:cNvSpPr txBox="1"/>
            <p:nvPr/>
          </p:nvSpPr>
          <p:spPr bwMode="gray">
            <a:xfrm>
              <a:off x="302925" y="2934119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70%</a:t>
              </a:r>
              <a:endParaRPr lang="en-US" sz="1200" noProof="1"/>
            </a:p>
          </p:txBody>
        </p:sp>
        <p:sp>
          <p:nvSpPr>
            <p:cNvPr id="56" name="Textfeld 55"/>
            <p:cNvSpPr txBox="1"/>
            <p:nvPr/>
          </p:nvSpPr>
          <p:spPr bwMode="gray">
            <a:xfrm>
              <a:off x="302925" y="3273155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60%</a:t>
              </a:r>
              <a:endParaRPr lang="en-US" sz="1200" noProof="1"/>
            </a:p>
          </p:txBody>
        </p:sp>
        <p:sp>
          <p:nvSpPr>
            <p:cNvPr id="57" name="Textfeld 56"/>
            <p:cNvSpPr txBox="1"/>
            <p:nvPr/>
          </p:nvSpPr>
          <p:spPr bwMode="gray">
            <a:xfrm>
              <a:off x="302925" y="3612191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50%</a:t>
              </a:r>
              <a:endParaRPr lang="en-US" sz="1200" noProof="1"/>
            </a:p>
          </p:txBody>
        </p:sp>
        <p:sp>
          <p:nvSpPr>
            <p:cNvPr id="58" name="Textfeld 57"/>
            <p:cNvSpPr txBox="1"/>
            <p:nvPr/>
          </p:nvSpPr>
          <p:spPr bwMode="gray">
            <a:xfrm>
              <a:off x="302925" y="3951227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40%</a:t>
              </a:r>
              <a:endParaRPr lang="en-US" sz="1200" noProof="1"/>
            </a:p>
          </p:txBody>
        </p:sp>
        <p:sp>
          <p:nvSpPr>
            <p:cNvPr id="59" name="Textfeld 58"/>
            <p:cNvSpPr txBox="1"/>
            <p:nvPr/>
          </p:nvSpPr>
          <p:spPr bwMode="gray">
            <a:xfrm>
              <a:off x="302926" y="4290263"/>
              <a:ext cx="45236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30%</a:t>
              </a:r>
              <a:endParaRPr lang="en-US" sz="1200" noProof="1"/>
            </a:p>
          </p:txBody>
        </p:sp>
        <p:sp>
          <p:nvSpPr>
            <p:cNvPr id="60" name="Textfeld 59"/>
            <p:cNvSpPr txBox="1"/>
            <p:nvPr/>
          </p:nvSpPr>
          <p:spPr bwMode="gray">
            <a:xfrm>
              <a:off x="302925" y="4629299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20%</a:t>
              </a:r>
              <a:endParaRPr lang="en-US" sz="1200" noProof="1"/>
            </a:p>
          </p:txBody>
        </p:sp>
        <p:sp>
          <p:nvSpPr>
            <p:cNvPr id="61" name="Textfeld 60"/>
            <p:cNvSpPr txBox="1"/>
            <p:nvPr/>
          </p:nvSpPr>
          <p:spPr bwMode="gray">
            <a:xfrm>
              <a:off x="302925" y="4968335"/>
              <a:ext cx="4523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10%</a:t>
              </a:r>
              <a:endParaRPr lang="en-US" sz="1200" noProof="1"/>
            </a:p>
          </p:txBody>
        </p:sp>
        <p:sp>
          <p:nvSpPr>
            <p:cNvPr id="62" name="Textfeld 61"/>
            <p:cNvSpPr txBox="1"/>
            <p:nvPr/>
          </p:nvSpPr>
          <p:spPr bwMode="gray">
            <a:xfrm>
              <a:off x="381473" y="5307369"/>
              <a:ext cx="37382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0%</a:t>
              </a:r>
              <a:endParaRPr lang="en-US" sz="1200" noProof="1"/>
            </a:p>
          </p:txBody>
        </p:sp>
        <p:cxnSp>
          <p:nvCxnSpPr>
            <p:cNvPr id="65" name="Gerade Verbindung 64"/>
            <p:cNvCxnSpPr/>
            <p:nvPr/>
          </p:nvCxnSpPr>
          <p:spPr bwMode="gray">
            <a:xfrm rot="16200000">
              <a:off x="1469455" y="5494536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 rot="16200000">
              <a:off x="2170254" y="5494537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 rot="16200000">
              <a:off x="2871053" y="5494537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 rot="16200000">
              <a:off x="3571852" y="5494538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 rot="16200000">
              <a:off x="4272651" y="5494537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 rot="16200000">
              <a:off x="4973450" y="5494538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 rot="16200000">
              <a:off x="5674249" y="5494538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 rot="16200000">
              <a:off x="6375048" y="5494539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 rot="16200000">
              <a:off x="7075847" y="5494539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 rot="16200000">
              <a:off x="7776646" y="5494540"/>
              <a:ext cx="75221" cy="0"/>
            </a:xfrm>
            <a:prstGeom prst="line">
              <a:avLst/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/>
            <p:cNvSpPr txBox="1"/>
            <p:nvPr/>
          </p:nvSpPr>
          <p:spPr bwMode="gray">
            <a:xfrm>
              <a:off x="1336185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10</a:t>
              </a:r>
              <a:endParaRPr lang="en-US" sz="1200" noProof="1"/>
            </a:p>
          </p:txBody>
        </p:sp>
        <p:sp>
          <p:nvSpPr>
            <p:cNvPr id="77" name="Textfeld 76"/>
            <p:cNvSpPr txBox="1"/>
            <p:nvPr/>
          </p:nvSpPr>
          <p:spPr bwMode="gray">
            <a:xfrm>
              <a:off x="4138165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50</a:t>
              </a:r>
              <a:endParaRPr lang="en-US" sz="1200" noProof="1"/>
            </a:p>
          </p:txBody>
        </p:sp>
        <p:sp>
          <p:nvSpPr>
            <p:cNvPr id="78" name="Textfeld 77"/>
            <p:cNvSpPr txBox="1"/>
            <p:nvPr/>
          </p:nvSpPr>
          <p:spPr bwMode="gray">
            <a:xfrm>
              <a:off x="7604103" y="5532147"/>
              <a:ext cx="4203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100</a:t>
              </a:r>
              <a:endParaRPr lang="en-US" sz="1200" noProof="1"/>
            </a:p>
          </p:txBody>
        </p:sp>
        <p:sp>
          <p:nvSpPr>
            <p:cNvPr id="79" name="Textfeld 78"/>
            <p:cNvSpPr txBox="1"/>
            <p:nvPr/>
          </p:nvSpPr>
          <p:spPr bwMode="gray">
            <a:xfrm>
              <a:off x="2036984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20</a:t>
              </a:r>
              <a:endParaRPr lang="en-US" sz="1200" noProof="1"/>
            </a:p>
          </p:txBody>
        </p:sp>
        <p:sp>
          <p:nvSpPr>
            <p:cNvPr id="80" name="Textfeld 79"/>
            <p:cNvSpPr txBox="1"/>
            <p:nvPr/>
          </p:nvSpPr>
          <p:spPr bwMode="gray">
            <a:xfrm>
              <a:off x="2737783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30</a:t>
              </a:r>
              <a:endParaRPr lang="en-US" sz="1200" noProof="1"/>
            </a:p>
          </p:txBody>
        </p:sp>
        <p:sp>
          <p:nvSpPr>
            <p:cNvPr id="81" name="Textfeld 80"/>
            <p:cNvSpPr txBox="1"/>
            <p:nvPr/>
          </p:nvSpPr>
          <p:spPr bwMode="gray">
            <a:xfrm>
              <a:off x="3438583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40</a:t>
              </a:r>
              <a:endParaRPr lang="en-US" sz="1200" noProof="1"/>
            </a:p>
          </p:txBody>
        </p:sp>
        <p:sp>
          <p:nvSpPr>
            <p:cNvPr id="82" name="Textfeld 81"/>
            <p:cNvSpPr txBox="1"/>
            <p:nvPr/>
          </p:nvSpPr>
          <p:spPr bwMode="gray">
            <a:xfrm>
              <a:off x="4840181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60</a:t>
              </a:r>
              <a:endParaRPr lang="en-US" sz="1200" noProof="1"/>
            </a:p>
          </p:txBody>
        </p:sp>
        <p:sp>
          <p:nvSpPr>
            <p:cNvPr id="83" name="Textfeld 82"/>
            <p:cNvSpPr txBox="1"/>
            <p:nvPr/>
          </p:nvSpPr>
          <p:spPr bwMode="gray">
            <a:xfrm>
              <a:off x="5540979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70</a:t>
              </a:r>
              <a:endParaRPr lang="en-US" sz="1200" noProof="1"/>
            </a:p>
          </p:txBody>
        </p:sp>
        <p:sp>
          <p:nvSpPr>
            <p:cNvPr id="84" name="Textfeld 83"/>
            <p:cNvSpPr txBox="1"/>
            <p:nvPr/>
          </p:nvSpPr>
          <p:spPr bwMode="gray">
            <a:xfrm>
              <a:off x="6241778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80</a:t>
              </a:r>
              <a:endParaRPr lang="en-US" sz="1200" noProof="1"/>
            </a:p>
          </p:txBody>
        </p:sp>
        <p:sp>
          <p:nvSpPr>
            <p:cNvPr id="85" name="Textfeld 84"/>
            <p:cNvSpPr txBox="1"/>
            <p:nvPr/>
          </p:nvSpPr>
          <p:spPr bwMode="gray">
            <a:xfrm>
              <a:off x="6942577" y="553214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90</a:t>
              </a:r>
              <a:endParaRPr lang="en-US" sz="1200" noProof="1"/>
            </a:p>
          </p:txBody>
        </p:sp>
        <p:sp>
          <p:nvSpPr>
            <p:cNvPr id="86" name="Textfeld 85"/>
            <p:cNvSpPr txBox="1"/>
            <p:nvPr/>
          </p:nvSpPr>
          <p:spPr bwMode="gray">
            <a:xfrm>
              <a:off x="677833" y="5532147"/>
              <a:ext cx="2632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noProof="1" smtClean="0"/>
                <a:t>0</a:t>
              </a:r>
              <a:endParaRPr lang="en-US" sz="1200" noProof="1"/>
            </a:p>
          </p:txBody>
        </p:sp>
        <p:sp>
          <p:nvSpPr>
            <p:cNvPr id="88" name="Freihandform 87"/>
            <p:cNvSpPr/>
            <p:nvPr/>
          </p:nvSpPr>
          <p:spPr bwMode="gray">
            <a:xfrm>
              <a:off x="816159" y="2032840"/>
              <a:ext cx="8002889" cy="3408218"/>
            </a:xfrm>
            <a:custGeom>
              <a:avLst/>
              <a:gdLst>
                <a:gd name="connsiteX0" fmla="*/ 0 w 8002889"/>
                <a:gd name="connsiteY0" fmla="*/ 3408218 h 3408218"/>
                <a:gd name="connsiteX1" fmla="*/ 687689 w 8002889"/>
                <a:gd name="connsiteY1" fmla="*/ 1707887 h 3408218"/>
                <a:gd name="connsiteX2" fmla="*/ 3491345 w 8002889"/>
                <a:gd name="connsiteY2" fmla="*/ 695246 h 3408218"/>
                <a:gd name="connsiteX3" fmla="*/ 7005362 w 8002889"/>
                <a:gd name="connsiteY3" fmla="*/ 120912 h 3408218"/>
                <a:gd name="connsiteX4" fmla="*/ 8002889 w 8002889"/>
                <a:gd name="connsiteY4" fmla="*/ 0 h 3408218"/>
                <a:gd name="connsiteX5" fmla="*/ 0 w 8002889"/>
                <a:gd name="connsiteY5" fmla="*/ 3408218 h 340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2889" h="3408218">
                  <a:moveTo>
                    <a:pt x="0" y="3408218"/>
                  </a:moveTo>
                  <a:lnTo>
                    <a:pt x="687689" y="1707887"/>
                  </a:lnTo>
                  <a:lnTo>
                    <a:pt x="3491345" y="695246"/>
                  </a:lnTo>
                  <a:lnTo>
                    <a:pt x="7005362" y="120912"/>
                  </a:lnTo>
                  <a:lnTo>
                    <a:pt x="8002889" y="0"/>
                  </a:lnTo>
                  <a:lnTo>
                    <a:pt x="0" y="3408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9" name="Freihandform 88"/>
            <p:cNvSpPr/>
            <p:nvPr/>
          </p:nvSpPr>
          <p:spPr bwMode="gray">
            <a:xfrm>
              <a:off x="808602" y="2032841"/>
              <a:ext cx="8018003" cy="3408218"/>
            </a:xfrm>
            <a:custGeom>
              <a:avLst/>
              <a:gdLst>
                <a:gd name="connsiteX0" fmla="*/ 0 w 8018003"/>
                <a:gd name="connsiteY0" fmla="*/ 3415775 h 3415775"/>
                <a:gd name="connsiteX1" fmla="*/ 695246 w 8018003"/>
                <a:gd name="connsiteY1" fmla="*/ 1715444 h 3415775"/>
                <a:gd name="connsiteX2" fmla="*/ 3498902 w 8018003"/>
                <a:gd name="connsiteY2" fmla="*/ 702803 h 3415775"/>
                <a:gd name="connsiteX3" fmla="*/ 7005362 w 8018003"/>
                <a:gd name="connsiteY3" fmla="*/ 128469 h 3415775"/>
                <a:gd name="connsiteX4" fmla="*/ 8018003 w 8018003"/>
                <a:gd name="connsiteY4" fmla="*/ 0 h 3415775"/>
                <a:gd name="connsiteX0" fmla="*/ 0 w 8018003"/>
                <a:gd name="connsiteY0" fmla="*/ 3408218 h 3408218"/>
                <a:gd name="connsiteX1" fmla="*/ 695246 w 8018003"/>
                <a:gd name="connsiteY1" fmla="*/ 1707887 h 3408218"/>
                <a:gd name="connsiteX2" fmla="*/ 3498902 w 8018003"/>
                <a:gd name="connsiteY2" fmla="*/ 695246 h 3408218"/>
                <a:gd name="connsiteX3" fmla="*/ 7005362 w 8018003"/>
                <a:gd name="connsiteY3" fmla="*/ 120912 h 3408218"/>
                <a:gd name="connsiteX4" fmla="*/ 8018003 w 8018003"/>
                <a:gd name="connsiteY4" fmla="*/ 0 h 340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8003" h="3408218">
                  <a:moveTo>
                    <a:pt x="0" y="3408218"/>
                  </a:moveTo>
                  <a:lnTo>
                    <a:pt x="695246" y="1707887"/>
                  </a:lnTo>
                  <a:lnTo>
                    <a:pt x="3498902" y="695246"/>
                  </a:lnTo>
                  <a:lnTo>
                    <a:pt x="7005362" y="120912"/>
                  </a:lnTo>
                  <a:lnTo>
                    <a:pt x="8018003" y="0"/>
                  </a:lnTo>
                </a:path>
              </a:pathLst>
            </a:custGeom>
            <a:ln w="28575">
              <a:solidFill>
                <a:srgbClr val="7D7D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91" name="Gerade Verbindung 90"/>
            <p:cNvCxnSpPr>
              <a:stCxn id="88" idx="4"/>
              <a:endCxn id="88" idx="0"/>
            </p:cNvCxnSpPr>
            <p:nvPr/>
          </p:nvCxnSpPr>
          <p:spPr bwMode="gray">
            <a:xfrm flipH="1">
              <a:off x="816159" y="2032840"/>
              <a:ext cx="8002889" cy="3408218"/>
            </a:xfrm>
            <a:prstGeom prst="line">
              <a:avLst/>
            </a:prstGeom>
            <a:ln w="28575">
              <a:solidFill>
                <a:srgbClr val="7D7D7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Raute 91"/>
            <p:cNvSpPr/>
            <p:nvPr/>
          </p:nvSpPr>
          <p:spPr bwMode="gray">
            <a:xfrm>
              <a:off x="1457986" y="3696362"/>
              <a:ext cx="90753" cy="90753"/>
            </a:xfrm>
            <a:prstGeom prst="diamond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3" name="Raute 92"/>
            <p:cNvSpPr/>
            <p:nvPr/>
          </p:nvSpPr>
          <p:spPr bwMode="gray">
            <a:xfrm>
              <a:off x="4255359" y="2688206"/>
              <a:ext cx="90753" cy="90753"/>
            </a:xfrm>
            <a:prstGeom prst="diamond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4" name="Raute 93"/>
            <p:cNvSpPr/>
            <p:nvPr/>
          </p:nvSpPr>
          <p:spPr bwMode="gray">
            <a:xfrm>
              <a:off x="773589" y="5389991"/>
              <a:ext cx="90753" cy="90753"/>
            </a:xfrm>
            <a:prstGeom prst="diamond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5" name="Raute 94"/>
            <p:cNvSpPr/>
            <p:nvPr/>
          </p:nvSpPr>
          <p:spPr bwMode="gray">
            <a:xfrm>
              <a:off x="7773642" y="2108860"/>
              <a:ext cx="90753" cy="90753"/>
            </a:xfrm>
            <a:prstGeom prst="diamond">
              <a:avLst/>
            </a:prstGeom>
            <a:solidFill>
              <a:srgbClr val="7D7D7D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98" name="Gerade Verbindung 97"/>
            <p:cNvCxnSpPr>
              <a:stCxn id="92" idx="0"/>
            </p:cNvCxnSpPr>
            <p:nvPr/>
          </p:nvCxnSpPr>
          <p:spPr bwMode="gray">
            <a:xfrm flipV="1">
              <a:off x="1503363" y="2778959"/>
              <a:ext cx="0" cy="917403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Rechteck 98"/>
            <p:cNvSpPr/>
            <p:nvPr/>
          </p:nvSpPr>
          <p:spPr bwMode="gray">
            <a:xfrm>
              <a:off x="1588010" y="2783823"/>
              <a:ext cx="1752600" cy="32901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rtlCol="0" anchor="ctr"/>
            <a:lstStyle/>
            <a:p>
              <a:r>
                <a:rPr lang="en-US" sz="1400" b="1" noProof="1" smtClean="0"/>
                <a:t>10 Customers make</a:t>
              </a:r>
              <a:br>
                <a:rPr lang="en-US" sz="1400" b="1" noProof="1" smtClean="0"/>
              </a:br>
              <a:r>
                <a:rPr lang="en-US" sz="1400" b="1" noProof="1" smtClean="0">
                  <a:solidFill>
                    <a:srgbClr val="FF0000"/>
                  </a:solidFill>
                </a:rPr>
                <a:t>50% </a:t>
              </a:r>
              <a:r>
                <a:rPr lang="en-US" sz="1400" b="1" noProof="1" smtClean="0"/>
                <a:t>of the sales</a:t>
              </a:r>
              <a:endParaRPr lang="en-US" sz="1400" b="1" noProof="1"/>
            </a:p>
          </p:txBody>
        </p:sp>
        <p:sp>
          <p:nvSpPr>
            <p:cNvPr id="100" name="Rechteck 99"/>
            <p:cNvSpPr/>
            <p:nvPr/>
          </p:nvSpPr>
          <p:spPr bwMode="gray">
            <a:xfrm>
              <a:off x="5513263" y="3433326"/>
              <a:ext cx="2298677" cy="56726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r"/>
              <a:r>
                <a:rPr lang="en-US" sz="1400" b="1" noProof="1" smtClean="0"/>
                <a:t>The majority of the customer accounts </a:t>
              </a:r>
              <a:br>
                <a:rPr lang="en-US" sz="1400" b="1" noProof="1" smtClean="0"/>
              </a:br>
              <a:r>
                <a:rPr lang="en-US" sz="1400" b="1" noProof="1" smtClean="0"/>
                <a:t>for less than </a:t>
              </a:r>
              <a:r>
                <a:rPr lang="en-US" sz="1400" b="1" noProof="1" smtClean="0">
                  <a:solidFill>
                    <a:srgbClr val="FF0000"/>
                  </a:solidFill>
                </a:rPr>
                <a:t>10%</a:t>
              </a:r>
              <a:r>
                <a:rPr lang="en-US" sz="1400" b="1" noProof="1" smtClean="0"/>
                <a:t> </a:t>
              </a:r>
              <a:br>
                <a:rPr lang="en-US" sz="1400" b="1" noProof="1" smtClean="0"/>
              </a:br>
              <a:r>
                <a:rPr lang="en-US" sz="1400" b="1" noProof="1" smtClean="0"/>
                <a:t>of sales.</a:t>
              </a:r>
              <a:endParaRPr lang="en-US" sz="1400" b="1" noProof="1"/>
            </a:p>
          </p:txBody>
        </p:sp>
        <p:cxnSp>
          <p:nvCxnSpPr>
            <p:cNvPr id="102" name="Gerade Verbindung 101"/>
            <p:cNvCxnSpPr/>
            <p:nvPr/>
          </p:nvCxnSpPr>
          <p:spPr bwMode="gray">
            <a:xfrm flipV="1">
              <a:off x="7821613" y="2179212"/>
              <a:ext cx="0" cy="1813517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Ellipse 3"/>
            <p:cNvSpPr/>
            <p:nvPr/>
          </p:nvSpPr>
          <p:spPr bwMode="gray">
            <a:xfrm>
              <a:off x="1326137" y="3570250"/>
              <a:ext cx="341760" cy="341760"/>
            </a:xfrm>
            <a:prstGeom prst="ellipse">
              <a:avLst/>
            </a:prstGeom>
            <a:solidFill>
              <a:srgbClr val="C00000">
                <a:alpha val="50000"/>
              </a:srgbClr>
            </a:solidFill>
            <a:ln w="12700">
              <a:solidFill>
                <a:srgbClr val="A5002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66" name="Ellipse 65"/>
            <p:cNvSpPr/>
            <p:nvPr/>
          </p:nvSpPr>
          <p:spPr bwMode="gray">
            <a:xfrm>
              <a:off x="7633328" y="1977415"/>
              <a:ext cx="341760" cy="341760"/>
            </a:xfrm>
            <a:prstGeom prst="ellipse">
              <a:avLst/>
            </a:prstGeom>
            <a:solidFill>
              <a:srgbClr val="C00000">
                <a:alpha val="50000"/>
              </a:srgbClr>
            </a:solidFill>
            <a:ln w="12700">
              <a:solidFill>
                <a:srgbClr val="A5002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6" name="Gerade Verbindung 5"/>
            <p:cNvCxnSpPr/>
            <p:nvPr/>
          </p:nvCxnSpPr>
          <p:spPr bwMode="gray">
            <a:xfrm>
              <a:off x="8805709" y="2032840"/>
              <a:ext cx="0" cy="3406679"/>
            </a:xfrm>
            <a:prstGeom prst="line">
              <a:avLst/>
            </a:prstGeom>
            <a:ln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/>
          </p:nvCxnSpPr>
          <p:spPr bwMode="gray">
            <a:xfrm flipH="1">
              <a:off x="775968" y="2047744"/>
              <a:ext cx="8002888" cy="0"/>
            </a:xfrm>
            <a:prstGeom prst="line">
              <a:avLst/>
            </a:prstGeom>
            <a:ln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5559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>
            <a:spLocks noGrp="1" noChangeArrowheads="1"/>
          </p:cNvSpPr>
          <p:nvPr>
            <p:ph type="title"/>
          </p:nvPr>
        </p:nvSpPr>
        <p:spPr bwMode="gray">
          <a:ln/>
        </p:spPr>
        <p:txBody>
          <a:bodyPr tIns="35203"/>
          <a:lstStyle/>
          <a:p>
            <a:pPr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</a:pPr>
            <a:r>
              <a:rPr lang="en-US" noProof="1" smtClean="0"/>
              <a:t>CRM- Functional Chain</a:t>
            </a:r>
            <a:endParaRPr lang="en-US" noProof="1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A CRM- busines </a:t>
            </a:r>
            <a:r>
              <a:rPr lang="en-US" noProof="1"/>
              <a:t>m</a:t>
            </a:r>
            <a:r>
              <a:rPr lang="en-US" noProof="1" smtClean="0"/>
              <a:t>odel should relate to a functional chain </a:t>
            </a:r>
            <a:endParaRPr lang="en-US" noProof="1"/>
          </a:p>
        </p:txBody>
      </p:sp>
      <p:grpSp>
        <p:nvGrpSpPr>
          <p:cNvPr id="2" name="Gruppieren 91"/>
          <p:cNvGrpSpPr/>
          <p:nvPr/>
        </p:nvGrpSpPr>
        <p:grpSpPr bwMode="gray">
          <a:xfrm>
            <a:off x="-547689" y="2328603"/>
            <a:ext cx="10537723" cy="2843526"/>
            <a:chOff x="-547688" y="2706557"/>
            <a:chExt cx="7763784" cy="2094999"/>
          </a:xfrm>
        </p:grpSpPr>
        <p:sp>
          <p:nvSpPr>
            <p:cNvPr id="17410" name="AutoShape 2"/>
            <p:cNvSpPr>
              <a:spLocks noChangeArrowheads="1"/>
            </p:cNvSpPr>
            <p:nvPr/>
          </p:nvSpPr>
          <p:spPr bwMode="gray">
            <a:xfrm>
              <a:off x="323850" y="2706557"/>
              <a:ext cx="1323975" cy="57618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Customern-Orientation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7411" name="AutoShape 3"/>
            <p:cNvSpPr>
              <a:spLocks noChangeArrowheads="1"/>
            </p:cNvSpPr>
            <p:nvPr/>
          </p:nvSpPr>
          <p:spPr bwMode="gray">
            <a:xfrm>
              <a:off x="1195000" y="4225374"/>
              <a:ext cx="1296523" cy="57618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Qualitäts-Orientation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7412" name="AutoShape 4"/>
            <p:cNvSpPr>
              <a:spLocks noChangeArrowheads="1"/>
            </p:cNvSpPr>
            <p:nvPr/>
          </p:nvSpPr>
          <p:spPr bwMode="gray">
            <a:xfrm>
              <a:off x="2069205" y="2706557"/>
              <a:ext cx="1310581" cy="57618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Customern-</a:t>
              </a:r>
              <a:br>
                <a:rPr lang="en-US" noProof="1" smtClean="0">
                  <a:solidFill>
                    <a:srgbClr val="FFFFFF"/>
                  </a:solidFill>
                </a:rPr>
              </a:br>
              <a:r>
                <a:rPr lang="en-US" noProof="1" smtClean="0">
                  <a:solidFill>
                    <a:srgbClr val="FFFFFF"/>
                  </a:solidFill>
                </a:rPr>
                <a:t>zufriedenheit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7413" name="AutoShape 5"/>
            <p:cNvSpPr>
              <a:spLocks noChangeArrowheads="1"/>
            </p:cNvSpPr>
            <p:nvPr/>
          </p:nvSpPr>
          <p:spPr bwMode="gray">
            <a:xfrm>
              <a:off x="2954896" y="4225374"/>
              <a:ext cx="1319349" cy="57618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Customern-</a:t>
              </a:r>
              <a:br>
                <a:rPr lang="en-US" noProof="1" smtClean="0">
                  <a:solidFill>
                    <a:srgbClr val="FFFFFF"/>
                  </a:solidFill>
                </a:rPr>
              </a:br>
              <a:r>
                <a:rPr lang="en-US" noProof="1" smtClean="0">
                  <a:solidFill>
                    <a:srgbClr val="FFFFFF"/>
                  </a:solidFill>
                </a:rPr>
                <a:t>bindung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7414" name="AutoShape 6"/>
            <p:cNvSpPr>
              <a:spLocks noChangeArrowheads="1"/>
            </p:cNvSpPr>
            <p:nvPr/>
          </p:nvSpPr>
          <p:spPr bwMode="gray">
            <a:xfrm>
              <a:off x="3873499" y="2706558"/>
              <a:ext cx="1309688" cy="57618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Customern-</a:t>
              </a:r>
              <a:br>
                <a:rPr lang="en-US" noProof="1" smtClean="0">
                  <a:solidFill>
                    <a:srgbClr val="FFFFFF"/>
                  </a:solidFill>
                </a:rPr>
              </a:br>
              <a:r>
                <a:rPr lang="en-US" noProof="1" smtClean="0">
                  <a:solidFill>
                    <a:srgbClr val="FFFFFF"/>
                  </a:solidFill>
                </a:rPr>
                <a:t>wert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sp>
          <p:nvSpPr>
            <p:cNvPr id="17415" name="AutoShape 7"/>
            <p:cNvSpPr>
              <a:spLocks noChangeArrowheads="1"/>
            </p:cNvSpPr>
            <p:nvPr/>
          </p:nvSpPr>
          <p:spPr bwMode="gray">
            <a:xfrm>
              <a:off x="4794247" y="4225374"/>
              <a:ext cx="1308836" cy="57618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1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</a:tabLst>
              </a:pPr>
              <a:r>
                <a:rPr lang="en-US" noProof="1" smtClean="0">
                  <a:solidFill>
                    <a:srgbClr val="FFFFFF"/>
                  </a:solidFill>
                </a:rPr>
                <a:t>Unternehmens-</a:t>
              </a:r>
              <a:br>
                <a:rPr lang="en-US" noProof="1" smtClean="0">
                  <a:solidFill>
                    <a:srgbClr val="FFFFFF"/>
                  </a:solidFill>
                </a:rPr>
              </a:br>
              <a:r>
                <a:rPr lang="en-US" noProof="1" smtClean="0">
                  <a:solidFill>
                    <a:srgbClr val="FFFFFF"/>
                  </a:solidFill>
                </a:rPr>
                <a:t>erfolg</a:t>
              </a:r>
              <a:endParaRPr lang="en-US" noProof="1">
                <a:solidFill>
                  <a:srgbClr val="FFFFFF"/>
                </a:solidFill>
              </a:endParaRPr>
            </a:p>
          </p:txBody>
        </p:sp>
        <p:pic>
          <p:nvPicPr>
            <p:cNvPr id="63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118236" y="3960720"/>
              <a:ext cx="1756033" cy="264654"/>
            </a:xfrm>
            <a:prstGeom prst="rect">
              <a:avLst/>
            </a:prstGeom>
            <a:noFill/>
          </p:spPr>
        </p:pic>
        <p:pic>
          <p:nvPicPr>
            <p:cNvPr id="64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1837445" y="3960720"/>
              <a:ext cx="1756033" cy="264654"/>
            </a:xfrm>
            <a:prstGeom prst="rect">
              <a:avLst/>
            </a:prstGeom>
            <a:noFill/>
          </p:spPr>
        </p:pic>
        <p:pic>
          <p:nvPicPr>
            <p:cNvPr id="65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3661491" y="3960720"/>
              <a:ext cx="1756033" cy="264654"/>
            </a:xfrm>
            <a:prstGeom prst="rect">
              <a:avLst/>
            </a:prstGeom>
            <a:noFill/>
          </p:spPr>
        </p:pic>
        <p:pic>
          <p:nvPicPr>
            <p:cNvPr id="66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5460063" y="3960720"/>
              <a:ext cx="1756033" cy="264654"/>
            </a:xfrm>
            <a:prstGeom prst="rect">
              <a:avLst/>
            </a:prstGeom>
            <a:noFill/>
          </p:spPr>
        </p:pic>
        <p:sp>
          <p:nvSpPr>
            <p:cNvPr id="69" name="Freeform 36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336550" y="3282739"/>
              <a:ext cx="1311275" cy="806450"/>
            </a:xfrm>
            <a:custGeom>
              <a:avLst/>
              <a:gdLst>
                <a:gd name="T0" fmla="*/ 729 w 972"/>
                <a:gd name="T1" fmla="*/ 0 h 598"/>
                <a:gd name="T2" fmla="*/ 243 w 972"/>
                <a:gd name="T3" fmla="*/ 0 h 598"/>
                <a:gd name="T4" fmla="*/ 0 w 972"/>
                <a:gd name="T5" fmla="*/ 299 h 598"/>
                <a:gd name="T6" fmla="*/ 243 w 972"/>
                <a:gd name="T7" fmla="*/ 598 h 598"/>
                <a:gd name="T8" fmla="*/ 729 w 972"/>
                <a:gd name="T9" fmla="*/ 598 h 598"/>
                <a:gd name="T10" fmla="*/ 972 w 972"/>
                <a:gd name="T11" fmla="*/ 299 h 598"/>
                <a:gd name="T12" fmla="*/ 729 w 972"/>
                <a:gd name="T13" fmla="*/ 0 h 598"/>
                <a:gd name="T14" fmla="*/ 659 w 972"/>
                <a:gd name="T15" fmla="*/ 456 h 598"/>
                <a:gd name="T16" fmla="*/ 314 w 972"/>
                <a:gd name="T17" fmla="*/ 456 h 598"/>
                <a:gd name="T18" fmla="*/ 142 w 972"/>
                <a:gd name="T19" fmla="*/ 299 h 598"/>
                <a:gd name="T20" fmla="*/ 314 w 972"/>
                <a:gd name="T21" fmla="*/ 142 h 598"/>
                <a:gd name="T22" fmla="*/ 659 w 972"/>
                <a:gd name="T23" fmla="*/ 142 h 598"/>
                <a:gd name="T24" fmla="*/ 831 w 972"/>
                <a:gd name="T25" fmla="*/ 299 h 598"/>
                <a:gd name="T26" fmla="*/ 659 w 972"/>
                <a:gd name="T27" fmla="*/ 456 h 5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72"/>
                <a:gd name="T43" fmla="*/ 0 h 598"/>
                <a:gd name="T44" fmla="*/ 972 w 972"/>
                <a:gd name="T45" fmla="*/ 598 h 59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72" h="598">
                  <a:moveTo>
                    <a:pt x="729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109" y="0"/>
                    <a:pt x="0" y="134"/>
                    <a:pt x="0" y="299"/>
                  </a:cubicBezTo>
                  <a:cubicBezTo>
                    <a:pt x="0" y="464"/>
                    <a:pt x="109" y="598"/>
                    <a:pt x="243" y="598"/>
                  </a:cubicBezTo>
                  <a:cubicBezTo>
                    <a:pt x="729" y="598"/>
                    <a:pt x="729" y="598"/>
                    <a:pt x="729" y="598"/>
                  </a:cubicBezTo>
                  <a:cubicBezTo>
                    <a:pt x="864" y="598"/>
                    <a:pt x="972" y="464"/>
                    <a:pt x="972" y="299"/>
                  </a:cubicBezTo>
                  <a:cubicBezTo>
                    <a:pt x="972" y="134"/>
                    <a:pt x="864" y="0"/>
                    <a:pt x="729" y="0"/>
                  </a:cubicBezTo>
                  <a:close/>
                  <a:moveTo>
                    <a:pt x="659" y="456"/>
                  </a:moveTo>
                  <a:cubicBezTo>
                    <a:pt x="314" y="456"/>
                    <a:pt x="314" y="456"/>
                    <a:pt x="314" y="456"/>
                  </a:cubicBezTo>
                  <a:cubicBezTo>
                    <a:pt x="219" y="456"/>
                    <a:pt x="142" y="386"/>
                    <a:pt x="142" y="299"/>
                  </a:cubicBezTo>
                  <a:cubicBezTo>
                    <a:pt x="142" y="212"/>
                    <a:pt x="219" y="142"/>
                    <a:pt x="314" y="142"/>
                  </a:cubicBezTo>
                  <a:cubicBezTo>
                    <a:pt x="659" y="142"/>
                    <a:pt x="659" y="142"/>
                    <a:pt x="659" y="142"/>
                  </a:cubicBezTo>
                  <a:cubicBezTo>
                    <a:pt x="754" y="142"/>
                    <a:pt x="831" y="212"/>
                    <a:pt x="831" y="299"/>
                  </a:cubicBezTo>
                  <a:cubicBezTo>
                    <a:pt x="831" y="386"/>
                    <a:pt x="754" y="456"/>
                    <a:pt x="659" y="45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  <p:grpSp>
          <p:nvGrpSpPr>
            <p:cNvPr id="3" name="Group 78"/>
            <p:cNvGrpSpPr>
              <a:grpSpLocks/>
            </p:cNvGrpSpPr>
            <p:nvPr/>
          </p:nvGrpSpPr>
          <p:grpSpPr bwMode="gray">
            <a:xfrm>
              <a:off x="1182687" y="3282739"/>
              <a:ext cx="2197099" cy="806450"/>
              <a:chOff x="1195" y="2184"/>
              <a:chExt cx="1259" cy="462"/>
            </a:xfrm>
          </p:grpSpPr>
          <p:sp>
            <p:nvSpPr>
              <p:cNvPr id="81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1703" y="2184"/>
                <a:ext cx="751" cy="462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82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195" y="2361"/>
                <a:ext cx="750" cy="108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noProof="1"/>
              </a:p>
            </p:txBody>
          </p:sp>
        </p:grpSp>
        <p:sp>
          <p:nvSpPr>
            <p:cNvPr id="71" name="Freeform 50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3873500" y="3282739"/>
              <a:ext cx="1309688" cy="806450"/>
            </a:xfrm>
            <a:custGeom>
              <a:avLst/>
              <a:gdLst>
                <a:gd name="T0" fmla="*/ 729 w 972"/>
                <a:gd name="T1" fmla="*/ 0 h 598"/>
                <a:gd name="T2" fmla="*/ 243 w 972"/>
                <a:gd name="T3" fmla="*/ 0 h 598"/>
                <a:gd name="T4" fmla="*/ 0 w 972"/>
                <a:gd name="T5" fmla="*/ 299 h 598"/>
                <a:gd name="T6" fmla="*/ 243 w 972"/>
                <a:gd name="T7" fmla="*/ 598 h 598"/>
                <a:gd name="T8" fmla="*/ 729 w 972"/>
                <a:gd name="T9" fmla="*/ 598 h 598"/>
                <a:gd name="T10" fmla="*/ 972 w 972"/>
                <a:gd name="T11" fmla="*/ 299 h 598"/>
                <a:gd name="T12" fmla="*/ 729 w 972"/>
                <a:gd name="T13" fmla="*/ 0 h 598"/>
                <a:gd name="T14" fmla="*/ 659 w 972"/>
                <a:gd name="T15" fmla="*/ 456 h 598"/>
                <a:gd name="T16" fmla="*/ 314 w 972"/>
                <a:gd name="T17" fmla="*/ 456 h 598"/>
                <a:gd name="T18" fmla="*/ 142 w 972"/>
                <a:gd name="T19" fmla="*/ 299 h 598"/>
                <a:gd name="T20" fmla="*/ 314 w 972"/>
                <a:gd name="T21" fmla="*/ 142 h 598"/>
                <a:gd name="T22" fmla="*/ 659 w 972"/>
                <a:gd name="T23" fmla="*/ 142 h 598"/>
                <a:gd name="T24" fmla="*/ 831 w 972"/>
                <a:gd name="T25" fmla="*/ 299 h 598"/>
                <a:gd name="T26" fmla="*/ 659 w 972"/>
                <a:gd name="T27" fmla="*/ 456 h 5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72"/>
                <a:gd name="T43" fmla="*/ 0 h 598"/>
                <a:gd name="T44" fmla="*/ 972 w 972"/>
                <a:gd name="T45" fmla="*/ 598 h 59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72" h="598">
                  <a:moveTo>
                    <a:pt x="729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109" y="0"/>
                    <a:pt x="0" y="134"/>
                    <a:pt x="0" y="299"/>
                  </a:cubicBezTo>
                  <a:cubicBezTo>
                    <a:pt x="0" y="464"/>
                    <a:pt x="109" y="598"/>
                    <a:pt x="243" y="598"/>
                  </a:cubicBezTo>
                  <a:cubicBezTo>
                    <a:pt x="729" y="598"/>
                    <a:pt x="729" y="598"/>
                    <a:pt x="729" y="598"/>
                  </a:cubicBezTo>
                  <a:cubicBezTo>
                    <a:pt x="864" y="598"/>
                    <a:pt x="972" y="464"/>
                    <a:pt x="972" y="299"/>
                  </a:cubicBezTo>
                  <a:cubicBezTo>
                    <a:pt x="972" y="134"/>
                    <a:pt x="864" y="0"/>
                    <a:pt x="729" y="0"/>
                  </a:cubicBezTo>
                  <a:close/>
                  <a:moveTo>
                    <a:pt x="659" y="456"/>
                  </a:moveTo>
                  <a:cubicBezTo>
                    <a:pt x="314" y="456"/>
                    <a:pt x="314" y="456"/>
                    <a:pt x="314" y="456"/>
                  </a:cubicBezTo>
                  <a:cubicBezTo>
                    <a:pt x="219" y="456"/>
                    <a:pt x="142" y="386"/>
                    <a:pt x="142" y="299"/>
                  </a:cubicBezTo>
                  <a:cubicBezTo>
                    <a:pt x="142" y="212"/>
                    <a:pt x="219" y="142"/>
                    <a:pt x="314" y="142"/>
                  </a:cubicBezTo>
                  <a:cubicBezTo>
                    <a:pt x="659" y="142"/>
                    <a:pt x="659" y="142"/>
                    <a:pt x="659" y="142"/>
                  </a:cubicBezTo>
                  <a:cubicBezTo>
                    <a:pt x="754" y="142"/>
                    <a:pt x="831" y="212"/>
                    <a:pt x="831" y="299"/>
                  </a:cubicBezTo>
                  <a:cubicBezTo>
                    <a:pt x="831" y="386"/>
                    <a:pt x="754" y="456"/>
                    <a:pt x="659" y="456"/>
                  </a:cubicBezTo>
                  <a:close/>
                </a:path>
              </a:pathLst>
            </a:custGeom>
            <a:gradFill rotWithShape="1">
              <a:gsLst>
                <a:gs pos="0">
                  <a:srgbClr val="595959"/>
                </a:gs>
                <a:gs pos="100000">
                  <a:srgbClr val="C0C0C0"/>
                </a:gs>
              </a:gsLst>
              <a:path path="rect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78" name="Freeform 57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5680765" y="3282739"/>
              <a:ext cx="1310581" cy="806450"/>
            </a:xfrm>
            <a:custGeom>
              <a:avLst/>
              <a:gdLst>
                <a:gd name="T0" fmla="*/ 729 w 972"/>
                <a:gd name="T1" fmla="*/ 0 h 598"/>
                <a:gd name="T2" fmla="*/ 243 w 972"/>
                <a:gd name="T3" fmla="*/ 0 h 598"/>
                <a:gd name="T4" fmla="*/ 0 w 972"/>
                <a:gd name="T5" fmla="*/ 299 h 598"/>
                <a:gd name="T6" fmla="*/ 243 w 972"/>
                <a:gd name="T7" fmla="*/ 598 h 598"/>
                <a:gd name="T8" fmla="*/ 729 w 972"/>
                <a:gd name="T9" fmla="*/ 598 h 598"/>
                <a:gd name="T10" fmla="*/ 972 w 972"/>
                <a:gd name="T11" fmla="*/ 299 h 598"/>
                <a:gd name="T12" fmla="*/ 729 w 972"/>
                <a:gd name="T13" fmla="*/ 0 h 598"/>
                <a:gd name="T14" fmla="*/ 659 w 972"/>
                <a:gd name="T15" fmla="*/ 456 h 598"/>
                <a:gd name="T16" fmla="*/ 314 w 972"/>
                <a:gd name="T17" fmla="*/ 456 h 598"/>
                <a:gd name="T18" fmla="*/ 142 w 972"/>
                <a:gd name="T19" fmla="*/ 299 h 598"/>
                <a:gd name="T20" fmla="*/ 314 w 972"/>
                <a:gd name="T21" fmla="*/ 142 h 598"/>
                <a:gd name="T22" fmla="*/ 659 w 972"/>
                <a:gd name="T23" fmla="*/ 142 h 598"/>
                <a:gd name="T24" fmla="*/ 831 w 972"/>
                <a:gd name="T25" fmla="*/ 299 h 598"/>
                <a:gd name="T26" fmla="*/ 659 w 972"/>
                <a:gd name="T27" fmla="*/ 456 h 59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72"/>
                <a:gd name="T43" fmla="*/ 0 h 598"/>
                <a:gd name="T44" fmla="*/ 972 w 972"/>
                <a:gd name="T45" fmla="*/ 598 h 59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72" h="598">
                  <a:moveTo>
                    <a:pt x="729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109" y="0"/>
                    <a:pt x="0" y="134"/>
                    <a:pt x="0" y="299"/>
                  </a:cubicBezTo>
                  <a:cubicBezTo>
                    <a:pt x="0" y="464"/>
                    <a:pt x="109" y="598"/>
                    <a:pt x="243" y="598"/>
                  </a:cubicBezTo>
                  <a:cubicBezTo>
                    <a:pt x="729" y="598"/>
                    <a:pt x="729" y="598"/>
                    <a:pt x="729" y="598"/>
                  </a:cubicBezTo>
                  <a:cubicBezTo>
                    <a:pt x="864" y="598"/>
                    <a:pt x="972" y="464"/>
                    <a:pt x="972" y="299"/>
                  </a:cubicBezTo>
                  <a:cubicBezTo>
                    <a:pt x="972" y="134"/>
                    <a:pt x="864" y="0"/>
                    <a:pt x="729" y="0"/>
                  </a:cubicBezTo>
                  <a:close/>
                  <a:moveTo>
                    <a:pt x="659" y="456"/>
                  </a:moveTo>
                  <a:cubicBezTo>
                    <a:pt x="314" y="456"/>
                    <a:pt x="314" y="456"/>
                    <a:pt x="314" y="456"/>
                  </a:cubicBezTo>
                  <a:cubicBezTo>
                    <a:pt x="219" y="456"/>
                    <a:pt x="142" y="386"/>
                    <a:pt x="142" y="299"/>
                  </a:cubicBezTo>
                  <a:cubicBezTo>
                    <a:pt x="142" y="212"/>
                    <a:pt x="219" y="142"/>
                    <a:pt x="314" y="142"/>
                  </a:cubicBezTo>
                  <a:cubicBezTo>
                    <a:pt x="659" y="142"/>
                    <a:pt x="659" y="142"/>
                    <a:pt x="659" y="142"/>
                  </a:cubicBezTo>
                  <a:cubicBezTo>
                    <a:pt x="754" y="142"/>
                    <a:pt x="831" y="212"/>
                    <a:pt x="831" y="299"/>
                  </a:cubicBezTo>
                  <a:cubicBezTo>
                    <a:pt x="831" y="386"/>
                    <a:pt x="754" y="456"/>
                    <a:pt x="659" y="456"/>
                  </a:cubicBezTo>
                  <a:close/>
                </a:path>
              </a:pathLst>
            </a:custGeom>
            <a:gradFill rotWithShape="1">
              <a:gsLst>
                <a:gs pos="0">
                  <a:srgbClr val="595959"/>
                </a:gs>
                <a:gs pos="100000">
                  <a:srgbClr val="C0C0C0"/>
                </a:gs>
              </a:gsLst>
              <a:path path="rect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79" name="Freeform 60" descr="© INSCALE GmbH, 26.05.2010&#10;http://www.presentationload.com/"/>
            <p:cNvSpPr>
              <a:spLocks/>
            </p:cNvSpPr>
            <p:nvPr/>
          </p:nvSpPr>
          <p:spPr bwMode="gray">
            <a:xfrm>
              <a:off x="4794247" y="3591704"/>
              <a:ext cx="1308836" cy="188521"/>
            </a:xfrm>
            <a:custGeom>
              <a:avLst/>
              <a:gdLst>
                <a:gd name="T0" fmla="*/ 70 w 970"/>
                <a:gd name="T1" fmla="*/ 0 h 140"/>
                <a:gd name="T2" fmla="*/ 0 w 970"/>
                <a:gd name="T3" fmla="*/ 70 h 140"/>
                <a:gd name="T4" fmla="*/ 70 w 970"/>
                <a:gd name="T5" fmla="*/ 140 h 140"/>
                <a:gd name="T6" fmla="*/ 900 w 970"/>
                <a:gd name="T7" fmla="*/ 140 h 140"/>
                <a:gd name="T8" fmla="*/ 970 w 970"/>
                <a:gd name="T9" fmla="*/ 70 h 140"/>
                <a:gd name="T10" fmla="*/ 900 w 970"/>
                <a:gd name="T11" fmla="*/ 0 h 140"/>
                <a:gd name="T12" fmla="*/ 70 w 970"/>
                <a:gd name="T13" fmla="*/ 0 h 1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70"/>
                <a:gd name="T22" fmla="*/ 0 h 140"/>
                <a:gd name="T23" fmla="*/ 970 w 970"/>
                <a:gd name="T24" fmla="*/ 140 h 1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70" h="140">
                  <a:moveTo>
                    <a:pt x="70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900" y="140"/>
                    <a:pt x="900" y="140"/>
                    <a:pt x="900" y="140"/>
                  </a:cubicBezTo>
                  <a:cubicBezTo>
                    <a:pt x="939" y="140"/>
                    <a:pt x="970" y="109"/>
                    <a:pt x="970" y="70"/>
                  </a:cubicBezTo>
                  <a:cubicBezTo>
                    <a:pt x="970" y="31"/>
                    <a:pt x="939" y="0"/>
                    <a:pt x="900" y="0"/>
                  </a:cubicBezTo>
                  <a:lnTo>
                    <a:pt x="7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7D7D7D"/>
                </a:gs>
              </a:gsLst>
              <a:path path="rect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80" name="Freeform 60" descr="© INSCALE GmbH, 26.05.2010&#10;http://www.presentationload.com/"/>
            <p:cNvSpPr>
              <a:spLocks/>
            </p:cNvSpPr>
            <p:nvPr/>
          </p:nvSpPr>
          <p:spPr bwMode="gray">
            <a:xfrm>
              <a:off x="2954896" y="3591704"/>
              <a:ext cx="1308836" cy="188521"/>
            </a:xfrm>
            <a:custGeom>
              <a:avLst/>
              <a:gdLst>
                <a:gd name="T0" fmla="*/ 70 w 970"/>
                <a:gd name="T1" fmla="*/ 0 h 140"/>
                <a:gd name="T2" fmla="*/ 0 w 970"/>
                <a:gd name="T3" fmla="*/ 70 h 140"/>
                <a:gd name="T4" fmla="*/ 70 w 970"/>
                <a:gd name="T5" fmla="*/ 140 h 140"/>
                <a:gd name="T6" fmla="*/ 900 w 970"/>
                <a:gd name="T7" fmla="*/ 140 h 140"/>
                <a:gd name="T8" fmla="*/ 970 w 970"/>
                <a:gd name="T9" fmla="*/ 70 h 140"/>
                <a:gd name="T10" fmla="*/ 900 w 970"/>
                <a:gd name="T11" fmla="*/ 0 h 140"/>
                <a:gd name="T12" fmla="*/ 70 w 970"/>
                <a:gd name="T13" fmla="*/ 0 h 1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70"/>
                <a:gd name="T22" fmla="*/ 0 h 140"/>
                <a:gd name="T23" fmla="*/ 970 w 970"/>
                <a:gd name="T24" fmla="*/ 140 h 1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70" h="140">
                  <a:moveTo>
                    <a:pt x="70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900" y="140"/>
                    <a:pt x="900" y="140"/>
                    <a:pt x="900" y="140"/>
                  </a:cubicBezTo>
                  <a:cubicBezTo>
                    <a:pt x="939" y="140"/>
                    <a:pt x="970" y="109"/>
                    <a:pt x="970" y="70"/>
                  </a:cubicBezTo>
                  <a:cubicBezTo>
                    <a:pt x="970" y="31"/>
                    <a:pt x="939" y="0"/>
                    <a:pt x="900" y="0"/>
                  </a:cubicBezTo>
                  <a:lnTo>
                    <a:pt x="7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7D7D7D"/>
                </a:gs>
              </a:gsLst>
              <a:path path="rect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74" name="Freeform 39" descr="© INSCALE GmbH, 26.05.2010&#10;http://www.presentationload.com/"/>
            <p:cNvSpPr>
              <a:spLocks/>
            </p:cNvSpPr>
            <p:nvPr/>
          </p:nvSpPr>
          <p:spPr bwMode="gray">
            <a:xfrm>
              <a:off x="-547688" y="3592301"/>
              <a:ext cx="1306513" cy="187325"/>
            </a:xfrm>
            <a:custGeom>
              <a:avLst/>
              <a:gdLst>
                <a:gd name="T0" fmla="*/ 70 w 970"/>
                <a:gd name="T1" fmla="*/ 0 h 140"/>
                <a:gd name="T2" fmla="*/ 0 w 970"/>
                <a:gd name="T3" fmla="*/ 70 h 140"/>
                <a:gd name="T4" fmla="*/ 70 w 970"/>
                <a:gd name="T5" fmla="*/ 140 h 140"/>
                <a:gd name="T6" fmla="*/ 900 w 970"/>
                <a:gd name="T7" fmla="*/ 140 h 140"/>
                <a:gd name="T8" fmla="*/ 970 w 970"/>
                <a:gd name="T9" fmla="*/ 70 h 140"/>
                <a:gd name="T10" fmla="*/ 900 w 970"/>
                <a:gd name="T11" fmla="*/ 0 h 140"/>
                <a:gd name="T12" fmla="*/ 70 w 970"/>
                <a:gd name="T13" fmla="*/ 0 h 1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70"/>
                <a:gd name="T22" fmla="*/ 0 h 140"/>
                <a:gd name="T23" fmla="*/ 970 w 970"/>
                <a:gd name="T24" fmla="*/ 140 h 1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70" h="140">
                  <a:moveTo>
                    <a:pt x="70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900" y="140"/>
                    <a:pt x="900" y="140"/>
                    <a:pt x="900" y="140"/>
                  </a:cubicBezTo>
                  <a:cubicBezTo>
                    <a:pt x="939" y="140"/>
                    <a:pt x="970" y="109"/>
                    <a:pt x="970" y="70"/>
                  </a:cubicBezTo>
                  <a:cubicBezTo>
                    <a:pt x="970" y="31"/>
                    <a:pt x="939" y="0"/>
                    <a:pt x="900" y="0"/>
                  </a:cubicBezTo>
                  <a:lnTo>
                    <a:pt x="70" y="0"/>
                  </a:ln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7D7D7D"/>
                </a:gs>
              </a:gsLst>
              <a:path path="rect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endParaRPr lang="en-US" noProof="1"/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mpany's entire contact chain from initial contact to the re-sales contact </a:t>
            </a:r>
            <a:endParaRPr lang="en-US" noProof="1"/>
          </a:p>
        </p:txBody>
      </p:sp>
      <p:grpSp>
        <p:nvGrpSpPr>
          <p:cNvPr id="2" name="Gruppieren 40"/>
          <p:cNvGrpSpPr/>
          <p:nvPr/>
        </p:nvGrpSpPr>
        <p:grpSpPr>
          <a:xfrm>
            <a:off x="-208142" y="1546780"/>
            <a:ext cx="9593762" cy="4256975"/>
            <a:chOff x="-208142" y="1546780"/>
            <a:chExt cx="9593762" cy="4256975"/>
          </a:xfrm>
        </p:grpSpPr>
        <p:grpSp>
          <p:nvGrpSpPr>
            <p:cNvPr id="3" name="Gruppieren 39"/>
            <p:cNvGrpSpPr/>
            <p:nvPr/>
          </p:nvGrpSpPr>
          <p:grpSpPr>
            <a:xfrm>
              <a:off x="324680" y="2053748"/>
              <a:ext cx="1615680" cy="3748566"/>
              <a:chOff x="324680" y="2053748"/>
              <a:chExt cx="1615680" cy="3748566"/>
            </a:xfrm>
          </p:grpSpPr>
          <p:sp>
            <p:nvSpPr>
              <p:cNvPr id="18434" name="AutoShape 2"/>
              <p:cNvSpPr>
                <a:spLocks noChangeArrowheads="1"/>
              </p:cNvSpPr>
              <p:nvPr/>
            </p:nvSpPr>
            <p:spPr bwMode="gray">
              <a:xfrm>
                <a:off x="324680" y="2053748"/>
                <a:ext cx="1615680" cy="360000"/>
              </a:xfrm>
              <a:prstGeom prst="roundRect">
                <a:avLst>
                  <a:gd name="adj" fmla="val 338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First Contact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8439" name="AutoShape 7"/>
              <p:cNvSpPr>
                <a:spLocks noChangeArrowheads="1"/>
              </p:cNvSpPr>
              <p:nvPr/>
            </p:nvSpPr>
            <p:spPr bwMode="gray">
              <a:xfrm>
                <a:off x="324680" y="2412309"/>
                <a:ext cx="1615680" cy="3390005"/>
              </a:xfrm>
              <a:prstGeom prst="roundRect">
                <a:avLst>
                  <a:gd name="adj" fmla="val 88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o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inion making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" name="Gruppieren 38"/>
            <p:cNvGrpSpPr/>
            <p:nvPr/>
          </p:nvGrpSpPr>
          <p:grpSpPr>
            <a:xfrm>
              <a:off x="2049800" y="2053748"/>
              <a:ext cx="1615680" cy="3748566"/>
              <a:chOff x="2049800" y="2053748"/>
              <a:chExt cx="1615680" cy="3748566"/>
            </a:xfrm>
          </p:grpSpPr>
          <p:sp>
            <p:nvSpPr>
              <p:cNvPr id="18435" name="AutoShape 3"/>
              <p:cNvSpPr>
                <a:spLocks noChangeArrowheads="1"/>
              </p:cNvSpPr>
              <p:nvPr/>
            </p:nvSpPr>
            <p:spPr bwMode="gray">
              <a:xfrm>
                <a:off x="2049800" y="2053748"/>
                <a:ext cx="1615680" cy="360000"/>
              </a:xfrm>
              <a:prstGeom prst="roundRect">
                <a:avLst>
                  <a:gd name="adj" fmla="val 338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Pre-Sales-Contact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8440" name="AutoShape 8"/>
              <p:cNvSpPr>
                <a:spLocks noChangeArrowheads="1"/>
              </p:cNvSpPr>
              <p:nvPr/>
            </p:nvSpPr>
            <p:spPr bwMode="gray">
              <a:xfrm>
                <a:off x="2049800" y="2412309"/>
                <a:ext cx="1615680" cy="3390005"/>
              </a:xfrm>
              <a:prstGeom prst="roundRect">
                <a:avLst>
                  <a:gd name="adj" fmla="val 88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nsulting 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quotation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urchase negotiations</a:t>
                </a:r>
              </a:p>
            </p:txBody>
          </p:sp>
        </p:grpSp>
        <p:grpSp>
          <p:nvGrpSpPr>
            <p:cNvPr id="5" name="Gruppieren 37"/>
            <p:cNvGrpSpPr/>
            <p:nvPr/>
          </p:nvGrpSpPr>
          <p:grpSpPr>
            <a:xfrm>
              <a:off x="3774920" y="2053748"/>
              <a:ext cx="1615680" cy="3748020"/>
              <a:chOff x="3774920" y="2053748"/>
              <a:chExt cx="1615680" cy="3748020"/>
            </a:xfrm>
          </p:grpSpPr>
          <p:sp>
            <p:nvSpPr>
              <p:cNvPr id="18436" name="AutoShape 4"/>
              <p:cNvSpPr>
                <a:spLocks noChangeArrowheads="1"/>
              </p:cNvSpPr>
              <p:nvPr/>
            </p:nvSpPr>
            <p:spPr bwMode="gray">
              <a:xfrm>
                <a:off x="3774920" y="2053748"/>
                <a:ext cx="1615680" cy="360000"/>
              </a:xfrm>
              <a:prstGeom prst="roundRect">
                <a:avLst>
                  <a:gd name="adj" fmla="val 338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Sales-Contact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8441" name="AutoShape 9"/>
              <p:cNvSpPr>
                <a:spLocks noChangeArrowheads="1"/>
              </p:cNvSpPr>
              <p:nvPr/>
            </p:nvSpPr>
            <p:spPr bwMode="gray">
              <a:xfrm>
                <a:off x="3774920" y="2414135"/>
                <a:ext cx="1615680" cy="3387633"/>
              </a:xfrm>
              <a:prstGeom prst="roundRect">
                <a:avLst>
                  <a:gd name="adj" fmla="val 88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order 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urchase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livery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36"/>
            <p:cNvGrpSpPr/>
            <p:nvPr/>
          </p:nvGrpSpPr>
          <p:grpSpPr>
            <a:xfrm>
              <a:off x="5482760" y="2053748"/>
              <a:ext cx="1615680" cy="3750007"/>
              <a:chOff x="5482760" y="2053748"/>
              <a:chExt cx="1615680" cy="3750007"/>
            </a:xfrm>
          </p:grpSpPr>
          <p:sp>
            <p:nvSpPr>
              <p:cNvPr id="18437" name="AutoShape 5"/>
              <p:cNvSpPr>
                <a:spLocks noChangeArrowheads="1"/>
              </p:cNvSpPr>
              <p:nvPr/>
            </p:nvSpPr>
            <p:spPr bwMode="gray">
              <a:xfrm>
                <a:off x="5482760" y="2053748"/>
                <a:ext cx="1615680" cy="360000"/>
              </a:xfrm>
              <a:prstGeom prst="roundRect">
                <a:avLst>
                  <a:gd name="adj" fmla="val 338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After-Sales- Contact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8442" name="AutoShape 10"/>
              <p:cNvSpPr>
                <a:spLocks noChangeArrowheads="1"/>
              </p:cNvSpPr>
              <p:nvPr/>
            </p:nvSpPr>
            <p:spPr bwMode="gray">
              <a:xfrm>
                <a:off x="5482760" y="2413749"/>
                <a:ext cx="1615680" cy="3390006"/>
              </a:xfrm>
              <a:prstGeom prst="roundRect">
                <a:avLst>
                  <a:gd name="adj" fmla="val 88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u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age of the product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ervice</a:t>
                </a:r>
              </a:p>
            </p:txBody>
          </p:sp>
        </p:grpSp>
        <p:grpSp>
          <p:nvGrpSpPr>
            <p:cNvPr id="7" name="Gruppieren 35"/>
            <p:cNvGrpSpPr/>
            <p:nvPr/>
          </p:nvGrpSpPr>
          <p:grpSpPr>
            <a:xfrm>
              <a:off x="7196360" y="2053748"/>
              <a:ext cx="1615680" cy="3750007"/>
              <a:chOff x="7196360" y="2053748"/>
              <a:chExt cx="1615680" cy="3750007"/>
            </a:xfrm>
          </p:grpSpPr>
          <p:sp>
            <p:nvSpPr>
              <p:cNvPr id="18438" name="AutoShape 6"/>
              <p:cNvSpPr>
                <a:spLocks noChangeArrowheads="1"/>
              </p:cNvSpPr>
              <p:nvPr/>
            </p:nvSpPr>
            <p:spPr bwMode="gray">
              <a:xfrm>
                <a:off x="7196360" y="2053748"/>
                <a:ext cx="1615680" cy="360000"/>
              </a:xfrm>
              <a:prstGeom prst="roundRect">
                <a:avLst>
                  <a:gd name="adj" fmla="val 338"/>
                </a:avLst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Re-Sales- Contact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8443" name="AutoShape 11"/>
              <p:cNvSpPr>
                <a:spLocks noChangeArrowheads="1"/>
              </p:cNvSpPr>
              <p:nvPr/>
            </p:nvSpPr>
            <p:spPr bwMode="gray">
              <a:xfrm>
                <a:off x="7196360" y="2413749"/>
                <a:ext cx="1615680" cy="3390006"/>
              </a:xfrm>
              <a:prstGeom prst="roundRect">
                <a:avLst>
                  <a:gd name="adj" fmla="val 88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epurchase 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4" name="AutoShape 12"/>
            <p:cNvSpPr>
              <a:spLocks noChangeArrowheads="1"/>
            </p:cNvSpPr>
            <p:nvPr/>
          </p:nvSpPr>
          <p:spPr bwMode="gray">
            <a:xfrm>
              <a:off x="614853" y="5078412"/>
              <a:ext cx="7975736" cy="363538"/>
            </a:xfrm>
            <a:prstGeom prst="homePlate">
              <a:avLst>
                <a:gd name="adj" fmla="val 54085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Customer  Lifetime Circle</a:t>
              </a:r>
              <a:endParaRPr lang="en-US" sz="1400" b="1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8" name="Gruppieren 84"/>
            <p:cNvGrpSpPr/>
            <p:nvPr/>
          </p:nvGrpSpPr>
          <p:grpSpPr bwMode="gray">
            <a:xfrm>
              <a:off x="324680" y="1546780"/>
              <a:ext cx="8608977" cy="369332"/>
              <a:chOff x="324680" y="1763486"/>
              <a:chExt cx="8608977" cy="369332"/>
            </a:xfrm>
          </p:grpSpPr>
          <p:sp>
            <p:nvSpPr>
              <p:cNvPr id="22" name="Textfeld 21"/>
              <p:cNvSpPr txBox="1"/>
              <p:nvPr/>
            </p:nvSpPr>
            <p:spPr bwMode="gray">
              <a:xfrm>
                <a:off x="1154829" y="1763486"/>
                <a:ext cx="178766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noProof="1" smtClean="0"/>
                  <a:t> Interested Party </a:t>
                </a:r>
                <a:endParaRPr lang="en-US" noProof="1"/>
              </a:p>
            </p:txBody>
          </p:sp>
          <p:cxnSp>
            <p:nvCxnSpPr>
              <p:cNvPr id="24" name="Gerade Verbindung mit Pfeil 23"/>
              <p:cNvCxnSpPr/>
              <p:nvPr/>
            </p:nvCxnSpPr>
            <p:spPr bwMode="gray">
              <a:xfrm>
                <a:off x="2836128" y="1959429"/>
                <a:ext cx="940526" cy="1588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mit Pfeil 24"/>
              <p:cNvCxnSpPr/>
              <p:nvPr/>
            </p:nvCxnSpPr>
            <p:spPr bwMode="gray">
              <a:xfrm flipH="1">
                <a:off x="324680" y="1959429"/>
                <a:ext cx="896503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mit Pfeil 25"/>
              <p:cNvCxnSpPr/>
              <p:nvPr/>
            </p:nvCxnSpPr>
            <p:spPr bwMode="gray">
              <a:xfrm>
                <a:off x="6071966" y="1959429"/>
                <a:ext cx="940526" cy="1588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mit Pfeil 26"/>
              <p:cNvCxnSpPr/>
              <p:nvPr/>
            </p:nvCxnSpPr>
            <p:spPr bwMode="gray">
              <a:xfrm flipH="1">
                <a:off x="3988935" y="1959429"/>
                <a:ext cx="940526" cy="1588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/>
              <p:cNvSpPr txBox="1"/>
              <p:nvPr/>
            </p:nvSpPr>
            <p:spPr bwMode="gray">
              <a:xfrm>
                <a:off x="4953395" y="1763486"/>
                <a:ext cx="109356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noProof="1" smtClean="0"/>
                  <a:t>Customer</a:t>
                </a:r>
                <a:endParaRPr lang="en-US" noProof="1"/>
              </a:p>
            </p:txBody>
          </p:sp>
          <p:sp>
            <p:nvSpPr>
              <p:cNvPr id="29" name="Textfeld 28"/>
              <p:cNvSpPr txBox="1"/>
              <p:nvPr/>
            </p:nvSpPr>
            <p:spPr bwMode="gray">
              <a:xfrm>
                <a:off x="7076289" y="1763486"/>
                <a:ext cx="185736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noProof="1" smtClean="0"/>
                  <a:t>Regular Customer</a:t>
                </a:r>
                <a:endParaRPr lang="en-US" noProof="1"/>
              </a:p>
            </p:txBody>
          </p:sp>
        </p:grpSp>
        <p:grpSp>
          <p:nvGrpSpPr>
            <p:cNvPr id="9" name="Gruppieren 60"/>
            <p:cNvGrpSpPr/>
            <p:nvPr/>
          </p:nvGrpSpPr>
          <p:grpSpPr bwMode="gray">
            <a:xfrm>
              <a:off x="-208142" y="3108652"/>
              <a:ext cx="9593762" cy="577523"/>
              <a:chOff x="-164182" y="3108652"/>
              <a:chExt cx="9593762" cy="577523"/>
            </a:xfrm>
          </p:grpSpPr>
          <p:sp>
            <p:nvSpPr>
              <p:cNvPr id="62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1566861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3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3297904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4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224085" y="3328930"/>
                <a:ext cx="1359568" cy="139373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5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5028947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6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55128" y="3328930"/>
                <a:ext cx="1359568" cy="139373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7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6759990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8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686171" y="3328930"/>
                <a:ext cx="1359568" cy="139373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69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8491033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0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7417214" y="3328930"/>
                <a:ext cx="1359568" cy="139373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1" name="Freeform 43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-164182" y="3108652"/>
                <a:ext cx="938547" cy="577523"/>
              </a:xfrm>
              <a:custGeom>
                <a:avLst/>
                <a:gdLst>
                  <a:gd name="T0" fmla="*/ 729 w 972"/>
                  <a:gd name="T1" fmla="*/ 0 h 598"/>
                  <a:gd name="T2" fmla="*/ 243 w 972"/>
                  <a:gd name="T3" fmla="*/ 0 h 598"/>
                  <a:gd name="T4" fmla="*/ 0 w 972"/>
                  <a:gd name="T5" fmla="*/ 299 h 598"/>
                  <a:gd name="T6" fmla="*/ 243 w 972"/>
                  <a:gd name="T7" fmla="*/ 598 h 598"/>
                  <a:gd name="T8" fmla="*/ 729 w 972"/>
                  <a:gd name="T9" fmla="*/ 598 h 598"/>
                  <a:gd name="T10" fmla="*/ 972 w 972"/>
                  <a:gd name="T11" fmla="*/ 299 h 598"/>
                  <a:gd name="T12" fmla="*/ 729 w 972"/>
                  <a:gd name="T13" fmla="*/ 0 h 598"/>
                  <a:gd name="T14" fmla="*/ 659 w 972"/>
                  <a:gd name="T15" fmla="*/ 456 h 598"/>
                  <a:gd name="T16" fmla="*/ 314 w 972"/>
                  <a:gd name="T17" fmla="*/ 456 h 598"/>
                  <a:gd name="T18" fmla="*/ 142 w 972"/>
                  <a:gd name="T19" fmla="*/ 299 h 598"/>
                  <a:gd name="T20" fmla="*/ 314 w 972"/>
                  <a:gd name="T21" fmla="*/ 142 h 598"/>
                  <a:gd name="T22" fmla="*/ 659 w 972"/>
                  <a:gd name="T23" fmla="*/ 142 h 598"/>
                  <a:gd name="T24" fmla="*/ 831 w 972"/>
                  <a:gd name="T25" fmla="*/ 299 h 598"/>
                  <a:gd name="T26" fmla="*/ 659 w 972"/>
                  <a:gd name="T27" fmla="*/ 456 h 59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72"/>
                  <a:gd name="T43" fmla="*/ 0 h 598"/>
                  <a:gd name="T44" fmla="*/ 972 w 972"/>
                  <a:gd name="T45" fmla="*/ 598 h 59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72" h="598">
                    <a:moveTo>
                      <a:pt x="729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109" y="0"/>
                      <a:pt x="0" y="134"/>
                      <a:pt x="0" y="299"/>
                    </a:cubicBezTo>
                    <a:cubicBezTo>
                      <a:pt x="0" y="464"/>
                      <a:pt x="109" y="598"/>
                      <a:pt x="243" y="598"/>
                    </a:cubicBezTo>
                    <a:cubicBezTo>
                      <a:pt x="729" y="598"/>
                      <a:pt x="729" y="598"/>
                      <a:pt x="729" y="598"/>
                    </a:cubicBezTo>
                    <a:cubicBezTo>
                      <a:pt x="864" y="598"/>
                      <a:pt x="972" y="464"/>
                      <a:pt x="972" y="299"/>
                    </a:cubicBezTo>
                    <a:cubicBezTo>
                      <a:pt x="972" y="134"/>
                      <a:pt x="864" y="0"/>
                      <a:pt x="729" y="0"/>
                    </a:cubicBezTo>
                    <a:close/>
                    <a:moveTo>
                      <a:pt x="659" y="456"/>
                    </a:moveTo>
                    <a:cubicBezTo>
                      <a:pt x="314" y="456"/>
                      <a:pt x="314" y="456"/>
                      <a:pt x="314" y="456"/>
                    </a:cubicBezTo>
                    <a:cubicBezTo>
                      <a:pt x="219" y="456"/>
                      <a:pt x="142" y="386"/>
                      <a:pt x="142" y="299"/>
                    </a:cubicBezTo>
                    <a:cubicBezTo>
                      <a:pt x="142" y="212"/>
                      <a:pt x="219" y="142"/>
                      <a:pt x="314" y="142"/>
                    </a:cubicBezTo>
                    <a:cubicBezTo>
                      <a:pt x="659" y="142"/>
                      <a:pt x="659" y="142"/>
                      <a:pt x="659" y="142"/>
                    </a:cubicBezTo>
                    <a:cubicBezTo>
                      <a:pt x="754" y="142"/>
                      <a:pt x="831" y="212"/>
                      <a:pt x="831" y="299"/>
                    </a:cubicBezTo>
                    <a:cubicBezTo>
                      <a:pt x="831" y="386"/>
                      <a:pt x="754" y="456"/>
                      <a:pt x="659" y="45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595959"/>
                  </a:gs>
                  <a:gs pos="100000">
                    <a:srgbClr val="C0C0C0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2" name="Freeform 4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493042" y="3328930"/>
                <a:ext cx="1359568" cy="139373"/>
              </a:xfrm>
              <a:custGeom>
                <a:avLst/>
                <a:gdLst>
                  <a:gd name="T0" fmla="*/ 70 w 970"/>
                  <a:gd name="T1" fmla="*/ 0 h 140"/>
                  <a:gd name="T2" fmla="*/ 0 w 970"/>
                  <a:gd name="T3" fmla="*/ 70 h 140"/>
                  <a:gd name="T4" fmla="*/ 70 w 970"/>
                  <a:gd name="T5" fmla="*/ 140 h 140"/>
                  <a:gd name="T6" fmla="*/ 900 w 970"/>
                  <a:gd name="T7" fmla="*/ 140 h 140"/>
                  <a:gd name="T8" fmla="*/ 970 w 970"/>
                  <a:gd name="T9" fmla="*/ 70 h 140"/>
                  <a:gd name="T10" fmla="*/ 900 w 970"/>
                  <a:gd name="T11" fmla="*/ 0 h 140"/>
                  <a:gd name="T12" fmla="*/ 70 w 970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70"/>
                  <a:gd name="T22" fmla="*/ 0 h 140"/>
                  <a:gd name="T23" fmla="*/ 970 w 970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70" h="140">
                    <a:moveTo>
                      <a:pt x="70" y="0"/>
                    </a:moveTo>
                    <a:cubicBezTo>
                      <a:pt x="31" y="0"/>
                      <a:pt x="0" y="31"/>
                      <a:pt x="0" y="70"/>
                    </a:cubicBezTo>
                    <a:cubicBezTo>
                      <a:pt x="0" y="109"/>
                      <a:pt x="31" y="140"/>
                      <a:pt x="70" y="140"/>
                    </a:cubicBezTo>
                    <a:cubicBezTo>
                      <a:pt x="900" y="140"/>
                      <a:pt x="900" y="140"/>
                      <a:pt x="900" y="140"/>
                    </a:cubicBezTo>
                    <a:cubicBezTo>
                      <a:pt x="939" y="140"/>
                      <a:pt x="970" y="109"/>
                      <a:pt x="970" y="70"/>
                    </a:cubicBezTo>
                    <a:cubicBezTo>
                      <a:pt x="970" y="31"/>
                      <a:pt x="939" y="0"/>
                      <a:pt x="900" y="0"/>
                    </a:cubicBezTo>
                    <a:lnTo>
                      <a:pt x="7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7D7D7D"/>
                  </a:gs>
                </a:gsLst>
                <a:path path="rect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50800" h="50800"/>
              </a:sp3d>
            </p:spPr>
            <p:txBody>
              <a:bodyPr/>
              <a:lstStyle/>
              <a:p>
                <a:endParaRPr lang="en-US" noProof="1"/>
              </a:p>
            </p:txBody>
          </p:sp>
        </p:grpSp>
      </p:grpSp>
      <p:sp>
        <p:nvSpPr>
          <p:cNvPr id="41" name="Titel 4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RM </a:t>
            </a:r>
            <a:r>
              <a:rPr lang="en-US" b="0" noProof="1" smtClean="0"/>
              <a:t>- Contact Chain</a:t>
            </a:r>
            <a:endParaRPr lang="en-US" b="0" noProof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</a:pPr>
            <a:r>
              <a:rPr lang="en-US" noProof="1" smtClean="0"/>
              <a:t>Customer Relationship Marketing (CRM) is a management approach that focuses on the systematic development and the maintenance of customer relationships</a:t>
            </a:r>
          </a:p>
          <a:p>
            <a:endParaRPr lang="en-US" noProof="1"/>
          </a:p>
        </p:txBody>
      </p:sp>
      <p:grpSp>
        <p:nvGrpSpPr>
          <p:cNvPr id="38" name="Gruppieren 37"/>
          <p:cNvGrpSpPr/>
          <p:nvPr/>
        </p:nvGrpSpPr>
        <p:grpSpPr>
          <a:xfrm>
            <a:off x="228960" y="2272935"/>
            <a:ext cx="8627040" cy="2885080"/>
            <a:chOff x="228960" y="2272935"/>
            <a:chExt cx="8627040" cy="2885080"/>
          </a:xfrm>
        </p:grpSpPr>
        <p:sp>
          <p:nvSpPr>
            <p:cNvPr id="19469" name="Text Box 13"/>
            <p:cNvSpPr txBox="1">
              <a:spLocks noChangeArrowheads="1"/>
            </p:cNvSpPr>
            <p:nvPr/>
          </p:nvSpPr>
          <p:spPr bwMode="gray">
            <a:xfrm>
              <a:off x="228960" y="2272935"/>
              <a:ext cx="8513280" cy="41892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3620" rIns="81639" bIns="40820"/>
            <a:lstStyle/>
            <a:p>
              <a:pPr>
                <a:tabLst>
                  <a:tab pos="656650" algn="l"/>
                  <a:tab pos="1313299" algn="l"/>
                  <a:tab pos="1969949" algn="l"/>
                  <a:tab pos="2626599" algn="l"/>
                  <a:tab pos="3283248" algn="l"/>
                  <a:tab pos="3939898" algn="l"/>
                  <a:tab pos="4596548" algn="l"/>
                  <a:tab pos="5253198" algn="l"/>
                  <a:tab pos="5909847" algn="l"/>
                  <a:tab pos="6566497" algn="l"/>
                  <a:tab pos="7223147" algn="l"/>
                  <a:tab pos="7879796" algn="l"/>
                </a:tabLst>
              </a:pPr>
              <a:r>
                <a:rPr lang="en-US" sz="2000" b="1" noProof="1" smtClean="0"/>
                <a:t>This process runs through the following 5 phases:</a:t>
              </a:r>
              <a:endParaRPr lang="en-US" sz="2000" b="1" noProof="1"/>
            </a:p>
          </p:txBody>
        </p:sp>
        <p:grpSp>
          <p:nvGrpSpPr>
            <p:cNvPr id="3" name="Gruppieren 44"/>
            <p:cNvGrpSpPr/>
            <p:nvPr/>
          </p:nvGrpSpPr>
          <p:grpSpPr>
            <a:xfrm>
              <a:off x="368640" y="2788150"/>
              <a:ext cx="1615680" cy="2369865"/>
              <a:chOff x="368640" y="2788150"/>
              <a:chExt cx="1615680" cy="2369865"/>
            </a:xfrm>
          </p:grpSpPr>
          <p:sp>
            <p:nvSpPr>
              <p:cNvPr id="19458" name="AutoShape 2"/>
              <p:cNvSpPr>
                <a:spLocks noChangeArrowheads="1"/>
              </p:cNvSpPr>
              <p:nvPr/>
            </p:nvSpPr>
            <p:spPr bwMode="gray">
              <a:xfrm>
                <a:off x="368640" y="4737491"/>
                <a:ext cx="1615680" cy="420524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Accost </a:t>
                </a:r>
              </a:p>
            </p:txBody>
          </p:sp>
          <p:sp>
            <p:nvSpPr>
              <p:cNvPr id="19463" name="AutoShape 7"/>
              <p:cNvSpPr>
                <a:spLocks noChangeArrowheads="1"/>
              </p:cNvSpPr>
              <p:nvPr/>
            </p:nvSpPr>
            <p:spPr bwMode="gray">
              <a:xfrm>
                <a:off x="368640" y="2788150"/>
                <a:ext cx="1615680" cy="17639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" name="Abgerundete rechteckige Legende 15"/>
              <p:cNvSpPr/>
              <p:nvPr/>
            </p:nvSpPr>
            <p:spPr bwMode="gray">
              <a:xfrm>
                <a:off x="640080" y="3291840"/>
                <a:ext cx="979714" cy="679268"/>
              </a:xfrm>
              <a:prstGeom prst="wedgeRoundRectCallout">
                <a:avLst>
                  <a:gd name="adj1" fmla="val 7167"/>
                  <a:gd name="adj2" fmla="val 83654"/>
                  <a:gd name="adj3" fmla="val 16667"/>
                </a:avLst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HeroicExtremeLeftFacing" fov="7200000">
                  <a:rot lat="1200000" lon="0" rev="0"/>
                </a:camera>
                <a:lightRig rig="threePt" dir="t">
                  <a:rot lat="0" lon="0" rev="5400000"/>
                </a:lightRig>
              </a:scene3d>
              <a:sp3d extrusionH="254000"/>
            </p:spPr>
            <p:txBody>
              <a:bodyPr rtlCol="0" anchor="ctr"/>
              <a:lstStyle/>
              <a:p>
                <a:pPr algn="ctr"/>
                <a:r>
                  <a:rPr lang="en-US" noProof="1" smtClean="0">
                    <a:solidFill>
                      <a:srgbClr val="FFFFFF"/>
                    </a:solidFill>
                  </a:rPr>
                  <a:t>Hello</a:t>
                </a:r>
              </a:p>
            </p:txBody>
          </p:sp>
        </p:grpSp>
        <p:grpSp>
          <p:nvGrpSpPr>
            <p:cNvPr id="5" name="Gruppieren 42"/>
            <p:cNvGrpSpPr/>
            <p:nvPr/>
          </p:nvGrpSpPr>
          <p:grpSpPr>
            <a:xfrm>
              <a:off x="3818880" y="2782183"/>
              <a:ext cx="1615680" cy="2375832"/>
              <a:chOff x="3818880" y="2782183"/>
              <a:chExt cx="1615680" cy="2375832"/>
            </a:xfrm>
          </p:grpSpPr>
          <p:sp>
            <p:nvSpPr>
              <p:cNvPr id="19460" name="AutoShape 4"/>
              <p:cNvSpPr>
                <a:spLocks noChangeArrowheads="1"/>
              </p:cNvSpPr>
              <p:nvPr/>
            </p:nvSpPr>
            <p:spPr bwMode="gray">
              <a:xfrm>
                <a:off x="3818880" y="4737491"/>
                <a:ext cx="1615680" cy="420524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Inform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465" name="AutoShape 9"/>
              <p:cNvSpPr>
                <a:spLocks noChangeArrowheads="1"/>
              </p:cNvSpPr>
              <p:nvPr/>
            </p:nvSpPr>
            <p:spPr bwMode="gray">
              <a:xfrm>
                <a:off x="3818880" y="2782183"/>
                <a:ext cx="1615680" cy="1762752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4219303" y="3357154"/>
                <a:ext cx="757646" cy="757646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2000" endA="300" endPos="35000" dir="5400000" sy="-100000" algn="bl" rotWithShape="0"/>
              </a:effectLst>
              <a:scene3d>
                <a:camera prst="perspectiveHeroicExtremeLeftFacing" fov="7200000">
                  <a:rot lat="1200000" lon="0" rev="0"/>
                </a:camera>
                <a:lightRig rig="threePt" dir="t">
                  <a:rot lat="0" lon="0" rev="5400000"/>
                </a:lightRig>
              </a:scene3d>
              <a:sp3d extrusionH="254000"/>
            </p:spPr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FFFFFF"/>
                    </a:solidFill>
                    <a:latin typeface="Times New Roman" pitchFamily="18" charset="0"/>
                    <a:cs typeface="Times New Roman" pitchFamily="18" charset="0"/>
                  </a:rPr>
                  <a:t>i</a:t>
                </a:r>
              </a:p>
            </p:txBody>
          </p:sp>
        </p:grpSp>
        <p:grpSp>
          <p:nvGrpSpPr>
            <p:cNvPr id="6" name="Gruppieren 40"/>
            <p:cNvGrpSpPr/>
            <p:nvPr/>
          </p:nvGrpSpPr>
          <p:grpSpPr>
            <a:xfrm>
              <a:off x="7240320" y="2782389"/>
              <a:ext cx="1615680" cy="2375626"/>
              <a:chOff x="7240320" y="2782389"/>
              <a:chExt cx="1615680" cy="2375626"/>
            </a:xfrm>
          </p:grpSpPr>
          <p:sp>
            <p:nvSpPr>
              <p:cNvPr id="19462" name="AutoShape 6"/>
              <p:cNvSpPr>
                <a:spLocks noChangeArrowheads="1"/>
              </p:cNvSpPr>
              <p:nvPr/>
            </p:nvSpPr>
            <p:spPr bwMode="gray">
              <a:xfrm>
                <a:off x="7240320" y="4737491"/>
                <a:ext cx="1615680" cy="420524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intain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467" name="AutoShape 11"/>
              <p:cNvSpPr>
                <a:spLocks noChangeArrowheads="1"/>
              </p:cNvSpPr>
              <p:nvPr/>
            </p:nvSpPr>
            <p:spPr bwMode="gray">
              <a:xfrm>
                <a:off x="7240320" y="2782389"/>
                <a:ext cx="1615680" cy="17639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7" name="Gruppieren 28"/>
              <p:cNvGrpSpPr/>
              <p:nvPr/>
            </p:nvGrpSpPr>
            <p:grpSpPr bwMode="gray">
              <a:xfrm>
                <a:off x="7357034" y="3411618"/>
                <a:ext cx="1382252" cy="505529"/>
                <a:chOff x="7163137" y="1984173"/>
                <a:chExt cx="1579103" cy="577523"/>
              </a:xfrm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2000" endA="300" endPos="35000" dir="5400000" sy="-100000" algn="bl" rotWithShape="0"/>
              </a:effectLst>
            </p:grpSpPr>
            <p:sp>
              <p:nvSpPr>
                <p:cNvPr id="27" name="Freeform 43" descr="© INSCALE GmbH, 26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7803693" y="1984173"/>
                  <a:ext cx="938547" cy="577523"/>
                </a:xfrm>
                <a:custGeom>
                  <a:avLst/>
                  <a:gdLst>
                    <a:gd name="T0" fmla="*/ 729 w 972"/>
                    <a:gd name="T1" fmla="*/ 0 h 598"/>
                    <a:gd name="T2" fmla="*/ 243 w 972"/>
                    <a:gd name="T3" fmla="*/ 0 h 598"/>
                    <a:gd name="T4" fmla="*/ 0 w 972"/>
                    <a:gd name="T5" fmla="*/ 299 h 598"/>
                    <a:gd name="T6" fmla="*/ 243 w 972"/>
                    <a:gd name="T7" fmla="*/ 598 h 598"/>
                    <a:gd name="T8" fmla="*/ 729 w 972"/>
                    <a:gd name="T9" fmla="*/ 598 h 598"/>
                    <a:gd name="T10" fmla="*/ 972 w 972"/>
                    <a:gd name="T11" fmla="*/ 299 h 598"/>
                    <a:gd name="T12" fmla="*/ 729 w 972"/>
                    <a:gd name="T13" fmla="*/ 0 h 598"/>
                    <a:gd name="T14" fmla="*/ 659 w 972"/>
                    <a:gd name="T15" fmla="*/ 456 h 598"/>
                    <a:gd name="T16" fmla="*/ 314 w 972"/>
                    <a:gd name="T17" fmla="*/ 456 h 598"/>
                    <a:gd name="T18" fmla="*/ 142 w 972"/>
                    <a:gd name="T19" fmla="*/ 299 h 598"/>
                    <a:gd name="T20" fmla="*/ 314 w 972"/>
                    <a:gd name="T21" fmla="*/ 142 h 598"/>
                    <a:gd name="T22" fmla="*/ 659 w 972"/>
                    <a:gd name="T23" fmla="*/ 142 h 598"/>
                    <a:gd name="T24" fmla="*/ 831 w 972"/>
                    <a:gd name="T25" fmla="*/ 299 h 598"/>
                    <a:gd name="T26" fmla="*/ 659 w 972"/>
                    <a:gd name="T27" fmla="*/ 456 h 59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72"/>
                    <a:gd name="T43" fmla="*/ 0 h 598"/>
                    <a:gd name="T44" fmla="*/ 972 w 972"/>
                    <a:gd name="T45" fmla="*/ 598 h 59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72" h="598">
                      <a:moveTo>
                        <a:pt x="729" y="0"/>
                      </a:moveTo>
                      <a:cubicBezTo>
                        <a:pt x="243" y="0"/>
                        <a:pt x="243" y="0"/>
                        <a:pt x="243" y="0"/>
                      </a:cubicBezTo>
                      <a:cubicBezTo>
                        <a:pt x="109" y="0"/>
                        <a:pt x="0" y="134"/>
                        <a:pt x="0" y="299"/>
                      </a:cubicBezTo>
                      <a:cubicBezTo>
                        <a:pt x="0" y="464"/>
                        <a:pt x="109" y="598"/>
                        <a:pt x="243" y="598"/>
                      </a:cubicBezTo>
                      <a:cubicBezTo>
                        <a:pt x="729" y="598"/>
                        <a:pt x="729" y="598"/>
                        <a:pt x="729" y="598"/>
                      </a:cubicBezTo>
                      <a:cubicBezTo>
                        <a:pt x="864" y="598"/>
                        <a:pt x="972" y="464"/>
                        <a:pt x="972" y="299"/>
                      </a:cubicBezTo>
                      <a:cubicBezTo>
                        <a:pt x="972" y="134"/>
                        <a:pt x="864" y="0"/>
                        <a:pt x="729" y="0"/>
                      </a:cubicBezTo>
                      <a:close/>
                      <a:moveTo>
                        <a:pt x="659" y="456"/>
                      </a:moveTo>
                      <a:cubicBezTo>
                        <a:pt x="314" y="456"/>
                        <a:pt x="314" y="456"/>
                        <a:pt x="314" y="456"/>
                      </a:cubicBezTo>
                      <a:cubicBezTo>
                        <a:pt x="219" y="456"/>
                        <a:pt x="142" y="386"/>
                        <a:pt x="142" y="299"/>
                      </a:cubicBezTo>
                      <a:cubicBezTo>
                        <a:pt x="142" y="212"/>
                        <a:pt x="219" y="142"/>
                        <a:pt x="314" y="142"/>
                      </a:cubicBezTo>
                      <a:cubicBezTo>
                        <a:pt x="659" y="142"/>
                        <a:pt x="659" y="142"/>
                        <a:pt x="659" y="142"/>
                      </a:cubicBezTo>
                      <a:cubicBezTo>
                        <a:pt x="754" y="142"/>
                        <a:pt x="831" y="212"/>
                        <a:pt x="831" y="299"/>
                      </a:cubicBezTo>
                      <a:cubicBezTo>
                        <a:pt x="831" y="386"/>
                        <a:pt x="754" y="456"/>
                        <a:pt x="659" y="45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w="50800" h="50800"/>
                </a:sp3d>
              </p:spPr>
              <p:txBody>
                <a:bodyPr/>
                <a:lstStyle/>
                <a:p>
                  <a:endParaRPr lang="en-US" noProof="1"/>
                </a:p>
              </p:txBody>
            </p:sp>
            <p:sp>
              <p:nvSpPr>
                <p:cNvPr id="28" name="Freeform 46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7163137" y="2204451"/>
                  <a:ext cx="938547" cy="139373"/>
                </a:xfrm>
                <a:custGeom>
                  <a:avLst/>
                  <a:gdLst>
                    <a:gd name="T0" fmla="*/ 70 w 970"/>
                    <a:gd name="T1" fmla="*/ 0 h 140"/>
                    <a:gd name="T2" fmla="*/ 0 w 970"/>
                    <a:gd name="T3" fmla="*/ 70 h 140"/>
                    <a:gd name="T4" fmla="*/ 70 w 970"/>
                    <a:gd name="T5" fmla="*/ 140 h 140"/>
                    <a:gd name="T6" fmla="*/ 900 w 970"/>
                    <a:gd name="T7" fmla="*/ 140 h 140"/>
                    <a:gd name="T8" fmla="*/ 970 w 970"/>
                    <a:gd name="T9" fmla="*/ 70 h 140"/>
                    <a:gd name="T10" fmla="*/ 900 w 970"/>
                    <a:gd name="T11" fmla="*/ 0 h 140"/>
                    <a:gd name="T12" fmla="*/ 70 w 970"/>
                    <a:gd name="T13" fmla="*/ 0 h 14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70"/>
                    <a:gd name="T22" fmla="*/ 0 h 140"/>
                    <a:gd name="T23" fmla="*/ 970 w 970"/>
                    <a:gd name="T24" fmla="*/ 140 h 14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70" h="140">
                      <a:moveTo>
                        <a:pt x="70" y="0"/>
                      </a:moveTo>
                      <a:cubicBezTo>
                        <a:pt x="31" y="0"/>
                        <a:pt x="0" y="31"/>
                        <a:pt x="0" y="70"/>
                      </a:cubicBezTo>
                      <a:cubicBezTo>
                        <a:pt x="0" y="109"/>
                        <a:pt x="31" y="140"/>
                        <a:pt x="70" y="140"/>
                      </a:cubicBezTo>
                      <a:cubicBezTo>
                        <a:pt x="900" y="140"/>
                        <a:pt x="900" y="140"/>
                        <a:pt x="900" y="140"/>
                      </a:cubicBezTo>
                      <a:cubicBezTo>
                        <a:pt x="939" y="140"/>
                        <a:pt x="970" y="109"/>
                        <a:pt x="970" y="70"/>
                      </a:cubicBezTo>
                      <a:cubicBezTo>
                        <a:pt x="970" y="31"/>
                        <a:pt x="939" y="0"/>
                        <a:pt x="900" y="0"/>
                      </a:cubicBez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w="50800" h="50800"/>
                </a:sp3d>
              </p:spPr>
              <p:txBody>
                <a:bodyPr/>
                <a:lstStyle/>
                <a:p>
                  <a:endParaRPr lang="en-US" noProof="1"/>
                </a:p>
              </p:txBody>
            </p:sp>
          </p:grpSp>
        </p:grpSp>
        <p:grpSp>
          <p:nvGrpSpPr>
            <p:cNvPr id="8" name="Gruppieren 43"/>
            <p:cNvGrpSpPr/>
            <p:nvPr/>
          </p:nvGrpSpPr>
          <p:grpSpPr>
            <a:xfrm>
              <a:off x="2093760" y="2780948"/>
              <a:ext cx="1615680" cy="2377067"/>
              <a:chOff x="2093760" y="2780948"/>
              <a:chExt cx="1615680" cy="2377067"/>
            </a:xfrm>
          </p:grpSpPr>
          <p:sp>
            <p:nvSpPr>
              <p:cNvPr id="19459" name="AutoShape 3"/>
              <p:cNvSpPr>
                <a:spLocks noChangeArrowheads="1"/>
              </p:cNvSpPr>
              <p:nvPr/>
            </p:nvSpPr>
            <p:spPr bwMode="gray">
              <a:xfrm>
                <a:off x="2093760" y="4737491"/>
                <a:ext cx="1615680" cy="420524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Win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464" name="AutoShape 8"/>
              <p:cNvSpPr>
                <a:spLocks noChangeArrowheads="1"/>
              </p:cNvSpPr>
              <p:nvPr/>
            </p:nvSpPr>
            <p:spPr bwMode="gray">
              <a:xfrm>
                <a:off x="2093760" y="2780948"/>
                <a:ext cx="1615680" cy="1763987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" name="Freeform 6"/>
              <p:cNvSpPr>
                <a:spLocks noEditPoints="1"/>
              </p:cNvSpPr>
              <p:nvPr/>
            </p:nvSpPr>
            <p:spPr bwMode="gray">
              <a:xfrm>
                <a:off x="2253907" y="3280853"/>
                <a:ext cx="1295386" cy="764177"/>
              </a:xfrm>
              <a:custGeom>
                <a:avLst/>
                <a:gdLst/>
                <a:ahLst/>
                <a:cxnLst>
                  <a:cxn ang="0">
                    <a:pos x="538" y="168"/>
                  </a:cxn>
                  <a:cxn ang="0">
                    <a:pos x="479" y="182"/>
                  </a:cxn>
                  <a:cxn ang="0">
                    <a:pos x="420" y="23"/>
                  </a:cxn>
                  <a:cxn ang="0">
                    <a:pos x="479" y="9"/>
                  </a:cxn>
                  <a:cxn ang="0">
                    <a:pos x="3" y="152"/>
                  </a:cxn>
                  <a:cxn ang="0">
                    <a:pos x="52" y="188"/>
                  </a:cxn>
                  <a:cxn ang="0">
                    <a:pos x="134" y="39"/>
                  </a:cxn>
                  <a:cxn ang="0">
                    <a:pos x="85" y="3"/>
                  </a:cxn>
                  <a:cxn ang="0">
                    <a:pos x="3" y="152"/>
                  </a:cxn>
                  <a:cxn ang="0">
                    <a:pos x="408" y="61"/>
                  </a:cxn>
                  <a:cxn ang="0">
                    <a:pos x="336" y="33"/>
                  </a:cxn>
                  <a:cxn ang="0">
                    <a:pos x="211" y="102"/>
                  </a:cxn>
                  <a:cxn ang="0">
                    <a:pos x="255" y="143"/>
                  </a:cxn>
                  <a:cxn ang="0">
                    <a:pos x="329" y="115"/>
                  </a:cxn>
                  <a:cxn ang="0">
                    <a:pos x="438" y="201"/>
                  </a:cxn>
                  <a:cxn ang="0">
                    <a:pos x="95" y="203"/>
                  </a:cxn>
                  <a:cxn ang="0">
                    <a:pos x="118" y="229"/>
                  </a:cxn>
                  <a:cxn ang="0">
                    <a:pos x="152" y="173"/>
                  </a:cxn>
                  <a:cxn ang="0">
                    <a:pos x="95" y="203"/>
                  </a:cxn>
                  <a:cxn ang="0">
                    <a:pos x="139" y="256"/>
                  </a:cxn>
                  <a:cxn ang="0">
                    <a:pos x="193" y="222"/>
                  </a:cxn>
                  <a:cxn ang="0">
                    <a:pos x="168" y="201"/>
                  </a:cxn>
                  <a:cxn ang="0">
                    <a:pos x="179" y="259"/>
                  </a:cxn>
                  <a:cxn ang="0">
                    <a:pos x="203" y="283"/>
                  </a:cxn>
                  <a:cxn ang="0">
                    <a:pos x="235" y="226"/>
                  </a:cxn>
                  <a:cxn ang="0">
                    <a:pos x="179" y="259"/>
                  </a:cxn>
                  <a:cxn ang="0">
                    <a:pos x="223" y="310"/>
                  </a:cxn>
                  <a:cxn ang="0">
                    <a:pos x="278" y="277"/>
                  </a:cxn>
                  <a:cxn ang="0">
                    <a:pos x="253" y="256"/>
                  </a:cxn>
                  <a:cxn ang="0">
                    <a:pos x="97" y="185"/>
                  </a:cxn>
                  <a:cxn ang="0">
                    <a:pos x="146" y="152"/>
                  </a:cxn>
                  <a:cxn ang="0">
                    <a:pos x="182" y="180"/>
                  </a:cxn>
                  <a:cxn ang="0">
                    <a:pos x="231" y="207"/>
                  </a:cxn>
                  <a:cxn ang="0">
                    <a:pos x="266" y="234"/>
                  </a:cxn>
                  <a:cxn ang="0">
                    <a:pos x="298" y="266"/>
                  </a:cxn>
                  <a:cxn ang="0">
                    <a:pos x="266" y="308"/>
                  </a:cxn>
                  <a:cxn ang="0">
                    <a:pos x="283" y="319"/>
                  </a:cxn>
                  <a:cxn ang="0">
                    <a:pos x="318" y="295"/>
                  </a:cxn>
                  <a:cxn ang="0">
                    <a:pos x="351" y="268"/>
                  </a:cxn>
                  <a:cxn ang="0">
                    <a:pos x="389" y="239"/>
                  </a:cxn>
                  <a:cxn ang="0">
                    <a:pos x="425" y="232"/>
                  </a:cxn>
                  <a:cxn ang="0">
                    <a:pos x="321" y="130"/>
                  </a:cxn>
                  <a:cxn ang="0">
                    <a:pos x="258" y="159"/>
                  </a:cxn>
                  <a:cxn ang="0">
                    <a:pos x="196" y="138"/>
                  </a:cxn>
                  <a:cxn ang="0">
                    <a:pos x="204" y="89"/>
                  </a:cxn>
                  <a:cxn ang="0">
                    <a:pos x="250" y="31"/>
                  </a:cxn>
                  <a:cxn ang="0">
                    <a:pos x="191" y="42"/>
                  </a:cxn>
                  <a:cxn ang="0">
                    <a:pos x="143" y="54"/>
                  </a:cxn>
                  <a:cxn ang="0">
                    <a:pos x="97" y="185"/>
                  </a:cxn>
                </a:cxnLst>
                <a:rect l="0" t="0" r="r" b="b"/>
                <a:pathLst>
                  <a:path w="546" h="322">
                    <a:moveTo>
                      <a:pt x="543" y="154"/>
                    </a:moveTo>
                    <a:cubicBezTo>
                      <a:pt x="546" y="159"/>
                      <a:pt x="544" y="166"/>
                      <a:pt x="538" y="168"/>
                    </a:cubicBezTo>
                    <a:cubicBezTo>
                      <a:pt x="494" y="188"/>
                      <a:pt x="494" y="188"/>
                      <a:pt x="494" y="188"/>
                    </a:cubicBezTo>
                    <a:cubicBezTo>
                      <a:pt x="488" y="191"/>
                      <a:pt x="482" y="188"/>
                      <a:pt x="479" y="182"/>
                    </a:cubicBezTo>
                    <a:cubicBezTo>
                      <a:pt x="415" y="37"/>
                      <a:pt x="415" y="37"/>
                      <a:pt x="415" y="37"/>
                    </a:cubicBezTo>
                    <a:cubicBezTo>
                      <a:pt x="412" y="32"/>
                      <a:pt x="415" y="25"/>
                      <a:pt x="420" y="23"/>
                    </a:cubicBezTo>
                    <a:cubicBezTo>
                      <a:pt x="464" y="3"/>
                      <a:pt x="464" y="3"/>
                      <a:pt x="464" y="3"/>
                    </a:cubicBezTo>
                    <a:cubicBezTo>
                      <a:pt x="470" y="0"/>
                      <a:pt x="477" y="3"/>
                      <a:pt x="479" y="9"/>
                    </a:cubicBezTo>
                    <a:lnTo>
                      <a:pt x="543" y="154"/>
                    </a:lnTo>
                    <a:close/>
                    <a:moveTo>
                      <a:pt x="3" y="152"/>
                    </a:moveTo>
                    <a:cubicBezTo>
                      <a:pt x="0" y="158"/>
                      <a:pt x="2" y="165"/>
                      <a:pt x="8" y="167"/>
                    </a:cubicBezTo>
                    <a:cubicBezTo>
                      <a:pt x="52" y="188"/>
                      <a:pt x="52" y="188"/>
                      <a:pt x="52" y="188"/>
                    </a:cubicBezTo>
                    <a:cubicBezTo>
                      <a:pt x="57" y="190"/>
                      <a:pt x="64" y="188"/>
                      <a:pt x="66" y="182"/>
                    </a:cubicBezTo>
                    <a:cubicBezTo>
                      <a:pt x="134" y="39"/>
                      <a:pt x="134" y="39"/>
                      <a:pt x="134" y="39"/>
                    </a:cubicBezTo>
                    <a:cubicBezTo>
                      <a:pt x="137" y="33"/>
                      <a:pt x="134" y="26"/>
                      <a:pt x="129" y="24"/>
                    </a:cubicBezTo>
                    <a:cubicBezTo>
                      <a:pt x="85" y="3"/>
                      <a:pt x="85" y="3"/>
                      <a:pt x="85" y="3"/>
                    </a:cubicBezTo>
                    <a:cubicBezTo>
                      <a:pt x="80" y="1"/>
                      <a:pt x="73" y="3"/>
                      <a:pt x="70" y="9"/>
                    </a:cubicBezTo>
                    <a:lnTo>
                      <a:pt x="3" y="152"/>
                    </a:lnTo>
                    <a:close/>
                    <a:moveTo>
                      <a:pt x="462" y="181"/>
                    </a:moveTo>
                    <a:cubicBezTo>
                      <a:pt x="462" y="181"/>
                      <a:pt x="410" y="64"/>
                      <a:pt x="408" y="61"/>
                    </a:cubicBezTo>
                    <a:cubicBezTo>
                      <a:pt x="405" y="57"/>
                      <a:pt x="398" y="48"/>
                      <a:pt x="383" y="45"/>
                    </a:cubicBezTo>
                    <a:cubicBezTo>
                      <a:pt x="367" y="43"/>
                      <a:pt x="343" y="35"/>
                      <a:pt x="336" y="33"/>
                    </a:cubicBezTo>
                    <a:cubicBezTo>
                      <a:pt x="330" y="32"/>
                      <a:pt x="301" y="28"/>
                      <a:pt x="289" y="36"/>
                    </a:cubicBezTo>
                    <a:cubicBezTo>
                      <a:pt x="277" y="43"/>
                      <a:pt x="215" y="96"/>
                      <a:pt x="211" y="102"/>
                    </a:cubicBezTo>
                    <a:cubicBezTo>
                      <a:pt x="206" y="108"/>
                      <a:pt x="205" y="126"/>
                      <a:pt x="213" y="134"/>
                    </a:cubicBezTo>
                    <a:cubicBezTo>
                      <a:pt x="221" y="141"/>
                      <a:pt x="237" y="158"/>
                      <a:pt x="255" y="143"/>
                    </a:cubicBezTo>
                    <a:cubicBezTo>
                      <a:pt x="272" y="129"/>
                      <a:pt x="283" y="122"/>
                      <a:pt x="289" y="117"/>
                    </a:cubicBezTo>
                    <a:cubicBezTo>
                      <a:pt x="294" y="112"/>
                      <a:pt x="319" y="105"/>
                      <a:pt x="329" y="115"/>
                    </a:cubicBezTo>
                    <a:cubicBezTo>
                      <a:pt x="339" y="126"/>
                      <a:pt x="415" y="194"/>
                      <a:pt x="420" y="197"/>
                    </a:cubicBezTo>
                    <a:cubicBezTo>
                      <a:pt x="425" y="200"/>
                      <a:pt x="430" y="206"/>
                      <a:pt x="438" y="201"/>
                    </a:cubicBezTo>
                    <a:cubicBezTo>
                      <a:pt x="446" y="196"/>
                      <a:pt x="465" y="186"/>
                      <a:pt x="462" y="181"/>
                    </a:cubicBezTo>
                    <a:close/>
                    <a:moveTo>
                      <a:pt x="95" y="203"/>
                    </a:moveTo>
                    <a:cubicBezTo>
                      <a:pt x="90" y="208"/>
                      <a:pt x="90" y="220"/>
                      <a:pt x="97" y="226"/>
                    </a:cubicBezTo>
                    <a:cubicBezTo>
                      <a:pt x="105" y="232"/>
                      <a:pt x="110" y="234"/>
                      <a:pt x="118" y="229"/>
                    </a:cubicBezTo>
                    <a:cubicBezTo>
                      <a:pt x="125" y="223"/>
                      <a:pt x="146" y="202"/>
                      <a:pt x="154" y="195"/>
                    </a:cubicBezTo>
                    <a:cubicBezTo>
                      <a:pt x="162" y="188"/>
                      <a:pt x="159" y="179"/>
                      <a:pt x="152" y="173"/>
                    </a:cubicBezTo>
                    <a:cubicBezTo>
                      <a:pt x="145" y="167"/>
                      <a:pt x="138" y="166"/>
                      <a:pt x="130" y="172"/>
                    </a:cubicBezTo>
                    <a:cubicBezTo>
                      <a:pt x="122" y="179"/>
                      <a:pt x="102" y="197"/>
                      <a:pt x="95" y="203"/>
                    </a:cubicBezTo>
                    <a:close/>
                    <a:moveTo>
                      <a:pt x="135" y="234"/>
                    </a:moveTo>
                    <a:cubicBezTo>
                      <a:pt x="130" y="238"/>
                      <a:pt x="131" y="250"/>
                      <a:pt x="139" y="256"/>
                    </a:cubicBezTo>
                    <a:cubicBezTo>
                      <a:pt x="146" y="262"/>
                      <a:pt x="152" y="264"/>
                      <a:pt x="159" y="258"/>
                    </a:cubicBezTo>
                    <a:cubicBezTo>
                      <a:pt x="166" y="252"/>
                      <a:pt x="186" y="230"/>
                      <a:pt x="193" y="222"/>
                    </a:cubicBezTo>
                    <a:cubicBezTo>
                      <a:pt x="201" y="215"/>
                      <a:pt x="198" y="206"/>
                      <a:pt x="191" y="201"/>
                    </a:cubicBezTo>
                    <a:cubicBezTo>
                      <a:pt x="183" y="195"/>
                      <a:pt x="176" y="194"/>
                      <a:pt x="168" y="201"/>
                    </a:cubicBezTo>
                    <a:cubicBezTo>
                      <a:pt x="160" y="208"/>
                      <a:pt x="141" y="227"/>
                      <a:pt x="135" y="234"/>
                    </a:cubicBezTo>
                    <a:close/>
                    <a:moveTo>
                      <a:pt x="179" y="259"/>
                    </a:moveTo>
                    <a:cubicBezTo>
                      <a:pt x="174" y="264"/>
                      <a:pt x="175" y="276"/>
                      <a:pt x="183" y="282"/>
                    </a:cubicBezTo>
                    <a:cubicBezTo>
                      <a:pt x="190" y="288"/>
                      <a:pt x="196" y="289"/>
                      <a:pt x="203" y="283"/>
                    </a:cubicBezTo>
                    <a:cubicBezTo>
                      <a:pt x="210" y="278"/>
                      <a:pt x="230" y="255"/>
                      <a:pt x="238" y="248"/>
                    </a:cubicBezTo>
                    <a:cubicBezTo>
                      <a:pt x="245" y="240"/>
                      <a:pt x="242" y="232"/>
                      <a:pt x="235" y="226"/>
                    </a:cubicBezTo>
                    <a:cubicBezTo>
                      <a:pt x="227" y="220"/>
                      <a:pt x="220" y="219"/>
                      <a:pt x="212" y="227"/>
                    </a:cubicBezTo>
                    <a:cubicBezTo>
                      <a:pt x="205" y="234"/>
                      <a:pt x="185" y="253"/>
                      <a:pt x="179" y="259"/>
                    </a:cubicBezTo>
                    <a:close/>
                    <a:moveTo>
                      <a:pt x="219" y="288"/>
                    </a:moveTo>
                    <a:cubicBezTo>
                      <a:pt x="215" y="292"/>
                      <a:pt x="215" y="304"/>
                      <a:pt x="223" y="310"/>
                    </a:cubicBezTo>
                    <a:cubicBezTo>
                      <a:pt x="230" y="316"/>
                      <a:pt x="236" y="318"/>
                      <a:pt x="243" y="312"/>
                    </a:cubicBezTo>
                    <a:cubicBezTo>
                      <a:pt x="250" y="307"/>
                      <a:pt x="271" y="285"/>
                      <a:pt x="278" y="277"/>
                    </a:cubicBezTo>
                    <a:cubicBezTo>
                      <a:pt x="286" y="270"/>
                      <a:pt x="283" y="262"/>
                      <a:pt x="276" y="256"/>
                    </a:cubicBezTo>
                    <a:cubicBezTo>
                      <a:pt x="269" y="250"/>
                      <a:pt x="261" y="249"/>
                      <a:pt x="253" y="256"/>
                    </a:cubicBezTo>
                    <a:cubicBezTo>
                      <a:pt x="246" y="263"/>
                      <a:pt x="226" y="281"/>
                      <a:pt x="219" y="288"/>
                    </a:cubicBezTo>
                    <a:close/>
                    <a:moveTo>
                      <a:pt x="97" y="185"/>
                    </a:moveTo>
                    <a:cubicBezTo>
                      <a:pt x="101" y="181"/>
                      <a:pt x="117" y="165"/>
                      <a:pt x="125" y="158"/>
                    </a:cubicBezTo>
                    <a:cubicBezTo>
                      <a:pt x="133" y="150"/>
                      <a:pt x="139" y="152"/>
                      <a:pt x="146" y="152"/>
                    </a:cubicBezTo>
                    <a:cubicBezTo>
                      <a:pt x="152" y="153"/>
                      <a:pt x="167" y="160"/>
                      <a:pt x="170" y="171"/>
                    </a:cubicBezTo>
                    <a:cubicBezTo>
                      <a:pt x="173" y="182"/>
                      <a:pt x="177" y="181"/>
                      <a:pt x="182" y="180"/>
                    </a:cubicBezTo>
                    <a:cubicBezTo>
                      <a:pt x="187" y="179"/>
                      <a:pt x="205" y="183"/>
                      <a:pt x="209" y="197"/>
                    </a:cubicBezTo>
                    <a:cubicBezTo>
                      <a:pt x="213" y="210"/>
                      <a:pt x="223" y="206"/>
                      <a:pt x="231" y="207"/>
                    </a:cubicBezTo>
                    <a:cubicBezTo>
                      <a:pt x="240" y="209"/>
                      <a:pt x="252" y="218"/>
                      <a:pt x="254" y="226"/>
                    </a:cubicBezTo>
                    <a:cubicBezTo>
                      <a:pt x="256" y="233"/>
                      <a:pt x="261" y="234"/>
                      <a:pt x="266" y="234"/>
                    </a:cubicBezTo>
                    <a:cubicBezTo>
                      <a:pt x="272" y="234"/>
                      <a:pt x="281" y="240"/>
                      <a:pt x="286" y="243"/>
                    </a:cubicBezTo>
                    <a:cubicBezTo>
                      <a:pt x="291" y="247"/>
                      <a:pt x="297" y="262"/>
                      <a:pt x="298" y="266"/>
                    </a:cubicBezTo>
                    <a:cubicBezTo>
                      <a:pt x="298" y="271"/>
                      <a:pt x="296" y="281"/>
                      <a:pt x="293" y="283"/>
                    </a:cubicBezTo>
                    <a:cubicBezTo>
                      <a:pt x="291" y="285"/>
                      <a:pt x="272" y="303"/>
                      <a:pt x="266" y="308"/>
                    </a:cubicBezTo>
                    <a:cubicBezTo>
                      <a:pt x="260" y="313"/>
                      <a:pt x="261" y="317"/>
                      <a:pt x="265" y="319"/>
                    </a:cubicBezTo>
                    <a:cubicBezTo>
                      <a:pt x="268" y="322"/>
                      <a:pt x="275" y="319"/>
                      <a:pt x="283" y="319"/>
                    </a:cubicBezTo>
                    <a:cubicBezTo>
                      <a:pt x="291" y="319"/>
                      <a:pt x="302" y="301"/>
                      <a:pt x="302" y="295"/>
                    </a:cubicBezTo>
                    <a:cubicBezTo>
                      <a:pt x="302" y="289"/>
                      <a:pt x="310" y="292"/>
                      <a:pt x="318" y="295"/>
                    </a:cubicBezTo>
                    <a:cubicBezTo>
                      <a:pt x="326" y="297"/>
                      <a:pt x="343" y="277"/>
                      <a:pt x="343" y="269"/>
                    </a:cubicBezTo>
                    <a:cubicBezTo>
                      <a:pt x="343" y="261"/>
                      <a:pt x="347" y="266"/>
                      <a:pt x="351" y="268"/>
                    </a:cubicBezTo>
                    <a:cubicBezTo>
                      <a:pt x="356" y="271"/>
                      <a:pt x="371" y="267"/>
                      <a:pt x="378" y="264"/>
                    </a:cubicBezTo>
                    <a:cubicBezTo>
                      <a:pt x="384" y="260"/>
                      <a:pt x="389" y="245"/>
                      <a:pt x="389" y="239"/>
                    </a:cubicBezTo>
                    <a:cubicBezTo>
                      <a:pt x="389" y="234"/>
                      <a:pt x="398" y="243"/>
                      <a:pt x="404" y="246"/>
                    </a:cubicBezTo>
                    <a:cubicBezTo>
                      <a:pt x="410" y="249"/>
                      <a:pt x="420" y="239"/>
                      <a:pt x="425" y="232"/>
                    </a:cubicBezTo>
                    <a:cubicBezTo>
                      <a:pt x="430" y="225"/>
                      <a:pt x="426" y="221"/>
                      <a:pt x="420" y="215"/>
                    </a:cubicBezTo>
                    <a:cubicBezTo>
                      <a:pt x="413" y="210"/>
                      <a:pt x="337" y="146"/>
                      <a:pt x="321" y="130"/>
                    </a:cubicBezTo>
                    <a:cubicBezTo>
                      <a:pt x="304" y="115"/>
                      <a:pt x="296" y="131"/>
                      <a:pt x="291" y="134"/>
                    </a:cubicBezTo>
                    <a:cubicBezTo>
                      <a:pt x="287" y="137"/>
                      <a:pt x="273" y="149"/>
                      <a:pt x="258" y="159"/>
                    </a:cubicBezTo>
                    <a:cubicBezTo>
                      <a:pt x="243" y="170"/>
                      <a:pt x="223" y="160"/>
                      <a:pt x="218" y="158"/>
                    </a:cubicBezTo>
                    <a:cubicBezTo>
                      <a:pt x="213" y="156"/>
                      <a:pt x="201" y="144"/>
                      <a:pt x="196" y="138"/>
                    </a:cubicBezTo>
                    <a:cubicBezTo>
                      <a:pt x="190" y="132"/>
                      <a:pt x="188" y="129"/>
                      <a:pt x="187" y="119"/>
                    </a:cubicBezTo>
                    <a:cubicBezTo>
                      <a:pt x="187" y="109"/>
                      <a:pt x="197" y="97"/>
                      <a:pt x="204" y="89"/>
                    </a:cubicBezTo>
                    <a:cubicBezTo>
                      <a:pt x="210" y="80"/>
                      <a:pt x="240" y="52"/>
                      <a:pt x="250" y="43"/>
                    </a:cubicBezTo>
                    <a:cubicBezTo>
                      <a:pt x="260" y="34"/>
                      <a:pt x="255" y="31"/>
                      <a:pt x="250" y="31"/>
                    </a:cubicBezTo>
                    <a:cubicBezTo>
                      <a:pt x="244" y="31"/>
                      <a:pt x="228" y="31"/>
                      <a:pt x="219" y="31"/>
                    </a:cubicBezTo>
                    <a:cubicBezTo>
                      <a:pt x="210" y="31"/>
                      <a:pt x="199" y="37"/>
                      <a:pt x="191" y="42"/>
                    </a:cubicBezTo>
                    <a:cubicBezTo>
                      <a:pt x="183" y="46"/>
                      <a:pt x="171" y="45"/>
                      <a:pt x="159" y="47"/>
                    </a:cubicBezTo>
                    <a:cubicBezTo>
                      <a:pt x="146" y="48"/>
                      <a:pt x="148" y="49"/>
                      <a:pt x="143" y="54"/>
                    </a:cubicBezTo>
                    <a:cubicBezTo>
                      <a:pt x="139" y="60"/>
                      <a:pt x="93" y="168"/>
                      <a:pt x="88" y="178"/>
                    </a:cubicBezTo>
                    <a:cubicBezTo>
                      <a:pt x="84" y="187"/>
                      <a:pt x="93" y="190"/>
                      <a:pt x="97" y="1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  <a:reflection blurRad="6350" stA="52000" endA="300" endPos="35000" dir="5400000" sy="-100000" algn="bl" rotWithShape="0"/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</p:grpSp>
        <p:grpSp>
          <p:nvGrpSpPr>
            <p:cNvPr id="9" name="Gruppieren 41"/>
            <p:cNvGrpSpPr/>
            <p:nvPr/>
          </p:nvGrpSpPr>
          <p:grpSpPr>
            <a:xfrm>
              <a:off x="5526720" y="2782389"/>
              <a:ext cx="1615680" cy="2375626"/>
              <a:chOff x="5526720" y="2782389"/>
              <a:chExt cx="1615680" cy="2375626"/>
            </a:xfrm>
          </p:grpSpPr>
          <p:sp>
            <p:nvSpPr>
              <p:cNvPr id="19461" name="AutoShape 5"/>
              <p:cNvSpPr>
                <a:spLocks noChangeArrowheads="1"/>
              </p:cNvSpPr>
              <p:nvPr/>
            </p:nvSpPr>
            <p:spPr bwMode="gray">
              <a:xfrm>
                <a:off x="5526720" y="4737491"/>
                <a:ext cx="1615680" cy="420524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Handle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466" name="AutoShape 10"/>
              <p:cNvSpPr>
                <a:spLocks noChangeArrowheads="1"/>
              </p:cNvSpPr>
              <p:nvPr/>
            </p:nvSpPr>
            <p:spPr bwMode="gray">
              <a:xfrm>
                <a:off x="5526720" y="2782389"/>
                <a:ext cx="1615680" cy="1763986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grpSp>
            <p:nvGrpSpPr>
              <p:cNvPr id="10" name="Gruppieren 49"/>
              <p:cNvGrpSpPr/>
              <p:nvPr/>
            </p:nvGrpSpPr>
            <p:grpSpPr bwMode="gray">
              <a:xfrm>
                <a:off x="5868489" y="3256936"/>
                <a:ext cx="973156" cy="939007"/>
                <a:chOff x="-2093913" y="1565669"/>
                <a:chExt cx="1458913" cy="1407719"/>
              </a:xfrm>
              <a:effectLst>
                <a:outerShdw blurRad="127000" dist="635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1" name="Freeform 11"/>
                <p:cNvSpPr>
                  <a:spLocks/>
                </p:cNvSpPr>
                <p:nvPr/>
              </p:nvSpPr>
              <p:spPr bwMode="gray">
                <a:xfrm>
                  <a:off x="-1400176" y="1751013"/>
                  <a:ext cx="765175" cy="1222375"/>
                </a:xfrm>
                <a:custGeom>
                  <a:avLst/>
                  <a:gdLst/>
                  <a:ahLst/>
                  <a:cxnLst>
                    <a:cxn ang="0">
                      <a:pos x="0" y="770"/>
                    </a:cxn>
                    <a:cxn ang="0">
                      <a:pos x="0" y="151"/>
                    </a:cxn>
                    <a:cxn ang="0">
                      <a:pos x="482" y="0"/>
                    </a:cxn>
                    <a:cxn ang="0">
                      <a:pos x="442" y="550"/>
                    </a:cxn>
                    <a:cxn ang="0">
                      <a:pos x="0" y="770"/>
                    </a:cxn>
                  </a:cxnLst>
                  <a:rect l="0" t="0" r="r" b="b"/>
                  <a:pathLst>
                    <a:path w="482" h="770">
                      <a:moveTo>
                        <a:pt x="0" y="770"/>
                      </a:moveTo>
                      <a:lnTo>
                        <a:pt x="0" y="151"/>
                      </a:lnTo>
                      <a:lnTo>
                        <a:pt x="482" y="0"/>
                      </a:lnTo>
                      <a:lnTo>
                        <a:pt x="442" y="550"/>
                      </a:lnTo>
                      <a:lnTo>
                        <a:pt x="0" y="77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52" name="Freeform 12"/>
                <p:cNvSpPr>
                  <a:spLocks/>
                </p:cNvSpPr>
                <p:nvPr/>
              </p:nvSpPr>
              <p:spPr bwMode="gray">
                <a:xfrm>
                  <a:off x="-2093913" y="1724025"/>
                  <a:ext cx="693738" cy="12493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37" y="168"/>
                    </a:cxn>
                    <a:cxn ang="0">
                      <a:pos x="437" y="787"/>
                    </a:cxn>
                    <a:cxn ang="0">
                      <a:pos x="19" y="55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7" h="787">
                      <a:moveTo>
                        <a:pt x="0" y="0"/>
                      </a:moveTo>
                      <a:lnTo>
                        <a:pt x="437" y="168"/>
                      </a:lnTo>
                      <a:lnTo>
                        <a:pt x="437" y="787"/>
                      </a:lnTo>
                      <a:lnTo>
                        <a:pt x="19" y="55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53" name="Freeform 13"/>
                <p:cNvSpPr>
                  <a:spLocks/>
                </p:cNvSpPr>
                <p:nvPr/>
              </p:nvSpPr>
              <p:spPr bwMode="gray">
                <a:xfrm>
                  <a:off x="-2093913" y="1565669"/>
                  <a:ext cx="1458913" cy="428625"/>
                </a:xfrm>
                <a:custGeom>
                  <a:avLst/>
                  <a:gdLst/>
                  <a:ahLst/>
                  <a:cxnLst>
                    <a:cxn ang="0">
                      <a:pos x="463" y="0"/>
                    </a:cxn>
                    <a:cxn ang="0">
                      <a:pos x="919" y="119"/>
                    </a:cxn>
                    <a:cxn ang="0">
                      <a:pos x="437" y="270"/>
                    </a:cxn>
                    <a:cxn ang="0">
                      <a:pos x="0" y="102"/>
                    </a:cxn>
                    <a:cxn ang="0">
                      <a:pos x="463" y="0"/>
                    </a:cxn>
                  </a:cxnLst>
                  <a:rect l="0" t="0" r="r" b="b"/>
                  <a:pathLst>
                    <a:path w="919" h="270">
                      <a:moveTo>
                        <a:pt x="463" y="0"/>
                      </a:moveTo>
                      <a:lnTo>
                        <a:pt x="919" y="119"/>
                      </a:lnTo>
                      <a:lnTo>
                        <a:pt x="437" y="270"/>
                      </a:lnTo>
                      <a:lnTo>
                        <a:pt x="0" y="102"/>
                      </a:lnTo>
                      <a:lnTo>
                        <a:pt x="46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2700000" scaled="1"/>
                  <a:tileRect/>
                </a:gra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54" name="Freeform 14"/>
                <p:cNvSpPr>
                  <a:spLocks/>
                </p:cNvSpPr>
                <p:nvPr/>
              </p:nvSpPr>
              <p:spPr bwMode="gray">
                <a:xfrm>
                  <a:off x="-1800226" y="1641475"/>
                  <a:ext cx="806450" cy="360363"/>
                </a:xfrm>
                <a:custGeom>
                  <a:avLst/>
                  <a:gdLst/>
                  <a:ahLst/>
                  <a:cxnLst>
                    <a:cxn ang="0">
                      <a:pos x="0" y="206"/>
                    </a:cxn>
                    <a:cxn ang="0">
                      <a:pos x="44" y="227"/>
                    </a:cxn>
                    <a:cxn ang="0">
                      <a:pos x="44" y="137"/>
                    </a:cxn>
                    <a:cxn ang="0">
                      <a:pos x="508" y="12"/>
                    </a:cxn>
                    <a:cxn ang="0">
                      <a:pos x="465" y="0"/>
                    </a:cxn>
                    <a:cxn ang="0">
                      <a:pos x="0" y="123"/>
                    </a:cxn>
                    <a:cxn ang="0">
                      <a:pos x="0" y="206"/>
                    </a:cxn>
                  </a:cxnLst>
                  <a:rect l="0" t="0" r="r" b="b"/>
                  <a:pathLst>
                    <a:path w="508" h="227">
                      <a:moveTo>
                        <a:pt x="0" y="206"/>
                      </a:moveTo>
                      <a:lnTo>
                        <a:pt x="44" y="227"/>
                      </a:lnTo>
                      <a:lnTo>
                        <a:pt x="44" y="137"/>
                      </a:lnTo>
                      <a:lnTo>
                        <a:pt x="508" y="12"/>
                      </a:lnTo>
                      <a:lnTo>
                        <a:pt x="465" y="0"/>
                      </a:lnTo>
                      <a:lnTo>
                        <a:pt x="0" y="123"/>
                      </a:lnTo>
                      <a:lnTo>
                        <a:pt x="0" y="206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55" name="Freeform 15"/>
                <p:cNvSpPr>
                  <a:spLocks/>
                </p:cNvSpPr>
                <p:nvPr/>
              </p:nvSpPr>
              <p:spPr bwMode="gray">
                <a:xfrm>
                  <a:off x="-1166814" y="1724421"/>
                  <a:ext cx="344488" cy="96838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146" y="0"/>
                    </a:cxn>
                    <a:cxn ang="0">
                      <a:pos x="217" y="19"/>
                    </a:cxn>
                    <a:cxn ang="0">
                      <a:pos x="71" y="61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217" h="61">
                      <a:moveTo>
                        <a:pt x="0" y="40"/>
                      </a:moveTo>
                      <a:lnTo>
                        <a:pt x="146" y="0"/>
                      </a:lnTo>
                      <a:lnTo>
                        <a:pt x="217" y="19"/>
                      </a:lnTo>
                      <a:lnTo>
                        <a:pt x="71" y="61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56" name="Freeform 16"/>
                <p:cNvSpPr>
                  <a:spLocks/>
                </p:cNvSpPr>
                <p:nvPr/>
              </p:nvSpPr>
              <p:spPr bwMode="gray">
                <a:xfrm>
                  <a:off x="-2052638" y="1847850"/>
                  <a:ext cx="134938" cy="184150"/>
                </a:xfrm>
                <a:custGeom>
                  <a:avLst/>
                  <a:gdLst/>
                  <a:ahLst/>
                  <a:cxnLst>
                    <a:cxn ang="0">
                      <a:pos x="19" y="92"/>
                    </a:cxn>
                    <a:cxn ang="0">
                      <a:pos x="66" y="116"/>
                    </a:cxn>
                    <a:cxn ang="0">
                      <a:pos x="66" y="66"/>
                    </a:cxn>
                    <a:cxn ang="0">
                      <a:pos x="85" y="76"/>
                    </a:cxn>
                    <a:cxn ang="0">
                      <a:pos x="40" y="0"/>
                    </a:cxn>
                    <a:cxn ang="0">
                      <a:pos x="0" y="43"/>
                    </a:cxn>
                    <a:cxn ang="0">
                      <a:pos x="19" y="52"/>
                    </a:cxn>
                    <a:cxn ang="0">
                      <a:pos x="19" y="92"/>
                    </a:cxn>
                  </a:cxnLst>
                  <a:rect l="0" t="0" r="r" b="b"/>
                  <a:pathLst>
                    <a:path w="85" h="116">
                      <a:moveTo>
                        <a:pt x="19" y="92"/>
                      </a:moveTo>
                      <a:lnTo>
                        <a:pt x="66" y="116"/>
                      </a:lnTo>
                      <a:lnTo>
                        <a:pt x="66" y="66"/>
                      </a:lnTo>
                      <a:lnTo>
                        <a:pt x="85" y="76"/>
                      </a:lnTo>
                      <a:lnTo>
                        <a:pt x="40" y="0"/>
                      </a:lnTo>
                      <a:lnTo>
                        <a:pt x="0" y="43"/>
                      </a:lnTo>
                      <a:lnTo>
                        <a:pt x="19" y="52"/>
                      </a:lnTo>
                      <a:lnTo>
                        <a:pt x="19" y="9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22" name="Pfeil nach rechts 21"/>
            <p:cNvSpPr/>
            <p:nvPr/>
          </p:nvSpPr>
          <p:spPr bwMode="gray">
            <a:xfrm>
              <a:off x="1895826" y="2829460"/>
              <a:ext cx="481151" cy="56170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1400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Pfeil nach rechts 22"/>
            <p:cNvSpPr/>
            <p:nvPr/>
          </p:nvSpPr>
          <p:spPr bwMode="gray">
            <a:xfrm>
              <a:off x="3627186" y="2829460"/>
              <a:ext cx="481151" cy="56170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1400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4" name="Pfeil nach rechts 23"/>
            <p:cNvSpPr/>
            <p:nvPr/>
          </p:nvSpPr>
          <p:spPr bwMode="gray">
            <a:xfrm>
              <a:off x="5344332" y="2829460"/>
              <a:ext cx="481151" cy="56170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1400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5" name="Pfeil nach rechts 24"/>
            <p:cNvSpPr/>
            <p:nvPr/>
          </p:nvSpPr>
          <p:spPr bwMode="gray">
            <a:xfrm>
              <a:off x="7048735" y="2829460"/>
              <a:ext cx="481151" cy="561703"/>
            </a:xfrm>
            <a:prstGeom prst="rightArrow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1400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9" name="Titel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R-Marketing </a:t>
            </a:r>
            <a:r>
              <a:rPr lang="en-US" b="0" noProof="1" smtClean="0"/>
              <a:t>- Phases</a:t>
            </a:r>
            <a:endParaRPr lang="en-US" b="0" noProof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Brand / Corporate Identity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4467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uppieren 32"/>
          <p:cNvGrpSpPr/>
          <p:nvPr/>
        </p:nvGrpSpPr>
        <p:grpSpPr bwMode="gray">
          <a:xfrm>
            <a:off x="0" y="2892281"/>
            <a:ext cx="9144000" cy="1163782"/>
            <a:chOff x="0" y="4534215"/>
            <a:chExt cx="9144000" cy="1163782"/>
          </a:xfrm>
        </p:grpSpPr>
        <p:sp>
          <p:nvSpPr>
            <p:cNvPr id="85" name="Rechteck 84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86" name="Rechteck 85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rporate Identity vs. Image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fferentiation of two perspectives</a:t>
            </a:r>
            <a:endParaRPr lang="en-US" noProof="1"/>
          </a:p>
        </p:txBody>
      </p:sp>
      <p:grpSp>
        <p:nvGrpSpPr>
          <p:cNvPr id="95" name="Gruppieren 94"/>
          <p:cNvGrpSpPr/>
          <p:nvPr/>
        </p:nvGrpSpPr>
        <p:grpSpPr>
          <a:xfrm>
            <a:off x="1141058" y="1356529"/>
            <a:ext cx="7013627" cy="4425117"/>
            <a:chOff x="1141058" y="1356529"/>
            <a:chExt cx="7013627" cy="4425117"/>
          </a:xfrm>
        </p:grpSpPr>
        <p:grpSp>
          <p:nvGrpSpPr>
            <p:cNvPr id="83" name="Gruppieren 82"/>
            <p:cNvGrpSpPr/>
            <p:nvPr/>
          </p:nvGrpSpPr>
          <p:grpSpPr bwMode="gray">
            <a:xfrm>
              <a:off x="4145806" y="1356529"/>
              <a:ext cx="2090417" cy="2229122"/>
              <a:chOff x="4040188" y="1525588"/>
              <a:chExt cx="2308225" cy="2530475"/>
            </a:xfrm>
          </p:grpSpPr>
          <p:sp>
            <p:nvSpPr>
              <p:cNvPr id="1030" name="Freeform 6"/>
              <p:cNvSpPr>
                <a:spLocks/>
              </p:cNvSpPr>
              <p:nvPr/>
            </p:nvSpPr>
            <p:spPr bwMode="gray">
              <a:xfrm>
                <a:off x="4056063" y="3532188"/>
                <a:ext cx="2292350" cy="523875"/>
              </a:xfrm>
              <a:custGeom>
                <a:avLst/>
                <a:gdLst/>
                <a:ahLst/>
                <a:cxnLst>
                  <a:cxn ang="0">
                    <a:pos x="328" y="330"/>
                  </a:cxn>
                  <a:cxn ang="0">
                    <a:pos x="1444" y="112"/>
                  </a:cxn>
                  <a:cxn ang="0">
                    <a:pos x="1054" y="0"/>
                  </a:cxn>
                  <a:cxn ang="0">
                    <a:pos x="0" y="229"/>
                  </a:cxn>
                  <a:cxn ang="0">
                    <a:pos x="328" y="330"/>
                  </a:cxn>
                </a:cxnLst>
                <a:rect l="0" t="0" r="r" b="b"/>
                <a:pathLst>
                  <a:path w="1444" h="330">
                    <a:moveTo>
                      <a:pt x="328" y="330"/>
                    </a:moveTo>
                    <a:lnTo>
                      <a:pt x="1444" y="112"/>
                    </a:lnTo>
                    <a:lnTo>
                      <a:pt x="1054" y="0"/>
                    </a:lnTo>
                    <a:lnTo>
                      <a:pt x="0" y="229"/>
                    </a:lnTo>
                    <a:lnTo>
                      <a:pt x="328" y="33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1">
                      <a:alpha val="40000"/>
                    </a:schemeClr>
                  </a:gs>
                  <a:gs pos="76000">
                    <a:schemeClr val="tx1">
                      <a:lumMod val="50000"/>
                      <a:lumOff val="50000"/>
                      <a:alpha val="0"/>
                    </a:schemeClr>
                  </a:gs>
                </a:gsLst>
                <a:lin ang="189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gray">
              <a:xfrm>
                <a:off x="4041775" y="2085975"/>
                <a:ext cx="527050" cy="1965325"/>
              </a:xfrm>
              <a:custGeom>
                <a:avLst/>
                <a:gdLst/>
                <a:ahLst/>
                <a:cxnLst>
                  <a:cxn ang="0">
                    <a:pos x="332" y="1238"/>
                  </a:cxn>
                  <a:cxn ang="0">
                    <a:pos x="3" y="1136"/>
                  </a:cxn>
                  <a:cxn ang="0">
                    <a:pos x="0" y="0"/>
                  </a:cxn>
                  <a:cxn ang="0">
                    <a:pos x="332" y="69"/>
                  </a:cxn>
                  <a:cxn ang="0">
                    <a:pos x="332" y="1238"/>
                  </a:cxn>
                </a:cxnLst>
                <a:rect l="0" t="0" r="r" b="b"/>
                <a:pathLst>
                  <a:path w="332" h="1238">
                    <a:moveTo>
                      <a:pt x="332" y="1238"/>
                    </a:moveTo>
                    <a:lnTo>
                      <a:pt x="3" y="1136"/>
                    </a:lnTo>
                    <a:lnTo>
                      <a:pt x="0" y="0"/>
                    </a:lnTo>
                    <a:lnTo>
                      <a:pt x="332" y="69"/>
                    </a:lnTo>
                    <a:lnTo>
                      <a:pt x="332" y="1238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2" name="Freeform 8"/>
              <p:cNvSpPr>
                <a:spLocks noEditPoints="1"/>
              </p:cNvSpPr>
              <p:nvPr/>
            </p:nvSpPr>
            <p:spPr bwMode="gray">
              <a:xfrm>
                <a:off x="4041775" y="2085975"/>
                <a:ext cx="527050" cy="1965325"/>
              </a:xfrm>
              <a:custGeom>
                <a:avLst/>
                <a:gdLst/>
                <a:ahLst/>
                <a:cxnLst>
                  <a:cxn ang="0">
                    <a:pos x="112" y="1169"/>
                  </a:cxn>
                  <a:cxn ang="0">
                    <a:pos x="212" y="1201"/>
                  </a:cxn>
                  <a:cxn ang="0">
                    <a:pos x="212" y="44"/>
                  </a:cxn>
                  <a:cxn ang="0">
                    <a:pos x="112" y="23"/>
                  </a:cxn>
                  <a:cxn ang="0">
                    <a:pos x="112" y="1169"/>
                  </a:cxn>
                  <a:cxn ang="0">
                    <a:pos x="3" y="1136"/>
                  </a:cxn>
                  <a:cxn ang="0">
                    <a:pos x="91" y="1163"/>
                  </a:cxn>
                  <a:cxn ang="0">
                    <a:pos x="91" y="19"/>
                  </a:cxn>
                  <a:cxn ang="0">
                    <a:pos x="0" y="0"/>
                  </a:cxn>
                  <a:cxn ang="0">
                    <a:pos x="3" y="1136"/>
                  </a:cxn>
                  <a:cxn ang="0">
                    <a:pos x="232" y="48"/>
                  </a:cxn>
                  <a:cxn ang="0">
                    <a:pos x="232" y="1207"/>
                  </a:cxn>
                  <a:cxn ang="0">
                    <a:pos x="332" y="1238"/>
                  </a:cxn>
                  <a:cxn ang="0">
                    <a:pos x="332" y="69"/>
                  </a:cxn>
                  <a:cxn ang="0">
                    <a:pos x="232" y="48"/>
                  </a:cxn>
                </a:cxnLst>
                <a:rect l="0" t="0" r="r" b="b"/>
                <a:pathLst>
                  <a:path w="332" h="1238">
                    <a:moveTo>
                      <a:pt x="112" y="1169"/>
                    </a:moveTo>
                    <a:lnTo>
                      <a:pt x="212" y="1201"/>
                    </a:lnTo>
                    <a:lnTo>
                      <a:pt x="212" y="44"/>
                    </a:lnTo>
                    <a:lnTo>
                      <a:pt x="112" y="23"/>
                    </a:lnTo>
                    <a:lnTo>
                      <a:pt x="112" y="1169"/>
                    </a:lnTo>
                    <a:close/>
                    <a:moveTo>
                      <a:pt x="3" y="1136"/>
                    </a:moveTo>
                    <a:lnTo>
                      <a:pt x="91" y="1163"/>
                    </a:lnTo>
                    <a:lnTo>
                      <a:pt x="91" y="19"/>
                    </a:lnTo>
                    <a:lnTo>
                      <a:pt x="0" y="0"/>
                    </a:lnTo>
                    <a:lnTo>
                      <a:pt x="3" y="1136"/>
                    </a:lnTo>
                    <a:close/>
                    <a:moveTo>
                      <a:pt x="232" y="48"/>
                    </a:moveTo>
                    <a:lnTo>
                      <a:pt x="232" y="1207"/>
                    </a:lnTo>
                    <a:lnTo>
                      <a:pt x="332" y="1238"/>
                    </a:lnTo>
                    <a:lnTo>
                      <a:pt x="332" y="69"/>
                    </a:lnTo>
                    <a:lnTo>
                      <a:pt x="232" y="48"/>
                    </a:lnTo>
                    <a:close/>
                  </a:path>
                </a:pathLst>
              </a:custGeom>
              <a:solidFill>
                <a:srgbClr val="B6DC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3" name="Freeform 9"/>
              <p:cNvSpPr>
                <a:spLocks/>
              </p:cNvSpPr>
              <p:nvPr/>
            </p:nvSpPr>
            <p:spPr bwMode="gray">
              <a:xfrm>
                <a:off x="4041775" y="2227263"/>
                <a:ext cx="527050" cy="144463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332" y="91"/>
                  </a:cxn>
                  <a:cxn ang="0">
                    <a:pos x="332" y="85"/>
                  </a:cxn>
                  <a:cxn ang="0">
                    <a:pos x="0" y="0"/>
                  </a:cxn>
                  <a:cxn ang="0">
                    <a:pos x="0" y="7"/>
                  </a:cxn>
                </a:cxnLst>
                <a:rect l="0" t="0" r="r" b="b"/>
                <a:pathLst>
                  <a:path w="332" h="91">
                    <a:moveTo>
                      <a:pt x="0" y="7"/>
                    </a:moveTo>
                    <a:lnTo>
                      <a:pt x="332" y="91"/>
                    </a:lnTo>
                    <a:lnTo>
                      <a:pt x="332" y="85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4" name="Freeform 10"/>
              <p:cNvSpPr>
                <a:spLocks/>
              </p:cNvSpPr>
              <p:nvPr/>
            </p:nvSpPr>
            <p:spPr bwMode="gray">
              <a:xfrm>
                <a:off x="4041775" y="2309813"/>
                <a:ext cx="527050" cy="146050"/>
              </a:xfrm>
              <a:custGeom>
                <a:avLst/>
                <a:gdLst/>
                <a:ahLst/>
                <a:cxnLst>
                  <a:cxn ang="0">
                    <a:pos x="332" y="8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2" y="92"/>
                  </a:cxn>
                  <a:cxn ang="0">
                    <a:pos x="332" y="85"/>
                  </a:cxn>
                </a:cxnLst>
                <a:rect l="0" t="0" r="r" b="b"/>
                <a:pathLst>
                  <a:path w="332" h="92">
                    <a:moveTo>
                      <a:pt x="332" y="85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2" y="92"/>
                    </a:lnTo>
                    <a:lnTo>
                      <a:pt x="332" y="85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5" name="Freeform 11"/>
              <p:cNvSpPr>
                <a:spLocks/>
              </p:cNvSpPr>
              <p:nvPr/>
            </p:nvSpPr>
            <p:spPr bwMode="gray">
              <a:xfrm>
                <a:off x="4041775" y="2393950"/>
                <a:ext cx="527050" cy="14605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332" y="92"/>
                  </a:cxn>
                  <a:cxn ang="0">
                    <a:pos x="332" y="84"/>
                  </a:cxn>
                  <a:cxn ang="0">
                    <a:pos x="0" y="0"/>
                  </a:cxn>
                  <a:cxn ang="0">
                    <a:pos x="0" y="6"/>
                  </a:cxn>
                </a:cxnLst>
                <a:rect l="0" t="0" r="r" b="b"/>
                <a:pathLst>
                  <a:path w="332" h="92">
                    <a:moveTo>
                      <a:pt x="0" y="6"/>
                    </a:moveTo>
                    <a:lnTo>
                      <a:pt x="332" y="92"/>
                    </a:lnTo>
                    <a:lnTo>
                      <a:pt x="332" y="84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6" name="Freeform 12"/>
              <p:cNvSpPr>
                <a:spLocks/>
              </p:cNvSpPr>
              <p:nvPr/>
            </p:nvSpPr>
            <p:spPr bwMode="gray">
              <a:xfrm>
                <a:off x="4041775" y="2476500"/>
                <a:ext cx="527050" cy="147638"/>
              </a:xfrm>
              <a:custGeom>
                <a:avLst/>
                <a:gdLst/>
                <a:ahLst/>
                <a:cxnLst>
                  <a:cxn ang="0">
                    <a:pos x="332" y="8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2" y="93"/>
                  </a:cxn>
                  <a:cxn ang="0">
                    <a:pos x="332" y="85"/>
                  </a:cxn>
                </a:cxnLst>
                <a:rect l="0" t="0" r="r" b="b"/>
                <a:pathLst>
                  <a:path w="332" h="93">
                    <a:moveTo>
                      <a:pt x="332" y="85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2" y="93"/>
                    </a:lnTo>
                    <a:lnTo>
                      <a:pt x="332" y="85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7" name="Freeform 13"/>
              <p:cNvSpPr>
                <a:spLocks/>
              </p:cNvSpPr>
              <p:nvPr/>
            </p:nvSpPr>
            <p:spPr bwMode="gray">
              <a:xfrm>
                <a:off x="4041775" y="2559050"/>
                <a:ext cx="527050" cy="146050"/>
              </a:xfrm>
              <a:custGeom>
                <a:avLst/>
                <a:gdLst/>
                <a:ahLst/>
                <a:cxnLst>
                  <a:cxn ang="0">
                    <a:pos x="332" y="86"/>
                  </a:cxn>
                  <a:cxn ang="0">
                    <a:pos x="0" y="0"/>
                  </a:cxn>
                  <a:cxn ang="0">
                    <a:pos x="1" y="7"/>
                  </a:cxn>
                  <a:cxn ang="0">
                    <a:pos x="332" y="92"/>
                  </a:cxn>
                  <a:cxn ang="0">
                    <a:pos x="332" y="86"/>
                  </a:cxn>
                </a:cxnLst>
                <a:rect l="0" t="0" r="r" b="b"/>
                <a:pathLst>
                  <a:path w="332" h="92">
                    <a:moveTo>
                      <a:pt x="332" y="86"/>
                    </a:moveTo>
                    <a:lnTo>
                      <a:pt x="0" y="0"/>
                    </a:lnTo>
                    <a:lnTo>
                      <a:pt x="1" y="7"/>
                    </a:lnTo>
                    <a:lnTo>
                      <a:pt x="332" y="92"/>
                    </a:lnTo>
                    <a:lnTo>
                      <a:pt x="332" y="86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8" name="Freeform 14"/>
              <p:cNvSpPr>
                <a:spLocks/>
              </p:cNvSpPr>
              <p:nvPr/>
            </p:nvSpPr>
            <p:spPr bwMode="gray">
              <a:xfrm>
                <a:off x="4043363" y="2641600"/>
                <a:ext cx="525463" cy="147638"/>
              </a:xfrm>
              <a:custGeom>
                <a:avLst/>
                <a:gdLst/>
                <a:ahLst/>
                <a:cxnLst>
                  <a:cxn ang="0">
                    <a:pos x="331" y="87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331" y="93"/>
                  </a:cxn>
                  <a:cxn ang="0">
                    <a:pos x="331" y="87"/>
                  </a:cxn>
                </a:cxnLst>
                <a:rect l="0" t="0" r="r" b="b"/>
                <a:pathLst>
                  <a:path w="331" h="93">
                    <a:moveTo>
                      <a:pt x="331" y="87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31" y="93"/>
                    </a:lnTo>
                    <a:lnTo>
                      <a:pt x="331" y="8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39" name="Freeform 15"/>
              <p:cNvSpPr>
                <a:spLocks/>
              </p:cNvSpPr>
              <p:nvPr/>
            </p:nvSpPr>
            <p:spPr bwMode="gray">
              <a:xfrm>
                <a:off x="4043363" y="2725738"/>
                <a:ext cx="525463" cy="147638"/>
              </a:xfrm>
              <a:custGeom>
                <a:avLst/>
                <a:gdLst/>
                <a:ahLst/>
                <a:cxnLst>
                  <a:cxn ang="0">
                    <a:pos x="331" y="85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331" y="93"/>
                  </a:cxn>
                  <a:cxn ang="0">
                    <a:pos x="331" y="85"/>
                  </a:cxn>
                </a:cxnLst>
                <a:rect l="0" t="0" r="r" b="b"/>
                <a:pathLst>
                  <a:path w="331" h="93">
                    <a:moveTo>
                      <a:pt x="331" y="85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31" y="93"/>
                    </a:lnTo>
                    <a:lnTo>
                      <a:pt x="331" y="85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0" name="Freeform 16"/>
              <p:cNvSpPr>
                <a:spLocks/>
              </p:cNvSpPr>
              <p:nvPr/>
            </p:nvSpPr>
            <p:spPr bwMode="gray">
              <a:xfrm>
                <a:off x="4043363" y="2808288"/>
                <a:ext cx="525463" cy="149225"/>
              </a:xfrm>
              <a:custGeom>
                <a:avLst/>
                <a:gdLst/>
                <a:ahLst/>
                <a:cxnLst>
                  <a:cxn ang="0">
                    <a:pos x="331" y="86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1" y="94"/>
                  </a:cxn>
                  <a:cxn ang="0">
                    <a:pos x="331" y="86"/>
                  </a:cxn>
                </a:cxnLst>
                <a:rect l="0" t="0" r="r" b="b"/>
                <a:pathLst>
                  <a:path w="331" h="94">
                    <a:moveTo>
                      <a:pt x="331" y="86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1" y="94"/>
                    </a:lnTo>
                    <a:lnTo>
                      <a:pt x="331" y="86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1" name="Freeform 17"/>
              <p:cNvSpPr>
                <a:spLocks/>
              </p:cNvSpPr>
              <p:nvPr/>
            </p:nvSpPr>
            <p:spPr bwMode="gray">
              <a:xfrm>
                <a:off x="4043363" y="2889250"/>
                <a:ext cx="525463" cy="149225"/>
              </a:xfrm>
              <a:custGeom>
                <a:avLst/>
                <a:gdLst/>
                <a:ahLst/>
                <a:cxnLst>
                  <a:cxn ang="0">
                    <a:pos x="331" y="88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331" y="94"/>
                  </a:cxn>
                  <a:cxn ang="0">
                    <a:pos x="331" y="88"/>
                  </a:cxn>
                </a:cxnLst>
                <a:rect l="0" t="0" r="r" b="b"/>
                <a:pathLst>
                  <a:path w="331" h="94">
                    <a:moveTo>
                      <a:pt x="331" y="88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31" y="94"/>
                    </a:lnTo>
                    <a:lnTo>
                      <a:pt x="331" y="88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2" name="Freeform 18"/>
              <p:cNvSpPr>
                <a:spLocks/>
              </p:cNvSpPr>
              <p:nvPr/>
            </p:nvSpPr>
            <p:spPr bwMode="gray">
              <a:xfrm>
                <a:off x="4043363" y="2973388"/>
                <a:ext cx="525463" cy="149225"/>
              </a:xfrm>
              <a:custGeom>
                <a:avLst/>
                <a:gdLst/>
                <a:ahLst/>
                <a:cxnLst>
                  <a:cxn ang="0">
                    <a:pos x="331" y="88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331" y="94"/>
                  </a:cxn>
                  <a:cxn ang="0">
                    <a:pos x="331" y="88"/>
                  </a:cxn>
                </a:cxnLst>
                <a:rect l="0" t="0" r="r" b="b"/>
                <a:pathLst>
                  <a:path w="331" h="94">
                    <a:moveTo>
                      <a:pt x="331" y="88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31" y="94"/>
                    </a:lnTo>
                    <a:lnTo>
                      <a:pt x="331" y="88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3" name="Freeform 19"/>
              <p:cNvSpPr>
                <a:spLocks/>
              </p:cNvSpPr>
              <p:nvPr/>
            </p:nvSpPr>
            <p:spPr bwMode="gray">
              <a:xfrm>
                <a:off x="4043363" y="3055938"/>
                <a:ext cx="525463" cy="150813"/>
              </a:xfrm>
              <a:custGeom>
                <a:avLst/>
                <a:gdLst/>
                <a:ahLst/>
                <a:cxnLst>
                  <a:cxn ang="0">
                    <a:pos x="331" y="87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1" y="95"/>
                  </a:cxn>
                  <a:cxn ang="0">
                    <a:pos x="331" y="87"/>
                  </a:cxn>
                </a:cxnLst>
                <a:rect l="0" t="0" r="r" b="b"/>
                <a:pathLst>
                  <a:path w="331" h="95">
                    <a:moveTo>
                      <a:pt x="331" y="87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1" y="95"/>
                    </a:lnTo>
                    <a:lnTo>
                      <a:pt x="331" y="8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4" name="Freeform 20"/>
              <p:cNvSpPr>
                <a:spLocks/>
              </p:cNvSpPr>
              <p:nvPr/>
            </p:nvSpPr>
            <p:spPr bwMode="gray">
              <a:xfrm>
                <a:off x="4043363" y="3140075"/>
                <a:ext cx="525463" cy="150813"/>
              </a:xfrm>
              <a:custGeom>
                <a:avLst/>
                <a:gdLst/>
                <a:ahLst/>
                <a:cxnLst>
                  <a:cxn ang="0">
                    <a:pos x="331" y="87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331" y="95"/>
                  </a:cxn>
                  <a:cxn ang="0">
                    <a:pos x="331" y="87"/>
                  </a:cxn>
                </a:cxnLst>
                <a:rect l="0" t="0" r="r" b="b"/>
                <a:pathLst>
                  <a:path w="331" h="95">
                    <a:moveTo>
                      <a:pt x="331" y="87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31" y="95"/>
                    </a:lnTo>
                    <a:lnTo>
                      <a:pt x="331" y="8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5" name="Freeform 21"/>
              <p:cNvSpPr>
                <a:spLocks/>
              </p:cNvSpPr>
              <p:nvPr/>
            </p:nvSpPr>
            <p:spPr bwMode="gray">
              <a:xfrm>
                <a:off x="4043363" y="3221038"/>
                <a:ext cx="525463" cy="150813"/>
              </a:xfrm>
              <a:custGeom>
                <a:avLst/>
                <a:gdLst/>
                <a:ahLst/>
                <a:cxnLst>
                  <a:cxn ang="0">
                    <a:pos x="331" y="89"/>
                  </a:cxn>
                  <a:cxn ang="0">
                    <a:pos x="0" y="0"/>
                  </a:cxn>
                  <a:cxn ang="0">
                    <a:pos x="1" y="8"/>
                  </a:cxn>
                  <a:cxn ang="0">
                    <a:pos x="331" y="95"/>
                  </a:cxn>
                  <a:cxn ang="0">
                    <a:pos x="331" y="89"/>
                  </a:cxn>
                </a:cxnLst>
                <a:rect l="0" t="0" r="r" b="b"/>
                <a:pathLst>
                  <a:path w="331" h="95">
                    <a:moveTo>
                      <a:pt x="331" y="89"/>
                    </a:moveTo>
                    <a:lnTo>
                      <a:pt x="0" y="0"/>
                    </a:lnTo>
                    <a:lnTo>
                      <a:pt x="1" y="8"/>
                    </a:lnTo>
                    <a:lnTo>
                      <a:pt x="331" y="95"/>
                    </a:lnTo>
                    <a:lnTo>
                      <a:pt x="331" y="89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6" name="Freeform 22"/>
              <p:cNvSpPr>
                <a:spLocks/>
              </p:cNvSpPr>
              <p:nvPr/>
            </p:nvSpPr>
            <p:spPr bwMode="gray">
              <a:xfrm>
                <a:off x="4044950" y="3305175"/>
                <a:ext cx="523875" cy="150813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330" y="95"/>
                  </a:cxn>
                  <a:cxn ang="0">
                    <a:pos x="330" y="89"/>
                  </a:cxn>
                  <a:cxn ang="0">
                    <a:pos x="0" y="0"/>
                  </a:cxn>
                  <a:cxn ang="0">
                    <a:pos x="0" y="7"/>
                  </a:cxn>
                </a:cxnLst>
                <a:rect l="0" t="0" r="r" b="b"/>
                <a:pathLst>
                  <a:path w="330" h="95">
                    <a:moveTo>
                      <a:pt x="0" y="7"/>
                    </a:moveTo>
                    <a:lnTo>
                      <a:pt x="330" y="95"/>
                    </a:lnTo>
                    <a:lnTo>
                      <a:pt x="330" y="89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7" name="Freeform 23"/>
              <p:cNvSpPr>
                <a:spLocks/>
              </p:cNvSpPr>
              <p:nvPr/>
            </p:nvSpPr>
            <p:spPr bwMode="gray">
              <a:xfrm>
                <a:off x="4044950" y="3387725"/>
                <a:ext cx="523875" cy="152400"/>
              </a:xfrm>
              <a:custGeom>
                <a:avLst/>
                <a:gdLst/>
                <a:ahLst/>
                <a:cxnLst>
                  <a:cxn ang="0">
                    <a:pos x="330" y="89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0" y="96"/>
                  </a:cxn>
                  <a:cxn ang="0">
                    <a:pos x="330" y="89"/>
                  </a:cxn>
                </a:cxnLst>
                <a:rect l="0" t="0" r="r" b="b"/>
                <a:pathLst>
                  <a:path w="330" h="96">
                    <a:moveTo>
                      <a:pt x="330" y="89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0" y="96"/>
                    </a:lnTo>
                    <a:lnTo>
                      <a:pt x="330" y="89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8" name="Freeform 24"/>
              <p:cNvSpPr>
                <a:spLocks/>
              </p:cNvSpPr>
              <p:nvPr/>
            </p:nvSpPr>
            <p:spPr bwMode="gray">
              <a:xfrm>
                <a:off x="4044950" y="3471863"/>
                <a:ext cx="523875" cy="152400"/>
              </a:xfrm>
              <a:custGeom>
                <a:avLst/>
                <a:gdLst/>
                <a:ahLst/>
                <a:cxnLst>
                  <a:cxn ang="0">
                    <a:pos x="330" y="88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330" y="96"/>
                  </a:cxn>
                  <a:cxn ang="0">
                    <a:pos x="330" y="88"/>
                  </a:cxn>
                </a:cxnLst>
                <a:rect l="0" t="0" r="r" b="b"/>
                <a:pathLst>
                  <a:path w="330" h="96">
                    <a:moveTo>
                      <a:pt x="330" y="88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30" y="96"/>
                    </a:lnTo>
                    <a:lnTo>
                      <a:pt x="330" y="88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49" name="Freeform 25"/>
              <p:cNvSpPr>
                <a:spLocks/>
              </p:cNvSpPr>
              <p:nvPr/>
            </p:nvSpPr>
            <p:spPr bwMode="gray">
              <a:xfrm>
                <a:off x="4044950" y="3552825"/>
                <a:ext cx="523875" cy="155575"/>
              </a:xfrm>
              <a:custGeom>
                <a:avLst/>
                <a:gdLst/>
                <a:ahLst/>
                <a:cxnLst>
                  <a:cxn ang="0">
                    <a:pos x="330" y="90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330" y="98"/>
                  </a:cxn>
                  <a:cxn ang="0">
                    <a:pos x="330" y="90"/>
                  </a:cxn>
                </a:cxnLst>
                <a:rect l="0" t="0" r="r" b="b"/>
                <a:pathLst>
                  <a:path w="330" h="98">
                    <a:moveTo>
                      <a:pt x="330" y="90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30" y="98"/>
                    </a:lnTo>
                    <a:lnTo>
                      <a:pt x="330" y="90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0" name="Freeform 26"/>
              <p:cNvSpPr>
                <a:spLocks/>
              </p:cNvSpPr>
              <p:nvPr/>
            </p:nvSpPr>
            <p:spPr bwMode="gray">
              <a:xfrm>
                <a:off x="4044950" y="3636963"/>
                <a:ext cx="523875" cy="15240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330" y="96"/>
                  </a:cxn>
                  <a:cxn ang="0">
                    <a:pos x="330" y="90"/>
                  </a:cxn>
                  <a:cxn ang="0">
                    <a:pos x="0" y="0"/>
                  </a:cxn>
                  <a:cxn ang="0">
                    <a:pos x="0" y="7"/>
                  </a:cxn>
                </a:cxnLst>
                <a:rect l="0" t="0" r="r" b="b"/>
                <a:pathLst>
                  <a:path w="330" h="96">
                    <a:moveTo>
                      <a:pt x="0" y="7"/>
                    </a:moveTo>
                    <a:lnTo>
                      <a:pt x="330" y="96"/>
                    </a:lnTo>
                    <a:lnTo>
                      <a:pt x="330" y="9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1" name="Freeform 27"/>
              <p:cNvSpPr>
                <a:spLocks/>
              </p:cNvSpPr>
              <p:nvPr/>
            </p:nvSpPr>
            <p:spPr bwMode="gray">
              <a:xfrm>
                <a:off x="4044950" y="3719513"/>
                <a:ext cx="523875" cy="153988"/>
              </a:xfrm>
              <a:custGeom>
                <a:avLst/>
                <a:gdLst/>
                <a:ahLst/>
                <a:cxnLst>
                  <a:cxn ang="0">
                    <a:pos x="330" y="90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0" y="97"/>
                  </a:cxn>
                  <a:cxn ang="0">
                    <a:pos x="330" y="90"/>
                  </a:cxn>
                </a:cxnLst>
                <a:rect l="0" t="0" r="r" b="b"/>
                <a:pathLst>
                  <a:path w="330" h="97">
                    <a:moveTo>
                      <a:pt x="330" y="90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0" y="97"/>
                    </a:lnTo>
                    <a:lnTo>
                      <a:pt x="330" y="90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2" name="Freeform 28"/>
              <p:cNvSpPr>
                <a:spLocks/>
              </p:cNvSpPr>
              <p:nvPr/>
            </p:nvSpPr>
            <p:spPr bwMode="gray">
              <a:xfrm>
                <a:off x="4044950" y="3802063"/>
                <a:ext cx="523875" cy="155575"/>
              </a:xfrm>
              <a:custGeom>
                <a:avLst/>
                <a:gdLst/>
                <a:ahLst/>
                <a:cxnLst>
                  <a:cxn ang="0">
                    <a:pos x="330" y="90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330" y="98"/>
                  </a:cxn>
                  <a:cxn ang="0">
                    <a:pos x="330" y="90"/>
                  </a:cxn>
                </a:cxnLst>
                <a:rect l="0" t="0" r="r" b="b"/>
                <a:pathLst>
                  <a:path w="330" h="98">
                    <a:moveTo>
                      <a:pt x="330" y="90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330" y="98"/>
                    </a:lnTo>
                    <a:lnTo>
                      <a:pt x="330" y="90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3" name="Freeform 29"/>
              <p:cNvSpPr>
                <a:spLocks/>
              </p:cNvSpPr>
              <p:nvPr/>
            </p:nvSpPr>
            <p:spPr bwMode="gray">
              <a:xfrm>
                <a:off x="4568825" y="2082800"/>
                <a:ext cx="525463" cy="1968500"/>
              </a:xfrm>
              <a:custGeom>
                <a:avLst/>
                <a:gdLst/>
                <a:ahLst/>
                <a:cxnLst>
                  <a:cxn ang="0">
                    <a:pos x="331" y="1132"/>
                  </a:cxn>
                  <a:cxn ang="0">
                    <a:pos x="0" y="1240"/>
                  </a:cxn>
                  <a:cxn ang="0">
                    <a:pos x="0" y="73"/>
                  </a:cxn>
                  <a:cxn ang="0">
                    <a:pos x="331" y="0"/>
                  </a:cxn>
                  <a:cxn ang="0">
                    <a:pos x="331" y="1132"/>
                  </a:cxn>
                </a:cxnLst>
                <a:rect l="0" t="0" r="r" b="b"/>
                <a:pathLst>
                  <a:path w="331" h="1240">
                    <a:moveTo>
                      <a:pt x="331" y="1132"/>
                    </a:moveTo>
                    <a:lnTo>
                      <a:pt x="0" y="1240"/>
                    </a:lnTo>
                    <a:lnTo>
                      <a:pt x="0" y="73"/>
                    </a:lnTo>
                    <a:lnTo>
                      <a:pt x="331" y="0"/>
                    </a:lnTo>
                    <a:lnTo>
                      <a:pt x="331" y="1132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4" name="Freeform 30"/>
              <p:cNvSpPr>
                <a:spLocks noEditPoints="1"/>
              </p:cNvSpPr>
              <p:nvPr/>
            </p:nvSpPr>
            <p:spPr bwMode="gray">
              <a:xfrm>
                <a:off x="4568825" y="2082800"/>
                <a:ext cx="525463" cy="1968500"/>
              </a:xfrm>
              <a:custGeom>
                <a:avLst/>
                <a:gdLst/>
                <a:ahLst/>
                <a:cxnLst>
                  <a:cxn ang="0">
                    <a:pos x="0" y="1240"/>
                  </a:cxn>
                  <a:cxn ang="0">
                    <a:pos x="110" y="1204"/>
                  </a:cxn>
                  <a:cxn ang="0">
                    <a:pos x="110" y="49"/>
                  </a:cxn>
                  <a:cxn ang="0">
                    <a:pos x="0" y="73"/>
                  </a:cxn>
                  <a:cxn ang="0">
                    <a:pos x="0" y="1240"/>
                  </a:cxn>
                  <a:cxn ang="0">
                    <a:pos x="130" y="1198"/>
                  </a:cxn>
                  <a:cxn ang="0">
                    <a:pos x="226" y="1166"/>
                  </a:cxn>
                  <a:cxn ang="0">
                    <a:pos x="226" y="23"/>
                  </a:cxn>
                  <a:cxn ang="0">
                    <a:pos x="130" y="45"/>
                  </a:cxn>
                  <a:cxn ang="0">
                    <a:pos x="130" y="1198"/>
                  </a:cxn>
                  <a:cxn ang="0">
                    <a:pos x="247" y="19"/>
                  </a:cxn>
                  <a:cxn ang="0">
                    <a:pos x="247" y="1160"/>
                  </a:cxn>
                  <a:cxn ang="0">
                    <a:pos x="331" y="1132"/>
                  </a:cxn>
                  <a:cxn ang="0">
                    <a:pos x="331" y="0"/>
                  </a:cxn>
                  <a:cxn ang="0">
                    <a:pos x="247" y="19"/>
                  </a:cxn>
                </a:cxnLst>
                <a:rect l="0" t="0" r="r" b="b"/>
                <a:pathLst>
                  <a:path w="331" h="1240">
                    <a:moveTo>
                      <a:pt x="0" y="1240"/>
                    </a:moveTo>
                    <a:lnTo>
                      <a:pt x="110" y="1204"/>
                    </a:lnTo>
                    <a:lnTo>
                      <a:pt x="110" y="49"/>
                    </a:lnTo>
                    <a:lnTo>
                      <a:pt x="0" y="73"/>
                    </a:lnTo>
                    <a:lnTo>
                      <a:pt x="0" y="1240"/>
                    </a:lnTo>
                    <a:close/>
                    <a:moveTo>
                      <a:pt x="130" y="1198"/>
                    </a:moveTo>
                    <a:lnTo>
                      <a:pt x="226" y="1166"/>
                    </a:lnTo>
                    <a:lnTo>
                      <a:pt x="226" y="23"/>
                    </a:lnTo>
                    <a:lnTo>
                      <a:pt x="130" y="45"/>
                    </a:lnTo>
                    <a:lnTo>
                      <a:pt x="130" y="1198"/>
                    </a:lnTo>
                    <a:close/>
                    <a:moveTo>
                      <a:pt x="247" y="19"/>
                    </a:moveTo>
                    <a:lnTo>
                      <a:pt x="247" y="1160"/>
                    </a:lnTo>
                    <a:lnTo>
                      <a:pt x="331" y="1132"/>
                    </a:lnTo>
                    <a:lnTo>
                      <a:pt x="331" y="0"/>
                    </a:lnTo>
                    <a:lnTo>
                      <a:pt x="247" y="19"/>
                    </a:lnTo>
                    <a:close/>
                  </a:path>
                </a:pathLst>
              </a:custGeom>
              <a:solidFill>
                <a:srgbClr val="B6DC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5" name="Freeform 31"/>
              <p:cNvSpPr>
                <a:spLocks/>
              </p:cNvSpPr>
              <p:nvPr/>
            </p:nvSpPr>
            <p:spPr bwMode="gray">
              <a:xfrm>
                <a:off x="4568825" y="2227263"/>
                <a:ext cx="525463" cy="144463"/>
              </a:xfrm>
              <a:custGeom>
                <a:avLst/>
                <a:gdLst/>
                <a:ahLst/>
                <a:cxnLst>
                  <a:cxn ang="0">
                    <a:pos x="331" y="0"/>
                  </a:cxn>
                  <a:cxn ang="0">
                    <a:pos x="0" y="85"/>
                  </a:cxn>
                  <a:cxn ang="0">
                    <a:pos x="0" y="91"/>
                  </a:cxn>
                  <a:cxn ang="0">
                    <a:pos x="0" y="91"/>
                  </a:cxn>
                  <a:cxn ang="0">
                    <a:pos x="331" y="8"/>
                  </a:cxn>
                  <a:cxn ang="0">
                    <a:pos x="331" y="0"/>
                  </a:cxn>
                </a:cxnLst>
                <a:rect l="0" t="0" r="r" b="b"/>
                <a:pathLst>
                  <a:path w="331" h="91">
                    <a:moveTo>
                      <a:pt x="331" y="0"/>
                    </a:moveTo>
                    <a:lnTo>
                      <a:pt x="0" y="85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331" y="8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6" name="Freeform 32"/>
              <p:cNvSpPr>
                <a:spLocks/>
              </p:cNvSpPr>
              <p:nvPr/>
            </p:nvSpPr>
            <p:spPr bwMode="gray">
              <a:xfrm>
                <a:off x="4568825" y="2309813"/>
                <a:ext cx="525463" cy="146050"/>
              </a:xfrm>
              <a:custGeom>
                <a:avLst/>
                <a:gdLst/>
                <a:ahLst/>
                <a:cxnLst>
                  <a:cxn ang="0">
                    <a:pos x="0" y="92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86"/>
                  </a:cxn>
                  <a:cxn ang="0">
                    <a:pos x="0" y="91"/>
                  </a:cxn>
                  <a:cxn ang="0">
                    <a:pos x="0" y="92"/>
                  </a:cxn>
                </a:cxnLst>
                <a:rect l="0" t="0" r="r" b="b"/>
                <a:pathLst>
                  <a:path w="331" h="92">
                    <a:moveTo>
                      <a:pt x="0" y="92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86"/>
                    </a:lnTo>
                    <a:lnTo>
                      <a:pt x="0" y="91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7" name="Freeform 33"/>
              <p:cNvSpPr>
                <a:spLocks/>
              </p:cNvSpPr>
              <p:nvPr/>
            </p:nvSpPr>
            <p:spPr bwMode="gray">
              <a:xfrm>
                <a:off x="4568825" y="2392363"/>
                <a:ext cx="525463" cy="147638"/>
              </a:xfrm>
              <a:custGeom>
                <a:avLst/>
                <a:gdLst/>
                <a:ahLst/>
                <a:cxnLst>
                  <a:cxn ang="0">
                    <a:pos x="0" y="93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85"/>
                  </a:cxn>
                  <a:cxn ang="0">
                    <a:pos x="0" y="92"/>
                  </a:cxn>
                  <a:cxn ang="0">
                    <a:pos x="0" y="93"/>
                  </a:cxn>
                </a:cxnLst>
                <a:rect l="0" t="0" r="r" b="b"/>
                <a:pathLst>
                  <a:path w="331" h="93">
                    <a:moveTo>
                      <a:pt x="0" y="93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85"/>
                    </a:lnTo>
                    <a:lnTo>
                      <a:pt x="0" y="92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8" name="Freeform 34"/>
              <p:cNvSpPr>
                <a:spLocks/>
              </p:cNvSpPr>
              <p:nvPr/>
            </p:nvSpPr>
            <p:spPr bwMode="gray">
              <a:xfrm>
                <a:off x="4568825" y="2474913"/>
                <a:ext cx="525463" cy="149225"/>
              </a:xfrm>
              <a:custGeom>
                <a:avLst/>
                <a:gdLst/>
                <a:ahLst/>
                <a:cxnLst>
                  <a:cxn ang="0">
                    <a:pos x="0" y="94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86"/>
                  </a:cxn>
                  <a:cxn ang="0">
                    <a:pos x="0" y="92"/>
                  </a:cxn>
                  <a:cxn ang="0">
                    <a:pos x="0" y="94"/>
                  </a:cxn>
                </a:cxnLst>
                <a:rect l="0" t="0" r="r" b="b"/>
                <a:pathLst>
                  <a:path w="331" h="94">
                    <a:moveTo>
                      <a:pt x="0" y="94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86"/>
                    </a:lnTo>
                    <a:lnTo>
                      <a:pt x="0" y="92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59" name="Freeform 35"/>
              <p:cNvSpPr>
                <a:spLocks/>
              </p:cNvSpPr>
              <p:nvPr/>
            </p:nvSpPr>
            <p:spPr bwMode="gray">
              <a:xfrm>
                <a:off x="4568825" y="2555875"/>
                <a:ext cx="525463" cy="150813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331" y="8"/>
                  </a:cxn>
                  <a:cxn ang="0">
                    <a:pos x="331" y="0"/>
                  </a:cxn>
                  <a:cxn ang="0">
                    <a:pos x="0" y="88"/>
                  </a:cxn>
                  <a:cxn ang="0">
                    <a:pos x="0" y="94"/>
                  </a:cxn>
                  <a:cxn ang="0">
                    <a:pos x="0" y="95"/>
                  </a:cxn>
                </a:cxnLst>
                <a:rect l="0" t="0" r="r" b="b"/>
                <a:pathLst>
                  <a:path w="331" h="95">
                    <a:moveTo>
                      <a:pt x="0" y="95"/>
                    </a:moveTo>
                    <a:lnTo>
                      <a:pt x="331" y="8"/>
                    </a:lnTo>
                    <a:lnTo>
                      <a:pt x="331" y="0"/>
                    </a:lnTo>
                    <a:lnTo>
                      <a:pt x="0" y="88"/>
                    </a:lnTo>
                    <a:lnTo>
                      <a:pt x="0" y="94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0" name="Freeform 36"/>
              <p:cNvSpPr>
                <a:spLocks/>
              </p:cNvSpPr>
              <p:nvPr/>
            </p:nvSpPr>
            <p:spPr bwMode="gray">
              <a:xfrm>
                <a:off x="4568825" y="2638425"/>
                <a:ext cx="525463" cy="150813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89"/>
                  </a:cxn>
                  <a:cxn ang="0">
                    <a:pos x="0" y="94"/>
                  </a:cxn>
                  <a:cxn ang="0">
                    <a:pos x="0" y="95"/>
                  </a:cxn>
                </a:cxnLst>
                <a:rect l="0" t="0" r="r" b="b"/>
                <a:pathLst>
                  <a:path w="331" h="95">
                    <a:moveTo>
                      <a:pt x="0" y="95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89"/>
                    </a:lnTo>
                    <a:lnTo>
                      <a:pt x="0" y="94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1" name="Freeform 37"/>
              <p:cNvSpPr>
                <a:spLocks/>
              </p:cNvSpPr>
              <p:nvPr/>
            </p:nvSpPr>
            <p:spPr bwMode="gray">
              <a:xfrm>
                <a:off x="4568825" y="2720975"/>
                <a:ext cx="525463" cy="152400"/>
              </a:xfrm>
              <a:custGeom>
                <a:avLst/>
                <a:gdLst/>
                <a:ahLst/>
                <a:cxnLst>
                  <a:cxn ang="0">
                    <a:pos x="0" y="96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89"/>
                  </a:cxn>
                  <a:cxn ang="0">
                    <a:pos x="0" y="95"/>
                  </a:cxn>
                  <a:cxn ang="0">
                    <a:pos x="0" y="96"/>
                  </a:cxn>
                </a:cxnLst>
                <a:rect l="0" t="0" r="r" b="b"/>
                <a:pathLst>
                  <a:path w="331" h="96">
                    <a:moveTo>
                      <a:pt x="0" y="96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89"/>
                    </a:lnTo>
                    <a:lnTo>
                      <a:pt x="0" y="95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2" name="Freeform 38"/>
              <p:cNvSpPr>
                <a:spLocks/>
              </p:cNvSpPr>
              <p:nvPr/>
            </p:nvSpPr>
            <p:spPr bwMode="gray">
              <a:xfrm>
                <a:off x="4568825" y="2805113"/>
                <a:ext cx="525463" cy="152400"/>
              </a:xfrm>
              <a:custGeom>
                <a:avLst/>
                <a:gdLst/>
                <a:ahLst/>
                <a:cxnLst>
                  <a:cxn ang="0">
                    <a:pos x="0" y="96"/>
                  </a:cxn>
                  <a:cxn ang="0">
                    <a:pos x="331" y="6"/>
                  </a:cxn>
                  <a:cxn ang="0">
                    <a:pos x="331" y="0"/>
                  </a:cxn>
                  <a:cxn ang="0">
                    <a:pos x="0" y="88"/>
                  </a:cxn>
                  <a:cxn ang="0">
                    <a:pos x="0" y="95"/>
                  </a:cxn>
                  <a:cxn ang="0">
                    <a:pos x="0" y="96"/>
                  </a:cxn>
                </a:cxnLst>
                <a:rect l="0" t="0" r="r" b="b"/>
                <a:pathLst>
                  <a:path w="331" h="96">
                    <a:moveTo>
                      <a:pt x="0" y="96"/>
                    </a:moveTo>
                    <a:lnTo>
                      <a:pt x="331" y="6"/>
                    </a:lnTo>
                    <a:lnTo>
                      <a:pt x="331" y="0"/>
                    </a:lnTo>
                    <a:lnTo>
                      <a:pt x="0" y="88"/>
                    </a:lnTo>
                    <a:lnTo>
                      <a:pt x="0" y="95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3" name="Freeform 39"/>
              <p:cNvSpPr>
                <a:spLocks/>
              </p:cNvSpPr>
              <p:nvPr/>
            </p:nvSpPr>
            <p:spPr bwMode="gray">
              <a:xfrm>
                <a:off x="4568825" y="2886075"/>
                <a:ext cx="525463" cy="153988"/>
              </a:xfrm>
              <a:custGeom>
                <a:avLst/>
                <a:gdLst/>
                <a:ahLst/>
                <a:cxnLst>
                  <a:cxn ang="0">
                    <a:pos x="0" y="97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0"/>
                  </a:cxn>
                  <a:cxn ang="0">
                    <a:pos x="0" y="96"/>
                  </a:cxn>
                  <a:cxn ang="0">
                    <a:pos x="0" y="97"/>
                  </a:cxn>
                </a:cxnLst>
                <a:rect l="0" t="0" r="r" b="b"/>
                <a:pathLst>
                  <a:path w="331" h="97">
                    <a:moveTo>
                      <a:pt x="0" y="97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4" name="Freeform 40"/>
              <p:cNvSpPr>
                <a:spLocks/>
              </p:cNvSpPr>
              <p:nvPr/>
            </p:nvSpPr>
            <p:spPr bwMode="gray">
              <a:xfrm>
                <a:off x="4568825" y="2968625"/>
                <a:ext cx="525463" cy="153988"/>
              </a:xfrm>
              <a:custGeom>
                <a:avLst/>
                <a:gdLst/>
                <a:ahLst/>
                <a:cxnLst>
                  <a:cxn ang="0">
                    <a:pos x="0" y="97"/>
                  </a:cxn>
                  <a:cxn ang="0">
                    <a:pos x="331" y="6"/>
                  </a:cxn>
                  <a:cxn ang="0">
                    <a:pos x="331" y="0"/>
                  </a:cxn>
                  <a:cxn ang="0">
                    <a:pos x="0" y="91"/>
                  </a:cxn>
                  <a:cxn ang="0">
                    <a:pos x="0" y="96"/>
                  </a:cxn>
                  <a:cxn ang="0">
                    <a:pos x="0" y="97"/>
                  </a:cxn>
                </a:cxnLst>
                <a:rect l="0" t="0" r="r" b="b"/>
                <a:pathLst>
                  <a:path w="331" h="97">
                    <a:moveTo>
                      <a:pt x="0" y="97"/>
                    </a:moveTo>
                    <a:lnTo>
                      <a:pt x="331" y="6"/>
                    </a:lnTo>
                    <a:lnTo>
                      <a:pt x="331" y="0"/>
                    </a:lnTo>
                    <a:lnTo>
                      <a:pt x="0" y="91"/>
                    </a:lnTo>
                    <a:lnTo>
                      <a:pt x="0" y="96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5" name="Freeform 41"/>
              <p:cNvSpPr>
                <a:spLocks/>
              </p:cNvSpPr>
              <p:nvPr/>
            </p:nvSpPr>
            <p:spPr bwMode="gray">
              <a:xfrm>
                <a:off x="4568825" y="3051175"/>
                <a:ext cx="525463" cy="155575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331" y="6"/>
                  </a:cxn>
                  <a:cxn ang="0">
                    <a:pos x="331" y="0"/>
                  </a:cxn>
                  <a:cxn ang="0">
                    <a:pos x="0" y="92"/>
                  </a:cxn>
                  <a:cxn ang="0">
                    <a:pos x="0" y="97"/>
                  </a:cxn>
                  <a:cxn ang="0">
                    <a:pos x="0" y="98"/>
                  </a:cxn>
                </a:cxnLst>
                <a:rect l="0" t="0" r="r" b="b"/>
                <a:pathLst>
                  <a:path w="331" h="98">
                    <a:moveTo>
                      <a:pt x="0" y="98"/>
                    </a:moveTo>
                    <a:lnTo>
                      <a:pt x="331" y="6"/>
                    </a:lnTo>
                    <a:lnTo>
                      <a:pt x="331" y="0"/>
                    </a:lnTo>
                    <a:lnTo>
                      <a:pt x="0" y="92"/>
                    </a:lnTo>
                    <a:lnTo>
                      <a:pt x="0" y="97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6" name="Freeform 42"/>
              <p:cNvSpPr>
                <a:spLocks/>
              </p:cNvSpPr>
              <p:nvPr/>
            </p:nvSpPr>
            <p:spPr bwMode="gray">
              <a:xfrm>
                <a:off x="4568825" y="3132138"/>
                <a:ext cx="525463" cy="158750"/>
              </a:xfrm>
              <a:custGeom>
                <a:avLst/>
                <a:gdLst/>
                <a:ahLst/>
                <a:cxnLst>
                  <a:cxn ang="0">
                    <a:pos x="0" y="100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2"/>
                  </a:cxn>
                  <a:cxn ang="0">
                    <a:pos x="0" y="99"/>
                  </a:cxn>
                  <a:cxn ang="0">
                    <a:pos x="0" y="100"/>
                  </a:cxn>
                </a:cxnLst>
                <a:rect l="0" t="0" r="r" b="b"/>
                <a:pathLst>
                  <a:path w="331" h="100">
                    <a:moveTo>
                      <a:pt x="0" y="100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2"/>
                    </a:lnTo>
                    <a:lnTo>
                      <a:pt x="0" y="99"/>
                    </a:lnTo>
                    <a:lnTo>
                      <a:pt x="0" y="10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7" name="Freeform 43"/>
              <p:cNvSpPr>
                <a:spLocks/>
              </p:cNvSpPr>
              <p:nvPr/>
            </p:nvSpPr>
            <p:spPr bwMode="gray">
              <a:xfrm>
                <a:off x="4568825" y="3214688"/>
                <a:ext cx="525463" cy="158750"/>
              </a:xfrm>
              <a:custGeom>
                <a:avLst/>
                <a:gdLst/>
                <a:ahLst/>
                <a:cxnLst>
                  <a:cxn ang="0">
                    <a:pos x="0" y="100"/>
                  </a:cxn>
                  <a:cxn ang="0">
                    <a:pos x="331" y="6"/>
                  </a:cxn>
                  <a:cxn ang="0">
                    <a:pos x="331" y="0"/>
                  </a:cxn>
                  <a:cxn ang="0">
                    <a:pos x="0" y="93"/>
                  </a:cxn>
                  <a:cxn ang="0">
                    <a:pos x="0" y="99"/>
                  </a:cxn>
                  <a:cxn ang="0">
                    <a:pos x="0" y="100"/>
                  </a:cxn>
                </a:cxnLst>
                <a:rect l="0" t="0" r="r" b="b"/>
                <a:pathLst>
                  <a:path w="331" h="100">
                    <a:moveTo>
                      <a:pt x="0" y="100"/>
                    </a:moveTo>
                    <a:lnTo>
                      <a:pt x="331" y="6"/>
                    </a:lnTo>
                    <a:lnTo>
                      <a:pt x="331" y="0"/>
                    </a:lnTo>
                    <a:lnTo>
                      <a:pt x="0" y="93"/>
                    </a:lnTo>
                    <a:lnTo>
                      <a:pt x="0" y="99"/>
                    </a:lnTo>
                    <a:lnTo>
                      <a:pt x="0" y="10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8" name="Freeform 44"/>
              <p:cNvSpPr>
                <a:spLocks/>
              </p:cNvSpPr>
              <p:nvPr/>
            </p:nvSpPr>
            <p:spPr bwMode="gray">
              <a:xfrm>
                <a:off x="4568825" y="3297238"/>
                <a:ext cx="525463" cy="158750"/>
              </a:xfrm>
              <a:custGeom>
                <a:avLst/>
                <a:gdLst/>
                <a:ahLst/>
                <a:cxnLst>
                  <a:cxn ang="0">
                    <a:pos x="0" y="99"/>
                  </a:cxn>
                  <a:cxn ang="0">
                    <a:pos x="0" y="100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4"/>
                  </a:cxn>
                  <a:cxn ang="0">
                    <a:pos x="0" y="99"/>
                  </a:cxn>
                </a:cxnLst>
                <a:rect l="0" t="0" r="r" b="b"/>
                <a:pathLst>
                  <a:path w="331" h="100">
                    <a:moveTo>
                      <a:pt x="0" y="99"/>
                    </a:moveTo>
                    <a:lnTo>
                      <a:pt x="0" y="100"/>
                    </a:lnTo>
                    <a:lnTo>
                      <a:pt x="331" y="7"/>
                    </a:lnTo>
                    <a:lnTo>
                      <a:pt x="331" y="0"/>
                    </a:lnTo>
                    <a:lnTo>
                      <a:pt x="0" y="94"/>
                    </a:lnTo>
                    <a:lnTo>
                      <a:pt x="0" y="99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69" name="Freeform 45"/>
              <p:cNvSpPr>
                <a:spLocks/>
              </p:cNvSpPr>
              <p:nvPr/>
            </p:nvSpPr>
            <p:spPr bwMode="gray">
              <a:xfrm>
                <a:off x="4568825" y="3379788"/>
                <a:ext cx="525463" cy="160338"/>
              </a:xfrm>
              <a:custGeom>
                <a:avLst/>
                <a:gdLst/>
                <a:ahLst/>
                <a:cxnLst>
                  <a:cxn ang="0">
                    <a:pos x="0" y="101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5"/>
                  </a:cxn>
                  <a:cxn ang="0">
                    <a:pos x="0" y="100"/>
                  </a:cxn>
                  <a:cxn ang="0">
                    <a:pos x="0" y="101"/>
                  </a:cxn>
                </a:cxnLst>
                <a:rect l="0" t="0" r="r" b="b"/>
                <a:pathLst>
                  <a:path w="331" h="101">
                    <a:moveTo>
                      <a:pt x="0" y="101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5"/>
                    </a:lnTo>
                    <a:lnTo>
                      <a:pt x="0" y="100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0" name="Freeform 46"/>
              <p:cNvSpPr>
                <a:spLocks/>
              </p:cNvSpPr>
              <p:nvPr/>
            </p:nvSpPr>
            <p:spPr bwMode="gray">
              <a:xfrm>
                <a:off x="4568825" y="3460750"/>
                <a:ext cx="525463" cy="163513"/>
              </a:xfrm>
              <a:custGeom>
                <a:avLst/>
                <a:gdLst/>
                <a:ahLst/>
                <a:cxnLst>
                  <a:cxn ang="0">
                    <a:pos x="0" y="103"/>
                  </a:cxn>
                  <a:cxn ang="0">
                    <a:pos x="331" y="8"/>
                  </a:cxn>
                  <a:cxn ang="0">
                    <a:pos x="331" y="0"/>
                  </a:cxn>
                  <a:cxn ang="0">
                    <a:pos x="0" y="95"/>
                  </a:cxn>
                  <a:cxn ang="0">
                    <a:pos x="0" y="102"/>
                  </a:cxn>
                  <a:cxn ang="0">
                    <a:pos x="0" y="103"/>
                  </a:cxn>
                </a:cxnLst>
                <a:rect l="0" t="0" r="r" b="b"/>
                <a:pathLst>
                  <a:path w="331" h="103">
                    <a:moveTo>
                      <a:pt x="0" y="103"/>
                    </a:moveTo>
                    <a:lnTo>
                      <a:pt x="331" y="8"/>
                    </a:lnTo>
                    <a:lnTo>
                      <a:pt x="331" y="0"/>
                    </a:lnTo>
                    <a:lnTo>
                      <a:pt x="0" y="95"/>
                    </a:lnTo>
                    <a:lnTo>
                      <a:pt x="0" y="102"/>
                    </a:lnTo>
                    <a:lnTo>
                      <a:pt x="0" y="103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1" name="Freeform 47"/>
              <p:cNvSpPr>
                <a:spLocks/>
              </p:cNvSpPr>
              <p:nvPr/>
            </p:nvSpPr>
            <p:spPr bwMode="gray">
              <a:xfrm>
                <a:off x="4568825" y="3543300"/>
                <a:ext cx="525463" cy="165100"/>
              </a:xfrm>
              <a:custGeom>
                <a:avLst/>
                <a:gdLst/>
                <a:ahLst/>
                <a:cxnLst>
                  <a:cxn ang="0">
                    <a:pos x="0" y="104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6"/>
                  </a:cxn>
                  <a:cxn ang="0">
                    <a:pos x="0" y="102"/>
                  </a:cxn>
                  <a:cxn ang="0">
                    <a:pos x="0" y="104"/>
                  </a:cxn>
                </a:cxnLst>
                <a:rect l="0" t="0" r="r" b="b"/>
                <a:pathLst>
                  <a:path w="331" h="104">
                    <a:moveTo>
                      <a:pt x="0" y="104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2" name="Freeform 48"/>
              <p:cNvSpPr>
                <a:spLocks/>
              </p:cNvSpPr>
              <p:nvPr/>
            </p:nvSpPr>
            <p:spPr bwMode="gray">
              <a:xfrm>
                <a:off x="4568825" y="3625850"/>
                <a:ext cx="525463" cy="163513"/>
              </a:xfrm>
              <a:custGeom>
                <a:avLst/>
                <a:gdLst/>
                <a:ahLst/>
                <a:cxnLst>
                  <a:cxn ang="0">
                    <a:pos x="0" y="103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7"/>
                  </a:cxn>
                  <a:cxn ang="0">
                    <a:pos x="0" y="102"/>
                  </a:cxn>
                  <a:cxn ang="0">
                    <a:pos x="0" y="103"/>
                  </a:cxn>
                </a:cxnLst>
                <a:rect l="0" t="0" r="r" b="b"/>
                <a:pathLst>
                  <a:path w="331" h="103">
                    <a:moveTo>
                      <a:pt x="0" y="103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7"/>
                    </a:lnTo>
                    <a:lnTo>
                      <a:pt x="0" y="102"/>
                    </a:lnTo>
                    <a:lnTo>
                      <a:pt x="0" y="103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3" name="Freeform 49"/>
              <p:cNvSpPr>
                <a:spLocks/>
              </p:cNvSpPr>
              <p:nvPr/>
            </p:nvSpPr>
            <p:spPr bwMode="gray">
              <a:xfrm>
                <a:off x="4568825" y="3708400"/>
                <a:ext cx="525463" cy="165100"/>
              </a:xfrm>
              <a:custGeom>
                <a:avLst/>
                <a:gdLst/>
                <a:ahLst/>
                <a:cxnLst>
                  <a:cxn ang="0">
                    <a:pos x="0" y="104"/>
                  </a:cxn>
                  <a:cxn ang="0">
                    <a:pos x="331" y="7"/>
                  </a:cxn>
                  <a:cxn ang="0">
                    <a:pos x="331" y="0"/>
                  </a:cxn>
                  <a:cxn ang="0">
                    <a:pos x="0" y="98"/>
                  </a:cxn>
                  <a:cxn ang="0">
                    <a:pos x="0" y="103"/>
                  </a:cxn>
                  <a:cxn ang="0">
                    <a:pos x="0" y="104"/>
                  </a:cxn>
                </a:cxnLst>
                <a:rect l="0" t="0" r="r" b="b"/>
                <a:pathLst>
                  <a:path w="331" h="104">
                    <a:moveTo>
                      <a:pt x="0" y="104"/>
                    </a:moveTo>
                    <a:lnTo>
                      <a:pt x="331" y="7"/>
                    </a:lnTo>
                    <a:lnTo>
                      <a:pt x="331" y="0"/>
                    </a:lnTo>
                    <a:lnTo>
                      <a:pt x="0" y="98"/>
                    </a:lnTo>
                    <a:lnTo>
                      <a:pt x="0" y="103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4" name="Freeform 50"/>
              <p:cNvSpPr>
                <a:spLocks/>
              </p:cNvSpPr>
              <p:nvPr/>
            </p:nvSpPr>
            <p:spPr bwMode="gray">
              <a:xfrm>
                <a:off x="4568825" y="3789363"/>
                <a:ext cx="525463" cy="168275"/>
              </a:xfrm>
              <a:custGeom>
                <a:avLst/>
                <a:gdLst/>
                <a:ahLst/>
                <a:cxnLst>
                  <a:cxn ang="0">
                    <a:pos x="0" y="106"/>
                  </a:cxn>
                  <a:cxn ang="0">
                    <a:pos x="331" y="8"/>
                  </a:cxn>
                  <a:cxn ang="0">
                    <a:pos x="331" y="0"/>
                  </a:cxn>
                  <a:cxn ang="0">
                    <a:pos x="0" y="98"/>
                  </a:cxn>
                  <a:cxn ang="0">
                    <a:pos x="0" y="105"/>
                  </a:cxn>
                  <a:cxn ang="0">
                    <a:pos x="0" y="106"/>
                  </a:cxn>
                </a:cxnLst>
                <a:rect l="0" t="0" r="r" b="b"/>
                <a:pathLst>
                  <a:path w="331" h="106">
                    <a:moveTo>
                      <a:pt x="0" y="106"/>
                    </a:moveTo>
                    <a:lnTo>
                      <a:pt x="331" y="8"/>
                    </a:lnTo>
                    <a:lnTo>
                      <a:pt x="331" y="0"/>
                    </a:lnTo>
                    <a:lnTo>
                      <a:pt x="0" y="98"/>
                    </a:lnTo>
                    <a:lnTo>
                      <a:pt x="0" y="105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5" name="Freeform 51"/>
              <p:cNvSpPr>
                <a:spLocks/>
              </p:cNvSpPr>
              <p:nvPr/>
            </p:nvSpPr>
            <p:spPr bwMode="gray">
              <a:xfrm>
                <a:off x="4041775" y="1992313"/>
                <a:ext cx="1047750" cy="203200"/>
              </a:xfrm>
              <a:custGeom>
                <a:avLst/>
                <a:gdLst/>
                <a:ahLst/>
                <a:cxnLst>
                  <a:cxn ang="0">
                    <a:pos x="351" y="0"/>
                  </a:cxn>
                  <a:cxn ang="0">
                    <a:pos x="0" y="59"/>
                  </a:cxn>
                  <a:cxn ang="0">
                    <a:pos x="329" y="128"/>
                  </a:cxn>
                  <a:cxn ang="0">
                    <a:pos x="660" y="53"/>
                  </a:cxn>
                  <a:cxn ang="0">
                    <a:pos x="351" y="0"/>
                  </a:cxn>
                </a:cxnLst>
                <a:rect l="0" t="0" r="r" b="b"/>
                <a:pathLst>
                  <a:path w="660" h="128">
                    <a:moveTo>
                      <a:pt x="351" y="0"/>
                    </a:moveTo>
                    <a:lnTo>
                      <a:pt x="0" y="59"/>
                    </a:lnTo>
                    <a:lnTo>
                      <a:pt x="329" y="128"/>
                    </a:lnTo>
                    <a:lnTo>
                      <a:pt x="660" y="53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AAAA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6" name="Freeform 52"/>
              <p:cNvSpPr>
                <a:spLocks/>
              </p:cNvSpPr>
              <p:nvPr/>
            </p:nvSpPr>
            <p:spPr bwMode="gray">
              <a:xfrm>
                <a:off x="4568825" y="2076450"/>
                <a:ext cx="525463" cy="203200"/>
              </a:xfrm>
              <a:custGeom>
                <a:avLst/>
                <a:gdLst/>
                <a:ahLst/>
                <a:cxnLst>
                  <a:cxn ang="0">
                    <a:pos x="331" y="45"/>
                  </a:cxn>
                  <a:cxn ang="0">
                    <a:pos x="0" y="128"/>
                  </a:cxn>
                  <a:cxn ang="0">
                    <a:pos x="0" y="74"/>
                  </a:cxn>
                  <a:cxn ang="0">
                    <a:pos x="331" y="0"/>
                  </a:cxn>
                  <a:cxn ang="0">
                    <a:pos x="331" y="45"/>
                  </a:cxn>
                </a:cxnLst>
                <a:rect l="0" t="0" r="r" b="b"/>
                <a:pathLst>
                  <a:path w="331" h="128">
                    <a:moveTo>
                      <a:pt x="331" y="45"/>
                    </a:moveTo>
                    <a:lnTo>
                      <a:pt x="0" y="128"/>
                    </a:lnTo>
                    <a:lnTo>
                      <a:pt x="0" y="74"/>
                    </a:lnTo>
                    <a:lnTo>
                      <a:pt x="331" y="0"/>
                    </a:lnTo>
                    <a:lnTo>
                      <a:pt x="331" y="45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7" name="Freeform 53"/>
              <p:cNvSpPr>
                <a:spLocks/>
              </p:cNvSpPr>
              <p:nvPr/>
            </p:nvSpPr>
            <p:spPr bwMode="gray">
              <a:xfrm>
                <a:off x="4040188" y="2085975"/>
                <a:ext cx="528638" cy="193675"/>
              </a:xfrm>
              <a:custGeom>
                <a:avLst/>
                <a:gdLst/>
                <a:ahLst/>
                <a:cxnLst>
                  <a:cxn ang="0">
                    <a:pos x="333" y="122"/>
                  </a:cxn>
                  <a:cxn ang="0">
                    <a:pos x="0" y="45"/>
                  </a:cxn>
                  <a:cxn ang="0">
                    <a:pos x="1" y="0"/>
                  </a:cxn>
                  <a:cxn ang="0">
                    <a:pos x="333" y="69"/>
                  </a:cxn>
                  <a:cxn ang="0">
                    <a:pos x="333" y="122"/>
                  </a:cxn>
                </a:cxnLst>
                <a:rect l="0" t="0" r="r" b="b"/>
                <a:pathLst>
                  <a:path w="333" h="122">
                    <a:moveTo>
                      <a:pt x="333" y="122"/>
                    </a:moveTo>
                    <a:lnTo>
                      <a:pt x="0" y="45"/>
                    </a:lnTo>
                    <a:lnTo>
                      <a:pt x="1" y="0"/>
                    </a:lnTo>
                    <a:lnTo>
                      <a:pt x="333" y="69"/>
                    </a:lnTo>
                    <a:lnTo>
                      <a:pt x="333" y="122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8" name="Freeform 54"/>
              <p:cNvSpPr>
                <a:spLocks/>
              </p:cNvSpPr>
              <p:nvPr/>
            </p:nvSpPr>
            <p:spPr bwMode="gray">
              <a:xfrm>
                <a:off x="4233863" y="2011363"/>
                <a:ext cx="252413" cy="49213"/>
              </a:xfrm>
              <a:custGeom>
                <a:avLst/>
                <a:gdLst/>
                <a:ahLst/>
                <a:cxnLst>
                  <a:cxn ang="0">
                    <a:pos x="84" y="0"/>
                  </a:cxn>
                  <a:cxn ang="0">
                    <a:pos x="0" y="14"/>
                  </a:cxn>
                  <a:cxn ang="0">
                    <a:pos x="79" y="31"/>
                  </a:cxn>
                  <a:cxn ang="0">
                    <a:pos x="159" y="13"/>
                  </a:cxn>
                  <a:cxn ang="0">
                    <a:pos x="84" y="0"/>
                  </a:cxn>
                </a:cxnLst>
                <a:rect l="0" t="0" r="r" b="b"/>
                <a:pathLst>
                  <a:path w="159" h="31">
                    <a:moveTo>
                      <a:pt x="84" y="0"/>
                    </a:moveTo>
                    <a:lnTo>
                      <a:pt x="0" y="14"/>
                    </a:lnTo>
                    <a:lnTo>
                      <a:pt x="79" y="31"/>
                    </a:lnTo>
                    <a:lnTo>
                      <a:pt x="159" y="13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AAAA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79" name="Freeform 55"/>
              <p:cNvSpPr>
                <a:spLocks/>
              </p:cNvSpPr>
              <p:nvPr/>
            </p:nvSpPr>
            <p:spPr bwMode="gray">
              <a:xfrm>
                <a:off x="4360863" y="2032000"/>
                <a:ext cx="125413" cy="47625"/>
              </a:xfrm>
              <a:custGeom>
                <a:avLst/>
                <a:gdLst/>
                <a:ahLst/>
                <a:cxnLst>
                  <a:cxn ang="0">
                    <a:pos x="79" y="10"/>
                  </a:cxn>
                  <a:cxn ang="0">
                    <a:pos x="0" y="30"/>
                  </a:cxn>
                  <a:cxn ang="0">
                    <a:pos x="0" y="18"/>
                  </a:cxn>
                  <a:cxn ang="0">
                    <a:pos x="79" y="0"/>
                  </a:cxn>
                  <a:cxn ang="0">
                    <a:pos x="79" y="10"/>
                  </a:cxn>
                </a:cxnLst>
                <a:rect l="0" t="0" r="r" b="b"/>
                <a:pathLst>
                  <a:path w="79" h="30">
                    <a:moveTo>
                      <a:pt x="79" y="10"/>
                    </a:moveTo>
                    <a:lnTo>
                      <a:pt x="0" y="30"/>
                    </a:lnTo>
                    <a:lnTo>
                      <a:pt x="0" y="18"/>
                    </a:lnTo>
                    <a:lnTo>
                      <a:pt x="79" y="0"/>
                    </a:lnTo>
                    <a:lnTo>
                      <a:pt x="79" y="1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0" name="Freeform 56"/>
              <p:cNvSpPr>
                <a:spLocks/>
              </p:cNvSpPr>
              <p:nvPr/>
            </p:nvSpPr>
            <p:spPr bwMode="gray">
              <a:xfrm>
                <a:off x="4233863" y="2033588"/>
                <a:ext cx="127000" cy="46038"/>
              </a:xfrm>
              <a:custGeom>
                <a:avLst/>
                <a:gdLst/>
                <a:ahLst/>
                <a:cxnLst>
                  <a:cxn ang="0">
                    <a:pos x="80" y="29"/>
                  </a:cxn>
                  <a:cxn ang="0">
                    <a:pos x="0" y="12"/>
                  </a:cxn>
                  <a:cxn ang="0">
                    <a:pos x="0" y="0"/>
                  </a:cxn>
                  <a:cxn ang="0">
                    <a:pos x="80" y="17"/>
                  </a:cxn>
                  <a:cxn ang="0">
                    <a:pos x="80" y="29"/>
                  </a:cxn>
                </a:cxnLst>
                <a:rect l="0" t="0" r="r" b="b"/>
                <a:pathLst>
                  <a:path w="80" h="29">
                    <a:moveTo>
                      <a:pt x="80" y="29"/>
                    </a:moveTo>
                    <a:lnTo>
                      <a:pt x="0" y="12"/>
                    </a:lnTo>
                    <a:lnTo>
                      <a:pt x="0" y="0"/>
                    </a:lnTo>
                    <a:lnTo>
                      <a:pt x="80" y="17"/>
                    </a:lnTo>
                    <a:lnTo>
                      <a:pt x="80" y="29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1" name="Freeform 57"/>
              <p:cNvSpPr>
                <a:spLocks/>
              </p:cNvSpPr>
              <p:nvPr/>
            </p:nvSpPr>
            <p:spPr bwMode="gray">
              <a:xfrm>
                <a:off x="4603750" y="2058988"/>
                <a:ext cx="252413" cy="47625"/>
              </a:xfrm>
              <a:custGeom>
                <a:avLst/>
                <a:gdLst/>
                <a:ahLst/>
                <a:cxnLst>
                  <a:cxn ang="0">
                    <a:pos x="84" y="0"/>
                  </a:cxn>
                  <a:cxn ang="0">
                    <a:pos x="0" y="13"/>
                  </a:cxn>
                  <a:cxn ang="0">
                    <a:pos x="79" y="30"/>
                  </a:cxn>
                  <a:cxn ang="0">
                    <a:pos x="159" y="12"/>
                  </a:cxn>
                  <a:cxn ang="0">
                    <a:pos x="84" y="0"/>
                  </a:cxn>
                </a:cxnLst>
                <a:rect l="0" t="0" r="r" b="b"/>
                <a:pathLst>
                  <a:path w="159" h="30">
                    <a:moveTo>
                      <a:pt x="84" y="0"/>
                    </a:moveTo>
                    <a:lnTo>
                      <a:pt x="0" y="13"/>
                    </a:lnTo>
                    <a:lnTo>
                      <a:pt x="79" y="30"/>
                    </a:lnTo>
                    <a:lnTo>
                      <a:pt x="159" y="12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AAAA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2" name="Freeform 58"/>
              <p:cNvSpPr>
                <a:spLocks/>
              </p:cNvSpPr>
              <p:nvPr/>
            </p:nvSpPr>
            <p:spPr bwMode="gray">
              <a:xfrm>
                <a:off x="4730750" y="2078038"/>
                <a:ext cx="125413" cy="49213"/>
              </a:xfrm>
              <a:custGeom>
                <a:avLst/>
                <a:gdLst/>
                <a:ahLst/>
                <a:cxnLst>
                  <a:cxn ang="0">
                    <a:pos x="79" y="11"/>
                  </a:cxn>
                  <a:cxn ang="0">
                    <a:pos x="0" y="31"/>
                  </a:cxn>
                  <a:cxn ang="0">
                    <a:pos x="0" y="18"/>
                  </a:cxn>
                  <a:cxn ang="0">
                    <a:pos x="79" y="0"/>
                  </a:cxn>
                  <a:cxn ang="0">
                    <a:pos x="79" y="11"/>
                  </a:cxn>
                </a:cxnLst>
                <a:rect l="0" t="0" r="r" b="b"/>
                <a:pathLst>
                  <a:path w="79" h="31">
                    <a:moveTo>
                      <a:pt x="79" y="11"/>
                    </a:moveTo>
                    <a:lnTo>
                      <a:pt x="0" y="31"/>
                    </a:lnTo>
                    <a:lnTo>
                      <a:pt x="0" y="18"/>
                    </a:lnTo>
                    <a:lnTo>
                      <a:pt x="79" y="0"/>
                    </a:lnTo>
                    <a:lnTo>
                      <a:pt x="79" y="11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3" name="Freeform 59"/>
              <p:cNvSpPr>
                <a:spLocks/>
              </p:cNvSpPr>
              <p:nvPr/>
            </p:nvSpPr>
            <p:spPr bwMode="gray">
              <a:xfrm>
                <a:off x="4603750" y="2079625"/>
                <a:ext cx="127000" cy="47625"/>
              </a:xfrm>
              <a:custGeom>
                <a:avLst/>
                <a:gdLst/>
                <a:ahLst/>
                <a:cxnLst>
                  <a:cxn ang="0">
                    <a:pos x="80" y="30"/>
                  </a:cxn>
                  <a:cxn ang="0">
                    <a:pos x="0" y="11"/>
                  </a:cxn>
                  <a:cxn ang="0">
                    <a:pos x="0" y="0"/>
                  </a:cxn>
                  <a:cxn ang="0">
                    <a:pos x="80" y="17"/>
                  </a:cxn>
                  <a:cxn ang="0">
                    <a:pos x="80" y="30"/>
                  </a:cxn>
                </a:cxnLst>
                <a:rect l="0" t="0" r="r" b="b"/>
                <a:pathLst>
                  <a:path w="80" h="30">
                    <a:moveTo>
                      <a:pt x="80" y="30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80" y="17"/>
                    </a:lnTo>
                    <a:lnTo>
                      <a:pt x="80" y="30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4" name="Freeform 60"/>
              <p:cNvSpPr>
                <a:spLocks/>
              </p:cNvSpPr>
              <p:nvPr/>
            </p:nvSpPr>
            <p:spPr bwMode="gray">
              <a:xfrm>
                <a:off x="4516438" y="1839913"/>
                <a:ext cx="146050" cy="250825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77" y="9"/>
                  </a:cxn>
                  <a:cxn ang="0">
                    <a:pos x="0" y="146"/>
                  </a:cxn>
                  <a:cxn ang="0">
                    <a:pos x="35" y="158"/>
                  </a:cxn>
                  <a:cxn ang="0">
                    <a:pos x="92" y="0"/>
                  </a:cxn>
                </a:cxnLst>
                <a:rect l="0" t="0" r="r" b="b"/>
                <a:pathLst>
                  <a:path w="92" h="158">
                    <a:moveTo>
                      <a:pt x="92" y="0"/>
                    </a:moveTo>
                    <a:lnTo>
                      <a:pt x="77" y="9"/>
                    </a:lnTo>
                    <a:lnTo>
                      <a:pt x="0" y="146"/>
                    </a:lnTo>
                    <a:lnTo>
                      <a:pt x="35" y="158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5" name="Freeform 61"/>
              <p:cNvSpPr>
                <a:spLocks/>
              </p:cNvSpPr>
              <p:nvPr/>
            </p:nvSpPr>
            <p:spPr bwMode="gray">
              <a:xfrm>
                <a:off x="4686300" y="1833563"/>
                <a:ext cx="255588" cy="26193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17"/>
                  </a:cxn>
                  <a:cxn ang="0">
                    <a:pos x="124" y="165"/>
                  </a:cxn>
                  <a:cxn ang="0">
                    <a:pos x="161" y="159"/>
                  </a:cxn>
                  <a:cxn ang="0">
                    <a:pos x="5" y="0"/>
                  </a:cxn>
                </a:cxnLst>
                <a:rect l="0" t="0" r="r" b="b"/>
                <a:pathLst>
                  <a:path w="161" h="165">
                    <a:moveTo>
                      <a:pt x="5" y="0"/>
                    </a:moveTo>
                    <a:lnTo>
                      <a:pt x="0" y="17"/>
                    </a:lnTo>
                    <a:lnTo>
                      <a:pt x="124" y="165"/>
                    </a:lnTo>
                    <a:lnTo>
                      <a:pt x="161" y="15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6" name="Freeform 62"/>
              <p:cNvSpPr>
                <a:spLocks/>
              </p:cNvSpPr>
              <p:nvPr/>
            </p:nvSpPr>
            <p:spPr bwMode="gray">
              <a:xfrm>
                <a:off x="4341813" y="1544638"/>
                <a:ext cx="463550" cy="460375"/>
              </a:xfrm>
              <a:custGeom>
                <a:avLst/>
                <a:gdLst/>
                <a:ahLst/>
                <a:cxnLst>
                  <a:cxn ang="0">
                    <a:pos x="238" y="37"/>
                  </a:cxn>
                  <a:cxn ang="0">
                    <a:pos x="206" y="205"/>
                  </a:cxn>
                  <a:cxn ang="0">
                    <a:pos x="38" y="238"/>
                  </a:cxn>
                  <a:cxn ang="0">
                    <a:pos x="70" y="70"/>
                  </a:cxn>
                  <a:cxn ang="0">
                    <a:pos x="238" y="37"/>
                  </a:cxn>
                </a:cxnLst>
                <a:rect l="0" t="0" r="r" b="b"/>
                <a:pathLst>
                  <a:path w="276" h="275">
                    <a:moveTo>
                      <a:pt x="238" y="37"/>
                    </a:moveTo>
                    <a:cubicBezTo>
                      <a:pt x="276" y="74"/>
                      <a:pt x="261" y="149"/>
                      <a:pt x="206" y="205"/>
                    </a:cubicBezTo>
                    <a:cubicBezTo>
                      <a:pt x="150" y="260"/>
                      <a:pt x="75" y="275"/>
                      <a:pt x="38" y="238"/>
                    </a:cubicBezTo>
                    <a:cubicBezTo>
                      <a:pt x="0" y="200"/>
                      <a:pt x="15" y="125"/>
                      <a:pt x="70" y="70"/>
                    </a:cubicBezTo>
                    <a:cubicBezTo>
                      <a:pt x="126" y="14"/>
                      <a:pt x="201" y="0"/>
                      <a:pt x="238" y="37"/>
                    </a:cubicBez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7" name="Freeform 63"/>
              <p:cNvSpPr>
                <a:spLocks/>
              </p:cNvSpPr>
              <p:nvPr/>
            </p:nvSpPr>
            <p:spPr bwMode="gray">
              <a:xfrm>
                <a:off x="4329113" y="1525588"/>
                <a:ext cx="460375" cy="460375"/>
              </a:xfrm>
              <a:custGeom>
                <a:avLst/>
                <a:gdLst/>
                <a:ahLst/>
                <a:cxnLst>
                  <a:cxn ang="0">
                    <a:pos x="238" y="37"/>
                  </a:cxn>
                  <a:cxn ang="0">
                    <a:pos x="205" y="205"/>
                  </a:cxn>
                  <a:cxn ang="0">
                    <a:pos x="37" y="238"/>
                  </a:cxn>
                  <a:cxn ang="0">
                    <a:pos x="70" y="70"/>
                  </a:cxn>
                  <a:cxn ang="0">
                    <a:pos x="238" y="37"/>
                  </a:cxn>
                </a:cxnLst>
                <a:rect l="0" t="0" r="r" b="b"/>
                <a:pathLst>
                  <a:path w="275" h="275">
                    <a:moveTo>
                      <a:pt x="238" y="37"/>
                    </a:moveTo>
                    <a:cubicBezTo>
                      <a:pt x="275" y="75"/>
                      <a:pt x="261" y="150"/>
                      <a:pt x="205" y="205"/>
                    </a:cubicBezTo>
                    <a:cubicBezTo>
                      <a:pt x="150" y="261"/>
                      <a:pt x="75" y="275"/>
                      <a:pt x="37" y="238"/>
                    </a:cubicBezTo>
                    <a:cubicBezTo>
                      <a:pt x="0" y="201"/>
                      <a:pt x="14" y="126"/>
                      <a:pt x="70" y="70"/>
                    </a:cubicBezTo>
                    <a:cubicBezTo>
                      <a:pt x="125" y="15"/>
                      <a:pt x="200" y="0"/>
                      <a:pt x="238" y="37"/>
                    </a:cubicBezTo>
                    <a:close/>
                  </a:path>
                </a:pathLst>
              </a:custGeom>
              <a:solidFill>
                <a:srgbClr val="E8E8E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8" name="Freeform 64"/>
              <p:cNvSpPr>
                <a:spLocks/>
              </p:cNvSpPr>
              <p:nvPr/>
            </p:nvSpPr>
            <p:spPr bwMode="gray">
              <a:xfrm>
                <a:off x="4518025" y="1706563"/>
                <a:ext cx="58738" cy="185738"/>
              </a:xfrm>
              <a:custGeom>
                <a:avLst/>
                <a:gdLst/>
                <a:ahLst/>
                <a:cxnLst>
                  <a:cxn ang="0">
                    <a:pos x="13" y="117"/>
                  </a:cxn>
                  <a:cxn ang="0">
                    <a:pos x="37" y="112"/>
                  </a:cxn>
                  <a:cxn ang="0">
                    <a:pos x="0" y="0"/>
                  </a:cxn>
                  <a:cxn ang="0">
                    <a:pos x="13" y="117"/>
                  </a:cxn>
                </a:cxnLst>
                <a:rect l="0" t="0" r="r" b="b"/>
                <a:pathLst>
                  <a:path w="37" h="117">
                    <a:moveTo>
                      <a:pt x="13" y="117"/>
                    </a:moveTo>
                    <a:lnTo>
                      <a:pt x="37" y="112"/>
                    </a:lnTo>
                    <a:lnTo>
                      <a:pt x="0" y="0"/>
                    </a:lnTo>
                    <a:lnTo>
                      <a:pt x="13" y="117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89" name="Freeform 65"/>
              <p:cNvSpPr>
                <a:spLocks/>
              </p:cNvSpPr>
              <p:nvPr/>
            </p:nvSpPr>
            <p:spPr bwMode="gray">
              <a:xfrm>
                <a:off x="4530725" y="1692275"/>
                <a:ext cx="173038" cy="31750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109" y="20"/>
                  </a:cxn>
                  <a:cxn ang="0">
                    <a:pos x="0" y="11"/>
                  </a:cxn>
                  <a:cxn ang="0">
                    <a:pos x="92" y="0"/>
                  </a:cxn>
                </a:cxnLst>
                <a:rect l="0" t="0" r="r" b="b"/>
                <a:pathLst>
                  <a:path w="109" h="20">
                    <a:moveTo>
                      <a:pt x="92" y="0"/>
                    </a:moveTo>
                    <a:lnTo>
                      <a:pt x="109" y="20"/>
                    </a:lnTo>
                    <a:lnTo>
                      <a:pt x="0" y="11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sp>
            <p:nvSpPr>
              <p:cNvPr id="1090" name="Oval 66"/>
              <p:cNvSpPr>
                <a:spLocks noChangeArrowheads="1"/>
              </p:cNvSpPr>
              <p:nvPr/>
            </p:nvSpPr>
            <p:spPr bwMode="gray">
              <a:xfrm>
                <a:off x="4491038" y="1679575"/>
                <a:ext cx="53975" cy="53975"/>
              </a:xfrm>
              <a:prstGeom prst="ellipse">
                <a:avLst/>
              </a:prstGeom>
              <a:solidFill>
                <a:srgbClr val="8484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1"/>
              </a:p>
            </p:txBody>
          </p:sp>
          <p:cxnSp>
            <p:nvCxnSpPr>
              <p:cNvPr id="82" name="Gerade Verbindung 81"/>
              <p:cNvCxnSpPr/>
              <p:nvPr/>
            </p:nvCxnSpPr>
            <p:spPr bwMode="gray">
              <a:xfrm>
                <a:off x="4568825" y="2279650"/>
                <a:ext cx="0" cy="1771650"/>
              </a:xfrm>
              <a:prstGeom prst="line">
                <a:avLst/>
              </a:prstGeom>
              <a:ln>
                <a:solidFill>
                  <a:srgbClr val="7D7D7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Ellipse 88"/>
            <p:cNvSpPr/>
            <p:nvPr/>
          </p:nvSpPr>
          <p:spPr bwMode="gray">
            <a:xfrm>
              <a:off x="1141058" y="4886833"/>
              <a:ext cx="1753995" cy="506071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87" name="Ellipse 86"/>
            <p:cNvSpPr/>
            <p:nvPr/>
          </p:nvSpPr>
          <p:spPr bwMode="gray">
            <a:xfrm>
              <a:off x="1284828" y="3738111"/>
              <a:ext cx="1449203" cy="144920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>
                <a:rot lat="0" lon="0" rev="5400000"/>
              </a:lightRig>
            </a:scene3d>
            <a:sp3d>
              <a:bevelT w="787400" h="736600"/>
            </a:sp3d>
          </p:spPr>
          <p:txBody>
            <a:bodyPr wrap="none" rtlCol="0" anchor="ctr"/>
            <a:lstStyle/>
            <a:p>
              <a:pPr algn="ctr"/>
              <a:r>
                <a:rPr lang="en-US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Corporate</a:t>
              </a:r>
              <a:br>
                <a:rPr lang="en-US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</a:br>
              <a:r>
                <a:rPr lang="en-US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Identity</a:t>
              </a:r>
              <a:endParaRPr lang="en-US" b="1" noProof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90" name="Ellipse 89"/>
            <p:cNvSpPr/>
            <p:nvPr/>
          </p:nvSpPr>
          <p:spPr bwMode="gray">
            <a:xfrm>
              <a:off x="6234833" y="4886833"/>
              <a:ext cx="1753995" cy="506071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1" name="Ellipse 90"/>
            <p:cNvSpPr/>
            <p:nvPr/>
          </p:nvSpPr>
          <p:spPr bwMode="gray">
            <a:xfrm>
              <a:off x="6476367" y="3738111"/>
              <a:ext cx="1449203" cy="144920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>
                <a:rot lat="0" lon="0" rev="5400000"/>
              </a:lightRig>
            </a:scene3d>
            <a:sp3d>
              <a:bevelT w="787400" h="736600"/>
            </a:sp3d>
          </p:spPr>
          <p:txBody>
            <a:bodyPr rtlCol="0" anchor="ctr"/>
            <a:lstStyle/>
            <a:p>
              <a:pPr algn="ctr"/>
              <a:r>
                <a:rPr lang="en-US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Image</a:t>
              </a:r>
              <a:endParaRPr lang="en-US" b="1" noProof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92" name="Pfeil nach links und rechts 91"/>
            <p:cNvSpPr/>
            <p:nvPr/>
          </p:nvSpPr>
          <p:spPr bwMode="gray">
            <a:xfrm>
              <a:off x="2935309" y="4932840"/>
              <a:ext cx="3339780" cy="391055"/>
            </a:xfrm>
            <a:prstGeom prst="left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perspectiveRelaxed">
                <a:rot lat="18273603" lon="0" rev="0"/>
              </a:camera>
              <a:lightRig rig="balanced" dir="t"/>
            </a:scene3d>
            <a:sp3d extrusionH="31750">
              <a:bevelT w="12700" h="127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3" name="Richtungspfeil 92"/>
            <p:cNvSpPr/>
            <p:nvPr/>
          </p:nvSpPr>
          <p:spPr bwMode="gray">
            <a:xfrm>
              <a:off x="4771205" y="4089786"/>
              <a:ext cx="1897766" cy="292366"/>
            </a:xfrm>
            <a:prstGeom prst="homePlat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perspectiveRelaxed">
                <a:rot lat="19026592" lon="3195219" rev="17460000"/>
              </a:camera>
              <a:lightRig rig="balanced" dir="t"/>
            </a:scene3d>
            <a:sp3d extrusionH="31750">
              <a:bevelT w="12700" h="12700"/>
            </a:sp3d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pic>
          <p:nvPicPr>
            <p:cNvPr id="1091" name="Picture 67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 flipH="1">
              <a:off x="2654958" y="3851088"/>
              <a:ext cx="1636104" cy="827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8" name="Textfeld 97"/>
            <p:cNvSpPr txBox="1"/>
            <p:nvPr/>
          </p:nvSpPr>
          <p:spPr bwMode="gray">
            <a:xfrm>
              <a:off x="1149577" y="5443092"/>
              <a:ext cx="17172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mage from inside</a:t>
              </a:r>
              <a:endParaRPr lang="en-US" sz="1600" b="1" noProof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9" name="Textfeld 98"/>
            <p:cNvSpPr txBox="1"/>
            <p:nvPr/>
          </p:nvSpPr>
          <p:spPr bwMode="gray">
            <a:xfrm>
              <a:off x="6277120" y="5443092"/>
              <a:ext cx="18775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mage from Outside</a:t>
              </a:r>
              <a:endParaRPr lang="en-US" sz="1600" b="1" noProof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" name="Pfeil nach unten 3"/>
            <p:cNvSpPr/>
            <p:nvPr/>
          </p:nvSpPr>
          <p:spPr bwMode="gray">
            <a:xfrm>
              <a:off x="1778558" y="5267698"/>
              <a:ext cx="432079" cy="205590"/>
            </a:xfrm>
            <a:prstGeom prst="downArrow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  <a:effectLst>
              <a:outerShdw blurRad="127000" sx="102000" sy="102000" algn="ctr" rotWithShape="0">
                <a:prstClr val="black">
                  <a:alpha val="85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88" name="Pfeil nach unten 87"/>
            <p:cNvSpPr/>
            <p:nvPr/>
          </p:nvSpPr>
          <p:spPr bwMode="gray">
            <a:xfrm>
              <a:off x="6990128" y="5267698"/>
              <a:ext cx="432079" cy="205590"/>
            </a:xfrm>
            <a:prstGeom prst="downArrow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  <a:effectLst>
              <a:outerShdw blurRad="127000" sx="102000" sy="102000" algn="ctr" rotWithShape="0">
                <a:prstClr val="black">
                  <a:alpha val="85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94" name="Textfeld 93"/>
            <p:cNvSpPr txBox="1"/>
            <p:nvPr/>
          </p:nvSpPr>
          <p:spPr bwMode="gray">
            <a:xfrm>
              <a:off x="4142465" y="3551336"/>
              <a:ext cx="98725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mpany</a:t>
              </a:r>
              <a:endParaRPr lang="en-US" sz="1600" b="1" noProof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47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Division of values ​​from the perspective of the suppliers and demanders</a:t>
            </a:r>
            <a:endParaRPr lang="en-US" noProof="1" smtClean="0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Values</a:t>
            </a:r>
          </a:p>
        </p:txBody>
      </p:sp>
      <p:sp>
        <p:nvSpPr>
          <p:cNvPr id="47" name="_text"/>
          <p:cNvSpPr txBox="1">
            <a:spLocks/>
          </p:cNvSpPr>
          <p:nvPr/>
        </p:nvSpPr>
        <p:spPr bwMode="gray">
          <a:xfrm>
            <a:off x="323850" y="1554163"/>
            <a:ext cx="4248150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noProof="1" smtClean="0"/>
              <a:t>Differentiated perceptions of performance </a:t>
            </a:r>
            <a:br>
              <a:rPr lang="en-US" sz="1600" noProof="1" smtClean="0"/>
            </a:br>
            <a:r>
              <a:rPr lang="en-US" sz="1600" noProof="1" smtClean="0"/>
              <a:t>of a product from the demand side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noProof="1" smtClean="0"/>
              <a:t>Purchase price should be less than the total benefits, so it creates an increase of the net benefits for the buyer. 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noProof="1" smtClean="0"/>
              <a:t>The manufacturer must create the product so the usage costs are relatively low, which also </a:t>
            </a:r>
            <a:br>
              <a:rPr lang="en-US" sz="1600" noProof="1" smtClean="0"/>
            </a:br>
            <a:r>
              <a:rPr lang="en-US" sz="1600" noProof="1" smtClean="0"/>
              <a:t>lead to a high perceived value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noProof="1" smtClean="0"/>
              <a:t>Benefits must be higher than the purchase </a:t>
            </a:r>
            <a:br>
              <a:rPr lang="en-US" sz="1600" noProof="1" smtClean="0"/>
            </a:br>
            <a:r>
              <a:rPr lang="en-US" sz="1600" noProof="1" smtClean="0"/>
              <a:t>price (from an economic point of view) 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b="1" noProof="1" smtClean="0"/>
              <a:t>Objectives for marketing:</a:t>
            </a:r>
            <a:r>
              <a:rPr lang="en-US" sz="1600" noProof="1" smtClean="0"/>
              <a:t/>
            </a:r>
            <a:br>
              <a:rPr lang="en-US" sz="1600" noProof="1" smtClean="0"/>
            </a:br>
            <a:r>
              <a:rPr lang="en-US" sz="1600" noProof="1" smtClean="0"/>
              <a:t>1. Cost benefits by reducing the prime costs.</a:t>
            </a:r>
            <a:br>
              <a:rPr lang="en-US" sz="1600" noProof="1" smtClean="0"/>
            </a:br>
            <a:r>
              <a:rPr lang="en-US" sz="1600" noProof="1" smtClean="0"/>
              <a:t>2. Growth targets by differentiation </a:t>
            </a:r>
            <a:br>
              <a:rPr lang="en-US" sz="1600" noProof="1" smtClean="0"/>
            </a:br>
            <a:r>
              <a:rPr lang="en-US" sz="1600" noProof="1" smtClean="0"/>
              <a:t>(Advantages by increasing the perceived net benefits)</a:t>
            </a:r>
          </a:p>
        </p:txBody>
      </p:sp>
      <p:grpSp>
        <p:nvGrpSpPr>
          <p:cNvPr id="2" name="Gruppieren 33"/>
          <p:cNvGrpSpPr/>
          <p:nvPr/>
        </p:nvGrpSpPr>
        <p:grpSpPr>
          <a:xfrm>
            <a:off x="4585249" y="1799588"/>
            <a:ext cx="4268952" cy="3745460"/>
            <a:chOff x="4539529" y="1555748"/>
            <a:chExt cx="4268952" cy="3745460"/>
          </a:xfrm>
        </p:grpSpPr>
        <p:grpSp>
          <p:nvGrpSpPr>
            <p:cNvPr id="3" name="Gruppieren 19"/>
            <p:cNvGrpSpPr/>
            <p:nvPr/>
          </p:nvGrpSpPr>
          <p:grpSpPr bwMode="gray">
            <a:xfrm>
              <a:off x="5933511" y="1656445"/>
              <a:ext cx="820757" cy="3644763"/>
              <a:chOff x="2016087" y="2842353"/>
              <a:chExt cx="429658" cy="2170322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perspectiveLeft"/>
              <a:lightRig rig="balanced" dir="t">
                <a:rot lat="0" lon="0" rev="7800000"/>
              </a:lightRig>
            </a:scene3d>
          </p:grpSpPr>
          <p:sp>
            <p:nvSpPr>
              <p:cNvPr id="15" name="Rechteck 14"/>
              <p:cNvSpPr/>
              <p:nvPr/>
            </p:nvSpPr>
            <p:spPr bwMode="gray">
              <a:xfrm>
                <a:off x="2016087" y="4616067"/>
                <a:ext cx="429658" cy="396608"/>
              </a:xfrm>
              <a:prstGeom prst="rect">
                <a:avLst/>
              </a:prstGeom>
              <a:solidFill>
                <a:srgbClr val="D7D7D7"/>
              </a:solidFill>
              <a:ln w="12700">
                <a:noFill/>
                <a:round/>
                <a:headEnd/>
                <a:tailEnd/>
              </a:ln>
              <a:sp3d extrusionH="1270000" prstMaterial="plastic">
                <a:bevelT w="0" h="0"/>
                <a:bevelB w="0" h="0"/>
              </a:sp3d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6" name="Rechteck 15"/>
              <p:cNvSpPr/>
              <p:nvPr/>
            </p:nvSpPr>
            <p:spPr bwMode="gray">
              <a:xfrm>
                <a:off x="2016087" y="3844570"/>
                <a:ext cx="429658" cy="771604"/>
              </a:xfrm>
              <a:prstGeom prst="rect">
                <a:avLst/>
              </a:prstGeom>
              <a:solidFill>
                <a:srgbClr val="AFAFAF"/>
              </a:solidFill>
              <a:ln w="12700">
                <a:noFill/>
                <a:round/>
                <a:headEnd/>
                <a:tailEnd/>
              </a:ln>
              <a:sp3d extrusionH="1270000" prstMaterial="plastic">
                <a:bevelT w="0" h="0"/>
                <a:bevelB w="0" h="0"/>
              </a:sp3d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2016087" y="3558238"/>
                <a:ext cx="429658" cy="2864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noFill/>
                <a:round/>
                <a:headEnd/>
                <a:tailEnd/>
              </a:ln>
              <a:sp3d extrusionH="1270000" prstMaterial="plastic">
                <a:bevelT w="0" h="0"/>
                <a:bevelB w="0" h="0"/>
              </a:sp3d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8" name="Rechteck 17"/>
              <p:cNvSpPr/>
              <p:nvPr/>
            </p:nvSpPr>
            <p:spPr bwMode="gray">
              <a:xfrm>
                <a:off x="2016087" y="3284879"/>
                <a:ext cx="429658" cy="273465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noFill/>
                <a:round/>
                <a:headEnd/>
                <a:tailEnd/>
              </a:ln>
              <a:sp3d extrusionH="1270000" prstMaterial="plastic">
                <a:bevelT w="0" h="0"/>
                <a:bevelB w="0" h="0"/>
              </a:sp3d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2016087" y="2842353"/>
                <a:ext cx="429658" cy="442632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sp3d extrusionH="1270000" prstMaterial="plastic">
                <a:bevelT w="0" h="0"/>
                <a:bevelB w="0" h="0"/>
              </a:sp3d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sp>
          <p:nvSpPr>
            <p:cNvPr id="30" name="Textfeld 29"/>
            <p:cNvSpPr txBox="1"/>
            <p:nvPr/>
          </p:nvSpPr>
          <p:spPr bwMode="gray">
            <a:xfrm>
              <a:off x="7268928" y="1962080"/>
              <a:ext cx="690895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noProof="1" smtClean="0">
                  <a:solidFill>
                    <a:srgbClr val="7D7D7D"/>
                  </a:solidFill>
                </a:rPr>
                <a:t>Net benefits</a:t>
              </a: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7268928" y="2548344"/>
              <a:ext cx="644407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noProof="1" smtClean="0">
                  <a:solidFill>
                    <a:srgbClr val="7D7D7D"/>
                  </a:solidFill>
                </a:rPr>
                <a:t>Usage costs</a:t>
              </a:r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5543010" y="3029507"/>
              <a:ext cx="302967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noProof="1" smtClean="0">
                  <a:solidFill>
                    <a:srgbClr val="7D7D7D"/>
                  </a:solidFill>
                </a:rPr>
                <a:t>Profit</a:t>
              </a:r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7268928" y="3861554"/>
              <a:ext cx="29335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noProof="1" smtClean="0">
                  <a:solidFill>
                    <a:srgbClr val="7D7D7D"/>
                  </a:solidFill>
                </a:rPr>
                <a:t>Costs</a:t>
              </a:r>
            </a:p>
          </p:txBody>
        </p:sp>
        <p:cxnSp>
          <p:nvCxnSpPr>
            <p:cNvPr id="37" name="Gerade Verbindung 36"/>
            <p:cNvCxnSpPr/>
            <p:nvPr/>
          </p:nvCxnSpPr>
          <p:spPr bwMode="gray">
            <a:xfrm rot="10800000">
              <a:off x="5410201" y="3339711"/>
              <a:ext cx="1300271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 rot="10800000" flipV="1">
              <a:off x="5410200" y="2830888"/>
              <a:ext cx="2578100" cy="45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 rot="10800000" flipV="1">
              <a:off x="5971230" y="2359430"/>
              <a:ext cx="2017070" cy="59596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/>
          </p:nvCxnSpPr>
          <p:spPr bwMode="gray">
            <a:xfrm rot="10740000">
              <a:off x="5257074" y="4568751"/>
              <a:ext cx="1461864" cy="66587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/>
            <p:cNvSpPr txBox="1"/>
            <p:nvPr/>
          </p:nvSpPr>
          <p:spPr bwMode="gray">
            <a:xfrm>
              <a:off x="4539529" y="3953887"/>
              <a:ext cx="1306448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noProof="1" smtClean="0">
                  <a:solidFill>
                    <a:srgbClr val="7D7D7D"/>
                  </a:solidFill>
                </a:rPr>
                <a:t>Own performance costs</a:t>
              </a:r>
            </a:p>
          </p:txBody>
        </p:sp>
        <p:sp>
          <p:nvSpPr>
            <p:cNvPr id="66" name="Textfeld 65"/>
            <p:cNvSpPr txBox="1"/>
            <p:nvPr/>
          </p:nvSpPr>
          <p:spPr bwMode="gray">
            <a:xfrm>
              <a:off x="4731889" y="4819650"/>
              <a:ext cx="111408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noProof="1" smtClean="0">
                  <a:solidFill>
                    <a:srgbClr val="7D7D7D"/>
                  </a:solidFill>
                </a:rPr>
                <a:t>External service costs</a:t>
              </a:r>
            </a:p>
          </p:txBody>
        </p:sp>
        <p:sp>
          <p:nvSpPr>
            <p:cNvPr id="67" name="Textfeld 66"/>
            <p:cNvSpPr txBox="1"/>
            <p:nvPr/>
          </p:nvSpPr>
          <p:spPr bwMode="gray">
            <a:xfrm>
              <a:off x="4792414" y="2807274"/>
              <a:ext cx="58349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noProof="1" smtClean="0"/>
                <a:t>Retail price</a:t>
              </a:r>
              <a:endParaRPr lang="en-US" sz="1000" noProof="1"/>
            </a:p>
          </p:txBody>
        </p:sp>
        <p:sp>
          <p:nvSpPr>
            <p:cNvPr id="68" name="Textfeld 67"/>
            <p:cNvSpPr txBox="1"/>
            <p:nvPr/>
          </p:nvSpPr>
          <p:spPr bwMode="gray">
            <a:xfrm>
              <a:off x="4776384" y="3262767"/>
              <a:ext cx="59952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00" noProof="1" smtClean="0"/>
                <a:t>Prime costs</a:t>
              </a:r>
              <a:endParaRPr lang="en-US" sz="1000" noProof="1"/>
            </a:p>
          </p:txBody>
        </p:sp>
        <p:sp>
          <p:nvSpPr>
            <p:cNvPr id="74" name="Textfeld 73"/>
            <p:cNvSpPr txBox="1"/>
            <p:nvPr/>
          </p:nvSpPr>
          <p:spPr bwMode="gray">
            <a:xfrm>
              <a:off x="8045452" y="1555748"/>
              <a:ext cx="71493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noProof="1" smtClean="0"/>
                <a:t>Total benefits</a:t>
              </a:r>
              <a:endParaRPr lang="en-US" sz="1000" noProof="1"/>
            </a:p>
          </p:txBody>
        </p:sp>
        <p:sp>
          <p:nvSpPr>
            <p:cNvPr id="75" name="Textfeld 74"/>
            <p:cNvSpPr txBox="1"/>
            <p:nvPr/>
          </p:nvSpPr>
          <p:spPr bwMode="gray">
            <a:xfrm>
              <a:off x="8045452" y="2214266"/>
              <a:ext cx="706925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r>
                <a:rPr lang="en-US" sz="1000" noProof="1" smtClean="0"/>
                <a:t>Acquirement </a:t>
              </a:r>
              <a:br>
                <a:rPr lang="en-US" sz="1000" noProof="1" smtClean="0"/>
              </a:br>
              <a:r>
                <a:rPr lang="en-US" sz="1000" noProof="1" smtClean="0"/>
                <a:t>price</a:t>
              </a:r>
              <a:endParaRPr lang="en-US" sz="1000" noProof="1"/>
            </a:p>
          </p:txBody>
        </p:sp>
        <p:sp>
          <p:nvSpPr>
            <p:cNvPr id="76" name="Textfeld 75"/>
            <p:cNvSpPr txBox="1"/>
            <p:nvPr/>
          </p:nvSpPr>
          <p:spPr bwMode="gray">
            <a:xfrm>
              <a:off x="8045452" y="2758934"/>
              <a:ext cx="7630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noProof="1" smtClean="0"/>
                <a:t>Purchase price</a:t>
              </a:r>
              <a:endParaRPr lang="en-US" sz="1000" noProof="1"/>
            </a:p>
          </p:txBody>
        </p:sp>
        <p:cxnSp>
          <p:nvCxnSpPr>
            <p:cNvPr id="77" name="Gerade Verbindung 76"/>
            <p:cNvCxnSpPr/>
            <p:nvPr/>
          </p:nvCxnSpPr>
          <p:spPr bwMode="gray">
            <a:xfrm rot="10800000" flipV="1">
              <a:off x="5971917" y="1601444"/>
              <a:ext cx="2016415" cy="94823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feld 77"/>
            <p:cNvSpPr txBox="1"/>
            <p:nvPr/>
          </p:nvSpPr>
          <p:spPr bwMode="gray">
            <a:xfrm>
              <a:off x="5196148" y="1555751"/>
              <a:ext cx="676467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r"/>
              <a:r>
                <a:rPr lang="en-US" sz="1000" noProof="1" smtClean="0"/>
                <a:t>Cost of</a:t>
              </a:r>
              <a:br>
                <a:rPr lang="en-US" sz="1000" noProof="1" smtClean="0"/>
              </a:br>
              <a:r>
                <a:rPr lang="en-US" sz="1000" noProof="1" smtClean="0"/>
                <a:t>performance</a:t>
              </a:r>
              <a:endParaRPr lang="en-US" sz="10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248294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nding policy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Task steps of branding</a:t>
            </a:r>
            <a:endParaRPr lang="en-US" dirty="0"/>
          </a:p>
        </p:txBody>
      </p:sp>
      <p:sp>
        <p:nvSpPr>
          <p:cNvPr id="14" name="Rechteck 13"/>
          <p:cNvSpPr/>
          <p:nvPr/>
        </p:nvSpPr>
        <p:spPr bwMode="auto">
          <a:xfrm>
            <a:off x="324643" y="4935392"/>
            <a:ext cx="1856327" cy="649855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72000" bIns="0" anchor="ctr"/>
          <a:lstStyle/>
          <a:p>
            <a:pPr algn="ctr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tabLst>
                <a:tab pos="656650" algn="l"/>
                <a:tab pos="1313299" algn="l"/>
              </a:tabLst>
              <a:defRPr/>
            </a:pPr>
            <a:r>
              <a:rPr lang="en-US" sz="1400" b="1" noProof="1" smtClean="0">
                <a:solidFill>
                  <a:srgbClr val="FFFFFF"/>
                </a:solidFill>
                <a:cs typeface="Arial" charset="0"/>
              </a:rPr>
              <a:t>Recognition of originator</a:t>
            </a:r>
            <a:endParaRPr lang="en-US" sz="1400" b="1" noProof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1984636" y="4144749"/>
            <a:ext cx="1856327" cy="64985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400" b="1" noProof="1" smtClean="0">
                <a:solidFill>
                  <a:srgbClr val="000000"/>
                </a:solidFill>
                <a:cs typeface="Arial" charset="0"/>
              </a:rPr>
              <a:t>Recognition</a:t>
            </a:r>
            <a:endParaRPr lang="en-US" sz="1400" b="1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3644629" y="3354105"/>
            <a:ext cx="1856327" cy="64985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400" b="1" noProof="1" smtClean="0">
                <a:solidFill>
                  <a:srgbClr val="000000"/>
                </a:solidFill>
                <a:cs typeface="Arial" charset="0"/>
              </a:rPr>
              <a:t>Popularity</a:t>
            </a:r>
            <a:endParaRPr lang="en-US" sz="1400" b="1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5304622" y="2563461"/>
            <a:ext cx="1856327" cy="64985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144000" bIns="72000" anchor="ctr" anchorCtr="0"/>
          <a:lstStyle/>
          <a:p>
            <a:pPr algn="ctr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en-US" sz="1400" b="1" noProof="1" smtClean="0">
                <a:solidFill>
                  <a:srgbClr val="000000"/>
                </a:solidFill>
                <a:cs typeface="Arial" charset="0"/>
              </a:rPr>
              <a:t>Security</a:t>
            </a:r>
            <a:br>
              <a:rPr lang="en-US" sz="1400" b="1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400" b="1" noProof="1" smtClean="0">
                <a:solidFill>
                  <a:srgbClr val="000000"/>
                </a:solidFill>
                <a:cs typeface="Arial" charset="0"/>
              </a:rPr>
              <a:t>when buying</a:t>
            </a:r>
            <a:endParaRPr lang="en-US" sz="1400" b="1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6964616" y="1772817"/>
            <a:ext cx="1856327" cy="649855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72000" tIns="0" rIns="72000" bIns="0" anchor="ctr"/>
          <a:lstStyle/>
          <a:p>
            <a:pPr algn="ctr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tabLst>
                <a:tab pos="656650" algn="l"/>
                <a:tab pos="1313299" algn="l"/>
              </a:tabLst>
              <a:defRPr/>
            </a:pPr>
            <a:r>
              <a:rPr lang="en-US" sz="1400" b="1" noProof="1" smtClean="0">
                <a:solidFill>
                  <a:srgbClr val="FFFFFF"/>
                </a:solidFill>
                <a:cs typeface="Arial" charset="0"/>
              </a:rPr>
              <a:t>Customer Loyalty</a:t>
            </a:r>
            <a:br>
              <a:rPr lang="en-US" sz="1400" b="1" noProof="1" smtClean="0">
                <a:solidFill>
                  <a:srgbClr val="FFFFFF"/>
                </a:solidFill>
                <a:cs typeface="Arial" charset="0"/>
              </a:rPr>
            </a:br>
            <a:r>
              <a:rPr lang="en-US" sz="1400" b="1" noProof="1" smtClean="0">
                <a:solidFill>
                  <a:srgbClr val="FFFFFF"/>
                </a:solidFill>
                <a:cs typeface="Arial" charset="0"/>
              </a:rPr>
              <a:t>(Brand loyalty)</a:t>
            </a:r>
            <a:endParaRPr lang="en-US" sz="1400" b="1" noProof="1">
              <a:solidFill>
                <a:srgbClr val="FFFFFF"/>
              </a:solidFill>
              <a:cs typeface="Arial" charset="0"/>
            </a:endParaRPr>
          </a:p>
        </p:txBody>
      </p:sp>
      <p:cxnSp>
        <p:nvCxnSpPr>
          <p:cNvPr id="21" name="Form 20"/>
          <p:cNvCxnSpPr>
            <a:stCxn id="14" idx="0"/>
            <a:endCxn id="15" idx="1"/>
          </p:cNvCxnSpPr>
          <p:nvPr/>
        </p:nvCxnSpPr>
        <p:spPr>
          <a:xfrm rot="5400000" flipH="1" flipV="1">
            <a:off x="1385863" y="4336620"/>
            <a:ext cx="465716" cy="731829"/>
          </a:xfrm>
          <a:prstGeom prst="bentConnector2">
            <a:avLst/>
          </a:prstGeom>
          <a:ln w="19050">
            <a:solidFill>
              <a:srgbClr val="7D7D7D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Form 22"/>
          <p:cNvCxnSpPr>
            <a:stCxn id="15" idx="0"/>
            <a:endCxn id="16" idx="1"/>
          </p:cNvCxnSpPr>
          <p:nvPr/>
        </p:nvCxnSpPr>
        <p:spPr>
          <a:xfrm rot="5400000" flipH="1" flipV="1">
            <a:off x="3045856" y="3545977"/>
            <a:ext cx="465716" cy="731829"/>
          </a:xfrm>
          <a:prstGeom prst="bentConnector2">
            <a:avLst/>
          </a:prstGeom>
          <a:ln w="19050">
            <a:solidFill>
              <a:srgbClr val="7D7D7D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Form 24"/>
          <p:cNvCxnSpPr>
            <a:stCxn id="16" idx="0"/>
            <a:endCxn id="17" idx="1"/>
          </p:cNvCxnSpPr>
          <p:nvPr/>
        </p:nvCxnSpPr>
        <p:spPr>
          <a:xfrm rot="5400000" flipH="1" flipV="1">
            <a:off x="4705849" y="2755333"/>
            <a:ext cx="465716" cy="731829"/>
          </a:xfrm>
          <a:prstGeom prst="bentConnector2">
            <a:avLst/>
          </a:prstGeom>
          <a:ln w="19050">
            <a:solidFill>
              <a:srgbClr val="7D7D7D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Form 26"/>
          <p:cNvCxnSpPr>
            <a:stCxn id="17" idx="0"/>
            <a:endCxn id="18" idx="1"/>
          </p:cNvCxnSpPr>
          <p:nvPr/>
        </p:nvCxnSpPr>
        <p:spPr>
          <a:xfrm rot="5400000" flipH="1" flipV="1">
            <a:off x="6365843" y="1964688"/>
            <a:ext cx="465716" cy="731830"/>
          </a:xfrm>
          <a:prstGeom prst="bentConnector2">
            <a:avLst/>
          </a:prstGeom>
          <a:ln w="19050">
            <a:solidFill>
              <a:srgbClr val="7D7D7D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 2"/>
          <p:cNvSpPr/>
          <p:nvPr/>
        </p:nvSpPr>
        <p:spPr>
          <a:xfrm>
            <a:off x="895976" y="5635487"/>
            <a:ext cx="7136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noProof="1" smtClean="0">
                <a:solidFill>
                  <a:srgbClr val="000000"/>
                </a:solidFill>
              </a:rPr>
              <a:t>(</a:t>
            </a:r>
            <a:r>
              <a:rPr lang="en-US" sz="1400" smtClean="0"/>
              <a:t>origin</a:t>
            </a:r>
            <a:r>
              <a:rPr lang="en-US" sz="1400" noProof="1" smtClean="0">
                <a:solidFill>
                  <a:srgbClr val="000000"/>
                </a:solidFill>
              </a:rPr>
              <a:t>)</a:t>
            </a:r>
            <a:endParaRPr lang="en-US" sz="1400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52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Branding policy </a:t>
            </a:r>
            <a:r>
              <a:rPr lang="en-US" b="0" noProof="1" smtClean="0"/>
              <a:t>- Requirements for a Brand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Major tasks of branding policy: development of brand names and trademarks</a:t>
            </a:r>
            <a:endParaRPr lang="en-US" noProof="1"/>
          </a:p>
        </p:txBody>
      </p:sp>
      <p:grpSp>
        <p:nvGrpSpPr>
          <p:cNvPr id="36" name="Gruppieren 35"/>
          <p:cNvGrpSpPr/>
          <p:nvPr/>
        </p:nvGrpSpPr>
        <p:grpSpPr>
          <a:xfrm>
            <a:off x="354440" y="1875842"/>
            <a:ext cx="8445048" cy="3879253"/>
            <a:chOff x="498023" y="1875842"/>
            <a:chExt cx="8445048" cy="3879253"/>
          </a:xfrm>
        </p:grpSpPr>
        <p:grpSp>
          <p:nvGrpSpPr>
            <p:cNvPr id="4" name="Gruppieren 35"/>
            <p:cNvGrpSpPr/>
            <p:nvPr/>
          </p:nvGrpSpPr>
          <p:grpSpPr bwMode="gray">
            <a:xfrm>
              <a:off x="1495426" y="2489513"/>
              <a:ext cx="1994807" cy="1488774"/>
              <a:chOff x="1495426" y="2489513"/>
              <a:chExt cx="1994807" cy="1488774"/>
            </a:xfrm>
          </p:grpSpPr>
          <p:sp>
            <p:nvSpPr>
              <p:cNvPr id="28" name="Rechteck 27"/>
              <p:cNvSpPr/>
              <p:nvPr/>
            </p:nvSpPr>
            <p:spPr bwMode="gray">
              <a:xfrm>
                <a:off x="1495426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1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5" name="Rechteck 14"/>
              <p:cNvSpPr/>
              <p:nvPr/>
            </p:nvSpPr>
            <p:spPr bwMode="gray">
              <a:xfrm>
                <a:off x="1827957" y="2489513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Brand name/ marking</a:t>
                </a:r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>
                <a:off x="1495426" y="3186199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roduct design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ackaging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rademark</a:t>
                </a:r>
              </a:p>
            </p:txBody>
          </p:sp>
        </p:grpSp>
        <p:grpSp>
          <p:nvGrpSpPr>
            <p:cNvPr id="5" name="Gruppieren 36"/>
            <p:cNvGrpSpPr/>
            <p:nvPr/>
          </p:nvGrpSpPr>
          <p:grpSpPr bwMode="gray">
            <a:xfrm>
              <a:off x="3633876" y="2489513"/>
              <a:ext cx="2006437" cy="1488774"/>
              <a:chOff x="3633876" y="2489513"/>
              <a:chExt cx="2006437" cy="1488774"/>
            </a:xfrm>
          </p:grpSpPr>
          <p:sp>
            <p:nvSpPr>
              <p:cNvPr id="29" name="Rechteck 28"/>
              <p:cNvSpPr/>
              <p:nvPr/>
            </p:nvSpPr>
            <p:spPr bwMode="gray">
              <a:xfrm>
                <a:off x="3633877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2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3967250" y="2489513"/>
                <a:ext cx="1673063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Brand protection</a:t>
                </a:r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3633876" y="3186199"/>
                <a:ext cx="200643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Protectability of brand</a:t>
                </a:r>
                <a:b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differentiation from </a:t>
                </a: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/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other brands</a:t>
                </a:r>
              </a:p>
            </p:txBody>
          </p:sp>
        </p:grpSp>
        <p:grpSp>
          <p:nvGrpSpPr>
            <p:cNvPr id="6" name="Gruppieren 37"/>
            <p:cNvGrpSpPr/>
            <p:nvPr/>
          </p:nvGrpSpPr>
          <p:grpSpPr bwMode="gray">
            <a:xfrm>
              <a:off x="5795587" y="2489513"/>
              <a:ext cx="1994807" cy="1488774"/>
              <a:chOff x="5795587" y="2489513"/>
              <a:chExt cx="1994807" cy="1488774"/>
            </a:xfrm>
          </p:grpSpPr>
          <p:sp>
            <p:nvSpPr>
              <p:cNvPr id="30" name="Rechteck 29"/>
              <p:cNvSpPr/>
              <p:nvPr/>
            </p:nvSpPr>
            <p:spPr bwMode="gray">
              <a:xfrm>
                <a:off x="5795587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3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 bwMode="gray">
              <a:xfrm>
                <a:off x="6128118" y="2489513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Distinctiveness </a:t>
                </a: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5795587" y="3186199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Difference in performance compared with competitive offerings</a:t>
                </a: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uppieren 41"/>
            <p:cNvGrpSpPr/>
            <p:nvPr/>
          </p:nvGrpSpPr>
          <p:grpSpPr bwMode="gray">
            <a:xfrm>
              <a:off x="498023" y="4266321"/>
              <a:ext cx="1994807" cy="1488774"/>
              <a:chOff x="498023" y="4266321"/>
              <a:chExt cx="1994807" cy="1488774"/>
            </a:xfrm>
          </p:grpSpPr>
          <p:sp>
            <p:nvSpPr>
              <p:cNvPr id="31" name="Rechteck 30"/>
              <p:cNvSpPr/>
              <p:nvPr/>
            </p:nvSpPr>
            <p:spPr bwMode="gray">
              <a:xfrm>
                <a:off x="498023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4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830553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Standards</a:t>
                </a: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498023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Standardized Quality</a:t>
                </a:r>
                <a:b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Consistently high Quality</a:t>
                </a: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" name="Gruppieren 40"/>
            <p:cNvGrpSpPr/>
            <p:nvPr/>
          </p:nvGrpSpPr>
          <p:grpSpPr bwMode="gray">
            <a:xfrm>
              <a:off x="2648103" y="4266321"/>
              <a:ext cx="1994806" cy="1488774"/>
              <a:chOff x="2648103" y="4266321"/>
              <a:chExt cx="1994806" cy="1488774"/>
            </a:xfrm>
          </p:grpSpPr>
          <p:sp>
            <p:nvSpPr>
              <p:cNvPr id="32" name="Rechteck 31"/>
              <p:cNvSpPr/>
              <p:nvPr/>
            </p:nvSpPr>
            <p:spPr bwMode="gray">
              <a:xfrm>
                <a:off x="2648103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5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2" name="Rechteck 11"/>
              <p:cNvSpPr/>
              <p:nvPr/>
            </p:nvSpPr>
            <p:spPr bwMode="gray">
              <a:xfrm>
                <a:off x="2980634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Price stability</a:t>
                </a:r>
              </a:p>
            </p:txBody>
          </p:sp>
          <p:sp>
            <p:nvSpPr>
              <p:cNvPr id="25" name="Rechteck 24"/>
              <p:cNvSpPr/>
              <p:nvPr/>
            </p:nvSpPr>
            <p:spPr bwMode="gray">
              <a:xfrm>
                <a:off x="2648103" y="4963007"/>
                <a:ext cx="1994806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No specials, action prices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or sales</a:t>
                </a:r>
              </a:p>
            </p:txBody>
          </p:sp>
        </p:grpSp>
        <p:grpSp>
          <p:nvGrpSpPr>
            <p:cNvPr id="9" name="Gruppieren 39"/>
            <p:cNvGrpSpPr/>
            <p:nvPr/>
          </p:nvGrpSpPr>
          <p:grpSpPr bwMode="gray">
            <a:xfrm>
              <a:off x="4798183" y="4266321"/>
              <a:ext cx="1994807" cy="1488774"/>
              <a:chOff x="4798183" y="4266321"/>
              <a:chExt cx="1994807" cy="1488774"/>
            </a:xfrm>
          </p:grpSpPr>
          <p:sp>
            <p:nvSpPr>
              <p:cNvPr id="33" name="Rechteck 32"/>
              <p:cNvSpPr/>
              <p:nvPr/>
            </p:nvSpPr>
            <p:spPr bwMode="gray">
              <a:xfrm>
                <a:off x="4798184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6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3" name="Rechteck 12"/>
              <p:cNvSpPr/>
              <p:nvPr/>
            </p:nvSpPr>
            <p:spPr bwMode="gray">
              <a:xfrm>
                <a:off x="5130715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Availability</a:t>
                </a: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4798183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Availability and </a:t>
                </a: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widespread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distribution</a:t>
                </a:r>
              </a:p>
            </p:txBody>
          </p:sp>
        </p:grpSp>
        <p:grpSp>
          <p:nvGrpSpPr>
            <p:cNvPr id="10" name="Gruppieren 38"/>
            <p:cNvGrpSpPr/>
            <p:nvPr/>
          </p:nvGrpSpPr>
          <p:grpSpPr bwMode="gray">
            <a:xfrm>
              <a:off x="6948264" y="4266321"/>
              <a:ext cx="1994807" cy="1488774"/>
              <a:chOff x="6948264" y="4266321"/>
              <a:chExt cx="1994807" cy="1488774"/>
            </a:xfrm>
          </p:grpSpPr>
          <p:sp>
            <p:nvSpPr>
              <p:cNvPr id="34" name="Rechteck 33"/>
              <p:cNvSpPr/>
              <p:nvPr/>
            </p:nvSpPr>
            <p:spPr bwMode="gray">
              <a:xfrm>
                <a:off x="6948264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7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 bwMode="gray">
              <a:xfrm>
                <a:off x="7280795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Publicity</a:t>
                </a:r>
              </a:p>
            </p:txBody>
          </p:sp>
          <p:sp>
            <p:nvSpPr>
              <p:cNvPr id="27" name="Rechteck 26"/>
              <p:cNvSpPr/>
              <p:nvPr/>
            </p:nvSpPr>
            <p:spPr bwMode="gray">
              <a:xfrm>
                <a:off x="6948264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>
                    <a:solidFill>
                      <a:srgbClr val="000000"/>
                    </a:solidFill>
                    <a:cs typeface="Arial" charset="0"/>
                  </a:rPr>
                  <a:t>Perception and recognition in the market through advertising</a:t>
                </a:r>
                <a:endParaRPr lang="en-US" sz="12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35" name="Rechteck 34"/>
            <p:cNvSpPr/>
            <p:nvPr/>
          </p:nvSpPr>
          <p:spPr bwMode="gray">
            <a:xfrm>
              <a:off x="2312188" y="1875842"/>
              <a:ext cx="494673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noProof="1" smtClean="0"/>
                <a:t>Criteria and characteristics of a brand</a:t>
              </a:r>
              <a:endParaRPr lang="en-US" sz="24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416661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ifferentiation of Trademark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xamples according to trademark types</a:t>
            </a:r>
            <a:endParaRPr lang="en-US" noProof="1"/>
          </a:p>
        </p:txBody>
      </p:sp>
      <p:grpSp>
        <p:nvGrpSpPr>
          <p:cNvPr id="24" name="Gruppieren 23"/>
          <p:cNvGrpSpPr/>
          <p:nvPr/>
        </p:nvGrpSpPr>
        <p:grpSpPr>
          <a:xfrm>
            <a:off x="323850" y="1555750"/>
            <a:ext cx="8494713" cy="4246564"/>
            <a:chOff x="323850" y="1555750"/>
            <a:chExt cx="8494713" cy="4246564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6083300" y="1555750"/>
              <a:ext cx="2735263" cy="4246564"/>
              <a:chOff x="6083300" y="1555750"/>
              <a:chExt cx="2735263" cy="4246564"/>
            </a:xfrm>
          </p:grpSpPr>
          <p:sp>
            <p:nvSpPr>
              <p:cNvPr id="5" name="Rectangle 19"/>
              <p:cNvSpPr>
                <a:spLocks noChangeArrowheads="1"/>
              </p:cNvSpPr>
              <p:nvPr/>
            </p:nvSpPr>
            <p:spPr bwMode="gray">
              <a:xfrm>
                <a:off x="6083300" y="1555750"/>
                <a:ext cx="2735263" cy="360363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/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Word-Image Trademark</a:t>
                </a:r>
                <a:endParaRPr lang="en-US" sz="20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7" name="Rectangle 5"/>
              <p:cNvSpPr>
                <a:spLocks noChangeArrowheads="1"/>
              </p:cNvSpPr>
              <p:nvPr/>
            </p:nvSpPr>
            <p:spPr bwMode="gray">
              <a:xfrm>
                <a:off x="6083300" y="1916113"/>
                <a:ext cx="2735263" cy="3886201"/>
              </a:xfrm>
              <a:prstGeom prst="rect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b" anchorCtr="0"/>
              <a:lstStyle/>
              <a:p>
                <a:pPr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sz="1600" noProof="1" smtClean="0">
                    <a:solidFill>
                      <a:srgbClr val="646464"/>
                    </a:solidFill>
                    <a:cs typeface="Arial" charset="0"/>
                  </a:rPr>
                  <a:t>Highest conciseness by</a:t>
                </a:r>
                <a:br>
                  <a:rPr lang="en-US" sz="1600" noProof="1" smtClean="0">
                    <a:solidFill>
                      <a:srgbClr val="646464"/>
                    </a:solidFill>
                    <a:cs typeface="Arial" charset="0"/>
                  </a:rPr>
                </a:br>
                <a:r>
                  <a:rPr lang="en-US" sz="1600" noProof="1" smtClean="0">
                    <a:solidFill>
                      <a:srgbClr val="646464"/>
                    </a:solidFill>
                    <a:cs typeface="Arial" charset="0"/>
                  </a:rPr>
                  <a:t>logo and illustration of the peculiarity of the offer.</a:t>
                </a:r>
                <a:endParaRPr lang="en-US" sz="1600" noProof="1">
                  <a:solidFill>
                    <a:srgbClr val="646464"/>
                  </a:solidFill>
                  <a:cs typeface="Arial" charset="0"/>
                </a:endParaRPr>
              </a:p>
            </p:txBody>
          </p:sp>
          <p:pic>
            <p:nvPicPr>
              <p:cNvPr id="1028" name="Picture 4" descr="C:\Users\bastian.k\Desktop\500px-BMW.svg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gray">
              <a:xfrm>
                <a:off x="7045759" y="3014852"/>
                <a:ext cx="810344" cy="810344"/>
              </a:xfrm>
              <a:prstGeom prst="rect">
                <a:avLst/>
              </a:prstGeom>
              <a:noFill/>
            </p:spPr>
          </p:pic>
          <p:pic>
            <p:nvPicPr>
              <p:cNvPr id="1029" name="Picture 5" descr="C:\Users\bastian.k\Desktop\500px-Bayer-Logo.svg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7045759" y="2051495"/>
                <a:ext cx="810344" cy="807102"/>
              </a:xfrm>
              <a:prstGeom prst="rect">
                <a:avLst/>
              </a:prstGeom>
              <a:noFill/>
            </p:spPr>
          </p:pic>
          <p:pic>
            <p:nvPicPr>
              <p:cNvPr id="1033" name="Picture 9" descr="C:\Users\bastian.k\Desktop\Audi-Logo_2009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6968137" y="3981450"/>
                <a:ext cx="965588" cy="541154"/>
              </a:xfrm>
              <a:prstGeom prst="rect">
                <a:avLst/>
              </a:prstGeom>
              <a:noFill/>
            </p:spPr>
          </p:pic>
        </p:grpSp>
        <p:grpSp>
          <p:nvGrpSpPr>
            <p:cNvPr id="21" name="Gruppieren 20"/>
            <p:cNvGrpSpPr/>
            <p:nvPr/>
          </p:nvGrpSpPr>
          <p:grpSpPr>
            <a:xfrm>
              <a:off x="323850" y="1555750"/>
              <a:ext cx="2735263" cy="4246564"/>
              <a:chOff x="323850" y="1555750"/>
              <a:chExt cx="2735263" cy="4246564"/>
            </a:xfrm>
          </p:grpSpPr>
          <p:sp>
            <p:nvSpPr>
              <p:cNvPr id="4" name="Rectangle 19"/>
              <p:cNvSpPr>
                <a:spLocks noChangeArrowheads="1"/>
              </p:cNvSpPr>
              <p:nvPr/>
            </p:nvSpPr>
            <p:spPr bwMode="gray">
              <a:xfrm>
                <a:off x="323850" y="1555750"/>
                <a:ext cx="2735263" cy="360363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Word signs</a:t>
                </a:r>
                <a:endParaRPr lang="en-US" sz="20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" name="Rectangle 5"/>
              <p:cNvSpPr>
                <a:spLocks noChangeArrowheads="1"/>
              </p:cNvSpPr>
              <p:nvPr/>
            </p:nvSpPr>
            <p:spPr bwMode="gray">
              <a:xfrm>
                <a:off x="323850" y="1916113"/>
                <a:ext cx="2735263" cy="3886201"/>
              </a:xfrm>
              <a:prstGeom prst="rect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b" anchorCtr="0"/>
              <a:lstStyle/>
              <a:p>
                <a:pPr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sz="1600" noProof="1" smtClean="0">
                    <a:solidFill>
                      <a:srgbClr val="646464"/>
                    </a:solidFill>
                    <a:cs typeface="Arial" charset="0"/>
                  </a:rPr>
                  <a:t>Recognition by self-developed script. Easily represented in all media.</a:t>
                </a:r>
                <a:endParaRPr lang="en-US" sz="1600" noProof="1">
                  <a:solidFill>
                    <a:srgbClr val="646464"/>
                  </a:solidFill>
                  <a:cs typeface="Arial" charset="0"/>
                </a:endParaRPr>
              </a:p>
            </p:txBody>
          </p:sp>
          <p:pic>
            <p:nvPicPr>
              <p:cNvPr id="1031" name="Picture 7" descr="C:\Users\bastian.k\Desktop\500px-Barbie_Logo_2008.svg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gray">
              <a:xfrm>
                <a:off x="1003059" y="2996952"/>
                <a:ext cx="1376845" cy="605812"/>
              </a:xfrm>
              <a:prstGeom prst="rect">
                <a:avLst/>
              </a:prstGeom>
              <a:noFill/>
            </p:spPr>
          </p:pic>
          <p:pic>
            <p:nvPicPr>
              <p:cNvPr id="26" name="Picture 8" descr="C:\Users\bastian.k\Desktop\500px-Siemens-logo.svg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693415" y="2268119"/>
                <a:ext cx="1996132" cy="475079"/>
              </a:xfrm>
              <a:prstGeom prst="rect">
                <a:avLst/>
              </a:prstGeom>
              <a:noFill/>
            </p:spPr>
          </p:pic>
        </p:grpSp>
        <p:grpSp>
          <p:nvGrpSpPr>
            <p:cNvPr id="22" name="Gruppieren 21"/>
            <p:cNvGrpSpPr/>
            <p:nvPr/>
          </p:nvGrpSpPr>
          <p:grpSpPr>
            <a:xfrm>
              <a:off x="3203575" y="1555750"/>
              <a:ext cx="2735263" cy="4246564"/>
              <a:chOff x="3203575" y="1555750"/>
              <a:chExt cx="2735263" cy="4246564"/>
            </a:xfrm>
          </p:grpSpPr>
          <p:sp>
            <p:nvSpPr>
              <p:cNvPr id="8" name="Rectangle 19"/>
              <p:cNvSpPr>
                <a:spLocks noChangeArrowheads="1"/>
              </p:cNvSpPr>
              <p:nvPr/>
            </p:nvSpPr>
            <p:spPr bwMode="gray">
              <a:xfrm>
                <a:off x="3203575" y="1555750"/>
                <a:ext cx="2735263" cy="360363"/>
              </a:xfrm>
              <a:prstGeom prst="rect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000000"/>
                    </a:solidFill>
                    <a:cs typeface="Arial" charset="0"/>
                  </a:rPr>
                  <a:t>Image Trademark</a:t>
                </a:r>
                <a:endParaRPr lang="en-US" sz="2000" b="1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" name="Rectangle 5"/>
              <p:cNvSpPr>
                <a:spLocks noChangeArrowheads="1"/>
              </p:cNvSpPr>
              <p:nvPr/>
            </p:nvSpPr>
            <p:spPr bwMode="gray">
              <a:xfrm>
                <a:off x="3203575" y="1916113"/>
                <a:ext cx="2735263" cy="3886201"/>
              </a:xfrm>
              <a:prstGeom prst="rect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b" anchorCtr="0"/>
              <a:lstStyle/>
              <a:p>
                <a:pPr>
                  <a:lnSpc>
                    <a:spcPct val="95000"/>
                  </a:lnSpc>
                  <a:spcAft>
                    <a:spcPct val="40000"/>
                  </a:spcAft>
                  <a:buClr>
                    <a:srgbClr val="808080"/>
                  </a:buClr>
                  <a:defRPr/>
                </a:pPr>
                <a:r>
                  <a:rPr lang="en-US" sz="1600" noProof="1" smtClean="0">
                    <a:solidFill>
                      <a:srgbClr val="646464"/>
                    </a:solidFill>
                    <a:cs typeface="Arial" charset="0"/>
                  </a:rPr>
                  <a:t>Only work if you about to be published across years (through advertising)</a:t>
                </a:r>
                <a:endParaRPr lang="en-US" sz="1600" noProof="1">
                  <a:solidFill>
                    <a:srgbClr val="646464"/>
                  </a:solidFill>
                  <a:cs typeface="Arial" charset="0"/>
                </a:endParaRPr>
              </a:p>
            </p:txBody>
          </p:sp>
          <p:pic>
            <p:nvPicPr>
              <p:cNvPr id="18" name="Picture 3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6056" t="4806" r="26083" b="5071"/>
              <a:stretch>
                <a:fillRect/>
              </a:stretch>
            </p:blipFill>
            <p:spPr bwMode="auto">
              <a:xfrm>
                <a:off x="4087453" y="2342488"/>
                <a:ext cx="969094" cy="9732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4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4101652" y="3566873"/>
                <a:ext cx="937477" cy="948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3083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31"/>
          <p:cNvGrpSpPr/>
          <p:nvPr/>
        </p:nvGrpSpPr>
        <p:grpSpPr bwMode="gray">
          <a:xfrm>
            <a:off x="0" y="4534215"/>
            <a:ext cx="9144000" cy="1163782"/>
            <a:chOff x="0" y="4534215"/>
            <a:chExt cx="9144000" cy="1163782"/>
          </a:xfrm>
        </p:grpSpPr>
        <p:sp>
          <p:nvSpPr>
            <p:cNvPr id="24" name="Rechteck 23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5" name="Rechteck 24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rporate Identity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total of all communication political measures, the behavior, appearance and market communication of a company</a:t>
            </a:r>
            <a:endParaRPr lang="en-US" noProof="1"/>
          </a:p>
        </p:txBody>
      </p:sp>
      <p:grpSp>
        <p:nvGrpSpPr>
          <p:cNvPr id="21" name="Gruppieren 20"/>
          <p:cNvGrpSpPr/>
          <p:nvPr/>
        </p:nvGrpSpPr>
        <p:grpSpPr>
          <a:xfrm>
            <a:off x="2329570" y="1530301"/>
            <a:ext cx="4457488" cy="4461650"/>
            <a:chOff x="2329570" y="1530301"/>
            <a:chExt cx="4457488" cy="4461650"/>
          </a:xfrm>
        </p:grpSpPr>
        <p:pic>
          <p:nvPicPr>
            <p:cNvPr id="29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2679700" y="5550626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30" name="Gruppieren 29"/>
            <p:cNvGrpSpPr/>
            <p:nvPr/>
          </p:nvGrpSpPr>
          <p:grpSpPr bwMode="gray">
            <a:xfrm>
              <a:off x="2329570" y="1530301"/>
              <a:ext cx="4457488" cy="4449867"/>
              <a:chOff x="2269282" y="1670973"/>
              <a:chExt cx="4457488" cy="4449867"/>
            </a:xfrm>
          </p:grpSpPr>
          <p:grpSp>
            <p:nvGrpSpPr>
              <p:cNvPr id="31" name="Gruppieren 30"/>
              <p:cNvGrpSpPr/>
              <p:nvPr/>
            </p:nvGrpSpPr>
            <p:grpSpPr bwMode="gray">
              <a:xfrm>
                <a:off x="2269282" y="1670973"/>
                <a:ext cx="4457488" cy="4449867"/>
                <a:chOff x="2269282" y="1670973"/>
                <a:chExt cx="4457488" cy="4449867"/>
              </a:xfrm>
            </p:grpSpPr>
            <p:sp>
              <p:nvSpPr>
                <p:cNvPr id="33" name="Ellipse 32"/>
                <p:cNvSpPr/>
                <p:nvPr/>
              </p:nvSpPr>
              <p:spPr bwMode="gray">
                <a:xfrm>
                  <a:off x="2269282" y="1670973"/>
                  <a:ext cx="4390950" cy="4390946"/>
                </a:xfrm>
                <a:prstGeom prst="ellipse">
                  <a:avLst/>
                </a:prstGeom>
                <a:solidFill>
                  <a:srgbClr val="E6E6E6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 rtlCol="0" anchor="ctr"/>
                <a:lstStyle/>
                <a:p>
                  <a:pPr algn="ctr"/>
                  <a:endParaRPr lang="en-US" sz="2000" noProof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Ellipse 33"/>
                <p:cNvSpPr/>
                <p:nvPr/>
              </p:nvSpPr>
              <p:spPr bwMode="gray">
                <a:xfrm>
                  <a:off x="2629322" y="2031013"/>
                  <a:ext cx="3670870" cy="367086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94000">
                      <a:schemeClr val="accent1">
                        <a:lumMod val="40000"/>
                        <a:lumOff val="60000"/>
                      </a:schemeClr>
                    </a:gs>
                  </a:gsLst>
                  <a:lin ang="5400000" scaled="1"/>
                  <a:tileRect/>
                </a:gradFill>
                <a:ln w="12700">
                  <a:solidFill>
                    <a:srgbClr val="FFFFFF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anchor="ctr" anchorCtr="0"/>
                <a:lstStyle/>
                <a:p>
                  <a:pPr algn="ctr">
                    <a:defRPr/>
                  </a:pPr>
                  <a:endParaRPr lang="en-US" sz="1400" b="1" noProof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Ellipse 34"/>
                <p:cNvSpPr/>
                <p:nvPr/>
              </p:nvSpPr>
              <p:spPr bwMode="gray">
                <a:xfrm>
                  <a:off x="3476980" y="2878670"/>
                  <a:ext cx="1975554" cy="197555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94000">
                      <a:schemeClr val="accent1"/>
                    </a:gs>
                  </a:gsLst>
                  <a:lin ang="5400000" scaled="1"/>
                  <a:tileRect/>
                </a:gradFill>
                <a:ln w="12700">
                  <a:solidFill>
                    <a:srgbClr val="FFFFFF"/>
                  </a:solidFill>
                  <a:round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 lIns="36000" tIns="36000" rIns="36000" bIns="36000" anchor="ctr" anchorCtr="0"/>
                <a:lstStyle/>
                <a:p>
                  <a:pPr algn="ctr">
                    <a:defRPr/>
                  </a:pPr>
                  <a:r>
                    <a:rPr lang="en-US" sz="2400" noProof="1" smtClean="0">
                      <a:solidFill>
                        <a:srgbClr val="FFFFFF"/>
                      </a:solidFill>
                    </a:rPr>
                    <a:t>Corporate</a:t>
                  </a:r>
                  <a:br>
                    <a:rPr lang="en-US" sz="2400" noProof="1" smtClean="0">
                      <a:solidFill>
                        <a:srgbClr val="FFFFFF"/>
                      </a:solidFill>
                    </a:rPr>
                  </a:br>
                  <a:r>
                    <a:rPr lang="en-US" sz="2400" noProof="1" smtClean="0">
                      <a:solidFill>
                        <a:srgbClr val="FFFFFF"/>
                      </a:solidFill>
                    </a:rPr>
                    <a:t>Identity</a:t>
                  </a:r>
                </a:p>
              </p:txBody>
            </p:sp>
            <p:sp>
              <p:nvSpPr>
                <p:cNvPr id="36" name="Textfeld 35"/>
                <p:cNvSpPr txBox="1"/>
                <p:nvPr/>
              </p:nvSpPr>
              <p:spPr bwMode="gray">
                <a:xfrm rot="3108044">
                  <a:off x="3047783" y="3244128"/>
                  <a:ext cx="2121394" cy="18563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b="1" noProof="1" smtClean="0">
                      <a:solidFill>
                        <a:srgbClr val="000000"/>
                      </a:solidFill>
                    </a:rPr>
                    <a:t>Appearance</a:t>
                  </a:r>
                  <a:endParaRPr lang="en-US" b="1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" name="Textfeld 36"/>
                <p:cNvSpPr txBox="1"/>
                <p:nvPr/>
              </p:nvSpPr>
              <p:spPr bwMode="gray">
                <a:xfrm rot="18430265">
                  <a:off x="3944259" y="3493970"/>
                  <a:ext cx="2121394" cy="1539390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b="1" noProof="1" smtClean="0">
                      <a:solidFill>
                        <a:srgbClr val="000000"/>
                      </a:solidFill>
                    </a:rPr>
                    <a:t>Corporate behavior</a:t>
                  </a:r>
                  <a:endParaRPr lang="en-US" b="1" noProof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Textfeld 37"/>
                <p:cNvSpPr txBox="1"/>
                <p:nvPr/>
              </p:nvSpPr>
              <p:spPr bwMode="gray">
                <a:xfrm rot="18698158">
                  <a:off x="2386076" y="2213370"/>
                  <a:ext cx="2729096" cy="1885818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600" noProof="1" smtClean="0">
                      <a:solidFill>
                        <a:srgbClr val="646464"/>
                      </a:solidFill>
                    </a:rPr>
                    <a:t>Sales promotion</a:t>
                  </a:r>
                </a:p>
              </p:txBody>
            </p:sp>
            <p:sp>
              <p:nvSpPr>
                <p:cNvPr id="39" name="Textfeld 38"/>
                <p:cNvSpPr txBox="1"/>
                <p:nvPr/>
              </p:nvSpPr>
              <p:spPr bwMode="gray">
                <a:xfrm rot="2741792">
                  <a:off x="3938570" y="2239005"/>
                  <a:ext cx="2729096" cy="1724326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Up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600" noProof="1" smtClean="0">
                      <a:solidFill>
                        <a:srgbClr val="646464"/>
                      </a:solidFill>
                    </a:rPr>
                    <a:t>Media advertisement </a:t>
                  </a:r>
                </a:p>
              </p:txBody>
            </p:sp>
            <p:sp>
              <p:nvSpPr>
                <p:cNvPr id="40" name="Textfeld 39"/>
                <p:cNvSpPr txBox="1"/>
                <p:nvPr/>
              </p:nvSpPr>
              <p:spPr bwMode="gray">
                <a:xfrm rot="18900000">
                  <a:off x="3997674" y="3962398"/>
                  <a:ext cx="2729096" cy="1580445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600" noProof="1" smtClean="0">
                      <a:solidFill>
                        <a:srgbClr val="646464"/>
                      </a:solidFill>
                    </a:rPr>
                    <a:t>Public relations</a:t>
                  </a:r>
                </a:p>
              </p:txBody>
            </p:sp>
            <p:sp>
              <p:nvSpPr>
                <p:cNvPr id="41" name="Textfeld 40"/>
                <p:cNvSpPr txBox="1"/>
                <p:nvPr/>
              </p:nvSpPr>
              <p:spPr bwMode="gray">
                <a:xfrm rot="2700000">
                  <a:off x="2211280" y="3966069"/>
                  <a:ext cx="2729096" cy="1580445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ArchDown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600" noProof="1" smtClean="0">
                      <a:solidFill>
                        <a:srgbClr val="646464"/>
                      </a:solidFill>
                    </a:rPr>
                    <a:t>Direct advertisement </a:t>
                  </a:r>
                </a:p>
              </p:txBody>
            </p:sp>
          </p:grpSp>
          <p:sp>
            <p:nvSpPr>
              <p:cNvPr id="32" name="Textfeld 31"/>
              <p:cNvSpPr txBox="1"/>
              <p:nvPr/>
            </p:nvSpPr>
            <p:spPr bwMode="gray">
              <a:xfrm>
                <a:off x="3410163" y="2627842"/>
                <a:ext cx="2121394" cy="1580445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ArchUp">
                  <a:avLst/>
                </a:prstTxWarp>
                <a:spAutoFit/>
              </a:bodyPr>
              <a:lstStyle/>
              <a:p>
                <a:pPr algn="ctr"/>
                <a:r>
                  <a:rPr lang="en-US" b="1" noProof="1" smtClean="0">
                    <a:solidFill>
                      <a:srgbClr val="000000"/>
                    </a:solidFill>
                  </a:rPr>
                  <a:t>Corporate </a:t>
                </a:r>
                <a:r>
                  <a:rPr lang="en-US" b="1" noProof="1" smtClean="0">
                    <a:solidFill>
                      <a:srgbClr val="000000"/>
                    </a:solidFill>
                  </a:rPr>
                  <a:t/>
                </a:r>
                <a:br>
                  <a:rPr lang="en-US" b="1" noProof="1" smtClean="0">
                    <a:solidFill>
                      <a:srgbClr val="000000"/>
                    </a:solidFill>
                  </a:rPr>
                </a:br>
                <a:r>
                  <a:rPr lang="en-US" b="1" noProof="1" smtClean="0">
                    <a:solidFill>
                      <a:srgbClr val="000000"/>
                    </a:solidFill>
                  </a:rPr>
                  <a:t>communication</a:t>
                </a:r>
                <a:endParaRPr lang="en-US" b="1" noProof="1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648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1"/>
          <p:cNvGrpSpPr/>
          <p:nvPr/>
        </p:nvGrpSpPr>
        <p:grpSpPr bwMode="gray">
          <a:xfrm>
            <a:off x="0" y="4534215"/>
            <a:ext cx="9144000" cy="1163782"/>
            <a:chOff x="0" y="4534215"/>
            <a:chExt cx="9144000" cy="1163782"/>
          </a:xfrm>
        </p:grpSpPr>
        <p:sp>
          <p:nvSpPr>
            <p:cNvPr id="33" name="Rechteck 32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4" name="Rechteck 33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rporate Identity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etailed presentation of the three activities of a company, aligned upon a corporate philosophy </a:t>
            </a:r>
            <a:endParaRPr lang="en-US" noProof="1"/>
          </a:p>
        </p:txBody>
      </p:sp>
      <p:grpSp>
        <p:nvGrpSpPr>
          <p:cNvPr id="22" name="Gruppieren 21"/>
          <p:cNvGrpSpPr/>
          <p:nvPr/>
        </p:nvGrpSpPr>
        <p:grpSpPr>
          <a:xfrm>
            <a:off x="314488" y="1554954"/>
            <a:ext cx="8505662" cy="4436997"/>
            <a:chOff x="314488" y="1554954"/>
            <a:chExt cx="8505662" cy="4436997"/>
          </a:xfrm>
        </p:grpSpPr>
        <p:pic>
          <p:nvPicPr>
            <p:cNvPr id="28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2679700" y="5550626"/>
              <a:ext cx="3786188" cy="441325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5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4635058" y="1554954"/>
              <a:ext cx="2065440" cy="3123466"/>
            </a:xfrm>
            <a:custGeom>
              <a:avLst/>
              <a:gdLst/>
              <a:ahLst/>
              <a:cxnLst>
                <a:cxn ang="0">
                  <a:pos x="28" y="173"/>
                </a:cxn>
                <a:cxn ang="0">
                  <a:pos x="58" y="262"/>
                </a:cxn>
                <a:cxn ang="0">
                  <a:pos x="200" y="344"/>
                </a:cxn>
                <a:cxn ang="0">
                  <a:pos x="227" y="234"/>
                </a:cxn>
                <a:cxn ang="0">
                  <a:pos x="0" y="0"/>
                </a:cxn>
                <a:cxn ang="0">
                  <a:pos x="0" y="164"/>
                </a:cxn>
                <a:cxn ang="0">
                  <a:pos x="28" y="173"/>
                </a:cxn>
              </a:cxnLst>
              <a:rect l="0" t="0" r="r" b="b"/>
              <a:pathLst>
                <a:path w="227" h="344">
                  <a:moveTo>
                    <a:pt x="28" y="173"/>
                  </a:moveTo>
                  <a:cubicBezTo>
                    <a:pt x="60" y="191"/>
                    <a:pt x="72" y="230"/>
                    <a:pt x="58" y="262"/>
                  </a:cubicBezTo>
                  <a:cubicBezTo>
                    <a:pt x="200" y="344"/>
                    <a:pt x="200" y="344"/>
                    <a:pt x="200" y="344"/>
                  </a:cubicBezTo>
                  <a:cubicBezTo>
                    <a:pt x="217" y="311"/>
                    <a:pt x="227" y="274"/>
                    <a:pt x="227" y="234"/>
                  </a:cubicBezTo>
                  <a:cubicBezTo>
                    <a:pt x="227" y="107"/>
                    <a:pt x="126" y="4"/>
                    <a:pt x="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65"/>
                    <a:pt x="20" y="168"/>
                    <a:pt x="28" y="17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/>
            </a:scene3d>
            <a:sp3d>
              <a:bevelT w="38100" h="38100"/>
            </a:sp3d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b="1" noProof="1">
                <a:solidFill>
                  <a:srgbClr val="000000"/>
                </a:solidFill>
              </a:endParaRPr>
            </a:p>
          </p:txBody>
        </p:sp>
        <p:sp>
          <p:nvSpPr>
            <p:cNvPr id="6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2444294" y="1554954"/>
              <a:ext cx="2060619" cy="3123466"/>
            </a:xfrm>
            <a:custGeom>
              <a:avLst/>
              <a:gdLst/>
              <a:ahLst/>
              <a:cxnLst>
                <a:cxn ang="0">
                  <a:pos x="173" y="199"/>
                </a:cxn>
                <a:cxn ang="0">
                  <a:pos x="227" y="164"/>
                </a:cxn>
                <a:cxn ang="0">
                  <a:pos x="227" y="0"/>
                </a:cxn>
                <a:cxn ang="0">
                  <a:pos x="0" y="234"/>
                </a:cxn>
                <a:cxn ang="0">
                  <a:pos x="28" y="344"/>
                </a:cxn>
                <a:cxn ang="0">
                  <a:pos x="170" y="262"/>
                </a:cxn>
                <a:cxn ang="0">
                  <a:pos x="173" y="199"/>
                </a:cxn>
              </a:cxnLst>
              <a:rect l="0" t="0" r="r" b="b"/>
              <a:pathLst>
                <a:path w="227" h="344">
                  <a:moveTo>
                    <a:pt x="173" y="199"/>
                  </a:moveTo>
                  <a:cubicBezTo>
                    <a:pt x="185" y="178"/>
                    <a:pt x="205" y="166"/>
                    <a:pt x="227" y="164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01" y="4"/>
                    <a:pt x="0" y="107"/>
                    <a:pt x="0" y="234"/>
                  </a:cubicBezTo>
                  <a:cubicBezTo>
                    <a:pt x="0" y="274"/>
                    <a:pt x="10" y="311"/>
                    <a:pt x="28" y="344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61" y="242"/>
                    <a:pt x="162" y="219"/>
                    <a:pt x="173" y="19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/>
            </a:scene3d>
            <a:sp3d>
              <a:bevelT w="38100" h="38100"/>
            </a:sp3d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b="1" noProof="1">
                <a:solidFill>
                  <a:srgbClr val="000000"/>
                </a:solidFill>
              </a:endParaRPr>
            </a:p>
          </p:txBody>
        </p:sp>
        <p:sp>
          <p:nvSpPr>
            <p:cNvPr id="7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2760015" y="4051798"/>
              <a:ext cx="3624763" cy="1749719"/>
            </a:xfrm>
            <a:custGeom>
              <a:avLst/>
              <a:gdLst/>
              <a:ahLst/>
              <a:cxnLst>
                <a:cxn ang="0">
                  <a:pos x="164" y="20"/>
                </a:cxn>
                <a:cxn ang="0">
                  <a:pos x="142" y="0"/>
                </a:cxn>
                <a:cxn ang="0">
                  <a:pos x="0" y="82"/>
                </a:cxn>
                <a:cxn ang="0">
                  <a:pos x="199" y="193"/>
                </a:cxn>
                <a:cxn ang="0">
                  <a:pos x="398" y="82"/>
                </a:cxn>
                <a:cxn ang="0">
                  <a:pos x="256" y="0"/>
                </a:cxn>
                <a:cxn ang="0">
                  <a:pos x="164" y="20"/>
                </a:cxn>
              </a:cxnLst>
              <a:rect l="0" t="0" r="r" b="b"/>
              <a:pathLst>
                <a:path w="398" h="193">
                  <a:moveTo>
                    <a:pt x="164" y="20"/>
                  </a:moveTo>
                  <a:cubicBezTo>
                    <a:pt x="155" y="14"/>
                    <a:pt x="148" y="8"/>
                    <a:pt x="142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41" y="148"/>
                    <a:pt x="115" y="193"/>
                    <a:pt x="199" y="193"/>
                  </a:cubicBezTo>
                  <a:cubicBezTo>
                    <a:pt x="283" y="193"/>
                    <a:pt x="357" y="148"/>
                    <a:pt x="398" y="82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36" y="29"/>
                    <a:pt x="196" y="38"/>
                    <a:pt x="164" y="2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/>
            </a:scene3d>
            <a:sp3d>
              <a:bevelT w="38100" h="38100"/>
            </a:sp3d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b="1" noProof="1">
                <a:solidFill>
                  <a:srgbClr val="000000"/>
                </a:solidFill>
              </a:endParaRPr>
            </a:p>
          </p:txBody>
        </p:sp>
        <p:sp>
          <p:nvSpPr>
            <p:cNvPr id="17" name="Ellipse 16"/>
            <p:cNvSpPr/>
            <p:nvPr/>
          </p:nvSpPr>
          <p:spPr bwMode="gray">
            <a:xfrm rot="18000000">
              <a:off x="2659169" y="1808725"/>
              <a:ext cx="3531064" cy="3531062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tIns="0" rtlCol="0" anchor="t" anchorCtr="0">
              <a:prstTxWarp prst="textArchUp">
                <a:avLst/>
              </a:prstTxWarp>
            </a:bodyPr>
            <a:lstStyle/>
            <a:p>
              <a:pPr algn="ctr"/>
              <a:r>
                <a:rPr lang="en-US" b="1" noProof="1" smtClean="0"/>
                <a:t>Corporate Design</a:t>
              </a:r>
            </a:p>
            <a:p>
              <a:pPr algn="ctr"/>
              <a:endParaRPr lang="en-US" sz="1200" noProof="1"/>
            </a:p>
          </p:txBody>
        </p:sp>
        <p:sp>
          <p:nvSpPr>
            <p:cNvPr id="18" name="Ellipse 17"/>
            <p:cNvSpPr/>
            <p:nvPr/>
          </p:nvSpPr>
          <p:spPr bwMode="gray">
            <a:xfrm rot="3600000">
              <a:off x="2869369" y="1980825"/>
              <a:ext cx="3396414" cy="3396412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tIns="0" rtlCol="0" anchor="t" anchorCtr="0">
              <a:prstTxWarp prst="textArchUp">
                <a:avLst/>
              </a:prstTxWarp>
            </a:bodyPr>
            <a:lstStyle/>
            <a:p>
              <a:pPr algn="ctr"/>
              <a:r>
                <a:rPr lang="en-US" b="1" noProof="1" smtClean="0"/>
                <a:t>Corporate Communication</a:t>
              </a:r>
            </a:p>
            <a:p>
              <a:pPr algn="ctr"/>
              <a:endParaRPr lang="en-US" b="1" noProof="1" smtClean="0"/>
            </a:p>
            <a:p>
              <a:pPr algn="ctr"/>
              <a:endParaRPr lang="en-US" sz="1200" noProof="1"/>
            </a:p>
          </p:txBody>
        </p:sp>
        <p:sp>
          <p:nvSpPr>
            <p:cNvPr id="19" name="Ellipse 18"/>
            <p:cNvSpPr/>
            <p:nvPr/>
          </p:nvSpPr>
          <p:spPr bwMode="gray">
            <a:xfrm>
              <a:off x="2670885" y="1858541"/>
              <a:ext cx="3812432" cy="3812430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tIns="0" rtlCol="0" anchor="t" anchorCtr="0">
              <a:prstTxWarp prst="textArchDown">
                <a:avLst/>
              </a:prstTxWarp>
            </a:bodyPr>
            <a:lstStyle/>
            <a:p>
              <a:pPr algn="ctr"/>
              <a:r>
                <a:rPr lang="en-US" b="1" noProof="1" smtClean="0"/>
                <a:t>Corporate Behavior</a:t>
              </a:r>
              <a:r>
                <a:rPr lang="en-US" sz="2000" b="1" noProof="1" smtClean="0"/>
                <a:t/>
              </a:r>
              <a:br>
                <a:rPr lang="en-US" sz="2000" b="1" noProof="1" smtClean="0"/>
              </a:br>
              <a:endParaRPr lang="en-US" noProof="1"/>
            </a:p>
          </p:txBody>
        </p:sp>
        <p:cxnSp>
          <p:nvCxnSpPr>
            <p:cNvPr id="20" name="Gerade Verbindung 19"/>
            <p:cNvCxnSpPr/>
            <p:nvPr/>
          </p:nvCxnSpPr>
          <p:spPr bwMode="gray">
            <a:xfrm>
              <a:off x="5516628" y="2103120"/>
              <a:ext cx="1500002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 bwMode="gray">
            <a:xfrm>
              <a:off x="7054730" y="1943100"/>
              <a:ext cx="1765420" cy="2308324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en-US" sz="1600" b="1" noProof="1" smtClean="0"/>
                <a:t>Internal and external corporate communication: </a:t>
              </a:r>
              <a:br>
                <a:rPr lang="en-US" sz="1600" b="1" noProof="1" smtClean="0"/>
              </a:br>
              <a:r>
                <a:rPr lang="en-US" sz="1200" noProof="1" smtClean="0"/>
                <a:t>press releases, ads, posters, TV spots, staff newspaper, customer magazine, website, banners, Open house, company celebration, trade show appearance, packing design</a:t>
              </a:r>
              <a:endParaRPr lang="en-US" sz="1400" noProof="1"/>
            </a:p>
          </p:txBody>
        </p:sp>
        <p:cxnSp>
          <p:nvCxnSpPr>
            <p:cNvPr id="23" name="Gerade Verbindung 22"/>
            <p:cNvCxnSpPr/>
            <p:nvPr/>
          </p:nvCxnSpPr>
          <p:spPr bwMode="gray">
            <a:xfrm>
              <a:off x="1917976" y="2103120"/>
              <a:ext cx="1500002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feld 23"/>
            <p:cNvSpPr txBox="1"/>
            <p:nvPr/>
          </p:nvSpPr>
          <p:spPr bwMode="gray">
            <a:xfrm>
              <a:off x="733239" y="1943100"/>
              <a:ext cx="1204620" cy="707886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pPr algn="r"/>
              <a:r>
                <a:rPr lang="en-US" sz="1600" b="1" noProof="1" smtClean="0"/>
                <a:t>Appearance:</a:t>
              </a:r>
              <a:br>
                <a:rPr lang="en-US" sz="1600" b="1" noProof="1" smtClean="0"/>
              </a:br>
              <a:r>
                <a:rPr lang="en-US" sz="1200" noProof="1" smtClean="0"/>
                <a:t>logo, fonts,</a:t>
              </a:r>
              <a:br>
                <a:rPr lang="en-US" sz="1200" noProof="1" smtClean="0"/>
              </a:br>
              <a:r>
                <a:rPr lang="en-US" sz="1200" noProof="1" smtClean="0"/>
                <a:t>color, layout</a:t>
              </a:r>
              <a:endParaRPr lang="en-US" sz="1200" noProof="1"/>
            </a:p>
          </p:txBody>
        </p:sp>
        <p:cxnSp>
          <p:nvCxnSpPr>
            <p:cNvPr id="25" name="Gerade Verbindung 24"/>
            <p:cNvCxnSpPr/>
            <p:nvPr/>
          </p:nvCxnSpPr>
          <p:spPr bwMode="gray">
            <a:xfrm>
              <a:off x="1799284" y="5078750"/>
              <a:ext cx="1618694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 bwMode="gray">
            <a:xfrm>
              <a:off x="314488" y="5354413"/>
              <a:ext cx="2960229" cy="523220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pPr algn="r"/>
              <a:r>
                <a:rPr lang="en-US" sz="1600" b="1" noProof="1" smtClean="0"/>
                <a:t>Behavior from inside to outside</a:t>
              </a:r>
              <a:r>
                <a:rPr lang="en-US" sz="1200" b="1" noProof="1" smtClean="0"/>
                <a:t>:</a:t>
              </a:r>
              <a:r>
                <a:rPr lang="en-US" sz="1200" noProof="1" smtClean="0"/>
                <a:t/>
              </a:r>
              <a:br>
                <a:rPr lang="en-US" sz="1200" noProof="1" smtClean="0"/>
              </a:br>
              <a:r>
                <a:rPr lang="en-US" sz="1200" noProof="1" smtClean="0"/>
                <a:t>to employees, customers and suppliers</a:t>
              </a:r>
              <a:endParaRPr lang="en-US" sz="1200" noProof="1"/>
            </a:p>
          </p:txBody>
        </p:sp>
        <p:cxnSp>
          <p:nvCxnSpPr>
            <p:cNvPr id="29" name="Gerade Verbindung 28"/>
            <p:cNvCxnSpPr>
              <a:endCxn id="26" idx="0"/>
            </p:cNvCxnSpPr>
            <p:nvPr/>
          </p:nvCxnSpPr>
          <p:spPr bwMode="gray">
            <a:xfrm flipH="1">
              <a:off x="1794603" y="5078750"/>
              <a:ext cx="0" cy="275663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12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noProof="1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Graphics</a:t>
            </a:r>
            <a:endParaRPr lang="en-US" sz="6600" b="1" noProof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3412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</a:t>
            </a:r>
            <a:r>
              <a:rPr lang="en-US" b="0" noProof="1" smtClean="0"/>
              <a:t>- Graphic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90" name="Gruppieren 89"/>
          <p:cNvGrpSpPr/>
          <p:nvPr/>
        </p:nvGrpSpPr>
        <p:grpSpPr>
          <a:xfrm>
            <a:off x="1037489" y="1489485"/>
            <a:ext cx="7349477" cy="4305665"/>
            <a:chOff x="1037489" y="1489485"/>
            <a:chExt cx="7349477" cy="4305665"/>
          </a:xfrm>
        </p:grpSpPr>
        <p:grpSp>
          <p:nvGrpSpPr>
            <p:cNvPr id="4" name="Gruppieren 91"/>
            <p:cNvGrpSpPr/>
            <p:nvPr/>
          </p:nvGrpSpPr>
          <p:grpSpPr>
            <a:xfrm>
              <a:off x="1037489" y="1489485"/>
              <a:ext cx="7349477" cy="4305665"/>
              <a:chOff x="1037489" y="1489485"/>
              <a:chExt cx="7349477" cy="4305665"/>
            </a:xfrm>
          </p:grpSpPr>
          <p:grpSp>
            <p:nvGrpSpPr>
              <p:cNvPr id="5" name="Gruppieren 78"/>
              <p:cNvGrpSpPr/>
              <p:nvPr/>
            </p:nvGrpSpPr>
            <p:grpSpPr bwMode="gray">
              <a:xfrm>
                <a:off x="1943100" y="3198912"/>
                <a:ext cx="5397500" cy="2153346"/>
                <a:chOff x="-396875" y="1677194"/>
                <a:chExt cx="7273925" cy="2901951"/>
              </a:xfr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150" name="Freeform 6"/>
                <p:cNvSpPr>
                  <a:spLocks/>
                </p:cNvSpPr>
                <p:nvPr/>
              </p:nvSpPr>
              <p:spPr bwMode="gray">
                <a:xfrm>
                  <a:off x="-396875" y="1677194"/>
                  <a:ext cx="7273925" cy="2901950"/>
                </a:xfrm>
                <a:custGeom>
                  <a:avLst/>
                  <a:gdLst/>
                  <a:ahLst/>
                  <a:cxnLst>
                    <a:cxn ang="0">
                      <a:pos x="1799" y="0"/>
                    </a:cxn>
                    <a:cxn ang="0">
                      <a:pos x="0" y="513"/>
                    </a:cxn>
                    <a:cxn ang="0">
                      <a:pos x="1940" y="774"/>
                    </a:cxn>
                    <a:cxn ang="0">
                      <a:pos x="1799" y="0"/>
                    </a:cxn>
                  </a:cxnLst>
                  <a:rect l="0" t="0" r="r" b="b"/>
                  <a:pathLst>
                    <a:path w="1940" h="774">
                      <a:moveTo>
                        <a:pt x="1799" y="0"/>
                      </a:moveTo>
                      <a:cubicBezTo>
                        <a:pt x="805" y="0"/>
                        <a:pt x="204" y="188"/>
                        <a:pt x="0" y="513"/>
                      </a:cubicBezTo>
                      <a:cubicBezTo>
                        <a:pt x="1940" y="774"/>
                        <a:pt x="1940" y="774"/>
                        <a:pt x="1940" y="774"/>
                      </a:cubicBezTo>
                      <a:lnTo>
                        <a:pt x="1799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2" name="Freeform 8"/>
                <p:cNvSpPr>
                  <a:spLocks/>
                </p:cNvSpPr>
                <p:nvPr/>
              </p:nvSpPr>
              <p:spPr bwMode="gray">
                <a:xfrm>
                  <a:off x="4830762" y="2409032"/>
                  <a:ext cx="971550" cy="790575"/>
                </a:xfrm>
                <a:custGeom>
                  <a:avLst/>
                  <a:gdLst/>
                  <a:ahLst/>
                  <a:cxnLst>
                    <a:cxn ang="0">
                      <a:pos x="259" y="198"/>
                    </a:cxn>
                    <a:cxn ang="0">
                      <a:pos x="109" y="0"/>
                    </a:cxn>
                    <a:cxn ang="0">
                      <a:pos x="0" y="12"/>
                    </a:cxn>
                    <a:cxn ang="0">
                      <a:pos x="192" y="211"/>
                    </a:cxn>
                    <a:cxn ang="0">
                      <a:pos x="259" y="198"/>
                    </a:cxn>
                  </a:cxnLst>
                  <a:rect l="0" t="0" r="r" b="b"/>
                  <a:pathLst>
                    <a:path w="259" h="211">
                      <a:moveTo>
                        <a:pt x="259" y="198"/>
                      </a:moveTo>
                      <a:cubicBezTo>
                        <a:pt x="109" y="0"/>
                        <a:pt x="109" y="0"/>
                        <a:pt x="109" y="0"/>
                      </a:cubicBezTo>
                      <a:cubicBezTo>
                        <a:pt x="71" y="3"/>
                        <a:pt x="35" y="7"/>
                        <a:pt x="0" y="12"/>
                      </a:cubicBezTo>
                      <a:cubicBezTo>
                        <a:pt x="192" y="211"/>
                        <a:pt x="192" y="211"/>
                        <a:pt x="192" y="211"/>
                      </a:cubicBezTo>
                      <a:cubicBezTo>
                        <a:pt x="213" y="206"/>
                        <a:pt x="236" y="202"/>
                        <a:pt x="259" y="198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6" name="Freeform 12"/>
                <p:cNvSpPr>
                  <a:spLocks/>
                </p:cNvSpPr>
                <p:nvPr/>
              </p:nvSpPr>
              <p:spPr bwMode="gray">
                <a:xfrm>
                  <a:off x="5689600" y="2356644"/>
                  <a:ext cx="682625" cy="757238"/>
                </a:xfrm>
                <a:custGeom>
                  <a:avLst/>
                  <a:gdLst/>
                  <a:ahLst/>
                  <a:cxnLst>
                    <a:cxn ang="0">
                      <a:pos x="182" y="197"/>
                    </a:cxn>
                    <a:cxn ang="0">
                      <a:pos x="115" y="0"/>
                    </a:cxn>
                    <a:cxn ang="0">
                      <a:pos x="0" y="5"/>
                    </a:cxn>
                    <a:cxn ang="0">
                      <a:pos x="106" y="202"/>
                    </a:cxn>
                    <a:cxn ang="0">
                      <a:pos x="182" y="197"/>
                    </a:cxn>
                  </a:cxnLst>
                  <a:rect l="0" t="0" r="r" b="b"/>
                  <a:pathLst>
                    <a:path w="182" h="202">
                      <a:moveTo>
                        <a:pt x="182" y="197"/>
                      </a:moveTo>
                      <a:cubicBezTo>
                        <a:pt x="115" y="0"/>
                        <a:pt x="115" y="0"/>
                        <a:pt x="115" y="0"/>
                      </a:cubicBezTo>
                      <a:cubicBezTo>
                        <a:pt x="75" y="1"/>
                        <a:pt x="37" y="3"/>
                        <a:pt x="0" y="5"/>
                      </a:cubicBezTo>
                      <a:cubicBezTo>
                        <a:pt x="106" y="202"/>
                        <a:pt x="106" y="202"/>
                        <a:pt x="106" y="202"/>
                      </a:cubicBezTo>
                      <a:cubicBezTo>
                        <a:pt x="131" y="200"/>
                        <a:pt x="156" y="198"/>
                        <a:pt x="182" y="197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7" name="Freeform 13"/>
                <p:cNvSpPr>
                  <a:spLocks/>
                </p:cNvSpPr>
                <p:nvPr/>
              </p:nvSpPr>
              <p:spPr bwMode="gray">
                <a:xfrm>
                  <a:off x="6086475" y="3094832"/>
                  <a:ext cx="790575" cy="1484313"/>
                </a:xfrm>
                <a:custGeom>
                  <a:avLst/>
                  <a:gdLst/>
                  <a:ahLst/>
                  <a:cxnLst>
                    <a:cxn ang="0">
                      <a:pos x="211" y="396"/>
                    </a:cxn>
                    <a:cxn ang="0">
                      <a:pos x="211" y="396"/>
                    </a:cxn>
                    <a:cxn ang="0">
                      <a:pos x="211" y="396"/>
                    </a:cxn>
                    <a:cxn ang="0">
                      <a:pos x="76" y="0"/>
                    </a:cxn>
                    <a:cxn ang="0">
                      <a:pos x="0" y="5"/>
                    </a:cxn>
                    <a:cxn ang="0">
                      <a:pos x="211" y="396"/>
                    </a:cxn>
                  </a:cxnLst>
                  <a:rect l="0" t="0" r="r" b="b"/>
                  <a:pathLst>
                    <a:path w="211" h="396">
                      <a:moveTo>
                        <a:pt x="211" y="396"/>
                      </a:moveTo>
                      <a:cubicBezTo>
                        <a:pt x="211" y="396"/>
                        <a:pt x="211" y="396"/>
                        <a:pt x="211" y="396"/>
                      </a:cubicBezTo>
                      <a:cubicBezTo>
                        <a:pt x="211" y="396"/>
                        <a:pt x="211" y="396"/>
                        <a:pt x="211" y="396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50" y="1"/>
                        <a:pt x="25" y="3"/>
                        <a:pt x="0" y="5"/>
                      </a:cubicBezTo>
                      <a:lnTo>
                        <a:pt x="211" y="396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58" name="Freeform 14"/>
                <p:cNvSpPr>
                  <a:spLocks/>
                </p:cNvSpPr>
                <p:nvPr/>
              </p:nvSpPr>
              <p:spPr bwMode="gray">
                <a:xfrm>
                  <a:off x="5238750" y="2375694"/>
                  <a:ext cx="847725" cy="776288"/>
                </a:xfrm>
                <a:custGeom>
                  <a:avLst/>
                  <a:gdLst/>
                  <a:ahLst/>
                  <a:cxnLst>
                    <a:cxn ang="0">
                      <a:pos x="226" y="197"/>
                    </a:cxn>
                    <a:cxn ang="0">
                      <a:pos x="120" y="0"/>
                    </a:cxn>
                    <a:cxn ang="0">
                      <a:pos x="0" y="9"/>
                    </a:cxn>
                    <a:cxn ang="0">
                      <a:pos x="150" y="207"/>
                    </a:cxn>
                    <a:cxn ang="0">
                      <a:pos x="226" y="197"/>
                    </a:cxn>
                  </a:cxnLst>
                  <a:rect l="0" t="0" r="r" b="b"/>
                  <a:pathLst>
                    <a:path w="226" h="207">
                      <a:moveTo>
                        <a:pt x="226" y="197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79" y="2"/>
                        <a:pt x="39" y="5"/>
                        <a:pt x="0" y="9"/>
                      </a:cubicBezTo>
                      <a:cubicBezTo>
                        <a:pt x="150" y="207"/>
                        <a:pt x="150" y="207"/>
                        <a:pt x="150" y="207"/>
                      </a:cubicBezTo>
                      <a:cubicBezTo>
                        <a:pt x="175" y="203"/>
                        <a:pt x="200" y="200"/>
                        <a:pt x="226" y="197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65" name="Freeform 21"/>
                <p:cNvSpPr>
                  <a:spLocks/>
                </p:cNvSpPr>
                <p:nvPr/>
              </p:nvSpPr>
              <p:spPr bwMode="gray">
                <a:xfrm>
                  <a:off x="4332287" y="3532982"/>
                  <a:ext cx="2544763" cy="1046163"/>
                </a:xfrm>
                <a:custGeom>
                  <a:avLst/>
                  <a:gdLst/>
                  <a:ahLst/>
                  <a:cxnLst>
                    <a:cxn ang="0">
                      <a:pos x="0" y="46"/>
                    </a:cxn>
                    <a:cxn ang="0">
                      <a:pos x="679" y="279"/>
                    </a:cxn>
                    <a:cxn ang="0">
                      <a:pos x="76" y="0"/>
                    </a:cxn>
                    <a:cxn ang="0">
                      <a:pos x="0" y="46"/>
                    </a:cxn>
                  </a:cxnLst>
                  <a:rect l="0" t="0" r="r" b="b"/>
                  <a:pathLst>
                    <a:path w="679" h="279">
                      <a:moveTo>
                        <a:pt x="0" y="46"/>
                      </a:moveTo>
                      <a:cubicBezTo>
                        <a:pt x="679" y="279"/>
                        <a:pt x="679" y="279"/>
                        <a:pt x="679" y="279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48" y="15"/>
                        <a:pt x="22" y="30"/>
                        <a:pt x="0" y="46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66" name="Freeform 22"/>
                <p:cNvSpPr>
                  <a:spLocks/>
                </p:cNvSpPr>
                <p:nvPr/>
              </p:nvSpPr>
              <p:spPr bwMode="gray">
                <a:xfrm>
                  <a:off x="5205412" y="3218657"/>
                  <a:ext cx="1671638" cy="1360488"/>
                </a:xfrm>
                <a:custGeom>
                  <a:avLst/>
                  <a:gdLst/>
                  <a:ahLst/>
                  <a:cxnLst>
                    <a:cxn ang="0">
                      <a:pos x="446" y="363"/>
                    </a:cxn>
                    <a:cxn ang="0">
                      <a:pos x="69" y="0"/>
                    </a:cxn>
                    <a:cxn ang="0">
                      <a:pos x="0" y="20"/>
                    </a:cxn>
                    <a:cxn ang="0">
                      <a:pos x="446" y="363"/>
                    </a:cxn>
                    <a:cxn ang="0">
                      <a:pos x="446" y="363"/>
                    </a:cxn>
                    <a:cxn ang="0">
                      <a:pos x="446" y="363"/>
                    </a:cxn>
                  </a:cxnLst>
                  <a:rect l="0" t="0" r="r" b="b"/>
                  <a:pathLst>
                    <a:path w="446" h="363">
                      <a:moveTo>
                        <a:pt x="446" y="363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45" y="6"/>
                        <a:pt x="22" y="13"/>
                        <a:pt x="0" y="20"/>
                      </a:cubicBezTo>
                      <a:cubicBezTo>
                        <a:pt x="446" y="363"/>
                        <a:pt x="446" y="363"/>
                        <a:pt x="446" y="363"/>
                      </a:cubicBezTo>
                      <a:cubicBezTo>
                        <a:pt x="446" y="363"/>
                        <a:pt x="446" y="363"/>
                        <a:pt x="446" y="363"/>
                      </a:cubicBezTo>
                      <a:cubicBezTo>
                        <a:pt x="446" y="363"/>
                        <a:pt x="446" y="363"/>
                        <a:pt x="446" y="363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73" name="Freeform 29"/>
                <p:cNvSpPr>
                  <a:spLocks/>
                </p:cNvSpPr>
                <p:nvPr/>
              </p:nvSpPr>
              <p:spPr bwMode="gray">
                <a:xfrm>
                  <a:off x="4908550" y="3293269"/>
                  <a:ext cx="1968500" cy="1285875"/>
                </a:xfrm>
                <a:custGeom>
                  <a:avLst/>
                  <a:gdLst/>
                  <a:ahLst/>
                  <a:cxnLst>
                    <a:cxn ang="0">
                      <a:pos x="79" y="0"/>
                    </a:cxn>
                    <a:cxn ang="0">
                      <a:pos x="0" y="28"/>
                    </a:cxn>
                    <a:cxn ang="0">
                      <a:pos x="525" y="343"/>
                    </a:cxn>
                    <a:cxn ang="0">
                      <a:pos x="79" y="0"/>
                    </a:cxn>
                  </a:cxnLst>
                  <a:rect l="0" t="0" r="r" b="b"/>
                  <a:pathLst>
                    <a:path w="525" h="343">
                      <a:moveTo>
                        <a:pt x="79" y="0"/>
                      </a:moveTo>
                      <a:cubicBezTo>
                        <a:pt x="51" y="8"/>
                        <a:pt x="25" y="18"/>
                        <a:pt x="0" y="28"/>
                      </a:cubicBezTo>
                      <a:cubicBezTo>
                        <a:pt x="525" y="343"/>
                        <a:pt x="525" y="343"/>
                        <a:pt x="525" y="343"/>
                      </a:cubicBezTo>
                      <a:lnTo>
                        <a:pt x="79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74" name="Freeform 30"/>
                <p:cNvSpPr>
                  <a:spLocks/>
                </p:cNvSpPr>
                <p:nvPr/>
              </p:nvSpPr>
              <p:spPr bwMode="gray">
                <a:xfrm>
                  <a:off x="4616450" y="3398044"/>
                  <a:ext cx="2260600" cy="1181100"/>
                </a:xfrm>
                <a:custGeom>
                  <a:avLst/>
                  <a:gdLst/>
                  <a:ahLst/>
                  <a:cxnLst>
                    <a:cxn ang="0">
                      <a:pos x="78" y="0"/>
                    </a:cxn>
                    <a:cxn ang="0">
                      <a:pos x="0" y="36"/>
                    </a:cxn>
                    <a:cxn ang="0">
                      <a:pos x="603" y="315"/>
                    </a:cxn>
                    <a:cxn ang="0">
                      <a:pos x="603" y="315"/>
                    </a:cxn>
                    <a:cxn ang="0">
                      <a:pos x="603" y="315"/>
                    </a:cxn>
                    <a:cxn ang="0">
                      <a:pos x="78" y="0"/>
                    </a:cxn>
                  </a:cxnLst>
                  <a:rect l="0" t="0" r="r" b="b"/>
                  <a:pathLst>
                    <a:path w="603" h="315">
                      <a:moveTo>
                        <a:pt x="78" y="0"/>
                      </a:moveTo>
                      <a:cubicBezTo>
                        <a:pt x="50" y="11"/>
                        <a:pt x="24" y="23"/>
                        <a:pt x="0" y="36"/>
                      </a:cubicBezTo>
                      <a:cubicBezTo>
                        <a:pt x="603" y="315"/>
                        <a:pt x="603" y="315"/>
                        <a:pt x="603" y="315"/>
                      </a:cubicBezTo>
                      <a:cubicBezTo>
                        <a:pt x="603" y="315"/>
                        <a:pt x="603" y="315"/>
                        <a:pt x="603" y="315"/>
                      </a:cubicBezTo>
                      <a:cubicBezTo>
                        <a:pt x="603" y="315"/>
                        <a:pt x="603" y="315"/>
                        <a:pt x="603" y="315"/>
                      </a:cubicBez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76" name="Freeform 32"/>
                <p:cNvSpPr>
                  <a:spLocks/>
                </p:cNvSpPr>
                <p:nvPr/>
              </p:nvSpPr>
              <p:spPr bwMode="gray">
                <a:xfrm>
                  <a:off x="5549900" y="3151982"/>
                  <a:ext cx="1327150" cy="1427163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0" y="13"/>
                    </a:cxn>
                    <a:cxn ang="0">
                      <a:pos x="354" y="381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354" h="381">
                      <a:moveTo>
                        <a:pt x="67" y="0"/>
                      </a:moveTo>
                      <a:cubicBezTo>
                        <a:pt x="44" y="4"/>
                        <a:pt x="21" y="8"/>
                        <a:pt x="0" y="13"/>
                      </a:cubicBezTo>
                      <a:cubicBezTo>
                        <a:pt x="354" y="381"/>
                        <a:pt x="354" y="381"/>
                        <a:pt x="354" y="381"/>
                      </a:cubicBezTo>
                      <a:lnTo>
                        <a:pt x="67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78" name="Freeform 34"/>
                <p:cNvSpPr>
                  <a:spLocks/>
                </p:cNvSpPr>
                <p:nvPr/>
              </p:nvSpPr>
              <p:spPr bwMode="gray">
                <a:xfrm>
                  <a:off x="5802312" y="3113882"/>
                  <a:ext cx="1074738" cy="1465263"/>
                </a:xfrm>
                <a:custGeom>
                  <a:avLst/>
                  <a:gdLst/>
                  <a:ahLst/>
                  <a:cxnLst>
                    <a:cxn ang="0">
                      <a:pos x="287" y="391"/>
                    </a:cxn>
                    <a:cxn ang="0">
                      <a:pos x="76" y="0"/>
                    </a:cxn>
                    <a:cxn ang="0">
                      <a:pos x="0" y="10"/>
                    </a:cxn>
                    <a:cxn ang="0">
                      <a:pos x="287" y="391"/>
                    </a:cxn>
                  </a:cxnLst>
                  <a:rect l="0" t="0" r="r" b="b"/>
                  <a:pathLst>
                    <a:path w="287" h="391">
                      <a:moveTo>
                        <a:pt x="287" y="391"/>
                      </a:move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50" y="3"/>
                        <a:pt x="25" y="6"/>
                        <a:pt x="0" y="10"/>
                      </a:cubicBezTo>
                      <a:cubicBezTo>
                        <a:pt x="287" y="391"/>
                        <a:pt x="287" y="391"/>
                        <a:pt x="287" y="391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79" name="Freeform 35"/>
                <p:cNvSpPr>
                  <a:spLocks/>
                </p:cNvSpPr>
                <p:nvPr/>
              </p:nvSpPr>
              <p:spPr bwMode="gray">
                <a:xfrm>
                  <a:off x="1811337" y="3463132"/>
                  <a:ext cx="2254250" cy="711200"/>
                </a:xfrm>
                <a:custGeom>
                  <a:avLst/>
                  <a:gdLst/>
                  <a:ahLst/>
                  <a:cxnLst>
                    <a:cxn ang="0">
                      <a:pos x="601" y="121"/>
                    </a:cxn>
                    <a:cxn ang="0">
                      <a:pos x="93" y="0"/>
                    </a:cxn>
                    <a:cxn ang="0">
                      <a:pos x="0" y="117"/>
                    </a:cxn>
                    <a:cxn ang="0">
                      <a:pos x="0" y="117"/>
                    </a:cxn>
                    <a:cxn ang="0">
                      <a:pos x="543" y="190"/>
                    </a:cxn>
                    <a:cxn ang="0">
                      <a:pos x="543" y="190"/>
                    </a:cxn>
                    <a:cxn ang="0">
                      <a:pos x="601" y="121"/>
                    </a:cxn>
                  </a:cxnLst>
                  <a:rect l="0" t="0" r="r" b="b"/>
                  <a:pathLst>
                    <a:path w="601" h="190">
                      <a:moveTo>
                        <a:pt x="601" y="121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54" y="37"/>
                        <a:pt x="22" y="76"/>
                        <a:pt x="0" y="117"/>
                      </a:cubicBezTo>
                      <a:cubicBezTo>
                        <a:pt x="0" y="117"/>
                        <a:pt x="0" y="117"/>
                        <a:pt x="0" y="117"/>
                      </a:cubicBezTo>
                      <a:cubicBezTo>
                        <a:pt x="543" y="190"/>
                        <a:pt x="543" y="190"/>
                        <a:pt x="543" y="190"/>
                      </a:cubicBezTo>
                      <a:cubicBezTo>
                        <a:pt x="543" y="190"/>
                        <a:pt x="543" y="190"/>
                        <a:pt x="543" y="190"/>
                      </a:cubicBezTo>
                      <a:cubicBezTo>
                        <a:pt x="557" y="168"/>
                        <a:pt x="576" y="145"/>
                        <a:pt x="601" y="121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0" name="Freeform 36"/>
                <p:cNvSpPr>
                  <a:spLocks/>
                </p:cNvSpPr>
                <p:nvPr/>
              </p:nvSpPr>
              <p:spPr bwMode="gray">
                <a:xfrm>
                  <a:off x="4725987" y="1696244"/>
                  <a:ext cx="963613" cy="712788"/>
                </a:xfrm>
                <a:custGeom>
                  <a:avLst/>
                  <a:gdLst/>
                  <a:ahLst/>
                  <a:cxnLst>
                    <a:cxn ang="0">
                      <a:pos x="257" y="181"/>
                    </a:cxn>
                    <a:cxn ang="0">
                      <a:pos x="159" y="0"/>
                    </a:cxn>
                    <a:cxn ang="0">
                      <a:pos x="0" y="9"/>
                    </a:cxn>
                    <a:cxn ang="0">
                      <a:pos x="137" y="190"/>
                    </a:cxn>
                    <a:cxn ang="0">
                      <a:pos x="257" y="181"/>
                    </a:cxn>
                  </a:cxnLst>
                  <a:rect l="0" t="0" r="r" b="b"/>
                  <a:pathLst>
                    <a:path w="257" h="190">
                      <a:moveTo>
                        <a:pt x="257" y="181"/>
                      </a:moveTo>
                      <a:cubicBezTo>
                        <a:pt x="159" y="0"/>
                        <a:pt x="159" y="0"/>
                        <a:pt x="159" y="0"/>
                      </a:cubicBezTo>
                      <a:cubicBezTo>
                        <a:pt x="105" y="2"/>
                        <a:pt x="52" y="5"/>
                        <a:pt x="0" y="9"/>
                      </a:cubicBezTo>
                      <a:cubicBezTo>
                        <a:pt x="137" y="190"/>
                        <a:pt x="137" y="190"/>
                        <a:pt x="137" y="190"/>
                      </a:cubicBezTo>
                      <a:cubicBezTo>
                        <a:pt x="176" y="186"/>
                        <a:pt x="216" y="183"/>
                        <a:pt x="257" y="181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1" name="Freeform 37"/>
                <p:cNvSpPr>
                  <a:spLocks/>
                </p:cNvSpPr>
                <p:nvPr/>
              </p:nvSpPr>
              <p:spPr bwMode="gray">
                <a:xfrm>
                  <a:off x="4173537" y="1731169"/>
                  <a:ext cx="1065213" cy="722313"/>
                </a:xfrm>
                <a:custGeom>
                  <a:avLst/>
                  <a:gdLst/>
                  <a:ahLst/>
                  <a:cxnLst>
                    <a:cxn ang="0">
                      <a:pos x="284" y="181"/>
                    </a:cxn>
                    <a:cxn ang="0">
                      <a:pos x="147" y="0"/>
                    </a:cxn>
                    <a:cxn ang="0">
                      <a:pos x="0" y="11"/>
                    </a:cxn>
                    <a:cxn ang="0">
                      <a:pos x="175" y="193"/>
                    </a:cxn>
                    <a:cxn ang="0">
                      <a:pos x="284" y="181"/>
                    </a:cxn>
                  </a:cxnLst>
                  <a:rect l="0" t="0" r="r" b="b"/>
                  <a:pathLst>
                    <a:path w="284" h="193">
                      <a:moveTo>
                        <a:pt x="284" y="181"/>
                      </a:moveTo>
                      <a:cubicBezTo>
                        <a:pt x="147" y="0"/>
                        <a:pt x="147" y="0"/>
                        <a:pt x="147" y="0"/>
                      </a:cubicBezTo>
                      <a:cubicBezTo>
                        <a:pt x="97" y="3"/>
                        <a:pt x="48" y="7"/>
                        <a:pt x="0" y="11"/>
                      </a:cubicBezTo>
                      <a:cubicBezTo>
                        <a:pt x="175" y="193"/>
                        <a:pt x="175" y="193"/>
                        <a:pt x="175" y="193"/>
                      </a:cubicBezTo>
                      <a:cubicBezTo>
                        <a:pt x="210" y="188"/>
                        <a:pt x="246" y="184"/>
                        <a:pt x="284" y="181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2" name="Freeform 38"/>
                <p:cNvSpPr>
                  <a:spLocks/>
                </p:cNvSpPr>
                <p:nvPr/>
              </p:nvSpPr>
              <p:spPr bwMode="gray">
                <a:xfrm>
                  <a:off x="6119812" y="2353469"/>
                  <a:ext cx="487363" cy="741363"/>
                </a:xfrm>
                <a:custGeom>
                  <a:avLst/>
                  <a:gdLst/>
                  <a:ahLst/>
                  <a:cxnLst>
                    <a:cxn ang="0">
                      <a:pos x="67" y="198"/>
                    </a:cxn>
                    <a:cxn ang="0">
                      <a:pos x="130" y="197"/>
                    </a:cxn>
                    <a:cxn ang="0">
                      <a:pos x="94" y="0"/>
                    </a:cxn>
                    <a:cxn ang="0">
                      <a:pos x="0" y="1"/>
                    </a:cxn>
                    <a:cxn ang="0">
                      <a:pos x="67" y="198"/>
                    </a:cxn>
                  </a:cxnLst>
                  <a:rect l="0" t="0" r="r" b="b"/>
                  <a:pathLst>
                    <a:path w="130" h="198">
                      <a:moveTo>
                        <a:pt x="67" y="198"/>
                      </a:moveTo>
                      <a:cubicBezTo>
                        <a:pt x="87" y="197"/>
                        <a:pt x="108" y="197"/>
                        <a:pt x="130" y="197"/>
                      </a:cubicBezTo>
                      <a:cubicBezTo>
                        <a:pt x="94" y="0"/>
                        <a:pt x="94" y="0"/>
                        <a:pt x="94" y="0"/>
                      </a:cubicBezTo>
                      <a:cubicBezTo>
                        <a:pt x="62" y="0"/>
                        <a:pt x="30" y="0"/>
                        <a:pt x="0" y="1"/>
                      </a:cubicBezTo>
                      <a:lnTo>
                        <a:pt x="67" y="198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3" name="Freeform 39"/>
                <p:cNvSpPr>
                  <a:spLocks/>
                </p:cNvSpPr>
                <p:nvPr/>
              </p:nvSpPr>
              <p:spPr bwMode="gray">
                <a:xfrm>
                  <a:off x="5321300" y="1681957"/>
                  <a:ext cx="798513" cy="693738"/>
                </a:xfrm>
                <a:custGeom>
                  <a:avLst/>
                  <a:gdLst/>
                  <a:ahLst/>
                  <a:cxnLst>
                    <a:cxn ang="0">
                      <a:pos x="213" y="180"/>
                    </a:cxn>
                    <a:cxn ang="0">
                      <a:pos x="151" y="0"/>
                    </a:cxn>
                    <a:cxn ang="0">
                      <a:pos x="0" y="4"/>
                    </a:cxn>
                    <a:cxn ang="0">
                      <a:pos x="98" y="185"/>
                    </a:cxn>
                    <a:cxn ang="0">
                      <a:pos x="213" y="180"/>
                    </a:cxn>
                  </a:cxnLst>
                  <a:rect l="0" t="0" r="r" b="b"/>
                  <a:pathLst>
                    <a:path w="213" h="185">
                      <a:moveTo>
                        <a:pt x="213" y="180"/>
                      </a:moveTo>
                      <a:cubicBezTo>
                        <a:pt x="151" y="0"/>
                        <a:pt x="151" y="0"/>
                        <a:pt x="151" y="0"/>
                      </a:cubicBezTo>
                      <a:cubicBezTo>
                        <a:pt x="100" y="1"/>
                        <a:pt x="49" y="2"/>
                        <a:pt x="0" y="4"/>
                      </a:cubicBezTo>
                      <a:cubicBezTo>
                        <a:pt x="98" y="185"/>
                        <a:pt x="98" y="185"/>
                        <a:pt x="98" y="185"/>
                      </a:cubicBezTo>
                      <a:cubicBezTo>
                        <a:pt x="135" y="183"/>
                        <a:pt x="173" y="181"/>
                        <a:pt x="213" y="18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4" name="Freeform 40"/>
                <p:cNvSpPr>
                  <a:spLocks/>
                </p:cNvSpPr>
                <p:nvPr/>
              </p:nvSpPr>
              <p:spPr bwMode="gray">
                <a:xfrm>
                  <a:off x="3352800" y="1789907"/>
                  <a:ext cx="1338263" cy="762000"/>
                </a:xfrm>
                <a:custGeom>
                  <a:avLst/>
                  <a:gdLst/>
                  <a:ahLst/>
                  <a:cxnLst>
                    <a:cxn ang="0">
                      <a:pos x="357" y="182"/>
                    </a:cxn>
                    <a:cxn ang="0">
                      <a:pos x="168" y="0"/>
                    </a:cxn>
                    <a:cxn ang="0">
                      <a:pos x="0" y="21"/>
                    </a:cxn>
                    <a:cxn ang="0">
                      <a:pos x="237" y="203"/>
                    </a:cxn>
                    <a:cxn ang="0">
                      <a:pos x="357" y="182"/>
                    </a:cxn>
                  </a:cxnLst>
                  <a:rect l="0" t="0" r="r" b="b"/>
                  <a:pathLst>
                    <a:path w="357" h="203">
                      <a:moveTo>
                        <a:pt x="357" y="182"/>
                      </a:move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10" y="6"/>
                        <a:pt x="54" y="13"/>
                        <a:pt x="0" y="21"/>
                      </a:cubicBezTo>
                      <a:cubicBezTo>
                        <a:pt x="237" y="203"/>
                        <a:pt x="237" y="203"/>
                        <a:pt x="237" y="203"/>
                      </a:cubicBezTo>
                      <a:cubicBezTo>
                        <a:pt x="275" y="195"/>
                        <a:pt x="315" y="188"/>
                        <a:pt x="357" y="18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5" name="Freeform 41"/>
                <p:cNvSpPr>
                  <a:spLocks/>
                </p:cNvSpPr>
                <p:nvPr/>
              </p:nvSpPr>
              <p:spPr bwMode="gray">
                <a:xfrm>
                  <a:off x="5888037" y="1677194"/>
                  <a:ext cx="584200" cy="679450"/>
                </a:xfrm>
                <a:custGeom>
                  <a:avLst/>
                  <a:gdLst/>
                  <a:ahLst/>
                  <a:cxnLst>
                    <a:cxn ang="0">
                      <a:pos x="156" y="180"/>
                    </a:cxn>
                    <a:cxn ang="0">
                      <a:pos x="123" y="0"/>
                    </a:cxn>
                    <a:cxn ang="0">
                      <a:pos x="0" y="1"/>
                    </a:cxn>
                    <a:cxn ang="0">
                      <a:pos x="62" y="181"/>
                    </a:cxn>
                    <a:cxn ang="0">
                      <a:pos x="156" y="180"/>
                    </a:cxn>
                  </a:cxnLst>
                  <a:rect l="0" t="0" r="r" b="b"/>
                  <a:pathLst>
                    <a:path w="156" h="181">
                      <a:moveTo>
                        <a:pt x="156" y="180"/>
                      </a:moveTo>
                      <a:cubicBezTo>
                        <a:pt x="123" y="0"/>
                        <a:pt x="123" y="0"/>
                        <a:pt x="123" y="0"/>
                      </a:cubicBezTo>
                      <a:cubicBezTo>
                        <a:pt x="81" y="0"/>
                        <a:pt x="40" y="1"/>
                        <a:pt x="0" y="1"/>
                      </a:cubicBezTo>
                      <a:cubicBezTo>
                        <a:pt x="62" y="181"/>
                        <a:pt x="62" y="181"/>
                        <a:pt x="62" y="181"/>
                      </a:cubicBezTo>
                      <a:cubicBezTo>
                        <a:pt x="92" y="180"/>
                        <a:pt x="124" y="180"/>
                        <a:pt x="156" y="18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6" name="Freeform 42"/>
                <p:cNvSpPr>
                  <a:spLocks/>
                </p:cNvSpPr>
                <p:nvPr/>
              </p:nvSpPr>
              <p:spPr bwMode="gray">
                <a:xfrm>
                  <a:off x="165100" y="2532857"/>
                  <a:ext cx="2468563" cy="930275"/>
                </a:xfrm>
                <a:custGeom>
                  <a:avLst/>
                  <a:gdLst/>
                  <a:ahLst/>
                  <a:cxnLst>
                    <a:cxn ang="0">
                      <a:pos x="658" y="157"/>
                    </a:cxn>
                    <a:cxn ang="0">
                      <a:pos x="201" y="0"/>
                    </a:cxn>
                    <a:cxn ang="0">
                      <a:pos x="0" y="122"/>
                    </a:cxn>
                    <a:cxn ang="0">
                      <a:pos x="532" y="248"/>
                    </a:cxn>
                    <a:cxn ang="0">
                      <a:pos x="658" y="157"/>
                    </a:cxn>
                  </a:cxnLst>
                  <a:rect l="0" t="0" r="r" b="b"/>
                  <a:pathLst>
                    <a:path w="658" h="248">
                      <a:moveTo>
                        <a:pt x="658" y="157"/>
                      </a:moveTo>
                      <a:cubicBezTo>
                        <a:pt x="201" y="0"/>
                        <a:pt x="201" y="0"/>
                        <a:pt x="201" y="0"/>
                      </a:cubicBezTo>
                      <a:cubicBezTo>
                        <a:pt x="123" y="37"/>
                        <a:pt x="56" y="78"/>
                        <a:pt x="0" y="122"/>
                      </a:cubicBezTo>
                      <a:cubicBezTo>
                        <a:pt x="532" y="248"/>
                        <a:pt x="532" y="248"/>
                        <a:pt x="532" y="248"/>
                      </a:cubicBezTo>
                      <a:cubicBezTo>
                        <a:pt x="567" y="216"/>
                        <a:pt x="609" y="185"/>
                        <a:pt x="658" y="157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7" name="Freeform 43"/>
                <p:cNvSpPr>
                  <a:spLocks/>
                </p:cNvSpPr>
                <p:nvPr/>
              </p:nvSpPr>
              <p:spPr bwMode="gray">
                <a:xfrm>
                  <a:off x="3848100" y="3915569"/>
                  <a:ext cx="3028950" cy="663575"/>
                </a:xfrm>
                <a:custGeom>
                  <a:avLst/>
                  <a:gdLst/>
                  <a:ahLst/>
                  <a:cxnLst>
                    <a:cxn ang="0">
                      <a:pos x="58" y="0"/>
                    </a:cxn>
                    <a:cxn ang="0">
                      <a:pos x="0" y="69"/>
                    </a:cxn>
                    <a:cxn ang="0">
                      <a:pos x="0" y="69"/>
                    </a:cxn>
                    <a:cxn ang="0">
                      <a:pos x="808" y="177"/>
                    </a:cxn>
                    <a:cxn ang="0">
                      <a:pos x="808" y="177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808" h="177">
                      <a:moveTo>
                        <a:pt x="58" y="0"/>
                      </a:moveTo>
                      <a:cubicBezTo>
                        <a:pt x="33" y="24"/>
                        <a:pt x="14" y="47"/>
                        <a:pt x="0" y="69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808" y="177"/>
                        <a:pt x="808" y="177"/>
                        <a:pt x="808" y="177"/>
                      </a:cubicBezTo>
                      <a:cubicBezTo>
                        <a:pt x="808" y="177"/>
                        <a:pt x="808" y="177"/>
                        <a:pt x="808" y="177"/>
                      </a:cubicBezTo>
                      <a:lnTo>
                        <a:pt x="58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89" name="Freeform 45"/>
                <p:cNvSpPr>
                  <a:spLocks/>
                </p:cNvSpPr>
                <p:nvPr/>
              </p:nvSpPr>
              <p:spPr bwMode="gray">
                <a:xfrm>
                  <a:off x="-396875" y="2990057"/>
                  <a:ext cx="2557464" cy="911225"/>
                </a:xfrm>
                <a:custGeom>
                  <a:avLst/>
                  <a:gdLst/>
                  <a:ahLst/>
                  <a:cxnLst>
                    <a:cxn ang="0">
                      <a:pos x="682" y="126"/>
                    </a:cxn>
                    <a:cxn ang="0">
                      <a:pos x="150" y="0"/>
                    </a:cxn>
                    <a:cxn ang="0">
                      <a:pos x="0" y="163"/>
                    </a:cxn>
                    <a:cxn ang="0">
                      <a:pos x="589" y="243"/>
                    </a:cxn>
                    <a:cxn ang="0">
                      <a:pos x="589" y="243"/>
                    </a:cxn>
                    <a:cxn ang="0">
                      <a:pos x="682" y="126"/>
                    </a:cxn>
                  </a:cxnLst>
                  <a:rect l="0" t="0" r="r" b="b"/>
                  <a:pathLst>
                    <a:path w="682" h="243">
                      <a:moveTo>
                        <a:pt x="682" y="126"/>
                      </a:move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87" y="50"/>
                        <a:pt x="37" y="104"/>
                        <a:pt x="0" y="163"/>
                      </a:cubicBezTo>
                      <a:cubicBezTo>
                        <a:pt x="589" y="243"/>
                        <a:pt x="589" y="243"/>
                        <a:pt x="589" y="243"/>
                      </a:cubicBezTo>
                      <a:cubicBezTo>
                        <a:pt x="589" y="243"/>
                        <a:pt x="589" y="243"/>
                        <a:pt x="589" y="243"/>
                      </a:cubicBezTo>
                      <a:cubicBezTo>
                        <a:pt x="611" y="202"/>
                        <a:pt x="643" y="163"/>
                        <a:pt x="682" y="126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0" name="Freeform 46"/>
                <p:cNvSpPr>
                  <a:spLocks/>
                </p:cNvSpPr>
                <p:nvPr/>
              </p:nvSpPr>
              <p:spPr bwMode="gray">
                <a:xfrm>
                  <a:off x="919162" y="2213769"/>
                  <a:ext cx="2246313" cy="908050"/>
                </a:xfrm>
                <a:custGeom>
                  <a:avLst/>
                  <a:gdLst/>
                  <a:ahLst/>
                  <a:cxnLst>
                    <a:cxn ang="0">
                      <a:pos x="599" y="173"/>
                    </a:cxn>
                    <a:cxn ang="0">
                      <a:pos x="224" y="0"/>
                    </a:cxn>
                    <a:cxn ang="0">
                      <a:pos x="0" y="85"/>
                    </a:cxn>
                    <a:cxn ang="0">
                      <a:pos x="457" y="242"/>
                    </a:cxn>
                    <a:cxn ang="0">
                      <a:pos x="599" y="173"/>
                    </a:cxn>
                  </a:cxnLst>
                  <a:rect l="0" t="0" r="r" b="b"/>
                  <a:pathLst>
                    <a:path w="599" h="242">
                      <a:moveTo>
                        <a:pt x="599" y="173"/>
                      </a:moveTo>
                      <a:cubicBezTo>
                        <a:pt x="224" y="0"/>
                        <a:pt x="224" y="0"/>
                        <a:pt x="224" y="0"/>
                      </a:cubicBezTo>
                      <a:cubicBezTo>
                        <a:pt x="141" y="25"/>
                        <a:pt x="67" y="54"/>
                        <a:pt x="0" y="85"/>
                      </a:cubicBezTo>
                      <a:cubicBezTo>
                        <a:pt x="457" y="242"/>
                        <a:pt x="457" y="242"/>
                        <a:pt x="457" y="242"/>
                      </a:cubicBezTo>
                      <a:cubicBezTo>
                        <a:pt x="499" y="217"/>
                        <a:pt x="546" y="194"/>
                        <a:pt x="599" y="173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1" name="Freeform 47"/>
                <p:cNvSpPr>
                  <a:spLocks/>
                </p:cNvSpPr>
                <p:nvPr/>
              </p:nvSpPr>
              <p:spPr bwMode="gray">
                <a:xfrm>
                  <a:off x="1758950" y="2004219"/>
                  <a:ext cx="1954213" cy="858838"/>
                </a:xfrm>
                <a:custGeom>
                  <a:avLst/>
                  <a:gdLst/>
                  <a:ahLst/>
                  <a:cxnLst>
                    <a:cxn ang="0">
                      <a:pos x="521" y="180"/>
                    </a:cxn>
                    <a:cxn ang="0">
                      <a:pos x="221" y="0"/>
                    </a:cxn>
                    <a:cxn ang="0">
                      <a:pos x="0" y="56"/>
                    </a:cxn>
                    <a:cxn ang="0">
                      <a:pos x="375" y="229"/>
                    </a:cxn>
                    <a:cxn ang="0">
                      <a:pos x="521" y="180"/>
                    </a:cxn>
                  </a:cxnLst>
                  <a:rect l="0" t="0" r="r" b="b"/>
                  <a:pathLst>
                    <a:path w="521" h="229">
                      <a:moveTo>
                        <a:pt x="521" y="180"/>
                      </a:moveTo>
                      <a:cubicBezTo>
                        <a:pt x="221" y="0"/>
                        <a:pt x="221" y="0"/>
                        <a:pt x="221" y="0"/>
                      </a:cubicBezTo>
                      <a:cubicBezTo>
                        <a:pt x="142" y="16"/>
                        <a:pt x="68" y="35"/>
                        <a:pt x="0" y="56"/>
                      </a:cubicBezTo>
                      <a:cubicBezTo>
                        <a:pt x="375" y="229"/>
                        <a:pt x="375" y="229"/>
                        <a:pt x="375" y="229"/>
                      </a:cubicBezTo>
                      <a:cubicBezTo>
                        <a:pt x="420" y="211"/>
                        <a:pt x="469" y="195"/>
                        <a:pt x="521" y="18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2" name="Freeform 48"/>
                <p:cNvSpPr>
                  <a:spLocks/>
                </p:cNvSpPr>
                <p:nvPr/>
              </p:nvSpPr>
              <p:spPr bwMode="gray">
                <a:xfrm>
                  <a:off x="2587625" y="1869282"/>
                  <a:ext cx="1654175" cy="809625"/>
                </a:xfrm>
                <a:custGeom>
                  <a:avLst/>
                  <a:gdLst/>
                  <a:ahLst/>
                  <a:cxnLst>
                    <a:cxn ang="0">
                      <a:pos x="441" y="182"/>
                    </a:cxn>
                    <a:cxn ang="0">
                      <a:pos x="204" y="0"/>
                    </a:cxn>
                    <a:cxn ang="0">
                      <a:pos x="0" y="36"/>
                    </a:cxn>
                    <a:cxn ang="0">
                      <a:pos x="300" y="216"/>
                    </a:cxn>
                    <a:cxn ang="0">
                      <a:pos x="441" y="182"/>
                    </a:cxn>
                  </a:cxnLst>
                  <a:rect l="0" t="0" r="r" b="b"/>
                  <a:pathLst>
                    <a:path w="441" h="216">
                      <a:moveTo>
                        <a:pt x="441" y="182"/>
                      </a:moveTo>
                      <a:cubicBezTo>
                        <a:pt x="204" y="0"/>
                        <a:pt x="204" y="0"/>
                        <a:pt x="204" y="0"/>
                      </a:cubicBezTo>
                      <a:cubicBezTo>
                        <a:pt x="133" y="10"/>
                        <a:pt x="65" y="22"/>
                        <a:pt x="0" y="36"/>
                      </a:cubicBezTo>
                      <a:cubicBezTo>
                        <a:pt x="300" y="216"/>
                        <a:pt x="300" y="216"/>
                        <a:pt x="300" y="216"/>
                      </a:cubicBezTo>
                      <a:cubicBezTo>
                        <a:pt x="345" y="204"/>
                        <a:pt x="391" y="192"/>
                        <a:pt x="441" y="18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3" name="Freeform 49"/>
                <p:cNvSpPr>
                  <a:spLocks/>
                </p:cNvSpPr>
                <p:nvPr/>
              </p:nvSpPr>
              <p:spPr bwMode="gray">
                <a:xfrm>
                  <a:off x="6372225" y="3091657"/>
                  <a:ext cx="504825" cy="1487488"/>
                </a:xfrm>
                <a:custGeom>
                  <a:avLst/>
                  <a:gdLst/>
                  <a:ahLst/>
                  <a:cxnLst>
                    <a:cxn ang="0">
                      <a:pos x="135" y="397"/>
                    </a:cxn>
                    <a:cxn ang="0">
                      <a:pos x="135" y="397"/>
                    </a:cxn>
                    <a:cxn ang="0">
                      <a:pos x="63" y="0"/>
                    </a:cxn>
                    <a:cxn ang="0">
                      <a:pos x="0" y="1"/>
                    </a:cxn>
                    <a:cxn ang="0">
                      <a:pos x="135" y="397"/>
                    </a:cxn>
                  </a:cxnLst>
                  <a:rect l="0" t="0" r="r" b="b"/>
                  <a:pathLst>
                    <a:path w="135" h="397">
                      <a:moveTo>
                        <a:pt x="135" y="397"/>
                      </a:moveTo>
                      <a:cubicBezTo>
                        <a:pt x="135" y="397"/>
                        <a:pt x="135" y="397"/>
                        <a:pt x="135" y="397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41" y="0"/>
                        <a:pt x="20" y="0"/>
                        <a:pt x="0" y="1"/>
                      </a:cubicBezTo>
                      <a:lnTo>
                        <a:pt x="135" y="397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4" name="Freeform 50"/>
                <p:cNvSpPr>
                  <a:spLocks/>
                </p:cNvSpPr>
                <p:nvPr/>
              </p:nvSpPr>
              <p:spPr bwMode="gray">
                <a:xfrm>
                  <a:off x="3713162" y="2551907"/>
                  <a:ext cx="1492250" cy="846138"/>
                </a:xfrm>
                <a:custGeom>
                  <a:avLst/>
                  <a:gdLst/>
                  <a:ahLst/>
                  <a:cxnLst>
                    <a:cxn ang="0">
                      <a:pos x="398" y="198"/>
                    </a:cxn>
                    <a:cxn ang="0">
                      <a:pos x="141" y="0"/>
                    </a:cxn>
                    <a:cxn ang="0">
                      <a:pos x="0" y="34"/>
                    </a:cxn>
                    <a:cxn ang="0">
                      <a:pos x="319" y="226"/>
                    </a:cxn>
                    <a:cxn ang="0">
                      <a:pos x="398" y="198"/>
                    </a:cxn>
                  </a:cxnLst>
                  <a:rect l="0" t="0" r="r" b="b"/>
                  <a:pathLst>
                    <a:path w="398" h="226">
                      <a:moveTo>
                        <a:pt x="398" y="198"/>
                      </a:moveTo>
                      <a:cubicBezTo>
                        <a:pt x="141" y="0"/>
                        <a:pt x="141" y="0"/>
                        <a:pt x="141" y="0"/>
                      </a:cubicBezTo>
                      <a:cubicBezTo>
                        <a:pt x="91" y="10"/>
                        <a:pt x="45" y="22"/>
                        <a:pt x="0" y="34"/>
                      </a:cubicBezTo>
                      <a:cubicBezTo>
                        <a:pt x="319" y="226"/>
                        <a:pt x="319" y="226"/>
                        <a:pt x="319" y="226"/>
                      </a:cubicBezTo>
                      <a:cubicBezTo>
                        <a:pt x="344" y="216"/>
                        <a:pt x="370" y="206"/>
                        <a:pt x="398" y="198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5" name="Freeform 51"/>
                <p:cNvSpPr>
                  <a:spLocks/>
                </p:cNvSpPr>
                <p:nvPr/>
              </p:nvSpPr>
              <p:spPr bwMode="gray">
                <a:xfrm>
                  <a:off x="2160587" y="3121819"/>
                  <a:ext cx="2171700" cy="793750"/>
                </a:xfrm>
                <a:custGeom>
                  <a:avLst/>
                  <a:gdLst/>
                  <a:ahLst/>
                  <a:cxnLst>
                    <a:cxn ang="0">
                      <a:pos x="126" y="0"/>
                    </a:cxn>
                    <a:cxn ang="0">
                      <a:pos x="0" y="91"/>
                    </a:cxn>
                    <a:cxn ang="0">
                      <a:pos x="508" y="212"/>
                    </a:cxn>
                    <a:cxn ang="0">
                      <a:pos x="579" y="156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579" h="212">
                      <a:moveTo>
                        <a:pt x="126" y="0"/>
                      </a:moveTo>
                      <a:cubicBezTo>
                        <a:pt x="77" y="28"/>
                        <a:pt x="35" y="59"/>
                        <a:pt x="0" y="91"/>
                      </a:cubicBezTo>
                      <a:cubicBezTo>
                        <a:pt x="508" y="212"/>
                        <a:pt x="508" y="212"/>
                        <a:pt x="508" y="212"/>
                      </a:cubicBezTo>
                      <a:cubicBezTo>
                        <a:pt x="528" y="193"/>
                        <a:pt x="552" y="174"/>
                        <a:pt x="579" y="156"/>
                      </a:cubicBezTo>
                      <a:lnTo>
                        <a:pt x="126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6" name="Freeform 52"/>
                <p:cNvSpPr>
                  <a:spLocks/>
                </p:cNvSpPr>
                <p:nvPr/>
              </p:nvSpPr>
              <p:spPr bwMode="gray">
                <a:xfrm>
                  <a:off x="2633662" y="2863057"/>
                  <a:ext cx="1982788" cy="842963"/>
                </a:xfrm>
                <a:custGeom>
                  <a:avLst/>
                  <a:gdLst/>
                  <a:ahLst/>
                  <a:cxnLst>
                    <a:cxn ang="0">
                      <a:pos x="529" y="179"/>
                    </a:cxn>
                    <a:cxn ang="0">
                      <a:pos x="142" y="0"/>
                    </a:cxn>
                    <a:cxn ang="0">
                      <a:pos x="0" y="69"/>
                    </a:cxn>
                    <a:cxn ang="0">
                      <a:pos x="453" y="225"/>
                    </a:cxn>
                    <a:cxn ang="0">
                      <a:pos x="529" y="179"/>
                    </a:cxn>
                  </a:cxnLst>
                  <a:rect l="0" t="0" r="r" b="b"/>
                  <a:pathLst>
                    <a:path w="529" h="225">
                      <a:moveTo>
                        <a:pt x="529" y="179"/>
                      </a:moveTo>
                      <a:cubicBezTo>
                        <a:pt x="142" y="0"/>
                        <a:pt x="142" y="0"/>
                        <a:pt x="142" y="0"/>
                      </a:cubicBezTo>
                      <a:cubicBezTo>
                        <a:pt x="89" y="21"/>
                        <a:pt x="42" y="44"/>
                        <a:pt x="0" y="69"/>
                      </a:cubicBezTo>
                      <a:cubicBezTo>
                        <a:pt x="453" y="225"/>
                        <a:pt x="453" y="225"/>
                        <a:pt x="453" y="225"/>
                      </a:cubicBezTo>
                      <a:cubicBezTo>
                        <a:pt x="475" y="209"/>
                        <a:pt x="501" y="194"/>
                        <a:pt x="529" y="179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7" name="Freeform 53"/>
                <p:cNvSpPr>
                  <a:spLocks/>
                </p:cNvSpPr>
                <p:nvPr/>
              </p:nvSpPr>
              <p:spPr bwMode="gray">
                <a:xfrm>
                  <a:off x="4065587" y="3706019"/>
                  <a:ext cx="2811463" cy="873125"/>
                </a:xfrm>
                <a:custGeom>
                  <a:avLst/>
                  <a:gdLst/>
                  <a:ahLst/>
                  <a:cxnLst>
                    <a:cxn ang="0">
                      <a:pos x="71" y="0"/>
                    </a:cxn>
                    <a:cxn ang="0">
                      <a:pos x="0" y="56"/>
                    </a:cxn>
                    <a:cxn ang="0">
                      <a:pos x="750" y="233"/>
                    </a:cxn>
                    <a:cxn ang="0">
                      <a:pos x="750" y="233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50" h="233">
                      <a:moveTo>
                        <a:pt x="71" y="0"/>
                      </a:moveTo>
                      <a:cubicBezTo>
                        <a:pt x="44" y="18"/>
                        <a:pt x="20" y="37"/>
                        <a:pt x="0" y="56"/>
                      </a:cubicBezTo>
                      <a:cubicBezTo>
                        <a:pt x="750" y="233"/>
                        <a:pt x="750" y="233"/>
                        <a:pt x="750" y="233"/>
                      </a:cubicBezTo>
                      <a:cubicBezTo>
                        <a:pt x="750" y="233"/>
                        <a:pt x="750" y="233"/>
                        <a:pt x="750" y="233"/>
                      </a:cubicBez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198" name="Freeform 54"/>
                <p:cNvSpPr>
                  <a:spLocks/>
                </p:cNvSpPr>
                <p:nvPr/>
              </p:nvSpPr>
              <p:spPr bwMode="gray">
                <a:xfrm>
                  <a:off x="4241800" y="2472532"/>
                  <a:ext cx="1222375" cy="820738"/>
                </a:xfrm>
                <a:custGeom>
                  <a:avLst/>
                  <a:gdLst/>
                  <a:ahLst/>
                  <a:cxnLst>
                    <a:cxn ang="0">
                      <a:pos x="326" y="199"/>
                    </a:cxn>
                    <a:cxn ang="0">
                      <a:pos x="120" y="0"/>
                    </a:cxn>
                    <a:cxn ang="0">
                      <a:pos x="0" y="21"/>
                    </a:cxn>
                    <a:cxn ang="0">
                      <a:pos x="257" y="219"/>
                    </a:cxn>
                    <a:cxn ang="0">
                      <a:pos x="326" y="199"/>
                    </a:cxn>
                  </a:cxnLst>
                  <a:rect l="0" t="0" r="r" b="b"/>
                  <a:pathLst>
                    <a:path w="326" h="219">
                      <a:moveTo>
                        <a:pt x="326" y="199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78" y="6"/>
                        <a:pt x="38" y="13"/>
                        <a:pt x="0" y="21"/>
                      </a:cubicBezTo>
                      <a:cubicBezTo>
                        <a:pt x="257" y="219"/>
                        <a:pt x="257" y="219"/>
                        <a:pt x="257" y="219"/>
                      </a:cubicBezTo>
                      <a:cubicBezTo>
                        <a:pt x="279" y="212"/>
                        <a:pt x="302" y="205"/>
                        <a:pt x="326" y="199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200" name="Freeform 56"/>
                <p:cNvSpPr>
                  <a:spLocks/>
                </p:cNvSpPr>
                <p:nvPr/>
              </p:nvSpPr>
              <p:spPr bwMode="gray">
                <a:xfrm>
                  <a:off x="3165475" y="2678907"/>
                  <a:ext cx="1743075" cy="854075"/>
                </a:xfrm>
                <a:custGeom>
                  <a:avLst/>
                  <a:gdLst/>
                  <a:ahLst/>
                  <a:cxnLst>
                    <a:cxn ang="0">
                      <a:pos x="465" y="192"/>
                    </a:cxn>
                    <a:cxn ang="0">
                      <a:pos x="146" y="0"/>
                    </a:cxn>
                    <a:cxn ang="0">
                      <a:pos x="0" y="49"/>
                    </a:cxn>
                    <a:cxn ang="0">
                      <a:pos x="387" y="228"/>
                    </a:cxn>
                    <a:cxn ang="0">
                      <a:pos x="465" y="192"/>
                    </a:cxn>
                  </a:cxnLst>
                  <a:rect l="0" t="0" r="r" b="b"/>
                  <a:pathLst>
                    <a:path w="465" h="228">
                      <a:moveTo>
                        <a:pt x="465" y="192"/>
                      </a:moveTo>
                      <a:cubicBezTo>
                        <a:pt x="146" y="0"/>
                        <a:pt x="146" y="0"/>
                        <a:pt x="146" y="0"/>
                      </a:cubicBezTo>
                      <a:cubicBezTo>
                        <a:pt x="94" y="15"/>
                        <a:pt x="45" y="31"/>
                        <a:pt x="0" y="49"/>
                      </a:cubicBezTo>
                      <a:cubicBezTo>
                        <a:pt x="387" y="228"/>
                        <a:pt x="387" y="228"/>
                        <a:pt x="387" y="228"/>
                      </a:cubicBezTo>
                      <a:cubicBezTo>
                        <a:pt x="411" y="215"/>
                        <a:pt x="437" y="203"/>
                        <a:pt x="465" y="19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6201" name="Freeform 57"/>
                <p:cNvSpPr>
                  <a:spLocks/>
                </p:cNvSpPr>
                <p:nvPr/>
              </p:nvSpPr>
              <p:spPr bwMode="gray">
                <a:xfrm>
                  <a:off x="3983037" y="1772444"/>
                  <a:ext cx="2894013" cy="2806700"/>
                </a:xfrm>
                <a:custGeom>
                  <a:avLst/>
                  <a:gdLst/>
                  <a:ahLst/>
                  <a:cxnLst>
                    <a:cxn ang="0">
                      <a:pos x="772" y="749"/>
                    </a:cxn>
                    <a:cxn ang="0">
                      <a:pos x="418" y="381"/>
                    </a:cxn>
                    <a:cxn ang="0">
                      <a:pos x="226" y="182"/>
                    </a:cxn>
                    <a:cxn ang="0">
                      <a:pos x="51" y="0"/>
                    </a:cxn>
                    <a:cxn ang="0">
                      <a:pos x="0" y="5"/>
                    </a:cxn>
                    <a:cxn ang="0">
                      <a:pos x="189" y="187"/>
                    </a:cxn>
                    <a:cxn ang="0">
                      <a:pos x="395" y="386"/>
                    </a:cxn>
                    <a:cxn ang="0">
                      <a:pos x="772" y="749"/>
                    </a:cxn>
                  </a:cxnLst>
                  <a:rect l="0" t="0" r="r" b="b"/>
                  <a:pathLst>
                    <a:path w="772" h="749">
                      <a:moveTo>
                        <a:pt x="772" y="749"/>
                      </a:moveTo>
                      <a:cubicBezTo>
                        <a:pt x="418" y="381"/>
                        <a:pt x="418" y="381"/>
                        <a:pt x="418" y="381"/>
                      </a:cubicBezTo>
                      <a:cubicBezTo>
                        <a:pt x="226" y="182"/>
                        <a:pt x="226" y="182"/>
                        <a:pt x="226" y="182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34" y="2"/>
                        <a:pt x="17" y="3"/>
                        <a:pt x="0" y="5"/>
                      </a:cubicBezTo>
                      <a:cubicBezTo>
                        <a:pt x="189" y="187"/>
                        <a:pt x="189" y="187"/>
                        <a:pt x="189" y="187"/>
                      </a:cubicBezTo>
                      <a:cubicBezTo>
                        <a:pt x="395" y="386"/>
                        <a:pt x="395" y="386"/>
                        <a:pt x="395" y="386"/>
                      </a:cubicBezTo>
                      <a:cubicBezTo>
                        <a:pt x="772" y="749"/>
                        <a:pt x="772" y="749"/>
                        <a:pt x="772" y="7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9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gray">
              <a:xfrm>
                <a:off x="1037489" y="4444977"/>
                <a:ext cx="1710481" cy="379936"/>
              </a:xfrm>
              <a:prstGeom prst="rect">
                <a:avLst/>
              </a:prstGeom>
              <a:noFill/>
            </p:spPr>
          </p:pic>
          <p:grpSp>
            <p:nvGrpSpPr>
              <p:cNvPr id="6" name="Gruppieren 60"/>
              <p:cNvGrpSpPr/>
              <p:nvPr/>
            </p:nvGrpSpPr>
            <p:grpSpPr bwMode="gray">
              <a:xfrm>
                <a:off x="1609255" y="2443322"/>
                <a:ext cx="721520" cy="2222912"/>
                <a:chOff x="8053388" y="1397000"/>
                <a:chExt cx="1236663" cy="3810000"/>
              </a:xfrm>
              <a:gradFill flip="none" rotWithShape="1">
                <a:gsLst>
                  <a:gs pos="0">
                    <a:schemeClr val="bg1">
                      <a:lumMod val="75000"/>
                      <a:shade val="30000"/>
                      <a:satMod val="115000"/>
                    </a:schemeClr>
                  </a:gs>
                  <a:gs pos="50000">
                    <a:schemeClr val="bg1">
                      <a:lumMod val="7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96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159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7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159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8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159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99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159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106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2202299" y="3705702"/>
                <a:ext cx="1450814" cy="322258"/>
              </a:xfrm>
              <a:prstGeom prst="rect">
                <a:avLst/>
              </a:prstGeom>
              <a:noFill/>
            </p:spPr>
          </p:pic>
          <p:grpSp>
            <p:nvGrpSpPr>
              <p:cNvPr id="7" name="Gruppieren 60"/>
              <p:cNvGrpSpPr/>
              <p:nvPr/>
            </p:nvGrpSpPr>
            <p:grpSpPr bwMode="gray">
              <a:xfrm>
                <a:off x="2687256" y="2066925"/>
                <a:ext cx="592832" cy="1826442"/>
                <a:chOff x="8053388" y="1397000"/>
                <a:chExt cx="1236663" cy="3810000"/>
              </a:xfrm>
              <a:gradFill flip="none" rotWithShape="1">
                <a:gsLst>
                  <a:gs pos="0">
                    <a:schemeClr val="bg1">
                      <a:lumMod val="75000"/>
                      <a:shade val="30000"/>
                      <a:satMod val="115000"/>
                    </a:schemeClr>
                  </a:gs>
                  <a:gs pos="50000">
                    <a:schemeClr val="bg1">
                      <a:lumMod val="7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08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9685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09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9685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0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9685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1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9685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114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3556132" y="3344403"/>
                <a:ext cx="1158954" cy="257429"/>
              </a:xfrm>
              <a:prstGeom prst="rect">
                <a:avLst/>
              </a:prstGeom>
              <a:noFill/>
            </p:spPr>
          </p:pic>
          <p:grpSp>
            <p:nvGrpSpPr>
              <p:cNvPr id="8" name="Gruppieren 60"/>
              <p:cNvGrpSpPr/>
              <p:nvPr/>
            </p:nvGrpSpPr>
            <p:grpSpPr bwMode="gray">
              <a:xfrm>
                <a:off x="3943514" y="1969454"/>
                <a:ext cx="494942" cy="1524860"/>
                <a:chOff x="8053388" y="1397000"/>
                <a:chExt cx="1236663" cy="3810000"/>
              </a:xfrm>
              <a:gradFill flip="none" rotWithShape="1">
                <a:gsLst>
                  <a:gs pos="0">
                    <a:schemeClr val="bg1">
                      <a:lumMod val="75000"/>
                      <a:shade val="30000"/>
                      <a:satMod val="115000"/>
                    </a:schemeClr>
                  </a:gs>
                  <a:gs pos="50000">
                    <a:schemeClr val="bg1">
                      <a:lumMod val="7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16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651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7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651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8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651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19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651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122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gray">
              <a:xfrm>
                <a:off x="4741080" y="3167316"/>
                <a:ext cx="1041745" cy="231394"/>
              </a:xfrm>
              <a:prstGeom prst="rect">
                <a:avLst/>
              </a:prstGeom>
              <a:noFill/>
            </p:spPr>
          </p:pic>
          <p:grpSp>
            <p:nvGrpSpPr>
              <p:cNvPr id="9" name="Gruppieren 60"/>
              <p:cNvGrpSpPr/>
              <p:nvPr/>
            </p:nvGrpSpPr>
            <p:grpSpPr bwMode="gray">
              <a:xfrm>
                <a:off x="5089303" y="1948233"/>
                <a:ext cx="439432" cy="1353832"/>
                <a:chOff x="8053388" y="1397000"/>
                <a:chExt cx="1236663" cy="3810000"/>
              </a:xfrm>
              <a:solidFill>
                <a:schemeClr val="accent1"/>
              </a:soli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24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397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25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397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26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397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27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397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130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5670735" y="3111184"/>
                <a:ext cx="993778" cy="220739"/>
              </a:xfrm>
              <a:prstGeom prst="rect">
                <a:avLst/>
              </a:prstGeom>
              <a:noFill/>
            </p:spPr>
          </p:pic>
          <p:grpSp>
            <p:nvGrpSpPr>
              <p:cNvPr id="10" name="Gruppieren 60"/>
              <p:cNvGrpSpPr/>
              <p:nvPr/>
            </p:nvGrpSpPr>
            <p:grpSpPr bwMode="gray">
              <a:xfrm>
                <a:off x="6002917" y="1948233"/>
                <a:ext cx="419197" cy="1291495"/>
                <a:chOff x="8053388" y="1397000"/>
                <a:chExt cx="1236663" cy="3810000"/>
              </a:xfrm>
              <a:gradFill flip="none" rotWithShape="1">
                <a:gsLst>
                  <a:gs pos="0">
                    <a:schemeClr val="bg1">
                      <a:lumMod val="75000"/>
                      <a:shade val="30000"/>
                      <a:satMod val="115000"/>
                    </a:schemeClr>
                  </a:gs>
                  <a:gs pos="50000">
                    <a:schemeClr val="bg1">
                      <a:lumMod val="7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32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33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34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35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138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6422114" y="3098484"/>
                <a:ext cx="993778" cy="220739"/>
              </a:xfrm>
              <a:prstGeom prst="rect">
                <a:avLst/>
              </a:prstGeom>
              <a:noFill/>
            </p:spPr>
          </p:pic>
          <p:grpSp>
            <p:nvGrpSpPr>
              <p:cNvPr id="11" name="Gruppieren 60"/>
              <p:cNvGrpSpPr/>
              <p:nvPr/>
            </p:nvGrpSpPr>
            <p:grpSpPr bwMode="gray">
              <a:xfrm>
                <a:off x="6756400" y="1941996"/>
                <a:ext cx="417100" cy="1285030"/>
                <a:chOff x="8053388" y="1397000"/>
                <a:chExt cx="1236663" cy="3810000"/>
              </a:xfrm>
              <a:gradFill flip="none" rotWithShape="1">
                <a:gsLst>
                  <a:gs pos="0">
                    <a:schemeClr val="bg1">
                      <a:lumMod val="75000"/>
                      <a:shade val="30000"/>
                      <a:satMod val="115000"/>
                    </a:schemeClr>
                  </a:gs>
                  <a:gs pos="50000">
                    <a:schemeClr val="bg1">
                      <a:lumMod val="7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scene3d>
                <a:camera prst="perspectiveRelaxedModerately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40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053388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41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9110663" y="2101850"/>
                  <a:ext cx="179388" cy="1690688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42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8315325" y="2101850"/>
                  <a:ext cx="723900" cy="31051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43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8420100" y="1397000"/>
                  <a:ext cx="514350" cy="611188"/>
                </a:xfrm>
                <a:prstGeom prst="ellipse">
                  <a:avLst/>
                </a:prstGeom>
                <a:solidFill>
                  <a:srgbClr val="D7D7D7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127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  <p:pic>
            <p:nvPicPr>
              <p:cNvPr id="82" name="_effect" descr="C:\Users\marc.h\Desktop\Schatten-TEST.png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>
                <a:off x="6442380" y="5136621"/>
                <a:ext cx="1944586" cy="431936"/>
              </a:xfrm>
              <a:prstGeom prst="rect">
                <a:avLst/>
              </a:prstGeom>
              <a:noFill/>
            </p:spPr>
          </p:pic>
          <p:sp>
            <p:nvSpPr>
              <p:cNvPr id="144" name="Textfeld 143"/>
              <p:cNvSpPr txBox="1"/>
              <p:nvPr/>
            </p:nvSpPr>
            <p:spPr bwMode="gray">
              <a:xfrm>
                <a:off x="7046167" y="5518151"/>
                <a:ext cx="90890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noProof="1" smtClean="0"/>
                  <a:t>Customer</a:t>
                </a:r>
                <a:endParaRPr lang="en-US" noProof="1"/>
              </a:p>
            </p:txBody>
          </p:sp>
          <p:sp>
            <p:nvSpPr>
              <p:cNvPr id="145" name="Textfeld 144"/>
              <p:cNvSpPr txBox="1"/>
              <p:nvPr/>
            </p:nvSpPr>
            <p:spPr bwMode="gray">
              <a:xfrm>
                <a:off x="4920674" y="1489485"/>
                <a:ext cx="687560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400" noProof="1" smtClean="0"/>
                  <a:t>Own </a:t>
                </a:r>
                <a:br>
                  <a:rPr lang="en-US" sz="1400" noProof="1" smtClean="0"/>
                </a:br>
                <a:r>
                  <a:rPr lang="en-US" sz="1400" noProof="1" smtClean="0"/>
                  <a:t>Company</a:t>
                </a:r>
                <a:endParaRPr lang="en-US" sz="1400" noProof="1"/>
              </a:p>
            </p:txBody>
          </p:sp>
          <p:grpSp>
            <p:nvGrpSpPr>
              <p:cNvPr id="12" name="Gruppieren 157"/>
              <p:cNvGrpSpPr/>
              <p:nvPr/>
            </p:nvGrpSpPr>
            <p:grpSpPr bwMode="gray">
              <a:xfrm>
                <a:off x="7092401" y="2752725"/>
                <a:ext cx="820271" cy="2635435"/>
                <a:chOff x="-2842174" y="3438525"/>
                <a:chExt cx="820271" cy="2635435"/>
              </a:xfrm>
              <a:scene3d>
                <a:camera prst="perspectiveContrastingRightFacing" fov="4800000">
                  <a:rot lat="222000" lon="19800000" rev="0"/>
                </a:camera>
                <a:lightRig rig="threePt" dir="t"/>
              </a:scene3d>
            </p:grpSpPr>
            <p:sp>
              <p:nvSpPr>
                <p:cNvPr id="159" name="Freeform 27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-2842174" y="4014333"/>
                  <a:ext cx="118987" cy="1121423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0" y="403"/>
                    </a:cxn>
                    <a:cxn ang="0">
                      <a:pos x="48" y="451"/>
                    </a:cxn>
                    <a:cxn ang="0">
                      <a:pos x="48" y="403"/>
                    </a:cxn>
                    <a:cxn ang="0">
                      <a:pos x="48" y="355"/>
                    </a:cxn>
                    <a:cxn ang="0">
                      <a:pos x="48" y="96"/>
                    </a:cxn>
                    <a:cxn ang="0">
                      <a:pos x="48" y="0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48" h="451">
                      <a:moveTo>
                        <a:pt x="0" y="48"/>
                      </a:move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430"/>
                        <a:pt x="21" y="451"/>
                        <a:pt x="48" y="451"/>
                      </a:cubicBez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355"/>
                        <a:pt x="48" y="355"/>
                        <a:pt x="48" y="355"/>
                      </a:cubicBezTo>
                      <a:cubicBezTo>
                        <a:pt x="48" y="96"/>
                        <a:pt x="48" y="96"/>
                        <a:pt x="48" y="96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54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0" name="Freeform 28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-2140890" y="4014333"/>
                  <a:ext cx="118987" cy="1121423"/>
                </a:xfrm>
                <a:custGeom>
                  <a:avLst/>
                  <a:gdLst/>
                  <a:ahLst/>
                  <a:cxnLst>
                    <a:cxn ang="0">
                      <a:pos x="48" y="48"/>
                    </a:cxn>
                    <a:cxn ang="0">
                      <a:pos x="48" y="403"/>
                    </a:cxn>
                    <a:cxn ang="0">
                      <a:pos x="0" y="451"/>
                    </a:cxn>
                    <a:cxn ang="0">
                      <a:pos x="0" y="403"/>
                    </a:cxn>
                    <a:cxn ang="0">
                      <a:pos x="0" y="355"/>
                    </a:cxn>
                    <a:cxn ang="0">
                      <a:pos x="0" y="96"/>
                    </a:cxn>
                    <a:cxn ang="0">
                      <a:pos x="0" y="0"/>
                    </a:cxn>
                    <a:cxn ang="0">
                      <a:pos x="48" y="48"/>
                    </a:cxn>
                  </a:cxnLst>
                  <a:rect l="0" t="0" r="r" b="b"/>
                  <a:pathLst>
                    <a:path w="48" h="451">
                      <a:moveTo>
                        <a:pt x="48" y="48"/>
                      </a:moveTo>
                      <a:cubicBezTo>
                        <a:pt x="48" y="403"/>
                        <a:pt x="48" y="403"/>
                        <a:pt x="48" y="403"/>
                      </a:cubicBezTo>
                      <a:cubicBezTo>
                        <a:pt x="48" y="430"/>
                        <a:pt x="26" y="451"/>
                        <a:pt x="0" y="451"/>
                      </a:cubicBezTo>
                      <a:cubicBezTo>
                        <a:pt x="0" y="403"/>
                        <a:pt x="0" y="403"/>
                        <a:pt x="0" y="403"/>
                      </a:cubicBezTo>
                      <a:cubicBezTo>
                        <a:pt x="0" y="355"/>
                        <a:pt x="0" y="355"/>
                        <a:pt x="0" y="355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6" y="0"/>
                        <a:pt x="48" y="22"/>
                        <a:pt x="48" y="48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54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1" name="Freeform 29" descr="© INSCALE GmbH, 26.05.2010&#10;http://www.presentationload.com/"/>
                <p:cNvSpPr>
                  <a:spLocks/>
                </p:cNvSpPr>
                <p:nvPr/>
              </p:nvSpPr>
              <p:spPr bwMode="gray">
                <a:xfrm>
                  <a:off x="-2668433" y="4014333"/>
                  <a:ext cx="480158" cy="205962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28"/>
                    </a:cxn>
                    <a:cxn ang="0">
                      <a:pos x="48" y="828"/>
                    </a:cxn>
                    <a:cxn ang="0">
                      <a:pos x="84" y="780"/>
                    </a:cxn>
                    <a:cxn ang="0">
                      <a:pos x="84" y="451"/>
                    </a:cxn>
                    <a:cxn ang="0">
                      <a:pos x="109" y="451"/>
                    </a:cxn>
                    <a:cxn ang="0">
                      <a:pos x="109" y="780"/>
                    </a:cxn>
                    <a:cxn ang="0">
                      <a:pos x="157" y="828"/>
                    </a:cxn>
                    <a:cxn ang="0">
                      <a:pos x="193" y="828"/>
                    </a:cxn>
                    <a:cxn ang="0">
                      <a:pos x="19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3" h="828">
                      <a:moveTo>
                        <a:pt x="0" y="0"/>
                      </a:moveTo>
                      <a:cubicBezTo>
                        <a:pt x="0" y="828"/>
                        <a:pt x="0" y="828"/>
                        <a:pt x="0" y="828"/>
                      </a:cubicBezTo>
                      <a:cubicBezTo>
                        <a:pt x="48" y="828"/>
                        <a:pt x="48" y="828"/>
                        <a:pt x="48" y="828"/>
                      </a:cubicBezTo>
                      <a:cubicBezTo>
                        <a:pt x="75" y="828"/>
                        <a:pt x="84" y="807"/>
                        <a:pt x="84" y="780"/>
                      </a:cubicBezTo>
                      <a:cubicBezTo>
                        <a:pt x="84" y="780"/>
                        <a:pt x="84" y="462"/>
                        <a:pt x="84" y="451"/>
                      </a:cubicBezTo>
                      <a:cubicBezTo>
                        <a:pt x="84" y="440"/>
                        <a:pt x="109" y="439"/>
                        <a:pt x="109" y="451"/>
                      </a:cubicBezTo>
                      <a:cubicBezTo>
                        <a:pt x="109" y="463"/>
                        <a:pt x="109" y="780"/>
                        <a:pt x="109" y="780"/>
                      </a:cubicBezTo>
                      <a:cubicBezTo>
                        <a:pt x="109" y="807"/>
                        <a:pt x="130" y="828"/>
                        <a:pt x="157" y="828"/>
                      </a:cubicBezTo>
                      <a:cubicBezTo>
                        <a:pt x="193" y="828"/>
                        <a:pt x="193" y="828"/>
                        <a:pt x="193" y="828"/>
                      </a:cubicBezTo>
                      <a:cubicBezTo>
                        <a:pt x="193" y="0"/>
                        <a:pt x="193" y="0"/>
                        <a:pt x="193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54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2" name="Oval 30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-2598936" y="3546810"/>
                  <a:ext cx="341165" cy="405397"/>
                </a:xfrm>
                <a:prstGeom prst="ellipse">
                  <a:avLst/>
                </a:prstGeom>
                <a:solidFill>
                  <a:srgbClr val="C00000"/>
                </a:solidFill>
                <a:ln w="9" cap="flat">
                  <a:noFill/>
                  <a:prstDash val="solid"/>
                  <a:miter lim="800000"/>
                  <a:headEnd/>
                  <a:tailEnd/>
                </a:ln>
                <a:sp3d extrusionH="254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  <p:sp>
              <p:nvSpPr>
                <p:cNvPr id="163" name="Freeform 69"/>
                <p:cNvSpPr>
                  <a:spLocks/>
                </p:cNvSpPr>
                <p:nvPr/>
              </p:nvSpPr>
              <p:spPr bwMode="gray">
                <a:xfrm>
                  <a:off x="-2601900" y="3438525"/>
                  <a:ext cx="339723" cy="212222"/>
                </a:xfrm>
                <a:custGeom>
                  <a:avLst/>
                  <a:gdLst/>
                  <a:ahLst/>
                  <a:cxnLst>
                    <a:cxn ang="0">
                      <a:pos x="803" y="0"/>
                    </a:cxn>
                    <a:cxn ang="0">
                      <a:pos x="668" y="246"/>
                    </a:cxn>
                    <a:cxn ang="0">
                      <a:pos x="536" y="0"/>
                    </a:cxn>
                    <a:cxn ang="0">
                      <a:pos x="401" y="246"/>
                    </a:cxn>
                    <a:cxn ang="0">
                      <a:pos x="267" y="0"/>
                    </a:cxn>
                    <a:cxn ang="0">
                      <a:pos x="132" y="246"/>
                    </a:cxn>
                    <a:cxn ang="0">
                      <a:pos x="0" y="0"/>
                    </a:cxn>
                    <a:cxn ang="0">
                      <a:pos x="0" y="506"/>
                    </a:cxn>
                    <a:cxn ang="0">
                      <a:pos x="810" y="506"/>
                    </a:cxn>
                    <a:cxn ang="0">
                      <a:pos x="810" y="0"/>
                    </a:cxn>
                    <a:cxn ang="0">
                      <a:pos x="803" y="0"/>
                    </a:cxn>
                  </a:cxnLst>
                  <a:rect l="0" t="0" r="r" b="b"/>
                  <a:pathLst>
                    <a:path w="810" h="506">
                      <a:moveTo>
                        <a:pt x="803" y="0"/>
                      </a:moveTo>
                      <a:lnTo>
                        <a:pt x="668" y="246"/>
                      </a:lnTo>
                      <a:lnTo>
                        <a:pt x="536" y="0"/>
                      </a:lnTo>
                      <a:lnTo>
                        <a:pt x="401" y="246"/>
                      </a:lnTo>
                      <a:lnTo>
                        <a:pt x="267" y="0"/>
                      </a:lnTo>
                      <a:lnTo>
                        <a:pt x="132" y="246"/>
                      </a:lnTo>
                      <a:lnTo>
                        <a:pt x="0" y="0"/>
                      </a:lnTo>
                      <a:lnTo>
                        <a:pt x="0" y="506"/>
                      </a:lnTo>
                      <a:lnTo>
                        <a:pt x="810" y="506"/>
                      </a:lnTo>
                      <a:lnTo>
                        <a:pt x="810" y="0"/>
                      </a:lnTo>
                      <a:lnTo>
                        <a:pt x="803" y="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  <a:sp3d z="38100" extrusionH="254000">
                  <a:bevelT w="12700" h="12700"/>
                  <a:bevelB w="12700" h="12700"/>
                </a:sp3d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1"/>
                </a:p>
              </p:txBody>
            </p:sp>
          </p:grpSp>
        </p:grpSp>
        <p:sp>
          <p:nvSpPr>
            <p:cNvPr id="84" name="Textfeld 83"/>
            <p:cNvSpPr txBox="1"/>
            <p:nvPr/>
          </p:nvSpPr>
          <p:spPr bwMode="gray">
            <a:xfrm>
              <a:off x="1860913" y="2964418"/>
              <a:ext cx="21320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6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1</a:t>
              </a:r>
              <a:endParaRPr lang="en-US" sz="1600" b="1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5" name="Textfeld 84"/>
            <p:cNvSpPr txBox="1"/>
            <p:nvPr/>
          </p:nvSpPr>
          <p:spPr bwMode="gray">
            <a:xfrm>
              <a:off x="2886092" y="2509114"/>
              <a:ext cx="18594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4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2</a:t>
              </a:r>
              <a:endParaRPr lang="en-US" sz="1400" b="1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6" name="Textfeld 85"/>
            <p:cNvSpPr txBox="1"/>
            <p:nvPr/>
          </p:nvSpPr>
          <p:spPr bwMode="gray">
            <a:xfrm>
              <a:off x="4102187" y="2341295"/>
              <a:ext cx="16030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2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3</a:t>
              </a:r>
              <a:endParaRPr lang="en-US" sz="1200" b="1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7" name="Textfeld 86"/>
            <p:cNvSpPr txBox="1"/>
            <p:nvPr/>
          </p:nvSpPr>
          <p:spPr bwMode="gray">
            <a:xfrm>
              <a:off x="6136852" y="2265095"/>
              <a:ext cx="147476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1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4</a:t>
              </a:r>
              <a:endParaRPr lang="en-US" sz="1100" b="1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8" name="Textfeld 87"/>
            <p:cNvSpPr txBox="1"/>
            <p:nvPr/>
          </p:nvSpPr>
          <p:spPr bwMode="gray">
            <a:xfrm>
              <a:off x="6898931" y="2255570"/>
              <a:ext cx="139462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105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5</a:t>
              </a:r>
              <a:endParaRPr lang="en-US" sz="1050" b="1" noProof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3" name="Textfeld 12"/>
          <p:cNvSpPr txBox="1"/>
          <p:nvPr/>
        </p:nvSpPr>
        <p:spPr>
          <a:xfrm flipH="1">
            <a:off x="3111074" y="3726773"/>
            <a:ext cx="1664879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  <a:scene3d>
              <a:camera prst="isometricOffAxis2Right">
                <a:rot lat="718567" lon="18956253" rev="665437"/>
              </a:camera>
              <a:lightRig rig="threePt" dir="t"/>
            </a:scene3d>
          </a:bodyPr>
          <a:lstStyle/>
          <a:p>
            <a:pPr algn="ctr"/>
            <a:r>
              <a:rPr lang="en-US" sz="2800" noProof="1" smtClean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Competitor</a:t>
            </a:r>
            <a:endParaRPr lang="en-US" sz="2800" noProof="1">
              <a:solidFill>
                <a:schemeClr val="bg1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Graphic </a:t>
            </a:r>
            <a:r>
              <a:rPr lang="en-US" b="0" noProof="1" smtClean="0"/>
              <a:t>- Marketing vs. Strategy Signs</a:t>
            </a:r>
          </a:p>
        </p:txBody>
      </p:sp>
      <p:grpSp>
        <p:nvGrpSpPr>
          <p:cNvPr id="2" name="Gruppieren 8"/>
          <p:cNvGrpSpPr/>
          <p:nvPr/>
        </p:nvGrpSpPr>
        <p:grpSpPr bwMode="gray">
          <a:xfrm>
            <a:off x="2177144" y="2031741"/>
            <a:ext cx="4620532" cy="4826258"/>
            <a:chOff x="2667000" y="2679293"/>
            <a:chExt cx="4130675" cy="4314591"/>
          </a:xfrm>
        </p:grpSpPr>
        <p:sp>
          <p:nvSpPr>
            <p:cNvPr id="10" name="Rechteck 9"/>
            <p:cNvSpPr/>
            <p:nvPr/>
          </p:nvSpPr>
          <p:spPr bwMode="gray">
            <a:xfrm rot="16200000">
              <a:off x="2521806" y="4735788"/>
              <a:ext cx="4279261" cy="236932"/>
            </a:xfrm>
            <a:prstGeom prst="rect">
              <a:avLst/>
            </a:prstGeom>
            <a:gradFill>
              <a:gsLst>
                <a:gs pos="25000">
                  <a:srgbClr val="C0C0C0"/>
                </a:gs>
                <a:gs pos="0">
                  <a:srgbClr val="969696"/>
                </a:gs>
                <a:gs pos="62000">
                  <a:srgbClr val="B2B2B2"/>
                </a:gs>
                <a:gs pos="42000">
                  <a:srgbClr val="292929"/>
                </a:gs>
                <a:gs pos="82001">
                  <a:srgbClr val="777777"/>
                </a:gs>
                <a:gs pos="100000">
                  <a:srgbClr val="EAEAEA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grpSp>
          <p:nvGrpSpPr>
            <p:cNvPr id="3" name="Gruppieren 19"/>
            <p:cNvGrpSpPr/>
            <p:nvPr/>
          </p:nvGrpSpPr>
          <p:grpSpPr bwMode="gray">
            <a:xfrm>
              <a:off x="2714625" y="2679293"/>
              <a:ext cx="4083050" cy="1001220"/>
              <a:chOff x="1816100" y="3675423"/>
              <a:chExt cx="5194300" cy="1273716"/>
            </a:xfrm>
            <a:scene3d>
              <a:camera prst="perspectiveContrastingRightFacing">
                <a:rot lat="20520000" lon="18271439" rev="21421421"/>
              </a:camera>
              <a:lightRig rig="threePt" dir="t"/>
            </a:scene3d>
          </p:grpSpPr>
          <p:sp>
            <p:nvSpPr>
              <p:cNvPr id="18" name="Abgerundetes Rechteck 17"/>
              <p:cNvSpPr/>
              <p:nvPr/>
            </p:nvSpPr>
            <p:spPr bwMode="gray">
              <a:xfrm>
                <a:off x="1816100" y="3675423"/>
                <a:ext cx="5194300" cy="1273716"/>
              </a:xfrm>
              <a:prstGeom prst="roundRect">
                <a:avLst>
                  <a:gd name="adj" fmla="val 3968"/>
                </a:avLst>
              </a:prstGeom>
              <a:gradFill>
                <a:gsLst>
                  <a:gs pos="0">
                    <a:srgbClr val="215A33"/>
                  </a:gs>
                  <a:gs pos="61000">
                    <a:srgbClr val="1A4628"/>
                  </a:gs>
                </a:gsLst>
                <a:lin ang="2700000" scaled="0"/>
              </a:gradFill>
              <a:ln w="76200">
                <a:solidFill>
                  <a:srgbClr val="FFFFFF"/>
                </a:solidFill>
              </a:ln>
              <a:effectLst/>
              <a:sp3d>
                <a:bevelT w="165100" h="63500" prst="coolSlant"/>
                <a:bevelB w="165100" h="635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numCol="1" rtlCol="0" anchor="ctr"/>
              <a:lstStyle/>
              <a:p>
                <a:pPr lvl="0" algn="ctr">
                  <a:lnSpc>
                    <a:spcPts val="6000"/>
                  </a:lnSpc>
                </a:pPr>
                <a:r>
                  <a:rPr lang="en-US" sz="4400" b="1" noProof="1" smtClean="0">
                    <a:solidFill>
                      <a:prstClr val="white"/>
                    </a:solidFill>
                    <a:cs typeface="Arial" pitchFamily="34" charset="0"/>
                  </a:rPr>
                  <a:t>MARKETING</a:t>
                </a:r>
                <a:endParaRPr lang="en-US" sz="2800" b="1" noProof="1" smtClean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19" name="Textfeld 18"/>
              <p:cNvSpPr txBox="1"/>
              <p:nvPr/>
            </p:nvSpPr>
            <p:spPr bwMode="gray">
              <a:xfrm>
                <a:off x="6362930" y="3990974"/>
                <a:ext cx="477282" cy="350032"/>
              </a:xfrm>
              <a:prstGeom prst="rect">
                <a:avLst/>
              </a:prstGeom>
              <a:noFill/>
              <a:sp3d>
                <a:bevelT w="165100" prst="coolSlant"/>
                <a:bevelB w="165100" prst="coolSlant"/>
              </a:sp3d>
            </p:spPr>
            <p:txBody>
              <a:bodyPr wrap="none" lIns="0" tIns="0" rIns="0" bIns="0" rtlCol="0">
                <a:spAutoFit/>
              </a:bodyPr>
              <a:lstStyle/>
              <a:p>
                <a:pPr algn="r"/>
                <a:r>
                  <a:rPr lang="en-US" sz="2000" b="1" noProof="1" smtClean="0">
                    <a:solidFill>
                      <a:prstClr val="white"/>
                    </a:solidFill>
                    <a:cs typeface="Arial" pitchFamily="34" charset="0"/>
                  </a:rPr>
                  <a:t>AVE</a:t>
                </a:r>
                <a:endParaRPr lang="en-US" sz="2000" noProof="1"/>
              </a:p>
            </p:txBody>
          </p:sp>
        </p:grpSp>
        <p:grpSp>
          <p:nvGrpSpPr>
            <p:cNvPr id="4" name="Gruppieren 28"/>
            <p:cNvGrpSpPr/>
            <p:nvPr/>
          </p:nvGrpSpPr>
          <p:grpSpPr bwMode="gray">
            <a:xfrm>
              <a:off x="2667000" y="4019215"/>
              <a:ext cx="4083050" cy="1001220"/>
              <a:chOff x="1816100" y="3744180"/>
              <a:chExt cx="5194300" cy="1273716"/>
            </a:xfrm>
            <a:scene3d>
              <a:camera prst="perspectiveContrastingRightFacing">
                <a:rot lat="21215452" lon="2431329" rev="21594078"/>
              </a:camera>
              <a:lightRig rig="threePt" dir="t"/>
            </a:scene3d>
          </p:grpSpPr>
          <p:sp>
            <p:nvSpPr>
              <p:cNvPr id="16" name="Abgerundetes Rechteck 15"/>
              <p:cNvSpPr/>
              <p:nvPr/>
            </p:nvSpPr>
            <p:spPr bwMode="gray">
              <a:xfrm>
                <a:off x="1816100" y="3744180"/>
                <a:ext cx="5194300" cy="1273716"/>
              </a:xfrm>
              <a:prstGeom prst="roundRect">
                <a:avLst>
                  <a:gd name="adj" fmla="val 3968"/>
                </a:avLst>
              </a:prstGeom>
              <a:gradFill>
                <a:gsLst>
                  <a:gs pos="0">
                    <a:srgbClr val="215A33"/>
                  </a:gs>
                  <a:gs pos="61000">
                    <a:srgbClr val="1A4628"/>
                  </a:gs>
                </a:gsLst>
                <a:lin ang="2700000" scaled="0"/>
              </a:gradFill>
              <a:ln w="76200">
                <a:solidFill>
                  <a:srgbClr val="FFFFFF"/>
                </a:solidFill>
              </a:ln>
              <a:effectLst/>
              <a:sp3d>
                <a:bevelT w="165100" prst="coolSlant"/>
                <a:bevelB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numCol="1" rtlCol="0" anchor="ctr"/>
              <a:lstStyle/>
              <a:p>
                <a:pPr lvl="0" algn="ctr">
                  <a:lnSpc>
                    <a:spcPts val="6000"/>
                  </a:lnSpc>
                </a:pPr>
                <a:r>
                  <a:rPr lang="en-US" sz="4400" b="1" noProof="1" smtClean="0">
                    <a:solidFill>
                      <a:prstClr val="white"/>
                    </a:solidFill>
                    <a:cs typeface="Arial" pitchFamily="34" charset="0"/>
                  </a:rPr>
                  <a:t>STRATEGY</a:t>
                </a:r>
                <a:endParaRPr lang="en-US" sz="2800" b="1" noProof="1" smtClean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17" name="Textfeld 16"/>
              <p:cNvSpPr txBox="1"/>
              <p:nvPr/>
            </p:nvSpPr>
            <p:spPr bwMode="gray">
              <a:xfrm>
                <a:off x="6542015" y="3853458"/>
                <a:ext cx="279734" cy="350032"/>
              </a:xfrm>
              <a:prstGeom prst="rect">
                <a:avLst/>
              </a:prstGeom>
              <a:noFill/>
              <a:sp3d>
                <a:bevelT w="165100" prst="coolSlant"/>
                <a:bevelB w="165100" prst="coolSlant"/>
              </a:sp3d>
            </p:spPr>
            <p:txBody>
              <a:bodyPr wrap="none" lIns="0" tIns="0" rIns="0" bIns="0" rtlCol="0">
                <a:spAutoFit/>
              </a:bodyPr>
              <a:lstStyle/>
              <a:p>
                <a:pPr algn="r"/>
                <a:r>
                  <a:rPr lang="en-US" sz="2000" b="1" noProof="1" smtClean="0">
                    <a:solidFill>
                      <a:prstClr val="white"/>
                    </a:solidFill>
                    <a:cs typeface="Arial" pitchFamily="34" charset="0"/>
                  </a:rPr>
                  <a:t>ST</a:t>
                </a:r>
                <a:endParaRPr lang="en-US" sz="2000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958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1"/>
              <a:t>Graphic </a:t>
            </a:r>
            <a:r>
              <a:rPr lang="de-DE" b="0" noProof="1" smtClean="0"/>
              <a:t>- 3D Cart</a:t>
            </a:r>
            <a:endParaRPr lang="de-DE" b="0" noProof="1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de-DE" dirty="0"/>
          </a:p>
        </p:txBody>
      </p:sp>
      <p:sp>
        <p:nvSpPr>
          <p:cNvPr id="5131" name="Freeform 11"/>
          <p:cNvSpPr>
            <a:spLocks noEditPoints="1"/>
          </p:cNvSpPr>
          <p:nvPr/>
        </p:nvSpPr>
        <p:spPr bwMode="gray">
          <a:xfrm>
            <a:off x="2079135" y="1916114"/>
            <a:ext cx="4231003" cy="3525836"/>
          </a:xfrm>
          <a:custGeom>
            <a:avLst/>
            <a:gdLst/>
            <a:ahLst/>
            <a:cxnLst>
              <a:cxn ang="0">
                <a:pos x="643" y="1154"/>
              </a:cxn>
              <a:cxn ang="0">
                <a:pos x="1503" y="964"/>
              </a:cxn>
              <a:cxn ang="0">
                <a:pos x="1722" y="340"/>
              </a:cxn>
              <a:cxn ang="0">
                <a:pos x="408" y="340"/>
              </a:cxn>
              <a:cxn ang="0">
                <a:pos x="95" y="11"/>
              </a:cxn>
              <a:cxn ang="0">
                <a:pos x="60" y="0"/>
              </a:cxn>
              <a:cxn ang="0">
                <a:pos x="60" y="120"/>
              </a:cxn>
              <a:cxn ang="0">
                <a:pos x="63" y="120"/>
              </a:cxn>
              <a:cxn ang="0">
                <a:pos x="577" y="1197"/>
              </a:cxn>
              <a:cxn ang="0">
                <a:pos x="660" y="1435"/>
              </a:cxn>
              <a:cxn ang="0">
                <a:pos x="762" y="1215"/>
              </a:cxn>
              <a:cxn ang="0">
                <a:pos x="1271" y="1301"/>
              </a:cxn>
              <a:cxn ang="0">
                <a:pos x="1538" y="1301"/>
              </a:cxn>
              <a:cxn ang="0">
                <a:pos x="1586" y="1215"/>
              </a:cxn>
              <a:cxn ang="0">
                <a:pos x="1598" y="1165"/>
              </a:cxn>
              <a:cxn ang="0">
                <a:pos x="1086" y="611"/>
              </a:cxn>
              <a:cxn ang="0">
                <a:pos x="1364" y="394"/>
              </a:cxn>
              <a:cxn ang="0">
                <a:pos x="1086" y="611"/>
              </a:cxn>
              <a:cxn ang="0">
                <a:pos x="1269" y="910"/>
              </a:cxn>
              <a:cxn ang="0">
                <a:pos x="1086" y="665"/>
              </a:cxn>
              <a:cxn ang="0">
                <a:pos x="1018" y="611"/>
              </a:cxn>
              <a:cxn ang="0">
                <a:pos x="748" y="394"/>
              </a:cxn>
              <a:cxn ang="0">
                <a:pos x="1018" y="611"/>
              </a:cxn>
              <a:cxn ang="0">
                <a:pos x="1018" y="910"/>
              </a:cxn>
              <a:cxn ang="0">
                <a:pos x="798" y="665"/>
              </a:cxn>
              <a:cxn ang="0">
                <a:pos x="775" y="910"/>
              </a:cxn>
              <a:cxn ang="0">
                <a:pos x="502" y="665"/>
              </a:cxn>
              <a:cxn ang="0">
                <a:pos x="775" y="910"/>
              </a:cxn>
              <a:cxn ang="0">
                <a:pos x="1382" y="665"/>
              </a:cxn>
              <a:cxn ang="0">
                <a:pos x="1517" y="910"/>
              </a:cxn>
              <a:cxn ang="0">
                <a:pos x="1592" y="611"/>
              </a:cxn>
              <a:cxn ang="0">
                <a:pos x="1432" y="394"/>
              </a:cxn>
              <a:cxn ang="0">
                <a:pos x="1592" y="611"/>
              </a:cxn>
              <a:cxn ang="0">
                <a:pos x="720" y="611"/>
              </a:cxn>
              <a:cxn ang="0">
                <a:pos x="424" y="394"/>
              </a:cxn>
            </a:cxnLst>
            <a:rect l="0" t="0" r="r" b="b"/>
            <a:pathLst>
              <a:path w="1722" h="1435">
                <a:moveTo>
                  <a:pt x="1586" y="1154"/>
                </a:moveTo>
                <a:cubicBezTo>
                  <a:pt x="643" y="1154"/>
                  <a:pt x="643" y="1154"/>
                  <a:pt x="643" y="1154"/>
                </a:cubicBezTo>
                <a:cubicBezTo>
                  <a:pt x="588" y="964"/>
                  <a:pt x="588" y="964"/>
                  <a:pt x="588" y="964"/>
                </a:cubicBezTo>
                <a:cubicBezTo>
                  <a:pt x="1503" y="964"/>
                  <a:pt x="1503" y="964"/>
                  <a:pt x="1503" y="964"/>
                </a:cubicBezTo>
                <a:cubicBezTo>
                  <a:pt x="1563" y="964"/>
                  <a:pt x="1563" y="964"/>
                  <a:pt x="1563" y="964"/>
                </a:cubicBezTo>
                <a:cubicBezTo>
                  <a:pt x="1722" y="340"/>
                  <a:pt x="1722" y="340"/>
                  <a:pt x="1722" y="340"/>
                </a:cubicBezTo>
                <a:cubicBezTo>
                  <a:pt x="1660" y="340"/>
                  <a:pt x="1660" y="340"/>
                  <a:pt x="1660" y="340"/>
                </a:cubicBezTo>
                <a:cubicBezTo>
                  <a:pt x="408" y="340"/>
                  <a:pt x="408" y="340"/>
                  <a:pt x="408" y="340"/>
                </a:cubicBezTo>
                <a:cubicBezTo>
                  <a:pt x="351" y="142"/>
                  <a:pt x="351" y="142"/>
                  <a:pt x="351" y="142"/>
                </a:cubicBezTo>
                <a:cubicBezTo>
                  <a:pt x="95" y="11"/>
                  <a:pt x="95" y="11"/>
                  <a:pt x="95" y="11"/>
                </a:cubicBezTo>
                <a:cubicBezTo>
                  <a:pt x="95" y="11"/>
                  <a:pt x="95" y="11"/>
                  <a:pt x="95" y="11"/>
                </a:cubicBezTo>
                <a:cubicBezTo>
                  <a:pt x="85" y="4"/>
                  <a:pt x="73" y="0"/>
                  <a:pt x="60" y="0"/>
                </a:cubicBezTo>
                <a:cubicBezTo>
                  <a:pt x="27" y="0"/>
                  <a:pt x="0" y="27"/>
                  <a:pt x="0" y="60"/>
                </a:cubicBezTo>
                <a:cubicBezTo>
                  <a:pt x="0" y="93"/>
                  <a:pt x="27" y="120"/>
                  <a:pt x="60" y="120"/>
                </a:cubicBezTo>
                <a:cubicBezTo>
                  <a:pt x="61" y="120"/>
                  <a:pt x="62" y="120"/>
                  <a:pt x="63" y="120"/>
                </a:cubicBezTo>
                <a:cubicBezTo>
                  <a:pt x="63" y="120"/>
                  <a:pt x="63" y="120"/>
                  <a:pt x="63" y="120"/>
                </a:cubicBezTo>
                <a:cubicBezTo>
                  <a:pt x="277" y="157"/>
                  <a:pt x="277" y="157"/>
                  <a:pt x="277" y="157"/>
                </a:cubicBezTo>
                <a:cubicBezTo>
                  <a:pt x="577" y="1197"/>
                  <a:pt x="577" y="1197"/>
                  <a:pt x="577" y="1197"/>
                </a:cubicBezTo>
                <a:cubicBezTo>
                  <a:pt x="546" y="1221"/>
                  <a:pt x="527" y="1259"/>
                  <a:pt x="527" y="1301"/>
                </a:cubicBezTo>
                <a:cubicBezTo>
                  <a:pt x="527" y="1375"/>
                  <a:pt x="586" y="1435"/>
                  <a:pt x="660" y="1435"/>
                </a:cubicBezTo>
                <a:cubicBezTo>
                  <a:pt x="734" y="1435"/>
                  <a:pt x="794" y="1375"/>
                  <a:pt x="794" y="1301"/>
                </a:cubicBezTo>
                <a:cubicBezTo>
                  <a:pt x="794" y="1268"/>
                  <a:pt x="782" y="1238"/>
                  <a:pt x="762" y="1215"/>
                </a:cubicBezTo>
                <a:cubicBezTo>
                  <a:pt x="1303" y="1215"/>
                  <a:pt x="1303" y="1215"/>
                  <a:pt x="1303" y="1215"/>
                </a:cubicBezTo>
                <a:cubicBezTo>
                  <a:pt x="1283" y="1238"/>
                  <a:pt x="1271" y="1268"/>
                  <a:pt x="1271" y="1301"/>
                </a:cubicBezTo>
                <a:cubicBezTo>
                  <a:pt x="1271" y="1375"/>
                  <a:pt x="1331" y="1435"/>
                  <a:pt x="1405" y="1435"/>
                </a:cubicBezTo>
                <a:cubicBezTo>
                  <a:pt x="1479" y="1435"/>
                  <a:pt x="1538" y="1375"/>
                  <a:pt x="1538" y="1301"/>
                </a:cubicBezTo>
                <a:cubicBezTo>
                  <a:pt x="1538" y="1268"/>
                  <a:pt x="1527" y="1238"/>
                  <a:pt x="1507" y="1215"/>
                </a:cubicBezTo>
                <a:cubicBezTo>
                  <a:pt x="1586" y="1215"/>
                  <a:pt x="1586" y="1215"/>
                  <a:pt x="1586" y="1215"/>
                </a:cubicBezTo>
                <a:cubicBezTo>
                  <a:pt x="1592" y="1215"/>
                  <a:pt x="1598" y="1210"/>
                  <a:pt x="1598" y="1204"/>
                </a:cubicBezTo>
                <a:cubicBezTo>
                  <a:pt x="1598" y="1165"/>
                  <a:pt x="1598" y="1165"/>
                  <a:pt x="1598" y="1165"/>
                </a:cubicBezTo>
                <a:cubicBezTo>
                  <a:pt x="1598" y="1159"/>
                  <a:pt x="1592" y="1154"/>
                  <a:pt x="1586" y="1154"/>
                </a:cubicBezTo>
                <a:close/>
                <a:moveTo>
                  <a:pt x="1086" y="611"/>
                </a:moveTo>
                <a:cubicBezTo>
                  <a:pt x="1086" y="394"/>
                  <a:pt x="1086" y="394"/>
                  <a:pt x="1086" y="394"/>
                </a:cubicBezTo>
                <a:cubicBezTo>
                  <a:pt x="1364" y="394"/>
                  <a:pt x="1364" y="394"/>
                  <a:pt x="1364" y="394"/>
                </a:cubicBezTo>
                <a:cubicBezTo>
                  <a:pt x="1324" y="611"/>
                  <a:pt x="1324" y="611"/>
                  <a:pt x="1324" y="611"/>
                </a:cubicBezTo>
                <a:lnTo>
                  <a:pt x="1086" y="611"/>
                </a:lnTo>
                <a:close/>
                <a:moveTo>
                  <a:pt x="1314" y="665"/>
                </a:moveTo>
                <a:cubicBezTo>
                  <a:pt x="1269" y="910"/>
                  <a:pt x="1269" y="910"/>
                  <a:pt x="1269" y="910"/>
                </a:cubicBezTo>
                <a:cubicBezTo>
                  <a:pt x="1086" y="910"/>
                  <a:pt x="1086" y="910"/>
                  <a:pt x="1086" y="910"/>
                </a:cubicBezTo>
                <a:cubicBezTo>
                  <a:pt x="1086" y="665"/>
                  <a:pt x="1086" y="665"/>
                  <a:pt x="1086" y="665"/>
                </a:cubicBezTo>
                <a:lnTo>
                  <a:pt x="1314" y="665"/>
                </a:lnTo>
                <a:close/>
                <a:moveTo>
                  <a:pt x="1018" y="611"/>
                </a:moveTo>
                <a:cubicBezTo>
                  <a:pt x="788" y="611"/>
                  <a:pt x="788" y="611"/>
                  <a:pt x="788" y="611"/>
                </a:cubicBezTo>
                <a:cubicBezTo>
                  <a:pt x="748" y="394"/>
                  <a:pt x="748" y="394"/>
                  <a:pt x="748" y="394"/>
                </a:cubicBezTo>
                <a:cubicBezTo>
                  <a:pt x="1018" y="394"/>
                  <a:pt x="1018" y="394"/>
                  <a:pt x="1018" y="394"/>
                </a:cubicBezTo>
                <a:lnTo>
                  <a:pt x="1018" y="611"/>
                </a:lnTo>
                <a:close/>
                <a:moveTo>
                  <a:pt x="1018" y="665"/>
                </a:moveTo>
                <a:cubicBezTo>
                  <a:pt x="1018" y="910"/>
                  <a:pt x="1018" y="910"/>
                  <a:pt x="1018" y="910"/>
                </a:cubicBezTo>
                <a:cubicBezTo>
                  <a:pt x="843" y="910"/>
                  <a:pt x="843" y="910"/>
                  <a:pt x="843" y="910"/>
                </a:cubicBezTo>
                <a:cubicBezTo>
                  <a:pt x="798" y="665"/>
                  <a:pt x="798" y="665"/>
                  <a:pt x="798" y="665"/>
                </a:cubicBezTo>
                <a:lnTo>
                  <a:pt x="1018" y="665"/>
                </a:lnTo>
                <a:close/>
                <a:moveTo>
                  <a:pt x="775" y="910"/>
                </a:moveTo>
                <a:cubicBezTo>
                  <a:pt x="572" y="910"/>
                  <a:pt x="572" y="910"/>
                  <a:pt x="572" y="910"/>
                </a:cubicBezTo>
                <a:cubicBezTo>
                  <a:pt x="502" y="665"/>
                  <a:pt x="502" y="665"/>
                  <a:pt x="502" y="665"/>
                </a:cubicBezTo>
                <a:cubicBezTo>
                  <a:pt x="730" y="665"/>
                  <a:pt x="730" y="665"/>
                  <a:pt x="730" y="665"/>
                </a:cubicBezTo>
                <a:lnTo>
                  <a:pt x="775" y="910"/>
                </a:lnTo>
                <a:close/>
                <a:moveTo>
                  <a:pt x="1337" y="910"/>
                </a:moveTo>
                <a:cubicBezTo>
                  <a:pt x="1382" y="665"/>
                  <a:pt x="1382" y="665"/>
                  <a:pt x="1382" y="665"/>
                </a:cubicBezTo>
                <a:cubicBezTo>
                  <a:pt x="1578" y="665"/>
                  <a:pt x="1578" y="665"/>
                  <a:pt x="1578" y="665"/>
                </a:cubicBezTo>
                <a:cubicBezTo>
                  <a:pt x="1517" y="910"/>
                  <a:pt x="1517" y="910"/>
                  <a:pt x="1517" y="910"/>
                </a:cubicBezTo>
                <a:lnTo>
                  <a:pt x="1337" y="910"/>
                </a:lnTo>
                <a:close/>
                <a:moveTo>
                  <a:pt x="1592" y="611"/>
                </a:moveTo>
                <a:cubicBezTo>
                  <a:pt x="1392" y="611"/>
                  <a:pt x="1392" y="611"/>
                  <a:pt x="1392" y="611"/>
                </a:cubicBezTo>
                <a:cubicBezTo>
                  <a:pt x="1432" y="394"/>
                  <a:pt x="1432" y="394"/>
                  <a:pt x="1432" y="394"/>
                </a:cubicBezTo>
                <a:cubicBezTo>
                  <a:pt x="1646" y="394"/>
                  <a:pt x="1646" y="394"/>
                  <a:pt x="1646" y="394"/>
                </a:cubicBezTo>
                <a:lnTo>
                  <a:pt x="1592" y="611"/>
                </a:lnTo>
                <a:close/>
                <a:moveTo>
                  <a:pt x="680" y="394"/>
                </a:moveTo>
                <a:cubicBezTo>
                  <a:pt x="720" y="611"/>
                  <a:pt x="720" y="611"/>
                  <a:pt x="720" y="611"/>
                </a:cubicBezTo>
                <a:cubicBezTo>
                  <a:pt x="486" y="611"/>
                  <a:pt x="486" y="611"/>
                  <a:pt x="486" y="611"/>
                </a:cubicBezTo>
                <a:cubicBezTo>
                  <a:pt x="424" y="394"/>
                  <a:pt x="424" y="394"/>
                  <a:pt x="424" y="394"/>
                </a:cubicBezTo>
                <a:lnTo>
                  <a:pt x="680" y="394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5875" cap="flat">
            <a:noFill/>
            <a:prstDash val="solid"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Front" fov="2400000">
              <a:rot lat="300000" lon="0" rev="0"/>
            </a:camera>
            <a:lightRig rig="soft" dir="t"/>
          </a:scene3d>
          <a:sp3d extrusionH="850900" prstMaterial="plastic">
            <a:bevelT w="381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1"/>
          </a:p>
        </p:txBody>
      </p:sp>
    </p:spTree>
    <p:extLst>
      <p:ext uri="{BB962C8B-B14F-4D97-AF65-F5344CB8AC3E}">
        <p14:creationId xmlns:p14="http://schemas.microsoft.com/office/powerpoint/2010/main" val="373487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62"/>
          <p:cNvGrpSpPr/>
          <p:nvPr/>
        </p:nvGrpSpPr>
        <p:grpSpPr bwMode="gray">
          <a:xfrm>
            <a:off x="-654670" y="3289761"/>
            <a:ext cx="10598770" cy="1088434"/>
            <a:chOff x="-654670" y="3334917"/>
            <a:chExt cx="10598770" cy="1088434"/>
          </a:xfrm>
        </p:grpSpPr>
        <p:pic>
          <p:nvPicPr>
            <p:cNvPr id="53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-654670" y="354446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202580" y="3534942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1088405" y="343016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1964705" y="3477792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2736230" y="337301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8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3679205" y="343016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4431680" y="333491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5279405" y="337301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6165230" y="3411117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" name="_effect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7108205" y="3382542"/>
              <a:ext cx="2835895" cy="878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Buzzword Cub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grpSp>
        <p:nvGrpSpPr>
          <p:cNvPr id="5" name="Gruppieren 118"/>
          <p:cNvGrpSpPr>
            <a:grpSpLocks noChangeAspect="1"/>
          </p:cNvGrpSpPr>
          <p:nvPr/>
        </p:nvGrpSpPr>
        <p:grpSpPr bwMode="gray">
          <a:xfrm>
            <a:off x="89885" y="2761769"/>
            <a:ext cx="8720798" cy="1452018"/>
            <a:chOff x="89074" y="2921370"/>
            <a:chExt cx="8094648" cy="1347759"/>
          </a:xfrm>
        </p:grpSpPr>
        <p:grpSp>
          <p:nvGrpSpPr>
            <p:cNvPr id="6" name="Gruppieren 67"/>
            <p:cNvGrpSpPr/>
            <p:nvPr/>
          </p:nvGrpSpPr>
          <p:grpSpPr bwMode="gray">
            <a:xfrm>
              <a:off x="89074" y="3119818"/>
              <a:ext cx="1234679" cy="1115821"/>
              <a:chOff x="207117" y="3099725"/>
              <a:chExt cx="1187753" cy="1073418"/>
            </a:xfrm>
          </p:grpSpPr>
          <p:sp>
            <p:nvSpPr>
              <p:cNvPr id="39" name="_color1" descr="© INSCALE GmbH, 26.05.2010&#10;http://www.presentationload.com/"/>
              <p:cNvSpPr/>
              <p:nvPr/>
            </p:nvSpPr>
            <p:spPr bwMode="gray">
              <a:xfrm>
                <a:off x="646717" y="3424990"/>
                <a:ext cx="748153" cy="748153"/>
              </a:xfrm>
              <a:prstGeom prst="rect">
                <a:avLst/>
              </a:prstGeom>
              <a:gradFill>
                <a:gsLst>
                  <a:gs pos="96000">
                    <a:schemeClr val="accent1">
                      <a:lumMod val="40000"/>
                      <a:lumOff val="60000"/>
                    </a:schemeClr>
                  </a:gs>
                  <a:gs pos="45000">
                    <a:schemeClr val="accent1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20399999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M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40" name="Rechteck 39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207117" y="3392221"/>
                <a:ext cx="718964" cy="719390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840000" lon="4620000" rev="96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M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  <p:sp>
            <p:nvSpPr>
              <p:cNvPr id="41" name="Rechteck 40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551940" y="3099725"/>
                <a:ext cx="669496" cy="669897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7400000" lon="17850000" rev="3882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M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7" name="Gruppieren 68"/>
            <p:cNvGrpSpPr/>
            <p:nvPr/>
          </p:nvGrpSpPr>
          <p:grpSpPr bwMode="gray">
            <a:xfrm>
              <a:off x="1323431" y="3164008"/>
              <a:ext cx="777711" cy="1105121"/>
              <a:chOff x="1390419" y="3074575"/>
              <a:chExt cx="748153" cy="1063125"/>
            </a:xfrm>
          </p:grpSpPr>
          <p:sp>
            <p:nvSpPr>
              <p:cNvPr id="37" name="_color1" descr="© INSCALE GmbH, 26.05.2010&#10;http://www.presentationload.com/"/>
              <p:cNvSpPr/>
              <p:nvPr/>
            </p:nvSpPr>
            <p:spPr bwMode="gray">
              <a:xfrm>
                <a:off x="1390419" y="3389547"/>
                <a:ext cx="748153" cy="748153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6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A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38" name="Rechteck 37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1408293" y="3074575"/>
                <a:ext cx="669496" cy="669895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739653" lon="20551941" rev="1008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A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8" name="Gruppieren 75"/>
            <p:cNvGrpSpPr/>
            <p:nvPr/>
          </p:nvGrpSpPr>
          <p:grpSpPr bwMode="gray">
            <a:xfrm>
              <a:off x="6480844" y="2972738"/>
              <a:ext cx="777711" cy="1108256"/>
              <a:chOff x="6058602" y="3104219"/>
              <a:chExt cx="748153" cy="1066141"/>
            </a:xfrm>
          </p:grpSpPr>
          <p:sp>
            <p:nvSpPr>
              <p:cNvPr id="32" name="_color1" descr="© INSCALE GmbH, 26.05.2010&#10;http://www.presentationload.com/"/>
              <p:cNvSpPr/>
              <p:nvPr/>
            </p:nvSpPr>
            <p:spPr bwMode="gray">
              <a:xfrm>
                <a:off x="6058602" y="3422207"/>
                <a:ext cx="748153" cy="748153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6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N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33" name="Rechteck 3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6089971" y="3104219"/>
                <a:ext cx="669496" cy="669895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739653" lon="20551941" rev="1008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N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9" name="Gruppieren 72"/>
            <p:cNvGrpSpPr/>
            <p:nvPr/>
          </p:nvGrpSpPr>
          <p:grpSpPr bwMode="gray">
            <a:xfrm>
              <a:off x="2082347" y="2973477"/>
              <a:ext cx="891102" cy="1191810"/>
              <a:chOff x="3579879" y="2674914"/>
              <a:chExt cx="889446" cy="1189595"/>
            </a:xfrm>
          </p:grpSpPr>
          <p:sp>
            <p:nvSpPr>
              <p:cNvPr id="29" name="_color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693172" y="3088355"/>
                <a:ext cx="776153" cy="776154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2100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R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30" name="Rechteck 29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579879" y="2674914"/>
                <a:ext cx="832107" cy="832602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881934" lon="19033791" rev="2605478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R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10" name="Gruppieren 72"/>
            <p:cNvGrpSpPr/>
            <p:nvPr/>
          </p:nvGrpSpPr>
          <p:grpSpPr bwMode="gray">
            <a:xfrm>
              <a:off x="3886336" y="3023020"/>
              <a:ext cx="777711" cy="1109050"/>
              <a:chOff x="3718473" y="3070796"/>
              <a:chExt cx="748153" cy="1066904"/>
            </a:xfrm>
          </p:grpSpPr>
          <p:sp>
            <p:nvSpPr>
              <p:cNvPr id="27" name="_color1" descr="© INSCALE GmbH, 26.05.2010&#10;http://www.presentationload.com/"/>
              <p:cNvSpPr/>
              <p:nvPr/>
            </p:nvSpPr>
            <p:spPr bwMode="gray">
              <a:xfrm>
                <a:off x="3718473" y="3389547"/>
                <a:ext cx="748153" cy="748153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6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E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28" name="Rechteck 27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736347" y="3070796"/>
                <a:ext cx="669496" cy="669895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739653" lon="20551941" rev="1008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E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11" name="Gruppieren 67"/>
            <p:cNvGrpSpPr/>
            <p:nvPr/>
          </p:nvGrpSpPr>
          <p:grpSpPr bwMode="gray">
            <a:xfrm>
              <a:off x="2990484" y="2984027"/>
              <a:ext cx="855121" cy="1198820"/>
              <a:chOff x="6639497" y="2613249"/>
              <a:chExt cx="853533" cy="1196593"/>
            </a:xfrm>
          </p:grpSpPr>
          <p:sp>
            <p:nvSpPr>
              <p:cNvPr id="24" name="_color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6639497" y="3033687"/>
                <a:ext cx="776154" cy="776155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60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K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25" name="Rechteck 24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6660919" y="2613249"/>
                <a:ext cx="832111" cy="832604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852434" lon="2543160" rev="18978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K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12" name="Gruppieren 72"/>
            <p:cNvGrpSpPr/>
            <p:nvPr/>
          </p:nvGrpSpPr>
          <p:grpSpPr bwMode="gray">
            <a:xfrm>
              <a:off x="4308500" y="2921370"/>
              <a:ext cx="1244956" cy="1189124"/>
              <a:chOff x="3233460" y="2603048"/>
              <a:chExt cx="1242641" cy="1186914"/>
            </a:xfrm>
          </p:grpSpPr>
          <p:sp>
            <p:nvSpPr>
              <p:cNvPr id="21" name="_color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699948" y="3013808"/>
                <a:ext cx="776153" cy="776154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2100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T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22" name="Rechteck 2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595646" y="2603048"/>
                <a:ext cx="832108" cy="832601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881934" lon="19033791" rev="2605478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T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  <p:sp>
            <p:nvSpPr>
              <p:cNvPr id="23" name="Rechteck 2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233460" y="2883918"/>
                <a:ext cx="851954" cy="852458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453934" lon="5220000" rev="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/>
                  <a:t>A</a:t>
                </a:r>
                <a:endParaRPr lang="en-US" sz="5400" b="1" noProof="1"/>
              </a:p>
            </p:txBody>
          </p:sp>
        </p:grpSp>
        <p:grpSp>
          <p:nvGrpSpPr>
            <p:cNvPr id="13" name="Gruppieren 67"/>
            <p:cNvGrpSpPr/>
            <p:nvPr/>
          </p:nvGrpSpPr>
          <p:grpSpPr bwMode="gray">
            <a:xfrm>
              <a:off x="5581284" y="2934749"/>
              <a:ext cx="862221" cy="1181421"/>
              <a:chOff x="6639497" y="2630614"/>
              <a:chExt cx="860620" cy="1179226"/>
            </a:xfrm>
          </p:grpSpPr>
          <p:sp>
            <p:nvSpPr>
              <p:cNvPr id="18" name="_color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6639497" y="3033686"/>
                <a:ext cx="776154" cy="776154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60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I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19" name="Rechteck 18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6668007" y="2630614"/>
                <a:ext cx="832110" cy="832603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852434" lon="2543160" rev="1897800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I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</p:grpSp>
        <p:grpSp>
          <p:nvGrpSpPr>
            <p:cNvPr id="14" name="Gruppieren 72"/>
            <p:cNvGrpSpPr/>
            <p:nvPr/>
          </p:nvGrpSpPr>
          <p:grpSpPr bwMode="gray">
            <a:xfrm>
              <a:off x="6938766" y="2933797"/>
              <a:ext cx="1244956" cy="1194901"/>
              <a:chOff x="3179246" y="2597282"/>
              <a:chExt cx="1242642" cy="1192680"/>
            </a:xfrm>
          </p:grpSpPr>
          <p:sp>
            <p:nvSpPr>
              <p:cNvPr id="15" name="_color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645735" y="3013808"/>
                <a:ext cx="776153" cy="776154"/>
              </a:xfrm>
              <a:prstGeom prst="rect">
                <a:avLst/>
              </a:prstGeom>
              <a:gradFill>
                <a:gsLst>
                  <a:gs pos="96000">
                    <a:srgbClr val="E6E6E6"/>
                  </a:gs>
                  <a:gs pos="45000">
                    <a:srgbClr val="7D7D7D"/>
                  </a:gs>
                </a:gsLst>
                <a:lin ang="13500000" scaled="1"/>
              </a:gradFill>
              <a:ln>
                <a:noFill/>
              </a:ln>
              <a:scene3d>
                <a:camera prst="perspectiveContrastingRightFacing" fov="4800000">
                  <a:rot lat="900000" lon="21000000" rev="0"/>
                </a:camera>
                <a:lightRig rig="threePt" dir="t">
                  <a:rot lat="0" lon="0" rev="1800000"/>
                </a:lightRig>
              </a:scene3d>
              <a:sp3d extrusionH="673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innerShdw blurRad="63500" dist="50800" dir="13500000">
                        <a:prstClr val="black">
                          <a:alpha val="50000"/>
                        </a:prstClr>
                      </a:innerShdw>
                    </a:effectLst>
                  </a:rPr>
                  <a:t>G</a:t>
                </a:r>
                <a:endParaRPr lang="en-US" sz="5400" b="1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16" name="Rechteck 15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546443" y="2597282"/>
                <a:ext cx="832108" cy="832602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16881934" lon="19033791" rev="2605478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>
                    <a:solidFill>
                      <a:srgbClr val="D7D7D7"/>
                    </a:solidFill>
                  </a:rPr>
                  <a:t>G</a:t>
                </a:r>
                <a:endParaRPr lang="en-US" sz="5400" b="1" noProof="1">
                  <a:solidFill>
                    <a:srgbClr val="D7D7D7"/>
                  </a:solidFill>
                </a:endParaRPr>
              </a:p>
            </p:txBody>
          </p:sp>
          <p:sp>
            <p:nvSpPr>
              <p:cNvPr id="17" name="Rechteck 16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3179246" y="2883918"/>
                <a:ext cx="851954" cy="852459"/>
              </a:xfrm>
              <a:prstGeom prst="rect">
                <a:avLst/>
              </a:prstGeom>
              <a:noFill/>
              <a:ln>
                <a:noFill/>
              </a:ln>
              <a:scene3d>
                <a:camera prst="perspectiveContrastingRightFacing" fov="4800000">
                  <a:rot lat="453934" lon="5220000" rev="0"/>
                </a:camera>
                <a:lightRig rig="threePt" dir="t"/>
              </a:scene3d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400" b="1" noProof="1" smtClean="0"/>
                  <a:t>G</a:t>
                </a:r>
                <a:endParaRPr lang="en-US" sz="5400" b="1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217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ing Object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>
          <a:xfrm>
            <a:off x="323849" y="854994"/>
            <a:ext cx="8619221" cy="336244"/>
          </a:xfrm>
        </p:spPr>
        <p:txBody>
          <a:bodyPr/>
          <a:lstStyle/>
          <a:p>
            <a:r>
              <a:rPr lang="en-US" smtClean="0"/>
              <a:t>Differentiation according to different marketing objects and approaches</a:t>
            </a:r>
            <a:endParaRPr lang="en-US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336098" y="1666292"/>
            <a:ext cx="8445048" cy="3879253"/>
            <a:chOff x="498023" y="1875842"/>
            <a:chExt cx="8445048" cy="3879253"/>
          </a:xfrm>
        </p:grpSpPr>
        <p:grpSp>
          <p:nvGrpSpPr>
            <p:cNvPr id="36" name="Gruppieren 35"/>
            <p:cNvGrpSpPr/>
            <p:nvPr/>
          </p:nvGrpSpPr>
          <p:grpSpPr bwMode="gray">
            <a:xfrm>
              <a:off x="1495426" y="2489513"/>
              <a:ext cx="1994807" cy="1488774"/>
              <a:chOff x="1495426" y="2489513"/>
              <a:chExt cx="1994807" cy="1488774"/>
            </a:xfrm>
          </p:grpSpPr>
          <p:sp>
            <p:nvSpPr>
              <p:cNvPr id="28" name="Rechteck 27"/>
              <p:cNvSpPr/>
              <p:nvPr/>
            </p:nvSpPr>
            <p:spPr bwMode="gray">
              <a:xfrm>
                <a:off x="1495426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1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5" name="Rechteck 14"/>
              <p:cNvSpPr/>
              <p:nvPr/>
            </p:nvSpPr>
            <p:spPr bwMode="gray">
              <a:xfrm>
                <a:off x="1827957" y="2489513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Consumer goods - 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>
                <a:off x="1495426" y="3186199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of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roducts for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rivate usage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Gruppieren 36"/>
            <p:cNvGrpSpPr/>
            <p:nvPr/>
          </p:nvGrpSpPr>
          <p:grpSpPr bwMode="gray">
            <a:xfrm>
              <a:off x="3633876" y="2489513"/>
              <a:ext cx="2006437" cy="1488774"/>
              <a:chOff x="3633876" y="2489513"/>
              <a:chExt cx="2006437" cy="1488774"/>
            </a:xfrm>
          </p:grpSpPr>
          <p:sp>
            <p:nvSpPr>
              <p:cNvPr id="29" name="Rechteck 28"/>
              <p:cNvSpPr/>
              <p:nvPr/>
            </p:nvSpPr>
            <p:spPr bwMode="gray">
              <a:xfrm>
                <a:off x="3633877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2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 bwMode="gray">
              <a:xfrm>
                <a:off x="3967250" y="2489513"/>
                <a:ext cx="1673063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Investment goods - marketing 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3633876" y="3186199"/>
                <a:ext cx="200643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of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products for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occupational use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Gruppieren 37"/>
            <p:cNvGrpSpPr/>
            <p:nvPr/>
          </p:nvGrpSpPr>
          <p:grpSpPr bwMode="gray">
            <a:xfrm>
              <a:off x="5795587" y="2489513"/>
              <a:ext cx="1994807" cy="1488774"/>
              <a:chOff x="5795587" y="2489513"/>
              <a:chExt cx="1994807" cy="1488774"/>
            </a:xfrm>
          </p:grpSpPr>
          <p:sp>
            <p:nvSpPr>
              <p:cNvPr id="30" name="Rechteck 29"/>
              <p:cNvSpPr/>
              <p:nvPr/>
            </p:nvSpPr>
            <p:spPr bwMode="gray">
              <a:xfrm>
                <a:off x="5795587" y="2489513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3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 bwMode="gray">
              <a:xfrm>
                <a:off x="6128118" y="2489513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Service 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 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5795587" y="3186199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for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immaterial goods and service performance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2" name="Gruppieren 41"/>
            <p:cNvGrpSpPr/>
            <p:nvPr/>
          </p:nvGrpSpPr>
          <p:grpSpPr bwMode="gray">
            <a:xfrm>
              <a:off x="498023" y="4266321"/>
              <a:ext cx="1994807" cy="1488774"/>
              <a:chOff x="498023" y="4266321"/>
              <a:chExt cx="1994807" cy="1488774"/>
            </a:xfrm>
          </p:grpSpPr>
          <p:sp>
            <p:nvSpPr>
              <p:cNvPr id="31" name="Rechteck 30"/>
              <p:cNvSpPr/>
              <p:nvPr/>
            </p:nvSpPr>
            <p:spPr bwMode="gray">
              <a:xfrm>
                <a:off x="498023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4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" name="Rechteck 10"/>
              <p:cNvSpPr/>
              <p:nvPr/>
            </p:nvSpPr>
            <p:spPr bwMode="gray">
              <a:xfrm>
                <a:off x="830553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Non-Profit-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498023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for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organizations without gainful intent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1" name="Gruppieren 40"/>
            <p:cNvGrpSpPr/>
            <p:nvPr/>
          </p:nvGrpSpPr>
          <p:grpSpPr bwMode="gray">
            <a:xfrm>
              <a:off x="2648103" y="4266321"/>
              <a:ext cx="1994806" cy="1488774"/>
              <a:chOff x="2648103" y="4266321"/>
              <a:chExt cx="1994806" cy="1488774"/>
            </a:xfrm>
          </p:grpSpPr>
          <p:sp>
            <p:nvSpPr>
              <p:cNvPr id="32" name="Rechteck 31"/>
              <p:cNvSpPr/>
              <p:nvPr/>
            </p:nvSpPr>
            <p:spPr bwMode="gray">
              <a:xfrm>
                <a:off x="2648103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5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2" name="Rechteck 11"/>
              <p:cNvSpPr/>
              <p:nvPr/>
            </p:nvSpPr>
            <p:spPr bwMode="gray">
              <a:xfrm>
                <a:off x="2980634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Social 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gray">
              <a:xfrm>
                <a:off x="2648103" y="4963007"/>
                <a:ext cx="1994806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of a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social idea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(no organization)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0" name="Gruppieren 39"/>
            <p:cNvGrpSpPr/>
            <p:nvPr/>
          </p:nvGrpSpPr>
          <p:grpSpPr bwMode="gray">
            <a:xfrm>
              <a:off x="4798183" y="4266321"/>
              <a:ext cx="1994807" cy="1488774"/>
              <a:chOff x="4798183" y="4266321"/>
              <a:chExt cx="1994807" cy="1488774"/>
            </a:xfrm>
          </p:grpSpPr>
          <p:sp>
            <p:nvSpPr>
              <p:cNvPr id="33" name="Rechteck 32"/>
              <p:cNvSpPr/>
              <p:nvPr/>
            </p:nvSpPr>
            <p:spPr bwMode="gray">
              <a:xfrm>
                <a:off x="4798184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6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3" name="Rechteck 12"/>
              <p:cNvSpPr/>
              <p:nvPr/>
            </p:nvSpPr>
            <p:spPr bwMode="gray">
              <a:xfrm>
                <a:off x="5130715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Destination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4798183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of an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explicit region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(tourism)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Gruppieren 38"/>
            <p:cNvGrpSpPr/>
            <p:nvPr/>
          </p:nvGrpSpPr>
          <p:grpSpPr bwMode="gray">
            <a:xfrm>
              <a:off x="6948264" y="4266321"/>
              <a:ext cx="1994807" cy="1488774"/>
              <a:chOff x="6948264" y="4266321"/>
              <a:chExt cx="1994807" cy="1488774"/>
            </a:xfrm>
          </p:grpSpPr>
          <p:sp>
            <p:nvSpPr>
              <p:cNvPr id="34" name="Rechteck 33"/>
              <p:cNvSpPr/>
              <p:nvPr/>
            </p:nvSpPr>
            <p:spPr bwMode="gray">
              <a:xfrm>
                <a:off x="6948264" y="4266321"/>
                <a:ext cx="333374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7</a:t>
                </a:r>
                <a:endParaRPr lang="en-US" sz="2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 bwMode="gray">
              <a:xfrm>
                <a:off x="7280795" y="4266321"/>
                <a:ext cx="1662275" cy="696686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44000" tIns="0" rIns="0" bIns="0" anchor="ctr"/>
              <a:lstStyle/>
              <a:p>
                <a:pPr defTabSz="801688" eaLnBrk="0" hangingPunct="0">
                  <a:defRPr/>
                </a:pP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Trade</a:t>
                </a:r>
                <a:b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</a:br>
                <a:r>
                  <a:rPr lang="en-US" sz="1400" b="1" noProof="1" smtClean="0">
                    <a:solidFill>
                      <a:srgbClr val="FFFFFF"/>
                    </a:solidFill>
                    <a:cs typeface="Arial" charset="0"/>
                  </a:rPr>
                  <a:t>marketing</a:t>
                </a:r>
                <a:endParaRPr lang="en-US" sz="14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 bwMode="gray">
              <a:xfrm>
                <a:off x="6948264" y="4963007"/>
                <a:ext cx="1994807" cy="792088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marketing of a </a:t>
                </a:r>
                <a:b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200" noProof="1" smtClean="0">
                    <a:solidFill>
                      <a:srgbClr val="000000"/>
                    </a:solidFill>
                    <a:cs typeface="Arial" charset="0"/>
                  </a:rPr>
                  <a:t>trade and sales company (retail)</a:t>
                </a:r>
                <a:endParaRPr lang="en-US" sz="12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35" name="Rechteck 34"/>
            <p:cNvSpPr/>
            <p:nvPr/>
          </p:nvSpPr>
          <p:spPr bwMode="gray">
            <a:xfrm>
              <a:off x="3600425" y="1875842"/>
              <a:ext cx="237026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 smtClean="0"/>
                <a:t>Marketing object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16661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Buzzword</a:t>
            </a:r>
            <a:endParaRPr lang="de-DE" b="0" noProof="1" smtClean="0"/>
          </a:p>
        </p:txBody>
      </p:sp>
      <p:grpSp>
        <p:nvGrpSpPr>
          <p:cNvPr id="2" name="Gruppieren 26"/>
          <p:cNvGrpSpPr/>
          <p:nvPr/>
        </p:nvGrpSpPr>
        <p:grpSpPr>
          <a:xfrm>
            <a:off x="1036715" y="1905000"/>
            <a:ext cx="7185924" cy="3985260"/>
            <a:chOff x="1835696" y="2478704"/>
            <a:chExt cx="6791119" cy="3766304"/>
          </a:xfrm>
          <a:scene3d>
            <a:camera prst="perspectiveHeroicExtremeRightFacing">
              <a:rot lat="18951832" lon="591073" rev="20759864"/>
            </a:camera>
            <a:lightRig rig="threePt" dir="t">
              <a:rot lat="0" lon="0" rev="9000000"/>
            </a:lightRig>
          </a:scene3d>
        </p:grpSpPr>
        <p:sp>
          <p:nvSpPr>
            <p:cNvPr id="14" name="Abgerundetes Rechteck 13"/>
            <p:cNvSpPr/>
            <p:nvPr/>
          </p:nvSpPr>
          <p:spPr bwMode="gray">
            <a:xfrm>
              <a:off x="2588957" y="2478704"/>
              <a:ext cx="753261" cy="753261"/>
            </a:xfrm>
            <a:prstGeom prst="roundRect">
              <a:avLst/>
            </a:prstGeom>
            <a:solidFill>
              <a:srgbClr val="C00000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FFFFFF"/>
                  </a:solidFill>
                </a:rPr>
                <a:t>S</a:t>
              </a:r>
            </a:p>
          </p:txBody>
        </p:sp>
        <p:sp>
          <p:nvSpPr>
            <p:cNvPr id="15" name="Abgerundetes Rechteck 14"/>
            <p:cNvSpPr/>
            <p:nvPr/>
          </p:nvSpPr>
          <p:spPr bwMode="gray">
            <a:xfrm>
              <a:off x="2588957" y="3231965"/>
              <a:ext cx="753261" cy="753261"/>
            </a:xfrm>
            <a:prstGeom prst="round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chemeClr val="bg1"/>
                  </a:solidFill>
                </a:rPr>
                <a:t>A</a:t>
              </a:r>
            </a:p>
          </p:txBody>
        </p:sp>
        <p:sp>
          <p:nvSpPr>
            <p:cNvPr id="16" name="Abgerundetes Rechteck 15"/>
            <p:cNvSpPr/>
            <p:nvPr/>
          </p:nvSpPr>
          <p:spPr bwMode="gray">
            <a:xfrm>
              <a:off x="2588957" y="3985226"/>
              <a:ext cx="753261" cy="753261"/>
            </a:xfrm>
            <a:prstGeom prst="roundRect">
              <a:avLst/>
            </a:prstGeom>
            <a:solidFill>
              <a:srgbClr val="C00000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FFFFFF"/>
                  </a:solidFill>
                </a:rPr>
                <a:t>L</a:t>
              </a:r>
            </a:p>
          </p:txBody>
        </p:sp>
        <p:sp>
          <p:nvSpPr>
            <p:cNvPr id="17" name="Abgerundetes Rechteck 16"/>
            <p:cNvSpPr/>
            <p:nvPr/>
          </p:nvSpPr>
          <p:spPr bwMode="gray">
            <a:xfrm>
              <a:off x="2588957" y="4738486"/>
              <a:ext cx="753261" cy="753261"/>
            </a:xfrm>
            <a:prstGeom prst="roundRect">
              <a:avLst/>
            </a:prstGeom>
            <a:solidFill>
              <a:srgbClr val="C00000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FFFFFF"/>
                  </a:solidFill>
                </a:rPr>
                <a:t>E</a:t>
              </a:r>
            </a:p>
          </p:txBody>
        </p:sp>
        <p:sp>
          <p:nvSpPr>
            <p:cNvPr id="18" name="Abgerundetes Rechteck 17"/>
            <p:cNvSpPr/>
            <p:nvPr/>
          </p:nvSpPr>
          <p:spPr bwMode="gray">
            <a:xfrm>
              <a:off x="2588957" y="5491747"/>
              <a:ext cx="753261" cy="753261"/>
            </a:xfrm>
            <a:prstGeom prst="roundRect">
              <a:avLst/>
            </a:prstGeom>
            <a:solidFill>
              <a:srgbClr val="C00000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FFFFFF"/>
                  </a:solidFill>
                </a:rPr>
                <a:t>S</a:t>
              </a:r>
            </a:p>
          </p:txBody>
        </p:sp>
        <p:sp>
          <p:nvSpPr>
            <p:cNvPr id="19" name="Abgerundetes Rechteck 18"/>
            <p:cNvSpPr/>
            <p:nvPr/>
          </p:nvSpPr>
          <p:spPr bwMode="gray">
            <a:xfrm>
              <a:off x="1835696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M</a:t>
              </a:r>
            </a:p>
          </p:txBody>
        </p:sp>
        <p:sp>
          <p:nvSpPr>
            <p:cNvPr id="20" name="Abgerundetes Rechteck 19"/>
            <p:cNvSpPr/>
            <p:nvPr/>
          </p:nvSpPr>
          <p:spPr bwMode="gray">
            <a:xfrm>
              <a:off x="3342218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R</a:t>
              </a:r>
            </a:p>
          </p:txBody>
        </p:sp>
        <p:sp>
          <p:nvSpPr>
            <p:cNvPr id="21" name="Abgerundetes Rechteck 20"/>
            <p:cNvSpPr/>
            <p:nvPr/>
          </p:nvSpPr>
          <p:spPr bwMode="gray">
            <a:xfrm>
              <a:off x="4095479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K</a:t>
              </a:r>
            </a:p>
          </p:txBody>
        </p:sp>
        <p:sp>
          <p:nvSpPr>
            <p:cNvPr id="22" name="Abgerundetes Rechteck 21"/>
            <p:cNvSpPr/>
            <p:nvPr/>
          </p:nvSpPr>
          <p:spPr bwMode="gray">
            <a:xfrm>
              <a:off x="4860510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E</a:t>
              </a:r>
            </a:p>
          </p:txBody>
        </p:sp>
        <p:sp>
          <p:nvSpPr>
            <p:cNvPr id="23" name="Abgerundetes Rechteck 22"/>
            <p:cNvSpPr/>
            <p:nvPr/>
          </p:nvSpPr>
          <p:spPr bwMode="gray">
            <a:xfrm>
              <a:off x="5613771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T</a:t>
              </a:r>
            </a:p>
          </p:txBody>
        </p:sp>
        <p:sp>
          <p:nvSpPr>
            <p:cNvPr id="24" name="Abgerundetes Rechteck 23"/>
            <p:cNvSpPr/>
            <p:nvPr/>
          </p:nvSpPr>
          <p:spPr bwMode="gray">
            <a:xfrm>
              <a:off x="6367032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I</a:t>
              </a:r>
            </a:p>
          </p:txBody>
        </p:sp>
        <p:sp>
          <p:nvSpPr>
            <p:cNvPr id="25" name="Abgerundetes Rechteck 24"/>
            <p:cNvSpPr/>
            <p:nvPr/>
          </p:nvSpPr>
          <p:spPr bwMode="gray">
            <a:xfrm>
              <a:off x="7120293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N</a:t>
              </a:r>
            </a:p>
          </p:txBody>
        </p:sp>
        <p:sp>
          <p:nvSpPr>
            <p:cNvPr id="26" name="Abgerundetes Rechteck 25"/>
            <p:cNvSpPr/>
            <p:nvPr/>
          </p:nvSpPr>
          <p:spPr bwMode="gray">
            <a:xfrm>
              <a:off x="7873554" y="323196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de-DE" sz="3200" b="1" noProof="1" smtClean="0">
                  <a:solidFill>
                    <a:srgbClr val="000000"/>
                  </a:solidFill>
                </a:rPr>
                <a:t>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009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Buzzword</a:t>
            </a:r>
          </a:p>
        </p:txBody>
      </p:sp>
      <p:grpSp>
        <p:nvGrpSpPr>
          <p:cNvPr id="27" name="Gruppieren 26"/>
          <p:cNvGrpSpPr/>
          <p:nvPr/>
        </p:nvGrpSpPr>
        <p:grpSpPr bwMode="gray">
          <a:xfrm>
            <a:off x="1835696" y="-534339"/>
            <a:ext cx="6037858" cy="6779347"/>
            <a:chOff x="1835696" y="-969490"/>
            <a:chExt cx="6037858" cy="6779347"/>
          </a:xfrm>
          <a:scene3d>
            <a:camera prst="perspectiveRelaxed" fov="4800000">
              <a:rot lat="18009584" lon="18287789" rev="3358857"/>
            </a:camera>
            <a:lightRig rig="threePt" dir="t"/>
          </a:scene3d>
        </p:grpSpPr>
        <p:sp>
          <p:nvSpPr>
            <p:cNvPr id="2" name="Abgerundetes Rechteck 1"/>
            <p:cNvSpPr/>
            <p:nvPr/>
          </p:nvSpPr>
          <p:spPr bwMode="gray">
            <a:xfrm>
              <a:off x="2588957" y="-969490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M</a:t>
              </a:r>
            </a:p>
          </p:txBody>
        </p:sp>
        <p:sp>
          <p:nvSpPr>
            <p:cNvPr id="8" name="Abgerundetes Rechteck 7"/>
            <p:cNvSpPr/>
            <p:nvPr/>
          </p:nvSpPr>
          <p:spPr bwMode="gray">
            <a:xfrm>
              <a:off x="2588957" y="-216229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A</a:t>
              </a:r>
            </a:p>
          </p:txBody>
        </p:sp>
        <p:sp>
          <p:nvSpPr>
            <p:cNvPr id="9" name="Abgerundetes Rechteck 8"/>
            <p:cNvSpPr/>
            <p:nvPr/>
          </p:nvSpPr>
          <p:spPr bwMode="gray">
            <a:xfrm>
              <a:off x="2588957" y="537032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R</a:t>
              </a:r>
            </a:p>
          </p:txBody>
        </p:sp>
        <p:sp>
          <p:nvSpPr>
            <p:cNvPr id="10" name="Abgerundetes Rechteck 9"/>
            <p:cNvSpPr/>
            <p:nvPr/>
          </p:nvSpPr>
          <p:spPr bwMode="gray">
            <a:xfrm>
              <a:off x="2588957" y="1290292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K</a:t>
              </a:r>
            </a:p>
          </p:txBody>
        </p:sp>
        <p:sp>
          <p:nvSpPr>
            <p:cNvPr id="14" name="Abgerundetes Rechteck 13"/>
            <p:cNvSpPr/>
            <p:nvPr/>
          </p:nvSpPr>
          <p:spPr bwMode="gray">
            <a:xfrm>
              <a:off x="2588957" y="2043553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E</a:t>
              </a:r>
            </a:p>
          </p:txBody>
        </p:sp>
        <p:sp>
          <p:nvSpPr>
            <p:cNvPr id="15" name="Abgerundetes Rechteck 14"/>
            <p:cNvSpPr/>
            <p:nvPr/>
          </p:nvSpPr>
          <p:spPr bwMode="gray">
            <a:xfrm>
              <a:off x="2588957" y="2796814"/>
              <a:ext cx="753261" cy="753261"/>
            </a:xfrm>
            <a:prstGeom prst="round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chemeClr val="bg1"/>
                  </a:solidFill>
                </a:rPr>
                <a:t>T</a:t>
              </a:r>
            </a:p>
          </p:txBody>
        </p:sp>
        <p:sp>
          <p:nvSpPr>
            <p:cNvPr id="16" name="Abgerundetes Rechteck 15"/>
            <p:cNvSpPr/>
            <p:nvPr/>
          </p:nvSpPr>
          <p:spPr bwMode="gray">
            <a:xfrm>
              <a:off x="2588957" y="355007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I</a:t>
              </a:r>
            </a:p>
          </p:txBody>
        </p:sp>
        <p:sp>
          <p:nvSpPr>
            <p:cNvPr id="17" name="Abgerundetes Rechteck 16"/>
            <p:cNvSpPr/>
            <p:nvPr/>
          </p:nvSpPr>
          <p:spPr bwMode="gray">
            <a:xfrm>
              <a:off x="2588957" y="4303335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N</a:t>
              </a:r>
            </a:p>
          </p:txBody>
        </p:sp>
        <p:sp>
          <p:nvSpPr>
            <p:cNvPr id="18" name="Abgerundetes Rechteck 17"/>
            <p:cNvSpPr/>
            <p:nvPr/>
          </p:nvSpPr>
          <p:spPr bwMode="gray">
            <a:xfrm>
              <a:off x="2588957" y="5056596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G</a:t>
              </a:r>
            </a:p>
          </p:txBody>
        </p:sp>
        <p:sp>
          <p:nvSpPr>
            <p:cNvPr id="19" name="Abgerundetes Rechteck 18"/>
            <p:cNvSpPr/>
            <p:nvPr/>
          </p:nvSpPr>
          <p:spPr bwMode="gray">
            <a:xfrm>
              <a:off x="1835696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S</a:t>
              </a:r>
            </a:p>
          </p:txBody>
        </p:sp>
        <p:sp>
          <p:nvSpPr>
            <p:cNvPr id="20" name="Abgerundetes Rechteck 19"/>
            <p:cNvSpPr/>
            <p:nvPr/>
          </p:nvSpPr>
          <p:spPr bwMode="gray">
            <a:xfrm>
              <a:off x="3342218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R</a:t>
              </a:r>
            </a:p>
          </p:txBody>
        </p:sp>
        <p:sp>
          <p:nvSpPr>
            <p:cNvPr id="21" name="Abgerundetes Rechteck 20"/>
            <p:cNvSpPr/>
            <p:nvPr/>
          </p:nvSpPr>
          <p:spPr bwMode="gray">
            <a:xfrm>
              <a:off x="4095479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A</a:t>
              </a:r>
            </a:p>
          </p:txBody>
        </p:sp>
        <p:sp>
          <p:nvSpPr>
            <p:cNvPr id="22" name="Abgerundetes Rechteck 21"/>
            <p:cNvSpPr/>
            <p:nvPr/>
          </p:nvSpPr>
          <p:spPr bwMode="gray">
            <a:xfrm>
              <a:off x="4860510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T</a:t>
              </a:r>
            </a:p>
          </p:txBody>
        </p:sp>
        <p:sp>
          <p:nvSpPr>
            <p:cNvPr id="23" name="Abgerundetes Rechteck 22"/>
            <p:cNvSpPr/>
            <p:nvPr/>
          </p:nvSpPr>
          <p:spPr bwMode="gray">
            <a:xfrm>
              <a:off x="5613771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E</a:t>
              </a:r>
            </a:p>
          </p:txBody>
        </p:sp>
        <p:sp>
          <p:nvSpPr>
            <p:cNvPr id="24" name="Abgerundetes Rechteck 23"/>
            <p:cNvSpPr/>
            <p:nvPr/>
          </p:nvSpPr>
          <p:spPr bwMode="gray">
            <a:xfrm>
              <a:off x="6367032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G</a:t>
              </a:r>
            </a:p>
          </p:txBody>
        </p:sp>
        <p:sp>
          <p:nvSpPr>
            <p:cNvPr id="25" name="Abgerundetes Rechteck 24"/>
            <p:cNvSpPr/>
            <p:nvPr/>
          </p:nvSpPr>
          <p:spPr bwMode="gray">
            <a:xfrm>
              <a:off x="7120293" y="2796814"/>
              <a:ext cx="753261" cy="753261"/>
            </a:xfrm>
            <a:prstGeom prst="roundRect">
              <a:avLst/>
            </a:prstGeom>
            <a:solidFill>
              <a:srgbClr val="AFAFAF"/>
            </a:solidFill>
            <a:ln w="12700">
              <a:noFill/>
              <a:round/>
              <a:headEnd/>
              <a:tailEnd/>
            </a:ln>
            <a:effectLst>
              <a:outerShdw blurRad="88900" sx="103000" sy="103000" algn="ctr" rotWithShape="0">
                <a:prstClr val="black">
                  <a:alpha val="78000"/>
                </a:prstClr>
              </a:outerShdw>
            </a:effectLst>
            <a:sp3d extrusionH="254000" prstMaterial="plastic">
              <a:bevelT w="25400" h="25400"/>
              <a:bevelB w="25400" h="25400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algn="ctr"/>
              <a:r>
                <a:rPr lang="en-US" sz="3200" b="1" noProof="1" smtClean="0">
                  <a:solidFill>
                    <a:srgbClr val="000000"/>
                  </a:solidFill>
                </a:rPr>
                <a:t>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009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noProof="1" smtClean="0"/>
              <a:t>Enter your subheadline he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1"/>
              <a:t>Graphic </a:t>
            </a:r>
            <a:r>
              <a:rPr lang="de-DE" b="0" noProof="1" smtClean="0"/>
              <a:t>- Push Button „Marketing“</a:t>
            </a:r>
          </a:p>
        </p:txBody>
      </p:sp>
      <p:sp>
        <p:nvSpPr>
          <p:cNvPr id="16" name="Ellipse 15" descr="© INSCALE GmbH, 26.05.2010&#10;http://www.presentationload.com/"/>
          <p:cNvSpPr>
            <a:spLocks noChangeAspect="1"/>
          </p:cNvSpPr>
          <p:nvPr/>
        </p:nvSpPr>
        <p:spPr bwMode="gray">
          <a:xfrm>
            <a:off x="2099733" y="945444"/>
            <a:ext cx="4944534" cy="4944534"/>
          </a:xfrm>
          <a:prstGeom prst="ellipse">
            <a:avLst/>
          </a:prstGeom>
          <a:solidFill>
            <a:srgbClr val="AFAFAF"/>
          </a:solidFill>
          <a:ln w="34925">
            <a:noFill/>
          </a:ln>
          <a:effectLst>
            <a:outerShdw blurRad="546100" dir="2700000" sx="103000" sy="103000" algn="ctr">
              <a:srgbClr val="000000">
                <a:alpha val="90000"/>
              </a:srgbClr>
            </a:outerShdw>
          </a:effectLst>
          <a:scene3d>
            <a:camera prst="perspectiveFront" fov="4800000">
              <a:rot lat="18647210" lon="18492508" rev="3509972"/>
            </a:camera>
            <a:lightRig rig="threePt" dir="t"/>
          </a:scene3d>
          <a:sp3d extrusionH="203200">
            <a:bevelT w="381000" h="1524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noProof="1"/>
          </a:p>
        </p:txBody>
      </p:sp>
      <p:sp>
        <p:nvSpPr>
          <p:cNvPr id="18" name="Ellipse 17" descr="© INSCALE GmbH, 26.05.2010&#10;http://www.presentationload.com/"/>
          <p:cNvSpPr/>
          <p:nvPr/>
        </p:nvSpPr>
        <p:spPr bwMode="gray">
          <a:xfrm>
            <a:off x="2515272" y="1149305"/>
            <a:ext cx="4090878" cy="4088978"/>
          </a:xfrm>
          <a:prstGeom prst="ellipse">
            <a:avLst/>
          </a:prstGeom>
          <a:gradFill flip="none" rotWithShape="1">
            <a:gsLst>
              <a:gs pos="73000">
                <a:schemeClr val="accent1">
                  <a:lumMod val="40000"/>
                  <a:lumOff val="60000"/>
                </a:schemeClr>
              </a:gs>
              <a:gs pos="45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 w="34925">
            <a:noFill/>
          </a:ln>
          <a:effectLst>
            <a:outerShdw blurRad="330200" dist="38100" dir="5400000" algn="t" rotWithShape="0">
              <a:prstClr val="black">
                <a:alpha val="61000"/>
              </a:prstClr>
            </a:outerShdw>
          </a:effectLst>
          <a:scene3d>
            <a:camera prst="perspectiveFront" fov="4800000">
              <a:rot lat="18647210" lon="18492508" rev="3509972"/>
            </a:camera>
            <a:lightRig rig="threePt" dir="t"/>
          </a:scene3d>
          <a:sp3d extrusionH="190500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4800" b="1" noProof="1"/>
          </a:p>
        </p:txBody>
      </p:sp>
      <p:sp>
        <p:nvSpPr>
          <p:cNvPr id="3" name="Textfeld 2"/>
          <p:cNvSpPr txBox="1"/>
          <p:nvPr/>
        </p:nvSpPr>
        <p:spPr bwMode="gray">
          <a:xfrm>
            <a:off x="2784347" y="2878665"/>
            <a:ext cx="3648756" cy="923330"/>
          </a:xfrm>
          <a:prstGeom prst="rect">
            <a:avLst/>
          </a:prstGeom>
          <a:noFill/>
          <a:scene3d>
            <a:camera prst="perspectiveRelaxedModerately" fov="4800000">
              <a:rot lat="18890638" lon="0" rev="0"/>
            </a:camera>
            <a:lightRig rig="threePt" dir="t"/>
          </a:scene3d>
        </p:spPr>
        <p:txBody>
          <a:bodyPr wrap="none" rtlCol="0">
            <a:spAutoFit/>
            <a:scene3d>
              <a:camera prst="perspectiveRelaxedModerately" fov="4800000">
                <a:rot lat="18890638" lon="0" rev="0"/>
              </a:camera>
              <a:lightRig rig="threePt" dir="t"/>
            </a:scene3d>
          </a:bodyPr>
          <a:lstStyle/>
          <a:p>
            <a:pPr algn="ctr"/>
            <a:r>
              <a:rPr lang="de-DE" sz="5400" noProof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RKETING</a:t>
            </a:r>
            <a:endParaRPr lang="de-DE" sz="5400" noProof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070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noProof="1" smtClean="0"/>
              <a:t>Enter your subheadline he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1"/>
              <a:t>Graphic </a:t>
            </a:r>
            <a:r>
              <a:rPr lang="de-DE" b="0" noProof="1" smtClean="0"/>
              <a:t>- </a:t>
            </a:r>
            <a:r>
              <a:rPr lang="de-DE" b="0" noProof="1"/>
              <a:t>Push Button „Marketing“</a:t>
            </a:r>
            <a:endParaRPr lang="de-DE" b="0" noProof="1" smtClean="0"/>
          </a:p>
        </p:txBody>
      </p:sp>
      <p:sp>
        <p:nvSpPr>
          <p:cNvPr id="16" name="Ellipse 15" descr="© INSCALE GmbH, 26.05.2010&#10;http://www.presentationload.com/"/>
          <p:cNvSpPr>
            <a:spLocks noChangeAspect="1"/>
          </p:cNvSpPr>
          <p:nvPr/>
        </p:nvSpPr>
        <p:spPr bwMode="gray">
          <a:xfrm>
            <a:off x="2099733" y="945444"/>
            <a:ext cx="4944534" cy="4944534"/>
          </a:xfrm>
          <a:prstGeom prst="ellipse">
            <a:avLst/>
          </a:prstGeom>
          <a:solidFill>
            <a:srgbClr val="AFAFAF"/>
          </a:solidFill>
          <a:ln w="34925">
            <a:noFill/>
          </a:ln>
          <a:effectLst>
            <a:outerShdw blurRad="546100" dir="2700000" sx="103000" sy="103000" algn="ctr">
              <a:srgbClr val="000000">
                <a:alpha val="90000"/>
              </a:srgbClr>
            </a:outerShdw>
          </a:effectLst>
          <a:scene3d>
            <a:camera prst="perspectiveFront" fov="4800000">
              <a:rot lat="18647210" lon="18492508" rev="3509972"/>
            </a:camera>
            <a:lightRig rig="threePt" dir="t"/>
          </a:scene3d>
          <a:sp3d extrusionH="203200">
            <a:bevelT w="381000" h="1524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noProof="1"/>
          </a:p>
        </p:txBody>
      </p:sp>
      <p:sp>
        <p:nvSpPr>
          <p:cNvPr id="18" name="Ellipse 17" descr="© INSCALE GmbH, 26.05.2010&#10;http://www.presentationload.com/"/>
          <p:cNvSpPr/>
          <p:nvPr/>
        </p:nvSpPr>
        <p:spPr bwMode="gray">
          <a:xfrm>
            <a:off x="2515272" y="1149305"/>
            <a:ext cx="4090878" cy="4088978"/>
          </a:xfrm>
          <a:prstGeom prst="ellipse">
            <a:avLst/>
          </a:prstGeom>
          <a:gradFill flip="none" rotWithShape="1">
            <a:gsLst>
              <a:gs pos="73000">
                <a:srgbClr val="F98B8B"/>
              </a:gs>
              <a:gs pos="45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3500000" scaled="1"/>
            <a:tileRect/>
          </a:gradFill>
          <a:ln w="34925">
            <a:noFill/>
          </a:ln>
          <a:effectLst>
            <a:outerShdw blurRad="330200" dist="38100" dir="5400000" algn="t" rotWithShape="0">
              <a:prstClr val="black">
                <a:alpha val="61000"/>
              </a:prstClr>
            </a:outerShdw>
          </a:effectLst>
          <a:scene3d>
            <a:camera prst="perspectiveFront" fov="4800000">
              <a:rot lat="18647210" lon="18492508" rev="3509972"/>
            </a:camera>
            <a:lightRig rig="threePt" dir="t"/>
          </a:scene3d>
          <a:sp3d extrusionH="190500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4800" b="1" noProof="1"/>
          </a:p>
        </p:txBody>
      </p:sp>
      <p:sp>
        <p:nvSpPr>
          <p:cNvPr id="3" name="Textfeld 2"/>
          <p:cNvSpPr txBox="1"/>
          <p:nvPr/>
        </p:nvSpPr>
        <p:spPr bwMode="gray">
          <a:xfrm>
            <a:off x="2784347" y="2878665"/>
            <a:ext cx="3648756" cy="923330"/>
          </a:xfrm>
          <a:prstGeom prst="rect">
            <a:avLst/>
          </a:prstGeom>
          <a:noFill/>
          <a:scene3d>
            <a:camera prst="perspectiveRelaxedModerately" fov="4800000">
              <a:rot lat="18290636" lon="0" rev="0"/>
            </a:camera>
            <a:lightRig rig="threePt" dir="t"/>
          </a:scene3d>
        </p:spPr>
        <p:txBody>
          <a:bodyPr wrap="none" rtlCol="0">
            <a:spAutoFit/>
            <a:scene3d>
              <a:camera prst="perspectiveRelaxedModerately" fov="4800000">
                <a:rot lat="18890638" lon="0" rev="0"/>
              </a:camera>
              <a:lightRig rig="threePt" dir="t"/>
            </a:scene3d>
          </a:bodyPr>
          <a:lstStyle/>
          <a:p>
            <a:pPr algn="ctr"/>
            <a:r>
              <a:rPr lang="de-DE" sz="5400" noProof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MARKETING</a:t>
            </a:r>
            <a:endParaRPr lang="de-DE" sz="5400" noProof="1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726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de-DE" noProof="1"/>
              <a:t>This is a placeholder text. This text can be replaced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de-DE" noProof="1"/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de-DE" noProof="1"/>
              <a:t>If you don’t want to use the style and </a:t>
            </a:r>
            <a:br>
              <a:rPr lang="de-DE" noProof="1"/>
            </a:br>
            <a:r>
              <a:rPr lang="de-DE" noProof="1"/>
              <a:t>size of the fonts as used in this </a:t>
            </a:r>
            <a:br>
              <a:rPr lang="de-DE" noProof="1"/>
            </a:br>
            <a:r>
              <a:rPr lang="de-DE" noProof="1"/>
              <a:t>placeholder it’s possible to replace</a:t>
            </a:r>
            <a:br>
              <a:rPr lang="de-DE" noProof="1"/>
            </a:br>
            <a:r>
              <a:rPr lang="de-DE" noProof="1"/>
              <a:t> it by selecting different options.</a:t>
            </a:r>
          </a:p>
        </p:txBody>
      </p:sp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noProof="1" smtClean="0"/>
              <a:t>Enter your subheadline here</a:t>
            </a:r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pPr>
              <a:defRPr/>
            </a:pPr>
            <a:r>
              <a:rPr lang="de-DE" noProof="1"/>
              <a:t>Graphic </a:t>
            </a:r>
            <a:r>
              <a:rPr lang="de-DE" b="0" noProof="1" smtClean="0"/>
              <a:t>- </a:t>
            </a:r>
            <a:r>
              <a:rPr lang="de-DE" b="0" noProof="1"/>
              <a:t>Push Button „Marketing“</a:t>
            </a:r>
          </a:p>
        </p:txBody>
      </p:sp>
      <p:grpSp>
        <p:nvGrpSpPr>
          <p:cNvPr id="2" name="Gruppieren 20"/>
          <p:cNvGrpSpPr/>
          <p:nvPr/>
        </p:nvGrpSpPr>
        <p:grpSpPr>
          <a:xfrm>
            <a:off x="4766732" y="1152373"/>
            <a:ext cx="3855661" cy="3855661"/>
            <a:chOff x="4766732" y="961873"/>
            <a:chExt cx="3855661" cy="3855661"/>
          </a:xfrm>
        </p:grpSpPr>
        <p:sp>
          <p:nvSpPr>
            <p:cNvPr id="13" name="Ellipse 12" descr="© INSCALE GmbH, 26.05.2010&#10;http://www.presentationload.com/"/>
            <p:cNvSpPr>
              <a:spLocks noChangeAspect="1"/>
            </p:cNvSpPr>
            <p:nvPr/>
          </p:nvSpPr>
          <p:spPr bwMode="gray">
            <a:xfrm>
              <a:off x="4766732" y="961873"/>
              <a:ext cx="3855661" cy="3855661"/>
            </a:xfrm>
            <a:prstGeom prst="ellipse">
              <a:avLst/>
            </a:prstGeom>
            <a:solidFill>
              <a:srgbClr val="AFAFAF"/>
            </a:solidFill>
            <a:ln w="34925">
              <a:noFill/>
            </a:ln>
            <a:effectLst>
              <a:outerShdw blurRad="317500" dir="2700000" algn="ctr">
                <a:srgbClr val="000000">
                  <a:alpha val="90000"/>
                </a:srgbClr>
              </a:outerShdw>
            </a:effectLst>
            <a:scene3d>
              <a:camera prst="perspectiveFront" fov="4800000">
                <a:rot lat="18647210" lon="18492508" rev="3509972"/>
              </a:camera>
              <a:lightRig rig="threePt" dir="t"/>
            </a:scene3d>
            <a:sp3d extrusionH="127000">
              <a:bevelT w="241300" h="1524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noProof="1"/>
            </a:p>
          </p:txBody>
        </p:sp>
        <p:sp>
          <p:nvSpPr>
            <p:cNvPr id="14" name="Ellipse 13" descr="© INSCALE GmbH, 26.05.2010&#10;http://www.presentationload.com/"/>
            <p:cNvSpPr/>
            <p:nvPr/>
          </p:nvSpPr>
          <p:spPr bwMode="gray">
            <a:xfrm>
              <a:off x="5090762" y="1041817"/>
              <a:ext cx="3189995" cy="3188513"/>
            </a:xfrm>
            <a:prstGeom prst="ellipse">
              <a:avLst/>
            </a:prstGeom>
            <a:gradFill flip="none" rotWithShape="1">
              <a:gsLst>
                <a:gs pos="73000">
                  <a:srgbClr val="F98B8B"/>
                </a:gs>
                <a:gs pos="45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34925">
              <a:noFill/>
            </a:ln>
            <a:effectLst>
              <a:outerShdw blurRad="330200" dist="38100" dir="5400000" algn="t" rotWithShape="0">
                <a:prstClr val="black">
                  <a:alpha val="61000"/>
                </a:prstClr>
              </a:outerShdw>
            </a:effectLst>
            <a:scene3d>
              <a:camera prst="perspectiveFront" fov="4800000">
                <a:rot lat="18647210" lon="18492508" rev="3509972"/>
              </a:camera>
              <a:lightRig rig="threePt" dir="t"/>
            </a:scene3d>
            <a:sp3d extrusionH="127000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anchor="ctr"/>
            <a:lstStyle/>
            <a:p>
              <a:pPr algn="ctr"/>
              <a:endParaRPr lang="de-DE" sz="4800" b="1" noProof="1"/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5325084" y="2379053"/>
              <a:ext cx="2751074" cy="707886"/>
            </a:xfrm>
            <a:prstGeom prst="rect">
              <a:avLst/>
            </a:prstGeom>
            <a:noFill/>
            <a:scene3d>
              <a:camera prst="perspectiveRelaxedModerately" fov="4800000">
                <a:rot lat="18890638" lon="0" rev="0"/>
              </a:camera>
              <a:lightRig rig="threePt" dir="t"/>
            </a:scene3d>
          </p:spPr>
          <p:txBody>
            <a:bodyPr wrap="none" rtlCol="0">
              <a:spAutoFit/>
              <a:scene3d>
                <a:camera prst="perspectiveRelaxedModerately" fov="4800000">
                  <a:rot lat="18890638" lon="0" rev="0"/>
                </a:camera>
                <a:lightRig rig="threePt" dir="t"/>
              </a:scene3d>
            </a:bodyPr>
            <a:lstStyle/>
            <a:p>
              <a:pPr algn="ctr"/>
              <a:r>
                <a:rPr lang="de-DE" sz="4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MARKETING</a:t>
              </a:r>
              <a:endParaRPr lang="de-DE" sz="4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095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f you don’t want to use the style and </a:t>
            </a:r>
            <a:b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ize of the fonts as used in this </a:t>
            </a:r>
            <a:b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laceholder </a:t>
            </a:r>
            <a:r>
              <a:rPr lang="de-DE" noProof="1" smtClean="0"/>
              <a:t>it’s </a:t>
            </a: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sible to replace</a:t>
            </a:r>
            <a:b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it by selecting different options.</a:t>
            </a:r>
          </a:p>
        </p:txBody>
      </p:sp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noProof="1" smtClean="0"/>
              <a:t>Enter your subheadline here</a:t>
            </a:r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pPr>
              <a:defRPr/>
            </a:pPr>
            <a:r>
              <a:rPr lang="de-DE" noProof="1" smtClean="0"/>
              <a:t>Graphic </a:t>
            </a:r>
            <a:r>
              <a:rPr lang="de-DE" b="0" noProof="1" smtClean="0"/>
              <a:t>- </a:t>
            </a:r>
            <a:r>
              <a:rPr lang="de-DE" b="0" noProof="1"/>
              <a:t>Push Button „Marketing“</a:t>
            </a:r>
          </a:p>
        </p:txBody>
      </p:sp>
      <p:grpSp>
        <p:nvGrpSpPr>
          <p:cNvPr id="2" name="Gruppieren 1"/>
          <p:cNvGrpSpPr/>
          <p:nvPr/>
        </p:nvGrpSpPr>
        <p:grpSpPr bwMode="gray">
          <a:xfrm>
            <a:off x="4766732" y="1152902"/>
            <a:ext cx="3855661" cy="3855661"/>
            <a:chOff x="2099733" y="945444"/>
            <a:chExt cx="4944534" cy="4944534"/>
          </a:xfrm>
        </p:grpSpPr>
        <p:sp>
          <p:nvSpPr>
            <p:cNvPr id="13" name="Ellipse 12" descr="© INSCALE GmbH, 26.05.2010&#10;http://www.presentationload.com/"/>
            <p:cNvSpPr>
              <a:spLocks noChangeAspect="1"/>
            </p:cNvSpPr>
            <p:nvPr/>
          </p:nvSpPr>
          <p:spPr bwMode="gray">
            <a:xfrm>
              <a:off x="2099733" y="945444"/>
              <a:ext cx="4944534" cy="4944534"/>
            </a:xfrm>
            <a:prstGeom prst="ellipse">
              <a:avLst/>
            </a:prstGeom>
            <a:solidFill>
              <a:srgbClr val="AFAFAF"/>
            </a:solidFill>
            <a:ln w="34925">
              <a:noFill/>
            </a:ln>
            <a:effectLst>
              <a:outerShdw blurRad="317500" dir="2700000" algn="ctr">
                <a:srgbClr val="000000">
                  <a:alpha val="90000"/>
                </a:srgbClr>
              </a:outerShdw>
            </a:effectLst>
            <a:scene3d>
              <a:camera prst="perspectiveFront" fov="4800000">
                <a:rot lat="18647210" lon="18492508" rev="3509972"/>
              </a:camera>
              <a:lightRig rig="threePt" dir="t"/>
            </a:scene3d>
            <a:sp3d extrusionH="127000">
              <a:bevelT w="241300" h="1524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noProof="1"/>
            </a:p>
          </p:txBody>
        </p:sp>
        <p:sp>
          <p:nvSpPr>
            <p:cNvPr id="14" name="Ellipse 13" descr="© INSCALE GmbH, 26.05.2010&#10;http://www.presentationload.com/"/>
            <p:cNvSpPr/>
            <p:nvPr/>
          </p:nvSpPr>
          <p:spPr bwMode="gray">
            <a:xfrm>
              <a:off x="2515272" y="1047965"/>
              <a:ext cx="4090878" cy="4088977"/>
            </a:xfrm>
            <a:prstGeom prst="ellipse">
              <a:avLst/>
            </a:prstGeom>
            <a:gradFill flip="none" rotWithShape="1">
              <a:gsLst>
                <a:gs pos="73000">
                  <a:schemeClr val="accent1">
                    <a:lumMod val="40000"/>
                    <a:lumOff val="60000"/>
                  </a:schemeClr>
                </a:gs>
                <a:gs pos="4500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3500000" scaled="1"/>
              <a:tileRect/>
            </a:gradFill>
            <a:ln w="34925">
              <a:noFill/>
            </a:ln>
            <a:effectLst>
              <a:outerShdw blurRad="330200" dist="38100" dir="5400000" algn="t" rotWithShape="0">
                <a:prstClr val="black">
                  <a:alpha val="61000"/>
                </a:prstClr>
              </a:outerShdw>
            </a:effectLst>
            <a:scene3d>
              <a:camera prst="perspectiveFront" fov="4800000">
                <a:rot lat="18647210" lon="18492508" rev="3509972"/>
              </a:camera>
              <a:lightRig rig="threePt" dir="t"/>
            </a:scene3d>
            <a:sp3d extrusionH="127000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4800" b="1" noProof="1"/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2815769" y="2762848"/>
              <a:ext cx="3528002" cy="907799"/>
            </a:xfrm>
            <a:prstGeom prst="rect">
              <a:avLst/>
            </a:prstGeom>
            <a:noFill/>
            <a:scene3d>
              <a:camera prst="perspectiveRelaxedModerately" fov="4800000">
                <a:rot lat="18890638" lon="0" rev="0"/>
              </a:camera>
              <a:lightRig rig="threePt" dir="t"/>
            </a:scene3d>
          </p:spPr>
          <p:txBody>
            <a:bodyPr wrap="none" rtlCol="0">
              <a:spAutoFit/>
              <a:scene3d>
                <a:camera prst="perspectiveRelaxedModerately" fov="4800000">
                  <a:rot lat="18890638" lon="0" rev="0"/>
                </a:camera>
                <a:lightRig rig="threePt" dir="t"/>
              </a:scene3d>
            </a:bodyPr>
            <a:lstStyle/>
            <a:p>
              <a:pPr algn="ctr"/>
              <a:r>
                <a:rPr lang="de-DE" sz="4000" noProof="1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MARKETING</a:t>
              </a:r>
              <a:endParaRPr lang="de-DE" sz="4000" noProof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288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9"/>
          <p:cNvGrpSpPr/>
          <p:nvPr/>
        </p:nvGrpSpPr>
        <p:grpSpPr bwMode="gray">
          <a:xfrm>
            <a:off x="2374498" y="1540607"/>
            <a:ext cx="4924746" cy="4082516"/>
            <a:chOff x="2559560" y="1486177"/>
            <a:chExt cx="4924746" cy="4082516"/>
          </a:xfrm>
        </p:grpSpPr>
        <p:grpSp>
          <p:nvGrpSpPr>
            <p:cNvPr id="3" name="Gruppieren 41"/>
            <p:cNvGrpSpPr/>
            <p:nvPr/>
          </p:nvGrpSpPr>
          <p:grpSpPr bwMode="gray">
            <a:xfrm>
              <a:off x="2820351" y="2044765"/>
              <a:ext cx="2724073" cy="3523928"/>
              <a:chOff x="-588963" y="2014538"/>
              <a:chExt cx="1519238" cy="1965325"/>
            </a:xfrm>
            <a:solidFill>
              <a:srgbClr val="000000"/>
            </a:solidFill>
            <a:effectLst>
              <a:outerShdw blurRad="254000" dist="50800" dir="2700000" sx="102000" sy="102000" algn="tl" rotWithShape="0">
                <a:prstClr val="black">
                  <a:alpha val="80000"/>
                </a:prstClr>
              </a:outerShdw>
            </a:effectLst>
            <a:scene3d>
              <a:camera prst="perspectiveRelaxedModerately" fov="4800000">
                <a:rot lat="19553745" lon="1229786" rev="19986047"/>
              </a:camera>
              <a:lightRig rig="threePt" dir="t"/>
            </a:scene3d>
          </p:grpSpPr>
          <p:sp>
            <p:nvSpPr>
              <p:cNvPr id="18" name="Freeform 1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8475" y="2105026"/>
                <a:ext cx="1339850" cy="1789113"/>
              </a:xfrm>
              <a:custGeom>
                <a:avLst/>
                <a:gdLst/>
                <a:ahLst/>
                <a:cxnLst>
                  <a:cxn ang="0">
                    <a:pos x="787" y="395"/>
                  </a:cxn>
                  <a:cxn ang="0">
                    <a:pos x="733" y="451"/>
                  </a:cxn>
                  <a:cxn ang="0">
                    <a:pos x="733" y="562"/>
                  </a:cxn>
                  <a:cxn ang="0">
                    <a:pos x="676" y="506"/>
                  </a:cxn>
                  <a:cxn ang="0">
                    <a:pos x="676" y="395"/>
                  </a:cxn>
                  <a:cxn ang="0">
                    <a:pos x="619" y="338"/>
                  </a:cxn>
                  <a:cxn ang="0">
                    <a:pos x="562" y="395"/>
                  </a:cxn>
                  <a:cxn ang="0">
                    <a:pos x="562" y="506"/>
                  </a:cxn>
                  <a:cxn ang="0">
                    <a:pos x="506" y="451"/>
                  </a:cxn>
                  <a:cxn ang="0">
                    <a:pos x="506" y="338"/>
                  </a:cxn>
                  <a:cxn ang="0">
                    <a:pos x="449" y="281"/>
                  </a:cxn>
                  <a:cxn ang="0">
                    <a:pos x="395" y="338"/>
                  </a:cxn>
                  <a:cxn ang="0">
                    <a:pos x="395" y="451"/>
                  </a:cxn>
                  <a:cxn ang="0">
                    <a:pos x="338" y="506"/>
                  </a:cxn>
                  <a:cxn ang="0">
                    <a:pos x="338" y="395"/>
                  </a:cxn>
                  <a:cxn ang="0">
                    <a:pos x="338" y="281"/>
                  </a:cxn>
                  <a:cxn ang="0">
                    <a:pos x="338" y="170"/>
                  </a:cxn>
                  <a:cxn ang="0">
                    <a:pos x="338" y="57"/>
                  </a:cxn>
                  <a:cxn ang="0">
                    <a:pos x="281" y="0"/>
                  </a:cxn>
                  <a:cxn ang="0">
                    <a:pos x="225" y="57"/>
                  </a:cxn>
                  <a:cxn ang="0">
                    <a:pos x="225" y="170"/>
                  </a:cxn>
                  <a:cxn ang="0">
                    <a:pos x="225" y="281"/>
                  </a:cxn>
                  <a:cxn ang="0">
                    <a:pos x="225" y="395"/>
                  </a:cxn>
                  <a:cxn ang="0">
                    <a:pos x="225" y="506"/>
                  </a:cxn>
                  <a:cxn ang="0">
                    <a:pos x="225" y="619"/>
                  </a:cxn>
                  <a:cxn ang="0">
                    <a:pos x="225" y="732"/>
                  </a:cxn>
                  <a:cxn ang="0">
                    <a:pos x="168" y="676"/>
                  </a:cxn>
                  <a:cxn ang="0">
                    <a:pos x="168" y="562"/>
                  </a:cxn>
                  <a:cxn ang="0">
                    <a:pos x="111" y="506"/>
                  </a:cxn>
                  <a:cxn ang="0">
                    <a:pos x="0" y="506"/>
                  </a:cxn>
                  <a:cxn ang="0">
                    <a:pos x="0" y="619"/>
                  </a:cxn>
                  <a:cxn ang="0">
                    <a:pos x="57" y="676"/>
                  </a:cxn>
                  <a:cxn ang="0">
                    <a:pos x="111" y="732"/>
                  </a:cxn>
                  <a:cxn ang="0">
                    <a:pos x="168" y="789"/>
                  </a:cxn>
                  <a:cxn ang="0">
                    <a:pos x="168" y="900"/>
                  </a:cxn>
                  <a:cxn ang="0">
                    <a:pos x="225" y="957"/>
                  </a:cxn>
                  <a:cxn ang="0">
                    <a:pos x="281" y="1013"/>
                  </a:cxn>
                  <a:cxn ang="0">
                    <a:pos x="281" y="1127"/>
                  </a:cxn>
                  <a:cxn ang="0">
                    <a:pos x="395" y="1127"/>
                  </a:cxn>
                  <a:cxn ang="0">
                    <a:pos x="506" y="1127"/>
                  </a:cxn>
                  <a:cxn ang="0">
                    <a:pos x="619" y="1127"/>
                  </a:cxn>
                  <a:cxn ang="0">
                    <a:pos x="733" y="1127"/>
                  </a:cxn>
                  <a:cxn ang="0">
                    <a:pos x="733" y="1013"/>
                  </a:cxn>
                  <a:cxn ang="0">
                    <a:pos x="787" y="957"/>
                  </a:cxn>
                  <a:cxn ang="0">
                    <a:pos x="787" y="843"/>
                  </a:cxn>
                  <a:cxn ang="0">
                    <a:pos x="844" y="789"/>
                  </a:cxn>
                  <a:cxn ang="0">
                    <a:pos x="844" y="676"/>
                  </a:cxn>
                  <a:cxn ang="0">
                    <a:pos x="844" y="562"/>
                  </a:cxn>
                  <a:cxn ang="0">
                    <a:pos x="844" y="451"/>
                  </a:cxn>
                </a:cxnLst>
                <a:rect l="0" t="0" r="r" b="b"/>
                <a:pathLst>
                  <a:path w="844" h="1127">
                    <a:moveTo>
                      <a:pt x="787" y="451"/>
                    </a:moveTo>
                    <a:lnTo>
                      <a:pt x="787" y="395"/>
                    </a:lnTo>
                    <a:lnTo>
                      <a:pt x="733" y="395"/>
                    </a:lnTo>
                    <a:lnTo>
                      <a:pt x="733" y="451"/>
                    </a:lnTo>
                    <a:lnTo>
                      <a:pt x="733" y="506"/>
                    </a:lnTo>
                    <a:lnTo>
                      <a:pt x="733" y="562"/>
                    </a:lnTo>
                    <a:lnTo>
                      <a:pt x="676" y="562"/>
                    </a:lnTo>
                    <a:lnTo>
                      <a:pt x="676" y="506"/>
                    </a:lnTo>
                    <a:lnTo>
                      <a:pt x="676" y="451"/>
                    </a:lnTo>
                    <a:lnTo>
                      <a:pt x="676" y="395"/>
                    </a:lnTo>
                    <a:lnTo>
                      <a:pt x="676" y="338"/>
                    </a:lnTo>
                    <a:lnTo>
                      <a:pt x="619" y="338"/>
                    </a:lnTo>
                    <a:lnTo>
                      <a:pt x="562" y="338"/>
                    </a:lnTo>
                    <a:lnTo>
                      <a:pt x="562" y="395"/>
                    </a:lnTo>
                    <a:lnTo>
                      <a:pt x="562" y="451"/>
                    </a:lnTo>
                    <a:lnTo>
                      <a:pt x="562" y="506"/>
                    </a:lnTo>
                    <a:lnTo>
                      <a:pt x="506" y="506"/>
                    </a:lnTo>
                    <a:lnTo>
                      <a:pt x="506" y="451"/>
                    </a:lnTo>
                    <a:lnTo>
                      <a:pt x="506" y="395"/>
                    </a:lnTo>
                    <a:lnTo>
                      <a:pt x="506" y="338"/>
                    </a:lnTo>
                    <a:lnTo>
                      <a:pt x="506" y="281"/>
                    </a:lnTo>
                    <a:lnTo>
                      <a:pt x="449" y="281"/>
                    </a:lnTo>
                    <a:lnTo>
                      <a:pt x="395" y="281"/>
                    </a:lnTo>
                    <a:lnTo>
                      <a:pt x="395" y="338"/>
                    </a:lnTo>
                    <a:lnTo>
                      <a:pt x="395" y="395"/>
                    </a:lnTo>
                    <a:lnTo>
                      <a:pt x="395" y="451"/>
                    </a:lnTo>
                    <a:lnTo>
                      <a:pt x="395" y="506"/>
                    </a:lnTo>
                    <a:lnTo>
                      <a:pt x="338" y="506"/>
                    </a:lnTo>
                    <a:lnTo>
                      <a:pt x="338" y="451"/>
                    </a:lnTo>
                    <a:lnTo>
                      <a:pt x="338" y="395"/>
                    </a:lnTo>
                    <a:lnTo>
                      <a:pt x="338" y="338"/>
                    </a:lnTo>
                    <a:lnTo>
                      <a:pt x="338" y="281"/>
                    </a:lnTo>
                    <a:lnTo>
                      <a:pt x="338" y="224"/>
                    </a:lnTo>
                    <a:lnTo>
                      <a:pt x="338" y="170"/>
                    </a:lnTo>
                    <a:lnTo>
                      <a:pt x="338" y="113"/>
                    </a:lnTo>
                    <a:lnTo>
                      <a:pt x="338" y="57"/>
                    </a:lnTo>
                    <a:lnTo>
                      <a:pt x="338" y="0"/>
                    </a:lnTo>
                    <a:lnTo>
                      <a:pt x="281" y="0"/>
                    </a:lnTo>
                    <a:lnTo>
                      <a:pt x="225" y="0"/>
                    </a:lnTo>
                    <a:lnTo>
                      <a:pt x="225" y="57"/>
                    </a:lnTo>
                    <a:lnTo>
                      <a:pt x="225" y="113"/>
                    </a:lnTo>
                    <a:lnTo>
                      <a:pt x="225" y="170"/>
                    </a:lnTo>
                    <a:lnTo>
                      <a:pt x="225" y="224"/>
                    </a:lnTo>
                    <a:lnTo>
                      <a:pt x="225" y="281"/>
                    </a:lnTo>
                    <a:lnTo>
                      <a:pt x="225" y="338"/>
                    </a:lnTo>
                    <a:lnTo>
                      <a:pt x="225" y="395"/>
                    </a:lnTo>
                    <a:lnTo>
                      <a:pt x="225" y="451"/>
                    </a:lnTo>
                    <a:lnTo>
                      <a:pt x="225" y="506"/>
                    </a:lnTo>
                    <a:lnTo>
                      <a:pt x="225" y="562"/>
                    </a:lnTo>
                    <a:lnTo>
                      <a:pt x="225" y="619"/>
                    </a:lnTo>
                    <a:lnTo>
                      <a:pt x="225" y="676"/>
                    </a:lnTo>
                    <a:lnTo>
                      <a:pt x="225" y="732"/>
                    </a:lnTo>
                    <a:lnTo>
                      <a:pt x="168" y="732"/>
                    </a:lnTo>
                    <a:lnTo>
                      <a:pt x="168" y="676"/>
                    </a:lnTo>
                    <a:lnTo>
                      <a:pt x="168" y="619"/>
                    </a:lnTo>
                    <a:lnTo>
                      <a:pt x="168" y="562"/>
                    </a:lnTo>
                    <a:lnTo>
                      <a:pt x="111" y="562"/>
                    </a:lnTo>
                    <a:lnTo>
                      <a:pt x="111" y="506"/>
                    </a:lnTo>
                    <a:lnTo>
                      <a:pt x="57" y="506"/>
                    </a:lnTo>
                    <a:lnTo>
                      <a:pt x="0" y="506"/>
                    </a:lnTo>
                    <a:lnTo>
                      <a:pt x="0" y="562"/>
                    </a:lnTo>
                    <a:lnTo>
                      <a:pt x="0" y="619"/>
                    </a:lnTo>
                    <a:lnTo>
                      <a:pt x="57" y="619"/>
                    </a:lnTo>
                    <a:lnTo>
                      <a:pt x="57" y="676"/>
                    </a:lnTo>
                    <a:lnTo>
                      <a:pt x="111" y="676"/>
                    </a:lnTo>
                    <a:lnTo>
                      <a:pt x="111" y="732"/>
                    </a:lnTo>
                    <a:lnTo>
                      <a:pt x="111" y="789"/>
                    </a:lnTo>
                    <a:lnTo>
                      <a:pt x="168" y="789"/>
                    </a:lnTo>
                    <a:lnTo>
                      <a:pt x="168" y="843"/>
                    </a:lnTo>
                    <a:lnTo>
                      <a:pt x="168" y="900"/>
                    </a:lnTo>
                    <a:lnTo>
                      <a:pt x="225" y="900"/>
                    </a:lnTo>
                    <a:lnTo>
                      <a:pt x="225" y="957"/>
                    </a:lnTo>
                    <a:lnTo>
                      <a:pt x="225" y="1013"/>
                    </a:lnTo>
                    <a:lnTo>
                      <a:pt x="281" y="1013"/>
                    </a:lnTo>
                    <a:lnTo>
                      <a:pt x="281" y="1070"/>
                    </a:lnTo>
                    <a:lnTo>
                      <a:pt x="281" y="1127"/>
                    </a:lnTo>
                    <a:lnTo>
                      <a:pt x="338" y="1127"/>
                    </a:lnTo>
                    <a:lnTo>
                      <a:pt x="395" y="1127"/>
                    </a:lnTo>
                    <a:lnTo>
                      <a:pt x="449" y="1127"/>
                    </a:lnTo>
                    <a:lnTo>
                      <a:pt x="506" y="1127"/>
                    </a:lnTo>
                    <a:lnTo>
                      <a:pt x="562" y="1127"/>
                    </a:lnTo>
                    <a:lnTo>
                      <a:pt x="619" y="1127"/>
                    </a:lnTo>
                    <a:lnTo>
                      <a:pt x="676" y="1127"/>
                    </a:lnTo>
                    <a:lnTo>
                      <a:pt x="733" y="1127"/>
                    </a:lnTo>
                    <a:lnTo>
                      <a:pt x="733" y="1070"/>
                    </a:lnTo>
                    <a:lnTo>
                      <a:pt x="733" y="1013"/>
                    </a:lnTo>
                    <a:lnTo>
                      <a:pt x="787" y="1013"/>
                    </a:lnTo>
                    <a:lnTo>
                      <a:pt x="787" y="957"/>
                    </a:lnTo>
                    <a:lnTo>
                      <a:pt x="787" y="900"/>
                    </a:lnTo>
                    <a:lnTo>
                      <a:pt x="787" y="843"/>
                    </a:lnTo>
                    <a:lnTo>
                      <a:pt x="844" y="843"/>
                    </a:lnTo>
                    <a:lnTo>
                      <a:pt x="844" y="789"/>
                    </a:lnTo>
                    <a:lnTo>
                      <a:pt x="844" y="732"/>
                    </a:lnTo>
                    <a:lnTo>
                      <a:pt x="844" y="676"/>
                    </a:lnTo>
                    <a:lnTo>
                      <a:pt x="844" y="619"/>
                    </a:lnTo>
                    <a:lnTo>
                      <a:pt x="844" y="562"/>
                    </a:lnTo>
                    <a:lnTo>
                      <a:pt x="844" y="506"/>
                    </a:lnTo>
                    <a:lnTo>
                      <a:pt x="844" y="451"/>
                    </a:lnTo>
                    <a:lnTo>
                      <a:pt x="787" y="451"/>
                    </a:lnTo>
                    <a:close/>
                  </a:path>
                </a:pathLst>
              </a:custGeom>
              <a:solidFill>
                <a:srgbClr val="FFFFFF"/>
              </a:solidFill>
              <a:ln w="57150">
                <a:noFill/>
              </a:ln>
              <a:sp3d z="-127000">
                <a:extrusionClr>
                  <a:schemeClr val="tx1">
                    <a:lumMod val="65000"/>
                    <a:lumOff val="3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noProof="1"/>
              </a:p>
            </p:txBody>
          </p:sp>
          <p:sp>
            <p:nvSpPr>
              <p:cNvPr id="19" name="Freeform 16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-588963" y="2014538"/>
                <a:ext cx="1519238" cy="1965325"/>
              </a:xfrm>
              <a:custGeom>
                <a:avLst/>
                <a:gdLst/>
                <a:ahLst/>
                <a:cxnLst>
                  <a:cxn ang="0">
                    <a:pos x="452" y="114"/>
                  </a:cxn>
                  <a:cxn ang="0">
                    <a:pos x="506" y="281"/>
                  </a:cxn>
                  <a:cxn ang="0">
                    <a:pos x="452" y="338"/>
                  </a:cxn>
                  <a:cxn ang="0">
                    <a:pos x="452" y="563"/>
                  </a:cxn>
                  <a:cxn ang="0">
                    <a:pos x="395" y="395"/>
                  </a:cxn>
                  <a:cxn ang="0">
                    <a:pos x="395" y="170"/>
                  </a:cxn>
                  <a:cxn ang="0">
                    <a:pos x="338" y="0"/>
                  </a:cxn>
                  <a:cxn ang="0">
                    <a:pos x="395" y="57"/>
                  </a:cxn>
                  <a:cxn ang="0">
                    <a:pos x="225" y="789"/>
                  </a:cxn>
                  <a:cxn ang="0">
                    <a:pos x="282" y="619"/>
                  </a:cxn>
                  <a:cxn ang="0">
                    <a:pos x="282" y="395"/>
                  </a:cxn>
                  <a:cxn ang="0">
                    <a:pos x="282" y="170"/>
                  </a:cxn>
                  <a:cxn ang="0">
                    <a:pos x="225" y="114"/>
                  </a:cxn>
                  <a:cxn ang="0">
                    <a:pos x="225" y="338"/>
                  </a:cxn>
                  <a:cxn ang="0">
                    <a:pos x="225" y="563"/>
                  </a:cxn>
                  <a:cxn ang="0">
                    <a:pos x="733" y="508"/>
                  </a:cxn>
                  <a:cxn ang="0">
                    <a:pos x="790" y="563"/>
                  </a:cxn>
                  <a:cxn ang="0">
                    <a:pos x="844" y="395"/>
                  </a:cxn>
                  <a:cxn ang="0">
                    <a:pos x="733" y="508"/>
                  </a:cxn>
                  <a:cxn ang="0">
                    <a:pos x="844" y="508"/>
                  </a:cxn>
                  <a:cxn ang="0">
                    <a:pos x="168" y="563"/>
                  </a:cxn>
                  <a:cxn ang="0">
                    <a:pos x="0" y="508"/>
                  </a:cxn>
                  <a:cxn ang="0">
                    <a:pos x="57" y="676"/>
                  </a:cxn>
                  <a:cxn ang="0">
                    <a:pos x="563" y="508"/>
                  </a:cxn>
                  <a:cxn ang="0">
                    <a:pos x="619" y="452"/>
                  </a:cxn>
                  <a:cxn ang="0">
                    <a:pos x="733" y="338"/>
                  </a:cxn>
                  <a:cxn ang="0">
                    <a:pos x="563" y="395"/>
                  </a:cxn>
                  <a:cxn ang="0">
                    <a:pos x="844" y="1070"/>
                  </a:cxn>
                  <a:cxn ang="0">
                    <a:pos x="901" y="900"/>
                  </a:cxn>
                  <a:cxn ang="0">
                    <a:pos x="790" y="1184"/>
                  </a:cxn>
                  <a:cxn ang="0">
                    <a:pos x="563" y="1184"/>
                  </a:cxn>
                  <a:cxn ang="0">
                    <a:pos x="338" y="1184"/>
                  </a:cxn>
                  <a:cxn ang="0">
                    <a:pos x="282" y="1127"/>
                  </a:cxn>
                  <a:cxn ang="0">
                    <a:pos x="395" y="1238"/>
                  </a:cxn>
                  <a:cxn ang="0">
                    <a:pos x="619" y="1238"/>
                  </a:cxn>
                  <a:cxn ang="0">
                    <a:pos x="844" y="1238"/>
                  </a:cxn>
                  <a:cxn ang="0">
                    <a:pos x="790" y="1070"/>
                  </a:cxn>
                  <a:cxn ang="0">
                    <a:pos x="901" y="619"/>
                  </a:cxn>
                  <a:cxn ang="0">
                    <a:pos x="901" y="846"/>
                  </a:cxn>
                  <a:cxn ang="0">
                    <a:pos x="957" y="789"/>
                  </a:cxn>
                  <a:cxn ang="0">
                    <a:pos x="957" y="563"/>
                  </a:cxn>
                  <a:cxn ang="0">
                    <a:pos x="114" y="733"/>
                  </a:cxn>
                  <a:cxn ang="0">
                    <a:pos x="168" y="789"/>
                  </a:cxn>
                  <a:cxn ang="0">
                    <a:pos x="114" y="733"/>
                  </a:cxn>
                  <a:cxn ang="0">
                    <a:pos x="225" y="957"/>
                  </a:cxn>
                  <a:cxn ang="0">
                    <a:pos x="282" y="1014"/>
                  </a:cxn>
                  <a:cxn ang="0">
                    <a:pos x="168" y="900"/>
                  </a:cxn>
                  <a:cxn ang="0">
                    <a:pos x="225" y="846"/>
                  </a:cxn>
                </a:cxnLst>
                <a:rect l="0" t="0" r="r" b="b"/>
                <a:pathLst>
                  <a:path w="957" h="1238">
                    <a:moveTo>
                      <a:pt x="395" y="114"/>
                    </a:moveTo>
                    <a:lnTo>
                      <a:pt x="395" y="57"/>
                    </a:lnTo>
                    <a:lnTo>
                      <a:pt x="452" y="57"/>
                    </a:lnTo>
                    <a:lnTo>
                      <a:pt x="452" y="114"/>
                    </a:lnTo>
                    <a:lnTo>
                      <a:pt x="452" y="170"/>
                    </a:lnTo>
                    <a:lnTo>
                      <a:pt x="452" y="227"/>
                    </a:lnTo>
                    <a:lnTo>
                      <a:pt x="452" y="281"/>
                    </a:lnTo>
                    <a:lnTo>
                      <a:pt x="506" y="281"/>
                    </a:lnTo>
                    <a:lnTo>
                      <a:pt x="563" y="281"/>
                    </a:lnTo>
                    <a:lnTo>
                      <a:pt x="563" y="338"/>
                    </a:lnTo>
                    <a:lnTo>
                      <a:pt x="506" y="338"/>
                    </a:lnTo>
                    <a:lnTo>
                      <a:pt x="452" y="338"/>
                    </a:lnTo>
                    <a:lnTo>
                      <a:pt x="452" y="395"/>
                    </a:lnTo>
                    <a:lnTo>
                      <a:pt x="452" y="452"/>
                    </a:lnTo>
                    <a:lnTo>
                      <a:pt x="452" y="508"/>
                    </a:lnTo>
                    <a:lnTo>
                      <a:pt x="452" y="563"/>
                    </a:lnTo>
                    <a:lnTo>
                      <a:pt x="395" y="563"/>
                    </a:lnTo>
                    <a:lnTo>
                      <a:pt x="395" y="508"/>
                    </a:lnTo>
                    <a:lnTo>
                      <a:pt x="395" y="452"/>
                    </a:lnTo>
                    <a:lnTo>
                      <a:pt x="395" y="395"/>
                    </a:lnTo>
                    <a:lnTo>
                      <a:pt x="395" y="338"/>
                    </a:lnTo>
                    <a:lnTo>
                      <a:pt x="395" y="281"/>
                    </a:lnTo>
                    <a:lnTo>
                      <a:pt x="395" y="227"/>
                    </a:lnTo>
                    <a:lnTo>
                      <a:pt x="395" y="170"/>
                    </a:lnTo>
                    <a:lnTo>
                      <a:pt x="395" y="114"/>
                    </a:lnTo>
                    <a:close/>
                    <a:moveTo>
                      <a:pt x="395" y="57"/>
                    </a:moveTo>
                    <a:lnTo>
                      <a:pt x="395" y="0"/>
                    </a:lnTo>
                    <a:lnTo>
                      <a:pt x="338" y="0"/>
                    </a:lnTo>
                    <a:lnTo>
                      <a:pt x="282" y="0"/>
                    </a:lnTo>
                    <a:lnTo>
                      <a:pt x="282" y="57"/>
                    </a:lnTo>
                    <a:lnTo>
                      <a:pt x="338" y="57"/>
                    </a:lnTo>
                    <a:lnTo>
                      <a:pt x="395" y="57"/>
                    </a:lnTo>
                    <a:close/>
                    <a:moveTo>
                      <a:pt x="225" y="619"/>
                    </a:moveTo>
                    <a:lnTo>
                      <a:pt x="225" y="676"/>
                    </a:lnTo>
                    <a:lnTo>
                      <a:pt x="225" y="733"/>
                    </a:lnTo>
                    <a:lnTo>
                      <a:pt x="225" y="789"/>
                    </a:lnTo>
                    <a:lnTo>
                      <a:pt x="282" y="789"/>
                    </a:lnTo>
                    <a:lnTo>
                      <a:pt x="282" y="733"/>
                    </a:lnTo>
                    <a:lnTo>
                      <a:pt x="282" y="676"/>
                    </a:lnTo>
                    <a:lnTo>
                      <a:pt x="282" y="619"/>
                    </a:lnTo>
                    <a:lnTo>
                      <a:pt x="282" y="563"/>
                    </a:lnTo>
                    <a:lnTo>
                      <a:pt x="282" y="508"/>
                    </a:lnTo>
                    <a:lnTo>
                      <a:pt x="282" y="452"/>
                    </a:lnTo>
                    <a:lnTo>
                      <a:pt x="282" y="395"/>
                    </a:lnTo>
                    <a:lnTo>
                      <a:pt x="282" y="338"/>
                    </a:lnTo>
                    <a:lnTo>
                      <a:pt x="282" y="281"/>
                    </a:lnTo>
                    <a:lnTo>
                      <a:pt x="282" y="227"/>
                    </a:lnTo>
                    <a:lnTo>
                      <a:pt x="282" y="170"/>
                    </a:lnTo>
                    <a:lnTo>
                      <a:pt x="282" y="114"/>
                    </a:lnTo>
                    <a:lnTo>
                      <a:pt x="282" y="57"/>
                    </a:lnTo>
                    <a:lnTo>
                      <a:pt x="225" y="57"/>
                    </a:lnTo>
                    <a:lnTo>
                      <a:pt x="225" y="114"/>
                    </a:lnTo>
                    <a:lnTo>
                      <a:pt x="225" y="170"/>
                    </a:lnTo>
                    <a:lnTo>
                      <a:pt x="225" y="227"/>
                    </a:lnTo>
                    <a:lnTo>
                      <a:pt x="225" y="281"/>
                    </a:lnTo>
                    <a:lnTo>
                      <a:pt x="225" y="338"/>
                    </a:lnTo>
                    <a:lnTo>
                      <a:pt x="225" y="395"/>
                    </a:lnTo>
                    <a:lnTo>
                      <a:pt x="225" y="452"/>
                    </a:lnTo>
                    <a:lnTo>
                      <a:pt x="225" y="508"/>
                    </a:lnTo>
                    <a:lnTo>
                      <a:pt x="225" y="563"/>
                    </a:lnTo>
                    <a:lnTo>
                      <a:pt x="168" y="563"/>
                    </a:lnTo>
                    <a:lnTo>
                      <a:pt x="168" y="619"/>
                    </a:lnTo>
                    <a:lnTo>
                      <a:pt x="225" y="619"/>
                    </a:lnTo>
                    <a:close/>
                    <a:moveTo>
                      <a:pt x="733" y="508"/>
                    </a:moveTo>
                    <a:lnTo>
                      <a:pt x="733" y="563"/>
                    </a:lnTo>
                    <a:lnTo>
                      <a:pt x="733" y="619"/>
                    </a:lnTo>
                    <a:lnTo>
                      <a:pt x="790" y="619"/>
                    </a:lnTo>
                    <a:lnTo>
                      <a:pt x="790" y="563"/>
                    </a:lnTo>
                    <a:lnTo>
                      <a:pt x="790" y="508"/>
                    </a:lnTo>
                    <a:lnTo>
                      <a:pt x="790" y="452"/>
                    </a:lnTo>
                    <a:lnTo>
                      <a:pt x="844" y="452"/>
                    </a:lnTo>
                    <a:lnTo>
                      <a:pt x="844" y="395"/>
                    </a:lnTo>
                    <a:lnTo>
                      <a:pt x="790" y="395"/>
                    </a:lnTo>
                    <a:lnTo>
                      <a:pt x="733" y="395"/>
                    </a:lnTo>
                    <a:lnTo>
                      <a:pt x="733" y="452"/>
                    </a:lnTo>
                    <a:lnTo>
                      <a:pt x="733" y="508"/>
                    </a:lnTo>
                    <a:close/>
                    <a:moveTo>
                      <a:pt x="901" y="508"/>
                    </a:moveTo>
                    <a:lnTo>
                      <a:pt x="901" y="452"/>
                    </a:lnTo>
                    <a:lnTo>
                      <a:pt x="844" y="452"/>
                    </a:lnTo>
                    <a:lnTo>
                      <a:pt x="844" y="508"/>
                    </a:lnTo>
                    <a:lnTo>
                      <a:pt x="901" y="508"/>
                    </a:lnTo>
                    <a:close/>
                    <a:moveTo>
                      <a:pt x="57" y="563"/>
                    </a:moveTo>
                    <a:lnTo>
                      <a:pt x="114" y="563"/>
                    </a:lnTo>
                    <a:lnTo>
                      <a:pt x="168" y="563"/>
                    </a:lnTo>
                    <a:lnTo>
                      <a:pt x="168" y="508"/>
                    </a:lnTo>
                    <a:lnTo>
                      <a:pt x="114" y="508"/>
                    </a:lnTo>
                    <a:lnTo>
                      <a:pt x="57" y="508"/>
                    </a:lnTo>
                    <a:lnTo>
                      <a:pt x="0" y="508"/>
                    </a:lnTo>
                    <a:lnTo>
                      <a:pt x="0" y="563"/>
                    </a:lnTo>
                    <a:lnTo>
                      <a:pt x="0" y="619"/>
                    </a:lnTo>
                    <a:lnTo>
                      <a:pt x="0" y="676"/>
                    </a:lnTo>
                    <a:lnTo>
                      <a:pt x="57" y="676"/>
                    </a:lnTo>
                    <a:lnTo>
                      <a:pt x="57" y="619"/>
                    </a:lnTo>
                    <a:lnTo>
                      <a:pt x="57" y="563"/>
                    </a:lnTo>
                    <a:close/>
                    <a:moveTo>
                      <a:pt x="563" y="452"/>
                    </a:moveTo>
                    <a:lnTo>
                      <a:pt x="563" y="508"/>
                    </a:lnTo>
                    <a:lnTo>
                      <a:pt x="563" y="563"/>
                    </a:lnTo>
                    <a:lnTo>
                      <a:pt x="619" y="563"/>
                    </a:lnTo>
                    <a:lnTo>
                      <a:pt x="619" y="508"/>
                    </a:lnTo>
                    <a:lnTo>
                      <a:pt x="619" y="452"/>
                    </a:lnTo>
                    <a:lnTo>
                      <a:pt x="619" y="395"/>
                    </a:lnTo>
                    <a:lnTo>
                      <a:pt x="676" y="395"/>
                    </a:lnTo>
                    <a:lnTo>
                      <a:pt x="733" y="395"/>
                    </a:lnTo>
                    <a:lnTo>
                      <a:pt x="733" y="338"/>
                    </a:lnTo>
                    <a:lnTo>
                      <a:pt x="676" y="338"/>
                    </a:lnTo>
                    <a:lnTo>
                      <a:pt x="619" y="338"/>
                    </a:lnTo>
                    <a:lnTo>
                      <a:pt x="563" y="338"/>
                    </a:lnTo>
                    <a:lnTo>
                      <a:pt x="563" y="395"/>
                    </a:lnTo>
                    <a:lnTo>
                      <a:pt x="563" y="452"/>
                    </a:lnTo>
                    <a:close/>
                    <a:moveTo>
                      <a:pt x="844" y="957"/>
                    </a:moveTo>
                    <a:lnTo>
                      <a:pt x="844" y="1014"/>
                    </a:lnTo>
                    <a:lnTo>
                      <a:pt x="844" y="1070"/>
                    </a:lnTo>
                    <a:lnTo>
                      <a:pt x="901" y="1070"/>
                    </a:lnTo>
                    <a:lnTo>
                      <a:pt x="901" y="1014"/>
                    </a:lnTo>
                    <a:lnTo>
                      <a:pt x="901" y="957"/>
                    </a:lnTo>
                    <a:lnTo>
                      <a:pt x="901" y="900"/>
                    </a:lnTo>
                    <a:lnTo>
                      <a:pt x="844" y="900"/>
                    </a:lnTo>
                    <a:lnTo>
                      <a:pt x="844" y="957"/>
                    </a:lnTo>
                    <a:close/>
                    <a:moveTo>
                      <a:pt x="790" y="1127"/>
                    </a:moveTo>
                    <a:lnTo>
                      <a:pt x="790" y="1184"/>
                    </a:lnTo>
                    <a:lnTo>
                      <a:pt x="733" y="1184"/>
                    </a:lnTo>
                    <a:lnTo>
                      <a:pt x="676" y="1184"/>
                    </a:lnTo>
                    <a:lnTo>
                      <a:pt x="619" y="1184"/>
                    </a:lnTo>
                    <a:lnTo>
                      <a:pt x="563" y="1184"/>
                    </a:lnTo>
                    <a:lnTo>
                      <a:pt x="506" y="1184"/>
                    </a:lnTo>
                    <a:lnTo>
                      <a:pt x="452" y="1184"/>
                    </a:lnTo>
                    <a:lnTo>
                      <a:pt x="395" y="1184"/>
                    </a:lnTo>
                    <a:lnTo>
                      <a:pt x="338" y="1184"/>
                    </a:lnTo>
                    <a:lnTo>
                      <a:pt x="338" y="1127"/>
                    </a:lnTo>
                    <a:lnTo>
                      <a:pt x="338" y="1070"/>
                    </a:lnTo>
                    <a:lnTo>
                      <a:pt x="282" y="1070"/>
                    </a:lnTo>
                    <a:lnTo>
                      <a:pt x="282" y="1127"/>
                    </a:lnTo>
                    <a:lnTo>
                      <a:pt x="282" y="1184"/>
                    </a:lnTo>
                    <a:lnTo>
                      <a:pt x="282" y="1238"/>
                    </a:lnTo>
                    <a:lnTo>
                      <a:pt x="338" y="1238"/>
                    </a:lnTo>
                    <a:lnTo>
                      <a:pt x="395" y="1238"/>
                    </a:lnTo>
                    <a:lnTo>
                      <a:pt x="452" y="1238"/>
                    </a:lnTo>
                    <a:lnTo>
                      <a:pt x="506" y="1238"/>
                    </a:lnTo>
                    <a:lnTo>
                      <a:pt x="563" y="1238"/>
                    </a:lnTo>
                    <a:lnTo>
                      <a:pt x="619" y="1238"/>
                    </a:lnTo>
                    <a:lnTo>
                      <a:pt x="676" y="1238"/>
                    </a:lnTo>
                    <a:lnTo>
                      <a:pt x="733" y="1238"/>
                    </a:lnTo>
                    <a:lnTo>
                      <a:pt x="790" y="1238"/>
                    </a:lnTo>
                    <a:lnTo>
                      <a:pt x="844" y="1238"/>
                    </a:lnTo>
                    <a:lnTo>
                      <a:pt x="844" y="1184"/>
                    </a:lnTo>
                    <a:lnTo>
                      <a:pt x="844" y="1127"/>
                    </a:lnTo>
                    <a:lnTo>
                      <a:pt x="844" y="1070"/>
                    </a:lnTo>
                    <a:lnTo>
                      <a:pt x="790" y="1070"/>
                    </a:lnTo>
                    <a:lnTo>
                      <a:pt x="790" y="1127"/>
                    </a:lnTo>
                    <a:close/>
                    <a:moveTo>
                      <a:pt x="901" y="508"/>
                    </a:moveTo>
                    <a:lnTo>
                      <a:pt x="901" y="563"/>
                    </a:lnTo>
                    <a:lnTo>
                      <a:pt x="901" y="619"/>
                    </a:lnTo>
                    <a:lnTo>
                      <a:pt x="901" y="676"/>
                    </a:lnTo>
                    <a:lnTo>
                      <a:pt x="901" y="733"/>
                    </a:lnTo>
                    <a:lnTo>
                      <a:pt x="901" y="789"/>
                    </a:lnTo>
                    <a:lnTo>
                      <a:pt x="901" y="846"/>
                    </a:lnTo>
                    <a:lnTo>
                      <a:pt x="901" y="900"/>
                    </a:lnTo>
                    <a:lnTo>
                      <a:pt x="957" y="900"/>
                    </a:lnTo>
                    <a:lnTo>
                      <a:pt x="957" y="846"/>
                    </a:lnTo>
                    <a:lnTo>
                      <a:pt x="957" y="789"/>
                    </a:lnTo>
                    <a:lnTo>
                      <a:pt x="957" y="733"/>
                    </a:lnTo>
                    <a:lnTo>
                      <a:pt x="957" y="676"/>
                    </a:lnTo>
                    <a:lnTo>
                      <a:pt x="957" y="619"/>
                    </a:lnTo>
                    <a:lnTo>
                      <a:pt x="957" y="563"/>
                    </a:lnTo>
                    <a:lnTo>
                      <a:pt x="957" y="508"/>
                    </a:lnTo>
                    <a:lnTo>
                      <a:pt x="901" y="508"/>
                    </a:lnTo>
                    <a:close/>
                    <a:moveTo>
                      <a:pt x="168" y="733"/>
                    </a:moveTo>
                    <a:lnTo>
                      <a:pt x="114" y="733"/>
                    </a:lnTo>
                    <a:lnTo>
                      <a:pt x="114" y="789"/>
                    </a:lnTo>
                    <a:lnTo>
                      <a:pt x="114" y="846"/>
                    </a:lnTo>
                    <a:lnTo>
                      <a:pt x="168" y="846"/>
                    </a:lnTo>
                    <a:lnTo>
                      <a:pt x="168" y="789"/>
                    </a:lnTo>
                    <a:lnTo>
                      <a:pt x="168" y="733"/>
                    </a:lnTo>
                    <a:close/>
                    <a:moveTo>
                      <a:pt x="57" y="676"/>
                    </a:moveTo>
                    <a:lnTo>
                      <a:pt x="57" y="733"/>
                    </a:lnTo>
                    <a:lnTo>
                      <a:pt x="114" y="733"/>
                    </a:lnTo>
                    <a:lnTo>
                      <a:pt x="114" y="676"/>
                    </a:lnTo>
                    <a:lnTo>
                      <a:pt x="57" y="676"/>
                    </a:lnTo>
                    <a:close/>
                    <a:moveTo>
                      <a:pt x="282" y="957"/>
                    </a:moveTo>
                    <a:lnTo>
                      <a:pt x="225" y="957"/>
                    </a:lnTo>
                    <a:lnTo>
                      <a:pt x="225" y="1014"/>
                    </a:lnTo>
                    <a:lnTo>
                      <a:pt x="225" y="1070"/>
                    </a:lnTo>
                    <a:lnTo>
                      <a:pt x="282" y="1070"/>
                    </a:lnTo>
                    <a:lnTo>
                      <a:pt x="282" y="1014"/>
                    </a:lnTo>
                    <a:lnTo>
                      <a:pt x="282" y="957"/>
                    </a:lnTo>
                    <a:close/>
                    <a:moveTo>
                      <a:pt x="225" y="846"/>
                    </a:moveTo>
                    <a:lnTo>
                      <a:pt x="168" y="846"/>
                    </a:lnTo>
                    <a:lnTo>
                      <a:pt x="168" y="900"/>
                    </a:lnTo>
                    <a:lnTo>
                      <a:pt x="168" y="957"/>
                    </a:lnTo>
                    <a:lnTo>
                      <a:pt x="225" y="957"/>
                    </a:lnTo>
                    <a:lnTo>
                      <a:pt x="225" y="900"/>
                    </a:lnTo>
                    <a:lnTo>
                      <a:pt x="225" y="846"/>
                    </a:lnTo>
                    <a:close/>
                  </a:path>
                </a:pathLst>
              </a:custGeom>
              <a:grpFill/>
              <a:ln w="57150">
                <a:noFill/>
              </a:ln>
              <a:sp3d extrusionH="228600">
                <a:extrusionClr>
                  <a:srgbClr val="646464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noProof="1"/>
              </a:p>
            </p:txBody>
          </p:sp>
        </p:grpSp>
        <p:sp>
          <p:nvSpPr>
            <p:cNvPr id="20" name="Textfeld 19" descr="© INSCALE GmbH, 26.05.2010&#10;http://www.presentationload.com/"/>
            <p:cNvSpPr txBox="1"/>
            <p:nvPr/>
          </p:nvSpPr>
          <p:spPr bwMode="gray">
            <a:xfrm>
              <a:off x="2559560" y="1486177"/>
              <a:ext cx="4924746" cy="1200329"/>
            </a:xfrm>
            <a:prstGeom prst="rect">
              <a:avLst/>
            </a:prstGeom>
            <a:noFill/>
          </p:spPr>
          <p:txBody>
            <a:bodyPr wrap="none">
              <a:spAutoFit/>
              <a:scene3d>
                <a:camera prst="perspectiveRelaxedModerately" fov="3600000">
                  <a:rot lat="18615536" lon="955815" rev="20280000"/>
                </a:camera>
                <a:lightRig rig="threePt" dir="t">
                  <a:rot lat="0" lon="0" rev="4200000"/>
                </a:lightRig>
              </a:scene3d>
              <a:sp3d extrusionH="254000" prstMaterial="plastic"/>
            </a:bodyPr>
            <a:lstStyle/>
            <a:p>
              <a:pPr algn="ctr">
                <a:defRPr/>
              </a:pPr>
              <a:r>
                <a:rPr lang="en-US" sz="7200" b="1" noProof="1" smtClean="0">
                  <a:solidFill>
                    <a:schemeClr val="accent1"/>
                  </a:solidFill>
                  <a:effectLst>
                    <a:outerShdw blurRad="88900" algn="ctr" rotWithShape="0">
                      <a:prstClr val="black">
                        <a:alpha val="74000"/>
                      </a:prstClr>
                    </a:outerShdw>
                  </a:effectLst>
                  <a:latin typeface="+mj-lt"/>
                  <a:cs typeface="Arial" charset="0"/>
                </a:rPr>
                <a:t>MARKETING</a:t>
              </a:r>
              <a:endParaRPr lang="en-US" sz="7200" b="1" noProof="1">
                <a:solidFill>
                  <a:schemeClr val="accent1"/>
                </a:solidFill>
                <a:effectLst>
                  <a:outerShdw blurRad="88900" algn="ctr" rotWithShape="0">
                    <a:prstClr val="black">
                      <a:alpha val="74000"/>
                    </a:prstClr>
                  </a:outerShdw>
                </a:effectLst>
                <a:latin typeface="+mj-lt"/>
                <a:cs typeface="Arial" charset="0"/>
              </a:endParaRPr>
            </a:p>
          </p:txBody>
        </p:sp>
      </p:grpSp>
      <p:sp>
        <p:nvSpPr>
          <p:cNvPr id="7" name="_h1"/>
          <p:cNvSpPr txBox="1">
            <a:spLocks noChangeArrowheads="1"/>
          </p:cNvSpPr>
          <p:nvPr/>
        </p:nvSpPr>
        <p:spPr bwMode="gray">
          <a:xfrm>
            <a:off x="232407" y="271791"/>
            <a:ext cx="8497092" cy="616455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kumimoji="0" lang="en-US" sz="3000" i="0" u="none" strike="noStrike" kern="1200" cap="none" spc="0" normalizeH="0" baseline="0" noProof="1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Graphic </a:t>
            </a:r>
            <a:r>
              <a:rPr lang="en-US" b="0" noProof="1" smtClean="0"/>
              <a:t>- Mouse Cursor „Marketing“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76324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f you don’t want to use the style and size of the fonts as used in this placeholder </a:t>
            </a:r>
            <a:r>
              <a:rPr lang="de-DE" noProof="1" smtClean="0"/>
              <a:t>it’s </a:t>
            </a:r>
            <a:r>
              <a:rPr kumimoji="0" lang="de-DE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sible to replace it by selecting different options.</a:t>
            </a:r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 smtClean="0"/>
              <a:t>Graphic </a:t>
            </a:r>
            <a:r>
              <a:rPr lang="de-DE" b="0" noProof="1" smtClean="0"/>
              <a:t>- Mouse Cursor „Marketing“</a:t>
            </a:r>
            <a:endParaRPr lang="de-DE" b="0" noProof="1"/>
          </a:p>
        </p:txBody>
      </p:sp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noProof="1" smtClean="0"/>
              <a:t>Enter your subheadline here</a:t>
            </a:r>
          </a:p>
        </p:txBody>
      </p:sp>
      <p:grpSp>
        <p:nvGrpSpPr>
          <p:cNvPr id="2" name="Gruppieren 5"/>
          <p:cNvGrpSpPr/>
          <p:nvPr/>
        </p:nvGrpSpPr>
        <p:grpSpPr bwMode="gray">
          <a:xfrm>
            <a:off x="4819803" y="1749780"/>
            <a:ext cx="4137671" cy="3593136"/>
            <a:chOff x="2658433" y="1315993"/>
            <a:chExt cx="4897185" cy="4252700"/>
          </a:xfrm>
        </p:grpSpPr>
        <p:grpSp>
          <p:nvGrpSpPr>
            <p:cNvPr id="3" name="Gruppieren 41"/>
            <p:cNvGrpSpPr/>
            <p:nvPr/>
          </p:nvGrpSpPr>
          <p:grpSpPr bwMode="gray">
            <a:xfrm>
              <a:off x="2820351" y="2044765"/>
              <a:ext cx="2724073" cy="3523928"/>
              <a:chOff x="-588963" y="2014538"/>
              <a:chExt cx="1519238" cy="1965325"/>
            </a:xfrm>
            <a:solidFill>
              <a:srgbClr val="000000"/>
            </a:solidFill>
            <a:effectLst>
              <a:outerShdw blurRad="254000" dist="50800" dir="2700000" sx="102000" sy="102000" algn="tl" rotWithShape="0">
                <a:prstClr val="black">
                  <a:alpha val="80000"/>
                </a:prstClr>
              </a:outerShdw>
            </a:effectLst>
            <a:scene3d>
              <a:camera prst="perspectiveRelaxedModerately" fov="4800000">
                <a:rot lat="19553745" lon="1229786" rev="19986047"/>
              </a:camera>
              <a:lightRig rig="threePt" dir="t"/>
            </a:scene3d>
          </p:grpSpPr>
          <p:sp>
            <p:nvSpPr>
              <p:cNvPr id="10" name="Freeform 1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8475" y="2105026"/>
                <a:ext cx="1339850" cy="1789113"/>
              </a:xfrm>
              <a:custGeom>
                <a:avLst/>
                <a:gdLst/>
                <a:ahLst/>
                <a:cxnLst>
                  <a:cxn ang="0">
                    <a:pos x="787" y="395"/>
                  </a:cxn>
                  <a:cxn ang="0">
                    <a:pos x="733" y="451"/>
                  </a:cxn>
                  <a:cxn ang="0">
                    <a:pos x="733" y="562"/>
                  </a:cxn>
                  <a:cxn ang="0">
                    <a:pos x="676" y="506"/>
                  </a:cxn>
                  <a:cxn ang="0">
                    <a:pos x="676" y="395"/>
                  </a:cxn>
                  <a:cxn ang="0">
                    <a:pos x="619" y="338"/>
                  </a:cxn>
                  <a:cxn ang="0">
                    <a:pos x="562" y="395"/>
                  </a:cxn>
                  <a:cxn ang="0">
                    <a:pos x="562" y="506"/>
                  </a:cxn>
                  <a:cxn ang="0">
                    <a:pos x="506" y="451"/>
                  </a:cxn>
                  <a:cxn ang="0">
                    <a:pos x="506" y="338"/>
                  </a:cxn>
                  <a:cxn ang="0">
                    <a:pos x="449" y="281"/>
                  </a:cxn>
                  <a:cxn ang="0">
                    <a:pos x="395" y="338"/>
                  </a:cxn>
                  <a:cxn ang="0">
                    <a:pos x="395" y="451"/>
                  </a:cxn>
                  <a:cxn ang="0">
                    <a:pos x="338" y="506"/>
                  </a:cxn>
                  <a:cxn ang="0">
                    <a:pos x="338" y="395"/>
                  </a:cxn>
                  <a:cxn ang="0">
                    <a:pos x="338" y="281"/>
                  </a:cxn>
                  <a:cxn ang="0">
                    <a:pos x="338" y="170"/>
                  </a:cxn>
                  <a:cxn ang="0">
                    <a:pos x="338" y="57"/>
                  </a:cxn>
                  <a:cxn ang="0">
                    <a:pos x="281" y="0"/>
                  </a:cxn>
                  <a:cxn ang="0">
                    <a:pos x="225" y="57"/>
                  </a:cxn>
                  <a:cxn ang="0">
                    <a:pos x="225" y="170"/>
                  </a:cxn>
                  <a:cxn ang="0">
                    <a:pos x="225" y="281"/>
                  </a:cxn>
                  <a:cxn ang="0">
                    <a:pos x="225" y="395"/>
                  </a:cxn>
                  <a:cxn ang="0">
                    <a:pos x="225" y="506"/>
                  </a:cxn>
                  <a:cxn ang="0">
                    <a:pos x="225" y="619"/>
                  </a:cxn>
                  <a:cxn ang="0">
                    <a:pos x="225" y="732"/>
                  </a:cxn>
                  <a:cxn ang="0">
                    <a:pos x="168" y="676"/>
                  </a:cxn>
                  <a:cxn ang="0">
                    <a:pos x="168" y="562"/>
                  </a:cxn>
                  <a:cxn ang="0">
                    <a:pos x="111" y="506"/>
                  </a:cxn>
                  <a:cxn ang="0">
                    <a:pos x="0" y="506"/>
                  </a:cxn>
                  <a:cxn ang="0">
                    <a:pos x="0" y="619"/>
                  </a:cxn>
                  <a:cxn ang="0">
                    <a:pos x="57" y="676"/>
                  </a:cxn>
                  <a:cxn ang="0">
                    <a:pos x="111" y="732"/>
                  </a:cxn>
                  <a:cxn ang="0">
                    <a:pos x="168" y="789"/>
                  </a:cxn>
                  <a:cxn ang="0">
                    <a:pos x="168" y="900"/>
                  </a:cxn>
                  <a:cxn ang="0">
                    <a:pos x="225" y="957"/>
                  </a:cxn>
                  <a:cxn ang="0">
                    <a:pos x="281" y="1013"/>
                  </a:cxn>
                  <a:cxn ang="0">
                    <a:pos x="281" y="1127"/>
                  </a:cxn>
                  <a:cxn ang="0">
                    <a:pos x="395" y="1127"/>
                  </a:cxn>
                  <a:cxn ang="0">
                    <a:pos x="506" y="1127"/>
                  </a:cxn>
                  <a:cxn ang="0">
                    <a:pos x="619" y="1127"/>
                  </a:cxn>
                  <a:cxn ang="0">
                    <a:pos x="733" y="1127"/>
                  </a:cxn>
                  <a:cxn ang="0">
                    <a:pos x="733" y="1013"/>
                  </a:cxn>
                  <a:cxn ang="0">
                    <a:pos x="787" y="957"/>
                  </a:cxn>
                  <a:cxn ang="0">
                    <a:pos x="787" y="843"/>
                  </a:cxn>
                  <a:cxn ang="0">
                    <a:pos x="844" y="789"/>
                  </a:cxn>
                  <a:cxn ang="0">
                    <a:pos x="844" y="676"/>
                  </a:cxn>
                  <a:cxn ang="0">
                    <a:pos x="844" y="562"/>
                  </a:cxn>
                  <a:cxn ang="0">
                    <a:pos x="844" y="451"/>
                  </a:cxn>
                </a:cxnLst>
                <a:rect l="0" t="0" r="r" b="b"/>
                <a:pathLst>
                  <a:path w="844" h="1127">
                    <a:moveTo>
                      <a:pt x="787" y="451"/>
                    </a:moveTo>
                    <a:lnTo>
                      <a:pt x="787" y="395"/>
                    </a:lnTo>
                    <a:lnTo>
                      <a:pt x="733" y="395"/>
                    </a:lnTo>
                    <a:lnTo>
                      <a:pt x="733" y="451"/>
                    </a:lnTo>
                    <a:lnTo>
                      <a:pt x="733" y="506"/>
                    </a:lnTo>
                    <a:lnTo>
                      <a:pt x="733" y="562"/>
                    </a:lnTo>
                    <a:lnTo>
                      <a:pt x="676" y="562"/>
                    </a:lnTo>
                    <a:lnTo>
                      <a:pt x="676" y="506"/>
                    </a:lnTo>
                    <a:lnTo>
                      <a:pt x="676" y="451"/>
                    </a:lnTo>
                    <a:lnTo>
                      <a:pt x="676" y="395"/>
                    </a:lnTo>
                    <a:lnTo>
                      <a:pt x="676" y="338"/>
                    </a:lnTo>
                    <a:lnTo>
                      <a:pt x="619" y="338"/>
                    </a:lnTo>
                    <a:lnTo>
                      <a:pt x="562" y="338"/>
                    </a:lnTo>
                    <a:lnTo>
                      <a:pt x="562" y="395"/>
                    </a:lnTo>
                    <a:lnTo>
                      <a:pt x="562" y="451"/>
                    </a:lnTo>
                    <a:lnTo>
                      <a:pt x="562" y="506"/>
                    </a:lnTo>
                    <a:lnTo>
                      <a:pt x="506" y="506"/>
                    </a:lnTo>
                    <a:lnTo>
                      <a:pt x="506" y="451"/>
                    </a:lnTo>
                    <a:lnTo>
                      <a:pt x="506" y="395"/>
                    </a:lnTo>
                    <a:lnTo>
                      <a:pt x="506" y="338"/>
                    </a:lnTo>
                    <a:lnTo>
                      <a:pt x="506" y="281"/>
                    </a:lnTo>
                    <a:lnTo>
                      <a:pt x="449" y="281"/>
                    </a:lnTo>
                    <a:lnTo>
                      <a:pt x="395" y="281"/>
                    </a:lnTo>
                    <a:lnTo>
                      <a:pt x="395" y="338"/>
                    </a:lnTo>
                    <a:lnTo>
                      <a:pt x="395" y="395"/>
                    </a:lnTo>
                    <a:lnTo>
                      <a:pt x="395" y="451"/>
                    </a:lnTo>
                    <a:lnTo>
                      <a:pt x="395" y="506"/>
                    </a:lnTo>
                    <a:lnTo>
                      <a:pt x="338" y="506"/>
                    </a:lnTo>
                    <a:lnTo>
                      <a:pt x="338" y="451"/>
                    </a:lnTo>
                    <a:lnTo>
                      <a:pt x="338" y="395"/>
                    </a:lnTo>
                    <a:lnTo>
                      <a:pt x="338" y="338"/>
                    </a:lnTo>
                    <a:lnTo>
                      <a:pt x="338" y="281"/>
                    </a:lnTo>
                    <a:lnTo>
                      <a:pt x="338" y="224"/>
                    </a:lnTo>
                    <a:lnTo>
                      <a:pt x="338" y="170"/>
                    </a:lnTo>
                    <a:lnTo>
                      <a:pt x="338" y="113"/>
                    </a:lnTo>
                    <a:lnTo>
                      <a:pt x="338" y="57"/>
                    </a:lnTo>
                    <a:lnTo>
                      <a:pt x="338" y="0"/>
                    </a:lnTo>
                    <a:lnTo>
                      <a:pt x="281" y="0"/>
                    </a:lnTo>
                    <a:lnTo>
                      <a:pt x="225" y="0"/>
                    </a:lnTo>
                    <a:lnTo>
                      <a:pt x="225" y="57"/>
                    </a:lnTo>
                    <a:lnTo>
                      <a:pt x="225" y="113"/>
                    </a:lnTo>
                    <a:lnTo>
                      <a:pt x="225" y="170"/>
                    </a:lnTo>
                    <a:lnTo>
                      <a:pt x="225" y="224"/>
                    </a:lnTo>
                    <a:lnTo>
                      <a:pt x="225" y="281"/>
                    </a:lnTo>
                    <a:lnTo>
                      <a:pt x="225" y="338"/>
                    </a:lnTo>
                    <a:lnTo>
                      <a:pt x="225" y="395"/>
                    </a:lnTo>
                    <a:lnTo>
                      <a:pt x="225" y="451"/>
                    </a:lnTo>
                    <a:lnTo>
                      <a:pt x="225" y="506"/>
                    </a:lnTo>
                    <a:lnTo>
                      <a:pt x="225" y="562"/>
                    </a:lnTo>
                    <a:lnTo>
                      <a:pt x="225" y="619"/>
                    </a:lnTo>
                    <a:lnTo>
                      <a:pt x="225" y="676"/>
                    </a:lnTo>
                    <a:lnTo>
                      <a:pt x="225" y="732"/>
                    </a:lnTo>
                    <a:lnTo>
                      <a:pt x="168" y="732"/>
                    </a:lnTo>
                    <a:lnTo>
                      <a:pt x="168" y="676"/>
                    </a:lnTo>
                    <a:lnTo>
                      <a:pt x="168" y="619"/>
                    </a:lnTo>
                    <a:lnTo>
                      <a:pt x="168" y="562"/>
                    </a:lnTo>
                    <a:lnTo>
                      <a:pt x="111" y="562"/>
                    </a:lnTo>
                    <a:lnTo>
                      <a:pt x="111" y="506"/>
                    </a:lnTo>
                    <a:lnTo>
                      <a:pt x="57" y="506"/>
                    </a:lnTo>
                    <a:lnTo>
                      <a:pt x="0" y="506"/>
                    </a:lnTo>
                    <a:lnTo>
                      <a:pt x="0" y="562"/>
                    </a:lnTo>
                    <a:lnTo>
                      <a:pt x="0" y="619"/>
                    </a:lnTo>
                    <a:lnTo>
                      <a:pt x="57" y="619"/>
                    </a:lnTo>
                    <a:lnTo>
                      <a:pt x="57" y="676"/>
                    </a:lnTo>
                    <a:lnTo>
                      <a:pt x="111" y="676"/>
                    </a:lnTo>
                    <a:lnTo>
                      <a:pt x="111" y="732"/>
                    </a:lnTo>
                    <a:lnTo>
                      <a:pt x="111" y="789"/>
                    </a:lnTo>
                    <a:lnTo>
                      <a:pt x="168" y="789"/>
                    </a:lnTo>
                    <a:lnTo>
                      <a:pt x="168" y="843"/>
                    </a:lnTo>
                    <a:lnTo>
                      <a:pt x="168" y="900"/>
                    </a:lnTo>
                    <a:lnTo>
                      <a:pt x="225" y="900"/>
                    </a:lnTo>
                    <a:lnTo>
                      <a:pt x="225" y="957"/>
                    </a:lnTo>
                    <a:lnTo>
                      <a:pt x="225" y="1013"/>
                    </a:lnTo>
                    <a:lnTo>
                      <a:pt x="281" y="1013"/>
                    </a:lnTo>
                    <a:lnTo>
                      <a:pt x="281" y="1070"/>
                    </a:lnTo>
                    <a:lnTo>
                      <a:pt x="281" y="1127"/>
                    </a:lnTo>
                    <a:lnTo>
                      <a:pt x="338" y="1127"/>
                    </a:lnTo>
                    <a:lnTo>
                      <a:pt x="395" y="1127"/>
                    </a:lnTo>
                    <a:lnTo>
                      <a:pt x="449" y="1127"/>
                    </a:lnTo>
                    <a:lnTo>
                      <a:pt x="506" y="1127"/>
                    </a:lnTo>
                    <a:lnTo>
                      <a:pt x="562" y="1127"/>
                    </a:lnTo>
                    <a:lnTo>
                      <a:pt x="619" y="1127"/>
                    </a:lnTo>
                    <a:lnTo>
                      <a:pt x="676" y="1127"/>
                    </a:lnTo>
                    <a:lnTo>
                      <a:pt x="733" y="1127"/>
                    </a:lnTo>
                    <a:lnTo>
                      <a:pt x="733" y="1070"/>
                    </a:lnTo>
                    <a:lnTo>
                      <a:pt x="733" y="1013"/>
                    </a:lnTo>
                    <a:lnTo>
                      <a:pt x="787" y="1013"/>
                    </a:lnTo>
                    <a:lnTo>
                      <a:pt x="787" y="957"/>
                    </a:lnTo>
                    <a:lnTo>
                      <a:pt x="787" y="900"/>
                    </a:lnTo>
                    <a:lnTo>
                      <a:pt x="787" y="843"/>
                    </a:lnTo>
                    <a:lnTo>
                      <a:pt x="844" y="843"/>
                    </a:lnTo>
                    <a:lnTo>
                      <a:pt x="844" y="789"/>
                    </a:lnTo>
                    <a:lnTo>
                      <a:pt x="844" y="732"/>
                    </a:lnTo>
                    <a:lnTo>
                      <a:pt x="844" y="676"/>
                    </a:lnTo>
                    <a:lnTo>
                      <a:pt x="844" y="619"/>
                    </a:lnTo>
                    <a:lnTo>
                      <a:pt x="844" y="562"/>
                    </a:lnTo>
                    <a:lnTo>
                      <a:pt x="844" y="506"/>
                    </a:lnTo>
                    <a:lnTo>
                      <a:pt x="844" y="451"/>
                    </a:lnTo>
                    <a:lnTo>
                      <a:pt x="787" y="451"/>
                    </a:lnTo>
                    <a:close/>
                  </a:path>
                </a:pathLst>
              </a:custGeom>
              <a:solidFill>
                <a:srgbClr val="FFFFFF"/>
              </a:solidFill>
              <a:ln w="57150">
                <a:noFill/>
              </a:ln>
              <a:sp3d z="-127000">
                <a:extrusionClr>
                  <a:schemeClr val="tx1">
                    <a:lumMod val="65000"/>
                    <a:lumOff val="3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noProof="1"/>
              </a:p>
            </p:txBody>
          </p:sp>
          <p:sp>
            <p:nvSpPr>
              <p:cNvPr id="11" name="Freeform 16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-588963" y="2014538"/>
                <a:ext cx="1519238" cy="1965325"/>
              </a:xfrm>
              <a:custGeom>
                <a:avLst/>
                <a:gdLst/>
                <a:ahLst/>
                <a:cxnLst>
                  <a:cxn ang="0">
                    <a:pos x="452" y="114"/>
                  </a:cxn>
                  <a:cxn ang="0">
                    <a:pos x="506" y="281"/>
                  </a:cxn>
                  <a:cxn ang="0">
                    <a:pos x="452" y="338"/>
                  </a:cxn>
                  <a:cxn ang="0">
                    <a:pos x="452" y="563"/>
                  </a:cxn>
                  <a:cxn ang="0">
                    <a:pos x="395" y="395"/>
                  </a:cxn>
                  <a:cxn ang="0">
                    <a:pos x="395" y="170"/>
                  </a:cxn>
                  <a:cxn ang="0">
                    <a:pos x="338" y="0"/>
                  </a:cxn>
                  <a:cxn ang="0">
                    <a:pos x="395" y="57"/>
                  </a:cxn>
                  <a:cxn ang="0">
                    <a:pos x="225" y="789"/>
                  </a:cxn>
                  <a:cxn ang="0">
                    <a:pos x="282" y="619"/>
                  </a:cxn>
                  <a:cxn ang="0">
                    <a:pos x="282" y="395"/>
                  </a:cxn>
                  <a:cxn ang="0">
                    <a:pos x="282" y="170"/>
                  </a:cxn>
                  <a:cxn ang="0">
                    <a:pos x="225" y="114"/>
                  </a:cxn>
                  <a:cxn ang="0">
                    <a:pos x="225" y="338"/>
                  </a:cxn>
                  <a:cxn ang="0">
                    <a:pos x="225" y="563"/>
                  </a:cxn>
                  <a:cxn ang="0">
                    <a:pos x="733" y="508"/>
                  </a:cxn>
                  <a:cxn ang="0">
                    <a:pos x="790" y="563"/>
                  </a:cxn>
                  <a:cxn ang="0">
                    <a:pos x="844" y="395"/>
                  </a:cxn>
                  <a:cxn ang="0">
                    <a:pos x="733" y="508"/>
                  </a:cxn>
                  <a:cxn ang="0">
                    <a:pos x="844" y="508"/>
                  </a:cxn>
                  <a:cxn ang="0">
                    <a:pos x="168" y="563"/>
                  </a:cxn>
                  <a:cxn ang="0">
                    <a:pos x="0" y="508"/>
                  </a:cxn>
                  <a:cxn ang="0">
                    <a:pos x="57" y="676"/>
                  </a:cxn>
                  <a:cxn ang="0">
                    <a:pos x="563" y="508"/>
                  </a:cxn>
                  <a:cxn ang="0">
                    <a:pos x="619" y="452"/>
                  </a:cxn>
                  <a:cxn ang="0">
                    <a:pos x="733" y="338"/>
                  </a:cxn>
                  <a:cxn ang="0">
                    <a:pos x="563" y="395"/>
                  </a:cxn>
                  <a:cxn ang="0">
                    <a:pos x="844" y="1070"/>
                  </a:cxn>
                  <a:cxn ang="0">
                    <a:pos x="901" y="900"/>
                  </a:cxn>
                  <a:cxn ang="0">
                    <a:pos x="790" y="1184"/>
                  </a:cxn>
                  <a:cxn ang="0">
                    <a:pos x="563" y="1184"/>
                  </a:cxn>
                  <a:cxn ang="0">
                    <a:pos x="338" y="1184"/>
                  </a:cxn>
                  <a:cxn ang="0">
                    <a:pos x="282" y="1127"/>
                  </a:cxn>
                  <a:cxn ang="0">
                    <a:pos x="395" y="1238"/>
                  </a:cxn>
                  <a:cxn ang="0">
                    <a:pos x="619" y="1238"/>
                  </a:cxn>
                  <a:cxn ang="0">
                    <a:pos x="844" y="1238"/>
                  </a:cxn>
                  <a:cxn ang="0">
                    <a:pos x="790" y="1070"/>
                  </a:cxn>
                  <a:cxn ang="0">
                    <a:pos x="901" y="619"/>
                  </a:cxn>
                  <a:cxn ang="0">
                    <a:pos x="901" y="846"/>
                  </a:cxn>
                  <a:cxn ang="0">
                    <a:pos x="957" y="789"/>
                  </a:cxn>
                  <a:cxn ang="0">
                    <a:pos x="957" y="563"/>
                  </a:cxn>
                  <a:cxn ang="0">
                    <a:pos x="114" y="733"/>
                  </a:cxn>
                  <a:cxn ang="0">
                    <a:pos x="168" y="789"/>
                  </a:cxn>
                  <a:cxn ang="0">
                    <a:pos x="114" y="733"/>
                  </a:cxn>
                  <a:cxn ang="0">
                    <a:pos x="225" y="957"/>
                  </a:cxn>
                  <a:cxn ang="0">
                    <a:pos x="282" y="1014"/>
                  </a:cxn>
                  <a:cxn ang="0">
                    <a:pos x="168" y="900"/>
                  </a:cxn>
                  <a:cxn ang="0">
                    <a:pos x="225" y="846"/>
                  </a:cxn>
                </a:cxnLst>
                <a:rect l="0" t="0" r="r" b="b"/>
                <a:pathLst>
                  <a:path w="957" h="1238">
                    <a:moveTo>
                      <a:pt x="395" y="114"/>
                    </a:moveTo>
                    <a:lnTo>
                      <a:pt x="395" y="57"/>
                    </a:lnTo>
                    <a:lnTo>
                      <a:pt x="452" y="57"/>
                    </a:lnTo>
                    <a:lnTo>
                      <a:pt x="452" y="114"/>
                    </a:lnTo>
                    <a:lnTo>
                      <a:pt x="452" y="170"/>
                    </a:lnTo>
                    <a:lnTo>
                      <a:pt x="452" y="227"/>
                    </a:lnTo>
                    <a:lnTo>
                      <a:pt x="452" y="281"/>
                    </a:lnTo>
                    <a:lnTo>
                      <a:pt x="506" y="281"/>
                    </a:lnTo>
                    <a:lnTo>
                      <a:pt x="563" y="281"/>
                    </a:lnTo>
                    <a:lnTo>
                      <a:pt x="563" y="338"/>
                    </a:lnTo>
                    <a:lnTo>
                      <a:pt x="506" y="338"/>
                    </a:lnTo>
                    <a:lnTo>
                      <a:pt x="452" y="338"/>
                    </a:lnTo>
                    <a:lnTo>
                      <a:pt x="452" y="395"/>
                    </a:lnTo>
                    <a:lnTo>
                      <a:pt x="452" y="452"/>
                    </a:lnTo>
                    <a:lnTo>
                      <a:pt x="452" y="508"/>
                    </a:lnTo>
                    <a:lnTo>
                      <a:pt x="452" y="563"/>
                    </a:lnTo>
                    <a:lnTo>
                      <a:pt x="395" y="563"/>
                    </a:lnTo>
                    <a:lnTo>
                      <a:pt x="395" y="508"/>
                    </a:lnTo>
                    <a:lnTo>
                      <a:pt x="395" y="452"/>
                    </a:lnTo>
                    <a:lnTo>
                      <a:pt x="395" y="395"/>
                    </a:lnTo>
                    <a:lnTo>
                      <a:pt x="395" y="338"/>
                    </a:lnTo>
                    <a:lnTo>
                      <a:pt x="395" y="281"/>
                    </a:lnTo>
                    <a:lnTo>
                      <a:pt x="395" y="227"/>
                    </a:lnTo>
                    <a:lnTo>
                      <a:pt x="395" y="170"/>
                    </a:lnTo>
                    <a:lnTo>
                      <a:pt x="395" y="114"/>
                    </a:lnTo>
                    <a:close/>
                    <a:moveTo>
                      <a:pt x="395" y="57"/>
                    </a:moveTo>
                    <a:lnTo>
                      <a:pt x="395" y="0"/>
                    </a:lnTo>
                    <a:lnTo>
                      <a:pt x="338" y="0"/>
                    </a:lnTo>
                    <a:lnTo>
                      <a:pt x="282" y="0"/>
                    </a:lnTo>
                    <a:lnTo>
                      <a:pt x="282" y="57"/>
                    </a:lnTo>
                    <a:lnTo>
                      <a:pt x="338" y="57"/>
                    </a:lnTo>
                    <a:lnTo>
                      <a:pt x="395" y="57"/>
                    </a:lnTo>
                    <a:close/>
                    <a:moveTo>
                      <a:pt x="225" y="619"/>
                    </a:moveTo>
                    <a:lnTo>
                      <a:pt x="225" y="676"/>
                    </a:lnTo>
                    <a:lnTo>
                      <a:pt x="225" y="733"/>
                    </a:lnTo>
                    <a:lnTo>
                      <a:pt x="225" y="789"/>
                    </a:lnTo>
                    <a:lnTo>
                      <a:pt x="282" y="789"/>
                    </a:lnTo>
                    <a:lnTo>
                      <a:pt x="282" y="733"/>
                    </a:lnTo>
                    <a:lnTo>
                      <a:pt x="282" y="676"/>
                    </a:lnTo>
                    <a:lnTo>
                      <a:pt x="282" y="619"/>
                    </a:lnTo>
                    <a:lnTo>
                      <a:pt x="282" y="563"/>
                    </a:lnTo>
                    <a:lnTo>
                      <a:pt x="282" y="508"/>
                    </a:lnTo>
                    <a:lnTo>
                      <a:pt x="282" y="452"/>
                    </a:lnTo>
                    <a:lnTo>
                      <a:pt x="282" y="395"/>
                    </a:lnTo>
                    <a:lnTo>
                      <a:pt x="282" y="338"/>
                    </a:lnTo>
                    <a:lnTo>
                      <a:pt x="282" y="281"/>
                    </a:lnTo>
                    <a:lnTo>
                      <a:pt x="282" y="227"/>
                    </a:lnTo>
                    <a:lnTo>
                      <a:pt x="282" y="170"/>
                    </a:lnTo>
                    <a:lnTo>
                      <a:pt x="282" y="114"/>
                    </a:lnTo>
                    <a:lnTo>
                      <a:pt x="282" y="57"/>
                    </a:lnTo>
                    <a:lnTo>
                      <a:pt x="225" y="57"/>
                    </a:lnTo>
                    <a:lnTo>
                      <a:pt x="225" y="114"/>
                    </a:lnTo>
                    <a:lnTo>
                      <a:pt x="225" y="170"/>
                    </a:lnTo>
                    <a:lnTo>
                      <a:pt x="225" y="227"/>
                    </a:lnTo>
                    <a:lnTo>
                      <a:pt x="225" y="281"/>
                    </a:lnTo>
                    <a:lnTo>
                      <a:pt x="225" y="338"/>
                    </a:lnTo>
                    <a:lnTo>
                      <a:pt x="225" y="395"/>
                    </a:lnTo>
                    <a:lnTo>
                      <a:pt x="225" y="452"/>
                    </a:lnTo>
                    <a:lnTo>
                      <a:pt x="225" y="508"/>
                    </a:lnTo>
                    <a:lnTo>
                      <a:pt x="225" y="563"/>
                    </a:lnTo>
                    <a:lnTo>
                      <a:pt x="168" y="563"/>
                    </a:lnTo>
                    <a:lnTo>
                      <a:pt x="168" y="619"/>
                    </a:lnTo>
                    <a:lnTo>
                      <a:pt x="225" y="619"/>
                    </a:lnTo>
                    <a:close/>
                    <a:moveTo>
                      <a:pt x="733" y="508"/>
                    </a:moveTo>
                    <a:lnTo>
                      <a:pt x="733" y="563"/>
                    </a:lnTo>
                    <a:lnTo>
                      <a:pt x="733" y="619"/>
                    </a:lnTo>
                    <a:lnTo>
                      <a:pt x="790" y="619"/>
                    </a:lnTo>
                    <a:lnTo>
                      <a:pt x="790" y="563"/>
                    </a:lnTo>
                    <a:lnTo>
                      <a:pt x="790" y="508"/>
                    </a:lnTo>
                    <a:lnTo>
                      <a:pt x="790" y="452"/>
                    </a:lnTo>
                    <a:lnTo>
                      <a:pt x="844" y="452"/>
                    </a:lnTo>
                    <a:lnTo>
                      <a:pt x="844" y="395"/>
                    </a:lnTo>
                    <a:lnTo>
                      <a:pt x="790" y="395"/>
                    </a:lnTo>
                    <a:lnTo>
                      <a:pt x="733" y="395"/>
                    </a:lnTo>
                    <a:lnTo>
                      <a:pt x="733" y="452"/>
                    </a:lnTo>
                    <a:lnTo>
                      <a:pt x="733" y="508"/>
                    </a:lnTo>
                    <a:close/>
                    <a:moveTo>
                      <a:pt x="901" y="508"/>
                    </a:moveTo>
                    <a:lnTo>
                      <a:pt x="901" y="452"/>
                    </a:lnTo>
                    <a:lnTo>
                      <a:pt x="844" y="452"/>
                    </a:lnTo>
                    <a:lnTo>
                      <a:pt x="844" y="508"/>
                    </a:lnTo>
                    <a:lnTo>
                      <a:pt x="901" y="508"/>
                    </a:lnTo>
                    <a:close/>
                    <a:moveTo>
                      <a:pt x="57" y="563"/>
                    </a:moveTo>
                    <a:lnTo>
                      <a:pt x="114" y="563"/>
                    </a:lnTo>
                    <a:lnTo>
                      <a:pt x="168" y="563"/>
                    </a:lnTo>
                    <a:lnTo>
                      <a:pt x="168" y="508"/>
                    </a:lnTo>
                    <a:lnTo>
                      <a:pt x="114" y="508"/>
                    </a:lnTo>
                    <a:lnTo>
                      <a:pt x="57" y="508"/>
                    </a:lnTo>
                    <a:lnTo>
                      <a:pt x="0" y="508"/>
                    </a:lnTo>
                    <a:lnTo>
                      <a:pt x="0" y="563"/>
                    </a:lnTo>
                    <a:lnTo>
                      <a:pt x="0" y="619"/>
                    </a:lnTo>
                    <a:lnTo>
                      <a:pt x="0" y="676"/>
                    </a:lnTo>
                    <a:lnTo>
                      <a:pt x="57" y="676"/>
                    </a:lnTo>
                    <a:lnTo>
                      <a:pt x="57" y="619"/>
                    </a:lnTo>
                    <a:lnTo>
                      <a:pt x="57" y="563"/>
                    </a:lnTo>
                    <a:close/>
                    <a:moveTo>
                      <a:pt x="563" y="452"/>
                    </a:moveTo>
                    <a:lnTo>
                      <a:pt x="563" y="508"/>
                    </a:lnTo>
                    <a:lnTo>
                      <a:pt x="563" y="563"/>
                    </a:lnTo>
                    <a:lnTo>
                      <a:pt x="619" y="563"/>
                    </a:lnTo>
                    <a:lnTo>
                      <a:pt x="619" y="508"/>
                    </a:lnTo>
                    <a:lnTo>
                      <a:pt x="619" y="452"/>
                    </a:lnTo>
                    <a:lnTo>
                      <a:pt x="619" y="395"/>
                    </a:lnTo>
                    <a:lnTo>
                      <a:pt x="676" y="395"/>
                    </a:lnTo>
                    <a:lnTo>
                      <a:pt x="733" y="395"/>
                    </a:lnTo>
                    <a:lnTo>
                      <a:pt x="733" y="338"/>
                    </a:lnTo>
                    <a:lnTo>
                      <a:pt x="676" y="338"/>
                    </a:lnTo>
                    <a:lnTo>
                      <a:pt x="619" y="338"/>
                    </a:lnTo>
                    <a:lnTo>
                      <a:pt x="563" y="338"/>
                    </a:lnTo>
                    <a:lnTo>
                      <a:pt x="563" y="395"/>
                    </a:lnTo>
                    <a:lnTo>
                      <a:pt x="563" y="452"/>
                    </a:lnTo>
                    <a:close/>
                    <a:moveTo>
                      <a:pt x="844" y="957"/>
                    </a:moveTo>
                    <a:lnTo>
                      <a:pt x="844" y="1014"/>
                    </a:lnTo>
                    <a:lnTo>
                      <a:pt x="844" y="1070"/>
                    </a:lnTo>
                    <a:lnTo>
                      <a:pt x="901" y="1070"/>
                    </a:lnTo>
                    <a:lnTo>
                      <a:pt x="901" y="1014"/>
                    </a:lnTo>
                    <a:lnTo>
                      <a:pt x="901" y="957"/>
                    </a:lnTo>
                    <a:lnTo>
                      <a:pt x="901" y="900"/>
                    </a:lnTo>
                    <a:lnTo>
                      <a:pt x="844" y="900"/>
                    </a:lnTo>
                    <a:lnTo>
                      <a:pt x="844" y="957"/>
                    </a:lnTo>
                    <a:close/>
                    <a:moveTo>
                      <a:pt x="790" y="1127"/>
                    </a:moveTo>
                    <a:lnTo>
                      <a:pt x="790" y="1184"/>
                    </a:lnTo>
                    <a:lnTo>
                      <a:pt x="733" y="1184"/>
                    </a:lnTo>
                    <a:lnTo>
                      <a:pt x="676" y="1184"/>
                    </a:lnTo>
                    <a:lnTo>
                      <a:pt x="619" y="1184"/>
                    </a:lnTo>
                    <a:lnTo>
                      <a:pt x="563" y="1184"/>
                    </a:lnTo>
                    <a:lnTo>
                      <a:pt x="506" y="1184"/>
                    </a:lnTo>
                    <a:lnTo>
                      <a:pt x="452" y="1184"/>
                    </a:lnTo>
                    <a:lnTo>
                      <a:pt x="395" y="1184"/>
                    </a:lnTo>
                    <a:lnTo>
                      <a:pt x="338" y="1184"/>
                    </a:lnTo>
                    <a:lnTo>
                      <a:pt x="338" y="1127"/>
                    </a:lnTo>
                    <a:lnTo>
                      <a:pt x="338" y="1070"/>
                    </a:lnTo>
                    <a:lnTo>
                      <a:pt x="282" y="1070"/>
                    </a:lnTo>
                    <a:lnTo>
                      <a:pt x="282" y="1127"/>
                    </a:lnTo>
                    <a:lnTo>
                      <a:pt x="282" y="1184"/>
                    </a:lnTo>
                    <a:lnTo>
                      <a:pt x="282" y="1238"/>
                    </a:lnTo>
                    <a:lnTo>
                      <a:pt x="338" y="1238"/>
                    </a:lnTo>
                    <a:lnTo>
                      <a:pt x="395" y="1238"/>
                    </a:lnTo>
                    <a:lnTo>
                      <a:pt x="452" y="1238"/>
                    </a:lnTo>
                    <a:lnTo>
                      <a:pt x="506" y="1238"/>
                    </a:lnTo>
                    <a:lnTo>
                      <a:pt x="563" y="1238"/>
                    </a:lnTo>
                    <a:lnTo>
                      <a:pt x="619" y="1238"/>
                    </a:lnTo>
                    <a:lnTo>
                      <a:pt x="676" y="1238"/>
                    </a:lnTo>
                    <a:lnTo>
                      <a:pt x="733" y="1238"/>
                    </a:lnTo>
                    <a:lnTo>
                      <a:pt x="790" y="1238"/>
                    </a:lnTo>
                    <a:lnTo>
                      <a:pt x="844" y="1238"/>
                    </a:lnTo>
                    <a:lnTo>
                      <a:pt x="844" y="1184"/>
                    </a:lnTo>
                    <a:lnTo>
                      <a:pt x="844" y="1127"/>
                    </a:lnTo>
                    <a:lnTo>
                      <a:pt x="844" y="1070"/>
                    </a:lnTo>
                    <a:lnTo>
                      <a:pt x="790" y="1070"/>
                    </a:lnTo>
                    <a:lnTo>
                      <a:pt x="790" y="1127"/>
                    </a:lnTo>
                    <a:close/>
                    <a:moveTo>
                      <a:pt x="901" y="508"/>
                    </a:moveTo>
                    <a:lnTo>
                      <a:pt x="901" y="563"/>
                    </a:lnTo>
                    <a:lnTo>
                      <a:pt x="901" y="619"/>
                    </a:lnTo>
                    <a:lnTo>
                      <a:pt x="901" y="676"/>
                    </a:lnTo>
                    <a:lnTo>
                      <a:pt x="901" y="733"/>
                    </a:lnTo>
                    <a:lnTo>
                      <a:pt x="901" y="789"/>
                    </a:lnTo>
                    <a:lnTo>
                      <a:pt x="901" y="846"/>
                    </a:lnTo>
                    <a:lnTo>
                      <a:pt x="901" y="900"/>
                    </a:lnTo>
                    <a:lnTo>
                      <a:pt x="957" y="900"/>
                    </a:lnTo>
                    <a:lnTo>
                      <a:pt x="957" y="846"/>
                    </a:lnTo>
                    <a:lnTo>
                      <a:pt x="957" y="789"/>
                    </a:lnTo>
                    <a:lnTo>
                      <a:pt x="957" y="733"/>
                    </a:lnTo>
                    <a:lnTo>
                      <a:pt x="957" y="676"/>
                    </a:lnTo>
                    <a:lnTo>
                      <a:pt x="957" y="619"/>
                    </a:lnTo>
                    <a:lnTo>
                      <a:pt x="957" y="563"/>
                    </a:lnTo>
                    <a:lnTo>
                      <a:pt x="957" y="508"/>
                    </a:lnTo>
                    <a:lnTo>
                      <a:pt x="901" y="508"/>
                    </a:lnTo>
                    <a:close/>
                    <a:moveTo>
                      <a:pt x="168" y="733"/>
                    </a:moveTo>
                    <a:lnTo>
                      <a:pt x="114" y="733"/>
                    </a:lnTo>
                    <a:lnTo>
                      <a:pt x="114" y="789"/>
                    </a:lnTo>
                    <a:lnTo>
                      <a:pt x="114" y="846"/>
                    </a:lnTo>
                    <a:lnTo>
                      <a:pt x="168" y="846"/>
                    </a:lnTo>
                    <a:lnTo>
                      <a:pt x="168" y="789"/>
                    </a:lnTo>
                    <a:lnTo>
                      <a:pt x="168" y="733"/>
                    </a:lnTo>
                    <a:close/>
                    <a:moveTo>
                      <a:pt x="57" y="676"/>
                    </a:moveTo>
                    <a:lnTo>
                      <a:pt x="57" y="733"/>
                    </a:lnTo>
                    <a:lnTo>
                      <a:pt x="114" y="733"/>
                    </a:lnTo>
                    <a:lnTo>
                      <a:pt x="114" y="676"/>
                    </a:lnTo>
                    <a:lnTo>
                      <a:pt x="57" y="676"/>
                    </a:lnTo>
                    <a:close/>
                    <a:moveTo>
                      <a:pt x="282" y="957"/>
                    </a:moveTo>
                    <a:lnTo>
                      <a:pt x="225" y="957"/>
                    </a:lnTo>
                    <a:lnTo>
                      <a:pt x="225" y="1014"/>
                    </a:lnTo>
                    <a:lnTo>
                      <a:pt x="225" y="1070"/>
                    </a:lnTo>
                    <a:lnTo>
                      <a:pt x="282" y="1070"/>
                    </a:lnTo>
                    <a:lnTo>
                      <a:pt x="282" y="1014"/>
                    </a:lnTo>
                    <a:lnTo>
                      <a:pt x="282" y="957"/>
                    </a:lnTo>
                    <a:close/>
                    <a:moveTo>
                      <a:pt x="225" y="846"/>
                    </a:moveTo>
                    <a:lnTo>
                      <a:pt x="168" y="846"/>
                    </a:lnTo>
                    <a:lnTo>
                      <a:pt x="168" y="900"/>
                    </a:lnTo>
                    <a:lnTo>
                      <a:pt x="168" y="957"/>
                    </a:lnTo>
                    <a:lnTo>
                      <a:pt x="225" y="957"/>
                    </a:lnTo>
                    <a:lnTo>
                      <a:pt x="225" y="900"/>
                    </a:lnTo>
                    <a:lnTo>
                      <a:pt x="225" y="846"/>
                    </a:lnTo>
                    <a:close/>
                  </a:path>
                </a:pathLst>
              </a:custGeom>
              <a:grpFill/>
              <a:ln w="57150">
                <a:noFill/>
              </a:ln>
              <a:sp3d extrusionH="228600">
                <a:extrusionClr>
                  <a:srgbClr val="646464"/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noProof="1"/>
              </a:p>
            </p:txBody>
          </p:sp>
        </p:grpSp>
        <p:sp>
          <p:nvSpPr>
            <p:cNvPr id="9" name="Textfeld 8" descr="© INSCALE GmbH, 26.05.2010&#10;http://www.presentationload.com/"/>
            <p:cNvSpPr txBox="1"/>
            <p:nvPr/>
          </p:nvSpPr>
          <p:spPr bwMode="gray">
            <a:xfrm>
              <a:off x="2658433" y="1315993"/>
              <a:ext cx="4897185" cy="1202100"/>
            </a:xfrm>
            <a:prstGeom prst="rect">
              <a:avLst/>
            </a:prstGeom>
            <a:noFill/>
          </p:spPr>
          <p:txBody>
            <a:bodyPr wrap="none">
              <a:spAutoFit/>
              <a:scene3d>
                <a:camera prst="perspectiveRelaxedModerately" fov="3600000">
                  <a:rot lat="18615536" lon="955815" rev="20280000"/>
                </a:camera>
                <a:lightRig rig="threePt" dir="t">
                  <a:rot lat="0" lon="0" rev="4200000"/>
                </a:lightRig>
              </a:scene3d>
              <a:sp3d extrusionH="254000" prstMaterial="plastic"/>
            </a:bodyPr>
            <a:lstStyle/>
            <a:p>
              <a:pPr algn="ctr">
                <a:defRPr/>
              </a:pPr>
              <a:r>
                <a:rPr lang="de-DE" sz="6000" b="1" noProof="1" smtClean="0">
                  <a:solidFill>
                    <a:schemeClr val="accent1"/>
                  </a:solidFill>
                  <a:effectLst>
                    <a:outerShdw blurRad="317500" dist="88900" dir="2700000" algn="ctr" rotWithShape="0">
                      <a:srgbClr val="000000"/>
                    </a:outerShdw>
                  </a:effectLst>
                  <a:latin typeface="+mj-lt"/>
                  <a:cs typeface="Arial" charset="0"/>
                </a:rPr>
                <a:t>MARKETING</a:t>
              </a:r>
              <a:endParaRPr lang="de-DE" sz="6000" b="1" noProof="1">
                <a:solidFill>
                  <a:schemeClr val="accent1"/>
                </a:solidFill>
                <a:effectLst>
                  <a:outerShdw blurRad="317500" dist="88900" dir="2700000" algn="ctr" rotWithShape="0">
                    <a:srgbClr val="000000"/>
                  </a:outerShdw>
                </a:effectLst>
                <a:latin typeface="+mj-lt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914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Graphic </a:t>
            </a:r>
            <a:r>
              <a:rPr lang="en-US" b="0" noProof="1" smtClean="0"/>
              <a:t>- Flowchart Sale Option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grpSp>
        <p:nvGrpSpPr>
          <p:cNvPr id="4" name="Gruppieren 22"/>
          <p:cNvGrpSpPr/>
          <p:nvPr/>
        </p:nvGrpSpPr>
        <p:grpSpPr bwMode="gray">
          <a:xfrm>
            <a:off x="2221764" y="122575"/>
            <a:ext cx="4781671" cy="6200870"/>
            <a:chOff x="3276966" y="1555750"/>
            <a:chExt cx="3589561" cy="4654942"/>
          </a:xfrm>
          <a:scene3d>
            <a:camera prst="perspectiveRelaxed">
              <a:rot lat="18814544" lon="19815166" rev="1949426"/>
            </a:camera>
            <a:lightRig rig="balanced" dir="t"/>
          </a:scene3d>
        </p:grpSpPr>
        <p:cxnSp>
          <p:nvCxnSpPr>
            <p:cNvPr id="17" name="Gerade Verbindung mit Pfeil 16"/>
            <p:cNvCxnSpPr/>
            <p:nvPr/>
          </p:nvCxnSpPr>
          <p:spPr bwMode="gray">
            <a:xfrm>
              <a:off x="4239491" y="1555750"/>
              <a:ext cx="0" cy="1172336"/>
            </a:xfrm>
            <a:prstGeom prst="straightConnector1">
              <a:avLst/>
            </a:prstGeom>
            <a:ln w="44450">
              <a:solidFill>
                <a:schemeClr val="tx1">
                  <a:lumMod val="75000"/>
                  <a:lumOff val="25000"/>
                </a:schemeClr>
              </a:solidFill>
              <a:tailEnd type="triangle" w="lg" len="lg"/>
            </a:ln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/>
          </p:nvCxnSpPr>
          <p:spPr bwMode="gray">
            <a:xfrm>
              <a:off x="4239491" y="4645579"/>
              <a:ext cx="0" cy="1172336"/>
            </a:xfrm>
            <a:prstGeom prst="straightConnector1">
              <a:avLst/>
            </a:prstGeom>
            <a:ln w="44450">
              <a:solidFill>
                <a:schemeClr val="tx1">
                  <a:lumMod val="75000"/>
                  <a:lumOff val="25000"/>
                </a:schemeClr>
              </a:solidFill>
              <a:tailEnd type="triangle" w="lg" len="lg"/>
            </a:ln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aute 18"/>
            <p:cNvSpPr/>
            <p:nvPr/>
          </p:nvSpPr>
          <p:spPr bwMode="gray">
            <a:xfrm>
              <a:off x="3276966" y="2728086"/>
              <a:ext cx="1925050" cy="1925050"/>
            </a:xfrm>
            <a:prstGeom prst="diamond">
              <a:avLst/>
            </a:prstGeom>
            <a:ln w="44450">
              <a:solidFill>
                <a:schemeClr val="tx1">
                  <a:lumMod val="75000"/>
                  <a:lumOff val="25000"/>
                </a:schemeClr>
              </a:solidFill>
              <a:tailEnd type="triangle" w="lg" len="lg"/>
            </a:ln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tIns="0" rtlCol="0" anchor="ctr"/>
            <a:lstStyle/>
            <a:p>
              <a:pPr algn="ctr"/>
              <a:r>
                <a:rPr lang="en-US" sz="4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ale</a:t>
              </a:r>
              <a:endParaRPr lang="en-US" sz="40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20" name="Gerade Verbindung mit Pfeil 19"/>
            <p:cNvCxnSpPr/>
            <p:nvPr/>
          </p:nvCxnSpPr>
          <p:spPr bwMode="gray">
            <a:xfrm rot="16200000">
              <a:off x="5780627" y="3101660"/>
              <a:ext cx="0" cy="1172336"/>
            </a:xfrm>
            <a:prstGeom prst="straightConnector1">
              <a:avLst/>
            </a:prstGeom>
            <a:ln w="44450">
              <a:solidFill>
                <a:schemeClr val="tx1">
                  <a:lumMod val="75000"/>
                  <a:lumOff val="25000"/>
                </a:schemeClr>
              </a:solidFill>
              <a:tailEnd type="triangle" w="lg" len="lg"/>
            </a:ln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 bwMode="gray">
            <a:xfrm>
              <a:off x="6366795" y="3426217"/>
              <a:ext cx="499732" cy="392777"/>
            </a:xfrm>
            <a:prstGeom prst="rect">
              <a:avLst/>
            </a:prstGeom>
            <a:noFill/>
            <a:sp3d/>
          </p:spPr>
          <p:txBody>
            <a:bodyPr wrap="none" rtlCol="0">
              <a:spAutoFit/>
            </a:bodyPr>
            <a:lstStyle/>
            <a:p>
              <a:r>
                <a:rPr lang="en-US" sz="28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Yes</a:t>
              </a:r>
              <a:endParaRPr lang="en-US" sz="28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3931521" y="5817915"/>
              <a:ext cx="461128" cy="392777"/>
            </a:xfrm>
            <a:prstGeom prst="rect">
              <a:avLst/>
            </a:prstGeom>
            <a:noFill/>
            <a:sp3d/>
          </p:spPr>
          <p:txBody>
            <a:bodyPr wrap="none" rtlCol="0">
              <a:spAutoFit/>
            </a:bodyPr>
            <a:lstStyle/>
            <a:p>
              <a:r>
                <a:rPr lang="en-US" sz="28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</a:t>
              </a:r>
              <a:endParaRPr lang="en-US" sz="2800" b="1" noProof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5" name="Gruppieren 23"/>
          <p:cNvGrpSpPr/>
          <p:nvPr/>
        </p:nvGrpSpPr>
        <p:grpSpPr bwMode="gray">
          <a:xfrm rot="1088922">
            <a:off x="5021824" y="4868700"/>
            <a:ext cx="8244352" cy="541411"/>
            <a:chOff x="5697538" y="3740150"/>
            <a:chExt cx="3505200" cy="23018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5" name="Freeform 382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5799932" y="3756819"/>
              <a:ext cx="50800" cy="255587"/>
            </a:xfrm>
            <a:custGeom>
              <a:avLst/>
              <a:gdLst/>
              <a:ahLst/>
              <a:cxnLst>
                <a:cxn ang="0">
                  <a:pos x="47" y="245"/>
                </a:cxn>
                <a:cxn ang="0">
                  <a:pos x="0" y="0"/>
                </a:cxn>
                <a:cxn ang="0">
                  <a:pos x="27" y="227"/>
                </a:cxn>
                <a:cxn ang="0">
                  <a:pos x="47" y="245"/>
                </a:cxn>
              </a:cxnLst>
              <a:rect l="0" t="0" r="r" b="b"/>
              <a:pathLst>
                <a:path w="47" h="245">
                  <a:moveTo>
                    <a:pt x="47" y="245"/>
                  </a:moveTo>
                  <a:cubicBezTo>
                    <a:pt x="23" y="118"/>
                    <a:pt x="1" y="1"/>
                    <a:pt x="0" y="0"/>
                  </a:cubicBezTo>
                  <a:cubicBezTo>
                    <a:pt x="27" y="227"/>
                    <a:pt x="27" y="227"/>
                    <a:pt x="27" y="227"/>
                  </a:cubicBezTo>
                  <a:cubicBezTo>
                    <a:pt x="34" y="234"/>
                    <a:pt x="41" y="241"/>
                    <a:pt x="47" y="245"/>
                  </a:cubicBez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26" name="Freeform 383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5812632" y="3691731"/>
              <a:ext cx="49212" cy="276225"/>
            </a:xfrm>
            <a:custGeom>
              <a:avLst/>
              <a:gdLst/>
              <a:ahLst/>
              <a:cxnLst>
                <a:cxn ang="0">
                  <a:pos x="25" y="246"/>
                </a:cxn>
                <a:cxn ang="0">
                  <a:pos x="47" y="0"/>
                </a:cxn>
                <a:cxn ang="0">
                  <a:pos x="47" y="0"/>
                </a:cxn>
                <a:cxn ang="0">
                  <a:pos x="0" y="236"/>
                </a:cxn>
                <a:cxn ang="0">
                  <a:pos x="11" y="257"/>
                </a:cxn>
                <a:cxn ang="0">
                  <a:pos x="25" y="246"/>
                </a:cxn>
              </a:cxnLst>
              <a:rect l="0" t="0" r="r" b="b"/>
              <a:pathLst>
                <a:path w="47" h="265">
                  <a:moveTo>
                    <a:pt x="25" y="246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25" y="112"/>
                    <a:pt x="0" y="236"/>
                  </a:cubicBezTo>
                  <a:cubicBezTo>
                    <a:pt x="4" y="244"/>
                    <a:pt x="9" y="253"/>
                    <a:pt x="11" y="257"/>
                  </a:cubicBezTo>
                  <a:cubicBezTo>
                    <a:pt x="14" y="265"/>
                    <a:pt x="20" y="256"/>
                    <a:pt x="25" y="246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27" name="Freeform 384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5797551" y="3730625"/>
              <a:ext cx="57150" cy="257175"/>
            </a:xfrm>
            <a:custGeom>
              <a:avLst/>
              <a:gdLst/>
              <a:ahLst/>
              <a:cxnLst>
                <a:cxn ang="0">
                  <a:pos x="3" y="242"/>
                </a:cxn>
                <a:cxn ang="0">
                  <a:pos x="30" y="206"/>
                </a:cxn>
                <a:cxn ang="0">
                  <a:pos x="55" y="228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0" y="247"/>
                </a:cxn>
                <a:cxn ang="0">
                  <a:pos x="3" y="242"/>
                </a:cxn>
              </a:cxnLst>
              <a:rect l="0" t="0" r="r" b="b"/>
              <a:pathLst>
                <a:path w="55" h="247">
                  <a:moveTo>
                    <a:pt x="3" y="242"/>
                  </a:moveTo>
                  <a:cubicBezTo>
                    <a:pt x="7" y="231"/>
                    <a:pt x="23" y="205"/>
                    <a:pt x="30" y="206"/>
                  </a:cubicBezTo>
                  <a:cubicBezTo>
                    <a:pt x="34" y="207"/>
                    <a:pt x="44" y="217"/>
                    <a:pt x="55" y="228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2" y="0"/>
                    <a:pt x="22" y="1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1" y="246"/>
                    <a:pt x="2" y="244"/>
                    <a:pt x="3" y="242"/>
                  </a:cubicBezTo>
                  <a:close/>
                </a:path>
              </a:pathLst>
            </a:custGeom>
            <a:solidFill>
              <a:srgbClr val="77777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28" name="Freeform 385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6337300" y="3673475"/>
              <a:ext cx="60325" cy="193675"/>
            </a:xfrm>
            <a:custGeom>
              <a:avLst/>
              <a:gdLst/>
              <a:ahLst/>
              <a:cxnLst>
                <a:cxn ang="0">
                  <a:pos x="58" y="18"/>
                </a:cxn>
                <a:cxn ang="0">
                  <a:pos x="58" y="18"/>
                </a:cxn>
                <a:cxn ang="0">
                  <a:pos x="0" y="0"/>
                </a:cxn>
                <a:cxn ang="0">
                  <a:pos x="0" y="186"/>
                </a:cxn>
                <a:cxn ang="0">
                  <a:pos x="58" y="186"/>
                </a:cxn>
                <a:cxn ang="0">
                  <a:pos x="58" y="18"/>
                </a:cxn>
              </a:cxnLst>
              <a:rect l="0" t="0" r="r" b="b"/>
              <a:pathLst>
                <a:path w="58" h="186">
                  <a:moveTo>
                    <a:pt x="58" y="18"/>
                  </a:moveTo>
                  <a:cubicBezTo>
                    <a:pt x="58" y="18"/>
                    <a:pt x="58" y="18"/>
                    <a:pt x="58" y="18"/>
                  </a:cubicBezTo>
                  <a:cubicBezTo>
                    <a:pt x="41" y="4"/>
                    <a:pt x="2" y="24"/>
                    <a:pt x="0" y="0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58" y="186"/>
                    <a:pt x="58" y="186"/>
                    <a:pt x="58" y="186"/>
                  </a:cubicBezTo>
                  <a:lnTo>
                    <a:pt x="58" y="18"/>
                  </a:ln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29" name="Freeform 386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6342063" y="3848100"/>
              <a:ext cx="42862" cy="198438"/>
            </a:xfrm>
            <a:custGeom>
              <a:avLst/>
              <a:gdLst/>
              <a:ahLst/>
              <a:cxnLst>
                <a:cxn ang="0">
                  <a:pos x="42" y="190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3" y="21"/>
                </a:cxn>
                <a:cxn ang="0">
                  <a:pos x="0" y="22"/>
                </a:cxn>
                <a:cxn ang="0">
                  <a:pos x="0" y="190"/>
                </a:cxn>
                <a:cxn ang="0">
                  <a:pos x="42" y="190"/>
                </a:cxn>
              </a:cxnLst>
              <a:rect l="0" t="0" r="r" b="b"/>
              <a:pathLst>
                <a:path w="42" h="190">
                  <a:moveTo>
                    <a:pt x="42" y="19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9"/>
                    <a:pt x="11" y="18"/>
                    <a:pt x="3" y="21"/>
                  </a:cubicBezTo>
                  <a:cubicBezTo>
                    <a:pt x="3" y="21"/>
                    <a:pt x="1" y="22"/>
                    <a:pt x="0" y="22"/>
                  </a:cubicBezTo>
                  <a:cubicBezTo>
                    <a:pt x="0" y="190"/>
                    <a:pt x="0" y="190"/>
                    <a:pt x="0" y="190"/>
                  </a:cubicBezTo>
                  <a:lnTo>
                    <a:pt x="42" y="19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0" name="Freeform 387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6311900" y="3775075"/>
              <a:ext cx="125413" cy="176213"/>
            </a:xfrm>
            <a:custGeom>
              <a:avLst/>
              <a:gdLst/>
              <a:ahLst/>
              <a:cxnLst>
                <a:cxn ang="0">
                  <a:pos x="118" y="168"/>
                </a:cxn>
                <a:cxn ang="0">
                  <a:pos x="118" y="0"/>
                </a:cxn>
                <a:cxn ang="0">
                  <a:pos x="77" y="25"/>
                </a:cxn>
                <a:cxn ang="0">
                  <a:pos x="40" y="18"/>
                </a:cxn>
                <a:cxn ang="0">
                  <a:pos x="0" y="0"/>
                </a:cxn>
                <a:cxn ang="0">
                  <a:pos x="0" y="168"/>
                </a:cxn>
                <a:cxn ang="0">
                  <a:pos x="118" y="168"/>
                </a:cxn>
              </a:cxnLst>
              <a:rect l="0" t="0" r="r" b="b"/>
              <a:pathLst>
                <a:path w="118" h="168">
                  <a:moveTo>
                    <a:pt x="118" y="168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110" y="6"/>
                    <a:pt x="93" y="19"/>
                    <a:pt x="77" y="25"/>
                  </a:cubicBezTo>
                  <a:cubicBezTo>
                    <a:pt x="62" y="28"/>
                    <a:pt x="48" y="21"/>
                    <a:pt x="40" y="18"/>
                  </a:cubicBezTo>
                  <a:cubicBezTo>
                    <a:pt x="31" y="14"/>
                    <a:pt x="9" y="6"/>
                    <a:pt x="0" y="0"/>
                  </a:cubicBezTo>
                  <a:cubicBezTo>
                    <a:pt x="0" y="168"/>
                    <a:pt x="0" y="168"/>
                    <a:pt x="0" y="168"/>
                  </a:cubicBezTo>
                  <a:lnTo>
                    <a:pt x="118" y="168"/>
                  </a:lnTo>
                  <a:close/>
                </a:path>
              </a:pathLst>
            </a:custGeom>
            <a:solidFill>
              <a:srgbClr val="77777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1" name="Freeform 388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8439944" y="3040856"/>
              <a:ext cx="60325" cy="1458913"/>
            </a:xfrm>
            <a:custGeom>
              <a:avLst/>
              <a:gdLst/>
              <a:ahLst/>
              <a:cxnLst>
                <a:cxn ang="0">
                  <a:pos x="116" y="2882"/>
                </a:cxn>
                <a:cxn ang="0">
                  <a:pos x="116" y="70"/>
                </a:cxn>
                <a:cxn ang="0">
                  <a:pos x="112" y="70"/>
                </a:cxn>
                <a:cxn ang="0">
                  <a:pos x="0" y="0"/>
                </a:cxn>
                <a:cxn ang="0">
                  <a:pos x="0" y="2810"/>
                </a:cxn>
                <a:cxn ang="0">
                  <a:pos x="114" y="2882"/>
                </a:cxn>
                <a:cxn ang="0">
                  <a:pos x="116" y="2882"/>
                </a:cxn>
              </a:cxnLst>
              <a:rect l="0" t="0" r="r" b="b"/>
              <a:pathLst>
                <a:path w="116" h="2882">
                  <a:moveTo>
                    <a:pt x="116" y="2882"/>
                  </a:moveTo>
                  <a:lnTo>
                    <a:pt x="116" y="70"/>
                  </a:lnTo>
                  <a:lnTo>
                    <a:pt x="112" y="70"/>
                  </a:lnTo>
                  <a:lnTo>
                    <a:pt x="0" y="0"/>
                  </a:lnTo>
                  <a:lnTo>
                    <a:pt x="0" y="2810"/>
                  </a:lnTo>
                  <a:lnTo>
                    <a:pt x="114" y="2882"/>
                  </a:lnTo>
                  <a:lnTo>
                    <a:pt x="116" y="2882"/>
                  </a:ln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2" name="Freeform 390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7109619" y="3031331"/>
              <a:ext cx="60325" cy="1477963"/>
            </a:xfrm>
            <a:custGeom>
              <a:avLst/>
              <a:gdLst/>
              <a:ahLst/>
              <a:cxnLst>
                <a:cxn ang="0">
                  <a:pos x="116" y="2527"/>
                </a:cxn>
                <a:cxn ang="0">
                  <a:pos x="116" y="0"/>
                </a:cxn>
                <a:cxn ang="0">
                  <a:pos x="0" y="0"/>
                </a:cxn>
                <a:cxn ang="0">
                  <a:pos x="0" y="2457"/>
                </a:cxn>
                <a:cxn ang="0">
                  <a:pos x="112" y="2527"/>
                </a:cxn>
                <a:cxn ang="0">
                  <a:pos x="116" y="2527"/>
                </a:cxn>
              </a:cxnLst>
              <a:rect l="0" t="0" r="r" b="b"/>
              <a:pathLst>
                <a:path w="116" h="2527">
                  <a:moveTo>
                    <a:pt x="116" y="2527"/>
                  </a:moveTo>
                  <a:lnTo>
                    <a:pt x="116" y="0"/>
                  </a:lnTo>
                  <a:lnTo>
                    <a:pt x="0" y="0"/>
                  </a:lnTo>
                  <a:lnTo>
                    <a:pt x="0" y="2457"/>
                  </a:lnTo>
                  <a:lnTo>
                    <a:pt x="112" y="2527"/>
                  </a:lnTo>
                  <a:lnTo>
                    <a:pt x="116" y="2527"/>
                  </a:ln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3" name="Freeform 391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8445501" y="3216275"/>
              <a:ext cx="42862" cy="1462087"/>
            </a:xfrm>
            <a:custGeom>
              <a:avLst/>
              <a:gdLst/>
              <a:ahLst/>
              <a:cxnLst>
                <a:cxn ang="0">
                  <a:pos x="0" y="2884"/>
                </a:cxn>
                <a:cxn ang="0">
                  <a:pos x="84" y="2812"/>
                </a:cxn>
                <a:cxn ang="0">
                  <a:pos x="84" y="0"/>
                </a:cxn>
                <a:cxn ang="0">
                  <a:pos x="0" y="72"/>
                </a:cxn>
                <a:cxn ang="0">
                  <a:pos x="0" y="2884"/>
                </a:cxn>
              </a:cxnLst>
              <a:rect l="0" t="0" r="r" b="b"/>
              <a:pathLst>
                <a:path w="84" h="2884">
                  <a:moveTo>
                    <a:pt x="0" y="2884"/>
                  </a:moveTo>
                  <a:lnTo>
                    <a:pt x="84" y="2812"/>
                  </a:lnTo>
                  <a:lnTo>
                    <a:pt x="84" y="0"/>
                  </a:lnTo>
                  <a:lnTo>
                    <a:pt x="0" y="72"/>
                  </a:lnTo>
                  <a:lnTo>
                    <a:pt x="0" y="2884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4" name="Freeform 393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7119145" y="3209131"/>
              <a:ext cx="42862" cy="1476375"/>
            </a:xfrm>
            <a:custGeom>
              <a:avLst/>
              <a:gdLst/>
              <a:ahLst/>
              <a:cxnLst>
                <a:cxn ang="0">
                  <a:pos x="84" y="2451"/>
                </a:cxn>
                <a:cxn ang="0">
                  <a:pos x="84" y="0"/>
                </a:cxn>
                <a:cxn ang="0">
                  <a:pos x="0" y="0"/>
                </a:cxn>
                <a:cxn ang="0">
                  <a:pos x="0" y="2523"/>
                </a:cxn>
                <a:cxn ang="0">
                  <a:pos x="84" y="2451"/>
                </a:cxn>
              </a:cxnLst>
              <a:rect l="0" t="0" r="r" b="b"/>
              <a:pathLst>
                <a:path w="84" h="2523">
                  <a:moveTo>
                    <a:pt x="84" y="2451"/>
                  </a:moveTo>
                  <a:lnTo>
                    <a:pt x="84" y="0"/>
                  </a:lnTo>
                  <a:lnTo>
                    <a:pt x="0" y="0"/>
                  </a:lnTo>
                  <a:lnTo>
                    <a:pt x="0" y="2523"/>
                  </a:lnTo>
                  <a:lnTo>
                    <a:pt x="84" y="2451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5" name="Freeform 394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8426450" y="3149600"/>
              <a:ext cx="125413" cy="1427163"/>
            </a:xfrm>
            <a:custGeom>
              <a:avLst/>
              <a:gdLst/>
              <a:ahLst/>
              <a:cxnLst>
                <a:cxn ang="0">
                  <a:pos x="232" y="4"/>
                </a:cxn>
                <a:cxn ang="0">
                  <a:pos x="0" y="4"/>
                </a:cxn>
                <a:cxn ang="0">
                  <a:pos x="0" y="2816"/>
                </a:cxn>
                <a:cxn ang="0">
                  <a:pos x="234" y="2816"/>
                </a:cxn>
                <a:cxn ang="0">
                  <a:pos x="236" y="2812"/>
                </a:cxn>
                <a:cxn ang="0">
                  <a:pos x="236" y="0"/>
                </a:cxn>
                <a:cxn ang="0">
                  <a:pos x="232" y="4"/>
                </a:cxn>
              </a:cxnLst>
              <a:rect l="0" t="0" r="r" b="b"/>
              <a:pathLst>
                <a:path w="236" h="2816">
                  <a:moveTo>
                    <a:pt x="232" y="4"/>
                  </a:moveTo>
                  <a:lnTo>
                    <a:pt x="0" y="4"/>
                  </a:lnTo>
                  <a:lnTo>
                    <a:pt x="0" y="2816"/>
                  </a:lnTo>
                  <a:lnTo>
                    <a:pt x="234" y="2816"/>
                  </a:lnTo>
                  <a:lnTo>
                    <a:pt x="236" y="2812"/>
                  </a:lnTo>
                  <a:lnTo>
                    <a:pt x="236" y="0"/>
                  </a:lnTo>
                  <a:lnTo>
                    <a:pt x="232" y="4"/>
                  </a:lnTo>
                  <a:close/>
                </a:path>
              </a:pathLst>
            </a:custGeom>
            <a:solidFill>
              <a:srgbClr val="77777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36" name="Freeform 395" descr="© INSCALE GmbH, 26.05.2010&#10;http://www.presentationload.com/"/>
            <p:cNvSpPr>
              <a:spLocks/>
            </p:cNvSpPr>
            <p:nvPr/>
          </p:nvSpPr>
          <p:spPr bwMode="gray">
            <a:xfrm rot="5400000" flipV="1">
              <a:off x="7077075" y="3124200"/>
              <a:ext cx="125413" cy="1477963"/>
            </a:xfrm>
            <a:custGeom>
              <a:avLst/>
              <a:gdLst/>
              <a:ahLst/>
              <a:cxnLst>
                <a:cxn ang="0">
                  <a:pos x="232" y="2527"/>
                </a:cxn>
                <a:cxn ang="0">
                  <a:pos x="236" y="2523"/>
                </a:cxn>
                <a:cxn ang="0">
                  <a:pos x="236" y="0"/>
                </a:cxn>
                <a:cxn ang="0">
                  <a:pos x="0" y="0"/>
                </a:cxn>
                <a:cxn ang="0">
                  <a:pos x="0" y="2527"/>
                </a:cxn>
                <a:cxn ang="0">
                  <a:pos x="232" y="2527"/>
                </a:cxn>
              </a:cxnLst>
              <a:rect l="0" t="0" r="r" b="b"/>
              <a:pathLst>
                <a:path w="236" h="2527">
                  <a:moveTo>
                    <a:pt x="232" y="2527"/>
                  </a:moveTo>
                  <a:lnTo>
                    <a:pt x="236" y="2523"/>
                  </a:lnTo>
                  <a:lnTo>
                    <a:pt x="236" y="0"/>
                  </a:lnTo>
                  <a:lnTo>
                    <a:pt x="0" y="0"/>
                  </a:lnTo>
                  <a:lnTo>
                    <a:pt x="0" y="2527"/>
                  </a:lnTo>
                  <a:lnTo>
                    <a:pt x="232" y="2527"/>
                  </a:lnTo>
                  <a:close/>
                </a:path>
              </a:pathLst>
            </a:custGeom>
            <a:solidFill>
              <a:srgbClr val="77777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pic>
          <p:nvPicPr>
            <p:cNvPr id="37" name="Picture 397" descr="holz_textur"/>
            <p:cNvPicPr preferRelativeResize="0">
              <a:picLocks noChangeArrowheads="1"/>
            </p:cNvPicPr>
            <p:nvPr/>
          </p:nvPicPr>
          <p:blipFill>
            <a:blip r:embed="rId2" cstate="print">
              <a:lum bright="24000"/>
            </a:blip>
            <a:srcRect/>
            <a:stretch>
              <a:fillRect/>
            </a:stretch>
          </p:blipFill>
          <p:spPr bwMode="gray">
            <a:xfrm>
              <a:off x="5911850" y="3740150"/>
              <a:ext cx="401638" cy="23018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56826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f you don’t want to use the style and size of the fonts as used in this placeholder </a:t>
            </a:r>
            <a:r>
              <a:rPr lang="en-US" noProof="1" smtClean="0"/>
              <a:t>it’s </a:t>
            </a: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ossible to replace it by selecting different options.</a:t>
            </a:r>
          </a:p>
        </p:txBody>
      </p:sp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de-DE" noProof="1"/>
              <a:t>Graphic </a:t>
            </a:r>
            <a:r>
              <a:rPr lang="de-DE" b="0" noProof="1" smtClean="0"/>
              <a:t>- Marketing 4P‘s</a:t>
            </a:r>
            <a:endParaRPr lang="en-US" noProof="1" smtClean="0"/>
          </a:p>
        </p:txBody>
      </p:sp>
      <p:grpSp>
        <p:nvGrpSpPr>
          <p:cNvPr id="2" name="Gruppieren 451"/>
          <p:cNvGrpSpPr/>
          <p:nvPr/>
        </p:nvGrpSpPr>
        <p:grpSpPr bwMode="gray">
          <a:xfrm>
            <a:off x="4446618" y="2847781"/>
            <a:ext cx="961085" cy="1685174"/>
            <a:chOff x="-1137816" y="2138743"/>
            <a:chExt cx="1338560" cy="2347039"/>
          </a:xfrm>
        </p:grpSpPr>
        <p:pic>
          <p:nvPicPr>
            <p:cNvPr id="17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-1137816" y="3937210"/>
              <a:ext cx="1338560" cy="548572"/>
            </a:xfrm>
            <a:prstGeom prst="rect">
              <a:avLst/>
            </a:prstGeom>
            <a:noFill/>
          </p:spPr>
        </p:pic>
        <p:grpSp>
          <p:nvGrpSpPr>
            <p:cNvPr id="3" name="Gruppieren 136"/>
            <p:cNvGrpSpPr/>
            <p:nvPr/>
          </p:nvGrpSpPr>
          <p:grpSpPr bwMode="gray">
            <a:xfrm>
              <a:off x="-783753" y="2138744"/>
              <a:ext cx="715750" cy="2167659"/>
              <a:chOff x="-4095750" y="5688013"/>
              <a:chExt cx="6791325" cy="20567650"/>
            </a:xfrm>
          </p:grpSpPr>
          <p:sp>
            <p:nvSpPr>
              <p:cNvPr id="19" name="Freeform 267"/>
              <p:cNvSpPr>
                <a:spLocks/>
              </p:cNvSpPr>
              <p:nvPr/>
            </p:nvSpPr>
            <p:spPr bwMode="gray">
              <a:xfrm>
                <a:off x="1247775" y="10442576"/>
                <a:ext cx="641350" cy="3325813"/>
              </a:xfrm>
              <a:custGeom>
                <a:avLst/>
                <a:gdLst/>
                <a:ahLst/>
                <a:cxnLst>
                  <a:cxn ang="0">
                    <a:pos x="12" y="41"/>
                  </a:cxn>
                  <a:cxn ang="0">
                    <a:pos x="0" y="275"/>
                  </a:cxn>
                  <a:cxn ang="0">
                    <a:pos x="34" y="498"/>
                  </a:cxn>
                  <a:cxn ang="0">
                    <a:pos x="1" y="887"/>
                  </a:cxn>
                  <a:cxn ang="0">
                    <a:pos x="35" y="736"/>
                  </a:cxn>
                  <a:cxn ang="0">
                    <a:pos x="18" y="415"/>
                  </a:cxn>
                  <a:cxn ang="0">
                    <a:pos x="24" y="211"/>
                  </a:cxn>
                  <a:cxn ang="0">
                    <a:pos x="29" y="0"/>
                  </a:cxn>
                </a:cxnLst>
                <a:rect l="0" t="0" r="r" b="b"/>
                <a:pathLst>
                  <a:path w="171" h="887">
                    <a:moveTo>
                      <a:pt x="12" y="41"/>
                    </a:moveTo>
                    <a:cubicBezTo>
                      <a:pt x="37" y="97"/>
                      <a:pt x="0" y="207"/>
                      <a:pt x="0" y="275"/>
                    </a:cubicBezTo>
                    <a:cubicBezTo>
                      <a:pt x="0" y="361"/>
                      <a:pt x="6" y="422"/>
                      <a:pt x="34" y="498"/>
                    </a:cubicBezTo>
                    <a:cubicBezTo>
                      <a:pt x="80" y="621"/>
                      <a:pt x="171" y="811"/>
                      <a:pt x="1" y="887"/>
                    </a:cubicBezTo>
                    <a:cubicBezTo>
                      <a:pt x="13" y="832"/>
                      <a:pt x="35" y="802"/>
                      <a:pt x="35" y="736"/>
                    </a:cubicBezTo>
                    <a:cubicBezTo>
                      <a:pt x="35" y="631"/>
                      <a:pt x="28" y="520"/>
                      <a:pt x="18" y="415"/>
                    </a:cubicBezTo>
                    <a:cubicBezTo>
                      <a:pt x="11" y="345"/>
                      <a:pt x="18" y="278"/>
                      <a:pt x="24" y="211"/>
                    </a:cubicBezTo>
                    <a:cubicBezTo>
                      <a:pt x="30" y="144"/>
                      <a:pt x="7" y="62"/>
                      <a:pt x="29" y="0"/>
                    </a:cubicBezTo>
                  </a:path>
                </a:pathLst>
              </a:custGeom>
              <a:solidFill>
                <a:srgbClr val="1B242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268"/>
              <p:cNvSpPr>
                <a:spLocks/>
              </p:cNvSpPr>
              <p:nvPr/>
            </p:nvSpPr>
            <p:spPr bwMode="gray">
              <a:xfrm>
                <a:off x="-3135313" y="23976013"/>
                <a:ext cx="1889125" cy="2017713"/>
              </a:xfrm>
              <a:custGeom>
                <a:avLst/>
                <a:gdLst/>
                <a:ahLst/>
                <a:cxnLst>
                  <a:cxn ang="0">
                    <a:pos x="453" y="0"/>
                  </a:cxn>
                  <a:cxn ang="0">
                    <a:pos x="491" y="43"/>
                  </a:cxn>
                  <a:cxn ang="0">
                    <a:pos x="503" y="116"/>
                  </a:cxn>
                  <a:cxn ang="0">
                    <a:pos x="451" y="228"/>
                  </a:cxn>
                  <a:cxn ang="0">
                    <a:pos x="385" y="327"/>
                  </a:cxn>
                  <a:cxn ang="0">
                    <a:pos x="343" y="382"/>
                  </a:cxn>
                  <a:cxn ang="0">
                    <a:pos x="324" y="452"/>
                  </a:cxn>
                  <a:cxn ang="0">
                    <a:pos x="196" y="515"/>
                  </a:cxn>
                  <a:cxn ang="0">
                    <a:pos x="56" y="537"/>
                  </a:cxn>
                  <a:cxn ang="0">
                    <a:pos x="4" y="531"/>
                  </a:cxn>
                  <a:cxn ang="0">
                    <a:pos x="44" y="415"/>
                  </a:cxn>
                  <a:cxn ang="0">
                    <a:pos x="94" y="301"/>
                  </a:cxn>
                  <a:cxn ang="0">
                    <a:pos x="205" y="239"/>
                  </a:cxn>
                  <a:cxn ang="0">
                    <a:pos x="318" y="133"/>
                  </a:cxn>
                  <a:cxn ang="0">
                    <a:pos x="372" y="26"/>
                  </a:cxn>
                  <a:cxn ang="0">
                    <a:pos x="471" y="11"/>
                  </a:cxn>
                </a:cxnLst>
                <a:rect l="0" t="0" r="r" b="b"/>
                <a:pathLst>
                  <a:path w="504" h="538">
                    <a:moveTo>
                      <a:pt x="453" y="0"/>
                    </a:moveTo>
                    <a:cubicBezTo>
                      <a:pt x="468" y="18"/>
                      <a:pt x="482" y="20"/>
                      <a:pt x="491" y="43"/>
                    </a:cubicBezTo>
                    <a:cubicBezTo>
                      <a:pt x="500" y="66"/>
                      <a:pt x="502" y="91"/>
                      <a:pt x="503" y="116"/>
                    </a:cubicBezTo>
                    <a:cubicBezTo>
                      <a:pt x="504" y="156"/>
                      <a:pt x="497" y="220"/>
                      <a:pt x="451" y="228"/>
                    </a:cubicBezTo>
                    <a:cubicBezTo>
                      <a:pt x="427" y="259"/>
                      <a:pt x="408" y="295"/>
                      <a:pt x="385" y="327"/>
                    </a:cubicBezTo>
                    <a:cubicBezTo>
                      <a:pt x="373" y="344"/>
                      <a:pt x="349" y="362"/>
                      <a:pt x="343" y="382"/>
                    </a:cubicBezTo>
                    <a:cubicBezTo>
                      <a:pt x="334" y="411"/>
                      <a:pt x="345" y="427"/>
                      <a:pt x="324" y="452"/>
                    </a:cubicBezTo>
                    <a:cubicBezTo>
                      <a:pt x="289" y="493"/>
                      <a:pt x="242" y="495"/>
                      <a:pt x="196" y="515"/>
                    </a:cubicBezTo>
                    <a:cubicBezTo>
                      <a:pt x="151" y="535"/>
                      <a:pt x="109" y="535"/>
                      <a:pt x="56" y="537"/>
                    </a:cubicBezTo>
                    <a:cubicBezTo>
                      <a:pt x="42" y="538"/>
                      <a:pt x="19" y="532"/>
                      <a:pt x="4" y="531"/>
                    </a:cubicBezTo>
                    <a:cubicBezTo>
                      <a:pt x="0" y="499"/>
                      <a:pt x="30" y="441"/>
                      <a:pt x="44" y="415"/>
                    </a:cubicBezTo>
                    <a:cubicBezTo>
                      <a:pt x="62" y="381"/>
                      <a:pt x="70" y="333"/>
                      <a:pt x="94" y="301"/>
                    </a:cubicBezTo>
                    <a:cubicBezTo>
                      <a:pt x="120" y="267"/>
                      <a:pt x="170" y="258"/>
                      <a:pt x="205" y="239"/>
                    </a:cubicBezTo>
                    <a:cubicBezTo>
                      <a:pt x="250" y="213"/>
                      <a:pt x="288" y="178"/>
                      <a:pt x="318" y="133"/>
                    </a:cubicBezTo>
                    <a:cubicBezTo>
                      <a:pt x="340" y="101"/>
                      <a:pt x="341" y="52"/>
                      <a:pt x="372" y="26"/>
                    </a:cubicBezTo>
                    <a:cubicBezTo>
                      <a:pt x="398" y="5"/>
                      <a:pt x="439" y="6"/>
                      <a:pt x="471" y="11"/>
                    </a:cubicBezTo>
                  </a:path>
                </a:pathLst>
              </a:custGeom>
              <a:solidFill>
                <a:srgbClr val="2B2B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269"/>
              <p:cNvSpPr>
                <a:spLocks/>
              </p:cNvSpPr>
              <p:nvPr/>
            </p:nvSpPr>
            <p:spPr bwMode="gray">
              <a:xfrm>
                <a:off x="-2787650" y="15524163"/>
                <a:ext cx="2917825" cy="9955213"/>
              </a:xfrm>
              <a:custGeom>
                <a:avLst/>
                <a:gdLst/>
                <a:ahLst/>
                <a:cxnLst>
                  <a:cxn ang="0">
                    <a:pos x="751" y="46"/>
                  </a:cxn>
                  <a:cxn ang="0">
                    <a:pos x="715" y="302"/>
                  </a:cxn>
                  <a:cxn ang="0">
                    <a:pos x="696" y="587"/>
                  </a:cxn>
                  <a:cxn ang="0">
                    <a:pos x="681" y="884"/>
                  </a:cxn>
                  <a:cxn ang="0">
                    <a:pos x="689" y="1016"/>
                  </a:cxn>
                  <a:cxn ang="0">
                    <a:pos x="651" y="1113"/>
                  </a:cxn>
                  <a:cxn ang="0">
                    <a:pos x="622" y="1298"/>
                  </a:cxn>
                  <a:cxn ang="0">
                    <a:pos x="568" y="1465"/>
                  </a:cxn>
                  <a:cxn ang="0">
                    <a:pos x="547" y="1679"/>
                  </a:cxn>
                  <a:cxn ang="0">
                    <a:pos x="424" y="2026"/>
                  </a:cxn>
                  <a:cxn ang="0">
                    <a:pos x="377" y="2201"/>
                  </a:cxn>
                  <a:cxn ang="0">
                    <a:pos x="377" y="2291"/>
                  </a:cxn>
                  <a:cxn ang="0">
                    <a:pos x="374" y="2408"/>
                  </a:cxn>
                  <a:cxn ang="0">
                    <a:pos x="286" y="2521"/>
                  </a:cxn>
                  <a:cxn ang="0">
                    <a:pos x="211" y="2655"/>
                  </a:cxn>
                  <a:cxn ang="0">
                    <a:pos x="12" y="2581"/>
                  </a:cxn>
                  <a:cxn ang="0">
                    <a:pos x="113" y="2475"/>
                  </a:cxn>
                  <a:cxn ang="0">
                    <a:pos x="210" y="2354"/>
                  </a:cxn>
                  <a:cxn ang="0">
                    <a:pos x="252" y="1741"/>
                  </a:cxn>
                  <a:cxn ang="0">
                    <a:pos x="270" y="1473"/>
                  </a:cxn>
                  <a:cxn ang="0">
                    <a:pos x="283" y="1380"/>
                  </a:cxn>
                  <a:cxn ang="0">
                    <a:pos x="345" y="1184"/>
                  </a:cxn>
                  <a:cxn ang="0">
                    <a:pos x="354" y="1079"/>
                  </a:cxn>
                  <a:cxn ang="0">
                    <a:pos x="372" y="967"/>
                  </a:cxn>
                  <a:cxn ang="0">
                    <a:pos x="357" y="676"/>
                  </a:cxn>
                  <a:cxn ang="0">
                    <a:pos x="358" y="8"/>
                  </a:cxn>
                  <a:cxn ang="0">
                    <a:pos x="778" y="50"/>
                  </a:cxn>
                </a:cxnLst>
                <a:rect l="0" t="0" r="r" b="b"/>
                <a:pathLst>
                  <a:path w="778" h="2655">
                    <a:moveTo>
                      <a:pt x="751" y="46"/>
                    </a:moveTo>
                    <a:cubicBezTo>
                      <a:pt x="750" y="133"/>
                      <a:pt x="733" y="218"/>
                      <a:pt x="715" y="302"/>
                    </a:cubicBezTo>
                    <a:cubicBezTo>
                      <a:pt x="694" y="393"/>
                      <a:pt x="701" y="495"/>
                      <a:pt x="696" y="587"/>
                    </a:cubicBezTo>
                    <a:cubicBezTo>
                      <a:pt x="692" y="687"/>
                      <a:pt x="680" y="784"/>
                      <a:pt x="681" y="884"/>
                    </a:cubicBezTo>
                    <a:cubicBezTo>
                      <a:pt x="681" y="929"/>
                      <a:pt x="689" y="970"/>
                      <a:pt x="689" y="1016"/>
                    </a:cubicBezTo>
                    <a:cubicBezTo>
                      <a:pt x="688" y="1062"/>
                      <a:pt x="669" y="1075"/>
                      <a:pt x="651" y="1113"/>
                    </a:cubicBezTo>
                    <a:cubicBezTo>
                      <a:pt x="634" y="1151"/>
                      <a:pt x="641" y="1272"/>
                      <a:pt x="622" y="1298"/>
                    </a:cubicBezTo>
                    <a:cubicBezTo>
                      <a:pt x="592" y="1340"/>
                      <a:pt x="568" y="1404"/>
                      <a:pt x="568" y="1465"/>
                    </a:cubicBezTo>
                    <a:cubicBezTo>
                      <a:pt x="568" y="1538"/>
                      <a:pt x="568" y="1609"/>
                      <a:pt x="547" y="1679"/>
                    </a:cubicBezTo>
                    <a:cubicBezTo>
                      <a:pt x="529" y="1741"/>
                      <a:pt x="445" y="1972"/>
                      <a:pt x="424" y="2026"/>
                    </a:cubicBezTo>
                    <a:cubicBezTo>
                      <a:pt x="402" y="2084"/>
                      <a:pt x="382" y="2137"/>
                      <a:pt x="377" y="2201"/>
                    </a:cubicBezTo>
                    <a:cubicBezTo>
                      <a:pt x="374" y="2231"/>
                      <a:pt x="370" y="2262"/>
                      <a:pt x="377" y="2291"/>
                    </a:cubicBezTo>
                    <a:cubicBezTo>
                      <a:pt x="384" y="2320"/>
                      <a:pt x="384" y="2374"/>
                      <a:pt x="374" y="2408"/>
                    </a:cubicBezTo>
                    <a:cubicBezTo>
                      <a:pt x="358" y="2461"/>
                      <a:pt x="327" y="2480"/>
                      <a:pt x="286" y="2521"/>
                    </a:cubicBezTo>
                    <a:cubicBezTo>
                      <a:pt x="255" y="2552"/>
                      <a:pt x="255" y="2616"/>
                      <a:pt x="211" y="2655"/>
                    </a:cubicBezTo>
                    <a:cubicBezTo>
                      <a:pt x="211" y="2655"/>
                      <a:pt x="0" y="2611"/>
                      <a:pt x="12" y="2581"/>
                    </a:cubicBezTo>
                    <a:cubicBezTo>
                      <a:pt x="29" y="2541"/>
                      <a:pt x="79" y="2502"/>
                      <a:pt x="113" y="2475"/>
                    </a:cubicBezTo>
                    <a:cubicBezTo>
                      <a:pt x="148" y="2445"/>
                      <a:pt x="189" y="2396"/>
                      <a:pt x="210" y="2354"/>
                    </a:cubicBezTo>
                    <a:cubicBezTo>
                      <a:pt x="236" y="2303"/>
                      <a:pt x="255" y="1803"/>
                      <a:pt x="252" y="1741"/>
                    </a:cubicBezTo>
                    <a:cubicBezTo>
                      <a:pt x="251" y="1710"/>
                      <a:pt x="264" y="1503"/>
                      <a:pt x="270" y="1473"/>
                    </a:cubicBezTo>
                    <a:cubicBezTo>
                      <a:pt x="277" y="1436"/>
                      <a:pt x="286" y="1414"/>
                      <a:pt x="283" y="1380"/>
                    </a:cubicBezTo>
                    <a:cubicBezTo>
                      <a:pt x="278" y="1310"/>
                      <a:pt x="329" y="1249"/>
                      <a:pt x="345" y="1184"/>
                    </a:cubicBezTo>
                    <a:cubicBezTo>
                      <a:pt x="354" y="1152"/>
                      <a:pt x="350" y="1112"/>
                      <a:pt x="354" y="1079"/>
                    </a:cubicBezTo>
                    <a:cubicBezTo>
                      <a:pt x="357" y="1041"/>
                      <a:pt x="368" y="1005"/>
                      <a:pt x="372" y="967"/>
                    </a:cubicBezTo>
                    <a:cubicBezTo>
                      <a:pt x="382" y="870"/>
                      <a:pt x="373" y="768"/>
                      <a:pt x="357" y="676"/>
                    </a:cubicBezTo>
                    <a:cubicBezTo>
                      <a:pt x="321" y="456"/>
                      <a:pt x="347" y="227"/>
                      <a:pt x="358" y="8"/>
                    </a:cubicBezTo>
                    <a:cubicBezTo>
                      <a:pt x="506" y="0"/>
                      <a:pt x="644" y="5"/>
                      <a:pt x="778" y="50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270"/>
              <p:cNvSpPr>
                <a:spLocks/>
              </p:cNvSpPr>
              <p:nvPr/>
            </p:nvSpPr>
            <p:spPr bwMode="gray">
              <a:xfrm>
                <a:off x="-1133475" y="7926388"/>
                <a:ext cx="2122488" cy="3573463"/>
              </a:xfrm>
              <a:custGeom>
                <a:avLst/>
                <a:gdLst/>
                <a:ahLst/>
                <a:cxnLst>
                  <a:cxn ang="0">
                    <a:pos x="136" y="59"/>
                  </a:cxn>
                  <a:cxn ang="0">
                    <a:pos x="84" y="133"/>
                  </a:cxn>
                  <a:cxn ang="0">
                    <a:pos x="53" y="222"/>
                  </a:cxn>
                  <a:cxn ang="0">
                    <a:pos x="12" y="339"/>
                  </a:cxn>
                  <a:cxn ang="0">
                    <a:pos x="3" y="386"/>
                  </a:cxn>
                  <a:cxn ang="0">
                    <a:pos x="46" y="494"/>
                  </a:cxn>
                  <a:cxn ang="0">
                    <a:pos x="96" y="654"/>
                  </a:cxn>
                  <a:cxn ang="0">
                    <a:pos x="136" y="714"/>
                  </a:cxn>
                  <a:cxn ang="0">
                    <a:pos x="142" y="820"/>
                  </a:cxn>
                  <a:cxn ang="0">
                    <a:pos x="260" y="931"/>
                  </a:cxn>
                  <a:cxn ang="0">
                    <a:pos x="377" y="829"/>
                  </a:cxn>
                  <a:cxn ang="0">
                    <a:pos x="429" y="674"/>
                  </a:cxn>
                  <a:cxn ang="0">
                    <a:pos x="471" y="538"/>
                  </a:cxn>
                  <a:cxn ang="0">
                    <a:pos x="534" y="445"/>
                  </a:cxn>
                  <a:cxn ang="0">
                    <a:pos x="560" y="355"/>
                  </a:cxn>
                  <a:cxn ang="0">
                    <a:pos x="514" y="238"/>
                  </a:cxn>
                  <a:cxn ang="0">
                    <a:pos x="436" y="124"/>
                  </a:cxn>
                  <a:cxn ang="0">
                    <a:pos x="322" y="4"/>
                  </a:cxn>
                  <a:cxn ang="0">
                    <a:pos x="179" y="36"/>
                  </a:cxn>
                </a:cxnLst>
                <a:rect l="0" t="0" r="r" b="b"/>
                <a:pathLst>
                  <a:path w="566" h="953">
                    <a:moveTo>
                      <a:pt x="136" y="59"/>
                    </a:moveTo>
                    <a:cubicBezTo>
                      <a:pt x="136" y="88"/>
                      <a:pt x="99" y="110"/>
                      <a:pt x="84" y="133"/>
                    </a:cubicBezTo>
                    <a:cubicBezTo>
                      <a:pt x="65" y="163"/>
                      <a:pt x="62" y="189"/>
                      <a:pt x="53" y="222"/>
                    </a:cubicBezTo>
                    <a:cubicBezTo>
                      <a:pt x="43" y="258"/>
                      <a:pt x="23" y="300"/>
                      <a:pt x="12" y="339"/>
                    </a:cubicBezTo>
                    <a:cubicBezTo>
                      <a:pt x="7" y="356"/>
                      <a:pt x="4" y="368"/>
                      <a:pt x="3" y="386"/>
                    </a:cubicBezTo>
                    <a:cubicBezTo>
                      <a:pt x="0" y="439"/>
                      <a:pt x="30" y="452"/>
                      <a:pt x="46" y="494"/>
                    </a:cubicBezTo>
                    <a:cubicBezTo>
                      <a:pt x="66" y="547"/>
                      <a:pt x="69" y="601"/>
                      <a:pt x="96" y="654"/>
                    </a:cubicBezTo>
                    <a:cubicBezTo>
                      <a:pt x="106" y="675"/>
                      <a:pt x="127" y="692"/>
                      <a:pt x="136" y="714"/>
                    </a:cubicBezTo>
                    <a:cubicBezTo>
                      <a:pt x="148" y="744"/>
                      <a:pt x="137" y="786"/>
                      <a:pt x="142" y="820"/>
                    </a:cubicBezTo>
                    <a:cubicBezTo>
                      <a:pt x="153" y="889"/>
                      <a:pt x="176" y="953"/>
                      <a:pt x="260" y="931"/>
                    </a:cubicBezTo>
                    <a:cubicBezTo>
                      <a:pt x="282" y="880"/>
                      <a:pt x="342" y="868"/>
                      <a:pt x="377" y="829"/>
                    </a:cubicBezTo>
                    <a:cubicBezTo>
                      <a:pt x="417" y="784"/>
                      <a:pt x="421" y="730"/>
                      <a:pt x="429" y="674"/>
                    </a:cubicBezTo>
                    <a:cubicBezTo>
                      <a:pt x="435" y="631"/>
                      <a:pt x="447" y="575"/>
                      <a:pt x="471" y="538"/>
                    </a:cubicBezTo>
                    <a:cubicBezTo>
                      <a:pt x="494" y="502"/>
                      <a:pt x="520" y="487"/>
                      <a:pt x="534" y="445"/>
                    </a:cubicBezTo>
                    <a:cubicBezTo>
                      <a:pt x="544" y="414"/>
                      <a:pt x="557" y="388"/>
                      <a:pt x="560" y="355"/>
                    </a:cubicBezTo>
                    <a:cubicBezTo>
                      <a:pt x="566" y="305"/>
                      <a:pt x="541" y="281"/>
                      <a:pt x="514" y="238"/>
                    </a:cubicBezTo>
                    <a:cubicBezTo>
                      <a:pt x="487" y="197"/>
                      <a:pt x="453" y="170"/>
                      <a:pt x="436" y="124"/>
                    </a:cubicBezTo>
                    <a:cubicBezTo>
                      <a:pt x="413" y="64"/>
                      <a:pt x="396" y="10"/>
                      <a:pt x="322" y="4"/>
                    </a:cubicBezTo>
                    <a:cubicBezTo>
                      <a:pt x="271" y="0"/>
                      <a:pt x="227" y="27"/>
                      <a:pt x="179" y="36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" name="Freeform 271"/>
              <p:cNvSpPr>
                <a:spLocks/>
              </p:cNvSpPr>
              <p:nvPr/>
            </p:nvSpPr>
            <p:spPr bwMode="gray">
              <a:xfrm>
                <a:off x="-304800" y="23855363"/>
                <a:ext cx="1431925" cy="2400300"/>
              </a:xfrm>
              <a:custGeom>
                <a:avLst/>
                <a:gdLst/>
                <a:ahLst/>
                <a:cxnLst>
                  <a:cxn ang="0">
                    <a:pos x="99" y="26"/>
                  </a:cxn>
                  <a:cxn ang="0">
                    <a:pos x="29" y="111"/>
                  </a:cxn>
                  <a:cxn ang="0">
                    <a:pos x="8" y="172"/>
                  </a:cxn>
                  <a:cxn ang="0">
                    <a:pos x="31" y="239"/>
                  </a:cxn>
                  <a:cxn ang="0">
                    <a:pos x="78" y="368"/>
                  </a:cxn>
                  <a:cxn ang="0">
                    <a:pos x="93" y="429"/>
                  </a:cxn>
                  <a:cxn ang="0">
                    <a:pos x="99" y="508"/>
                  </a:cxn>
                  <a:cxn ang="0">
                    <a:pos x="209" y="588"/>
                  </a:cxn>
                  <a:cxn ang="0">
                    <a:pos x="370" y="639"/>
                  </a:cxn>
                  <a:cxn ang="0">
                    <a:pos x="377" y="496"/>
                  </a:cxn>
                  <a:cxn ang="0">
                    <a:pos x="362" y="438"/>
                  </a:cxn>
                  <a:cxn ang="0">
                    <a:pos x="327" y="390"/>
                  </a:cxn>
                  <a:cxn ang="0">
                    <a:pos x="279" y="275"/>
                  </a:cxn>
                  <a:cxn ang="0">
                    <a:pos x="238" y="146"/>
                  </a:cxn>
                  <a:cxn ang="0">
                    <a:pos x="186" y="38"/>
                  </a:cxn>
                  <a:cxn ang="0">
                    <a:pos x="81" y="26"/>
                  </a:cxn>
                </a:cxnLst>
                <a:rect l="0" t="0" r="r" b="b"/>
                <a:pathLst>
                  <a:path w="382" h="640">
                    <a:moveTo>
                      <a:pt x="99" y="26"/>
                    </a:moveTo>
                    <a:cubicBezTo>
                      <a:pt x="49" y="19"/>
                      <a:pt x="36" y="75"/>
                      <a:pt x="29" y="111"/>
                    </a:cubicBezTo>
                    <a:cubicBezTo>
                      <a:pt x="25" y="132"/>
                      <a:pt x="13" y="152"/>
                      <a:pt x="8" y="172"/>
                    </a:cubicBezTo>
                    <a:cubicBezTo>
                      <a:pt x="0" y="203"/>
                      <a:pt x="19" y="212"/>
                      <a:pt x="31" y="239"/>
                    </a:cubicBezTo>
                    <a:cubicBezTo>
                      <a:pt x="49" y="281"/>
                      <a:pt x="70" y="324"/>
                      <a:pt x="78" y="368"/>
                    </a:cubicBezTo>
                    <a:cubicBezTo>
                      <a:pt x="82" y="389"/>
                      <a:pt x="89" y="408"/>
                      <a:pt x="93" y="429"/>
                    </a:cubicBezTo>
                    <a:cubicBezTo>
                      <a:pt x="98" y="453"/>
                      <a:pt x="91" y="484"/>
                      <a:pt x="99" y="508"/>
                    </a:cubicBezTo>
                    <a:cubicBezTo>
                      <a:pt x="113" y="556"/>
                      <a:pt x="168" y="570"/>
                      <a:pt x="209" y="588"/>
                    </a:cubicBezTo>
                    <a:cubicBezTo>
                      <a:pt x="259" y="609"/>
                      <a:pt x="315" y="640"/>
                      <a:pt x="370" y="639"/>
                    </a:cubicBezTo>
                    <a:cubicBezTo>
                      <a:pt x="376" y="592"/>
                      <a:pt x="382" y="545"/>
                      <a:pt x="377" y="496"/>
                    </a:cubicBezTo>
                    <a:cubicBezTo>
                      <a:pt x="375" y="474"/>
                      <a:pt x="372" y="457"/>
                      <a:pt x="362" y="438"/>
                    </a:cubicBezTo>
                    <a:cubicBezTo>
                      <a:pt x="352" y="421"/>
                      <a:pt x="338" y="407"/>
                      <a:pt x="327" y="390"/>
                    </a:cubicBezTo>
                    <a:cubicBezTo>
                      <a:pt x="306" y="355"/>
                      <a:pt x="294" y="313"/>
                      <a:pt x="279" y="275"/>
                    </a:cubicBezTo>
                    <a:cubicBezTo>
                      <a:pt x="263" y="233"/>
                      <a:pt x="245" y="189"/>
                      <a:pt x="238" y="146"/>
                    </a:cubicBezTo>
                    <a:cubicBezTo>
                      <a:pt x="232" y="107"/>
                      <a:pt x="215" y="66"/>
                      <a:pt x="186" y="38"/>
                    </a:cubicBezTo>
                    <a:cubicBezTo>
                      <a:pt x="162" y="15"/>
                      <a:pt x="107" y="0"/>
                      <a:pt x="81" y="26"/>
                    </a:cubicBezTo>
                  </a:path>
                </a:pathLst>
              </a:custGeom>
              <a:solidFill>
                <a:srgbClr val="2B2B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" name="Freeform 272"/>
              <p:cNvSpPr>
                <a:spLocks/>
              </p:cNvSpPr>
              <p:nvPr/>
            </p:nvSpPr>
            <p:spPr bwMode="gray">
              <a:xfrm>
                <a:off x="-117475" y="15621001"/>
                <a:ext cx="1766888" cy="10001250"/>
              </a:xfrm>
              <a:custGeom>
                <a:avLst/>
                <a:gdLst/>
                <a:ahLst/>
                <a:cxnLst>
                  <a:cxn ang="0">
                    <a:pos x="66" y="16"/>
                  </a:cxn>
                  <a:cxn ang="0">
                    <a:pos x="48" y="498"/>
                  </a:cxn>
                  <a:cxn ang="0">
                    <a:pos x="84" y="980"/>
                  </a:cxn>
                  <a:cxn ang="0">
                    <a:pos x="89" y="1181"/>
                  </a:cxn>
                  <a:cxn ang="0">
                    <a:pos x="62" y="1388"/>
                  </a:cxn>
                  <a:cxn ang="0">
                    <a:pos x="66" y="1789"/>
                  </a:cxn>
                  <a:cxn ang="0">
                    <a:pos x="20" y="2297"/>
                  </a:cxn>
                  <a:cxn ang="0">
                    <a:pos x="4" y="2358"/>
                  </a:cxn>
                  <a:cxn ang="0">
                    <a:pos x="48" y="2479"/>
                  </a:cxn>
                  <a:cxn ang="0">
                    <a:pos x="91" y="2636"/>
                  </a:cxn>
                  <a:cxn ang="0">
                    <a:pos x="273" y="2631"/>
                  </a:cxn>
                  <a:cxn ang="0">
                    <a:pos x="201" y="2214"/>
                  </a:cxn>
                  <a:cxn ang="0">
                    <a:pos x="364" y="1357"/>
                  </a:cxn>
                  <a:cxn ang="0">
                    <a:pos x="353" y="1118"/>
                  </a:cxn>
                  <a:cxn ang="0">
                    <a:pos x="407" y="761"/>
                  </a:cxn>
                  <a:cxn ang="0">
                    <a:pos x="434" y="515"/>
                  </a:cxn>
                  <a:cxn ang="0">
                    <a:pos x="407" y="8"/>
                  </a:cxn>
                  <a:cxn ang="0">
                    <a:pos x="66" y="7"/>
                  </a:cxn>
                </a:cxnLst>
                <a:rect l="0" t="0" r="r" b="b"/>
                <a:pathLst>
                  <a:path w="471" h="2667">
                    <a:moveTo>
                      <a:pt x="66" y="16"/>
                    </a:moveTo>
                    <a:cubicBezTo>
                      <a:pt x="97" y="171"/>
                      <a:pt x="48" y="335"/>
                      <a:pt x="48" y="498"/>
                    </a:cubicBezTo>
                    <a:cubicBezTo>
                      <a:pt x="48" y="668"/>
                      <a:pt x="53" y="823"/>
                      <a:pt x="84" y="980"/>
                    </a:cubicBezTo>
                    <a:cubicBezTo>
                      <a:pt x="97" y="1046"/>
                      <a:pt x="92" y="1111"/>
                      <a:pt x="89" y="1181"/>
                    </a:cubicBezTo>
                    <a:cubicBezTo>
                      <a:pt x="85" y="1254"/>
                      <a:pt x="89" y="1324"/>
                      <a:pt x="62" y="1388"/>
                    </a:cubicBezTo>
                    <a:cubicBezTo>
                      <a:pt x="0" y="1540"/>
                      <a:pt x="59" y="1653"/>
                      <a:pt x="66" y="1789"/>
                    </a:cubicBezTo>
                    <a:cubicBezTo>
                      <a:pt x="72" y="1893"/>
                      <a:pt x="35" y="2179"/>
                      <a:pt x="20" y="2297"/>
                    </a:cubicBezTo>
                    <a:cubicBezTo>
                      <a:pt x="19" y="2307"/>
                      <a:pt x="1" y="2333"/>
                      <a:pt x="4" y="2358"/>
                    </a:cubicBezTo>
                    <a:cubicBezTo>
                      <a:pt x="8" y="2405"/>
                      <a:pt x="36" y="2460"/>
                      <a:pt x="48" y="2479"/>
                    </a:cubicBezTo>
                    <a:cubicBezTo>
                      <a:pt x="75" y="2521"/>
                      <a:pt x="52" y="2613"/>
                      <a:pt x="91" y="2636"/>
                    </a:cubicBezTo>
                    <a:cubicBezTo>
                      <a:pt x="144" y="2667"/>
                      <a:pt x="273" y="2631"/>
                      <a:pt x="273" y="2631"/>
                    </a:cubicBezTo>
                    <a:cubicBezTo>
                      <a:pt x="232" y="2565"/>
                      <a:pt x="185" y="2354"/>
                      <a:pt x="201" y="2214"/>
                    </a:cubicBezTo>
                    <a:cubicBezTo>
                      <a:pt x="216" y="2078"/>
                      <a:pt x="371" y="1520"/>
                      <a:pt x="364" y="1357"/>
                    </a:cubicBezTo>
                    <a:cubicBezTo>
                      <a:pt x="359" y="1232"/>
                      <a:pt x="343" y="1241"/>
                      <a:pt x="353" y="1118"/>
                    </a:cubicBezTo>
                    <a:cubicBezTo>
                      <a:pt x="359" y="1043"/>
                      <a:pt x="391" y="831"/>
                      <a:pt x="407" y="761"/>
                    </a:cubicBezTo>
                    <a:cubicBezTo>
                      <a:pt x="426" y="679"/>
                      <a:pt x="434" y="601"/>
                      <a:pt x="434" y="515"/>
                    </a:cubicBezTo>
                    <a:cubicBezTo>
                      <a:pt x="434" y="360"/>
                      <a:pt x="471" y="144"/>
                      <a:pt x="407" y="8"/>
                    </a:cubicBezTo>
                    <a:cubicBezTo>
                      <a:pt x="295" y="0"/>
                      <a:pt x="179" y="7"/>
                      <a:pt x="66" y="7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273"/>
              <p:cNvSpPr>
                <a:spLocks/>
              </p:cNvSpPr>
              <p:nvPr/>
            </p:nvSpPr>
            <p:spPr bwMode="gray">
              <a:xfrm>
                <a:off x="-71438" y="19408776"/>
                <a:ext cx="1577975" cy="2628900"/>
              </a:xfrm>
              <a:custGeom>
                <a:avLst/>
                <a:gdLst/>
                <a:ahLst/>
                <a:cxnLst>
                  <a:cxn ang="0">
                    <a:pos x="54" y="701"/>
                  </a:cxn>
                  <a:cxn ang="0">
                    <a:pos x="71" y="427"/>
                  </a:cxn>
                  <a:cxn ang="0">
                    <a:pos x="195" y="194"/>
                  </a:cxn>
                  <a:cxn ang="0">
                    <a:pos x="329" y="35"/>
                  </a:cxn>
                  <a:cxn ang="0">
                    <a:pos x="88" y="121"/>
                  </a:cxn>
                  <a:cxn ang="0">
                    <a:pos x="72" y="275"/>
                  </a:cxn>
                  <a:cxn ang="0">
                    <a:pos x="24" y="409"/>
                  </a:cxn>
                  <a:cxn ang="0">
                    <a:pos x="54" y="701"/>
                  </a:cxn>
                </a:cxnLst>
                <a:rect l="0" t="0" r="r" b="b"/>
                <a:pathLst>
                  <a:path w="421" h="701">
                    <a:moveTo>
                      <a:pt x="54" y="701"/>
                    </a:moveTo>
                    <a:cubicBezTo>
                      <a:pt x="64" y="608"/>
                      <a:pt x="46" y="519"/>
                      <a:pt x="71" y="427"/>
                    </a:cubicBezTo>
                    <a:cubicBezTo>
                      <a:pt x="89" y="362"/>
                      <a:pt x="145" y="234"/>
                      <a:pt x="195" y="194"/>
                    </a:cubicBezTo>
                    <a:cubicBezTo>
                      <a:pt x="230" y="166"/>
                      <a:pt x="421" y="104"/>
                      <a:pt x="329" y="35"/>
                    </a:cubicBezTo>
                    <a:cubicBezTo>
                      <a:pt x="283" y="0"/>
                      <a:pt x="115" y="77"/>
                      <a:pt x="88" y="121"/>
                    </a:cubicBezTo>
                    <a:cubicBezTo>
                      <a:pt x="65" y="159"/>
                      <a:pt x="78" y="232"/>
                      <a:pt x="72" y="275"/>
                    </a:cubicBezTo>
                    <a:cubicBezTo>
                      <a:pt x="64" y="323"/>
                      <a:pt x="34" y="361"/>
                      <a:pt x="24" y="409"/>
                    </a:cubicBezTo>
                    <a:cubicBezTo>
                      <a:pt x="0" y="523"/>
                      <a:pt x="41" y="601"/>
                      <a:pt x="54" y="701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274"/>
              <p:cNvSpPr>
                <a:spLocks/>
              </p:cNvSpPr>
              <p:nvPr/>
            </p:nvSpPr>
            <p:spPr bwMode="gray">
              <a:xfrm>
                <a:off x="-1557338" y="19745326"/>
                <a:ext cx="1219200" cy="1957388"/>
              </a:xfrm>
              <a:custGeom>
                <a:avLst/>
                <a:gdLst/>
                <a:ahLst/>
                <a:cxnLst>
                  <a:cxn ang="0">
                    <a:pos x="23" y="109"/>
                  </a:cxn>
                  <a:cxn ang="0">
                    <a:pos x="107" y="178"/>
                  </a:cxn>
                  <a:cxn ang="0">
                    <a:pos x="205" y="237"/>
                  </a:cxn>
                  <a:cxn ang="0">
                    <a:pos x="210" y="390"/>
                  </a:cxn>
                  <a:cxn ang="0">
                    <a:pos x="216" y="522"/>
                  </a:cxn>
                  <a:cxn ang="0">
                    <a:pos x="246" y="337"/>
                  </a:cxn>
                  <a:cxn ang="0">
                    <a:pos x="300" y="163"/>
                  </a:cxn>
                  <a:cxn ang="0">
                    <a:pos x="199" y="43"/>
                  </a:cxn>
                  <a:cxn ang="0">
                    <a:pos x="0" y="62"/>
                  </a:cxn>
                </a:cxnLst>
                <a:rect l="0" t="0" r="r" b="b"/>
                <a:pathLst>
                  <a:path w="325" h="522">
                    <a:moveTo>
                      <a:pt x="23" y="109"/>
                    </a:moveTo>
                    <a:cubicBezTo>
                      <a:pt x="61" y="126"/>
                      <a:pt x="76" y="155"/>
                      <a:pt x="107" y="178"/>
                    </a:cubicBezTo>
                    <a:cubicBezTo>
                      <a:pt x="135" y="199"/>
                      <a:pt x="186" y="202"/>
                      <a:pt x="205" y="237"/>
                    </a:cubicBezTo>
                    <a:cubicBezTo>
                      <a:pt x="226" y="276"/>
                      <a:pt x="204" y="345"/>
                      <a:pt x="210" y="390"/>
                    </a:cubicBezTo>
                    <a:cubicBezTo>
                      <a:pt x="217" y="436"/>
                      <a:pt x="241" y="473"/>
                      <a:pt x="216" y="522"/>
                    </a:cubicBezTo>
                    <a:cubicBezTo>
                      <a:pt x="263" y="493"/>
                      <a:pt x="243" y="387"/>
                      <a:pt x="246" y="337"/>
                    </a:cubicBezTo>
                    <a:cubicBezTo>
                      <a:pt x="249" y="268"/>
                      <a:pt x="280" y="226"/>
                      <a:pt x="300" y="163"/>
                    </a:cubicBezTo>
                    <a:cubicBezTo>
                      <a:pt x="325" y="84"/>
                      <a:pt x="269" y="64"/>
                      <a:pt x="199" y="43"/>
                    </a:cubicBezTo>
                    <a:cubicBezTo>
                      <a:pt x="152" y="29"/>
                      <a:pt x="25" y="0"/>
                      <a:pt x="0" y="62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Freeform 275"/>
              <p:cNvSpPr>
                <a:spLocks/>
              </p:cNvSpPr>
              <p:nvPr/>
            </p:nvSpPr>
            <p:spPr bwMode="gray">
              <a:xfrm>
                <a:off x="-1920875" y="9531351"/>
                <a:ext cx="4233863" cy="5718175"/>
              </a:xfrm>
              <a:custGeom>
                <a:avLst/>
                <a:gdLst/>
                <a:ahLst/>
                <a:cxnLst>
                  <a:cxn ang="0">
                    <a:pos x="22" y="1482"/>
                  </a:cxn>
                  <a:cxn ang="0">
                    <a:pos x="50" y="1171"/>
                  </a:cxn>
                  <a:cxn ang="0">
                    <a:pos x="103" y="1012"/>
                  </a:cxn>
                  <a:cxn ang="0">
                    <a:pos x="220" y="880"/>
                  </a:cxn>
                  <a:cxn ang="0">
                    <a:pos x="268" y="712"/>
                  </a:cxn>
                  <a:cxn ang="0">
                    <a:pos x="237" y="502"/>
                  </a:cxn>
                  <a:cxn ang="0">
                    <a:pos x="190" y="437"/>
                  </a:cxn>
                  <a:cxn ang="0">
                    <a:pos x="227" y="56"/>
                  </a:cxn>
                  <a:cxn ang="0">
                    <a:pos x="390" y="296"/>
                  </a:cxn>
                  <a:cxn ang="0">
                    <a:pos x="507" y="220"/>
                  </a:cxn>
                  <a:cxn ang="0">
                    <a:pos x="642" y="179"/>
                  </a:cxn>
                  <a:cxn ang="0">
                    <a:pos x="792" y="489"/>
                  </a:cxn>
                  <a:cxn ang="0">
                    <a:pos x="954" y="897"/>
                  </a:cxn>
                  <a:cxn ang="0">
                    <a:pos x="1032" y="950"/>
                  </a:cxn>
                  <a:cxn ang="0">
                    <a:pos x="1051" y="1086"/>
                  </a:cxn>
                  <a:cxn ang="0">
                    <a:pos x="1111" y="1312"/>
                  </a:cxn>
                  <a:cxn ang="0">
                    <a:pos x="1126" y="1481"/>
                  </a:cxn>
                  <a:cxn ang="0">
                    <a:pos x="870" y="1517"/>
                  </a:cxn>
                  <a:cxn ang="0">
                    <a:pos x="624" y="1499"/>
                  </a:cxn>
                  <a:cxn ang="0">
                    <a:pos x="344" y="1505"/>
                  </a:cxn>
                  <a:cxn ang="0">
                    <a:pos x="222" y="1504"/>
                  </a:cxn>
                  <a:cxn ang="0">
                    <a:pos x="122" y="1395"/>
                  </a:cxn>
                  <a:cxn ang="0">
                    <a:pos x="22" y="1476"/>
                  </a:cxn>
                </a:cxnLst>
                <a:rect l="0" t="0" r="r" b="b"/>
                <a:pathLst>
                  <a:path w="1129" h="1525">
                    <a:moveTo>
                      <a:pt x="22" y="1482"/>
                    </a:moveTo>
                    <a:cubicBezTo>
                      <a:pt x="57" y="1380"/>
                      <a:pt x="0" y="1268"/>
                      <a:pt x="50" y="1171"/>
                    </a:cubicBezTo>
                    <a:cubicBezTo>
                      <a:pt x="78" y="1116"/>
                      <a:pt x="86" y="1070"/>
                      <a:pt x="103" y="1012"/>
                    </a:cubicBezTo>
                    <a:cubicBezTo>
                      <a:pt x="127" y="930"/>
                      <a:pt x="156" y="924"/>
                      <a:pt x="220" y="880"/>
                    </a:cubicBezTo>
                    <a:cubicBezTo>
                      <a:pt x="287" y="833"/>
                      <a:pt x="283" y="799"/>
                      <a:pt x="268" y="712"/>
                    </a:cubicBezTo>
                    <a:cubicBezTo>
                      <a:pt x="256" y="646"/>
                      <a:pt x="263" y="566"/>
                      <a:pt x="237" y="502"/>
                    </a:cubicBezTo>
                    <a:cubicBezTo>
                      <a:pt x="226" y="474"/>
                      <a:pt x="204" y="462"/>
                      <a:pt x="190" y="437"/>
                    </a:cubicBezTo>
                    <a:cubicBezTo>
                      <a:pt x="147" y="359"/>
                      <a:pt x="119" y="106"/>
                      <a:pt x="227" y="56"/>
                    </a:cubicBezTo>
                    <a:cubicBezTo>
                      <a:pt x="346" y="0"/>
                      <a:pt x="336" y="256"/>
                      <a:pt x="390" y="296"/>
                    </a:cubicBezTo>
                    <a:cubicBezTo>
                      <a:pt x="455" y="344"/>
                      <a:pt x="484" y="256"/>
                      <a:pt x="507" y="220"/>
                    </a:cubicBezTo>
                    <a:cubicBezTo>
                      <a:pt x="534" y="178"/>
                      <a:pt x="590" y="161"/>
                      <a:pt x="642" y="179"/>
                    </a:cubicBezTo>
                    <a:cubicBezTo>
                      <a:pt x="769" y="223"/>
                      <a:pt x="784" y="376"/>
                      <a:pt x="792" y="489"/>
                    </a:cubicBezTo>
                    <a:cubicBezTo>
                      <a:pt x="804" y="649"/>
                      <a:pt x="825" y="792"/>
                      <a:pt x="954" y="897"/>
                    </a:cubicBezTo>
                    <a:cubicBezTo>
                      <a:pt x="976" y="915"/>
                      <a:pt x="1018" y="925"/>
                      <a:pt x="1032" y="950"/>
                    </a:cubicBezTo>
                    <a:cubicBezTo>
                      <a:pt x="1050" y="982"/>
                      <a:pt x="1046" y="1048"/>
                      <a:pt x="1051" y="1086"/>
                    </a:cubicBezTo>
                    <a:cubicBezTo>
                      <a:pt x="1060" y="1168"/>
                      <a:pt x="1091" y="1231"/>
                      <a:pt x="1111" y="1312"/>
                    </a:cubicBezTo>
                    <a:cubicBezTo>
                      <a:pt x="1125" y="1367"/>
                      <a:pt x="1129" y="1423"/>
                      <a:pt x="1126" y="1481"/>
                    </a:cubicBezTo>
                    <a:cubicBezTo>
                      <a:pt x="1041" y="1476"/>
                      <a:pt x="952" y="1509"/>
                      <a:pt x="870" y="1517"/>
                    </a:cubicBezTo>
                    <a:cubicBezTo>
                      <a:pt x="789" y="1525"/>
                      <a:pt x="705" y="1503"/>
                      <a:pt x="624" y="1499"/>
                    </a:cubicBezTo>
                    <a:cubicBezTo>
                      <a:pt x="530" y="1496"/>
                      <a:pt x="437" y="1506"/>
                      <a:pt x="344" y="1505"/>
                    </a:cubicBezTo>
                    <a:cubicBezTo>
                      <a:pt x="316" y="1505"/>
                      <a:pt x="244" y="1518"/>
                      <a:pt x="222" y="1504"/>
                    </a:cubicBezTo>
                    <a:cubicBezTo>
                      <a:pt x="164" y="1467"/>
                      <a:pt x="229" y="1376"/>
                      <a:pt x="122" y="1395"/>
                    </a:cubicBezTo>
                    <a:cubicBezTo>
                      <a:pt x="130" y="1436"/>
                      <a:pt x="58" y="1476"/>
                      <a:pt x="22" y="1476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276"/>
              <p:cNvSpPr>
                <a:spLocks/>
              </p:cNvSpPr>
              <p:nvPr/>
            </p:nvSpPr>
            <p:spPr bwMode="gray">
              <a:xfrm>
                <a:off x="-1741488" y="14217651"/>
                <a:ext cx="4021138" cy="6184900"/>
              </a:xfrm>
              <a:custGeom>
                <a:avLst/>
                <a:gdLst/>
                <a:ahLst/>
                <a:cxnLst>
                  <a:cxn ang="0">
                    <a:pos x="49" y="197"/>
                  </a:cxn>
                  <a:cxn ang="0">
                    <a:pos x="5" y="390"/>
                  </a:cxn>
                  <a:cxn ang="0">
                    <a:pos x="15" y="591"/>
                  </a:cxn>
                  <a:cxn ang="0">
                    <a:pos x="40" y="1036"/>
                  </a:cxn>
                  <a:cxn ang="0">
                    <a:pos x="40" y="1450"/>
                  </a:cxn>
                  <a:cxn ang="0">
                    <a:pos x="93" y="1609"/>
                  </a:cxn>
                  <a:cxn ang="0">
                    <a:pos x="338" y="1617"/>
                  </a:cxn>
                  <a:cxn ang="0">
                    <a:pos x="522" y="1555"/>
                  </a:cxn>
                  <a:cxn ang="0">
                    <a:pos x="741" y="1503"/>
                  </a:cxn>
                  <a:cxn ang="0">
                    <a:pos x="917" y="1442"/>
                  </a:cxn>
                  <a:cxn ang="0">
                    <a:pos x="932" y="1343"/>
                  </a:cxn>
                  <a:cxn ang="0">
                    <a:pos x="972" y="1249"/>
                  </a:cxn>
                  <a:cxn ang="0">
                    <a:pos x="1014" y="820"/>
                  </a:cxn>
                  <a:cxn ang="0">
                    <a:pos x="1039" y="379"/>
                  </a:cxn>
                  <a:cxn ang="0">
                    <a:pos x="987" y="100"/>
                  </a:cxn>
                  <a:cxn ang="0">
                    <a:pos x="680" y="21"/>
                  </a:cxn>
                  <a:cxn ang="0">
                    <a:pos x="338" y="30"/>
                  </a:cxn>
                  <a:cxn ang="0">
                    <a:pos x="40" y="109"/>
                  </a:cxn>
                </a:cxnLst>
                <a:rect l="0" t="0" r="r" b="b"/>
                <a:pathLst>
                  <a:path w="1072" h="1649">
                    <a:moveTo>
                      <a:pt x="49" y="197"/>
                    </a:moveTo>
                    <a:cubicBezTo>
                      <a:pt x="49" y="268"/>
                      <a:pt x="9" y="321"/>
                      <a:pt x="5" y="390"/>
                    </a:cubicBezTo>
                    <a:cubicBezTo>
                      <a:pt x="1" y="463"/>
                      <a:pt x="23" y="516"/>
                      <a:pt x="15" y="591"/>
                    </a:cubicBezTo>
                    <a:cubicBezTo>
                      <a:pt x="0" y="742"/>
                      <a:pt x="40" y="880"/>
                      <a:pt x="40" y="1036"/>
                    </a:cubicBezTo>
                    <a:cubicBezTo>
                      <a:pt x="40" y="1175"/>
                      <a:pt x="58" y="1322"/>
                      <a:pt x="40" y="1450"/>
                    </a:cubicBezTo>
                    <a:cubicBezTo>
                      <a:pt x="30" y="1526"/>
                      <a:pt x="4" y="1558"/>
                      <a:pt x="93" y="1609"/>
                    </a:cubicBezTo>
                    <a:cubicBezTo>
                      <a:pt x="163" y="1649"/>
                      <a:pt x="272" y="1628"/>
                      <a:pt x="338" y="1617"/>
                    </a:cubicBezTo>
                    <a:cubicBezTo>
                      <a:pt x="401" y="1607"/>
                      <a:pt x="459" y="1564"/>
                      <a:pt x="522" y="1555"/>
                    </a:cubicBezTo>
                    <a:cubicBezTo>
                      <a:pt x="611" y="1543"/>
                      <a:pt x="669" y="1531"/>
                      <a:pt x="741" y="1503"/>
                    </a:cubicBezTo>
                    <a:cubicBezTo>
                      <a:pt x="801" y="1480"/>
                      <a:pt x="887" y="1491"/>
                      <a:pt x="917" y="1442"/>
                    </a:cubicBezTo>
                    <a:cubicBezTo>
                      <a:pt x="926" y="1426"/>
                      <a:pt x="927" y="1364"/>
                      <a:pt x="932" y="1343"/>
                    </a:cubicBezTo>
                    <a:cubicBezTo>
                      <a:pt x="942" y="1309"/>
                      <a:pt x="962" y="1280"/>
                      <a:pt x="972" y="1249"/>
                    </a:cubicBezTo>
                    <a:cubicBezTo>
                      <a:pt x="1013" y="1120"/>
                      <a:pt x="986" y="953"/>
                      <a:pt x="1014" y="820"/>
                    </a:cubicBezTo>
                    <a:cubicBezTo>
                      <a:pt x="1044" y="674"/>
                      <a:pt x="1047" y="525"/>
                      <a:pt x="1039" y="379"/>
                    </a:cubicBezTo>
                    <a:cubicBezTo>
                      <a:pt x="1035" y="279"/>
                      <a:pt x="1072" y="163"/>
                      <a:pt x="987" y="100"/>
                    </a:cubicBezTo>
                    <a:cubicBezTo>
                      <a:pt x="918" y="49"/>
                      <a:pt x="767" y="37"/>
                      <a:pt x="680" y="21"/>
                    </a:cubicBezTo>
                    <a:cubicBezTo>
                      <a:pt x="564" y="0"/>
                      <a:pt x="454" y="26"/>
                      <a:pt x="338" y="30"/>
                    </a:cubicBezTo>
                    <a:cubicBezTo>
                      <a:pt x="253" y="34"/>
                      <a:pt x="102" y="49"/>
                      <a:pt x="40" y="109"/>
                    </a:cubicBezTo>
                  </a:path>
                </a:pathLst>
              </a:custGeom>
              <a:solidFill>
                <a:srgbClr val="3F3B3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9" name="Freeform 277"/>
              <p:cNvSpPr>
                <a:spLocks/>
              </p:cNvSpPr>
              <p:nvPr/>
            </p:nvSpPr>
            <p:spPr bwMode="gray">
              <a:xfrm>
                <a:off x="-1141413" y="14004926"/>
                <a:ext cx="1987550" cy="806450"/>
              </a:xfrm>
              <a:custGeom>
                <a:avLst/>
                <a:gdLst/>
                <a:ahLst/>
                <a:cxnLst>
                  <a:cxn ang="0">
                    <a:pos x="35" y="132"/>
                  </a:cxn>
                  <a:cxn ang="0">
                    <a:pos x="251" y="195"/>
                  </a:cxn>
                  <a:cxn ang="0">
                    <a:pos x="252" y="168"/>
                  </a:cxn>
                  <a:cxn ang="0">
                    <a:pos x="345" y="208"/>
                  </a:cxn>
                  <a:cxn ang="0">
                    <a:pos x="462" y="196"/>
                  </a:cxn>
                  <a:cxn ang="0">
                    <a:pos x="526" y="132"/>
                  </a:cxn>
                  <a:cxn ang="0">
                    <a:pos x="440" y="60"/>
                  </a:cxn>
                  <a:cxn ang="0">
                    <a:pos x="221" y="9"/>
                  </a:cxn>
                  <a:cxn ang="0">
                    <a:pos x="0" y="108"/>
                  </a:cxn>
                </a:cxnLst>
                <a:rect l="0" t="0" r="r" b="b"/>
                <a:pathLst>
                  <a:path w="530" h="215">
                    <a:moveTo>
                      <a:pt x="35" y="132"/>
                    </a:moveTo>
                    <a:cubicBezTo>
                      <a:pt x="56" y="196"/>
                      <a:pt x="194" y="198"/>
                      <a:pt x="251" y="195"/>
                    </a:cubicBezTo>
                    <a:cubicBezTo>
                      <a:pt x="250" y="187"/>
                      <a:pt x="253" y="176"/>
                      <a:pt x="252" y="168"/>
                    </a:cubicBezTo>
                    <a:cubicBezTo>
                      <a:pt x="306" y="141"/>
                      <a:pt x="309" y="199"/>
                      <a:pt x="345" y="208"/>
                    </a:cubicBezTo>
                    <a:cubicBezTo>
                      <a:pt x="371" y="215"/>
                      <a:pt x="434" y="201"/>
                      <a:pt x="462" y="196"/>
                    </a:cubicBezTo>
                    <a:cubicBezTo>
                      <a:pt x="500" y="189"/>
                      <a:pt x="530" y="182"/>
                      <a:pt x="526" y="132"/>
                    </a:cubicBezTo>
                    <a:cubicBezTo>
                      <a:pt x="522" y="79"/>
                      <a:pt x="479" y="76"/>
                      <a:pt x="440" y="60"/>
                    </a:cubicBezTo>
                    <a:cubicBezTo>
                      <a:pt x="364" y="31"/>
                      <a:pt x="304" y="16"/>
                      <a:pt x="221" y="9"/>
                    </a:cubicBezTo>
                    <a:cubicBezTo>
                      <a:pt x="115" y="0"/>
                      <a:pt x="78" y="59"/>
                      <a:pt x="0" y="108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" name="Freeform 278"/>
              <p:cNvSpPr>
                <a:spLocks/>
              </p:cNvSpPr>
              <p:nvPr/>
            </p:nvSpPr>
            <p:spPr bwMode="gray">
              <a:xfrm>
                <a:off x="-1774825" y="8439151"/>
                <a:ext cx="3055938" cy="6232525"/>
              </a:xfrm>
              <a:custGeom>
                <a:avLst/>
                <a:gdLst/>
                <a:ahLst/>
                <a:cxnLst>
                  <a:cxn ang="0">
                    <a:pos x="256" y="0"/>
                  </a:cxn>
                  <a:cxn ang="0">
                    <a:pos x="124" y="102"/>
                  </a:cxn>
                  <a:cxn ang="0">
                    <a:pos x="0" y="191"/>
                  </a:cxn>
                  <a:cxn ang="0">
                    <a:pos x="169" y="149"/>
                  </a:cxn>
                  <a:cxn ang="0">
                    <a:pos x="238" y="254"/>
                  </a:cxn>
                  <a:cxn ang="0">
                    <a:pos x="205" y="535"/>
                  </a:cxn>
                  <a:cxn ang="0">
                    <a:pos x="194" y="880"/>
                  </a:cxn>
                  <a:cxn ang="0">
                    <a:pos x="209" y="1027"/>
                  </a:cxn>
                  <a:cxn ang="0">
                    <a:pos x="213" y="1130"/>
                  </a:cxn>
                  <a:cxn ang="0">
                    <a:pos x="232" y="1246"/>
                  </a:cxn>
                  <a:cxn ang="0">
                    <a:pos x="178" y="1344"/>
                  </a:cxn>
                  <a:cxn ang="0">
                    <a:pos x="198" y="1395"/>
                  </a:cxn>
                  <a:cxn ang="0">
                    <a:pos x="198" y="1467"/>
                  </a:cxn>
                  <a:cxn ang="0">
                    <a:pos x="251" y="1638"/>
                  </a:cxn>
                  <a:cxn ang="0">
                    <a:pos x="338" y="1660"/>
                  </a:cxn>
                  <a:cxn ang="0">
                    <a:pos x="411" y="1585"/>
                  </a:cxn>
                  <a:cxn ang="0">
                    <a:pos x="434" y="1403"/>
                  </a:cxn>
                  <a:cxn ang="0">
                    <a:pos x="454" y="1613"/>
                  </a:cxn>
                  <a:cxn ang="0">
                    <a:pos x="514" y="1660"/>
                  </a:cxn>
                  <a:cxn ang="0">
                    <a:pos x="626" y="1655"/>
                  </a:cxn>
                  <a:cxn ang="0">
                    <a:pos x="615" y="1451"/>
                  </a:cxn>
                  <a:cxn ang="0">
                    <a:pos x="639" y="1083"/>
                  </a:cxn>
                  <a:cxn ang="0">
                    <a:pos x="623" y="546"/>
                  </a:cxn>
                  <a:cxn ang="0">
                    <a:pos x="630" y="346"/>
                  </a:cxn>
                  <a:cxn ang="0">
                    <a:pos x="600" y="215"/>
                  </a:cxn>
                  <a:cxn ang="0">
                    <a:pos x="654" y="176"/>
                  </a:cxn>
                  <a:cxn ang="0">
                    <a:pos x="705" y="202"/>
                  </a:cxn>
                  <a:cxn ang="0">
                    <a:pos x="760" y="225"/>
                  </a:cxn>
                  <a:cxn ang="0">
                    <a:pos x="813" y="265"/>
                  </a:cxn>
                  <a:cxn ang="0">
                    <a:pos x="779" y="202"/>
                  </a:cxn>
                  <a:cxn ang="0">
                    <a:pos x="746" y="129"/>
                  </a:cxn>
                  <a:cxn ang="0">
                    <a:pos x="607" y="23"/>
                  </a:cxn>
                  <a:cxn ang="0">
                    <a:pos x="576" y="191"/>
                  </a:cxn>
                  <a:cxn ang="0">
                    <a:pos x="483" y="316"/>
                  </a:cxn>
                  <a:cxn ang="0">
                    <a:pos x="427" y="480"/>
                  </a:cxn>
                  <a:cxn ang="0">
                    <a:pos x="393" y="654"/>
                  </a:cxn>
                  <a:cxn ang="0">
                    <a:pos x="381" y="479"/>
                  </a:cxn>
                  <a:cxn ang="0">
                    <a:pos x="350" y="331"/>
                  </a:cxn>
                  <a:cxn ang="0">
                    <a:pos x="272" y="187"/>
                  </a:cxn>
                  <a:cxn ang="0">
                    <a:pos x="182" y="78"/>
                  </a:cxn>
                </a:cxnLst>
                <a:rect l="0" t="0" r="r" b="b"/>
                <a:pathLst>
                  <a:path w="815" h="1662">
                    <a:moveTo>
                      <a:pt x="256" y="0"/>
                    </a:moveTo>
                    <a:cubicBezTo>
                      <a:pt x="211" y="40"/>
                      <a:pt x="171" y="69"/>
                      <a:pt x="124" y="102"/>
                    </a:cubicBezTo>
                    <a:cubicBezTo>
                      <a:pt x="87" y="129"/>
                      <a:pt x="50" y="196"/>
                      <a:pt x="0" y="191"/>
                    </a:cubicBezTo>
                    <a:cubicBezTo>
                      <a:pt x="63" y="237"/>
                      <a:pt x="121" y="165"/>
                      <a:pt x="169" y="149"/>
                    </a:cubicBezTo>
                    <a:cubicBezTo>
                      <a:pt x="204" y="186"/>
                      <a:pt x="255" y="201"/>
                      <a:pt x="238" y="254"/>
                    </a:cubicBezTo>
                    <a:cubicBezTo>
                      <a:pt x="209" y="343"/>
                      <a:pt x="205" y="438"/>
                      <a:pt x="205" y="535"/>
                    </a:cubicBezTo>
                    <a:cubicBezTo>
                      <a:pt x="206" y="650"/>
                      <a:pt x="189" y="764"/>
                      <a:pt x="194" y="880"/>
                    </a:cubicBezTo>
                    <a:cubicBezTo>
                      <a:pt x="196" y="931"/>
                      <a:pt x="209" y="976"/>
                      <a:pt x="209" y="1027"/>
                    </a:cubicBezTo>
                    <a:cubicBezTo>
                      <a:pt x="209" y="1062"/>
                      <a:pt x="209" y="1096"/>
                      <a:pt x="213" y="1130"/>
                    </a:cubicBezTo>
                    <a:cubicBezTo>
                      <a:pt x="217" y="1168"/>
                      <a:pt x="234" y="1209"/>
                      <a:pt x="232" y="1246"/>
                    </a:cubicBezTo>
                    <a:cubicBezTo>
                      <a:pt x="212" y="1257"/>
                      <a:pt x="178" y="1320"/>
                      <a:pt x="178" y="1344"/>
                    </a:cubicBezTo>
                    <a:cubicBezTo>
                      <a:pt x="178" y="1362"/>
                      <a:pt x="194" y="1378"/>
                      <a:pt x="198" y="1395"/>
                    </a:cubicBezTo>
                    <a:cubicBezTo>
                      <a:pt x="203" y="1417"/>
                      <a:pt x="196" y="1444"/>
                      <a:pt x="198" y="1467"/>
                    </a:cubicBezTo>
                    <a:cubicBezTo>
                      <a:pt x="200" y="1524"/>
                      <a:pt x="198" y="1610"/>
                      <a:pt x="251" y="1638"/>
                    </a:cubicBezTo>
                    <a:cubicBezTo>
                      <a:pt x="278" y="1652"/>
                      <a:pt x="306" y="1660"/>
                      <a:pt x="338" y="1660"/>
                    </a:cubicBezTo>
                    <a:cubicBezTo>
                      <a:pt x="391" y="1660"/>
                      <a:pt x="400" y="1638"/>
                      <a:pt x="411" y="1585"/>
                    </a:cubicBezTo>
                    <a:cubicBezTo>
                      <a:pt x="423" y="1528"/>
                      <a:pt x="392" y="1448"/>
                      <a:pt x="434" y="1403"/>
                    </a:cubicBezTo>
                    <a:cubicBezTo>
                      <a:pt x="458" y="1464"/>
                      <a:pt x="436" y="1549"/>
                      <a:pt x="454" y="1613"/>
                    </a:cubicBezTo>
                    <a:cubicBezTo>
                      <a:pt x="467" y="1658"/>
                      <a:pt x="471" y="1662"/>
                      <a:pt x="514" y="1660"/>
                    </a:cubicBezTo>
                    <a:cubicBezTo>
                      <a:pt x="550" y="1658"/>
                      <a:pt x="590" y="1654"/>
                      <a:pt x="626" y="1655"/>
                    </a:cubicBezTo>
                    <a:cubicBezTo>
                      <a:pt x="633" y="1591"/>
                      <a:pt x="612" y="1518"/>
                      <a:pt x="615" y="1451"/>
                    </a:cubicBezTo>
                    <a:cubicBezTo>
                      <a:pt x="621" y="1327"/>
                      <a:pt x="650" y="1208"/>
                      <a:pt x="639" y="1083"/>
                    </a:cubicBezTo>
                    <a:cubicBezTo>
                      <a:pt x="623" y="910"/>
                      <a:pt x="596" y="718"/>
                      <a:pt x="623" y="546"/>
                    </a:cubicBezTo>
                    <a:cubicBezTo>
                      <a:pt x="680" y="550"/>
                      <a:pt x="641" y="384"/>
                      <a:pt x="630" y="346"/>
                    </a:cubicBezTo>
                    <a:cubicBezTo>
                      <a:pt x="618" y="305"/>
                      <a:pt x="571" y="247"/>
                      <a:pt x="600" y="215"/>
                    </a:cubicBezTo>
                    <a:cubicBezTo>
                      <a:pt x="608" y="206"/>
                      <a:pt x="646" y="179"/>
                      <a:pt x="654" y="176"/>
                    </a:cubicBezTo>
                    <a:cubicBezTo>
                      <a:pt x="695" y="163"/>
                      <a:pt x="682" y="184"/>
                      <a:pt x="705" y="202"/>
                    </a:cubicBezTo>
                    <a:cubicBezTo>
                      <a:pt x="723" y="216"/>
                      <a:pt x="741" y="215"/>
                      <a:pt x="760" y="225"/>
                    </a:cubicBezTo>
                    <a:cubicBezTo>
                      <a:pt x="779" y="235"/>
                      <a:pt x="792" y="256"/>
                      <a:pt x="813" y="265"/>
                    </a:cubicBezTo>
                    <a:cubicBezTo>
                      <a:pt x="815" y="238"/>
                      <a:pt x="791" y="223"/>
                      <a:pt x="779" y="202"/>
                    </a:cubicBezTo>
                    <a:cubicBezTo>
                      <a:pt x="767" y="180"/>
                      <a:pt x="764" y="150"/>
                      <a:pt x="746" y="129"/>
                    </a:cubicBezTo>
                    <a:cubicBezTo>
                      <a:pt x="708" y="85"/>
                      <a:pt x="641" y="69"/>
                      <a:pt x="607" y="23"/>
                    </a:cubicBezTo>
                    <a:cubicBezTo>
                      <a:pt x="592" y="80"/>
                      <a:pt x="607" y="139"/>
                      <a:pt x="576" y="191"/>
                    </a:cubicBezTo>
                    <a:cubicBezTo>
                      <a:pt x="548" y="236"/>
                      <a:pt x="505" y="268"/>
                      <a:pt x="483" y="316"/>
                    </a:cubicBezTo>
                    <a:cubicBezTo>
                      <a:pt x="459" y="368"/>
                      <a:pt x="446" y="424"/>
                      <a:pt x="427" y="480"/>
                    </a:cubicBezTo>
                    <a:cubicBezTo>
                      <a:pt x="411" y="527"/>
                      <a:pt x="428" y="620"/>
                      <a:pt x="393" y="654"/>
                    </a:cubicBezTo>
                    <a:cubicBezTo>
                      <a:pt x="376" y="608"/>
                      <a:pt x="381" y="529"/>
                      <a:pt x="381" y="479"/>
                    </a:cubicBezTo>
                    <a:cubicBezTo>
                      <a:pt x="380" y="421"/>
                      <a:pt x="381" y="374"/>
                      <a:pt x="350" y="331"/>
                    </a:cubicBezTo>
                    <a:cubicBezTo>
                      <a:pt x="317" y="282"/>
                      <a:pt x="287" y="242"/>
                      <a:pt x="272" y="187"/>
                    </a:cubicBezTo>
                    <a:cubicBezTo>
                      <a:pt x="262" y="153"/>
                      <a:pt x="229" y="68"/>
                      <a:pt x="182" y="78"/>
                    </a:cubicBezTo>
                  </a:path>
                </a:pathLst>
              </a:custGeom>
              <a:solidFill>
                <a:srgbClr val="FCC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" name="Freeform 279"/>
              <p:cNvSpPr>
                <a:spLocks/>
              </p:cNvSpPr>
              <p:nvPr/>
            </p:nvSpPr>
            <p:spPr bwMode="gray">
              <a:xfrm>
                <a:off x="-2914650" y="13449301"/>
                <a:ext cx="1031875" cy="720725"/>
              </a:xfrm>
              <a:custGeom>
                <a:avLst/>
                <a:gdLst/>
                <a:ahLst/>
                <a:cxnLst>
                  <a:cxn ang="0">
                    <a:pos x="135" y="191"/>
                  </a:cxn>
                  <a:cxn ang="0">
                    <a:pos x="188" y="4"/>
                  </a:cxn>
                  <a:cxn ang="0">
                    <a:pos x="234" y="116"/>
                  </a:cxn>
                  <a:cxn ang="0">
                    <a:pos x="129" y="191"/>
                  </a:cxn>
                </a:cxnLst>
                <a:rect l="0" t="0" r="r" b="b"/>
                <a:pathLst>
                  <a:path w="275" h="192">
                    <a:moveTo>
                      <a:pt x="135" y="191"/>
                    </a:moveTo>
                    <a:cubicBezTo>
                      <a:pt x="0" y="192"/>
                      <a:pt x="88" y="10"/>
                      <a:pt x="188" y="4"/>
                    </a:cubicBezTo>
                    <a:cubicBezTo>
                      <a:pt x="259" y="0"/>
                      <a:pt x="275" y="74"/>
                      <a:pt x="234" y="116"/>
                    </a:cubicBezTo>
                    <a:cubicBezTo>
                      <a:pt x="207" y="143"/>
                      <a:pt x="162" y="165"/>
                      <a:pt x="129" y="191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" name="Freeform 280"/>
              <p:cNvSpPr>
                <a:spLocks/>
              </p:cNvSpPr>
              <p:nvPr/>
            </p:nvSpPr>
            <p:spPr bwMode="gray">
              <a:xfrm>
                <a:off x="400050" y="14341476"/>
                <a:ext cx="1808163" cy="1276350"/>
              </a:xfrm>
              <a:custGeom>
                <a:avLst/>
                <a:gdLst/>
                <a:ahLst/>
                <a:cxnLst>
                  <a:cxn ang="0">
                    <a:pos x="460" y="287"/>
                  </a:cxn>
                  <a:cxn ang="0">
                    <a:pos x="232" y="257"/>
                  </a:cxn>
                  <a:cxn ang="0">
                    <a:pos x="11" y="327"/>
                  </a:cxn>
                  <a:cxn ang="0">
                    <a:pos x="15" y="236"/>
                  </a:cxn>
                  <a:cxn ang="0">
                    <a:pos x="0" y="235"/>
                  </a:cxn>
                  <a:cxn ang="0">
                    <a:pos x="482" y="228"/>
                  </a:cxn>
                  <a:cxn ang="0">
                    <a:pos x="466" y="235"/>
                  </a:cxn>
                </a:cxnLst>
                <a:rect l="0" t="0" r="r" b="b"/>
                <a:pathLst>
                  <a:path w="482" h="340">
                    <a:moveTo>
                      <a:pt x="460" y="287"/>
                    </a:moveTo>
                    <a:cubicBezTo>
                      <a:pt x="386" y="340"/>
                      <a:pt x="304" y="274"/>
                      <a:pt x="232" y="257"/>
                    </a:cubicBezTo>
                    <a:cubicBezTo>
                      <a:pt x="132" y="232"/>
                      <a:pt x="95" y="302"/>
                      <a:pt x="11" y="327"/>
                    </a:cubicBezTo>
                    <a:cubicBezTo>
                      <a:pt x="11" y="297"/>
                      <a:pt x="20" y="267"/>
                      <a:pt x="15" y="236"/>
                    </a:cubicBezTo>
                    <a:cubicBezTo>
                      <a:pt x="11" y="235"/>
                      <a:pt x="4" y="236"/>
                      <a:pt x="0" y="235"/>
                    </a:cubicBezTo>
                    <a:cubicBezTo>
                      <a:pt x="109" y="206"/>
                      <a:pt x="473" y="0"/>
                      <a:pt x="482" y="228"/>
                    </a:cubicBezTo>
                    <a:cubicBezTo>
                      <a:pt x="476" y="229"/>
                      <a:pt x="472" y="232"/>
                      <a:pt x="466" y="235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3" name="Freeform 281"/>
              <p:cNvSpPr>
                <a:spLocks/>
              </p:cNvSpPr>
              <p:nvPr/>
            </p:nvSpPr>
            <p:spPr bwMode="gray">
              <a:xfrm>
                <a:off x="-1665288" y="14825663"/>
                <a:ext cx="1098550" cy="919163"/>
              </a:xfrm>
              <a:custGeom>
                <a:avLst/>
                <a:gdLst/>
                <a:ahLst/>
                <a:cxnLst>
                  <a:cxn ang="0">
                    <a:pos x="0" y="59"/>
                  </a:cxn>
                  <a:cxn ang="0">
                    <a:pos x="98" y="182"/>
                  </a:cxn>
                  <a:cxn ang="0">
                    <a:pos x="293" y="240"/>
                  </a:cxn>
                  <a:cxn ang="0">
                    <a:pos x="227" y="19"/>
                  </a:cxn>
                  <a:cxn ang="0">
                    <a:pos x="75" y="6"/>
                  </a:cxn>
                  <a:cxn ang="0">
                    <a:pos x="0" y="76"/>
                  </a:cxn>
                </a:cxnLst>
                <a:rect l="0" t="0" r="r" b="b"/>
                <a:pathLst>
                  <a:path w="293" h="245">
                    <a:moveTo>
                      <a:pt x="0" y="59"/>
                    </a:moveTo>
                    <a:cubicBezTo>
                      <a:pt x="40" y="113"/>
                      <a:pt x="22" y="156"/>
                      <a:pt x="98" y="182"/>
                    </a:cubicBezTo>
                    <a:cubicBezTo>
                      <a:pt x="149" y="199"/>
                      <a:pt x="239" y="245"/>
                      <a:pt x="293" y="240"/>
                    </a:cubicBezTo>
                    <a:cubicBezTo>
                      <a:pt x="214" y="196"/>
                      <a:pt x="232" y="106"/>
                      <a:pt x="227" y="19"/>
                    </a:cubicBezTo>
                    <a:cubicBezTo>
                      <a:pt x="177" y="14"/>
                      <a:pt x="128" y="0"/>
                      <a:pt x="75" y="6"/>
                    </a:cubicBezTo>
                    <a:cubicBezTo>
                      <a:pt x="11" y="14"/>
                      <a:pt x="36" y="33"/>
                      <a:pt x="0" y="76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4" name="Freeform 282"/>
              <p:cNvSpPr>
                <a:spLocks/>
              </p:cNvSpPr>
              <p:nvPr/>
            </p:nvSpPr>
            <p:spPr bwMode="gray">
              <a:xfrm>
                <a:off x="-739775" y="15628938"/>
                <a:ext cx="2692400" cy="2411413"/>
              </a:xfrm>
              <a:custGeom>
                <a:avLst/>
                <a:gdLst/>
                <a:ahLst/>
                <a:cxnLst>
                  <a:cxn ang="0">
                    <a:pos x="653" y="225"/>
                  </a:cxn>
                  <a:cxn ang="0">
                    <a:pos x="513" y="353"/>
                  </a:cxn>
                  <a:cxn ang="0">
                    <a:pos x="361" y="480"/>
                  </a:cxn>
                  <a:cxn ang="0">
                    <a:pos x="0" y="621"/>
                  </a:cxn>
                  <a:cxn ang="0">
                    <a:pos x="435" y="305"/>
                  </a:cxn>
                  <a:cxn ang="0">
                    <a:pos x="573" y="104"/>
                  </a:cxn>
                  <a:cxn ang="0">
                    <a:pos x="675" y="21"/>
                  </a:cxn>
                  <a:cxn ang="0">
                    <a:pos x="682" y="153"/>
                  </a:cxn>
                  <a:cxn ang="0">
                    <a:pos x="589" y="283"/>
                  </a:cxn>
                </a:cxnLst>
                <a:rect l="0" t="0" r="r" b="b"/>
                <a:pathLst>
                  <a:path w="718" h="643">
                    <a:moveTo>
                      <a:pt x="653" y="225"/>
                    </a:moveTo>
                    <a:cubicBezTo>
                      <a:pt x="637" y="279"/>
                      <a:pt x="556" y="321"/>
                      <a:pt x="513" y="353"/>
                    </a:cubicBezTo>
                    <a:cubicBezTo>
                      <a:pt x="459" y="393"/>
                      <a:pt x="411" y="438"/>
                      <a:pt x="361" y="480"/>
                    </a:cubicBezTo>
                    <a:cubicBezTo>
                      <a:pt x="264" y="561"/>
                      <a:pt x="132" y="643"/>
                      <a:pt x="0" y="621"/>
                    </a:cubicBezTo>
                    <a:cubicBezTo>
                      <a:pt x="150" y="549"/>
                      <a:pt x="337" y="442"/>
                      <a:pt x="435" y="305"/>
                    </a:cubicBezTo>
                    <a:cubicBezTo>
                      <a:pt x="483" y="238"/>
                      <a:pt x="524" y="167"/>
                      <a:pt x="573" y="104"/>
                    </a:cubicBezTo>
                    <a:cubicBezTo>
                      <a:pt x="593" y="77"/>
                      <a:pt x="630" y="0"/>
                      <a:pt x="675" y="21"/>
                    </a:cubicBezTo>
                    <a:cubicBezTo>
                      <a:pt x="718" y="41"/>
                      <a:pt x="695" y="127"/>
                      <a:pt x="682" y="153"/>
                    </a:cubicBezTo>
                    <a:cubicBezTo>
                      <a:pt x="663" y="191"/>
                      <a:pt x="626" y="263"/>
                      <a:pt x="589" y="283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5" name="Freeform 283"/>
              <p:cNvSpPr>
                <a:spLocks/>
              </p:cNvSpPr>
              <p:nvPr/>
            </p:nvSpPr>
            <p:spPr bwMode="gray">
              <a:xfrm>
                <a:off x="-477838" y="16422688"/>
                <a:ext cx="2482850" cy="3222625"/>
              </a:xfrm>
              <a:custGeom>
                <a:avLst/>
                <a:gdLst/>
                <a:ahLst/>
                <a:cxnLst>
                  <a:cxn ang="0">
                    <a:pos x="554" y="112"/>
                  </a:cxn>
                  <a:cxn ang="0">
                    <a:pos x="436" y="323"/>
                  </a:cxn>
                  <a:cxn ang="0">
                    <a:pos x="315" y="511"/>
                  </a:cxn>
                  <a:cxn ang="0">
                    <a:pos x="0" y="859"/>
                  </a:cxn>
                  <a:cxn ang="0">
                    <a:pos x="223" y="732"/>
                  </a:cxn>
                  <a:cxn ang="0">
                    <a:pos x="459" y="529"/>
                  </a:cxn>
                  <a:cxn ang="0">
                    <a:pos x="344" y="782"/>
                  </a:cxn>
                  <a:cxn ang="0">
                    <a:pos x="548" y="387"/>
                  </a:cxn>
                  <a:cxn ang="0">
                    <a:pos x="596" y="169"/>
                  </a:cxn>
                  <a:cxn ang="0">
                    <a:pos x="652" y="8"/>
                  </a:cxn>
                  <a:cxn ang="0">
                    <a:pos x="542" y="137"/>
                  </a:cxn>
                  <a:cxn ang="0">
                    <a:pos x="449" y="258"/>
                  </a:cxn>
                </a:cxnLst>
                <a:rect l="0" t="0" r="r" b="b"/>
                <a:pathLst>
                  <a:path w="662" h="859">
                    <a:moveTo>
                      <a:pt x="554" y="112"/>
                    </a:moveTo>
                    <a:cubicBezTo>
                      <a:pt x="559" y="166"/>
                      <a:pt x="462" y="270"/>
                      <a:pt x="436" y="323"/>
                    </a:cubicBezTo>
                    <a:cubicBezTo>
                      <a:pt x="401" y="390"/>
                      <a:pt x="359" y="448"/>
                      <a:pt x="315" y="511"/>
                    </a:cubicBezTo>
                    <a:cubicBezTo>
                      <a:pt x="222" y="646"/>
                      <a:pt x="129" y="762"/>
                      <a:pt x="0" y="859"/>
                    </a:cubicBezTo>
                    <a:cubicBezTo>
                      <a:pt x="79" y="822"/>
                      <a:pt x="156" y="788"/>
                      <a:pt x="223" y="732"/>
                    </a:cubicBezTo>
                    <a:cubicBezTo>
                      <a:pt x="301" y="667"/>
                      <a:pt x="376" y="588"/>
                      <a:pt x="459" y="529"/>
                    </a:cubicBezTo>
                    <a:cubicBezTo>
                      <a:pt x="464" y="635"/>
                      <a:pt x="411" y="705"/>
                      <a:pt x="344" y="782"/>
                    </a:cubicBezTo>
                    <a:cubicBezTo>
                      <a:pt x="477" y="691"/>
                      <a:pt x="524" y="541"/>
                      <a:pt x="548" y="387"/>
                    </a:cubicBezTo>
                    <a:cubicBezTo>
                      <a:pt x="561" y="307"/>
                      <a:pt x="569" y="239"/>
                      <a:pt x="596" y="169"/>
                    </a:cubicBezTo>
                    <a:cubicBezTo>
                      <a:pt x="616" y="117"/>
                      <a:pt x="662" y="68"/>
                      <a:pt x="652" y="8"/>
                    </a:cubicBezTo>
                    <a:cubicBezTo>
                      <a:pt x="607" y="0"/>
                      <a:pt x="572" y="106"/>
                      <a:pt x="542" y="137"/>
                    </a:cubicBezTo>
                    <a:cubicBezTo>
                      <a:pt x="507" y="173"/>
                      <a:pt x="454" y="204"/>
                      <a:pt x="449" y="258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6" name="Freeform 284"/>
              <p:cNvSpPr>
                <a:spLocks/>
              </p:cNvSpPr>
              <p:nvPr/>
            </p:nvSpPr>
            <p:spPr bwMode="gray">
              <a:xfrm>
                <a:off x="1765300" y="14338301"/>
                <a:ext cx="817563" cy="2287588"/>
              </a:xfrm>
              <a:custGeom>
                <a:avLst/>
                <a:gdLst/>
                <a:ahLst/>
                <a:cxnLst>
                  <a:cxn ang="0">
                    <a:pos x="99" y="1"/>
                  </a:cxn>
                  <a:cxn ang="0">
                    <a:pos x="61" y="160"/>
                  </a:cxn>
                  <a:cxn ang="0">
                    <a:pos x="40" y="273"/>
                  </a:cxn>
                  <a:cxn ang="0">
                    <a:pos x="23" y="348"/>
                  </a:cxn>
                  <a:cxn ang="0">
                    <a:pos x="7" y="447"/>
                  </a:cxn>
                  <a:cxn ang="0">
                    <a:pos x="79" y="361"/>
                  </a:cxn>
                  <a:cxn ang="0">
                    <a:pos x="56" y="501"/>
                  </a:cxn>
                  <a:cxn ang="0">
                    <a:pos x="48" y="556"/>
                  </a:cxn>
                  <a:cxn ang="0">
                    <a:pos x="58" y="610"/>
                  </a:cxn>
                  <a:cxn ang="0">
                    <a:pos x="109" y="467"/>
                  </a:cxn>
                  <a:cxn ang="0">
                    <a:pos x="109" y="594"/>
                  </a:cxn>
                  <a:cxn ang="0">
                    <a:pos x="147" y="493"/>
                  </a:cxn>
                  <a:cxn ang="0">
                    <a:pos x="155" y="570"/>
                  </a:cxn>
                  <a:cxn ang="0">
                    <a:pos x="211" y="327"/>
                  </a:cxn>
                  <a:cxn ang="0">
                    <a:pos x="206" y="178"/>
                  </a:cxn>
                  <a:cxn ang="0">
                    <a:pos x="208" y="124"/>
                  </a:cxn>
                  <a:cxn ang="0">
                    <a:pos x="201" y="89"/>
                  </a:cxn>
                  <a:cxn ang="0">
                    <a:pos x="191" y="35"/>
                  </a:cxn>
                  <a:cxn ang="0">
                    <a:pos x="100" y="1"/>
                  </a:cxn>
                </a:cxnLst>
                <a:rect l="0" t="0" r="r" b="b"/>
                <a:pathLst>
                  <a:path w="218" h="610">
                    <a:moveTo>
                      <a:pt x="99" y="1"/>
                    </a:moveTo>
                    <a:cubicBezTo>
                      <a:pt x="91" y="55"/>
                      <a:pt x="75" y="107"/>
                      <a:pt x="61" y="160"/>
                    </a:cubicBezTo>
                    <a:cubicBezTo>
                      <a:pt x="51" y="197"/>
                      <a:pt x="46" y="235"/>
                      <a:pt x="40" y="273"/>
                    </a:cubicBezTo>
                    <a:cubicBezTo>
                      <a:pt x="36" y="298"/>
                      <a:pt x="27" y="323"/>
                      <a:pt x="23" y="348"/>
                    </a:cubicBezTo>
                    <a:cubicBezTo>
                      <a:pt x="21" y="356"/>
                      <a:pt x="0" y="440"/>
                      <a:pt x="7" y="447"/>
                    </a:cubicBezTo>
                    <a:cubicBezTo>
                      <a:pt x="37" y="449"/>
                      <a:pt x="71" y="360"/>
                      <a:pt x="79" y="361"/>
                    </a:cubicBezTo>
                    <a:cubicBezTo>
                      <a:pt x="83" y="379"/>
                      <a:pt x="59" y="484"/>
                      <a:pt x="56" y="501"/>
                    </a:cubicBezTo>
                    <a:cubicBezTo>
                      <a:pt x="53" y="519"/>
                      <a:pt x="50" y="538"/>
                      <a:pt x="48" y="556"/>
                    </a:cubicBezTo>
                    <a:cubicBezTo>
                      <a:pt x="46" y="571"/>
                      <a:pt x="36" y="609"/>
                      <a:pt x="58" y="610"/>
                    </a:cubicBezTo>
                    <a:cubicBezTo>
                      <a:pt x="69" y="610"/>
                      <a:pt x="101" y="480"/>
                      <a:pt x="109" y="467"/>
                    </a:cubicBezTo>
                    <a:cubicBezTo>
                      <a:pt x="115" y="476"/>
                      <a:pt x="96" y="592"/>
                      <a:pt x="109" y="594"/>
                    </a:cubicBezTo>
                    <a:cubicBezTo>
                      <a:pt x="130" y="596"/>
                      <a:pt x="143" y="502"/>
                      <a:pt x="147" y="493"/>
                    </a:cubicBezTo>
                    <a:cubicBezTo>
                      <a:pt x="147" y="495"/>
                      <a:pt x="141" y="559"/>
                      <a:pt x="155" y="570"/>
                    </a:cubicBezTo>
                    <a:cubicBezTo>
                      <a:pt x="172" y="569"/>
                      <a:pt x="218" y="396"/>
                      <a:pt x="211" y="327"/>
                    </a:cubicBezTo>
                    <a:cubicBezTo>
                      <a:pt x="205" y="276"/>
                      <a:pt x="204" y="228"/>
                      <a:pt x="206" y="178"/>
                    </a:cubicBezTo>
                    <a:cubicBezTo>
                      <a:pt x="207" y="161"/>
                      <a:pt x="209" y="142"/>
                      <a:pt x="208" y="124"/>
                    </a:cubicBezTo>
                    <a:cubicBezTo>
                      <a:pt x="207" y="112"/>
                      <a:pt x="202" y="101"/>
                      <a:pt x="201" y="89"/>
                    </a:cubicBezTo>
                    <a:cubicBezTo>
                      <a:pt x="199" y="74"/>
                      <a:pt x="200" y="49"/>
                      <a:pt x="191" y="35"/>
                    </a:cubicBezTo>
                    <a:cubicBezTo>
                      <a:pt x="173" y="9"/>
                      <a:pt x="130" y="0"/>
                      <a:pt x="100" y="1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7" name="Freeform 285"/>
              <p:cNvSpPr>
                <a:spLocks/>
              </p:cNvSpPr>
              <p:nvPr/>
            </p:nvSpPr>
            <p:spPr bwMode="gray">
              <a:xfrm>
                <a:off x="-863600" y="6575426"/>
                <a:ext cx="1585913" cy="2251075"/>
              </a:xfrm>
              <a:custGeom>
                <a:avLst/>
                <a:gdLst/>
                <a:ahLst/>
                <a:cxnLst>
                  <a:cxn ang="0">
                    <a:pos x="6" y="213"/>
                  </a:cxn>
                  <a:cxn ang="0">
                    <a:pos x="35" y="379"/>
                  </a:cxn>
                  <a:cxn ang="0">
                    <a:pos x="76" y="526"/>
                  </a:cxn>
                  <a:cxn ang="0">
                    <a:pos x="199" y="599"/>
                  </a:cxn>
                  <a:cxn ang="0">
                    <a:pos x="330" y="527"/>
                  </a:cxn>
                  <a:cxn ang="0">
                    <a:pos x="374" y="392"/>
                  </a:cxn>
                  <a:cxn ang="0">
                    <a:pos x="329" y="70"/>
                  </a:cxn>
                  <a:cxn ang="0">
                    <a:pos x="158" y="0"/>
                  </a:cxn>
                  <a:cxn ang="0">
                    <a:pos x="0" y="85"/>
                  </a:cxn>
                </a:cxnLst>
                <a:rect l="0" t="0" r="r" b="b"/>
                <a:pathLst>
                  <a:path w="423" h="600">
                    <a:moveTo>
                      <a:pt x="6" y="213"/>
                    </a:moveTo>
                    <a:cubicBezTo>
                      <a:pt x="0" y="277"/>
                      <a:pt x="15" y="323"/>
                      <a:pt x="35" y="379"/>
                    </a:cubicBezTo>
                    <a:cubicBezTo>
                      <a:pt x="53" y="428"/>
                      <a:pt x="42" y="480"/>
                      <a:pt x="76" y="526"/>
                    </a:cubicBezTo>
                    <a:cubicBezTo>
                      <a:pt x="102" y="561"/>
                      <a:pt x="152" y="597"/>
                      <a:pt x="199" y="599"/>
                    </a:cubicBezTo>
                    <a:cubicBezTo>
                      <a:pt x="244" y="600"/>
                      <a:pt x="305" y="565"/>
                      <a:pt x="330" y="527"/>
                    </a:cubicBezTo>
                    <a:cubicBezTo>
                      <a:pt x="356" y="487"/>
                      <a:pt x="352" y="434"/>
                      <a:pt x="374" y="392"/>
                    </a:cubicBezTo>
                    <a:cubicBezTo>
                      <a:pt x="423" y="295"/>
                      <a:pt x="402" y="146"/>
                      <a:pt x="329" y="70"/>
                    </a:cubicBezTo>
                    <a:cubicBezTo>
                      <a:pt x="281" y="20"/>
                      <a:pt x="227" y="0"/>
                      <a:pt x="158" y="0"/>
                    </a:cubicBezTo>
                    <a:cubicBezTo>
                      <a:pt x="115" y="0"/>
                      <a:pt x="3" y="73"/>
                      <a:pt x="0" y="85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8" name="Freeform 286"/>
              <p:cNvSpPr>
                <a:spLocks/>
              </p:cNvSpPr>
              <p:nvPr/>
            </p:nvSpPr>
            <p:spPr bwMode="gray">
              <a:xfrm>
                <a:off x="-971550" y="5983288"/>
                <a:ext cx="1795463" cy="2549525"/>
              </a:xfrm>
              <a:custGeom>
                <a:avLst/>
                <a:gdLst/>
                <a:ahLst/>
                <a:cxnLst>
                  <a:cxn ang="0">
                    <a:pos x="7" y="242"/>
                  </a:cxn>
                  <a:cxn ang="0">
                    <a:pos x="39" y="429"/>
                  </a:cxn>
                  <a:cxn ang="0">
                    <a:pos x="86" y="596"/>
                  </a:cxn>
                  <a:cxn ang="0">
                    <a:pos x="225" y="678"/>
                  </a:cxn>
                  <a:cxn ang="0">
                    <a:pos x="373" y="597"/>
                  </a:cxn>
                  <a:cxn ang="0">
                    <a:pos x="423" y="444"/>
                  </a:cxn>
                  <a:cxn ang="0">
                    <a:pos x="372" y="79"/>
                  </a:cxn>
                  <a:cxn ang="0">
                    <a:pos x="178" y="0"/>
                  </a:cxn>
                  <a:cxn ang="0">
                    <a:pos x="0" y="97"/>
                  </a:cxn>
                </a:cxnLst>
                <a:rect l="0" t="0" r="r" b="b"/>
                <a:pathLst>
                  <a:path w="479" h="680">
                    <a:moveTo>
                      <a:pt x="7" y="242"/>
                    </a:moveTo>
                    <a:cubicBezTo>
                      <a:pt x="0" y="314"/>
                      <a:pt x="16" y="366"/>
                      <a:pt x="39" y="429"/>
                    </a:cubicBezTo>
                    <a:cubicBezTo>
                      <a:pt x="59" y="485"/>
                      <a:pt x="47" y="544"/>
                      <a:pt x="86" y="596"/>
                    </a:cubicBezTo>
                    <a:cubicBezTo>
                      <a:pt x="115" y="635"/>
                      <a:pt x="172" y="677"/>
                      <a:pt x="225" y="678"/>
                    </a:cubicBezTo>
                    <a:cubicBezTo>
                      <a:pt x="276" y="680"/>
                      <a:pt x="346" y="640"/>
                      <a:pt x="373" y="597"/>
                    </a:cubicBezTo>
                    <a:cubicBezTo>
                      <a:pt x="403" y="552"/>
                      <a:pt x="398" y="492"/>
                      <a:pt x="423" y="444"/>
                    </a:cubicBezTo>
                    <a:cubicBezTo>
                      <a:pt x="479" y="334"/>
                      <a:pt x="455" y="166"/>
                      <a:pt x="372" y="79"/>
                    </a:cubicBezTo>
                    <a:cubicBezTo>
                      <a:pt x="318" y="23"/>
                      <a:pt x="257" y="0"/>
                      <a:pt x="178" y="0"/>
                    </a:cubicBezTo>
                    <a:cubicBezTo>
                      <a:pt x="130" y="0"/>
                      <a:pt x="3" y="83"/>
                      <a:pt x="0" y="97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9" name="Freeform 287"/>
              <p:cNvSpPr>
                <a:spLocks/>
              </p:cNvSpPr>
              <p:nvPr/>
            </p:nvSpPr>
            <p:spPr bwMode="gray">
              <a:xfrm>
                <a:off x="-117475" y="11623676"/>
                <a:ext cx="1038225" cy="2324100"/>
              </a:xfrm>
              <a:custGeom>
                <a:avLst/>
                <a:gdLst/>
                <a:ahLst/>
                <a:cxnLst>
                  <a:cxn ang="0">
                    <a:pos x="200" y="59"/>
                  </a:cxn>
                  <a:cxn ang="0">
                    <a:pos x="101" y="65"/>
                  </a:cxn>
                  <a:cxn ang="0">
                    <a:pos x="38" y="19"/>
                  </a:cxn>
                  <a:cxn ang="0">
                    <a:pos x="61" y="201"/>
                  </a:cxn>
                  <a:cxn ang="0">
                    <a:pos x="95" y="293"/>
                  </a:cxn>
                  <a:cxn ang="0">
                    <a:pos x="54" y="404"/>
                  </a:cxn>
                  <a:cxn ang="0">
                    <a:pos x="78" y="522"/>
                  </a:cxn>
                  <a:cxn ang="0">
                    <a:pos x="176" y="615"/>
                  </a:cxn>
                  <a:cxn ang="0">
                    <a:pos x="253" y="464"/>
                  </a:cxn>
                  <a:cxn ang="0">
                    <a:pos x="276" y="286"/>
                  </a:cxn>
                  <a:cxn ang="0">
                    <a:pos x="203" y="78"/>
                  </a:cxn>
                  <a:cxn ang="0">
                    <a:pos x="85" y="57"/>
                  </a:cxn>
                  <a:cxn ang="0">
                    <a:pos x="25" y="48"/>
                  </a:cxn>
                </a:cxnLst>
                <a:rect l="0" t="0" r="r" b="b"/>
                <a:pathLst>
                  <a:path w="277" h="620">
                    <a:moveTo>
                      <a:pt x="200" y="59"/>
                    </a:moveTo>
                    <a:cubicBezTo>
                      <a:pt x="175" y="76"/>
                      <a:pt x="127" y="78"/>
                      <a:pt x="101" y="65"/>
                    </a:cubicBezTo>
                    <a:cubicBezTo>
                      <a:pt x="75" y="52"/>
                      <a:pt x="68" y="17"/>
                      <a:pt x="38" y="19"/>
                    </a:cubicBezTo>
                    <a:cubicBezTo>
                      <a:pt x="26" y="65"/>
                      <a:pt x="135" y="171"/>
                      <a:pt x="61" y="201"/>
                    </a:cubicBezTo>
                    <a:cubicBezTo>
                      <a:pt x="46" y="250"/>
                      <a:pt x="96" y="253"/>
                      <a:pt x="95" y="293"/>
                    </a:cubicBezTo>
                    <a:cubicBezTo>
                      <a:pt x="95" y="334"/>
                      <a:pt x="49" y="349"/>
                      <a:pt x="54" y="404"/>
                    </a:cubicBezTo>
                    <a:cubicBezTo>
                      <a:pt x="57" y="438"/>
                      <a:pt x="68" y="488"/>
                      <a:pt x="78" y="522"/>
                    </a:cubicBezTo>
                    <a:cubicBezTo>
                      <a:pt x="89" y="562"/>
                      <a:pt x="124" y="620"/>
                      <a:pt x="176" y="615"/>
                    </a:cubicBezTo>
                    <a:cubicBezTo>
                      <a:pt x="249" y="607"/>
                      <a:pt x="253" y="521"/>
                      <a:pt x="253" y="464"/>
                    </a:cubicBezTo>
                    <a:cubicBezTo>
                      <a:pt x="253" y="398"/>
                      <a:pt x="276" y="352"/>
                      <a:pt x="276" y="286"/>
                    </a:cubicBezTo>
                    <a:cubicBezTo>
                      <a:pt x="276" y="197"/>
                      <a:pt x="277" y="138"/>
                      <a:pt x="203" y="78"/>
                    </a:cubicBezTo>
                    <a:cubicBezTo>
                      <a:pt x="173" y="54"/>
                      <a:pt x="115" y="6"/>
                      <a:pt x="85" y="57"/>
                    </a:cubicBezTo>
                    <a:cubicBezTo>
                      <a:pt x="70" y="18"/>
                      <a:pt x="0" y="0"/>
                      <a:pt x="25" y="48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0" name="Freeform 288"/>
              <p:cNvSpPr>
                <a:spLocks/>
              </p:cNvSpPr>
              <p:nvPr/>
            </p:nvSpPr>
            <p:spPr bwMode="gray">
              <a:xfrm>
                <a:off x="-219075" y="10855326"/>
                <a:ext cx="657225" cy="704850"/>
              </a:xfrm>
              <a:custGeom>
                <a:avLst/>
                <a:gdLst/>
                <a:ahLst/>
                <a:cxnLst>
                  <a:cxn ang="0">
                    <a:pos x="157" y="183"/>
                  </a:cxn>
                  <a:cxn ang="0">
                    <a:pos x="75" y="20"/>
                  </a:cxn>
                  <a:cxn ang="0">
                    <a:pos x="87" y="118"/>
                  </a:cxn>
                  <a:cxn ang="0">
                    <a:pos x="175" y="188"/>
                  </a:cxn>
                </a:cxnLst>
                <a:rect l="0" t="0" r="r" b="b"/>
                <a:pathLst>
                  <a:path w="175" h="188">
                    <a:moveTo>
                      <a:pt x="157" y="183"/>
                    </a:moveTo>
                    <a:cubicBezTo>
                      <a:pt x="117" y="174"/>
                      <a:pt x="0" y="57"/>
                      <a:pt x="75" y="20"/>
                    </a:cubicBezTo>
                    <a:cubicBezTo>
                      <a:pt x="116" y="0"/>
                      <a:pt x="82" y="106"/>
                      <a:pt x="87" y="118"/>
                    </a:cubicBezTo>
                    <a:cubicBezTo>
                      <a:pt x="99" y="149"/>
                      <a:pt x="147" y="167"/>
                      <a:pt x="175" y="188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1" name="Freeform 289"/>
              <p:cNvSpPr>
                <a:spLocks/>
              </p:cNvSpPr>
              <p:nvPr/>
            </p:nvSpPr>
            <p:spPr bwMode="gray">
              <a:xfrm>
                <a:off x="-1287463" y="11717338"/>
                <a:ext cx="1196975" cy="3367088"/>
              </a:xfrm>
              <a:custGeom>
                <a:avLst/>
                <a:gdLst/>
                <a:ahLst/>
                <a:cxnLst>
                  <a:cxn ang="0">
                    <a:pos x="127" y="122"/>
                  </a:cxn>
                  <a:cxn ang="0">
                    <a:pos x="144" y="227"/>
                  </a:cxn>
                  <a:cxn ang="0">
                    <a:pos x="198" y="308"/>
                  </a:cxn>
                  <a:cxn ang="0">
                    <a:pos x="319" y="472"/>
                  </a:cxn>
                  <a:cxn ang="0">
                    <a:pos x="157" y="339"/>
                  </a:cxn>
                  <a:cxn ang="0">
                    <a:pos x="169" y="594"/>
                  </a:cxn>
                  <a:cxn ang="0">
                    <a:pos x="238" y="695"/>
                  </a:cxn>
                  <a:cxn ang="0">
                    <a:pos x="259" y="829"/>
                  </a:cxn>
                  <a:cxn ang="0">
                    <a:pos x="74" y="397"/>
                  </a:cxn>
                  <a:cxn ang="0">
                    <a:pos x="4" y="128"/>
                  </a:cxn>
                  <a:cxn ang="0">
                    <a:pos x="161" y="35"/>
                  </a:cxn>
                  <a:cxn ang="0">
                    <a:pos x="92" y="134"/>
                  </a:cxn>
                  <a:cxn ang="0">
                    <a:pos x="156" y="210"/>
                  </a:cxn>
                </a:cxnLst>
                <a:rect l="0" t="0" r="r" b="b"/>
                <a:pathLst>
                  <a:path w="319" h="898">
                    <a:moveTo>
                      <a:pt x="127" y="122"/>
                    </a:moveTo>
                    <a:cubicBezTo>
                      <a:pt x="148" y="154"/>
                      <a:pt x="133" y="189"/>
                      <a:pt x="144" y="227"/>
                    </a:cubicBezTo>
                    <a:cubicBezTo>
                      <a:pt x="152" y="254"/>
                      <a:pt x="181" y="284"/>
                      <a:pt x="198" y="308"/>
                    </a:cubicBezTo>
                    <a:cubicBezTo>
                      <a:pt x="238" y="364"/>
                      <a:pt x="288" y="410"/>
                      <a:pt x="319" y="472"/>
                    </a:cubicBezTo>
                    <a:cubicBezTo>
                      <a:pt x="273" y="430"/>
                      <a:pt x="238" y="326"/>
                      <a:pt x="157" y="339"/>
                    </a:cubicBezTo>
                    <a:cubicBezTo>
                      <a:pt x="137" y="420"/>
                      <a:pt x="112" y="529"/>
                      <a:pt x="169" y="594"/>
                    </a:cubicBezTo>
                    <a:cubicBezTo>
                      <a:pt x="198" y="626"/>
                      <a:pt x="227" y="651"/>
                      <a:pt x="238" y="695"/>
                    </a:cubicBezTo>
                    <a:cubicBezTo>
                      <a:pt x="249" y="737"/>
                      <a:pt x="209" y="810"/>
                      <a:pt x="259" y="829"/>
                    </a:cubicBezTo>
                    <a:cubicBezTo>
                      <a:pt x="43" y="898"/>
                      <a:pt x="109" y="499"/>
                      <a:pt x="74" y="397"/>
                    </a:cubicBezTo>
                    <a:cubicBezTo>
                      <a:pt x="43" y="305"/>
                      <a:pt x="0" y="232"/>
                      <a:pt x="4" y="128"/>
                    </a:cubicBezTo>
                    <a:cubicBezTo>
                      <a:pt x="9" y="0"/>
                      <a:pt x="83" y="57"/>
                      <a:pt x="161" y="35"/>
                    </a:cubicBezTo>
                    <a:cubicBezTo>
                      <a:pt x="179" y="98"/>
                      <a:pt x="85" y="76"/>
                      <a:pt x="92" y="134"/>
                    </a:cubicBezTo>
                    <a:cubicBezTo>
                      <a:pt x="93" y="151"/>
                      <a:pt x="147" y="202"/>
                      <a:pt x="156" y="210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2" name="Freeform 290"/>
              <p:cNvSpPr>
                <a:spLocks/>
              </p:cNvSpPr>
              <p:nvPr/>
            </p:nvSpPr>
            <p:spPr bwMode="gray">
              <a:xfrm>
                <a:off x="193675" y="8870951"/>
                <a:ext cx="919163" cy="884238"/>
              </a:xfrm>
              <a:custGeom>
                <a:avLst/>
                <a:gdLst/>
                <a:ahLst/>
                <a:cxnLst>
                  <a:cxn ang="0">
                    <a:pos x="123" y="39"/>
                  </a:cxn>
                  <a:cxn ang="0">
                    <a:pos x="6" y="236"/>
                  </a:cxn>
                  <a:cxn ang="0">
                    <a:pos x="166" y="139"/>
                  </a:cxn>
                  <a:cxn ang="0">
                    <a:pos x="77" y="69"/>
                  </a:cxn>
                </a:cxnLst>
                <a:rect l="0" t="0" r="r" b="b"/>
                <a:pathLst>
                  <a:path w="245" h="236">
                    <a:moveTo>
                      <a:pt x="123" y="39"/>
                    </a:moveTo>
                    <a:cubicBezTo>
                      <a:pt x="55" y="75"/>
                      <a:pt x="0" y="158"/>
                      <a:pt x="6" y="236"/>
                    </a:cubicBezTo>
                    <a:cubicBezTo>
                      <a:pt x="33" y="141"/>
                      <a:pt x="109" y="197"/>
                      <a:pt x="166" y="139"/>
                    </a:cubicBezTo>
                    <a:cubicBezTo>
                      <a:pt x="245" y="58"/>
                      <a:pt x="100" y="0"/>
                      <a:pt x="77" y="69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3" name="Freeform 291"/>
              <p:cNvSpPr>
                <a:spLocks/>
              </p:cNvSpPr>
              <p:nvPr/>
            </p:nvSpPr>
            <p:spPr bwMode="gray">
              <a:xfrm>
                <a:off x="1919287" y="14533563"/>
                <a:ext cx="655638" cy="809625"/>
              </a:xfrm>
              <a:custGeom>
                <a:avLst/>
                <a:gdLst/>
                <a:ahLst/>
                <a:cxnLst>
                  <a:cxn ang="0">
                    <a:pos x="172" y="35"/>
                  </a:cxn>
                  <a:cxn ang="0">
                    <a:pos x="143" y="88"/>
                  </a:cxn>
                  <a:cxn ang="0">
                    <a:pos x="87" y="125"/>
                  </a:cxn>
                  <a:cxn ang="0">
                    <a:pos x="43" y="172"/>
                  </a:cxn>
                  <a:cxn ang="0">
                    <a:pos x="1" y="216"/>
                  </a:cxn>
                  <a:cxn ang="0">
                    <a:pos x="9" y="154"/>
                  </a:cxn>
                  <a:cxn ang="0">
                    <a:pos x="39" y="100"/>
                  </a:cxn>
                  <a:cxn ang="0">
                    <a:pos x="55" y="65"/>
                  </a:cxn>
                  <a:cxn ang="0">
                    <a:pos x="119" y="20"/>
                  </a:cxn>
                  <a:cxn ang="0">
                    <a:pos x="158" y="13"/>
                  </a:cxn>
                  <a:cxn ang="0">
                    <a:pos x="175" y="33"/>
                  </a:cxn>
                  <a:cxn ang="0">
                    <a:pos x="169" y="33"/>
                  </a:cxn>
                </a:cxnLst>
                <a:rect l="0" t="0" r="r" b="b"/>
                <a:pathLst>
                  <a:path w="175" h="216">
                    <a:moveTo>
                      <a:pt x="172" y="35"/>
                    </a:moveTo>
                    <a:cubicBezTo>
                      <a:pt x="174" y="49"/>
                      <a:pt x="152" y="77"/>
                      <a:pt x="143" y="88"/>
                    </a:cubicBezTo>
                    <a:cubicBezTo>
                      <a:pt x="128" y="106"/>
                      <a:pt x="103" y="110"/>
                      <a:pt x="87" y="125"/>
                    </a:cubicBezTo>
                    <a:cubicBezTo>
                      <a:pt x="70" y="141"/>
                      <a:pt x="57" y="153"/>
                      <a:pt x="43" y="172"/>
                    </a:cubicBezTo>
                    <a:cubicBezTo>
                      <a:pt x="30" y="188"/>
                      <a:pt x="19" y="207"/>
                      <a:pt x="1" y="216"/>
                    </a:cubicBezTo>
                    <a:cubicBezTo>
                      <a:pt x="0" y="196"/>
                      <a:pt x="6" y="174"/>
                      <a:pt x="9" y="154"/>
                    </a:cubicBezTo>
                    <a:cubicBezTo>
                      <a:pt x="12" y="132"/>
                      <a:pt x="30" y="120"/>
                      <a:pt x="39" y="100"/>
                    </a:cubicBezTo>
                    <a:cubicBezTo>
                      <a:pt x="45" y="88"/>
                      <a:pt x="48" y="76"/>
                      <a:pt x="55" y="65"/>
                    </a:cubicBezTo>
                    <a:cubicBezTo>
                      <a:pt x="71" y="41"/>
                      <a:pt x="95" y="34"/>
                      <a:pt x="119" y="20"/>
                    </a:cubicBezTo>
                    <a:cubicBezTo>
                      <a:pt x="135" y="10"/>
                      <a:pt x="141" y="0"/>
                      <a:pt x="158" y="13"/>
                    </a:cubicBezTo>
                    <a:cubicBezTo>
                      <a:pt x="164" y="18"/>
                      <a:pt x="168" y="29"/>
                      <a:pt x="175" y="33"/>
                    </a:cubicBezTo>
                    <a:cubicBezTo>
                      <a:pt x="173" y="33"/>
                      <a:pt x="171" y="33"/>
                      <a:pt x="169" y="33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4" name="Freeform 292"/>
              <p:cNvSpPr>
                <a:spLocks/>
              </p:cNvSpPr>
              <p:nvPr/>
            </p:nvSpPr>
            <p:spPr bwMode="gray">
              <a:xfrm>
                <a:off x="-4095750" y="8386763"/>
                <a:ext cx="6791325" cy="7204075"/>
              </a:xfrm>
              <a:custGeom>
                <a:avLst/>
                <a:gdLst/>
                <a:ahLst/>
                <a:cxnLst>
                  <a:cxn ang="0">
                    <a:pos x="1156" y="1557"/>
                  </a:cxn>
                  <a:cxn ang="0">
                    <a:pos x="1157" y="1117"/>
                  </a:cxn>
                  <a:cxn ang="0">
                    <a:pos x="1207" y="345"/>
                  </a:cxn>
                  <a:cxn ang="0">
                    <a:pos x="1346" y="124"/>
                  </a:cxn>
                  <a:cxn ang="0">
                    <a:pos x="1642" y="268"/>
                  </a:cxn>
                  <a:cxn ang="0">
                    <a:pos x="1689" y="578"/>
                  </a:cxn>
                  <a:cxn ang="0">
                    <a:pos x="1731" y="1101"/>
                  </a:cxn>
                  <a:cxn ang="0">
                    <a:pos x="1767" y="1289"/>
                  </a:cxn>
                  <a:cxn ang="0">
                    <a:pos x="1788" y="1685"/>
                  </a:cxn>
                  <a:cxn ang="0">
                    <a:pos x="1359" y="1806"/>
                  </a:cxn>
                  <a:cxn ang="0">
                    <a:pos x="993" y="1908"/>
                  </a:cxn>
                  <a:cxn ang="0">
                    <a:pos x="575" y="1568"/>
                  </a:cxn>
                  <a:cxn ang="0">
                    <a:pos x="611" y="1378"/>
                  </a:cxn>
                  <a:cxn ang="0">
                    <a:pos x="603" y="1284"/>
                  </a:cxn>
                  <a:cxn ang="0">
                    <a:pos x="618" y="1144"/>
                  </a:cxn>
                  <a:cxn ang="0">
                    <a:pos x="559" y="922"/>
                  </a:cxn>
                  <a:cxn ang="0">
                    <a:pos x="493" y="703"/>
                  </a:cxn>
                  <a:cxn ang="0">
                    <a:pos x="412" y="759"/>
                  </a:cxn>
                  <a:cxn ang="0">
                    <a:pos x="330" y="915"/>
                  </a:cxn>
                  <a:cxn ang="0">
                    <a:pos x="345" y="1062"/>
                  </a:cxn>
                  <a:cxn ang="0">
                    <a:pos x="472" y="1291"/>
                  </a:cxn>
                  <a:cxn ang="0">
                    <a:pos x="571" y="1381"/>
                  </a:cxn>
                  <a:cxn ang="0">
                    <a:pos x="487" y="1410"/>
                  </a:cxn>
                  <a:cxn ang="0">
                    <a:pos x="480" y="1558"/>
                  </a:cxn>
                  <a:cxn ang="0">
                    <a:pos x="282" y="1383"/>
                  </a:cxn>
                  <a:cxn ang="0">
                    <a:pos x="143" y="1207"/>
                  </a:cxn>
                  <a:cxn ang="0">
                    <a:pos x="79" y="1097"/>
                  </a:cxn>
                  <a:cxn ang="0">
                    <a:pos x="100" y="755"/>
                  </a:cxn>
                  <a:cxn ang="0">
                    <a:pos x="276" y="475"/>
                  </a:cxn>
                  <a:cxn ang="0">
                    <a:pos x="384" y="353"/>
                  </a:cxn>
                  <a:cxn ang="0">
                    <a:pos x="477" y="185"/>
                  </a:cxn>
                  <a:cxn ang="0">
                    <a:pos x="741" y="87"/>
                  </a:cxn>
                  <a:cxn ang="0">
                    <a:pos x="851" y="189"/>
                  </a:cxn>
                  <a:cxn ang="0">
                    <a:pos x="817" y="548"/>
                  </a:cxn>
                  <a:cxn ang="0">
                    <a:pos x="848" y="856"/>
                  </a:cxn>
                  <a:cxn ang="0">
                    <a:pos x="898" y="1421"/>
                  </a:cxn>
                  <a:cxn ang="0">
                    <a:pos x="993" y="1908"/>
                  </a:cxn>
                </a:cxnLst>
                <a:rect l="0" t="0" r="r" b="b"/>
                <a:pathLst>
                  <a:path w="1811" h="1921">
                    <a:moveTo>
                      <a:pt x="1143" y="1908"/>
                    </a:moveTo>
                    <a:cubicBezTo>
                      <a:pt x="1187" y="1827"/>
                      <a:pt x="1155" y="1642"/>
                      <a:pt x="1156" y="1557"/>
                    </a:cubicBezTo>
                    <a:cubicBezTo>
                      <a:pt x="1156" y="1504"/>
                      <a:pt x="1169" y="1457"/>
                      <a:pt x="1171" y="1405"/>
                    </a:cubicBezTo>
                    <a:cubicBezTo>
                      <a:pt x="1176" y="1314"/>
                      <a:pt x="1164" y="1210"/>
                      <a:pt x="1157" y="1117"/>
                    </a:cubicBezTo>
                    <a:cubicBezTo>
                      <a:pt x="1144" y="955"/>
                      <a:pt x="1127" y="801"/>
                      <a:pt x="1151" y="642"/>
                    </a:cubicBezTo>
                    <a:cubicBezTo>
                      <a:pt x="1166" y="540"/>
                      <a:pt x="1176" y="444"/>
                      <a:pt x="1207" y="345"/>
                    </a:cubicBezTo>
                    <a:cubicBezTo>
                      <a:pt x="1231" y="269"/>
                      <a:pt x="1215" y="188"/>
                      <a:pt x="1232" y="111"/>
                    </a:cubicBezTo>
                    <a:cubicBezTo>
                      <a:pt x="1251" y="26"/>
                      <a:pt x="1303" y="94"/>
                      <a:pt x="1346" y="124"/>
                    </a:cubicBezTo>
                    <a:cubicBezTo>
                      <a:pt x="1380" y="148"/>
                      <a:pt x="1405" y="164"/>
                      <a:pt x="1444" y="185"/>
                    </a:cubicBezTo>
                    <a:cubicBezTo>
                      <a:pt x="1510" y="219"/>
                      <a:pt x="1571" y="248"/>
                      <a:pt x="1642" y="268"/>
                    </a:cubicBezTo>
                    <a:cubicBezTo>
                      <a:pt x="1655" y="321"/>
                      <a:pt x="1645" y="379"/>
                      <a:pt x="1667" y="430"/>
                    </a:cubicBezTo>
                    <a:cubicBezTo>
                      <a:pt x="1689" y="480"/>
                      <a:pt x="1686" y="520"/>
                      <a:pt x="1689" y="578"/>
                    </a:cubicBezTo>
                    <a:cubicBezTo>
                      <a:pt x="1693" y="635"/>
                      <a:pt x="1709" y="688"/>
                      <a:pt x="1709" y="749"/>
                    </a:cubicBezTo>
                    <a:cubicBezTo>
                      <a:pt x="1709" y="805"/>
                      <a:pt x="1723" y="1043"/>
                      <a:pt x="1731" y="1101"/>
                    </a:cubicBezTo>
                    <a:cubicBezTo>
                      <a:pt x="1735" y="1130"/>
                      <a:pt x="1723" y="1157"/>
                      <a:pt x="1737" y="1184"/>
                    </a:cubicBezTo>
                    <a:cubicBezTo>
                      <a:pt x="1755" y="1221"/>
                      <a:pt x="1763" y="1248"/>
                      <a:pt x="1767" y="1289"/>
                    </a:cubicBezTo>
                    <a:cubicBezTo>
                      <a:pt x="1773" y="1343"/>
                      <a:pt x="1758" y="1392"/>
                      <a:pt x="1780" y="1443"/>
                    </a:cubicBezTo>
                    <a:cubicBezTo>
                      <a:pt x="1811" y="1510"/>
                      <a:pt x="1788" y="1606"/>
                      <a:pt x="1788" y="1685"/>
                    </a:cubicBezTo>
                    <a:cubicBezTo>
                      <a:pt x="1788" y="1712"/>
                      <a:pt x="1603" y="1756"/>
                      <a:pt x="1605" y="1823"/>
                    </a:cubicBezTo>
                    <a:cubicBezTo>
                      <a:pt x="1457" y="1829"/>
                      <a:pt x="1505" y="1792"/>
                      <a:pt x="1359" y="1806"/>
                    </a:cubicBezTo>
                    <a:cubicBezTo>
                      <a:pt x="1319" y="1810"/>
                      <a:pt x="1240" y="1879"/>
                      <a:pt x="1143" y="1908"/>
                    </a:cubicBezTo>
                    <a:cubicBezTo>
                      <a:pt x="1097" y="1921"/>
                      <a:pt x="1043" y="1908"/>
                      <a:pt x="993" y="1908"/>
                    </a:cubicBezTo>
                    <a:cubicBezTo>
                      <a:pt x="820" y="1907"/>
                      <a:pt x="643" y="1809"/>
                      <a:pt x="572" y="1806"/>
                    </a:cubicBezTo>
                    <a:cubicBezTo>
                      <a:pt x="567" y="1725"/>
                      <a:pt x="575" y="1645"/>
                      <a:pt x="575" y="1568"/>
                    </a:cubicBezTo>
                    <a:cubicBezTo>
                      <a:pt x="575" y="1529"/>
                      <a:pt x="555" y="1500"/>
                      <a:pt x="559" y="1460"/>
                    </a:cubicBezTo>
                    <a:cubicBezTo>
                      <a:pt x="564" y="1421"/>
                      <a:pt x="591" y="1408"/>
                      <a:pt x="611" y="1378"/>
                    </a:cubicBezTo>
                    <a:cubicBezTo>
                      <a:pt x="620" y="1364"/>
                      <a:pt x="650" y="1313"/>
                      <a:pt x="641" y="1297"/>
                    </a:cubicBezTo>
                    <a:cubicBezTo>
                      <a:pt x="631" y="1281"/>
                      <a:pt x="612" y="1296"/>
                      <a:pt x="603" y="1284"/>
                    </a:cubicBezTo>
                    <a:cubicBezTo>
                      <a:pt x="597" y="1275"/>
                      <a:pt x="602" y="1244"/>
                      <a:pt x="602" y="1234"/>
                    </a:cubicBezTo>
                    <a:cubicBezTo>
                      <a:pt x="604" y="1202"/>
                      <a:pt x="620" y="1177"/>
                      <a:pt x="618" y="1144"/>
                    </a:cubicBezTo>
                    <a:cubicBezTo>
                      <a:pt x="615" y="1108"/>
                      <a:pt x="597" y="1065"/>
                      <a:pt x="586" y="1031"/>
                    </a:cubicBezTo>
                    <a:cubicBezTo>
                      <a:pt x="575" y="996"/>
                      <a:pt x="561" y="963"/>
                      <a:pt x="559" y="922"/>
                    </a:cubicBezTo>
                    <a:cubicBezTo>
                      <a:pt x="557" y="867"/>
                      <a:pt x="557" y="827"/>
                      <a:pt x="539" y="775"/>
                    </a:cubicBezTo>
                    <a:cubicBezTo>
                      <a:pt x="533" y="757"/>
                      <a:pt x="522" y="701"/>
                      <a:pt x="493" y="703"/>
                    </a:cubicBezTo>
                    <a:cubicBezTo>
                      <a:pt x="480" y="704"/>
                      <a:pt x="468" y="733"/>
                      <a:pt x="459" y="740"/>
                    </a:cubicBezTo>
                    <a:cubicBezTo>
                      <a:pt x="446" y="749"/>
                      <a:pt x="427" y="752"/>
                      <a:pt x="412" y="759"/>
                    </a:cubicBezTo>
                    <a:cubicBezTo>
                      <a:pt x="409" y="783"/>
                      <a:pt x="385" y="811"/>
                      <a:pt x="369" y="832"/>
                    </a:cubicBezTo>
                    <a:cubicBezTo>
                      <a:pt x="349" y="860"/>
                      <a:pt x="347" y="887"/>
                      <a:pt x="330" y="915"/>
                    </a:cubicBezTo>
                    <a:cubicBezTo>
                      <a:pt x="314" y="943"/>
                      <a:pt x="284" y="944"/>
                      <a:pt x="297" y="985"/>
                    </a:cubicBezTo>
                    <a:cubicBezTo>
                      <a:pt x="306" y="1013"/>
                      <a:pt x="331" y="1037"/>
                      <a:pt x="345" y="1062"/>
                    </a:cubicBezTo>
                    <a:cubicBezTo>
                      <a:pt x="376" y="1117"/>
                      <a:pt x="387" y="1181"/>
                      <a:pt x="426" y="1230"/>
                    </a:cubicBezTo>
                    <a:cubicBezTo>
                      <a:pt x="442" y="1250"/>
                      <a:pt x="454" y="1272"/>
                      <a:pt x="472" y="1291"/>
                    </a:cubicBezTo>
                    <a:cubicBezTo>
                      <a:pt x="492" y="1314"/>
                      <a:pt x="514" y="1324"/>
                      <a:pt x="537" y="1347"/>
                    </a:cubicBezTo>
                    <a:cubicBezTo>
                      <a:pt x="548" y="1358"/>
                      <a:pt x="562" y="1368"/>
                      <a:pt x="571" y="1381"/>
                    </a:cubicBezTo>
                    <a:cubicBezTo>
                      <a:pt x="546" y="1382"/>
                      <a:pt x="522" y="1371"/>
                      <a:pt x="500" y="1385"/>
                    </a:cubicBezTo>
                    <a:cubicBezTo>
                      <a:pt x="496" y="1387"/>
                      <a:pt x="490" y="1406"/>
                      <a:pt x="487" y="1410"/>
                    </a:cubicBezTo>
                    <a:cubicBezTo>
                      <a:pt x="478" y="1420"/>
                      <a:pt x="460" y="1431"/>
                      <a:pt x="455" y="1445"/>
                    </a:cubicBezTo>
                    <a:cubicBezTo>
                      <a:pt x="445" y="1471"/>
                      <a:pt x="445" y="1555"/>
                      <a:pt x="480" y="1558"/>
                    </a:cubicBezTo>
                    <a:cubicBezTo>
                      <a:pt x="413" y="1576"/>
                      <a:pt x="366" y="1524"/>
                      <a:pt x="330" y="1475"/>
                    </a:cubicBezTo>
                    <a:cubicBezTo>
                      <a:pt x="308" y="1444"/>
                      <a:pt x="298" y="1414"/>
                      <a:pt x="282" y="1383"/>
                    </a:cubicBezTo>
                    <a:cubicBezTo>
                      <a:pt x="266" y="1354"/>
                      <a:pt x="236" y="1333"/>
                      <a:pt x="217" y="1308"/>
                    </a:cubicBezTo>
                    <a:cubicBezTo>
                      <a:pt x="192" y="1273"/>
                      <a:pt x="170" y="1239"/>
                      <a:pt x="143" y="1207"/>
                    </a:cubicBezTo>
                    <a:cubicBezTo>
                      <a:pt x="124" y="1186"/>
                      <a:pt x="113" y="1183"/>
                      <a:pt x="100" y="1158"/>
                    </a:cubicBezTo>
                    <a:cubicBezTo>
                      <a:pt x="91" y="1138"/>
                      <a:pt x="90" y="1117"/>
                      <a:pt x="79" y="1097"/>
                    </a:cubicBezTo>
                    <a:cubicBezTo>
                      <a:pt x="50" y="1043"/>
                      <a:pt x="0" y="1002"/>
                      <a:pt x="6" y="934"/>
                    </a:cubicBezTo>
                    <a:cubicBezTo>
                      <a:pt x="12" y="858"/>
                      <a:pt x="60" y="813"/>
                      <a:pt x="100" y="755"/>
                    </a:cubicBezTo>
                    <a:cubicBezTo>
                      <a:pt x="146" y="688"/>
                      <a:pt x="165" y="616"/>
                      <a:pt x="232" y="564"/>
                    </a:cubicBezTo>
                    <a:cubicBezTo>
                      <a:pt x="271" y="535"/>
                      <a:pt x="257" y="517"/>
                      <a:pt x="276" y="475"/>
                    </a:cubicBezTo>
                    <a:cubicBezTo>
                      <a:pt x="288" y="448"/>
                      <a:pt x="310" y="432"/>
                      <a:pt x="333" y="411"/>
                    </a:cubicBezTo>
                    <a:cubicBezTo>
                      <a:pt x="354" y="391"/>
                      <a:pt x="372" y="386"/>
                      <a:pt x="384" y="353"/>
                    </a:cubicBezTo>
                    <a:cubicBezTo>
                      <a:pt x="395" y="323"/>
                      <a:pt x="404" y="294"/>
                      <a:pt x="418" y="264"/>
                    </a:cubicBezTo>
                    <a:cubicBezTo>
                      <a:pt x="430" y="237"/>
                      <a:pt x="453" y="198"/>
                      <a:pt x="477" y="185"/>
                    </a:cubicBezTo>
                    <a:cubicBezTo>
                      <a:pt x="506" y="171"/>
                      <a:pt x="536" y="183"/>
                      <a:pt x="567" y="178"/>
                    </a:cubicBezTo>
                    <a:cubicBezTo>
                      <a:pt x="633" y="166"/>
                      <a:pt x="686" y="122"/>
                      <a:pt x="741" y="87"/>
                    </a:cubicBezTo>
                    <a:cubicBezTo>
                      <a:pt x="777" y="64"/>
                      <a:pt x="893" y="0"/>
                      <a:pt x="887" y="85"/>
                    </a:cubicBezTo>
                    <a:cubicBezTo>
                      <a:pt x="884" y="118"/>
                      <a:pt x="859" y="155"/>
                      <a:pt x="851" y="189"/>
                    </a:cubicBezTo>
                    <a:cubicBezTo>
                      <a:pt x="842" y="225"/>
                      <a:pt x="840" y="262"/>
                      <a:pt x="836" y="299"/>
                    </a:cubicBezTo>
                    <a:cubicBezTo>
                      <a:pt x="827" y="383"/>
                      <a:pt x="813" y="461"/>
                      <a:pt x="817" y="548"/>
                    </a:cubicBezTo>
                    <a:cubicBezTo>
                      <a:pt x="819" y="607"/>
                      <a:pt x="824" y="667"/>
                      <a:pt x="824" y="728"/>
                    </a:cubicBezTo>
                    <a:cubicBezTo>
                      <a:pt x="825" y="777"/>
                      <a:pt x="840" y="808"/>
                      <a:pt x="848" y="856"/>
                    </a:cubicBezTo>
                    <a:cubicBezTo>
                      <a:pt x="870" y="995"/>
                      <a:pt x="855" y="1139"/>
                      <a:pt x="876" y="1280"/>
                    </a:cubicBezTo>
                    <a:cubicBezTo>
                      <a:pt x="882" y="1324"/>
                      <a:pt x="896" y="1372"/>
                      <a:pt x="898" y="1421"/>
                    </a:cubicBezTo>
                    <a:cubicBezTo>
                      <a:pt x="901" y="1479"/>
                      <a:pt x="897" y="1538"/>
                      <a:pt x="902" y="1596"/>
                    </a:cubicBezTo>
                    <a:cubicBezTo>
                      <a:pt x="910" y="1675"/>
                      <a:pt x="896" y="1821"/>
                      <a:pt x="993" y="1908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293"/>
              <p:cNvSpPr>
                <a:spLocks/>
              </p:cNvSpPr>
              <p:nvPr/>
            </p:nvSpPr>
            <p:spPr bwMode="gray">
              <a:xfrm>
                <a:off x="490537" y="8915401"/>
                <a:ext cx="633413" cy="593725"/>
              </a:xfrm>
              <a:custGeom>
                <a:avLst/>
                <a:gdLst/>
                <a:ahLst/>
                <a:cxnLst>
                  <a:cxn ang="0">
                    <a:pos x="4" y="103"/>
                  </a:cxn>
                  <a:cxn ang="0">
                    <a:pos x="86" y="106"/>
                  </a:cxn>
                  <a:cxn ang="0">
                    <a:pos x="163" y="158"/>
                  </a:cxn>
                  <a:cxn ang="0">
                    <a:pos x="109" y="28"/>
                  </a:cxn>
                  <a:cxn ang="0">
                    <a:pos x="35" y="6"/>
                  </a:cxn>
                  <a:cxn ang="0">
                    <a:pos x="0" y="68"/>
                  </a:cxn>
                </a:cxnLst>
                <a:rect l="0" t="0" r="r" b="b"/>
                <a:pathLst>
                  <a:path w="169" h="158">
                    <a:moveTo>
                      <a:pt x="4" y="103"/>
                    </a:moveTo>
                    <a:cubicBezTo>
                      <a:pt x="49" y="98"/>
                      <a:pt x="42" y="81"/>
                      <a:pt x="86" y="106"/>
                    </a:cubicBezTo>
                    <a:cubicBezTo>
                      <a:pt x="114" y="122"/>
                      <a:pt x="137" y="140"/>
                      <a:pt x="163" y="158"/>
                    </a:cubicBezTo>
                    <a:cubicBezTo>
                      <a:pt x="169" y="119"/>
                      <a:pt x="141" y="50"/>
                      <a:pt x="109" y="28"/>
                    </a:cubicBezTo>
                    <a:cubicBezTo>
                      <a:pt x="98" y="21"/>
                      <a:pt x="47" y="0"/>
                      <a:pt x="35" y="6"/>
                    </a:cubicBezTo>
                    <a:cubicBezTo>
                      <a:pt x="15" y="14"/>
                      <a:pt x="17" y="56"/>
                      <a:pt x="0" y="68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6" name="Freeform 294"/>
              <p:cNvSpPr>
                <a:spLocks/>
              </p:cNvSpPr>
              <p:nvPr/>
            </p:nvSpPr>
            <p:spPr bwMode="gray">
              <a:xfrm>
                <a:off x="-1816100" y="8859838"/>
                <a:ext cx="866775" cy="465138"/>
              </a:xfrm>
              <a:custGeom>
                <a:avLst/>
                <a:gdLst/>
                <a:ahLst/>
                <a:cxnLst>
                  <a:cxn ang="0">
                    <a:pos x="65" y="64"/>
                  </a:cxn>
                  <a:cxn ang="0">
                    <a:pos x="0" y="114"/>
                  </a:cxn>
                  <a:cxn ang="0">
                    <a:pos x="108" y="103"/>
                  </a:cxn>
                  <a:cxn ang="0">
                    <a:pos x="191" y="71"/>
                  </a:cxn>
                  <a:cxn ang="0">
                    <a:pos x="225" y="60"/>
                  </a:cxn>
                  <a:cxn ang="0">
                    <a:pos x="209" y="18"/>
                  </a:cxn>
                  <a:cxn ang="0">
                    <a:pos x="112" y="25"/>
                  </a:cxn>
                </a:cxnLst>
                <a:rect l="0" t="0" r="r" b="b"/>
                <a:pathLst>
                  <a:path w="231" h="124">
                    <a:moveTo>
                      <a:pt x="65" y="64"/>
                    </a:moveTo>
                    <a:cubicBezTo>
                      <a:pt x="50" y="98"/>
                      <a:pt x="31" y="101"/>
                      <a:pt x="0" y="114"/>
                    </a:cubicBezTo>
                    <a:cubicBezTo>
                      <a:pt x="37" y="124"/>
                      <a:pt x="75" y="121"/>
                      <a:pt x="108" y="103"/>
                    </a:cubicBezTo>
                    <a:cubicBezTo>
                      <a:pt x="145" y="82"/>
                      <a:pt x="149" y="74"/>
                      <a:pt x="191" y="71"/>
                    </a:cubicBezTo>
                    <a:cubicBezTo>
                      <a:pt x="208" y="69"/>
                      <a:pt x="216" y="84"/>
                      <a:pt x="225" y="60"/>
                    </a:cubicBezTo>
                    <a:cubicBezTo>
                      <a:pt x="231" y="44"/>
                      <a:pt x="219" y="25"/>
                      <a:pt x="209" y="18"/>
                    </a:cubicBezTo>
                    <a:cubicBezTo>
                      <a:pt x="185" y="0"/>
                      <a:pt x="132" y="6"/>
                      <a:pt x="112" y="25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295"/>
              <p:cNvSpPr>
                <a:spLocks/>
              </p:cNvSpPr>
              <p:nvPr/>
            </p:nvSpPr>
            <p:spPr bwMode="gray">
              <a:xfrm>
                <a:off x="823912" y="8807451"/>
                <a:ext cx="1225550" cy="828675"/>
              </a:xfrm>
              <a:custGeom>
                <a:avLst/>
                <a:gdLst/>
                <a:ahLst/>
                <a:cxnLst>
                  <a:cxn ang="0">
                    <a:pos x="55" y="74"/>
                  </a:cxn>
                  <a:cxn ang="0">
                    <a:pos x="128" y="114"/>
                  </a:cxn>
                  <a:cxn ang="0">
                    <a:pos x="183" y="167"/>
                  </a:cxn>
                  <a:cxn ang="0">
                    <a:pos x="164" y="125"/>
                  </a:cxn>
                  <a:cxn ang="0">
                    <a:pos x="327" y="153"/>
                  </a:cxn>
                  <a:cxn ang="0">
                    <a:pos x="0" y="0"/>
                  </a:cxn>
                </a:cxnLst>
                <a:rect l="0" t="0" r="r" b="b"/>
                <a:pathLst>
                  <a:path w="327" h="221">
                    <a:moveTo>
                      <a:pt x="55" y="74"/>
                    </a:moveTo>
                    <a:cubicBezTo>
                      <a:pt x="78" y="91"/>
                      <a:pt x="106" y="95"/>
                      <a:pt x="128" y="114"/>
                    </a:cubicBezTo>
                    <a:cubicBezTo>
                      <a:pt x="146" y="131"/>
                      <a:pt x="159" y="161"/>
                      <a:pt x="183" y="167"/>
                    </a:cubicBezTo>
                    <a:cubicBezTo>
                      <a:pt x="178" y="152"/>
                      <a:pt x="167" y="141"/>
                      <a:pt x="164" y="125"/>
                    </a:cubicBezTo>
                    <a:cubicBezTo>
                      <a:pt x="209" y="117"/>
                      <a:pt x="280" y="221"/>
                      <a:pt x="327" y="153"/>
                    </a:cubicBezTo>
                    <a:cubicBezTo>
                      <a:pt x="209" y="137"/>
                      <a:pt x="122" y="16"/>
                      <a:pt x="0" y="0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296"/>
              <p:cNvSpPr>
                <a:spLocks/>
              </p:cNvSpPr>
              <p:nvPr/>
            </p:nvSpPr>
            <p:spPr bwMode="gray">
              <a:xfrm>
                <a:off x="-1804988" y="8394701"/>
                <a:ext cx="3055938" cy="2590800"/>
              </a:xfrm>
              <a:custGeom>
                <a:avLst/>
                <a:gdLst/>
                <a:ahLst/>
                <a:cxnLst>
                  <a:cxn ang="0">
                    <a:pos x="130" y="73"/>
                  </a:cxn>
                  <a:cxn ang="0">
                    <a:pos x="0" y="192"/>
                  </a:cxn>
                  <a:cxn ang="0">
                    <a:pos x="170" y="150"/>
                  </a:cxn>
                  <a:cxn ang="0">
                    <a:pos x="238" y="256"/>
                  </a:cxn>
                  <a:cxn ang="0">
                    <a:pos x="213" y="547"/>
                  </a:cxn>
                  <a:cxn ang="0">
                    <a:pos x="580" y="403"/>
                  </a:cxn>
                  <a:cxn ang="0">
                    <a:pos x="600" y="217"/>
                  </a:cxn>
                  <a:cxn ang="0">
                    <a:pos x="655" y="177"/>
                  </a:cxn>
                  <a:cxn ang="0">
                    <a:pos x="705" y="203"/>
                  </a:cxn>
                  <a:cxn ang="0">
                    <a:pos x="760" y="226"/>
                  </a:cxn>
                  <a:cxn ang="0">
                    <a:pos x="813" y="266"/>
                  </a:cxn>
                  <a:cxn ang="0">
                    <a:pos x="779" y="203"/>
                  </a:cxn>
                  <a:cxn ang="0">
                    <a:pos x="746" y="131"/>
                  </a:cxn>
                  <a:cxn ang="0">
                    <a:pos x="619" y="7"/>
                  </a:cxn>
                  <a:cxn ang="0">
                    <a:pos x="576" y="192"/>
                  </a:cxn>
                  <a:cxn ang="0">
                    <a:pos x="483" y="318"/>
                  </a:cxn>
                  <a:cxn ang="0">
                    <a:pos x="407" y="480"/>
                  </a:cxn>
                  <a:cxn ang="0">
                    <a:pos x="407" y="691"/>
                  </a:cxn>
                  <a:cxn ang="0">
                    <a:pos x="381" y="481"/>
                  </a:cxn>
                  <a:cxn ang="0">
                    <a:pos x="350" y="332"/>
                  </a:cxn>
                  <a:cxn ang="0">
                    <a:pos x="272" y="188"/>
                  </a:cxn>
                  <a:cxn ang="0">
                    <a:pos x="260" y="0"/>
                  </a:cxn>
                </a:cxnLst>
                <a:rect l="0" t="0" r="r" b="b"/>
                <a:pathLst>
                  <a:path w="815" h="691">
                    <a:moveTo>
                      <a:pt x="130" y="73"/>
                    </a:moveTo>
                    <a:cubicBezTo>
                      <a:pt x="93" y="100"/>
                      <a:pt x="50" y="197"/>
                      <a:pt x="0" y="192"/>
                    </a:cubicBezTo>
                    <a:cubicBezTo>
                      <a:pt x="64" y="238"/>
                      <a:pt x="121" y="166"/>
                      <a:pt x="170" y="150"/>
                    </a:cubicBezTo>
                    <a:cubicBezTo>
                      <a:pt x="204" y="188"/>
                      <a:pt x="255" y="202"/>
                      <a:pt x="238" y="256"/>
                    </a:cubicBezTo>
                    <a:cubicBezTo>
                      <a:pt x="209" y="344"/>
                      <a:pt x="213" y="450"/>
                      <a:pt x="213" y="547"/>
                    </a:cubicBezTo>
                    <a:cubicBezTo>
                      <a:pt x="214" y="662"/>
                      <a:pt x="591" y="441"/>
                      <a:pt x="580" y="403"/>
                    </a:cubicBezTo>
                    <a:cubicBezTo>
                      <a:pt x="567" y="362"/>
                      <a:pt x="571" y="248"/>
                      <a:pt x="600" y="217"/>
                    </a:cubicBezTo>
                    <a:cubicBezTo>
                      <a:pt x="609" y="207"/>
                      <a:pt x="646" y="180"/>
                      <a:pt x="655" y="177"/>
                    </a:cubicBezTo>
                    <a:cubicBezTo>
                      <a:pt x="695" y="164"/>
                      <a:pt x="682" y="185"/>
                      <a:pt x="705" y="203"/>
                    </a:cubicBezTo>
                    <a:cubicBezTo>
                      <a:pt x="723" y="217"/>
                      <a:pt x="741" y="217"/>
                      <a:pt x="760" y="226"/>
                    </a:cubicBezTo>
                    <a:cubicBezTo>
                      <a:pt x="779" y="236"/>
                      <a:pt x="792" y="257"/>
                      <a:pt x="813" y="266"/>
                    </a:cubicBezTo>
                    <a:cubicBezTo>
                      <a:pt x="815" y="239"/>
                      <a:pt x="791" y="224"/>
                      <a:pt x="779" y="203"/>
                    </a:cubicBezTo>
                    <a:cubicBezTo>
                      <a:pt x="767" y="182"/>
                      <a:pt x="764" y="151"/>
                      <a:pt x="746" y="131"/>
                    </a:cubicBezTo>
                    <a:cubicBezTo>
                      <a:pt x="708" y="87"/>
                      <a:pt x="652" y="52"/>
                      <a:pt x="619" y="7"/>
                    </a:cubicBezTo>
                    <a:cubicBezTo>
                      <a:pt x="603" y="63"/>
                      <a:pt x="607" y="140"/>
                      <a:pt x="576" y="192"/>
                    </a:cubicBezTo>
                    <a:cubicBezTo>
                      <a:pt x="549" y="237"/>
                      <a:pt x="505" y="270"/>
                      <a:pt x="483" y="318"/>
                    </a:cubicBezTo>
                    <a:cubicBezTo>
                      <a:pt x="459" y="369"/>
                      <a:pt x="425" y="424"/>
                      <a:pt x="407" y="480"/>
                    </a:cubicBezTo>
                    <a:cubicBezTo>
                      <a:pt x="390" y="527"/>
                      <a:pt x="571" y="551"/>
                      <a:pt x="407" y="691"/>
                    </a:cubicBezTo>
                    <a:cubicBezTo>
                      <a:pt x="389" y="645"/>
                      <a:pt x="381" y="530"/>
                      <a:pt x="381" y="481"/>
                    </a:cubicBezTo>
                    <a:cubicBezTo>
                      <a:pt x="380" y="423"/>
                      <a:pt x="381" y="376"/>
                      <a:pt x="350" y="332"/>
                    </a:cubicBezTo>
                    <a:cubicBezTo>
                      <a:pt x="317" y="283"/>
                      <a:pt x="287" y="244"/>
                      <a:pt x="272" y="188"/>
                    </a:cubicBezTo>
                    <a:cubicBezTo>
                      <a:pt x="262" y="154"/>
                      <a:pt x="292" y="7"/>
                      <a:pt x="260" y="0"/>
                    </a:cubicBezTo>
                  </a:path>
                </a:pathLst>
              </a:custGeom>
              <a:solidFill>
                <a:srgbClr val="FCC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" name="Freeform 297"/>
              <p:cNvSpPr>
                <a:spLocks/>
              </p:cNvSpPr>
              <p:nvPr/>
            </p:nvSpPr>
            <p:spPr bwMode="gray">
              <a:xfrm>
                <a:off x="-1519238" y="8405813"/>
                <a:ext cx="812800" cy="487363"/>
              </a:xfrm>
              <a:custGeom>
                <a:avLst/>
                <a:gdLst/>
                <a:ahLst/>
                <a:cxnLst>
                  <a:cxn ang="0">
                    <a:pos x="0" y="130"/>
                  </a:cxn>
                  <a:cxn ang="0">
                    <a:pos x="86" y="76"/>
                  </a:cxn>
                  <a:cxn ang="0">
                    <a:pos x="74" y="103"/>
                  </a:cxn>
                  <a:cxn ang="0">
                    <a:pos x="124" y="62"/>
                  </a:cxn>
                  <a:cxn ang="0">
                    <a:pos x="127" y="91"/>
                  </a:cxn>
                  <a:cxn ang="0">
                    <a:pos x="163" y="64"/>
                  </a:cxn>
                  <a:cxn ang="0">
                    <a:pos x="173" y="91"/>
                  </a:cxn>
                  <a:cxn ang="0">
                    <a:pos x="187" y="71"/>
                  </a:cxn>
                  <a:cxn ang="0">
                    <a:pos x="208" y="93"/>
                  </a:cxn>
                  <a:cxn ang="0">
                    <a:pos x="176" y="22"/>
                  </a:cxn>
                  <a:cxn ang="0">
                    <a:pos x="107" y="26"/>
                  </a:cxn>
                  <a:cxn ang="0">
                    <a:pos x="15" y="101"/>
                  </a:cxn>
                </a:cxnLst>
                <a:rect l="0" t="0" r="r" b="b"/>
                <a:pathLst>
                  <a:path w="217" h="130">
                    <a:moveTo>
                      <a:pt x="0" y="130"/>
                    </a:moveTo>
                    <a:cubicBezTo>
                      <a:pt x="23" y="129"/>
                      <a:pt x="76" y="97"/>
                      <a:pt x="86" y="76"/>
                    </a:cubicBezTo>
                    <a:cubicBezTo>
                      <a:pt x="87" y="87"/>
                      <a:pt x="82" y="97"/>
                      <a:pt x="74" y="103"/>
                    </a:cubicBezTo>
                    <a:cubicBezTo>
                      <a:pt x="105" y="108"/>
                      <a:pt x="94" y="54"/>
                      <a:pt x="124" y="62"/>
                    </a:cubicBezTo>
                    <a:cubicBezTo>
                      <a:pt x="128" y="71"/>
                      <a:pt x="126" y="81"/>
                      <a:pt x="127" y="91"/>
                    </a:cubicBezTo>
                    <a:cubicBezTo>
                      <a:pt x="143" y="91"/>
                      <a:pt x="150" y="71"/>
                      <a:pt x="163" y="64"/>
                    </a:cubicBezTo>
                    <a:cubicBezTo>
                      <a:pt x="162" y="74"/>
                      <a:pt x="166" y="85"/>
                      <a:pt x="173" y="91"/>
                    </a:cubicBezTo>
                    <a:cubicBezTo>
                      <a:pt x="176" y="84"/>
                      <a:pt x="180" y="76"/>
                      <a:pt x="187" y="71"/>
                    </a:cubicBezTo>
                    <a:cubicBezTo>
                      <a:pt x="187" y="85"/>
                      <a:pt x="190" y="97"/>
                      <a:pt x="208" y="93"/>
                    </a:cubicBezTo>
                    <a:cubicBezTo>
                      <a:pt x="217" y="68"/>
                      <a:pt x="196" y="37"/>
                      <a:pt x="176" y="22"/>
                    </a:cubicBezTo>
                    <a:cubicBezTo>
                      <a:pt x="149" y="0"/>
                      <a:pt x="132" y="11"/>
                      <a:pt x="107" y="26"/>
                    </a:cubicBezTo>
                    <a:cubicBezTo>
                      <a:pt x="69" y="50"/>
                      <a:pt x="40" y="62"/>
                      <a:pt x="15" y="101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0" name="Freeform 298"/>
              <p:cNvSpPr>
                <a:spLocks/>
              </p:cNvSpPr>
              <p:nvPr/>
            </p:nvSpPr>
            <p:spPr bwMode="gray">
              <a:xfrm>
                <a:off x="411162" y="8405813"/>
                <a:ext cx="735013" cy="803275"/>
              </a:xfrm>
              <a:custGeom>
                <a:avLst/>
                <a:gdLst/>
                <a:ahLst/>
                <a:cxnLst>
                  <a:cxn ang="0">
                    <a:pos x="11" y="66"/>
                  </a:cxn>
                  <a:cxn ang="0">
                    <a:pos x="9" y="126"/>
                  </a:cxn>
                  <a:cxn ang="0">
                    <a:pos x="40" y="105"/>
                  </a:cxn>
                  <a:cxn ang="0">
                    <a:pos x="69" y="78"/>
                  </a:cxn>
                  <a:cxn ang="0">
                    <a:pos x="142" y="142"/>
                  </a:cxn>
                  <a:cxn ang="0">
                    <a:pos x="196" y="212"/>
                  </a:cxn>
                  <a:cxn ang="0">
                    <a:pos x="165" y="144"/>
                  </a:cxn>
                  <a:cxn ang="0">
                    <a:pos x="124" y="71"/>
                  </a:cxn>
                  <a:cxn ang="0">
                    <a:pos x="54" y="7"/>
                  </a:cxn>
                  <a:cxn ang="0">
                    <a:pos x="3" y="72"/>
                  </a:cxn>
                  <a:cxn ang="0">
                    <a:pos x="13" y="78"/>
                  </a:cxn>
                </a:cxnLst>
                <a:rect l="0" t="0" r="r" b="b"/>
                <a:pathLst>
                  <a:path w="196" h="214">
                    <a:moveTo>
                      <a:pt x="11" y="66"/>
                    </a:moveTo>
                    <a:cubicBezTo>
                      <a:pt x="20" y="73"/>
                      <a:pt x="13" y="114"/>
                      <a:pt x="9" y="126"/>
                    </a:cubicBezTo>
                    <a:cubicBezTo>
                      <a:pt x="20" y="122"/>
                      <a:pt x="31" y="112"/>
                      <a:pt x="40" y="105"/>
                    </a:cubicBezTo>
                    <a:cubicBezTo>
                      <a:pt x="49" y="98"/>
                      <a:pt x="60" y="81"/>
                      <a:pt x="69" y="78"/>
                    </a:cubicBezTo>
                    <a:cubicBezTo>
                      <a:pt x="86" y="109"/>
                      <a:pt x="122" y="118"/>
                      <a:pt x="142" y="142"/>
                    </a:cubicBezTo>
                    <a:cubicBezTo>
                      <a:pt x="155" y="158"/>
                      <a:pt x="171" y="214"/>
                      <a:pt x="196" y="212"/>
                    </a:cubicBezTo>
                    <a:cubicBezTo>
                      <a:pt x="189" y="191"/>
                      <a:pt x="175" y="165"/>
                      <a:pt x="165" y="144"/>
                    </a:cubicBezTo>
                    <a:cubicBezTo>
                      <a:pt x="153" y="120"/>
                      <a:pt x="138" y="95"/>
                      <a:pt x="124" y="71"/>
                    </a:cubicBezTo>
                    <a:cubicBezTo>
                      <a:pt x="108" y="45"/>
                      <a:pt x="85" y="13"/>
                      <a:pt x="54" y="7"/>
                    </a:cubicBezTo>
                    <a:cubicBezTo>
                      <a:pt x="17" y="0"/>
                      <a:pt x="0" y="40"/>
                      <a:pt x="3" y="72"/>
                    </a:cubicBezTo>
                    <a:cubicBezTo>
                      <a:pt x="7" y="73"/>
                      <a:pt x="10" y="77"/>
                      <a:pt x="13" y="78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Freeform 299"/>
              <p:cNvSpPr>
                <a:spLocks/>
              </p:cNvSpPr>
              <p:nvPr/>
            </p:nvSpPr>
            <p:spPr bwMode="gray">
              <a:xfrm>
                <a:off x="-1095375" y="9036051"/>
                <a:ext cx="547688" cy="8096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6" y="216"/>
                  </a:cxn>
                  <a:cxn ang="0">
                    <a:pos x="53" y="131"/>
                  </a:cxn>
                  <a:cxn ang="0">
                    <a:pos x="28" y="193"/>
                  </a:cxn>
                </a:cxnLst>
                <a:rect l="0" t="0" r="r" b="b"/>
                <a:pathLst>
                  <a:path w="146" h="216">
                    <a:moveTo>
                      <a:pt x="0" y="0"/>
                    </a:moveTo>
                    <a:cubicBezTo>
                      <a:pt x="40" y="3"/>
                      <a:pt x="144" y="168"/>
                      <a:pt x="146" y="216"/>
                    </a:cubicBezTo>
                    <a:cubicBezTo>
                      <a:pt x="134" y="178"/>
                      <a:pt x="97" y="126"/>
                      <a:pt x="53" y="131"/>
                    </a:cubicBezTo>
                    <a:cubicBezTo>
                      <a:pt x="54" y="153"/>
                      <a:pt x="29" y="170"/>
                      <a:pt x="28" y="193"/>
                    </a:cubicBezTo>
                  </a:path>
                </a:pathLst>
              </a:custGeom>
              <a:solidFill>
                <a:srgbClr val="E2A80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300"/>
              <p:cNvSpPr>
                <a:spLocks/>
              </p:cNvSpPr>
              <p:nvPr/>
            </p:nvSpPr>
            <p:spPr bwMode="gray">
              <a:xfrm>
                <a:off x="-2127250" y="5688013"/>
                <a:ext cx="3724275" cy="3937000"/>
              </a:xfrm>
              <a:custGeom>
                <a:avLst/>
                <a:gdLst/>
                <a:ahLst/>
                <a:cxnLst>
                  <a:cxn ang="0">
                    <a:pos x="440" y="222"/>
                  </a:cxn>
                  <a:cxn ang="0">
                    <a:pos x="433" y="840"/>
                  </a:cxn>
                  <a:cxn ang="0">
                    <a:pos x="406" y="823"/>
                  </a:cxn>
                  <a:cxn ang="0">
                    <a:pos x="394" y="795"/>
                  </a:cxn>
                  <a:cxn ang="0">
                    <a:pos x="392" y="829"/>
                  </a:cxn>
                  <a:cxn ang="0">
                    <a:pos x="358" y="794"/>
                  </a:cxn>
                  <a:cxn ang="0">
                    <a:pos x="346" y="807"/>
                  </a:cxn>
                  <a:cxn ang="0">
                    <a:pos x="318" y="754"/>
                  </a:cxn>
                  <a:cxn ang="0">
                    <a:pos x="277" y="805"/>
                  </a:cxn>
                  <a:cxn ang="0">
                    <a:pos x="269" y="772"/>
                  </a:cxn>
                  <a:cxn ang="0">
                    <a:pos x="164" y="840"/>
                  </a:cxn>
                  <a:cxn ang="0">
                    <a:pos x="8" y="869"/>
                  </a:cxn>
                  <a:cxn ang="0">
                    <a:pos x="0" y="837"/>
                  </a:cxn>
                  <a:cxn ang="0">
                    <a:pos x="94" y="830"/>
                  </a:cxn>
                  <a:cxn ang="0">
                    <a:pos x="79" y="750"/>
                  </a:cxn>
                  <a:cxn ang="0">
                    <a:pos x="223" y="718"/>
                  </a:cxn>
                  <a:cxn ang="0">
                    <a:pos x="222" y="584"/>
                  </a:cxn>
                  <a:cxn ang="0">
                    <a:pos x="201" y="445"/>
                  </a:cxn>
                  <a:cxn ang="0">
                    <a:pos x="223" y="332"/>
                  </a:cxn>
                  <a:cxn ang="0">
                    <a:pos x="254" y="281"/>
                  </a:cxn>
                  <a:cxn ang="0">
                    <a:pos x="264" y="216"/>
                  </a:cxn>
                  <a:cxn ang="0">
                    <a:pos x="334" y="121"/>
                  </a:cxn>
                  <a:cxn ang="0">
                    <a:pos x="405" y="46"/>
                  </a:cxn>
                  <a:cxn ang="0">
                    <a:pos x="371" y="46"/>
                  </a:cxn>
                  <a:cxn ang="0">
                    <a:pos x="637" y="36"/>
                  </a:cxn>
                  <a:cxn ang="0">
                    <a:pos x="792" y="214"/>
                  </a:cxn>
                  <a:cxn ang="0">
                    <a:pos x="820" y="344"/>
                  </a:cxn>
                  <a:cxn ang="0">
                    <a:pos x="843" y="479"/>
                  </a:cxn>
                  <a:cxn ang="0">
                    <a:pos x="808" y="760"/>
                  </a:cxn>
                  <a:cxn ang="0">
                    <a:pos x="966" y="826"/>
                  </a:cxn>
                  <a:cxn ang="0">
                    <a:pos x="903" y="870"/>
                  </a:cxn>
                  <a:cxn ang="0">
                    <a:pos x="993" y="854"/>
                  </a:cxn>
                  <a:cxn ang="0">
                    <a:pos x="721" y="748"/>
                  </a:cxn>
                  <a:cxn ang="0">
                    <a:pos x="636" y="1034"/>
                  </a:cxn>
                  <a:cxn ang="0">
                    <a:pos x="592" y="1030"/>
                  </a:cxn>
                  <a:cxn ang="0">
                    <a:pos x="609" y="1050"/>
                  </a:cxn>
                  <a:cxn ang="0">
                    <a:pos x="692" y="403"/>
                  </a:cxn>
                  <a:cxn ang="0">
                    <a:pos x="685" y="421"/>
                  </a:cxn>
                  <a:cxn ang="0">
                    <a:pos x="643" y="363"/>
                  </a:cxn>
                  <a:cxn ang="0">
                    <a:pos x="626" y="384"/>
                  </a:cxn>
                  <a:cxn ang="0">
                    <a:pos x="575" y="384"/>
                  </a:cxn>
                  <a:cxn ang="0">
                    <a:pos x="458" y="228"/>
                  </a:cxn>
                  <a:cxn ang="0">
                    <a:pos x="513" y="339"/>
                  </a:cxn>
                  <a:cxn ang="0">
                    <a:pos x="440" y="233"/>
                  </a:cxn>
                </a:cxnLst>
                <a:rect l="0" t="0" r="r" b="b"/>
                <a:pathLst>
                  <a:path w="993" h="1050">
                    <a:moveTo>
                      <a:pt x="440" y="222"/>
                    </a:moveTo>
                    <a:cubicBezTo>
                      <a:pt x="185" y="237"/>
                      <a:pt x="447" y="729"/>
                      <a:pt x="433" y="840"/>
                    </a:cubicBezTo>
                    <a:cubicBezTo>
                      <a:pt x="426" y="837"/>
                      <a:pt x="411" y="827"/>
                      <a:pt x="406" y="823"/>
                    </a:cubicBezTo>
                    <a:cubicBezTo>
                      <a:pt x="403" y="812"/>
                      <a:pt x="397" y="803"/>
                      <a:pt x="394" y="795"/>
                    </a:cubicBezTo>
                    <a:cubicBezTo>
                      <a:pt x="395" y="805"/>
                      <a:pt x="392" y="818"/>
                      <a:pt x="392" y="829"/>
                    </a:cubicBezTo>
                    <a:cubicBezTo>
                      <a:pt x="372" y="827"/>
                      <a:pt x="362" y="814"/>
                      <a:pt x="358" y="794"/>
                    </a:cubicBezTo>
                    <a:cubicBezTo>
                      <a:pt x="361" y="788"/>
                      <a:pt x="348" y="805"/>
                      <a:pt x="346" y="807"/>
                    </a:cubicBezTo>
                    <a:cubicBezTo>
                      <a:pt x="333" y="793"/>
                      <a:pt x="328" y="771"/>
                      <a:pt x="318" y="754"/>
                    </a:cubicBezTo>
                    <a:cubicBezTo>
                      <a:pt x="309" y="777"/>
                      <a:pt x="297" y="794"/>
                      <a:pt x="277" y="805"/>
                    </a:cubicBezTo>
                    <a:cubicBezTo>
                      <a:pt x="276" y="792"/>
                      <a:pt x="270" y="785"/>
                      <a:pt x="269" y="772"/>
                    </a:cubicBezTo>
                    <a:cubicBezTo>
                      <a:pt x="234" y="790"/>
                      <a:pt x="198" y="817"/>
                      <a:pt x="164" y="840"/>
                    </a:cubicBezTo>
                    <a:cubicBezTo>
                      <a:pt x="115" y="872"/>
                      <a:pt x="76" y="873"/>
                      <a:pt x="8" y="869"/>
                    </a:cubicBezTo>
                    <a:cubicBezTo>
                      <a:pt x="6" y="864"/>
                      <a:pt x="1" y="842"/>
                      <a:pt x="0" y="837"/>
                    </a:cubicBezTo>
                    <a:cubicBezTo>
                      <a:pt x="30" y="855"/>
                      <a:pt x="82" y="872"/>
                      <a:pt x="94" y="830"/>
                    </a:cubicBezTo>
                    <a:cubicBezTo>
                      <a:pt x="63" y="819"/>
                      <a:pt x="66" y="773"/>
                      <a:pt x="79" y="750"/>
                    </a:cubicBezTo>
                    <a:cubicBezTo>
                      <a:pt x="89" y="853"/>
                      <a:pt x="214" y="801"/>
                      <a:pt x="223" y="718"/>
                    </a:cubicBezTo>
                    <a:cubicBezTo>
                      <a:pt x="228" y="675"/>
                      <a:pt x="224" y="627"/>
                      <a:pt x="222" y="584"/>
                    </a:cubicBezTo>
                    <a:cubicBezTo>
                      <a:pt x="220" y="537"/>
                      <a:pt x="193" y="491"/>
                      <a:pt x="201" y="445"/>
                    </a:cubicBezTo>
                    <a:cubicBezTo>
                      <a:pt x="235" y="418"/>
                      <a:pt x="212" y="372"/>
                      <a:pt x="223" y="332"/>
                    </a:cubicBezTo>
                    <a:cubicBezTo>
                      <a:pt x="227" y="316"/>
                      <a:pt x="248" y="299"/>
                      <a:pt x="254" y="281"/>
                    </a:cubicBezTo>
                    <a:cubicBezTo>
                      <a:pt x="262" y="262"/>
                      <a:pt x="258" y="237"/>
                      <a:pt x="264" y="216"/>
                    </a:cubicBezTo>
                    <a:cubicBezTo>
                      <a:pt x="275" y="176"/>
                      <a:pt x="304" y="148"/>
                      <a:pt x="334" y="121"/>
                    </a:cubicBezTo>
                    <a:cubicBezTo>
                      <a:pt x="358" y="99"/>
                      <a:pt x="389" y="56"/>
                      <a:pt x="405" y="46"/>
                    </a:cubicBezTo>
                    <a:cubicBezTo>
                      <a:pt x="394" y="47"/>
                      <a:pt x="382" y="44"/>
                      <a:pt x="371" y="46"/>
                    </a:cubicBezTo>
                    <a:cubicBezTo>
                      <a:pt x="449" y="27"/>
                      <a:pt x="559" y="0"/>
                      <a:pt x="637" y="36"/>
                    </a:cubicBezTo>
                    <a:cubicBezTo>
                      <a:pt x="697" y="63"/>
                      <a:pt x="760" y="158"/>
                      <a:pt x="792" y="214"/>
                    </a:cubicBezTo>
                    <a:cubicBezTo>
                      <a:pt x="817" y="258"/>
                      <a:pt x="820" y="291"/>
                      <a:pt x="820" y="344"/>
                    </a:cubicBezTo>
                    <a:cubicBezTo>
                      <a:pt x="819" y="396"/>
                      <a:pt x="835" y="430"/>
                      <a:pt x="843" y="479"/>
                    </a:cubicBezTo>
                    <a:cubicBezTo>
                      <a:pt x="858" y="576"/>
                      <a:pt x="787" y="667"/>
                      <a:pt x="808" y="760"/>
                    </a:cubicBezTo>
                    <a:cubicBezTo>
                      <a:pt x="822" y="825"/>
                      <a:pt x="909" y="889"/>
                      <a:pt x="966" y="826"/>
                    </a:cubicBezTo>
                    <a:cubicBezTo>
                      <a:pt x="960" y="855"/>
                      <a:pt x="930" y="864"/>
                      <a:pt x="903" y="870"/>
                    </a:cubicBezTo>
                    <a:cubicBezTo>
                      <a:pt x="935" y="870"/>
                      <a:pt x="970" y="879"/>
                      <a:pt x="993" y="854"/>
                    </a:cubicBezTo>
                    <a:cubicBezTo>
                      <a:pt x="922" y="976"/>
                      <a:pt x="782" y="783"/>
                      <a:pt x="721" y="748"/>
                    </a:cubicBezTo>
                    <a:cubicBezTo>
                      <a:pt x="697" y="823"/>
                      <a:pt x="491" y="954"/>
                      <a:pt x="636" y="1034"/>
                    </a:cubicBezTo>
                    <a:cubicBezTo>
                      <a:pt x="622" y="1031"/>
                      <a:pt x="607" y="1033"/>
                      <a:pt x="592" y="1030"/>
                    </a:cubicBezTo>
                    <a:cubicBezTo>
                      <a:pt x="597" y="1038"/>
                      <a:pt x="600" y="1045"/>
                      <a:pt x="609" y="1050"/>
                    </a:cubicBezTo>
                    <a:cubicBezTo>
                      <a:pt x="375" y="971"/>
                      <a:pt x="854" y="481"/>
                      <a:pt x="692" y="403"/>
                    </a:cubicBezTo>
                    <a:cubicBezTo>
                      <a:pt x="690" y="411"/>
                      <a:pt x="686" y="417"/>
                      <a:pt x="685" y="421"/>
                    </a:cubicBezTo>
                    <a:cubicBezTo>
                      <a:pt x="670" y="405"/>
                      <a:pt x="651" y="383"/>
                      <a:pt x="643" y="363"/>
                    </a:cubicBezTo>
                    <a:cubicBezTo>
                      <a:pt x="639" y="369"/>
                      <a:pt x="630" y="374"/>
                      <a:pt x="626" y="384"/>
                    </a:cubicBezTo>
                    <a:cubicBezTo>
                      <a:pt x="612" y="388"/>
                      <a:pt x="588" y="388"/>
                      <a:pt x="575" y="384"/>
                    </a:cubicBezTo>
                    <a:cubicBezTo>
                      <a:pt x="549" y="344"/>
                      <a:pt x="530" y="218"/>
                      <a:pt x="458" y="228"/>
                    </a:cubicBezTo>
                    <a:cubicBezTo>
                      <a:pt x="447" y="273"/>
                      <a:pt x="482" y="314"/>
                      <a:pt x="513" y="339"/>
                    </a:cubicBezTo>
                    <a:cubicBezTo>
                      <a:pt x="476" y="315"/>
                      <a:pt x="435" y="284"/>
                      <a:pt x="440" y="233"/>
                    </a:cubicBezTo>
                  </a:path>
                </a:pathLst>
              </a:custGeom>
              <a:solidFill>
                <a:srgbClr val="736357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301"/>
              <p:cNvSpPr>
                <a:spLocks/>
              </p:cNvSpPr>
              <p:nvPr/>
            </p:nvSpPr>
            <p:spPr bwMode="gray">
              <a:xfrm>
                <a:off x="-2127250" y="5688013"/>
                <a:ext cx="3724275" cy="3937000"/>
              </a:xfrm>
              <a:custGeom>
                <a:avLst/>
                <a:gdLst/>
                <a:ahLst/>
                <a:cxnLst>
                  <a:cxn ang="0">
                    <a:pos x="440" y="222"/>
                  </a:cxn>
                  <a:cxn ang="0">
                    <a:pos x="433" y="840"/>
                  </a:cxn>
                  <a:cxn ang="0">
                    <a:pos x="406" y="823"/>
                  </a:cxn>
                  <a:cxn ang="0">
                    <a:pos x="394" y="795"/>
                  </a:cxn>
                  <a:cxn ang="0">
                    <a:pos x="392" y="829"/>
                  </a:cxn>
                  <a:cxn ang="0">
                    <a:pos x="358" y="794"/>
                  </a:cxn>
                  <a:cxn ang="0">
                    <a:pos x="346" y="807"/>
                  </a:cxn>
                  <a:cxn ang="0">
                    <a:pos x="318" y="754"/>
                  </a:cxn>
                  <a:cxn ang="0">
                    <a:pos x="277" y="805"/>
                  </a:cxn>
                  <a:cxn ang="0">
                    <a:pos x="269" y="772"/>
                  </a:cxn>
                  <a:cxn ang="0">
                    <a:pos x="164" y="840"/>
                  </a:cxn>
                  <a:cxn ang="0">
                    <a:pos x="8" y="869"/>
                  </a:cxn>
                  <a:cxn ang="0">
                    <a:pos x="0" y="837"/>
                  </a:cxn>
                  <a:cxn ang="0">
                    <a:pos x="94" y="830"/>
                  </a:cxn>
                  <a:cxn ang="0">
                    <a:pos x="79" y="750"/>
                  </a:cxn>
                  <a:cxn ang="0">
                    <a:pos x="223" y="718"/>
                  </a:cxn>
                  <a:cxn ang="0">
                    <a:pos x="222" y="584"/>
                  </a:cxn>
                  <a:cxn ang="0">
                    <a:pos x="201" y="445"/>
                  </a:cxn>
                  <a:cxn ang="0">
                    <a:pos x="223" y="332"/>
                  </a:cxn>
                  <a:cxn ang="0">
                    <a:pos x="254" y="281"/>
                  </a:cxn>
                  <a:cxn ang="0">
                    <a:pos x="264" y="216"/>
                  </a:cxn>
                  <a:cxn ang="0">
                    <a:pos x="334" y="121"/>
                  </a:cxn>
                  <a:cxn ang="0">
                    <a:pos x="405" y="46"/>
                  </a:cxn>
                  <a:cxn ang="0">
                    <a:pos x="371" y="46"/>
                  </a:cxn>
                  <a:cxn ang="0">
                    <a:pos x="637" y="36"/>
                  </a:cxn>
                  <a:cxn ang="0">
                    <a:pos x="792" y="214"/>
                  </a:cxn>
                  <a:cxn ang="0">
                    <a:pos x="820" y="344"/>
                  </a:cxn>
                  <a:cxn ang="0">
                    <a:pos x="843" y="479"/>
                  </a:cxn>
                  <a:cxn ang="0">
                    <a:pos x="808" y="760"/>
                  </a:cxn>
                  <a:cxn ang="0">
                    <a:pos x="966" y="826"/>
                  </a:cxn>
                  <a:cxn ang="0">
                    <a:pos x="903" y="870"/>
                  </a:cxn>
                  <a:cxn ang="0">
                    <a:pos x="993" y="854"/>
                  </a:cxn>
                  <a:cxn ang="0">
                    <a:pos x="721" y="748"/>
                  </a:cxn>
                  <a:cxn ang="0">
                    <a:pos x="636" y="1034"/>
                  </a:cxn>
                  <a:cxn ang="0">
                    <a:pos x="592" y="1030"/>
                  </a:cxn>
                  <a:cxn ang="0">
                    <a:pos x="609" y="1050"/>
                  </a:cxn>
                  <a:cxn ang="0">
                    <a:pos x="692" y="403"/>
                  </a:cxn>
                  <a:cxn ang="0">
                    <a:pos x="685" y="421"/>
                  </a:cxn>
                  <a:cxn ang="0">
                    <a:pos x="643" y="363"/>
                  </a:cxn>
                  <a:cxn ang="0">
                    <a:pos x="626" y="384"/>
                  </a:cxn>
                  <a:cxn ang="0">
                    <a:pos x="575" y="384"/>
                  </a:cxn>
                  <a:cxn ang="0">
                    <a:pos x="458" y="228"/>
                  </a:cxn>
                  <a:cxn ang="0">
                    <a:pos x="513" y="339"/>
                  </a:cxn>
                  <a:cxn ang="0">
                    <a:pos x="440" y="233"/>
                  </a:cxn>
                </a:cxnLst>
                <a:rect l="0" t="0" r="r" b="b"/>
                <a:pathLst>
                  <a:path w="993" h="1050">
                    <a:moveTo>
                      <a:pt x="440" y="222"/>
                    </a:moveTo>
                    <a:cubicBezTo>
                      <a:pt x="185" y="237"/>
                      <a:pt x="447" y="729"/>
                      <a:pt x="433" y="840"/>
                    </a:cubicBezTo>
                    <a:cubicBezTo>
                      <a:pt x="426" y="837"/>
                      <a:pt x="411" y="827"/>
                      <a:pt x="406" y="823"/>
                    </a:cubicBezTo>
                    <a:cubicBezTo>
                      <a:pt x="403" y="812"/>
                      <a:pt x="397" y="803"/>
                      <a:pt x="394" y="795"/>
                    </a:cubicBezTo>
                    <a:cubicBezTo>
                      <a:pt x="395" y="805"/>
                      <a:pt x="392" y="818"/>
                      <a:pt x="392" y="829"/>
                    </a:cubicBezTo>
                    <a:cubicBezTo>
                      <a:pt x="372" y="827"/>
                      <a:pt x="362" y="814"/>
                      <a:pt x="358" y="794"/>
                    </a:cubicBezTo>
                    <a:cubicBezTo>
                      <a:pt x="361" y="788"/>
                      <a:pt x="348" y="805"/>
                      <a:pt x="346" y="807"/>
                    </a:cubicBezTo>
                    <a:cubicBezTo>
                      <a:pt x="333" y="793"/>
                      <a:pt x="328" y="771"/>
                      <a:pt x="318" y="754"/>
                    </a:cubicBezTo>
                    <a:cubicBezTo>
                      <a:pt x="309" y="777"/>
                      <a:pt x="297" y="794"/>
                      <a:pt x="277" y="805"/>
                    </a:cubicBezTo>
                    <a:cubicBezTo>
                      <a:pt x="276" y="792"/>
                      <a:pt x="270" y="785"/>
                      <a:pt x="269" y="772"/>
                    </a:cubicBezTo>
                    <a:cubicBezTo>
                      <a:pt x="234" y="790"/>
                      <a:pt x="198" y="817"/>
                      <a:pt x="164" y="840"/>
                    </a:cubicBezTo>
                    <a:cubicBezTo>
                      <a:pt x="115" y="872"/>
                      <a:pt x="76" y="873"/>
                      <a:pt x="8" y="869"/>
                    </a:cubicBezTo>
                    <a:cubicBezTo>
                      <a:pt x="6" y="864"/>
                      <a:pt x="1" y="842"/>
                      <a:pt x="0" y="837"/>
                    </a:cubicBezTo>
                    <a:cubicBezTo>
                      <a:pt x="30" y="855"/>
                      <a:pt x="82" y="872"/>
                      <a:pt x="94" y="830"/>
                    </a:cubicBezTo>
                    <a:cubicBezTo>
                      <a:pt x="63" y="819"/>
                      <a:pt x="66" y="773"/>
                      <a:pt x="79" y="750"/>
                    </a:cubicBezTo>
                    <a:cubicBezTo>
                      <a:pt x="89" y="853"/>
                      <a:pt x="214" y="801"/>
                      <a:pt x="223" y="718"/>
                    </a:cubicBezTo>
                    <a:cubicBezTo>
                      <a:pt x="228" y="675"/>
                      <a:pt x="224" y="627"/>
                      <a:pt x="222" y="584"/>
                    </a:cubicBezTo>
                    <a:cubicBezTo>
                      <a:pt x="220" y="537"/>
                      <a:pt x="193" y="491"/>
                      <a:pt x="201" y="445"/>
                    </a:cubicBezTo>
                    <a:cubicBezTo>
                      <a:pt x="235" y="418"/>
                      <a:pt x="212" y="372"/>
                      <a:pt x="223" y="332"/>
                    </a:cubicBezTo>
                    <a:cubicBezTo>
                      <a:pt x="227" y="316"/>
                      <a:pt x="248" y="299"/>
                      <a:pt x="254" y="281"/>
                    </a:cubicBezTo>
                    <a:cubicBezTo>
                      <a:pt x="262" y="262"/>
                      <a:pt x="258" y="237"/>
                      <a:pt x="264" y="216"/>
                    </a:cubicBezTo>
                    <a:cubicBezTo>
                      <a:pt x="275" y="176"/>
                      <a:pt x="304" y="148"/>
                      <a:pt x="334" y="121"/>
                    </a:cubicBezTo>
                    <a:cubicBezTo>
                      <a:pt x="358" y="99"/>
                      <a:pt x="389" y="56"/>
                      <a:pt x="405" y="46"/>
                    </a:cubicBezTo>
                    <a:cubicBezTo>
                      <a:pt x="394" y="47"/>
                      <a:pt x="382" y="44"/>
                      <a:pt x="371" y="46"/>
                    </a:cubicBezTo>
                    <a:cubicBezTo>
                      <a:pt x="449" y="27"/>
                      <a:pt x="559" y="0"/>
                      <a:pt x="637" y="36"/>
                    </a:cubicBezTo>
                    <a:cubicBezTo>
                      <a:pt x="697" y="63"/>
                      <a:pt x="760" y="158"/>
                      <a:pt x="792" y="214"/>
                    </a:cubicBezTo>
                    <a:cubicBezTo>
                      <a:pt x="817" y="258"/>
                      <a:pt x="820" y="291"/>
                      <a:pt x="820" y="344"/>
                    </a:cubicBezTo>
                    <a:cubicBezTo>
                      <a:pt x="819" y="396"/>
                      <a:pt x="835" y="430"/>
                      <a:pt x="843" y="479"/>
                    </a:cubicBezTo>
                    <a:cubicBezTo>
                      <a:pt x="858" y="576"/>
                      <a:pt x="787" y="667"/>
                      <a:pt x="808" y="760"/>
                    </a:cubicBezTo>
                    <a:cubicBezTo>
                      <a:pt x="822" y="825"/>
                      <a:pt x="909" y="889"/>
                      <a:pt x="966" y="826"/>
                    </a:cubicBezTo>
                    <a:cubicBezTo>
                      <a:pt x="960" y="855"/>
                      <a:pt x="930" y="864"/>
                      <a:pt x="903" y="870"/>
                    </a:cubicBezTo>
                    <a:cubicBezTo>
                      <a:pt x="935" y="870"/>
                      <a:pt x="970" y="879"/>
                      <a:pt x="993" y="854"/>
                    </a:cubicBezTo>
                    <a:cubicBezTo>
                      <a:pt x="922" y="976"/>
                      <a:pt x="782" y="783"/>
                      <a:pt x="721" y="748"/>
                    </a:cubicBezTo>
                    <a:cubicBezTo>
                      <a:pt x="697" y="823"/>
                      <a:pt x="491" y="954"/>
                      <a:pt x="636" y="1034"/>
                    </a:cubicBezTo>
                    <a:cubicBezTo>
                      <a:pt x="622" y="1031"/>
                      <a:pt x="607" y="1033"/>
                      <a:pt x="592" y="1030"/>
                    </a:cubicBezTo>
                    <a:cubicBezTo>
                      <a:pt x="597" y="1038"/>
                      <a:pt x="600" y="1045"/>
                      <a:pt x="609" y="1050"/>
                    </a:cubicBezTo>
                    <a:cubicBezTo>
                      <a:pt x="375" y="971"/>
                      <a:pt x="854" y="481"/>
                      <a:pt x="692" y="403"/>
                    </a:cubicBezTo>
                    <a:cubicBezTo>
                      <a:pt x="690" y="411"/>
                      <a:pt x="686" y="417"/>
                      <a:pt x="685" y="421"/>
                    </a:cubicBezTo>
                    <a:cubicBezTo>
                      <a:pt x="670" y="405"/>
                      <a:pt x="651" y="383"/>
                      <a:pt x="643" y="363"/>
                    </a:cubicBezTo>
                    <a:cubicBezTo>
                      <a:pt x="639" y="369"/>
                      <a:pt x="630" y="374"/>
                      <a:pt x="626" y="384"/>
                    </a:cubicBezTo>
                    <a:cubicBezTo>
                      <a:pt x="612" y="388"/>
                      <a:pt x="588" y="388"/>
                      <a:pt x="575" y="384"/>
                    </a:cubicBezTo>
                    <a:cubicBezTo>
                      <a:pt x="549" y="344"/>
                      <a:pt x="530" y="218"/>
                      <a:pt x="458" y="228"/>
                    </a:cubicBezTo>
                    <a:cubicBezTo>
                      <a:pt x="447" y="273"/>
                      <a:pt x="482" y="314"/>
                      <a:pt x="513" y="339"/>
                    </a:cubicBezTo>
                    <a:cubicBezTo>
                      <a:pt x="476" y="315"/>
                      <a:pt x="435" y="284"/>
                      <a:pt x="440" y="233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302"/>
              <p:cNvSpPr>
                <a:spLocks/>
              </p:cNvSpPr>
              <p:nvPr/>
            </p:nvSpPr>
            <p:spPr bwMode="gray">
              <a:xfrm>
                <a:off x="-1965325" y="13963651"/>
                <a:ext cx="746125" cy="757238"/>
              </a:xfrm>
              <a:custGeom>
                <a:avLst/>
                <a:gdLst/>
                <a:ahLst/>
                <a:cxnLst>
                  <a:cxn ang="0">
                    <a:pos x="4" y="47"/>
                  </a:cxn>
                  <a:cxn ang="0">
                    <a:pos x="16" y="105"/>
                  </a:cxn>
                  <a:cxn ang="0">
                    <a:pos x="128" y="168"/>
                  </a:cxn>
                  <a:cxn ang="0">
                    <a:pos x="176" y="188"/>
                  </a:cxn>
                  <a:cxn ang="0">
                    <a:pos x="171" y="138"/>
                  </a:cxn>
                  <a:cxn ang="0">
                    <a:pos x="86" y="71"/>
                  </a:cxn>
                  <a:cxn ang="0">
                    <a:pos x="186" y="58"/>
                  </a:cxn>
                  <a:cxn ang="0">
                    <a:pos x="97" y="16"/>
                  </a:cxn>
                  <a:cxn ang="0">
                    <a:pos x="39" y="4"/>
                  </a:cxn>
                  <a:cxn ang="0">
                    <a:pos x="0" y="43"/>
                  </a:cxn>
                </a:cxnLst>
                <a:rect l="0" t="0" r="r" b="b"/>
                <a:pathLst>
                  <a:path w="199" h="202">
                    <a:moveTo>
                      <a:pt x="4" y="47"/>
                    </a:moveTo>
                    <a:cubicBezTo>
                      <a:pt x="14" y="65"/>
                      <a:pt x="16" y="85"/>
                      <a:pt x="16" y="105"/>
                    </a:cubicBezTo>
                    <a:cubicBezTo>
                      <a:pt x="64" y="87"/>
                      <a:pt x="95" y="139"/>
                      <a:pt x="128" y="168"/>
                    </a:cubicBezTo>
                    <a:cubicBezTo>
                      <a:pt x="142" y="181"/>
                      <a:pt x="157" y="202"/>
                      <a:pt x="176" y="188"/>
                    </a:cubicBezTo>
                    <a:cubicBezTo>
                      <a:pt x="193" y="176"/>
                      <a:pt x="181" y="151"/>
                      <a:pt x="171" y="138"/>
                    </a:cubicBezTo>
                    <a:cubicBezTo>
                      <a:pt x="154" y="117"/>
                      <a:pt x="88" y="99"/>
                      <a:pt x="86" y="71"/>
                    </a:cubicBezTo>
                    <a:cubicBezTo>
                      <a:pt x="83" y="30"/>
                      <a:pt x="159" y="61"/>
                      <a:pt x="186" y="58"/>
                    </a:cubicBezTo>
                    <a:cubicBezTo>
                      <a:pt x="199" y="12"/>
                      <a:pt x="125" y="20"/>
                      <a:pt x="97" y="16"/>
                    </a:cubicBezTo>
                    <a:cubicBezTo>
                      <a:pt x="82" y="14"/>
                      <a:pt x="53" y="0"/>
                      <a:pt x="39" y="4"/>
                    </a:cubicBezTo>
                    <a:cubicBezTo>
                      <a:pt x="22" y="9"/>
                      <a:pt x="12" y="35"/>
                      <a:pt x="0" y="43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303"/>
              <p:cNvSpPr>
                <a:spLocks/>
              </p:cNvSpPr>
              <p:nvPr/>
            </p:nvSpPr>
            <p:spPr bwMode="gray">
              <a:xfrm>
                <a:off x="-2424113" y="13239751"/>
                <a:ext cx="1387475" cy="993775"/>
              </a:xfrm>
              <a:custGeom>
                <a:avLst/>
                <a:gdLst/>
                <a:ahLst/>
                <a:cxnLst>
                  <a:cxn ang="0">
                    <a:pos x="4" y="216"/>
                  </a:cxn>
                  <a:cxn ang="0">
                    <a:pos x="1" y="259"/>
                  </a:cxn>
                  <a:cxn ang="0">
                    <a:pos x="78" y="255"/>
                  </a:cxn>
                  <a:cxn ang="0">
                    <a:pos x="144" y="224"/>
                  </a:cxn>
                  <a:cxn ang="0">
                    <a:pos x="185" y="214"/>
                  </a:cxn>
                  <a:cxn ang="0">
                    <a:pos x="299" y="219"/>
                  </a:cxn>
                  <a:cxn ang="0">
                    <a:pos x="193" y="179"/>
                  </a:cxn>
                  <a:cxn ang="0">
                    <a:pos x="180" y="165"/>
                  </a:cxn>
                  <a:cxn ang="0">
                    <a:pos x="335" y="197"/>
                  </a:cxn>
                  <a:cxn ang="0">
                    <a:pos x="265" y="146"/>
                  </a:cxn>
                  <a:cxn ang="0">
                    <a:pos x="184" y="122"/>
                  </a:cxn>
                  <a:cxn ang="0">
                    <a:pos x="284" y="114"/>
                  </a:cxn>
                  <a:cxn ang="0">
                    <a:pos x="370" y="142"/>
                  </a:cxn>
                  <a:cxn ang="0">
                    <a:pos x="285" y="82"/>
                  </a:cxn>
                  <a:cxn ang="0">
                    <a:pos x="191" y="66"/>
                  </a:cxn>
                  <a:cxn ang="0">
                    <a:pos x="339" y="34"/>
                  </a:cxn>
                  <a:cxn ang="0">
                    <a:pos x="241" y="3"/>
                  </a:cxn>
                  <a:cxn ang="0">
                    <a:pos x="143" y="48"/>
                  </a:cxn>
                  <a:cxn ang="0">
                    <a:pos x="4" y="216"/>
                  </a:cxn>
                </a:cxnLst>
                <a:rect l="0" t="0" r="r" b="b"/>
                <a:pathLst>
                  <a:path w="370" h="265">
                    <a:moveTo>
                      <a:pt x="4" y="216"/>
                    </a:moveTo>
                    <a:cubicBezTo>
                      <a:pt x="2" y="231"/>
                      <a:pt x="0" y="243"/>
                      <a:pt x="1" y="259"/>
                    </a:cubicBezTo>
                    <a:cubicBezTo>
                      <a:pt x="28" y="265"/>
                      <a:pt x="53" y="263"/>
                      <a:pt x="78" y="255"/>
                    </a:cubicBezTo>
                    <a:cubicBezTo>
                      <a:pt x="98" y="250"/>
                      <a:pt x="133" y="240"/>
                      <a:pt x="144" y="224"/>
                    </a:cubicBezTo>
                    <a:cubicBezTo>
                      <a:pt x="147" y="219"/>
                      <a:pt x="175" y="214"/>
                      <a:pt x="185" y="214"/>
                    </a:cubicBezTo>
                    <a:cubicBezTo>
                      <a:pt x="229" y="214"/>
                      <a:pt x="302" y="248"/>
                      <a:pt x="299" y="219"/>
                    </a:cubicBezTo>
                    <a:cubicBezTo>
                      <a:pt x="296" y="213"/>
                      <a:pt x="226" y="193"/>
                      <a:pt x="193" y="179"/>
                    </a:cubicBezTo>
                    <a:cubicBezTo>
                      <a:pt x="181" y="173"/>
                      <a:pt x="178" y="167"/>
                      <a:pt x="180" y="165"/>
                    </a:cubicBezTo>
                    <a:cubicBezTo>
                      <a:pt x="200" y="139"/>
                      <a:pt x="329" y="219"/>
                      <a:pt x="335" y="197"/>
                    </a:cubicBezTo>
                    <a:cubicBezTo>
                      <a:pt x="334" y="181"/>
                      <a:pt x="293" y="161"/>
                      <a:pt x="265" y="146"/>
                    </a:cubicBezTo>
                    <a:cubicBezTo>
                      <a:pt x="241" y="133"/>
                      <a:pt x="214" y="125"/>
                      <a:pt x="184" y="122"/>
                    </a:cubicBezTo>
                    <a:cubicBezTo>
                      <a:pt x="186" y="93"/>
                      <a:pt x="237" y="103"/>
                      <a:pt x="284" y="114"/>
                    </a:cubicBezTo>
                    <a:cubicBezTo>
                      <a:pt x="326" y="127"/>
                      <a:pt x="367" y="149"/>
                      <a:pt x="370" y="142"/>
                    </a:cubicBezTo>
                    <a:cubicBezTo>
                      <a:pt x="370" y="119"/>
                      <a:pt x="306" y="92"/>
                      <a:pt x="285" y="82"/>
                    </a:cubicBezTo>
                    <a:cubicBezTo>
                      <a:pt x="262" y="72"/>
                      <a:pt x="204" y="81"/>
                      <a:pt x="191" y="66"/>
                    </a:cubicBezTo>
                    <a:cubicBezTo>
                      <a:pt x="212" y="5"/>
                      <a:pt x="338" y="49"/>
                      <a:pt x="339" y="34"/>
                    </a:cubicBezTo>
                    <a:cubicBezTo>
                      <a:pt x="336" y="15"/>
                      <a:pt x="265" y="4"/>
                      <a:pt x="241" y="3"/>
                    </a:cubicBezTo>
                    <a:cubicBezTo>
                      <a:pt x="191" y="0"/>
                      <a:pt x="179" y="20"/>
                      <a:pt x="143" y="48"/>
                    </a:cubicBezTo>
                    <a:cubicBezTo>
                      <a:pt x="89" y="90"/>
                      <a:pt x="0" y="130"/>
                      <a:pt x="4" y="216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6" name="Oval 304"/>
              <p:cNvSpPr>
                <a:spLocks noChangeArrowheads="1"/>
              </p:cNvSpPr>
              <p:nvPr/>
            </p:nvSpPr>
            <p:spPr bwMode="gray">
              <a:xfrm>
                <a:off x="-417513" y="15395576"/>
                <a:ext cx="668338" cy="671513"/>
              </a:xfrm>
              <a:prstGeom prst="ellipse">
                <a:avLst/>
              </a:prstGeom>
              <a:solidFill>
                <a:srgbClr val="3F3B3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305"/>
              <p:cNvSpPr>
                <a:spLocks/>
              </p:cNvSpPr>
              <p:nvPr/>
            </p:nvSpPr>
            <p:spPr bwMode="gray">
              <a:xfrm>
                <a:off x="-533400" y="15692438"/>
                <a:ext cx="2347913" cy="1858963"/>
              </a:xfrm>
              <a:custGeom>
                <a:avLst/>
                <a:gdLst/>
                <a:ahLst/>
                <a:cxnLst>
                  <a:cxn ang="0">
                    <a:pos x="24" y="461"/>
                  </a:cxn>
                  <a:cxn ang="0">
                    <a:pos x="189" y="375"/>
                  </a:cxn>
                  <a:cxn ang="0">
                    <a:pos x="347" y="276"/>
                  </a:cxn>
                  <a:cxn ang="0">
                    <a:pos x="497" y="157"/>
                  </a:cxn>
                  <a:cxn ang="0">
                    <a:pos x="625" y="12"/>
                  </a:cxn>
                  <a:cxn ang="0">
                    <a:pos x="452" y="111"/>
                  </a:cxn>
                  <a:cxn ang="0">
                    <a:pos x="268" y="240"/>
                  </a:cxn>
                  <a:cxn ang="0">
                    <a:pos x="0" y="496"/>
                  </a:cxn>
                </a:cxnLst>
                <a:rect l="0" t="0" r="r" b="b"/>
                <a:pathLst>
                  <a:path w="626" h="496">
                    <a:moveTo>
                      <a:pt x="24" y="461"/>
                    </a:moveTo>
                    <a:cubicBezTo>
                      <a:pt x="83" y="466"/>
                      <a:pt x="144" y="404"/>
                      <a:pt x="189" y="375"/>
                    </a:cubicBezTo>
                    <a:cubicBezTo>
                      <a:pt x="240" y="343"/>
                      <a:pt x="297" y="313"/>
                      <a:pt x="347" y="276"/>
                    </a:cubicBezTo>
                    <a:cubicBezTo>
                      <a:pt x="397" y="237"/>
                      <a:pt x="450" y="200"/>
                      <a:pt x="497" y="157"/>
                    </a:cubicBezTo>
                    <a:cubicBezTo>
                      <a:pt x="535" y="123"/>
                      <a:pt x="626" y="64"/>
                      <a:pt x="625" y="12"/>
                    </a:cubicBezTo>
                    <a:cubicBezTo>
                      <a:pt x="557" y="0"/>
                      <a:pt x="498" y="71"/>
                      <a:pt x="452" y="111"/>
                    </a:cubicBezTo>
                    <a:cubicBezTo>
                      <a:pt x="395" y="159"/>
                      <a:pt x="326" y="191"/>
                      <a:pt x="268" y="240"/>
                    </a:cubicBezTo>
                    <a:cubicBezTo>
                      <a:pt x="172" y="320"/>
                      <a:pt x="62" y="387"/>
                      <a:pt x="0" y="496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8" name="Freeform 306"/>
              <p:cNvSpPr>
                <a:spLocks/>
              </p:cNvSpPr>
              <p:nvPr/>
            </p:nvSpPr>
            <p:spPr bwMode="gray">
              <a:xfrm>
                <a:off x="-1835150" y="15640051"/>
                <a:ext cx="1890713" cy="989013"/>
              </a:xfrm>
              <a:custGeom>
                <a:avLst/>
                <a:gdLst/>
                <a:ahLst/>
                <a:cxnLst>
                  <a:cxn ang="0">
                    <a:pos x="103" y="46"/>
                  </a:cxn>
                  <a:cxn ang="0">
                    <a:pos x="179" y="82"/>
                  </a:cxn>
                  <a:cxn ang="0">
                    <a:pos x="290" y="87"/>
                  </a:cxn>
                  <a:cxn ang="0">
                    <a:pos x="500" y="41"/>
                  </a:cxn>
                  <a:cxn ang="0">
                    <a:pos x="354" y="146"/>
                  </a:cxn>
                  <a:cxn ang="0">
                    <a:pos x="91" y="90"/>
                  </a:cxn>
                  <a:cxn ang="0">
                    <a:pos x="202" y="238"/>
                  </a:cxn>
                  <a:cxn ang="0">
                    <a:pos x="86" y="0"/>
                  </a:cxn>
                </a:cxnLst>
                <a:rect l="0" t="0" r="r" b="b"/>
                <a:pathLst>
                  <a:path w="504" h="264">
                    <a:moveTo>
                      <a:pt x="103" y="46"/>
                    </a:moveTo>
                    <a:cubicBezTo>
                      <a:pt x="131" y="56"/>
                      <a:pt x="151" y="74"/>
                      <a:pt x="179" y="82"/>
                    </a:cubicBezTo>
                    <a:cubicBezTo>
                      <a:pt x="213" y="90"/>
                      <a:pt x="253" y="88"/>
                      <a:pt x="290" y="87"/>
                    </a:cubicBezTo>
                    <a:cubicBezTo>
                      <a:pt x="369" y="86"/>
                      <a:pt x="426" y="47"/>
                      <a:pt x="500" y="41"/>
                    </a:cubicBezTo>
                    <a:cubicBezTo>
                      <a:pt x="504" y="138"/>
                      <a:pt x="442" y="146"/>
                      <a:pt x="354" y="146"/>
                    </a:cubicBezTo>
                    <a:cubicBezTo>
                      <a:pt x="248" y="146"/>
                      <a:pt x="177" y="138"/>
                      <a:pt x="91" y="90"/>
                    </a:cubicBezTo>
                    <a:cubicBezTo>
                      <a:pt x="93" y="164"/>
                      <a:pt x="164" y="188"/>
                      <a:pt x="202" y="238"/>
                    </a:cubicBezTo>
                    <a:cubicBezTo>
                      <a:pt x="89" y="264"/>
                      <a:pt x="0" y="69"/>
                      <a:pt x="86" y="0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9" name="Freeform 307"/>
              <p:cNvSpPr>
                <a:spLocks/>
              </p:cNvSpPr>
              <p:nvPr/>
            </p:nvSpPr>
            <p:spPr bwMode="gray">
              <a:xfrm>
                <a:off x="246062" y="17765713"/>
                <a:ext cx="1792288" cy="2166938"/>
              </a:xfrm>
              <a:custGeom>
                <a:avLst/>
                <a:gdLst/>
                <a:ahLst/>
                <a:cxnLst>
                  <a:cxn ang="0">
                    <a:pos x="437" y="187"/>
                  </a:cxn>
                  <a:cxn ang="0">
                    <a:pos x="383" y="519"/>
                  </a:cxn>
                  <a:cxn ang="0">
                    <a:pos x="192" y="543"/>
                  </a:cxn>
                  <a:cxn ang="0">
                    <a:pos x="0" y="577"/>
                  </a:cxn>
                  <a:cxn ang="0">
                    <a:pos x="197" y="484"/>
                  </a:cxn>
                  <a:cxn ang="0">
                    <a:pos x="330" y="356"/>
                  </a:cxn>
                  <a:cxn ang="0">
                    <a:pos x="408" y="175"/>
                  </a:cxn>
                  <a:cxn ang="0">
                    <a:pos x="443" y="0"/>
                  </a:cxn>
                </a:cxnLst>
                <a:rect l="0" t="0" r="r" b="b"/>
                <a:pathLst>
                  <a:path w="478" h="578">
                    <a:moveTo>
                      <a:pt x="437" y="187"/>
                    </a:moveTo>
                    <a:cubicBezTo>
                      <a:pt x="478" y="282"/>
                      <a:pt x="415" y="429"/>
                      <a:pt x="383" y="519"/>
                    </a:cubicBezTo>
                    <a:cubicBezTo>
                      <a:pt x="320" y="532"/>
                      <a:pt x="254" y="532"/>
                      <a:pt x="192" y="543"/>
                    </a:cubicBezTo>
                    <a:cubicBezTo>
                      <a:pt x="129" y="555"/>
                      <a:pt x="64" y="578"/>
                      <a:pt x="0" y="577"/>
                    </a:cubicBezTo>
                    <a:cubicBezTo>
                      <a:pt x="46" y="530"/>
                      <a:pt x="137" y="510"/>
                      <a:pt x="197" y="484"/>
                    </a:cubicBezTo>
                    <a:cubicBezTo>
                      <a:pt x="264" y="456"/>
                      <a:pt x="295" y="423"/>
                      <a:pt x="330" y="356"/>
                    </a:cubicBezTo>
                    <a:cubicBezTo>
                      <a:pt x="359" y="301"/>
                      <a:pt x="389" y="237"/>
                      <a:pt x="408" y="175"/>
                    </a:cubicBezTo>
                    <a:cubicBezTo>
                      <a:pt x="425" y="118"/>
                      <a:pt x="419" y="53"/>
                      <a:pt x="443" y="0"/>
                    </a:cubicBezTo>
                  </a:path>
                </a:pathLst>
              </a:custGeom>
              <a:solidFill>
                <a:srgbClr val="56535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0" name="Freeform 308"/>
              <p:cNvSpPr>
                <a:spLocks/>
              </p:cNvSpPr>
              <p:nvPr/>
            </p:nvSpPr>
            <p:spPr bwMode="gray">
              <a:xfrm>
                <a:off x="1371600" y="10360026"/>
                <a:ext cx="363538" cy="3490913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12" y="235"/>
                  </a:cxn>
                  <a:cxn ang="0">
                    <a:pos x="30" y="450"/>
                  </a:cxn>
                  <a:cxn ang="0">
                    <a:pos x="18" y="666"/>
                  </a:cxn>
                  <a:cxn ang="0">
                    <a:pos x="12" y="771"/>
                  </a:cxn>
                  <a:cxn ang="0">
                    <a:pos x="94" y="931"/>
                  </a:cxn>
                  <a:cxn ang="0">
                    <a:pos x="94" y="666"/>
                  </a:cxn>
                  <a:cxn ang="0">
                    <a:pos x="83" y="399"/>
                  </a:cxn>
                  <a:cxn ang="0">
                    <a:pos x="29" y="158"/>
                  </a:cxn>
                  <a:cxn ang="0">
                    <a:pos x="0" y="0"/>
                  </a:cxn>
                </a:cxnLst>
                <a:rect l="0" t="0" r="r" b="b"/>
                <a:pathLst>
                  <a:path w="97" h="931">
                    <a:moveTo>
                      <a:pt x="0" y="29"/>
                    </a:moveTo>
                    <a:cubicBezTo>
                      <a:pt x="33" y="79"/>
                      <a:pt x="3" y="174"/>
                      <a:pt x="12" y="235"/>
                    </a:cubicBezTo>
                    <a:cubicBezTo>
                      <a:pt x="23" y="307"/>
                      <a:pt x="19" y="379"/>
                      <a:pt x="30" y="450"/>
                    </a:cubicBezTo>
                    <a:cubicBezTo>
                      <a:pt x="41" y="525"/>
                      <a:pt x="24" y="593"/>
                      <a:pt x="18" y="666"/>
                    </a:cubicBezTo>
                    <a:cubicBezTo>
                      <a:pt x="15" y="694"/>
                      <a:pt x="7" y="748"/>
                      <a:pt x="12" y="771"/>
                    </a:cubicBezTo>
                    <a:cubicBezTo>
                      <a:pt x="20" y="804"/>
                      <a:pt x="76" y="906"/>
                      <a:pt x="94" y="931"/>
                    </a:cubicBezTo>
                    <a:cubicBezTo>
                      <a:pt x="97" y="875"/>
                      <a:pt x="93" y="728"/>
                      <a:pt x="94" y="666"/>
                    </a:cubicBezTo>
                    <a:cubicBezTo>
                      <a:pt x="95" y="576"/>
                      <a:pt x="90" y="487"/>
                      <a:pt x="83" y="399"/>
                    </a:cubicBezTo>
                    <a:cubicBezTo>
                      <a:pt x="75" y="317"/>
                      <a:pt x="42" y="239"/>
                      <a:pt x="29" y="158"/>
                    </a:cubicBezTo>
                    <a:cubicBezTo>
                      <a:pt x="20" y="97"/>
                      <a:pt x="25" y="55"/>
                      <a:pt x="0" y="0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1" name="Freeform 309"/>
              <p:cNvSpPr>
                <a:spLocks/>
              </p:cNvSpPr>
              <p:nvPr/>
            </p:nvSpPr>
            <p:spPr bwMode="gray">
              <a:xfrm>
                <a:off x="479425" y="13655676"/>
                <a:ext cx="1484313" cy="1492250"/>
              </a:xfrm>
              <a:custGeom>
                <a:avLst/>
                <a:gdLst/>
                <a:ahLst/>
                <a:cxnLst>
                  <a:cxn ang="0">
                    <a:pos x="330" y="55"/>
                  </a:cxn>
                  <a:cxn ang="0">
                    <a:pos x="318" y="109"/>
                  </a:cxn>
                  <a:cxn ang="0">
                    <a:pos x="108" y="33"/>
                  </a:cxn>
                  <a:cxn ang="0">
                    <a:pos x="209" y="113"/>
                  </a:cxn>
                  <a:cxn ang="0">
                    <a:pos x="243" y="164"/>
                  </a:cxn>
                  <a:cxn ang="0">
                    <a:pos x="287" y="214"/>
                  </a:cxn>
                  <a:cxn ang="0">
                    <a:pos x="221" y="219"/>
                  </a:cxn>
                  <a:cxn ang="0">
                    <a:pos x="256" y="289"/>
                  </a:cxn>
                  <a:cxn ang="0">
                    <a:pos x="170" y="329"/>
                  </a:cxn>
                  <a:cxn ang="0">
                    <a:pos x="0" y="398"/>
                  </a:cxn>
                  <a:cxn ang="0">
                    <a:pos x="194" y="344"/>
                  </a:cxn>
                  <a:cxn ang="0">
                    <a:pos x="314" y="351"/>
                  </a:cxn>
                  <a:cxn ang="0">
                    <a:pos x="396" y="370"/>
                  </a:cxn>
                  <a:cxn ang="0">
                    <a:pos x="357" y="238"/>
                  </a:cxn>
                  <a:cxn ang="0">
                    <a:pos x="330" y="98"/>
                  </a:cxn>
                </a:cxnLst>
                <a:rect l="0" t="0" r="r" b="b"/>
                <a:pathLst>
                  <a:path w="396" h="398">
                    <a:moveTo>
                      <a:pt x="330" y="55"/>
                    </a:moveTo>
                    <a:cubicBezTo>
                      <a:pt x="319" y="72"/>
                      <a:pt x="324" y="91"/>
                      <a:pt x="318" y="109"/>
                    </a:cubicBezTo>
                    <a:cubicBezTo>
                      <a:pt x="238" y="165"/>
                      <a:pt x="183" y="0"/>
                      <a:pt x="108" y="33"/>
                    </a:cubicBezTo>
                    <a:cubicBezTo>
                      <a:pt x="96" y="79"/>
                      <a:pt x="186" y="88"/>
                      <a:pt x="209" y="113"/>
                    </a:cubicBezTo>
                    <a:cubicBezTo>
                      <a:pt x="222" y="129"/>
                      <a:pt x="223" y="147"/>
                      <a:pt x="243" y="164"/>
                    </a:cubicBezTo>
                    <a:cubicBezTo>
                      <a:pt x="262" y="180"/>
                      <a:pt x="285" y="188"/>
                      <a:pt x="287" y="214"/>
                    </a:cubicBezTo>
                    <a:cubicBezTo>
                      <a:pt x="266" y="222"/>
                      <a:pt x="243" y="218"/>
                      <a:pt x="221" y="219"/>
                    </a:cubicBezTo>
                    <a:cubicBezTo>
                      <a:pt x="210" y="261"/>
                      <a:pt x="255" y="250"/>
                      <a:pt x="256" y="289"/>
                    </a:cubicBezTo>
                    <a:cubicBezTo>
                      <a:pt x="257" y="338"/>
                      <a:pt x="204" y="331"/>
                      <a:pt x="170" y="329"/>
                    </a:cubicBezTo>
                    <a:cubicBezTo>
                      <a:pt x="94" y="325"/>
                      <a:pt x="33" y="326"/>
                      <a:pt x="0" y="398"/>
                    </a:cubicBezTo>
                    <a:cubicBezTo>
                      <a:pt x="21" y="350"/>
                      <a:pt x="148" y="348"/>
                      <a:pt x="194" y="344"/>
                    </a:cubicBezTo>
                    <a:cubicBezTo>
                      <a:pt x="237" y="339"/>
                      <a:pt x="273" y="340"/>
                      <a:pt x="314" y="351"/>
                    </a:cubicBezTo>
                    <a:cubicBezTo>
                      <a:pt x="341" y="357"/>
                      <a:pt x="369" y="383"/>
                      <a:pt x="396" y="370"/>
                    </a:cubicBezTo>
                    <a:cubicBezTo>
                      <a:pt x="384" y="326"/>
                      <a:pt x="364" y="287"/>
                      <a:pt x="357" y="238"/>
                    </a:cubicBezTo>
                    <a:cubicBezTo>
                      <a:pt x="351" y="193"/>
                      <a:pt x="326" y="145"/>
                      <a:pt x="330" y="98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2" name="Freeform 310"/>
              <p:cNvSpPr>
                <a:spLocks/>
              </p:cNvSpPr>
              <p:nvPr/>
            </p:nvSpPr>
            <p:spPr bwMode="gray">
              <a:xfrm>
                <a:off x="-3533775" y="11672888"/>
                <a:ext cx="1027113" cy="1357313"/>
              </a:xfrm>
              <a:custGeom>
                <a:avLst/>
                <a:gdLst/>
                <a:ahLst/>
                <a:cxnLst>
                  <a:cxn ang="0">
                    <a:pos x="173" y="43"/>
                  </a:cxn>
                  <a:cxn ang="0">
                    <a:pos x="47" y="57"/>
                  </a:cxn>
                  <a:cxn ang="0">
                    <a:pos x="133" y="133"/>
                  </a:cxn>
                  <a:cxn ang="0">
                    <a:pos x="181" y="236"/>
                  </a:cxn>
                  <a:cxn ang="0">
                    <a:pos x="122" y="311"/>
                  </a:cxn>
                  <a:cxn ang="0">
                    <a:pos x="211" y="320"/>
                  </a:cxn>
                  <a:cxn ang="0">
                    <a:pos x="274" y="362"/>
                  </a:cxn>
                  <a:cxn ang="0">
                    <a:pos x="197" y="182"/>
                  </a:cxn>
                  <a:cxn ang="0">
                    <a:pos x="144" y="94"/>
                  </a:cxn>
                  <a:cxn ang="0">
                    <a:pos x="192" y="0"/>
                  </a:cxn>
                </a:cxnLst>
                <a:rect l="0" t="0" r="r" b="b"/>
                <a:pathLst>
                  <a:path w="274" h="362">
                    <a:moveTo>
                      <a:pt x="173" y="43"/>
                    </a:moveTo>
                    <a:cubicBezTo>
                      <a:pt x="131" y="91"/>
                      <a:pt x="76" y="24"/>
                      <a:pt x="47" y="57"/>
                    </a:cubicBezTo>
                    <a:cubicBezTo>
                      <a:pt x="0" y="111"/>
                      <a:pt x="107" y="119"/>
                      <a:pt x="133" y="133"/>
                    </a:cubicBezTo>
                    <a:cubicBezTo>
                      <a:pt x="142" y="171"/>
                      <a:pt x="169" y="200"/>
                      <a:pt x="181" y="236"/>
                    </a:cubicBezTo>
                    <a:cubicBezTo>
                      <a:pt x="206" y="307"/>
                      <a:pt x="107" y="248"/>
                      <a:pt x="122" y="311"/>
                    </a:cubicBezTo>
                    <a:cubicBezTo>
                      <a:pt x="156" y="316"/>
                      <a:pt x="179" y="302"/>
                      <a:pt x="211" y="320"/>
                    </a:cubicBezTo>
                    <a:cubicBezTo>
                      <a:pt x="235" y="334"/>
                      <a:pt x="245" y="354"/>
                      <a:pt x="274" y="362"/>
                    </a:cubicBezTo>
                    <a:cubicBezTo>
                      <a:pt x="232" y="335"/>
                      <a:pt x="223" y="229"/>
                      <a:pt x="197" y="182"/>
                    </a:cubicBezTo>
                    <a:cubicBezTo>
                      <a:pt x="181" y="153"/>
                      <a:pt x="150" y="128"/>
                      <a:pt x="144" y="94"/>
                    </a:cubicBezTo>
                    <a:cubicBezTo>
                      <a:pt x="136" y="43"/>
                      <a:pt x="186" y="43"/>
                      <a:pt x="192" y="0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3" name="Freeform 311"/>
              <p:cNvSpPr>
                <a:spLocks/>
              </p:cNvSpPr>
              <p:nvPr/>
            </p:nvSpPr>
            <p:spPr bwMode="gray">
              <a:xfrm>
                <a:off x="-2686050" y="10748963"/>
                <a:ext cx="685800" cy="747713"/>
              </a:xfrm>
              <a:custGeom>
                <a:avLst/>
                <a:gdLst/>
                <a:ahLst/>
                <a:cxnLst>
                  <a:cxn ang="0">
                    <a:pos x="180" y="199"/>
                  </a:cxn>
                  <a:cxn ang="0">
                    <a:pos x="162" y="77"/>
                  </a:cxn>
                  <a:cxn ang="0">
                    <a:pos x="76" y="28"/>
                  </a:cxn>
                  <a:cxn ang="0">
                    <a:pos x="28" y="94"/>
                  </a:cxn>
                  <a:cxn ang="0">
                    <a:pos x="2" y="175"/>
                  </a:cxn>
                  <a:cxn ang="0">
                    <a:pos x="20" y="148"/>
                  </a:cxn>
                  <a:cxn ang="0">
                    <a:pos x="52" y="125"/>
                  </a:cxn>
                  <a:cxn ang="0">
                    <a:pos x="114" y="78"/>
                  </a:cxn>
                  <a:cxn ang="0">
                    <a:pos x="180" y="191"/>
                  </a:cxn>
                </a:cxnLst>
                <a:rect l="0" t="0" r="r" b="b"/>
                <a:pathLst>
                  <a:path w="183" h="199">
                    <a:moveTo>
                      <a:pt x="180" y="199"/>
                    </a:moveTo>
                    <a:cubicBezTo>
                      <a:pt x="180" y="154"/>
                      <a:pt x="183" y="115"/>
                      <a:pt x="162" y="77"/>
                    </a:cubicBezTo>
                    <a:cubicBezTo>
                      <a:pt x="145" y="47"/>
                      <a:pt x="112" y="0"/>
                      <a:pt x="76" y="28"/>
                    </a:cubicBezTo>
                    <a:cubicBezTo>
                      <a:pt x="72" y="76"/>
                      <a:pt x="57" y="67"/>
                      <a:pt x="28" y="94"/>
                    </a:cubicBezTo>
                    <a:cubicBezTo>
                      <a:pt x="0" y="120"/>
                      <a:pt x="25" y="147"/>
                      <a:pt x="2" y="175"/>
                    </a:cubicBezTo>
                    <a:cubicBezTo>
                      <a:pt x="12" y="169"/>
                      <a:pt x="14" y="155"/>
                      <a:pt x="20" y="148"/>
                    </a:cubicBezTo>
                    <a:cubicBezTo>
                      <a:pt x="34" y="135"/>
                      <a:pt x="36" y="135"/>
                      <a:pt x="52" y="125"/>
                    </a:cubicBezTo>
                    <a:cubicBezTo>
                      <a:pt x="66" y="117"/>
                      <a:pt x="101" y="80"/>
                      <a:pt x="114" y="78"/>
                    </a:cubicBezTo>
                    <a:cubicBezTo>
                      <a:pt x="164" y="70"/>
                      <a:pt x="158" y="165"/>
                      <a:pt x="180" y="191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4" name="Freeform 312"/>
              <p:cNvSpPr>
                <a:spLocks/>
              </p:cNvSpPr>
              <p:nvPr/>
            </p:nvSpPr>
            <p:spPr bwMode="gray">
              <a:xfrm>
                <a:off x="-3184525" y="10048876"/>
                <a:ext cx="209550" cy="603250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34" y="89"/>
                  </a:cxn>
                  <a:cxn ang="0">
                    <a:pos x="10" y="155"/>
                  </a:cxn>
                  <a:cxn ang="0">
                    <a:pos x="21" y="78"/>
                  </a:cxn>
                </a:cxnLst>
                <a:rect l="0" t="0" r="r" b="b"/>
                <a:pathLst>
                  <a:path w="56" h="161">
                    <a:moveTo>
                      <a:pt x="56" y="0"/>
                    </a:moveTo>
                    <a:cubicBezTo>
                      <a:pt x="49" y="35"/>
                      <a:pt x="30" y="47"/>
                      <a:pt x="34" y="89"/>
                    </a:cubicBezTo>
                    <a:cubicBezTo>
                      <a:pt x="36" y="112"/>
                      <a:pt x="55" y="161"/>
                      <a:pt x="10" y="155"/>
                    </a:cubicBezTo>
                    <a:cubicBezTo>
                      <a:pt x="0" y="123"/>
                      <a:pt x="14" y="107"/>
                      <a:pt x="21" y="78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5" name="Freeform 313"/>
              <p:cNvSpPr>
                <a:spLocks/>
              </p:cNvSpPr>
              <p:nvPr/>
            </p:nvSpPr>
            <p:spPr bwMode="gray">
              <a:xfrm>
                <a:off x="2098675" y="12576176"/>
                <a:ext cx="338138" cy="584200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12" y="144"/>
                  </a:cxn>
                  <a:cxn ang="0">
                    <a:pos x="73" y="20"/>
                  </a:cxn>
                </a:cxnLst>
                <a:rect l="0" t="0" r="r" b="b"/>
                <a:pathLst>
                  <a:path w="90" h="156">
                    <a:moveTo>
                      <a:pt x="77" y="0"/>
                    </a:moveTo>
                    <a:cubicBezTo>
                      <a:pt x="90" y="55"/>
                      <a:pt x="0" y="75"/>
                      <a:pt x="12" y="144"/>
                    </a:cubicBezTo>
                    <a:cubicBezTo>
                      <a:pt x="69" y="156"/>
                      <a:pt x="57" y="50"/>
                      <a:pt x="73" y="20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6" name="Freeform 314"/>
              <p:cNvSpPr>
                <a:spLocks/>
              </p:cNvSpPr>
              <p:nvPr/>
            </p:nvSpPr>
            <p:spPr bwMode="gray">
              <a:xfrm>
                <a:off x="-2006600" y="11877676"/>
                <a:ext cx="688975" cy="1328738"/>
              </a:xfrm>
              <a:custGeom>
                <a:avLst/>
                <a:gdLst/>
                <a:ahLst/>
                <a:cxnLst>
                  <a:cxn ang="0">
                    <a:pos x="46" y="323"/>
                  </a:cxn>
                  <a:cxn ang="0">
                    <a:pos x="81" y="249"/>
                  </a:cxn>
                  <a:cxn ang="0">
                    <a:pos x="166" y="244"/>
                  </a:cxn>
                  <a:cxn ang="0">
                    <a:pos x="74" y="139"/>
                  </a:cxn>
                  <a:cxn ang="0">
                    <a:pos x="0" y="0"/>
                  </a:cxn>
                  <a:cxn ang="0">
                    <a:pos x="30" y="85"/>
                  </a:cxn>
                  <a:cxn ang="0">
                    <a:pos x="49" y="179"/>
                  </a:cxn>
                  <a:cxn ang="0">
                    <a:pos x="50" y="272"/>
                  </a:cxn>
                  <a:cxn ang="0">
                    <a:pos x="50" y="354"/>
                  </a:cxn>
                </a:cxnLst>
                <a:rect l="0" t="0" r="r" b="b"/>
                <a:pathLst>
                  <a:path w="184" h="354">
                    <a:moveTo>
                      <a:pt x="46" y="323"/>
                    </a:moveTo>
                    <a:cubicBezTo>
                      <a:pt x="53" y="297"/>
                      <a:pt x="55" y="264"/>
                      <a:pt x="81" y="249"/>
                    </a:cubicBezTo>
                    <a:cubicBezTo>
                      <a:pt x="108" y="232"/>
                      <a:pt x="137" y="249"/>
                      <a:pt x="166" y="244"/>
                    </a:cubicBezTo>
                    <a:cubicBezTo>
                      <a:pt x="184" y="213"/>
                      <a:pt x="93" y="159"/>
                      <a:pt x="74" y="139"/>
                    </a:cubicBezTo>
                    <a:cubicBezTo>
                      <a:pt x="48" y="109"/>
                      <a:pt x="33" y="11"/>
                      <a:pt x="0" y="0"/>
                    </a:cubicBezTo>
                    <a:cubicBezTo>
                      <a:pt x="1" y="28"/>
                      <a:pt x="21" y="59"/>
                      <a:pt x="30" y="85"/>
                    </a:cubicBezTo>
                    <a:cubicBezTo>
                      <a:pt x="41" y="115"/>
                      <a:pt x="43" y="150"/>
                      <a:pt x="49" y="179"/>
                    </a:cubicBezTo>
                    <a:cubicBezTo>
                      <a:pt x="56" y="213"/>
                      <a:pt x="59" y="237"/>
                      <a:pt x="50" y="272"/>
                    </a:cubicBezTo>
                    <a:cubicBezTo>
                      <a:pt x="44" y="296"/>
                      <a:pt x="23" y="334"/>
                      <a:pt x="50" y="354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7" name="Freeform 315"/>
              <p:cNvSpPr>
                <a:spLocks/>
              </p:cNvSpPr>
              <p:nvPr/>
            </p:nvSpPr>
            <p:spPr bwMode="gray">
              <a:xfrm>
                <a:off x="1614487" y="9932988"/>
                <a:ext cx="654050" cy="1104900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79" y="98"/>
                  </a:cxn>
                  <a:cxn ang="0">
                    <a:pos x="20" y="175"/>
                  </a:cxn>
                  <a:cxn ang="0">
                    <a:pos x="109" y="179"/>
                  </a:cxn>
                  <a:cxn ang="0">
                    <a:pos x="74" y="238"/>
                  </a:cxn>
                  <a:cxn ang="0">
                    <a:pos x="82" y="288"/>
                  </a:cxn>
                  <a:cxn ang="0">
                    <a:pos x="136" y="8"/>
                  </a:cxn>
                </a:cxnLst>
                <a:rect l="0" t="0" r="r" b="b"/>
                <a:pathLst>
                  <a:path w="174" h="295">
                    <a:moveTo>
                      <a:pt x="128" y="0"/>
                    </a:moveTo>
                    <a:cubicBezTo>
                      <a:pt x="134" y="41"/>
                      <a:pt x="105" y="72"/>
                      <a:pt x="79" y="98"/>
                    </a:cubicBezTo>
                    <a:cubicBezTo>
                      <a:pt x="60" y="117"/>
                      <a:pt x="0" y="144"/>
                      <a:pt x="20" y="175"/>
                    </a:cubicBezTo>
                    <a:cubicBezTo>
                      <a:pt x="45" y="214"/>
                      <a:pt x="99" y="149"/>
                      <a:pt x="109" y="179"/>
                    </a:cubicBezTo>
                    <a:cubicBezTo>
                      <a:pt x="115" y="197"/>
                      <a:pt x="77" y="221"/>
                      <a:pt x="74" y="238"/>
                    </a:cubicBezTo>
                    <a:cubicBezTo>
                      <a:pt x="72" y="248"/>
                      <a:pt x="83" y="273"/>
                      <a:pt x="82" y="288"/>
                    </a:cubicBezTo>
                    <a:cubicBezTo>
                      <a:pt x="174" y="295"/>
                      <a:pt x="147" y="64"/>
                      <a:pt x="136" y="8"/>
                    </a:cubicBezTo>
                  </a:path>
                </a:pathLst>
              </a:custGeom>
              <a:solidFill>
                <a:srgbClr val="0D121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8" name="Freeform 316"/>
              <p:cNvSpPr>
                <a:spLocks/>
              </p:cNvSpPr>
              <p:nvPr/>
            </p:nvSpPr>
            <p:spPr bwMode="gray">
              <a:xfrm>
                <a:off x="-1208088" y="6396038"/>
                <a:ext cx="584200" cy="2230438"/>
              </a:xfrm>
              <a:custGeom>
                <a:avLst/>
                <a:gdLst/>
                <a:ahLst/>
                <a:cxnLst>
                  <a:cxn ang="0">
                    <a:pos x="98" y="68"/>
                  </a:cxn>
                  <a:cxn ang="0">
                    <a:pos x="66" y="108"/>
                  </a:cxn>
                  <a:cxn ang="0">
                    <a:pos x="55" y="169"/>
                  </a:cxn>
                  <a:cxn ang="0">
                    <a:pos x="75" y="304"/>
                  </a:cxn>
                  <a:cxn ang="0">
                    <a:pos x="107" y="414"/>
                  </a:cxn>
                  <a:cxn ang="0">
                    <a:pos x="116" y="472"/>
                  </a:cxn>
                  <a:cxn ang="0">
                    <a:pos x="108" y="530"/>
                  </a:cxn>
                  <a:cxn ang="0">
                    <a:pos x="119" y="561"/>
                  </a:cxn>
                  <a:cxn ang="0">
                    <a:pos x="123" y="595"/>
                  </a:cxn>
                  <a:cxn ang="0">
                    <a:pos x="66" y="384"/>
                  </a:cxn>
                  <a:cxn ang="0">
                    <a:pos x="47" y="296"/>
                  </a:cxn>
                  <a:cxn ang="0">
                    <a:pos x="41" y="197"/>
                  </a:cxn>
                  <a:cxn ang="0">
                    <a:pos x="8" y="267"/>
                  </a:cxn>
                  <a:cxn ang="0">
                    <a:pos x="18" y="344"/>
                  </a:cxn>
                  <a:cxn ang="0">
                    <a:pos x="1" y="212"/>
                  </a:cxn>
                  <a:cxn ang="0">
                    <a:pos x="37" y="108"/>
                  </a:cxn>
                  <a:cxn ang="0">
                    <a:pos x="40" y="123"/>
                  </a:cxn>
                  <a:cxn ang="0">
                    <a:pos x="57" y="86"/>
                  </a:cxn>
                  <a:cxn ang="0">
                    <a:pos x="84" y="50"/>
                  </a:cxn>
                  <a:cxn ang="0">
                    <a:pos x="118" y="16"/>
                  </a:cxn>
                  <a:cxn ang="0">
                    <a:pos x="156" y="0"/>
                  </a:cxn>
                  <a:cxn ang="0">
                    <a:pos x="77" y="107"/>
                  </a:cxn>
                </a:cxnLst>
                <a:rect l="0" t="0" r="r" b="b"/>
                <a:pathLst>
                  <a:path w="156" h="595">
                    <a:moveTo>
                      <a:pt x="98" y="68"/>
                    </a:moveTo>
                    <a:cubicBezTo>
                      <a:pt x="93" y="84"/>
                      <a:pt x="74" y="93"/>
                      <a:pt x="66" y="108"/>
                    </a:cubicBezTo>
                    <a:cubicBezTo>
                      <a:pt x="54" y="127"/>
                      <a:pt x="54" y="147"/>
                      <a:pt x="55" y="169"/>
                    </a:cubicBezTo>
                    <a:cubicBezTo>
                      <a:pt x="57" y="215"/>
                      <a:pt x="72" y="259"/>
                      <a:pt x="75" y="304"/>
                    </a:cubicBezTo>
                    <a:cubicBezTo>
                      <a:pt x="77" y="343"/>
                      <a:pt x="94" y="379"/>
                      <a:pt x="107" y="414"/>
                    </a:cubicBezTo>
                    <a:cubicBezTo>
                      <a:pt x="113" y="431"/>
                      <a:pt x="118" y="452"/>
                      <a:pt x="116" y="472"/>
                    </a:cubicBezTo>
                    <a:cubicBezTo>
                      <a:pt x="113" y="491"/>
                      <a:pt x="104" y="509"/>
                      <a:pt x="108" y="530"/>
                    </a:cubicBezTo>
                    <a:cubicBezTo>
                      <a:pt x="110" y="540"/>
                      <a:pt x="117" y="550"/>
                      <a:pt x="119" y="561"/>
                    </a:cubicBezTo>
                    <a:cubicBezTo>
                      <a:pt x="122" y="572"/>
                      <a:pt x="120" y="584"/>
                      <a:pt x="123" y="595"/>
                    </a:cubicBezTo>
                    <a:cubicBezTo>
                      <a:pt x="121" y="524"/>
                      <a:pt x="92" y="450"/>
                      <a:pt x="66" y="384"/>
                    </a:cubicBezTo>
                    <a:cubicBezTo>
                      <a:pt x="55" y="353"/>
                      <a:pt x="49" y="330"/>
                      <a:pt x="47" y="296"/>
                    </a:cubicBezTo>
                    <a:cubicBezTo>
                      <a:pt x="46" y="262"/>
                      <a:pt x="46" y="230"/>
                      <a:pt x="41" y="197"/>
                    </a:cubicBezTo>
                    <a:cubicBezTo>
                      <a:pt x="28" y="213"/>
                      <a:pt x="12" y="245"/>
                      <a:pt x="8" y="267"/>
                    </a:cubicBezTo>
                    <a:cubicBezTo>
                      <a:pt x="4" y="295"/>
                      <a:pt x="22" y="318"/>
                      <a:pt x="18" y="344"/>
                    </a:cubicBezTo>
                    <a:cubicBezTo>
                      <a:pt x="2" y="306"/>
                      <a:pt x="1" y="253"/>
                      <a:pt x="1" y="212"/>
                    </a:cubicBezTo>
                    <a:cubicBezTo>
                      <a:pt x="0" y="180"/>
                      <a:pt x="16" y="132"/>
                      <a:pt x="37" y="108"/>
                    </a:cubicBezTo>
                    <a:cubicBezTo>
                      <a:pt x="37" y="113"/>
                      <a:pt x="40" y="117"/>
                      <a:pt x="40" y="123"/>
                    </a:cubicBezTo>
                    <a:cubicBezTo>
                      <a:pt x="46" y="113"/>
                      <a:pt x="50" y="96"/>
                      <a:pt x="57" y="86"/>
                    </a:cubicBezTo>
                    <a:cubicBezTo>
                      <a:pt x="66" y="73"/>
                      <a:pt x="76" y="63"/>
                      <a:pt x="84" y="50"/>
                    </a:cubicBezTo>
                    <a:cubicBezTo>
                      <a:pt x="94" y="34"/>
                      <a:pt x="102" y="25"/>
                      <a:pt x="118" y="16"/>
                    </a:cubicBezTo>
                    <a:cubicBezTo>
                      <a:pt x="129" y="9"/>
                      <a:pt x="144" y="8"/>
                      <a:pt x="156" y="0"/>
                    </a:cubicBezTo>
                    <a:cubicBezTo>
                      <a:pt x="129" y="36"/>
                      <a:pt x="96" y="70"/>
                      <a:pt x="77" y="107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69" name="Freeform 317"/>
              <p:cNvSpPr>
                <a:spLocks/>
              </p:cNvSpPr>
              <p:nvPr/>
            </p:nvSpPr>
            <p:spPr bwMode="gray">
              <a:xfrm>
                <a:off x="-1208088" y="6396038"/>
                <a:ext cx="584200" cy="2230438"/>
              </a:xfrm>
              <a:custGeom>
                <a:avLst/>
                <a:gdLst/>
                <a:ahLst/>
                <a:cxnLst>
                  <a:cxn ang="0">
                    <a:pos x="98" y="68"/>
                  </a:cxn>
                  <a:cxn ang="0">
                    <a:pos x="66" y="108"/>
                  </a:cxn>
                  <a:cxn ang="0">
                    <a:pos x="55" y="169"/>
                  </a:cxn>
                  <a:cxn ang="0">
                    <a:pos x="75" y="304"/>
                  </a:cxn>
                  <a:cxn ang="0">
                    <a:pos x="107" y="414"/>
                  </a:cxn>
                  <a:cxn ang="0">
                    <a:pos x="116" y="472"/>
                  </a:cxn>
                  <a:cxn ang="0">
                    <a:pos x="108" y="530"/>
                  </a:cxn>
                  <a:cxn ang="0">
                    <a:pos x="119" y="561"/>
                  </a:cxn>
                  <a:cxn ang="0">
                    <a:pos x="123" y="595"/>
                  </a:cxn>
                  <a:cxn ang="0">
                    <a:pos x="66" y="384"/>
                  </a:cxn>
                  <a:cxn ang="0">
                    <a:pos x="47" y="296"/>
                  </a:cxn>
                  <a:cxn ang="0">
                    <a:pos x="41" y="197"/>
                  </a:cxn>
                  <a:cxn ang="0">
                    <a:pos x="8" y="267"/>
                  </a:cxn>
                  <a:cxn ang="0">
                    <a:pos x="18" y="344"/>
                  </a:cxn>
                  <a:cxn ang="0">
                    <a:pos x="1" y="212"/>
                  </a:cxn>
                  <a:cxn ang="0">
                    <a:pos x="37" y="108"/>
                  </a:cxn>
                  <a:cxn ang="0">
                    <a:pos x="40" y="123"/>
                  </a:cxn>
                  <a:cxn ang="0">
                    <a:pos x="57" y="86"/>
                  </a:cxn>
                  <a:cxn ang="0">
                    <a:pos x="84" y="50"/>
                  </a:cxn>
                  <a:cxn ang="0">
                    <a:pos x="118" y="16"/>
                  </a:cxn>
                  <a:cxn ang="0">
                    <a:pos x="156" y="0"/>
                  </a:cxn>
                  <a:cxn ang="0">
                    <a:pos x="77" y="107"/>
                  </a:cxn>
                </a:cxnLst>
                <a:rect l="0" t="0" r="r" b="b"/>
                <a:pathLst>
                  <a:path w="156" h="595">
                    <a:moveTo>
                      <a:pt x="98" y="68"/>
                    </a:moveTo>
                    <a:cubicBezTo>
                      <a:pt x="93" y="84"/>
                      <a:pt x="74" y="93"/>
                      <a:pt x="66" y="108"/>
                    </a:cubicBezTo>
                    <a:cubicBezTo>
                      <a:pt x="54" y="127"/>
                      <a:pt x="54" y="147"/>
                      <a:pt x="55" y="169"/>
                    </a:cubicBezTo>
                    <a:cubicBezTo>
                      <a:pt x="57" y="215"/>
                      <a:pt x="72" y="259"/>
                      <a:pt x="75" y="304"/>
                    </a:cubicBezTo>
                    <a:cubicBezTo>
                      <a:pt x="77" y="343"/>
                      <a:pt x="94" y="379"/>
                      <a:pt x="107" y="414"/>
                    </a:cubicBezTo>
                    <a:cubicBezTo>
                      <a:pt x="113" y="431"/>
                      <a:pt x="118" y="452"/>
                      <a:pt x="116" y="472"/>
                    </a:cubicBezTo>
                    <a:cubicBezTo>
                      <a:pt x="113" y="491"/>
                      <a:pt x="104" y="509"/>
                      <a:pt x="108" y="530"/>
                    </a:cubicBezTo>
                    <a:cubicBezTo>
                      <a:pt x="110" y="540"/>
                      <a:pt x="117" y="550"/>
                      <a:pt x="119" y="561"/>
                    </a:cubicBezTo>
                    <a:cubicBezTo>
                      <a:pt x="122" y="572"/>
                      <a:pt x="120" y="584"/>
                      <a:pt x="123" y="595"/>
                    </a:cubicBezTo>
                    <a:cubicBezTo>
                      <a:pt x="121" y="524"/>
                      <a:pt x="92" y="450"/>
                      <a:pt x="66" y="384"/>
                    </a:cubicBezTo>
                    <a:cubicBezTo>
                      <a:pt x="55" y="353"/>
                      <a:pt x="49" y="330"/>
                      <a:pt x="47" y="296"/>
                    </a:cubicBezTo>
                    <a:cubicBezTo>
                      <a:pt x="46" y="262"/>
                      <a:pt x="46" y="230"/>
                      <a:pt x="41" y="197"/>
                    </a:cubicBezTo>
                    <a:cubicBezTo>
                      <a:pt x="28" y="213"/>
                      <a:pt x="12" y="245"/>
                      <a:pt x="8" y="267"/>
                    </a:cubicBezTo>
                    <a:cubicBezTo>
                      <a:pt x="4" y="295"/>
                      <a:pt x="22" y="318"/>
                      <a:pt x="18" y="344"/>
                    </a:cubicBezTo>
                    <a:cubicBezTo>
                      <a:pt x="2" y="306"/>
                      <a:pt x="1" y="253"/>
                      <a:pt x="1" y="212"/>
                    </a:cubicBezTo>
                    <a:cubicBezTo>
                      <a:pt x="0" y="180"/>
                      <a:pt x="16" y="132"/>
                      <a:pt x="37" y="108"/>
                    </a:cubicBezTo>
                    <a:cubicBezTo>
                      <a:pt x="37" y="113"/>
                      <a:pt x="40" y="117"/>
                      <a:pt x="40" y="123"/>
                    </a:cubicBezTo>
                    <a:cubicBezTo>
                      <a:pt x="46" y="113"/>
                      <a:pt x="50" y="96"/>
                      <a:pt x="57" y="86"/>
                    </a:cubicBezTo>
                    <a:cubicBezTo>
                      <a:pt x="66" y="73"/>
                      <a:pt x="76" y="63"/>
                      <a:pt x="84" y="50"/>
                    </a:cubicBezTo>
                    <a:cubicBezTo>
                      <a:pt x="94" y="34"/>
                      <a:pt x="102" y="25"/>
                      <a:pt x="118" y="16"/>
                    </a:cubicBezTo>
                    <a:cubicBezTo>
                      <a:pt x="129" y="9"/>
                      <a:pt x="144" y="8"/>
                      <a:pt x="156" y="0"/>
                    </a:cubicBezTo>
                    <a:cubicBezTo>
                      <a:pt x="129" y="36"/>
                      <a:pt x="96" y="70"/>
                      <a:pt x="77" y="107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0" name="Freeform 318"/>
              <p:cNvSpPr>
                <a:spLocks/>
              </p:cNvSpPr>
              <p:nvPr/>
            </p:nvSpPr>
            <p:spPr bwMode="gray">
              <a:xfrm>
                <a:off x="-1841500" y="7648576"/>
                <a:ext cx="730250" cy="1177925"/>
              </a:xfrm>
              <a:custGeom>
                <a:avLst/>
                <a:gdLst/>
                <a:ahLst/>
                <a:cxnLst>
                  <a:cxn ang="0">
                    <a:pos x="0" y="229"/>
                  </a:cxn>
                  <a:cxn ang="0">
                    <a:pos x="8" y="266"/>
                  </a:cxn>
                  <a:cxn ang="0">
                    <a:pos x="30" y="295"/>
                  </a:cxn>
                  <a:cxn ang="0">
                    <a:pos x="173" y="221"/>
                  </a:cxn>
                  <a:cxn ang="0">
                    <a:pos x="189" y="109"/>
                  </a:cxn>
                  <a:cxn ang="0">
                    <a:pos x="170" y="54"/>
                  </a:cxn>
                  <a:cxn ang="0">
                    <a:pos x="168" y="0"/>
                  </a:cxn>
                  <a:cxn ang="0">
                    <a:pos x="170" y="69"/>
                  </a:cxn>
                  <a:cxn ang="0">
                    <a:pos x="164" y="148"/>
                  </a:cxn>
                  <a:cxn ang="0">
                    <a:pos x="152" y="60"/>
                  </a:cxn>
                  <a:cxn ang="0">
                    <a:pos x="142" y="151"/>
                  </a:cxn>
                  <a:cxn ang="0">
                    <a:pos x="126" y="233"/>
                  </a:cxn>
                  <a:cxn ang="0">
                    <a:pos x="55" y="282"/>
                  </a:cxn>
                  <a:cxn ang="0">
                    <a:pos x="6" y="227"/>
                  </a:cxn>
                </a:cxnLst>
                <a:rect l="0" t="0" r="r" b="b"/>
                <a:pathLst>
                  <a:path w="195" h="314">
                    <a:moveTo>
                      <a:pt x="0" y="229"/>
                    </a:moveTo>
                    <a:cubicBezTo>
                      <a:pt x="2" y="238"/>
                      <a:pt x="4" y="256"/>
                      <a:pt x="8" y="266"/>
                    </a:cubicBezTo>
                    <a:cubicBezTo>
                      <a:pt x="13" y="277"/>
                      <a:pt x="25" y="283"/>
                      <a:pt x="30" y="295"/>
                    </a:cubicBezTo>
                    <a:cubicBezTo>
                      <a:pt x="87" y="314"/>
                      <a:pt x="154" y="274"/>
                      <a:pt x="173" y="221"/>
                    </a:cubicBezTo>
                    <a:cubicBezTo>
                      <a:pt x="184" y="193"/>
                      <a:pt x="195" y="140"/>
                      <a:pt x="189" y="109"/>
                    </a:cubicBezTo>
                    <a:cubicBezTo>
                      <a:pt x="186" y="90"/>
                      <a:pt x="173" y="72"/>
                      <a:pt x="170" y="54"/>
                    </a:cubicBezTo>
                    <a:cubicBezTo>
                      <a:pt x="166" y="36"/>
                      <a:pt x="168" y="18"/>
                      <a:pt x="168" y="0"/>
                    </a:cubicBezTo>
                    <a:cubicBezTo>
                      <a:pt x="168" y="24"/>
                      <a:pt x="171" y="48"/>
                      <a:pt x="170" y="69"/>
                    </a:cubicBezTo>
                    <a:cubicBezTo>
                      <a:pt x="168" y="95"/>
                      <a:pt x="163" y="121"/>
                      <a:pt x="164" y="148"/>
                    </a:cubicBezTo>
                    <a:cubicBezTo>
                      <a:pt x="146" y="127"/>
                      <a:pt x="152" y="86"/>
                      <a:pt x="152" y="60"/>
                    </a:cubicBezTo>
                    <a:cubicBezTo>
                      <a:pt x="145" y="89"/>
                      <a:pt x="142" y="120"/>
                      <a:pt x="142" y="151"/>
                    </a:cubicBezTo>
                    <a:cubicBezTo>
                      <a:pt x="142" y="182"/>
                      <a:pt x="146" y="211"/>
                      <a:pt x="126" y="233"/>
                    </a:cubicBezTo>
                    <a:cubicBezTo>
                      <a:pt x="106" y="255"/>
                      <a:pt x="87" y="277"/>
                      <a:pt x="55" y="282"/>
                    </a:cubicBezTo>
                    <a:cubicBezTo>
                      <a:pt x="23" y="286"/>
                      <a:pt x="9" y="252"/>
                      <a:pt x="6" y="227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1" name="Freeform 319"/>
              <p:cNvSpPr>
                <a:spLocks/>
              </p:cNvSpPr>
              <p:nvPr/>
            </p:nvSpPr>
            <p:spPr bwMode="gray">
              <a:xfrm>
                <a:off x="-1841500" y="7648576"/>
                <a:ext cx="730250" cy="1177925"/>
              </a:xfrm>
              <a:custGeom>
                <a:avLst/>
                <a:gdLst/>
                <a:ahLst/>
                <a:cxnLst>
                  <a:cxn ang="0">
                    <a:pos x="0" y="229"/>
                  </a:cxn>
                  <a:cxn ang="0">
                    <a:pos x="8" y="266"/>
                  </a:cxn>
                  <a:cxn ang="0">
                    <a:pos x="30" y="295"/>
                  </a:cxn>
                  <a:cxn ang="0">
                    <a:pos x="173" y="221"/>
                  </a:cxn>
                  <a:cxn ang="0">
                    <a:pos x="189" y="109"/>
                  </a:cxn>
                  <a:cxn ang="0">
                    <a:pos x="170" y="54"/>
                  </a:cxn>
                  <a:cxn ang="0">
                    <a:pos x="168" y="0"/>
                  </a:cxn>
                  <a:cxn ang="0">
                    <a:pos x="170" y="69"/>
                  </a:cxn>
                  <a:cxn ang="0">
                    <a:pos x="164" y="148"/>
                  </a:cxn>
                  <a:cxn ang="0">
                    <a:pos x="152" y="60"/>
                  </a:cxn>
                  <a:cxn ang="0">
                    <a:pos x="142" y="151"/>
                  </a:cxn>
                  <a:cxn ang="0">
                    <a:pos x="126" y="233"/>
                  </a:cxn>
                  <a:cxn ang="0">
                    <a:pos x="55" y="282"/>
                  </a:cxn>
                  <a:cxn ang="0">
                    <a:pos x="6" y="227"/>
                  </a:cxn>
                </a:cxnLst>
                <a:rect l="0" t="0" r="r" b="b"/>
                <a:pathLst>
                  <a:path w="195" h="314">
                    <a:moveTo>
                      <a:pt x="0" y="229"/>
                    </a:moveTo>
                    <a:cubicBezTo>
                      <a:pt x="2" y="238"/>
                      <a:pt x="4" y="256"/>
                      <a:pt x="8" y="266"/>
                    </a:cubicBezTo>
                    <a:cubicBezTo>
                      <a:pt x="13" y="277"/>
                      <a:pt x="25" y="283"/>
                      <a:pt x="30" y="295"/>
                    </a:cubicBezTo>
                    <a:cubicBezTo>
                      <a:pt x="87" y="314"/>
                      <a:pt x="154" y="274"/>
                      <a:pt x="173" y="221"/>
                    </a:cubicBezTo>
                    <a:cubicBezTo>
                      <a:pt x="184" y="193"/>
                      <a:pt x="195" y="140"/>
                      <a:pt x="189" y="109"/>
                    </a:cubicBezTo>
                    <a:cubicBezTo>
                      <a:pt x="186" y="90"/>
                      <a:pt x="173" y="72"/>
                      <a:pt x="170" y="54"/>
                    </a:cubicBezTo>
                    <a:cubicBezTo>
                      <a:pt x="166" y="36"/>
                      <a:pt x="168" y="18"/>
                      <a:pt x="168" y="0"/>
                    </a:cubicBezTo>
                    <a:cubicBezTo>
                      <a:pt x="168" y="24"/>
                      <a:pt x="171" y="48"/>
                      <a:pt x="170" y="69"/>
                    </a:cubicBezTo>
                    <a:cubicBezTo>
                      <a:pt x="168" y="95"/>
                      <a:pt x="163" y="121"/>
                      <a:pt x="164" y="148"/>
                    </a:cubicBezTo>
                    <a:cubicBezTo>
                      <a:pt x="146" y="127"/>
                      <a:pt x="152" y="86"/>
                      <a:pt x="152" y="60"/>
                    </a:cubicBezTo>
                    <a:cubicBezTo>
                      <a:pt x="145" y="89"/>
                      <a:pt x="142" y="120"/>
                      <a:pt x="142" y="151"/>
                    </a:cubicBezTo>
                    <a:cubicBezTo>
                      <a:pt x="142" y="182"/>
                      <a:pt x="146" y="211"/>
                      <a:pt x="126" y="233"/>
                    </a:cubicBezTo>
                    <a:cubicBezTo>
                      <a:pt x="106" y="255"/>
                      <a:pt x="87" y="277"/>
                      <a:pt x="55" y="282"/>
                    </a:cubicBezTo>
                    <a:cubicBezTo>
                      <a:pt x="23" y="286"/>
                      <a:pt x="9" y="252"/>
                      <a:pt x="6" y="227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2" name="Freeform 320"/>
              <p:cNvSpPr>
                <a:spLocks/>
              </p:cNvSpPr>
              <p:nvPr/>
            </p:nvSpPr>
            <p:spPr bwMode="gray">
              <a:xfrm>
                <a:off x="-2127250" y="8799513"/>
                <a:ext cx="446088" cy="18415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7"/>
                  </a:cxn>
                  <a:cxn ang="0">
                    <a:pos x="119" y="2"/>
                  </a:cxn>
                  <a:cxn ang="0">
                    <a:pos x="59" y="23"/>
                  </a:cxn>
                  <a:cxn ang="0">
                    <a:pos x="0" y="6"/>
                  </a:cxn>
                </a:cxnLst>
                <a:rect l="0" t="0" r="r" b="b"/>
                <a:pathLst>
                  <a:path w="119" h="49">
                    <a:moveTo>
                      <a:pt x="0" y="10"/>
                    </a:moveTo>
                    <a:cubicBezTo>
                      <a:pt x="0" y="12"/>
                      <a:pt x="0" y="15"/>
                      <a:pt x="0" y="17"/>
                    </a:cubicBezTo>
                    <a:cubicBezTo>
                      <a:pt x="40" y="33"/>
                      <a:pt x="93" y="49"/>
                      <a:pt x="119" y="2"/>
                    </a:cubicBezTo>
                    <a:cubicBezTo>
                      <a:pt x="91" y="0"/>
                      <a:pt x="82" y="16"/>
                      <a:pt x="59" y="23"/>
                    </a:cubicBezTo>
                    <a:cubicBezTo>
                      <a:pt x="29" y="33"/>
                      <a:pt x="26" y="6"/>
                      <a:pt x="0" y="6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3" name="Freeform 321"/>
              <p:cNvSpPr>
                <a:spLocks/>
              </p:cNvSpPr>
              <p:nvPr/>
            </p:nvSpPr>
            <p:spPr bwMode="gray">
              <a:xfrm>
                <a:off x="-2127250" y="8799513"/>
                <a:ext cx="446088" cy="18415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7"/>
                  </a:cxn>
                  <a:cxn ang="0">
                    <a:pos x="119" y="2"/>
                  </a:cxn>
                  <a:cxn ang="0">
                    <a:pos x="59" y="23"/>
                  </a:cxn>
                  <a:cxn ang="0">
                    <a:pos x="0" y="6"/>
                  </a:cxn>
                </a:cxnLst>
                <a:rect l="0" t="0" r="r" b="b"/>
                <a:pathLst>
                  <a:path w="119" h="49">
                    <a:moveTo>
                      <a:pt x="0" y="10"/>
                    </a:moveTo>
                    <a:cubicBezTo>
                      <a:pt x="0" y="12"/>
                      <a:pt x="0" y="15"/>
                      <a:pt x="0" y="17"/>
                    </a:cubicBezTo>
                    <a:cubicBezTo>
                      <a:pt x="40" y="33"/>
                      <a:pt x="93" y="49"/>
                      <a:pt x="119" y="2"/>
                    </a:cubicBezTo>
                    <a:cubicBezTo>
                      <a:pt x="91" y="0"/>
                      <a:pt x="82" y="16"/>
                      <a:pt x="59" y="23"/>
                    </a:cubicBezTo>
                    <a:cubicBezTo>
                      <a:pt x="29" y="33"/>
                      <a:pt x="26" y="6"/>
                      <a:pt x="0" y="6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4" name="Freeform 322"/>
              <p:cNvSpPr>
                <a:spLocks/>
              </p:cNvSpPr>
              <p:nvPr/>
            </p:nvSpPr>
            <p:spPr bwMode="gray">
              <a:xfrm>
                <a:off x="-1103313" y="8147051"/>
                <a:ext cx="173038" cy="558800"/>
              </a:xfrm>
              <a:custGeom>
                <a:avLst/>
                <a:gdLst/>
                <a:ahLst/>
                <a:cxnLst>
                  <a:cxn ang="0">
                    <a:pos x="2" y="149"/>
                  </a:cxn>
                  <a:cxn ang="0">
                    <a:pos x="31" y="0"/>
                  </a:cxn>
                  <a:cxn ang="0">
                    <a:pos x="43" y="90"/>
                  </a:cxn>
                  <a:cxn ang="0">
                    <a:pos x="0" y="149"/>
                  </a:cxn>
                </a:cxnLst>
                <a:rect l="0" t="0" r="r" b="b"/>
                <a:pathLst>
                  <a:path w="46" h="149">
                    <a:moveTo>
                      <a:pt x="2" y="149"/>
                    </a:moveTo>
                    <a:cubicBezTo>
                      <a:pt x="44" y="125"/>
                      <a:pt x="31" y="38"/>
                      <a:pt x="31" y="0"/>
                    </a:cubicBezTo>
                    <a:cubicBezTo>
                      <a:pt x="30" y="32"/>
                      <a:pt x="41" y="59"/>
                      <a:pt x="43" y="90"/>
                    </a:cubicBezTo>
                    <a:cubicBezTo>
                      <a:pt x="46" y="121"/>
                      <a:pt x="26" y="137"/>
                      <a:pt x="0" y="149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5" name="Freeform 323"/>
              <p:cNvSpPr>
                <a:spLocks/>
              </p:cNvSpPr>
              <p:nvPr/>
            </p:nvSpPr>
            <p:spPr bwMode="gray">
              <a:xfrm>
                <a:off x="-1103313" y="8147051"/>
                <a:ext cx="173038" cy="558800"/>
              </a:xfrm>
              <a:custGeom>
                <a:avLst/>
                <a:gdLst/>
                <a:ahLst/>
                <a:cxnLst>
                  <a:cxn ang="0">
                    <a:pos x="2" y="149"/>
                  </a:cxn>
                  <a:cxn ang="0">
                    <a:pos x="31" y="0"/>
                  </a:cxn>
                  <a:cxn ang="0">
                    <a:pos x="43" y="90"/>
                  </a:cxn>
                  <a:cxn ang="0">
                    <a:pos x="0" y="149"/>
                  </a:cxn>
                </a:cxnLst>
                <a:rect l="0" t="0" r="r" b="b"/>
                <a:pathLst>
                  <a:path w="46" h="149">
                    <a:moveTo>
                      <a:pt x="2" y="149"/>
                    </a:moveTo>
                    <a:cubicBezTo>
                      <a:pt x="44" y="125"/>
                      <a:pt x="31" y="38"/>
                      <a:pt x="31" y="0"/>
                    </a:cubicBezTo>
                    <a:cubicBezTo>
                      <a:pt x="30" y="32"/>
                      <a:pt x="41" y="59"/>
                      <a:pt x="43" y="90"/>
                    </a:cubicBezTo>
                    <a:cubicBezTo>
                      <a:pt x="46" y="121"/>
                      <a:pt x="26" y="137"/>
                      <a:pt x="0" y="149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6" name="Freeform 324"/>
              <p:cNvSpPr>
                <a:spLocks/>
              </p:cNvSpPr>
              <p:nvPr/>
            </p:nvSpPr>
            <p:spPr bwMode="gray">
              <a:xfrm>
                <a:off x="-847725" y="8450263"/>
                <a:ext cx="52388" cy="266700"/>
              </a:xfrm>
              <a:custGeom>
                <a:avLst/>
                <a:gdLst/>
                <a:ahLst/>
                <a:cxnLst>
                  <a:cxn ang="0">
                    <a:pos x="14" y="58"/>
                  </a:cxn>
                  <a:cxn ang="0">
                    <a:pos x="4" y="0"/>
                  </a:cxn>
                  <a:cxn ang="0">
                    <a:pos x="2" y="71"/>
                  </a:cxn>
                  <a:cxn ang="0">
                    <a:pos x="8" y="60"/>
                  </a:cxn>
                </a:cxnLst>
                <a:rect l="0" t="0" r="r" b="b"/>
                <a:pathLst>
                  <a:path w="14" h="71">
                    <a:moveTo>
                      <a:pt x="14" y="58"/>
                    </a:moveTo>
                    <a:cubicBezTo>
                      <a:pt x="14" y="40"/>
                      <a:pt x="13" y="15"/>
                      <a:pt x="4" y="0"/>
                    </a:cubicBezTo>
                    <a:cubicBezTo>
                      <a:pt x="4" y="24"/>
                      <a:pt x="0" y="48"/>
                      <a:pt x="2" y="71"/>
                    </a:cubicBezTo>
                    <a:cubicBezTo>
                      <a:pt x="3" y="65"/>
                      <a:pt x="5" y="65"/>
                      <a:pt x="8" y="60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7" name="Freeform 325"/>
              <p:cNvSpPr>
                <a:spLocks/>
              </p:cNvSpPr>
              <p:nvPr/>
            </p:nvSpPr>
            <p:spPr bwMode="gray">
              <a:xfrm>
                <a:off x="-847725" y="8450263"/>
                <a:ext cx="52388" cy="266700"/>
              </a:xfrm>
              <a:custGeom>
                <a:avLst/>
                <a:gdLst/>
                <a:ahLst/>
                <a:cxnLst>
                  <a:cxn ang="0">
                    <a:pos x="14" y="58"/>
                  </a:cxn>
                  <a:cxn ang="0">
                    <a:pos x="4" y="0"/>
                  </a:cxn>
                  <a:cxn ang="0">
                    <a:pos x="2" y="71"/>
                  </a:cxn>
                  <a:cxn ang="0">
                    <a:pos x="8" y="60"/>
                  </a:cxn>
                </a:cxnLst>
                <a:rect l="0" t="0" r="r" b="b"/>
                <a:pathLst>
                  <a:path w="14" h="71">
                    <a:moveTo>
                      <a:pt x="14" y="58"/>
                    </a:moveTo>
                    <a:cubicBezTo>
                      <a:pt x="14" y="40"/>
                      <a:pt x="13" y="15"/>
                      <a:pt x="4" y="0"/>
                    </a:cubicBezTo>
                    <a:cubicBezTo>
                      <a:pt x="4" y="24"/>
                      <a:pt x="0" y="48"/>
                      <a:pt x="2" y="71"/>
                    </a:cubicBezTo>
                    <a:cubicBezTo>
                      <a:pt x="3" y="65"/>
                      <a:pt x="5" y="65"/>
                      <a:pt x="8" y="60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8" name="Freeform 326"/>
              <p:cNvSpPr>
                <a:spLocks/>
              </p:cNvSpPr>
              <p:nvPr/>
            </p:nvSpPr>
            <p:spPr bwMode="gray">
              <a:xfrm>
                <a:off x="576262" y="7712076"/>
                <a:ext cx="352425" cy="1057275"/>
              </a:xfrm>
              <a:custGeom>
                <a:avLst/>
                <a:gdLst/>
                <a:ahLst/>
                <a:cxnLst>
                  <a:cxn ang="0">
                    <a:pos x="2" y="206"/>
                  </a:cxn>
                  <a:cxn ang="0">
                    <a:pos x="45" y="119"/>
                  </a:cxn>
                  <a:cxn ang="0">
                    <a:pos x="68" y="62"/>
                  </a:cxn>
                  <a:cxn ang="0">
                    <a:pos x="92" y="0"/>
                  </a:cxn>
                  <a:cxn ang="0">
                    <a:pos x="64" y="91"/>
                  </a:cxn>
                  <a:cxn ang="0">
                    <a:pos x="45" y="173"/>
                  </a:cxn>
                  <a:cxn ang="0">
                    <a:pos x="51" y="239"/>
                  </a:cxn>
                  <a:cxn ang="0">
                    <a:pos x="83" y="282"/>
                  </a:cxn>
                  <a:cxn ang="0">
                    <a:pos x="45" y="247"/>
                  </a:cxn>
                  <a:cxn ang="0">
                    <a:pos x="0" y="212"/>
                  </a:cxn>
                </a:cxnLst>
                <a:rect l="0" t="0" r="r" b="b"/>
                <a:pathLst>
                  <a:path w="94" h="282">
                    <a:moveTo>
                      <a:pt x="2" y="206"/>
                    </a:moveTo>
                    <a:cubicBezTo>
                      <a:pt x="16" y="177"/>
                      <a:pt x="32" y="149"/>
                      <a:pt x="45" y="119"/>
                    </a:cubicBezTo>
                    <a:cubicBezTo>
                      <a:pt x="53" y="101"/>
                      <a:pt x="60" y="81"/>
                      <a:pt x="68" y="62"/>
                    </a:cubicBezTo>
                    <a:cubicBezTo>
                      <a:pt x="76" y="43"/>
                      <a:pt x="90" y="21"/>
                      <a:pt x="92" y="0"/>
                    </a:cubicBezTo>
                    <a:cubicBezTo>
                      <a:pt x="94" y="35"/>
                      <a:pt x="76" y="61"/>
                      <a:pt x="64" y="91"/>
                    </a:cubicBezTo>
                    <a:cubicBezTo>
                      <a:pt x="54" y="118"/>
                      <a:pt x="48" y="146"/>
                      <a:pt x="45" y="173"/>
                    </a:cubicBezTo>
                    <a:cubicBezTo>
                      <a:pt x="43" y="195"/>
                      <a:pt x="38" y="221"/>
                      <a:pt x="51" y="239"/>
                    </a:cubicBezTo>
                    <a:cubicBezTo>
                      <a:pt x="61" y="253"/>
                      <a:pt x="79" y="265"/>
                      <a:pt x="83" y="282"/>
                    </a:cubicBezTo>
                    <a:cubicBezTo>
                      <a:pt x="70" y="271"/>
                      <a:pt x="59" y="258"/>
                      <a:pt x="45" y="247"/>
                    </a:cubicBezTo>
                    <a:cubicBezTo>
                      <a:pt x="32" y="237"/>
                      <a:pt x="10" y="225"/>
                      <a:pt x="0" y="212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9" name="Freeform 327"/>
              <p:cNvSpPr>
                <a:spLocks/>
              </p:cNvSpPr>
              <p:nvPr/>
            </p:nvSpPr>
            <p:spPr bwMode="gray">
              <a:xfrm>
                <a:off x="576262" y="7712076"/>
                <a:ext cx="352425" cy="1057275"/>
              </a:xfrm>
              <a:custGeom>
                <a:avLst/>
                <a:gdLst/>
                <a:ahLst/>
                <a:cxnLst>
                  <a:cxn ang="0">
                    <a:pos x="2" y="206"/>
                  </a:cxn>
                  <a:cxn ang="0">
                    <a:pos x="45" y="119"/>
                  </a:cxn>
                  <a:cxn ang="0">
                    <a:pos x="68" y="62"/>
                  </a:cxn>
                  <a:cxn ang="0">
                    <a:pos x="92" y="0"/>
                  </a:cxn>
                  <a:cxn ang="0">
                    <a:pos x="64" y="91"/>
                  </a:cxn>
                  <a:cxn ang="0">
                    <a:pos x="45" y="173"/>
                  </a:cxn>
                  <a:cxn ang="0">
                    <a:pos x="51" y="239"/>
                  </a:cxn>
                  <a:cxn ang="0">
                    <a:pos x="83" y="282"/>
                  </a:cxn>
                  <a:cxn ang="0">
                    <a:pos x="45" y="247"/>
                  </a:cxn>
                  <a:cxn ang="0">
                    <a:pos x="0" y="212"/>
                  </a:cxn>
                </a:cxnLst>
                <a:rect l="0" t="0" r="r" b="b"/>
                <a:pathLst>
                  <a:path w="94" h="282">
                    <a:moveTo>
                      <a:pt x="2" y="206"/>
                    </a:moveTo>
                    <a:cubicBezTo>
                      <a:pt x="16" y="177"/>
                      <a:pt x="32" y="149"/>
                      <a:pt x="45" y="119"/>
                    </a:cubicBezTo>
                    <a:cubicBezTo>
                      <a:pt x="53" y="101"/>
                      <a:pt x="60" y="81"/>
                      <a:pt x="68" y="62"/>
                    </a:cubicBezTo>
                    <a:cubicBezTo>
                      <a:pt x="76" y="43"/>
                      <a:pt x="90" y="21"/>
                      <a:pt x="92" y="0"/>
                    </a:cubicBezTo>
                    <a:cubicBezTo>
                      <a:pt x="94" y="35"/>
                      <a:pt x="76" y="61"/>
                      <a:pt x="64" y="91"/>
                    </a:cubicBezTo>
                    <a:cubicBezTo>
                      <a:pt x="54" y="118"/>
                      <a:pt x="48" y="146"/>
                      <a:pt x="45" y="173"/>
                    </a:cubicBezTo>
                    <a:cubicBezTo>
                      <a:pt x="43" y="195"/>
                      <a:pt x="38" y="221"/>
                      <a:pt x="51" y="239"/>
                    </a:cubicBezTo>
                    <a:cubicBezTo>
                      <a:pt x="61" y="253"/>
                      <a:pt x="79" y="265"/>
                      <a:pt x="83" y="282"/>
                    </a:cubicBezTo>
                    <a:cubicBezTo>
                      <a:pt x="70" y="271"/>
                      <a:pt x="59" y="258"/>
                      <a:pt x="45" y="247"/>
                    </a:cubicBezTo>
                    <a:cubicBezTo>
                      <a:pt x="32" y="237"/>
                      <a:pt x="10" y="225"/>
                      <a:pt x="0" y="212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0" name="Freeform 328"/>
              <p:cNvSpPr>
                <a:spLocks/>
              </p:cNvSpPr>
              <p:nvPr/>
            </p:nvSpPr>
            <p:spPr bwMode="gray">
              <a:xfrm>
                <a:off x="1090612" y="8821738"/>
                <a:ext cx="385763" cy="131763"/>
              </a:xfrm>
              <a:custGeom>
                <a:avLst/>
                <a:gdLst/>
                <a:ahLst/>
                <a:cxnLst>
                  <a:cxn ang="0">
                    <a:pos x="58" y="31"/>
                  </a:cxn>
                  <a:cxn ang="0">
                    <a:pos x="0" y="0"/>
                  </a:cxn>
                  <a:cxn ang="0">
                    <a:pos x="103" y="1"/>
                  </a:cxn>
                  <a:cxn ang="0">
                    <a:pos x="54" y="35"/>
                  </a:cxn>
                </a:cxnLst>
                <a:rect l="0" t="0" r="r" b="b"/>
                <a:pathLst>
                  <a:path w="103" h="35">
                    <a:moveTo>
                      <a:pt x="58" y="31"/>
                    </a:moveTo>
                    <a:cubicBezTo>
                      <a:pt x="43" y="30"/>
                      <a:pt x="9" y="15"/>
                      <a:pt x="0" y="0"/>
                    </a:cubicBezTo>
                    <a:cubicBezTo>
                      <a:pt x="33" y="15"/>
                      <a:pt x="71" y="24"/>
                      <a:pt x="103" y="1"/>
                    </a:cubicBezTo>
                    <a:cubicBezTo>
                      <a:pt x="100" y="13"/>
                      <a:pt x="67" y="35"/>
                      <a:pt x="54" y="35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1" name="Freeform 329"/>
              <p:cNvSpPr>
                <a:spLocks/>
              </p:cNvSpPr>
              <p:nvPr/>
            </p:nvSpPr>
            <p:spPr bwMode="gray">
              <a:xfrm>
                <a:off x="1090612" y="8821738"/>
                <a:ext cx="385763" cy="131763"/>
              </a:xfrm>
              <a:custGeom>
                <a:avLst/>
                <a:gdLst/>
                <a:ahLst/>
                <a:cxnLst>
                  <a:cxn ang="0">
                    <a:pos x="58" y="31"/>
                  </a:cxn>
                  <a:cxn ang="0">
                    <a:pos x="0" y="0"/>
                  </a:cxn>
                  <a:cxn ang="0">
                    <a:pos x="103" y="1"/>
                  </a:cxn>
                  <a:cxn ang="0">
                    <a:pos x="54" y="35"/>
                  </a:cxn>
                </a:cxnLst>
                <a:rect l="0" t="0" r="r" b="b"/>
                <a:pathLst>
                  <a:path w="103" h="35">
                    <a:moveTo>
                      <a:pt x="58" y="31"/>
                    </a:moveTo>
                    <a:cubicBezTo>
                      <a:pt x="43" y="30"/>
                      <a:pt x="9" y="15"/>
                      <a:pt x="0" y="0"/>
                    </a:cubicBezTo>
                    <a:cubicBezTo>
                      <a:pt x="33" y="15"/>
                      <a:pt x="71" y="24"/>
                      <a:pt x="103" y="1"/>
                    </a:cubicBezTo>
                    <a:cubicBezTo>
                      <a:pt x="100" y="13"/>
                      <a:pt x="67" y="35"/>
                      <a:pt x="54" y="35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Freeform 330"/>
              <p:cNvSpPr>
                <a:spLocks/>
              </p:cNvSpPr>
              <p:nvPr/>
            </p:nvSpPr>
            <p:spPr bwMode="gray">
              <a:xfrm>
                <a:off x="-431800" y="6511926"/>
                <a:ext cx="641350" cy="63817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45" y="1"/>
                  </a:cxn>
                  <a:cxn ang="0">
                    <a:pos x="96" y="95"/>
                  </a:cxn>
                  <a:cxn ang="0">
                    <a:pos x="171" y="160"/>
                  </a:cxn>
                  <a:cxn ang="0">
                    <a:pos x="105" y="152"/>
                  </a:cxn>
                  <a:cxn ang="0">
                    <a:pos x="78" y="94"/>
                  </a:cxn>
                  <a:cxn ang="0">
                    <a:pos x="0" y="4"/>
                  </a:cxn>
                </a:cxnLst>
                <a:rect l="0" t="0" r="r" b="b"/>
                <a:pathLst>
                  <a:path w="171" h="170">
                    <a:moveTo>
                      <a:pt x="2" y="2"/>
                    </a:moveTo>
                    <a:cubicBezTo>
                      <a:pt x="16" y="2"/>
                      <a:pt x="30" y="0"/>
                      <a:pt x="45" y="1"/>
                    </a:cubicBezTo>
                    <a:cubicBezTo>
                      <a:pt x="65" y="33"/>
                      <a:pt x="86" y="58"/>
                      <a:pt x="96" y="95"/>
                    </a:cubicBezTo>
                    <a:cubicBezTo>
                      <a:pt x="108" y="139"/>
                      <a:pt x="121" y="160"/>
                      <a:pt x="171" y="160"/>
                    </a:cubicBezTo>
                    <a:cubicBezTo>
                      <a:pt x="146" y="163"/>
                      <a:pt x="122" y="170"/>
                      <a:pt x="105" y="152"/>
                    </a:cubicBezTo>
                    <a:cubicBezTo>
                      <a:pt x="90" y="136"/>
                      <a:pt x="86" y="114"/>
                      <a:pt x="78" y="94"/>
                    </a:cubicBezTo>
                    <a:cubicBezTo>
                      <a:pt x="65" y="60"/>
                      <a:pt x="48" y="2"/>
                      <a:pt x="0" y="4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3" name="Freeform 331"/>
              <p:cNvSpPr>
                <a:spLocks/>
              </p:cNvSpPr>
              <p:nvPr/>
            </p:nvSpPr>
            <p:spPr bwMode="gray">
              <a:xfrm>
                <a:off x="-431800" y="6511926"/>
                <a:ext cx="641350" cy="63817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45" y="1"/>
                  </a:cxn>
                  <a:cxn ang="0">
                    <a:pos x="96" y="95"/>
                  </a:cxn>
                  <a:cxn ang="0">
                    <a:pos x="171" y="160"/>
                  </a:cxn>
                  <a:cxn ang="0">
                    <a:pos x="105" y="152"/>
                  </a:cxn>
                  <a:cxn ang="0">
                    <a:pos x="78" y="94"/>
                  </a:cxn>
                  <a:cxn ang="0">
                    <a:pos x="0" y="4"/>
                  </a:cxn>
                </a:cxnLst>
                <a:rect l="0" t="0" r="r" b="b"/>
                <a:pathLst>
                  <a:path w="171" h="170">
                    <a:moveTo>
                      <a:pt x="2" y="2"/>
                    </a:moveTo>
                    <a:cubicBezTo>
                      <a:pt x="16" y="2"/>
                      <a:pt x="30" y="0"/>
                      <a:pt x="45" y="1"/>
                    </a:cubicBezTo>
                    <a:cubicBezTo>
                      <a:pt x="65" y="33"/>
                      <a:pt x="86" y="58"/>
                      <a:pt x="96" y="95"/>
                    </a:cubicBezTo>
                    <a:cubicBezTo>
                      <a:pt x="108" y="139"/>
                      <a:pt x="121" y="160"/>
                      <a:pt x="171" y="160"/>
                    </a:cubicBezTo>
                    <a:cubicBezTo>
                      <a:pt x="146" y="163"/>
                      <a:pt x="122" y="170"/>
                      <a:pt x="105" y="152"/>
                    </a:cubicBezTo>
                    <a:cubicBezTo>
                      <a:pt x="90" y="136"/>
                      <a:pt x="86" y="114"/>
                      <a:pt x="78" y="94"/>
                    </a:cubicBezTo>
                    <a:cubicBezTo>
                      <a:pt x="65" y="60"/>
                      <a:pt x="48" y="2"/>
                      <a:pt x="0" y="4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4" name="Freeform 332"/>
              <p:cNvSpPr>
                <a:spLocks/>
              </p:cNvSpPr>
              <p:nvPr/>
            </p:nvSpPr>
            <p:spPr bwMode="gray">
              <a:xfrm>
                <a:off x="411162" y="7108826"/>
                <a:ext cx="285750" cy="9445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38" y="8"/>
                  </a:cxn>
                  <a:cxn ang="0">
                    <a:pos x="56" y="33"/>
                  </a:cxn>
                  <a:cxn ang="0">
                    <a:pos x="71" y="121"/>
                  </a:cxn>
                  <a:cxn ang="0">
                    <a:pos x="1" y="252"/>
                  </a:cxn>
                  <a:cxn ang="0">
                    <a:pos x="23" y="193"/>
                  </a:cxn>
                  <a:cxn ang="0">
                    <a:pos x="44" y="134"/>
                  </a:cxn>
                  <a:cxn ang="0">
                    <a:pos x="47" y="67"/>
                  </a:cxn>
                  <a:cxn ang="0">
                    <a:pos x="20" y="24"/>
                  </a:cxn>
                </a:cxnLst>
                <a:rect l="0" t="0" r="r" b="b"/>
                <a:pathLst>
                  <a:path w="76" h="252">
                    <a:moveTo>
                      <a:pt x="18" y="22"/>
                    </a:moveTo>
                    <a:cubicBezTo>
                      <a:pt x="24" y="10"/>
                      <a:pt x="23" y="0"/>
                      <a:pt x="38" y="8"/>
                    </a:cubicBezTo>
                    <a:cubicBezTo>
                      <a:pt x="46" y="11"/>
                      <a:pt x="52" y="26"/>
                      <a:pt x="56" y="33"/>
                    </a:cubicBezTo>
                    <a:cubicBezTo>
                      <a:pt x="68" y="57"/>
                      <a:pt x="76" y="94"/>
                      <a:pt x="71" y="121"/>
                    </a:cubicBezTo>
                    <a:cubicBezTo>
                      <a:pt x="63" y="165"/>
                      <a:pt x="27" y="216"/>
                      <a:pt x="1" y="252"/>
                    </a:cubicBezTo>
                    <a:cubicBezTo>
                      <a:pt x="0" y="233"/>
                      <a:pt x="17" y="209"/>
                      <a:pt x="23" y="193"/>
                    </a:cubicBezTo>
                    <a:cubicBezTo>
                      <a:pt x="30" y="174"/>
                      <a:pt x="39" y="154"/>
                      <a:pt x="44" y="134"/>
                    </a:cubicBezTo>
                    <a:cubicBezTo>
                      <a:pt x="50" y="112"/>
                      <a:pt x="49" y="90"/>
                      <a:pt x="47" y="67"/>
                    </a:cubicBezTo>
                    <a:cubicBezTo>
                      <a:pt x="45" y="44"/>
                      <a:pt x="36" y="37"/>
                      <a:pt x="20" y="24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5" name="Freeform 333"/>
              <p:cNvSpPr>
                <a:spLocks/>
              </p:cNvSpPr>
              <p:nvPr/>
            </p:nvSpPr>
            <p:spPr bwMode="gray">
              <a:xfrm>
                <a:off x="411162" y="7108826"/>
                <a:ext cx="285750" cy="9445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38" y="8"/>
                  </a:cxn>
                  <a:cxn ang="0">
                    <a:pos x="56" y="33"/>
                  </a:cxn>
                  <a:cxn ang="0">
                    <a:pos x="71" y="121"/>
                  </a:cxn>
                  <a:cxn ang="0">
                    <a:pos x="1" y="252"/>
                  </a:cxn>
                  <a:cxn ang="0">
                    <a:pos x="23" y="193"/>
                  </a:cxn>
                  <a:cxn ang="0">
                    <a:pos x="44" y="134"/>
                  </a:cxn>
                  <a:cxn ang="0">
                    <a:pos x="47" y="67"/>
                  </a:cxn>
                  <a:cxn ang="0">
                    <a:pos x="20" y="24"/>
                  </a:cxn>
                </a:cxnLst>
                <a:rect l="0" t="0" r="r" b="b"/>
                <a:pathLst>
                  <a:path w="76" h="252">
                    <a:moveTo>
                      <a:pt x="18" y="22"/>
                    </a:moveTo>
                    <a:cubicBezTo>
                      <a:pt x="24" y="10"/>
                      <a:pt x="23" y="0"/>
                      <a:pt x="38" y="8"/>
                    </a:cubicBezTo>
                    <a:cubicBezTo>
                      <a:pt x="46" y="11"/>
                      <a:pt x="52" y="26"/>
                      <a:pt x="56" y="33"/>
                    </a:cubicBezTo>
                    <a:cubicBezTo>
                      <a:pt x="68" y="57"/>
                      <a:pt x="76" y="94"/>
                      <a:pt x="71" y="121"/>
                    </a:cubicBezTo>
                    <a:cubicBezTo>
                      <a:pt x="63" y="165"/>
                      <a:pt x="27" y="216"/>
                      <a:pt x="1" y="252"/>
                    </a:cubicBezTo>
                    <a:cubicBezTo>
                      <a:pt x="0" y="233"/>
                      <a:pt x="17" y="209"/>
                      <a:pt x="23" y="193"/>
                    </a:cubicBezTo>
                    <a:cubicBezTo>
                      <a:pt x="30" y="174"/>
                      <a:pt x="39" y="154"/>
                      <a:pt x="44" y="134"/>
                    </a:cubicBezTo>
                    <a:cubicBezTo>
                      <a:pt x="50" y="112"/>
                      <a:pt x="49" y="90"/>
                      <a:pt x="47" y="67"/>
                    </a:cubicBezTo>
                    <a:cubicBezTo>
                      <a:pt x="45" y="44"/>
                      <a:pt x="36" y="37"/>
                      <a:pt x="20" y="24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6" name="Freeform 334"/>
              <p:cNvSpPr>
                <a:spLocks/>
              </p:cNvSpPr>
              <p:nvPr/>
            </p:nvSpPr>
            <p:spPr bwMode="gray">
              <a:xfrm>
                <a:off x="-825500" y="5776913"/>
                <a:ext cx="1600200" cy="690563"/>
              </a:xfrm>
              <a:custGeom>
                <a:avLst/>
                <a:gdLst/>
                <a:ahLst/>
                <a:cxnLst>
                  <a:cxn ang="0">
                    <a:pos x="23" y="85"/>
                  </a:cxn>
                  <a:cxn ang="0">
                    <a:pos x="77" y="64"/>
                  </a:cxn>
                  <a:cxn ang="0">
                    <a:pos x="156" y="58"/>
                  </a:cxn>
                  <a:cxn ang="0">
                    <a:pos x="269" y="119"/>
                  </a:cxn>
                  <a:cxn ang="0">
                    <a:pos x="172" y="54"/>
                  </a:cxn>
                  <a:cxn ang="0">
                    <a:pos x="208" y="50"/>
                  </a:cxn>
                  <a:cxn ang="0">
                    <a:pos x="179" y="40"/>
                  </a:cxn>
                  <a:cxn ang="0">
                    <a:pos x="241" y="27"/>
                  </a:cxn>
                  <a:cxn ang="0">
                    <a:pos x="309" y="70"/>
                  </a:cxn>
                  <a:cxn ang="0">
                    <a:pos x="349" y="126"/>
                  </a:cxn>
                  <a:cxn ang="0">
                    <a:pos x="427" y="184"/>
                  </a:cxn>
                  <a:cxn ang="0">
                    <a:pos x="366" y="112"/>
                  </a:cxn>
                  <a:cxn ang="0">
                    <a:pos x="304" y="45"/>
                  </a:cxn>
                  <a:cxn ang="0">
                    <a:pos x="215" y="11"/>
                  </a:cxn>
                  <a:cxn ang="0">
                    <a:pos x="140" y="21"/>
                  </a:cxn>
                  <a:cxn ang="0">
                    <a:pos x="142" y="40"/>
                  </a:cxn>
                  <a:cxn ang="0">
                    <a:pos x="77" y="53"/>
                  </a:cxn>
                  <a:cxn ang="0">
                    <a:pos x="4" y="104"/>
                  </a:cxn>
                  <a:cxn ang="0">
                    <a:pos x="31" y="83"/>
                  </a:cxn>
                </a:cxnLst>
                <a:rect l="0" t="0" r="r" b="b"/>
                <a:pathLst>
                  <a:path w="427" h="184">
                    <a:moveTo>
                      <a:pt x="23" y="85"/>
                    </a:moveTo>
                    <a:cubicBezTo>
                      <a:pt x="37" y="68"/>
                      <a:pt x="57" y="66"/>
                      <a:pt x="77" y="64"/>
                    </a:cubicBezTo>
                    <a:cubicBezTo>
                      <a:pt x="103" y="61"/>
                      <a:pt x="130" y="55"/>
                      <a:pt x="156" y="58"/>
                    </a:cubicBezTo>
                    <a:cubicBezTo>
                      <a:pt x="198" y="62"/>
                      <a:pt x="239" y="91"/>
                      <a:pt x="269" y="119"/>
                    </a:cubicBezTo>
                    <a:cubicBezTo>
                      <a:pt x="273" y="77"/>
                      <a:pt x="194" y="71"/>
                      <a:pt x="172" y="54"/>
                    </a:cubicBezTo>
                    <a:cubicBezTo>
                      <a:pt x="185" y="53"/>
                      <a:pt x="195" y="49"/>
                      <a:pt x="208" y="50"/>
                    </a:cubicBezTo>
                    <a:cubicBezTo>
                      <a:pt x="200" y="44"/>
                      <a:pt x="191" y="39"/>
                      <a:pt x="179" y="40"/>
                    </a:cubicBezTo>
                    <a:cubicBezTo>
                      <a:pt x="188" y="23"/>
                      <a:pt x="224" y="24"/>
                      <a:pt x="241" y="27"/>
                    </a:cubicBezTo>
                    <a:cubicBezTo>
                      <a:pt x="272" y="31"/>
                      <a:pt x="292" y="46"/>
                      <a:pt x="309" y="70"/>
                    </a:cubicBezTo>
                    <a:cubicBezTo>
                      <a:pt x="323" y="87"/>
                      <a:pt x="334" y="110"/>
                      <a:pt x="349" y="126"/>
                    </a:cubicBezTo>
                    <a:cubicBezTo>
                      <a:pt x="371" y="148"/>
                      <a:pt x="404" y="162"/>
                      <a:pt x="427" y="184"/>
                    </a:cubicBezTo>
                    <a:cubicBezTo>
                      <a:pt x="418" y="150"/>
                      <a:pt x="386" y="138"/>
                      <a:pt x="366" y="112"/>
                    </a:cubicBezTo>
                    <a:cubicBezTo>
                      <a:pt x="347" y="87"/>
                      <a:pt x="331" y="64"/>
                      <a:pt x="304" y="45"/>
                    </a:cubicBezTo>
                    <a:cubicBezTo>
                      <a:pt x="277" y="26"/>
                      <a:pt x="245" y="15"/>
                      <a:pt x="215" y="11"/>
                    </a:cubicBezTo>
                    <a:cubicBezTo>
                      <a:pt x="195" y="9"/>
                      <a:pt x="152" y="0"/>
                      <a:pt x="140" y="21"/>
                    </a:cubicBezTo>
                    <a:cubicBezTo>
                      <a:pt x="155" y="31"/>
                      <a:pt x="175" y="38"/>
                      <a:pt x="142" y="40"/>
                    </a:cubicBezTo>
                    <a:cubicBezTo>
                      <a:pt x="116" y="42"/>
                      <a:pt x="101" y="45"/>
                      <a:pt x="77" y="53"/>
                    </a:cubicBezTo>
                    <a:cubicBezTo>
                      <a:pt x="57" y="59"/>
                      <a:pt x="0" y="74"/>
                      <a:pt x="4" y="104"/>
                    </a:cubicBezTo>
                    <a:cubicBezTo>
                      <a:pt x="11" y="95"/>
                      <a:pt x="20" y="87"/>
                      <a:pt x="31" y="83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7" name="Freeform 335"/>
              <p:cNvSpPr>
                <a:spLocks/>
              </p:cNvSpPr>
              <p:nvPr/>
            </p:nvSpPr>
            <p:spPr bwMode="gray">
              <a:xfrm>
                <a:off x="-825500" y="5776913"/>
                <a:ext cx="1600200" cy="690563"/>
              </a:xfrm>
              <a:custGeom>
                <a:avLst/>
                <a:gdLst/>
                <a:ahLst/>
                <a:cxnLst>
                  <a:cxn ang="0">
                    <a:pos x="23" y="85"/>
                  </a:cxn>
                  <a:cxn ang="0">
                    <a:pos x="77" y="64"/>
                  </a:cxn>
                  <a:cxn ang="0">
                    <a:pos x="156" y="58"/>
                  </a:cxn>
                  <a:cxn ang="0">
                    <a:pos x="269" y="119"/>
                  </a:cxn>
                  <a:cxn ang="0">
                    <a:pos x="172" y="54"/>
                  </a:cxn>
                  <a:cxn ang="0">
                    <a:pos x="208" y="50"/>
                  </a:cxn>
                  <a:cxn ang="0">
                    <a:pos x="179" y="40"/>
                  </a:cxn>
                  <a:cxn ang="0">
                    <a:pos x="241" y="27"/>
                  </a:cxn>
                  <a:cxn ang="0">
                    <a:pos x="309" y="70"/>
                  </a:cxn>
                  <a:cxn ang="0">
                    <a:pos x="349" y="126"/>
                  </a:cxn>
                  <a:cxn ang="0">
                    <a:pos x="427" y="184"/>
                  </a:cxn>
                  <a:cxn ang="0">
                    <a:pos x="366" y="112"/>
                  </a:cxn>
                  <a:cxn ang="0">
                    <a:pos x="304" y="45"/>
                  </a:cxn>
                  <a:cxn ang="0">
                    <a:pos x="215" y="11"/>
                  </a:cxn>
                  <a:cxn ang="0">
                    <a:pos x="140" y="21"/>
                  </a:cxn>
                  <a:cxn ang="0">
                    <a:pos x="142" y="40"/>
                  </a:cxn>
                  <a:cxn ang="0">
                    <a:pos x="77" y="53"/>
                  </a:cxn>
                  <a:cxn ang="0">
                    <a:pos x="4" y="104"/>
                  </a:cxn>
                  <a:cxn ang="0">
                    <a:pos x="31" y="83"/>
                  </a:cxn>
                </a:cxnLst>
                <a:rect l="0" t="0" r="r" b="b"/>
                <a:pathLst>
                  <a:path w="427" h="184">
                    <a:moveTo>
                      <a:pt x="23" y="85"/>
                    </a:moveTo>
                    <a:cubicBezTo>
                      <a:pt x="37" y="68"/>
                      <a:pt x="57" y="66"/>
                      <a:pt x="77" y="64"/>
                    </a:cubicBezTo>
                    <a:cubicBezTo>
                      <a:pt x="103" y="61"/>
                      <a:pt x="130" y="55"/>
                      <a:pt x="156" y="58"/>
                    </a:cubicBezTo>
                    <a:cubicBezTo>
                      <a:pt x="198" y="62"/>
                      <a:pt x="239" y="91"/>
                      <a:pt x="269" y="119"/>
                    </a:cubicBezTo>
                    <a:cubicBezTo>
                      <a:pt x="273" y="77"/>
                      <a:pt x="194" y="71"/>
                      <a:pt x="172" y="54"/>
                    </a:cubicBezTo>
                    <a:cubicBezTo>
                      <a:pt x="185" y="53"/>
                      <a:pt x="195" y="49"/>
                      <a:pt x="208" y="50"/>
                    </a:cubicBezTo>
                    <a:cubicBezTo>
                      <a:pt x="200" y="44"/>
                      <a:pt x="191" y="39"/>
                      <a:pt x="179" y="40"/>
                    </a:cubicBezTo>
                    <a:cubicBezTo>
                      <a:pt x="188" y="23"/>
                      <a:pt x="224" y="24"/>
                      <a:pt x="241" y="27"/>
                    </a:cubicBezTo>
                    <a:cubicBezTo>
                      <a:pt x="272" y="31"/>
                      <a:pt x="292" y="46"/>
                      <a:pt x="309" y="70"/>
                    </a:cubicBezTo>
                    <a:cubicBezTo>
                      <a:pt x="323" y="87"/>
                      <a:pt x="334" y="110"/>
                      <a:pt x="349" y="126"/>
                    </a:cubicBezTo>
                    <a:cubicBezTo>
                      <a:pt x="371" y="148"/>
                      <a:pt x="404" y="162"/>
                      <a:pt x="427" y="184"/>
                    </a:cubicBezTo>
                    <a:cubicBezTo>
                      <a:pt x="418" y="150"/>
                      <a:pt x="386" y="138"/>
                      <a:pt x="366" y="112"/>
                    </a:cubicBezTo>
                    <a:cubicBezTo>
                      <a:pt x="347" y="87"/>
                      <a:pt x="331" y="64"/>
                      <a:pt x="304" y="45"/>
                    </a:cubicBezTo>
                    <a:cubicBezTo>
                      <a:pt x="277" y="26"/>
                      <a:pt x="245" y="15"/>
                      <a:pt x="215" y="11"/>
                    </a:cubicBezTo>
                    <a:cubicBezTo>
                      <a:pt x="195" y="9"/>
                      <a:pt x="152" y="0"/>
                      <a:pt x="140" y="21"/>
                    </a:cubicBezTo>
                    <a:cubicBezTo>
                      <a:pt x="155" y="31"/>
                      <a:pt x="175" y="38"/>
                      <a:pt x="142" y="40"/>
                    </a:cubicBezTo>
                    <a:cubicBezTo>
                      <a:pt x="116" y="42"/>
                      <a:pt x="101" y="45"/>
                      <a:pt x="77" y="53"/>
                    </a:cubicBezTo>
                    <a:cubicBezTo>
                      <a:pt x="57" y="59"/>
                      <a:pt x="0" y="74"/>
                      <a:pt x="4" y="104"/>
                    </a:cubicBezTo>
                    <a:cubicBezTo>
                      <a:pt x="11" y="95"/>
                      <a:pt x="20" y="87"/>
                      <a:pt x="31" y="83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8" name="Freeform 336"/>
              <p:cNvSpPr>
                <a:spLocks/>
              </p:cNvSpPr>
              <p:nvPr/>
            </p:nvSpPr>
            <p:spPr bwMode="gray">
              <a:xfrm>
                <a:off x="328612" y="6462713"/>
                <a:ext cx="600075" cy="1166813"/>
              </a:xfrm>
              <a:custGeom>
                <a:avLst/>
                <a:gdLst/>
                <a:ahLst/>
                <a:cxnLst>
                  <a:cxn ang="0">
                    <a:pos x="54" y="48"/>
                  </a:cxn>
                  <a:cxn ang="0">
                    <a:pos x="97" y="108"/>
                  </a:cxn>
                  <a:cxn ang="0">
                    <a:pos x="119" y="190"/>
                  </a:cxn>
                  <a:cxn ang="0">
                    <a:pos x="123" y="161"/>
                  </a:cxn>
                  <a:cxn ang="0">
                    <a:pos x="150" y="311"/>
                  </a:cxn>
                  <a:cxn ang="0">
                    <a:pos x="151" y="261"/>
                  </a:cxn>
                  <a:cxn ang="0">
                    <a:pos x="146" y="206"/>
                  </a:cxn>
                  <a:cxn ang="0">
                    <a:pos x="121" y="103"/>
                  </a:cxn>
                  <a:cxn ang="0">
                    <a:pos x="142" y="128"/>
                  </a:cxn>
                  <a:cxn ang="0">
                    <a:pos x="111" y="31"/>
                  </a:cxn>
                  <a:cxn ang="0">
                    <a:pos x="101" y="81"/>
                  </a:cxn>
                  <a:cxn ang="0">
                    <a:pos x="60" y="31"/>
                  </a:cxn>
                  <a:cxn ang="0">
                    <a:pos x="0" y="1"/>
                  </a:cxn>
                </a:cxnLst>
                <a:rect l="0" t="0" r="r" b="b"/>
                <a:pathLst>
                  <a:path w="160" h="311">
                    <a:moveTo>
                      <a:pt x="54" y="48"/>
                    </a:moveTo>
                    <a:cubicBezTo>
                      <a:pt x="78" y="45"/>
                      <a:pt x="88" y="91"/>
                      <a:pt x="97" y="108"/>
                    </a:cubicBezTo>
                    <a:cubicBezTo>
                      <a:pt x="109" y="133"/>
                      <a:pt x="120" y="159"/>
                      <a:pt x="119" y="190"/>
                    </a:cubicBezTo>
                    <a:cubicBezTo>
                      <a:pt x="119" y="180"/>
                      <a:pt x="124" y="171"/>
                      <a:pt x="123" y="161"/>
                    </a:cubicBezTo>
                    <a:cubicBezTo>
                      <a:pt x="148" y="198"/>
                      <a:pt x="150" y="265"/>
                      <a:pt x="150" y="311"/>
                    </a:cubicBezTo>
                    <a:cubicBezTo>
                      <a:pt x="160" y="296"/>
                      <a:pt x="155" y="276"/>
                      <a:pt x="151" y="261"/>
                    </a:cubicBezTo>
                    <a:cubicBezTo>
                      <a:pt x="147" y="243"/>
                      <a:pt x="146" y="226"/>
                      <a:pt x="146" y="206"/>
                    </a:cubicBezTo>
                    <a:cubicBezTo>
                      <a:pt x="146" y="169"/>
                      <a:pt x="140" y="133"/>
                      <a:pt x="121" y="103"/>
                    </a:cubicBezTo>
                    <a:cubicBezTo>
                      <a:pt x="132" y="110"/>
                      <a:pt x="137" y="115"/>
                      <a:pt x="142" y="128"/>
                    </a:cubicBezTo>
                    <a:cubicBezTo>
                      <a:pt x="144" y="100"/>
                      <a:pt x="126" y="55"/>
                      <a:pt x="111" y="31"/>
                    </a:cubicBezTo>
                    <a:cubicBezTo>
                      <a:pt x="111" y="52"/>
                      <a:pt x="105" y="63"/>
                      <a:pt x="101" y="81"/>
                    </a:cubicBezTo>
                    <a:cubicBezTo>
                      <a:pt x="78" y="76"/>
                      <a:pt x="73" y="47"/>
                      <a:pt x="60" y="31"/>
                    </a:cubicBezTo>
                    <a:cubicBezTo>
                      <a:pt x="47" y="15"/>
                      <a:pt x="20" y="0"/>
                      <a:pt x="0" y="1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9" name="Freeform 337"/>
              <p:cNvSpPr>
                <a:spLocks/>
              </p:cNvSpPr>
              <p:nvPr/>
            </p:nvSpPr>
            <p:spPr bwMode="gray">
              <a:xfrm>
                <a:off x="328612" y="6462713"/>
                <a:ext cx="600075" cy="1166813"/>
              </a:xfrm>
              <a:custGeom>
                <a:avLst/>
                <a:gdLst/>
                <a:ahLst/>
                <a:cxnLst>
                  <a:cxn ang="0">
                    <a:pos x="54" y="48"/>
                  </a:cxn>
                  <a:cxn ang="0">
                    <a:pos x="97" y="108"/>
                  </a:cxn>
                  <a:cxn ang="0">
                    <a:pos x="119" y="190"/>
                  </a:cxn>
                  <a:cxn ang="0">
                    <a:pos x="123" y="161"/>
                  </a:cxn>
                  <a:cxn ang="0">
                    <a:pos x="150" y="311"/>
                  </a:cxn>
                  <a:cxn ang="0">
                    <a:pos x="151" y="261"/>
                  </a:cxn>
                  <a:cxn ang="0">
                    <a:pos x="146" y="206"/>
                  </a:cxn>
                  <a:cxn ang="0">
                    <a:pos x="121" y="103"/>
                  </a:cxn>
                  <a:cxn ang="0">
                    <a:pos x="142" y="128"/>
                  </a:cxn>
                  <a:cxn ang="0">
                    <a:pos x="111" y="31"/>
                  </a:cxn>
                  <a:cxn ang="0">
                    <a:pos x="101" y="81"/>
                  </a:cxn>
                  <a:cxn ang="0">
                    <a:pos x="60" y="31"/>
                  </a:cxn>
                  <a:cxn ang="0">
                    <a:pos x="0" y="1"/>
                  </a:cxn>
                </a:cxnLst>
                <a:rect l="0" t="0" r="r" b="b"/>
                <a:pathLst>
                  <a:path w="160" h="311">
                    <a:moveTo>
                      <a:pt x="54" y="48"/>
                    </a:moveTo>
                    <a:cubicBezTo>
                      <a:pt x="78" y="45"/>
                      <a:pt x="88" y="91"/>
                      <a:pt x="97" y="108"/>
                    </a:cubicBezTo>
                    <a:cubicBezTo>
                      <a:pt x="109" y="133"/>
                      <a:pt x="120" y="159"/>
                      <a:pt x="119" y="190"/>
                    </a:cubicBezTo>
                    <a:cubicBezTo>
                      <a:pt x="119" y="180"/>
                      <a:pt x="124" y="171"/>
                      <a:pt x="123" y="161"/>
                    </a:cubicBezTo>
                    <a:cubicBezTo>
                      <a:pt x="148" y="198"/>
                      <a:pt x="150" y="265"/>
                      <a:pt x="150" y="311"/>
                    </a:cubicBezTo>
                    <a:cubicBezTo>
                      <a:pt x="160" y="296"/>
                      <a:pt x="155" y="276"/>
                      <a:pt x="151" y="261"/>
                    </a:cubicBezTo>
                    <a:cubicBezTo>
                      <a:pt x="147" y="243"/>
                      <a:pt x="146" y="226"/>
                      <a:pt x="146" y="206"/>
                    </a:cubicBezTo>
                    <a:cubicBezTo>
                      <a:pt x="146" y="169"/>
                      <a:pt x="140" y="133"/>
                      <a:pt x="121" y="103"/>
                    </a:cubicBezTo>
                    <a:cubicBezTo>
                      <a:pt x="132" y="110"/>
                      <a:pt x="137" y="115"/>
                      <a:pt x="142" y="128"/>
                    </a:cubicBezTo>
                    <a:cubicBezTo>
                      <a:pt x="144" y="100"/>
                      <a:pt x="126" y="55"/>
                      <a:pt x="111" y="31"/>
                    </a:cubicBezTo>
                    <a:cubicBezTo>
                      <a:pt x="111" y="52"/>
                      <a:pt x="105" y="63"/>
                      <a:pt x="101" y="81"/>
                    </a:cubicBezTo>
                    <a:cubicBezTo>
                      <a:pt x="78" y="76"/>
                      <a:pt x="73" y="47"/>
                      <a:pt x="60" y="31"/>
                    </a:cubicBezTo>
                    <a:cubicBezTo>
                      <a:pt x="47" y="15"/>
                      <a:pt x="20" y="0"/>
                      <a:pt x="0" y="1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0" name="Freeform 338"/>
              <p:cNvSpPr>
                <a:spLocks/>
              </p:cNvSpPr>
              <p:nvPr/>
            </p:nvSpPr>
            <p:spPr bwMode="gray">
              <a:xfrm>
                <a:off x="276225" y="7910513"/>
                <a:ext cx="558800" cy="974725"/>
              </a:xfrm>
              <a:custGeom>
                <a:avLst/>
                <a:gdLst/>
                <a:ahLst/>
                <a:cxnLst>
                  <a:cxn ang="0">
                    <a:pos x="137" y="23"/>
                  </a:cxn>
                  <a:cxn ang="0">
                    <a:pos x="149" y="0"/>
                  </a:cxn>
                  <a:cxn ang="0">
                    <a:pos x="70" y="149"/>
                  </a:cxn>
                  <a:cxn ang="0">
                    <a:pos x="32" y="208"/>
                  </a:cxn>
                  <a:cxn ang="0">
                    <a:pos x="0" y="260"/>
                  </a:cxn>
                  <a:cxn ang="0">
                    <a:pos x="23" y="208"/>
                  </a:cxn>
                  <a:cxn ang="0">
                    <a:pos x="65" y="145"/>
                  </a:cxn>
                  <a:cxn ang="0">
                    <a:pos x="86" y="93"/>
                  </a:cxn>
                  <a:cxn ang="0">
                    <a:pos x="110" y="46"/>
                  </a:cxn>
                </a:cxnLst>
                <a:rect l="0" t="0" r="r" b="b"/>
                <a:pathLst>
                  <a:path w="149" h="260">
                    <a:moveTo>
                      <a:pt x="137" y="23"/>
                    </a:moveTo>
                    <a:cubicBezTo>
                      <a:pt x="144" y="17"/>
                      <a:pt x="146" y="9"/>
                      <a:pt x="149" y="0"/>
                    </a:cubicBezTo>
                    <a:cubicBezTo>
                      <a:pt x="120" y="47"/>
                      <a:pt x="103" y="105"/>
                      <a:pt x="70" y="149"/>
                    </a:cubicBezTo>
                    <a:cubicBezTo>
                      <a:pt x="56" y="169"/>
                      <a:pt x="42" y="185"/>
                      <a:pt x="32" y="208"/>
                    </a:cubicBezTo>
                    <a:cubicBezTo>
                      <a:pt x="24" y="229"/>
                      <a:pt x="12" y="241"/>
                      <a:pt x="0" y="260"/>
                    </a:cubicBezTo>
                    <a:cubicBezTo>
                      <a:pt x="9" y="244"/>
                      <a:pt x="13" y="224"/>
                      <a:pt x="23" y="208"/>
                    </a:cubicBezTo>
                    <a:cubicBezTo>
                      <a:pt x="36" y="187"/>
                      <a:pt x="55" y="168"/>
                      <a:pt x="65" y="145"/>
                    </a:cubicBezTo>
                    <a:cubicBezTo>
                      <a:pt x="72" y="128"/>
                      <a:pt x="77" y="108"/>
                      <a:pt x="86" y="93"/>
                    </a:cubicBezTo>
                    <a:cubicBezTo>
                      <a:pt x="96" y="78"/>
                      <a:pt x="113" y="66"/>
                      <a:pt x="110" y="46"/>
                    </a:cubicBezTo>
                  </a:path>
                </a:pathLst>
              </a:custGeom>
              <a:solidFill>
                <a:srgbClr val="5E514A"/>
              </a:solidFill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1" name="Freeform 339"/>
              <p:cNvSpPr>
                <a:spLocks/>
              </p:cNvSpPr>
              <p:nvPr/>
            </p:nvSpPr>
            <p:spPr bwMode="gray">
              <a:xfrm>
                <a:off x="276225" y="7910513"/>
                <a:ext cx="558800" cy="974725"/>
              </a:xfrm>
              <a:custGeom>
                <a:avLst/>
                <a:gdLst/>
                <a:ahLst/>
                <a:cxnLst>
                  <a:cxn ang="0">
                    <a:pos x="137" y="23"/>
                  </a:cxn>
                  <a:cxn ang="0">
                    <a:pos x="149" y="0"/>
                  </a:cxn>
                  <a:cxn ang="0">
                    <a:pos x="70" y="149"/>
                  </a:cxn>
                  <a:cxn ang="0">
                    <a:pos x="32" y="208"/>
                  </a:cxn>
                  <a:cxn ang="0">
                    <a:pos x="0" y="260"/>
                  </a:cxn>
                  <a:cxn ang="0">
                    <a:pos x="23" y="208"/>
                  </a:cxn>
                  <a:cxn ang="0">
                    <a:pos x="65" y="145"/>
                  </a:cxn>
                  <a:cxn ang="0">
                    <a:pos x="86" y="93"/>
                  </a:cxn>
                  <a:cxn ang="0">
                    <a:pos x="110" y="46"/>
                  </a:cxn>
                </a:cxnLst>
                <a:rect l="0" t="0" r="r" b="b"/>
                <a:pathLst>
                  <a:path w="149" h="260">
                    <a:moveTo>
                      <a:pt x="137" y="23"/>
                    </a:moveTo>
                    <a:cubicBezTo>
                      <a:pt x="144" y="17"/>
                      <a:pt x="146" y="9"/>
                      <a:pt x="149" y="0"/>
                    </a:cubicBezTo>
                    <a:cubicBezTo>
                      <a:pt x="120" y="47"/>
                      <a:pt x="103" y="105"/>
                      <a:pt x="70" y="149"/>
                    </a:cubicBezTo>
                    <a:cubicBezTo>
                      <a:pt x="56" y="169"/>
                      <a:pt x="42" y="185"/>
                      <a:pt x="32" y="208"/>
                    </a:cubicBezTo>
                    <a:cubicBezTo>
                      <a:pt x="24" y="229"/>
                      <a:pt x="12" y="241"/>
                      <a:pt x="0" y="260"/>
                    </a:cubicBezTo>
                    <a:cubicBezTo>
                      <a:pt x="9" y="244"/>
                      <a:pt x="13" y="224"/>
                      <a:pt x="23" y="208"/>
                    </a:cubicBezTo>
                    <a:cubicBezTo>
                      <a:pt x="36" y="187"/>
                      <a:pt x="55" y="168"/>
                      <a:pt x="65" y="145"/>
                    </a:cubicBezTo>
                    <a:cubicBezTo>
                      <a:pt x="72" y="128"/>
                      <a:pt x="77" y="108"/>
                      <a:pt x="86" y="93"/>
                    </a:cubicBezTo>
                    <a:cubicBezTo>
                      <a:pt x="96" y="78"/>
                      <a:pt x="113" y="66"/>
                      <a:pt x="110" y="46"/>
                    </a:cubicBezTo>
                  </a:path>
                </a:pathLst>
              </a:custGeom>
              <a:noFill/>
              <a:ln w="5" cap="flat">
                <a:solidFill>
                  <a:srgbClr val="73635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2" name="Freeform 340"/>
              <p:cNvSpPr>
                <a:spLocks/>
              </p:cNvSpPr>
              <p:nvPr/>
            </p:nvSpPr>
            <p:spPr bwMode="gray">
              <a:xfrm>
                <a:off x="-1662113" y="24028401"/>
                <a:ext cx="319088" cy="892175"/>
              </a:xfrm>
              <a:custGeom>
                <a:avLst/>
                <a:gdLst/>
                <a:ahLst/>
                <a:cxnLst>
                  <a:cxn ang="0">
                    <a:pos x="72" y="9"/>
                  </a:cxn>
                  <a:cxn ang="0">
                    <a:pos x="65" y="71"/>
                  </a:cxn>
                  <a:cxn ang="0">
                    <a:pos x="66" y="137"/>
                  </a:cxn>
                  <a:cxn ang="0">
                    <a:pos x="33" y="187"/>
                  </a:cxn>
                  <a:cxn ang="0">
                    <a:pos x="0" y="238"/>
                  </a:cxn>
                  <a:cxn ang="0">
                    <a:pos x="82" y="134"/>
                  </a:cxn>
                  <a:cxn ang="0">
                    <a:pos x="84" y="61"/>
                  </a:cxn>
                  <a:cxn ang="0">
                    <a:pos x="78" y="31"/>
                  </a:cxn>
                  <a:cxn ang="0">
                    <a:pos x="69" y="0"/>
                  </a:cxn>
                </a:cxnLst>
                <a:rect l="0" t="0" r="r" b="b"/>
                <a:pathLst>
                  <a:path w="85" h="238">
                    <a:moveTo>
                      <a:pt x="72" y="9"/>
                    </a:moveTo>
                    <a:cubicBezTo>
                      <a:pt x="72" y="31"/>
                      <a:pt x="66" y="50"/>
                      <a:pt x="65" y="71"/>
                    </a:cubicBezTo>
                    <a:cubicBezTo>
                      <a:pt x="64" y="93"/>
                      <a:pt x="73" y="117"/>
                      <a:pt x="66" y="137"/>
                    </a:cubicBezTo>
                    <a:cubicBezTo>
                      <a:pt x="60" y="157"/>
                      <a:pt x="42" y="170"/>
                      <a:pt x="33" y="187"/>
                    </a:cubicBezTo>
                    <a:cubicBezTo>
                      <a:pt x="23" y="206"/>
                      <a:pt x="13" y="224"/>
                      <a:pt x="0" y="238"/>
                    </a:cubicBezTo>
                    <a:cubicBezTo>
                      <a:pt x="38" y="219"/>
                      <a:pt x="77" y="177"/>
                      <a:pt x="82" y="134"/>
                    </a:cubicBezTo>
                    <a:cubicBezTo>
                      <a:pt x="85" y="111"/>
                      <a:pt x="84" y="86"/>
                      <a:pt x="84" y="61"/>
                    </a:cubicBezTo>
                    <a:cubicBezTo>
                      <a:pt x="84" y="49"/>
                      <a:pt x="83" y="41"/>
                      <a:pt x="78" y="31"/>
                    </a:cubicBezTo>
                    <a:cubicBezTo>
                      <a:pt x="73" y="21"/>
                      <a:pt x="68" y="13"/>
                      <a:pt x="69" y="0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3" name="Freeform 341"/>
              <p:cNvSpPr>
                <a:spLocks/>
              </p:cNvSpPr>
              <p:nvPr/>
            </p:nvSpPr>
            <p:spPr bwMode="gray">
              <a:xfrm>
                <a:off x="-2741613" y="25190451"/>
                <a:ext cx="911225" cy="30003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6" y="26"/>
                  </a:cxn>
                  <a:cxn ang="0">
                    <a:pos x="129" y="42"/>
                  </a:cxn>
                  <a:cxn ang="0">
                    <a:pos x="243" y="0"/>
                  </a:cxn>
                  <a:cxn ang="0">
                    <a:pos x="208" y="61"/>
                  </a:cxn>
                  <a:cxn ang="0">
                    <a:pos x="180" y="75"/>
                  </a:cxn>
                  <a:cxn ang="0">
                    <a:pos x="145" y="66"/>
                  </a:cxn>
                  <a:cxn ang="0">
                    <a:pos x="82" y="50"/>
                  </a:cxn>
                  <a:cxn ang="0">
                    <a:pos x="19" y="27"/>
                  </a:cxn>
                  <a:cxn ang="0">
                    <a:pos x="0" y="7"/>
                  </a:cxn>
                </a:cxnLst>
                <a:rect l="0" t="0" r="r" b="b"/>
                <a:pathLst>
                  <a:path w="243" h="80">
                    <a:moveTo>
                      <a:pt x="0" y="4"/>
                    </a:moveTo>
                    <a:cubicBezTo>
                      <a:pt x="17" y="19"/>
                      <a:pt x="44" y="21"/>
                      <a:pt x="66" y="26"/>
                    </a:cubicBezTo>
                    <a:cubicBezTo>
                      <a:pt x="87" y="31"/>
                      <a:pt x="108" y="40"/>
                      <a:pt x="129" y="42"/>
                    </a:cubicBezTo>
                    <a:cubicBezTo>
                      <a:pt x="173" y="46"/>
                      <a:pt x="214" y="35"/>
                      <a:pt x="243" y="0"/>
                    </a:cubicBezTo>
                    <a:cubicBezTo>
                      <a:pt x="235" y="23"/>
                      <a:pt x="222" y="41"/>
                      <a:pt x="208" y="61"/>
                    </a:cubicBezTo>
                    <a:cubicBezTo>
                      <a:pt x="198" y="75"/>
                      <a:pt x="198" y="80"/>
                      <a:pt x="180" y="75"/>
                    </a:cubicBezTo>
                    <a:cubicBezTo>
                      <a:pt x="168" y="71"/>
                      <a:pt x="157" y="69"/>
                      <a:pt x="145" y="66"/>
                    </a:cubicBezTo>
                    <a:cubicBezTo>
                      <a:pt x="125" y="61"/>
                      <a:pt x="102" y="57"/>
                      <a:pt x="82" y="50"/>
                    </a:cubicBezTo>
                    <a:cubicBezTo>
                      <a:pt x="62" y="43"/>
                      <a:pt x="38" y="38"/>
                      <a:pt x="19" y="27"/>
                    </a:cubicBezTo>
                    <a:cubicBezTo>
                      <a:pt x="12" y="23"/>
                      <a:pt x="4" y="16"/>
                      <a:pt x="0" y="7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4" name="Freeform 342"/>
              <p:cNvSpPr>
                <a:spLocks/>
              </p:cNvSpPr>
              <p:nvPr/>
            </p:nvSpPr>
            <p:spPr bwMode="gray">
              <a:xfrm>
                <a:off x="-98425" y="24039513"/>
                <a:ext cx="203200" cy="94138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12" y="60"/>
                  </a:cxn>
                  <a:cxn ang="0">
                    <a:pos x="1" y="127"/>
                  </a:cxn>
                  <a:cxn ang="0">
                    <a:pos x="13" y="158"/>
                  </a:cxn>
                  <a:cxn ang="0">
                    <a:pos x="26" y="194"/>
                  </a:cxn>
                  <a:cxn ang="0">
                    <a:pos x="43" y="218"/>
                  </a:cxn>
                  <a:cxn ang="0">
                    <a:pos x="54" y="251"/>
                  </a:cxn>
                  <a:cxn ang="0">
                    <a:pos x="21" y="125"/>
                  </a:cxn>
                  <a:cxn ang="0">
                    <a:pos x="27" y="61"/>
                  </a:cxn>
                  <a:cxn ang="0">
                    <a:pos x="26" y="6"/>
                  </a:cxn>
                  <a:cxn ang="0">
                    <a:pos x="20" y="33"/>
                  </a:cxn>
                </a:cxnLst>
                <a:rect l="0" t="0" r="r" b="b"/>
                <a:pathLst>
                  <a:path w="54" h="251">
                    <a:moveTo>
                      <a:pt x="28" y="0"/>
                    </a:moveTo>
                    <a:cubicBezTo>
                      <a:pt x="28" y="26"/>
                      <a:pt x="24" y="39"/>
                      <a:pt x="12" y="60"/>
                    </a:cubicBezTo>
                    <a:cubicBezTo>
                      <a:pt x="0" y="81"/>
                      <a:pt x="0" y="102"/>
                      <a:pt x="1" y="127"/>
                    </a:cubicBezTo>
                    <a:cubicBezTo>
                      <a:pt x="2" y="141"/>
                      <a:pt x="6" y="146"/>
                      <a:pt x="13" y="158"/>
                    </a:cubicBezTo>
                    <a:cubicBezTo>
                      <a:pt x="19" y="169"/>
                      <a:pt x="19" y="183"/>
                      <a:pt x="26" y="194"/>
                    </a:cubicBezTo>
                    <a:cubicBezTo>
                      <a:pt x="31" y="203"/>
                      <a:pt x="39" y="209"/>
                      <a:pt x="43" y="218"/>
                    </a:cubicBezTo>
                    <a:cubicBezTo>
                      <a:pt x="49" y="228"/>
                      <a:pt x="51" y="240"/>
                      <a:pt x="54" y="251"/>
                    </a:cubicBezTo>
                    <a:cubicBezTo>
                      <a:pt x="53" y="206"/>
                      <a:pt x="29" y="167"/>
                      <a:pt x="21" y="125"/>
                    </a:cubicBezTo>
                    <a:cubicBezTo>
                      <a:pt x="16" y="102"/>
                      <a:pt x="19" y="82"/>
                      <a:pt x="27" y="61"/>
                    </a:cubicBezTo>
                    <a:cubicBezTo>
                      <a:pt x="34" y="43"/>
                      <a:pt x="37" y="24"/>
                      <a:pt x="26" y="6"/>
                    </a:cubicBezTo>
                    <a:cubicBezTo>
                      <a:pt x="22" y="15"/>
                      <a:pt x="22" y="24"/>
                      <a:pt x="20" y="33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5" name="Freeform 343"/>
              <p:cNvSpPr>
                <a:spLocks/>
              </p:cNvSpPr>
              <p:nvPr/>
            </p:nvSpPr>
            <p:spPr bwMode="gray">
              <a:xfrm>
                <a:off x="231775" y="25336501"/>
                <a:ext cx="655638" cy="195263"/>
              </a:xfrm>
              <a:custGeom>
                <a:avLst/>
                <a:gdLst/>
                <a:ahLst/>
                <a:cxnLst>
                  <a:cxn ang="0">
                    <a:pos x="159" y="0"/>
                  </a:cxn>
                  <a:cxn ang="0">
                    <a:pos x="145" y="35"/>
                  </a:cxn>
                  <a:cxn ang="0">
                    <a:pos x="93" y="45"/>
                  </a:cxn>
                  <a:cxn ang="0">
                    <a:pos x="0" y="25"/>
                  </a:cxn>
                  <a:cxn ang="0">
                    <a:pos x="35" y="45"/>
                  </a:cxn>
                  <a:cxn ang="0">
                    <a:pos x="87" y="51"/>
                  </a:cxn>
                  <a:cxn ang="0">
                    <a:pos x="134" y="50"/>
                  </a:cxn>
                  <a:cxn ang="0">
                    <a:pos x="175" y="38"/>
                  </a:cxn>
                  <a:cxn ang="0">
                    <a:pos x="168" y="26"/>
                  </a:cxn>
                </a:cxnLst>
                <a:rect l="0" t="0" r="r" b="b"/>
                <a:pathLst>
                  <a:path w="175" h="52">
                    <a:moveTo>
                      <a:pt x="159" y="0"/>
                    </a:moveTo>
                    <a:cubicBezTo>
                      <a:pt x="161" y="18"/>
                      <a:pt x="162" y="27"/>
                      <a:pt x="145" y="35"/>
                    </a:cubicBezTo>
                    <a:cubicBezTo>
                      <a:pt x="130" y="43"/>
                      <a:pt x="111" y="45"/>
                      <a:pt x="93" y="45"/>
                    </a:cubicBezTo>
                    <a:cubicBezTo>
                      <a:pt x="60" y="47"/>
                      <a:pt x="28" y="37"/>
                      <a:pt x="0" y="25"/>
                    </a:cubicBezTo>
                    <a:cubicBezTo>
                      <a:pt x="13" y="32"/>
                      <a:pt x="20" y="42"/>
                      <a:pt x="35" y="45"/>
                    </a:cubicBezTo>
                    <a:cubicBezTo>
                      <a:pt x="51" y="49"/>
                      <a:pt x="70" y="50"/>
                      <a:pt x="87" y="51"/>
                    </a:cubicBezTo>
                    <a:cubicBezTo>
                      <a:pt x="102" y="52"/>
                      <a:pt x="120" y="52"/>
                      <a:pt x="134" y="50"/>
                    </a:cubicBezTo>
                    <a:cubicBezTo>
                      <a:pt x="148" y="48"/>
                      <a:pt x="161" y="41"/>
                      <a:pt x="175" y="38"/>
                    </a:cubicBezTo>
                    <a:cubicBezTo>
                      <a:pt x="174" y="33"/>
                      <a:pt x="171" y="29"/>
                      <a:pt x="168" y="26"/>
                    </a:cubicBezTo>
                  </a:path>
                </a:pathLst>
              </a:custGeom>
              <a:solidFill>
                <a:srgbClr val="CEBEB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6" name="Freeform 344"/>
              <p:cNvSpPr>
                <a:spLocks/>
              </p:cNvSpPr>
              <p:nvPr/>
            </p:nvSpPr>
            <p:spPr bwMode="gray">
              <a:xfrm>
                <a:off x="104775" y="25633363"/>
                <a:ext cx="430213" cy="407988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53" y="38"/>
                  </a:cxn>
                  <a:cxn ang="0">
                    <a:pos x="114" y="60"/>
                  </a:cxn>
                  <a:cxn ang="0">
                    <a:pos x="114" y="64"/>
                  </a:cxn>
                  <a:cxn ang="0">
                    <a:pos x="67" y="69"/>
                  </a:cxn>
                  <a:cxn ang="0">
                    <a:pos x="115" y="92"/>
                  </a:cxn>
                  <a:cxn ang="0">
                    <a:pos x="35" y="65"/>
                  </a:cxn>
                  <a:cxn ang="0">
                    <a:pos x="0" y="0"/>
                  </a:cxn>
                </a:cxnLst>
                <a:rect l="0" t="0" r="r" b="b"/>
                <a:pathLst>
                  <a:path w="115" h="109">
                    <a:moveTo>
                      <a:pt x="15" y="15"/>
                    </a:moveTo>
                    <a:cubicBezTo>
                      <a:pt x="28" y="21"/>
                      <a:pt x="40" y="30"/>
                      <a:pt x="53" y="38"/>
                    </a:cubicBezTo>
                    <a:cubicBezTo>
                      <a:pt x="73" y="51"/>
                      <a:pt x="91" y="53"/>
                      <a:pt x="114" y="60"/>
                    </a:cubicBezTo>
                    <a:cubicBezTo>
                      <a:pt x="114" y="61"/>
                      <a:pt x="114" y="63"/>
                      <a:pt x="114" y="64"/>
                    </a:cubicBezTo>
                    <a:cubicBezTo>
                      <a:pt x="99" y="67"/>
                      <a:pt x="82" y="69"/>
                      <a:pt x="67" y="69"/>
                    </a:cubicBezTo>
                    <a:cubicBezTo>
                      <a:pt x="78" y="79"/>
                      <a:pt x="103" y="81"/>
                      <a:pt x="115" y="92"/>
                    </a:cubicBezTo>
                    <a:cubicBezTo>
                      <a:pt x="88" y="109"/>
                      <a:pt x="56" y="78"/>
                      <a:pt x="35" y="65"/>
                    </a:cubicBezTo>
                    <a:cubicBezTo>
                      <a:pt x="9" y="50"/>
                      <a:pt x="16" y="20"/>
                      <a:pt x="0" y="0"/>
                    </a:cubicBezTo>
                  </a:path>
                </a:pathLst>
              </a:custGeom>
              <a:solidFill>
                <a:srgbClr val="9B979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7" name="Freeform 345"/>
              <p:cNvSpPr>
                <a:spLocks/>
              </p:cNvSpPr>
              <p:nvPr/>
            </p:nvSpPr>
            <p:spPr bwMode="gray">
              <a:xfrm>
                <a:off x="-3090863" y="25314276"/>
                <a:ext cx="468313" cy="600075"/>
              </a:xfrm>
              <a:custGeom>
                <a:avLst/>
                <a:gdLst/>
                <a:ahLst/>
                <a:cxnLst>
                  <a:cxn ang="0">
                    <a:pos x="85" y="0"/>
                  </a:cxn>
                  <a:cxn ang="0">
                    <a:pos x="42" y="76"/>
                  </a:cxn>
                  <a:cxn ang="0">
                    <a:pos x="0" y="160"/>
                  </a:cxn>
                  <a:cxn ang="0">
                    <a:pos x="62" y="88"/>
                  </a:cxn>
                  <a:cxn ang="0">
                    <a:pos x="85" y="73"/>
                  </a:cxn>
                  <a:cxn ang="0">
                    <a:pos x="87" y="47"/>
                  </a:cxn>
                  <a:cxn ang="0">
                    <a:pos x="125" y="29"/>
                  </a:cxn>
                  <a:cxn ang="0">
                    <a:pos x="125" y="21"/>
                  </a:cxn>
                  <a:cxn ang="0">
                    <a:pos x="91" y="12"/>
                  </a:cxn>
                </a:cxnLst>
                <a:rect l="0" t="0" r="r" b="b"/>
                <a:pathLst>
                  <a:path w="125" h="160">
                    <a:moveTo>
                      <a:pt x="85" y="0"/>
                    </a:moveTo>
                    <a:cubicBezTo>
                      <a:pt x="55" y="15"/>
                      <a:pt x="56" y="50"/>
                      <a:pt x="42" y="76"/>
                    </a:cubicBezTo>
                    <a:cubicBezTo>
                      <a:pt x="28" y="101"/>
                      <a:pt x="1" y="133"/>
                      <a:pt x="0" y="160"/>
                    </a:cubicBezTo>
                    <a:cubicBezTo>
                      <a:pt x="17" y="132"/>
                      <a:pt x="36" y="108"/>
                      <a:pt x="62" y="88"/>
                    </a:cubicBezTo>
                    <a:cubicBezTo>
                      <a:pt x="70" y="81"/>
                      <a:pt x="79" y="83"/>
                      <a:pt x="85" y="73"/>
                    </a:cubicBezTo>
                    <a:cubicBezTo>
                      <a:pt x="90" y="66"/>
                      <a:pt x="83" y="54"/>
                      <a:pt x="87" y="47"/>
                    </a:cubicBezTo>
                    <a:cubicBezTo>
                      <a:pt x="96" y="33"/>
                      <a:pt x="108" y="27"/>
                      <a:pt x="125" y="29"/>
                    </a:cubicBezTo>
                    <a:cubicBezTo>
                      <a:pt x="125" y="28"/>
                      <a:pt x="125" y="22"/>
                      <a:pt x="125" y="21"/>
                    </a:cubicBezTo>
                    <a:cubicBezTo>
                      <a:pt x="114" y="16"/>
                      <a:pt x="103" y="11"/>
                      <a:pt x="91" y="12"/>
                    </a:cubicBezTo>
                  </a:path>
                </a:pathLst>
              </a:custGeom>
              <a:solidFill>
                <a:srgbClr val="9B979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4" name="Gruppieren 192"/>
          <p:cNvGrpSpPr/>
          <p:nvPr/>
        </p:nvGrpSpPr>
        <p:grpSpPr>
          <a:xfrm>
            <a:off x="6260301" y="1916112"/>
            <a:ext cx="2568595" cy="1814620"/>
            <a:chOff x="5897225" y="1916112"/>
            <a:chExt cx="2568595" cy="1814620"/>
          </a:xfrm>
          <a:scene3d>
            <a:camera prst="perspectiveLeft" fov="6000000">
              <a:rot lat="0" lon="2100000" rev="0"/>
            </a:camera>
            <a:lightRig rig="balanced" dir="t"/>
          </a:scene3d>
        </p:grpSpPr>
        <p:sp>
          <p:nvSpPr>
            <p:cNvPr id="184" name="Rechteck 183"/>
            <p:cNvSpPr/>
            <p:nvPr/>
          </p:nvSpPr>
          <p:spPr bwMode="auto">
            <a:xfrm>
              <a:off x="5897225" y="1916112"/>
              <a:ext cx="1067455" cy="69994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de-DE" sz="1400" b="1" dirty="0" smtClean="0">
                  <a:solidFill>
                    <a:srgbClr val="000000"/>
                  </a:solidFill>
                  <a:cs typeface="Arial" charset="0"/>
                </a:rPr>
                <a:t>Product</a:t>
              </a:r>
            </a:p>
          </p:txBody>
        </p:sp>
        <p:sp>
          <p:nvSpPr>
            <p:cNvPr id="185" name="Rechteck 184"/>
            <p:cNvSpPr/>
            <p:nvPr/>
          </p:nvSpPr>
          <p:spPr bwMode="auto">
            <a:xfrm>
              <a:off x="7398365" y="1916112"/>
              <a:ext cx="1067455" cy="69994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de-DE" sz="1400" b="1" dirty="0" smtClean="0">
                  <a:solidFill>
                    <a:srgbClr val="000000"/>
                  </a:solidFill>
                  <a:cs typeface="Arial" charset="0"/>
                </a:rPr>
                <a:t>Price</a:t>
              </a:r>
            </a:p>
          </p:txBody>
        </p:sp>
        <p:sp>
          <p:nvSpPr>
            <p:cNvPr id="187" name="Rechteck 186"/>
            <p:cNvSpPr/>
            <p:nvPr/>
          </p:nvSpPr>
          <p:spPr bwMode="auto">
            <a:xfrm>
              <a:off x="5897225" y="3030790"/>
              <a:ext cx="1067455" cy="69994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de-DE" sz="1400" b="1" dirty="0" smtClean="0">
                  <a:solidFill>
                    <a:srgbClr val="000000"/>
                  </a:solidFill>
                  <a:cs typeface="Arial" charset="0"/>
                </a:rPr>
                <a:t>Place</a:t>
              </a:r>
            </a:p>
          </p:txBody>
        </p:sp>
        <p:sp>
          <p:nvSpPr>
            <p:cNvPr id="188" name="Rechteck 187"/>
            <p:cNvSpPr/>
            <p:nvPr/>
          </p:nvSpPr>
          <p:spPr bwMode="auto">
            <a:xfrm>
              <a:off x="7398365" y="3030790"/>
              <a:ext cx="1067455" cy="69994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de-DE" sz="1400" b="1" dirty="0" smtClean="0">
                  <a:solidFill>
                    <a:srgbClr val="000000"/>
                  </a:solidFill>
                  <a:cs typeface="Arial" charset="0"/>
                </a:rPr>
                <a:t>Promotion</a:t>
              </a:r>
            </a:p>
          </p:txBody>
        </p:sp>
        <p:sp>
          <p:nvSpPr>
            <p:cNvPr id="189" name="Gleichschenkliges Dreieck 188"/>
            <p:cNvSpPr/>
            <p:nvPr/>
          </p:nvSpPr>
          <p:spPr bwMode="auto">
            <a:xfrm rot="5400000">
              <a:off x="6964680" y="2149770"/>
              <a:ext cx="433685" cy="23262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0" name="Gleichschenkliges Dreieck 189"/>
            <p:cNvSpPr/>
            <p:nvPr/>
          </p:nvSpPr>
          <p:spPr bwMode="auto">
            <a:xfrm rot="16200000">
              <a:off x="6964680" y="3264448"/>
              <a:ext cx="433685" cy="23262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1" name="Gleichschenkliges Dreieck 190"/>
            <p:cNvSpPr/>
            <p:nvPr/>
          </p:nvSpPr>
          <p:spPr bwMode="auto">
            <a:xfrm rot="10800000">
              <a:off x="7715250" y="2707109"/>
              <a:ext cx="433685" cy="23262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2" name="Gleichschenkliges Dreieck 191"/>
            <p:cNvSpPr/>
            <p:nvPr/>
          </p:nvSpPr>
          <p:spPr bwMode="auto">
            <a:xfrm>
              <a:off x="6214110" y="2707109"/>
              <a:ext cx="433685" cy="23262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p3d extrusionH="63500">
              <a:bevelT w="12700" h="12700"/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de-DE" sz="12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5" name="Gruppieren 97"/>
          <p:cNvGrpSpPr/>
          <p:nvPr/>
        </p:nvGrpSpPr>
        <p:grpSpPr>
          <a:xfrm>
            <a:off x="5114335" y="2427187"/>
            <a:ext cx="1564399" cy="3353612"/>
            <a:chOff x="2855868" y="2083182"/>
            <a:chExt cx="1564399" cy="3353612"/>
          </a:xfrm>
        </p:grpSpPr>
        <p:pic>
          <p:nvPicPr>
            <p:cNvPr id="99" name="_effect" descr="C:\Users\marc.h\Desktop\Schatten-TES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2855868" y="4795669"/>
              <a:ext cx="1564399" cy="641125"/>
            </a:xfrm>
            <a:prstGeom prst="rect">
              <a:avLst/>
            </a:prstGeom>
            <a:noFill/>
          </p:spPr>
        </p:pic>
        <p:grpSp>
          <p:nvGrpSpPr>
            <p:cNvPr id="6" name="Gruppieren 317"/>
            <p:cNvGrpSpPr/>
            <p:nvPr/>
          </p:nvGrpSpPr>
          <p:grpSpPr bwMode="gray">
            <a:xfrm>
              <a:off x="3122137" y="2083182"/>
              <a:ext cx="1181740" cy="3203529"/>
              <a:chOff x="-13061950" y="-19913600"/>
              <a:chExt cx="7807325" cy="21164550"/>
            </a:xfrm>
          </p:grpSpPr>
          <p:sp>
            <p:nvSpPr>
              <p:cNvPr id="101" name="Freeform 7"/>
              <p:cNvSpPr>
                <a:spLocks/>
              </p:cNvSpPr>
              <p:nvPr/>
            </p:nvSpPr>
            <p:spPr bwMode="gray">
              <a:xfrm>
                <a:off x="-6859588" y="-14300200"/>
                <a:ext cx="768350" cy="630238"/>
              </a:xfrm>
              <a:custGeom>
                <a:avLst/>
                <a:gdLst/>
                <a:ahLst/>
                <a:cxnLst>
                  <a:cxn ang="0">
                    <a:pos x="187" y="98"/>
                  </a:cxn>
                  <a:cxn ang="0">
                    <a:pos x="203" y="59"/>
                  </a:cxn>
                  <a:cxn ang="0">
                    <a:pos x="171" y="28"/>
                  </a:cxn>
                  <a:cxn ang="0">
                    <a:pos x="129" y="9"/>
                  </a:cxn>
                  <a:cxn ang="0">
                    <a:pos x="76" y="2"/>
                  </a:cxn>
                  <a:cxn ang="0">
                    <a:pos x="38" y="41"/>
                  </a:cxn>
                  <a:cxn ang="0">
                    <a:pos x="73" y="52"/>
                  </a:cxn>
                  <a:cxn ang="0">
                    <a:pos x="107" y="64"/>
                  </a:cxn>
                  <a:cxn ang="0">
                    <a:pos x="58" y="71"/>
                  </a:cxn>
                  <a:cxn ang="0">
                    <a:pos x="5" y="87"/>
                  </a:cxn>
                  <a:cxn ang="0">
                    <a:pos x="2" y="120"/>
                  </a:cxn>
                  <a:cxn ang="0">
                    <a:pos x="11" y="135"/>
                  </a:cxn>
                  <a:cxn ang="0">
                    <a:pos x="22" y="150"/>
                  </a:cxn>
                  <a:cxn ang="0">
                    <a:pos x="128" y="144"/>
                  </a:cxn>
                  <a:cxn ang="0">
                    <a:pos x="147" y="133"/>
                  </a:cxn>
                  <a:cxn ang="0">
                    <a:pos x="168" y="121"/>
                  </a:cxn>
                  <a:cxn ang="0">
                    <a:pos x="189" y="98"/>
                  </a:cxn>
                </a:cxnLst>
                <a:rect l="0" t="0" r="r" b="b"/>
                <a:pathLst>
                  <a:path w="205" h="168">
                    <a:moveTo>
                      <a:pt x="187" y="98"/>
                    </a:moveTo>
                    <a:cubicBezTo>
                      <a:pt x="187" y="85"/>
                      <a:pt x="205" y="74"/>
                      <a:pt x="203" y="59"/>
                    </a:cubicBezTo>
                    <a:cubicBezTo>
                      <a:pt x="200" y="47"/>
                      <a:pt x="181" y="34"/>
                      <a:pt x="171" y="28"/>
                    </a:cubicBezTo>
                    <a:cubicBezTo>
                      <a:pt x="158" y="19"/>
                      <a:pt x="144" y="12"/>
                      <a:pt x="129" y="9"/>
                    </a:cubicBezTo>
                    <a:cubicBezTo>
                      <a:pt x="113" y="5"/>
                      <a:pt x="93" y="0"/>
                      <a:pt x="76" y="2"/>
                    </a:cubicBezTo>
                    <a:cubicBezTo>
                      <a:pt x="59" y="4"/>
                      <a:pt x="16" y="17"/>
                      <a:pt x="38" y="41"/>
                    </a:cubicBezTo>
                    <a:cubicBezTo>
                      <a:pt x="47" y="51"/>
                      <a:pt x="62" y="49"/>
                      <a:pt x="73" y="52"/>
                    </a:cubicBezTo>
                    <a:cubicBezTo>
                      <a:pt x="82" y="54"/>
                      <a:pt x="100" y="57"/>
                      <a:pt x="107" y="64"/>
                    </a:cubicBezTo>
                    <a:cubicBezTo>
                      <a:pt x="100" y="74"/>
                      <a:pt x="70" y="71"/>
                      <a:pt x="58" y="71"/>
                    </a:cubicBezTo>
                    <a:cubicBezTo>
                      <a:pt x="38" y="72"/>
                      <a:pt x="15" y="66"/>
                      <a:pt x="5" y="87"/>
                    </a:cubicBezTo>
                    <a:cubicBezTo>
                      <a:pt x="1" y="96"/>
                      <a:pt x="0" y="109"/>
                      <a:pt x="2" y="120"/>
                    </a:cubicBezTo>
                    <a:cubicBezTo>
                      <a:pt x="3" y="128"/>
                      <a:pt x="6" y="128"/>
                      <a:pt x="11" y="135"/>
                    </a:cubicBezTo>
                    <a:cubicBezTo>
                      <a:pt x="15" y="141"/>
                      <a:pt x="15" y="146"/>
                      <a:pt x="22" y="150"/>
                    </a:cubicBezTo>
                    <a:cubicBezTo>
                      <a:pt x="47" y="168"/>
                      <a:pt x="104" y="159"/>
                      <a:pt x="128" y="144"/>
                    </a:cubicBezTo>
                    <a:cubicBezTo>
                      <a:pt x="134" y="141"/>
                      <a:pt x="140" y="136"/>
                      <a:pt x="147" y="133"/>
                    </a:cubicBezTo>
                    <a:cubicBezTo>
                      <a:pt x="155" y="129"/>
                      <a:pt x="162" y="128"/>
                      <a:pt x="168" y="121"/>
                    </a:cubicBezTo>
                    <a:cubicBezTo>
                      <a:pt x="175" y="114"/>
                      <a:pt x="182" y="103"/>
                      <a:pt x="189" y="98"/>
                    </a:cubicBezTo>
                  </a:path>
                </a:pathLst>
              </a:custGeom>
              <a:solidFill>
                <a:srgbClr val="E2CEC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2" name="Freeform 8"/>
              <p:cNvSpPr>
                <a:spLocks/>
              </p:cNvSpPr>
              <p:nvPr/>
            </p:nvSpPr>
            <p:spPr bwMode="gray">
              <a:xfrm>
                <a:off x="-11168063" y="-739775"/>
                <a:ext cx="2095500" cy="1990725"/>
              </a:xfrm>
              <a:custGeom>
                <a:avLst/>
                <a:gdLst/>
                <a:ahLst/>
                <a:cxnLst>
                  <a:cxn ang="0">
                    <a:pos x="18" y="77"/>
                  </a:cxn>
                  <a:cxn ang="0">
                    <a:pos x="11" y="248"/>
                  </a:cxn>
                  <a:cxn ang="0">
                    <a:pos x="102" y="359"/>
                  </a:cxn>
                  <a:cxn ang="0">
                    <a:pos x="242" y="485"/>
                  </a:cxn>
                  <a:cxn ang="0">
                    <a:pos x="413" y="531"/>
                  </a:cxn>
                  <a:cxn ang="0">
                    <a:pos x="538" y="470"/>
                  </a:cxn>
                  <a:cxn ang="0">
                    <a:pos x="471" y="316"/>
                  </a:cxn>
                  <a:cxn ang="0">
                    <a:pos x="309" y="68"/>
                  </a:cxn>
                  <a:cxn ang="0">
                    <a:pos x="145" y="3"/>
                  </a:cxn>
                  <a:cxn ang="0">
                    <a:pos x="18" y="77"/>
                  </a:cxn>
                </a:cxnLst>
                <a:rect l="0" t="0" r="r" b="b"/>
                <a:pathLst>
                  <a:path w="559" h="531">
                    <a:moveTo>
                      <a:pt x="18" y="77"/>
                    </a:moveTo>
                    <a:cubicBezTo>
                      <a:pt x="18" y="123"/>
                      <a:pt x="0" y="211"/>
                      <a:pt x="11" y="248"/>
                    </a:cubicBezTo>
                    <a:cubicBezTo>
                      <a:pt x="26" y="302"/>
                      <a:pt x="109" y="296"/>
                      <a:pt x="102" y="359"/>
                    </a:cubicBezTo>
                    <a:cubicBezTo>
                      <a:pt x="157" y="390"/>
                      <a:pt x="189" y="454"/>
                      <a:pt x="242" y="485"/>
                    </a:cubicBezTo>
                    <a:cubicBezTo>
                      <a:pt x="289" y="513"/>
                      <a:pt x="360" y="531"/>
                      <a:pt x="413" y="531"/>
                    </a:cubicBezTo>
                    <a:cubicBezTo>
                      <a:pt x="457" y="531"/>
                      <a:pt x="521" y="515"/>
                      <a:pt x="538" y="470"/>
                    </a:cubicBezTo>
                    <a:cubicBezTo>
                      <a:pt x="559" y="413"/>
                      <a:pt x="499" y="359"/>
                      <a:pt x="471" y="316"/>
                    </a:cubicBezTo>
                    <a:cubicBezTo>
                      <a:pt x="418" y="234"/>
                      <a:pt x="374" y="134"/>
                      <a:pt x="309" y="68"/>
                    </a:cubicBezTo>
                    <a:cubicBezTo>
                      <a:pt x="269" y="29"/>
                      <a:pt x="203" y="0"/>
                      <a:pt x="145" y="3"/>
                    </a:cubicBezTo>
                    <a:cubicBezTo>
                      <a:pt x="78" y="7"/>
                      <a:pt x="64" y="37"/>
                      <a:pt x="18" y="77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3" name="Freeform 9"/>
              <p:cNvSpPr>
                <a:spLocks/>
              </p:cNvSpPr>
              <p:nvPr/>
            </p:nvSpPr>
            <p:spPr bwMode="gray">
              <a:xfrm>
                <a:off x="-10085388" y="-1509712"/>
                <a:ext cx="2535238" cy="1876425"/>
              </a:xfrm>
              <a:custGeom>
                <a:avLst/>
                <a:gdLst/>
                <a:ahLst/>
                <a:cxnLst>
                  <a:cxn ang="0">
                    <a:pos x="27" y="245"/>
                  </a:cxn>
                  <a:cxn ang="0">
                    <a:pos x="193" y="347"/>
                  </a:cxn>
                  <a:cxn ang="0">
                    <a:pos x="319" y="452"/>
                  </a:cxn>
                  <a:cxn ang="0">
                    <a:pos x="666" y="430"/>
                  </a:cxn>
                  <a:cxn ang="0">
                    <a:pos x="503" y="275"/>
                  </a:cxn>
                  <a:cxn ang="0">
                    <a:pos x="413" y="225"/>
                  </a:cxn>
                  <a:cxn ang="0">
                    <a:pos x="338" y="113"/>
                  </a:cxn>
                  <a:cxn ang="0">
                    <a:pos x="137" y="43"/>
                  </a:cxn>
                  <a:cxn ang="0">
                    <a:pos x="42" y="245"/>
                  </a:cxn>
                </a:cxnLst>
                <a:rect l="0" t="0" r="r" b="b"/>
                <a:pathLst>
                  <a:path w="676" h="500">
                    <a:moveTo>
                      <a:pt x="27" y="245"/>
                    </a:moveTo>
                    <a:cubicBezTo>
                      <a:pt x="72" y="298"/>
                      <a:pt x="140" y="309"/>
                      <a:pt x="193" y="347"/>
                    </a:cubicBezTo>
                    <a:cubicBezTo>
                      <a:pt x="238" y="381"/>
                      <a:pt x="268" y="426"/>
                      <a:pt x="319" y="452"/>
                    </a:cubicBezTo>
                    <a:cubicBezTo>
                      <a:pt x="417" y="500"/>
                      <a:pt x="579" y="491"/>
                      <a:pt x="666" y="430"/>
                    </a:cubicBezTo>
                    <a:cubicBezTo>
                      <a:pt x="676" y="377"/>
                      <a:pt x="547" y="304"/>
                      <a:pt x="503" y="275"/>
                    </a:cubicBezTo>
                    <a:cubicBezTo>
                      <a:pt x="476" y="257"/>
                      <a:pt x="437" y="246"/>
                      <a:pt x="413" y="225"/>
                    </a:cubicBezTo>
                    <a:cubicBezTo>
                      <a:pt x="379" y="196"/>
                      <a:pt x="363" y="152"/>
                      <a:pt x="338" y="113"/>
                    </a:cubicBezTo>
                    <a:cubicBezTo>
                      <a:pt x="283" y="31"/>
                      <a:pt x="229" y="0"/>
                      <a:pt x="137" y="43"/>
                    </a:cubicBezTo>
                    <a:cubicBezTo>
                      <a:pt x="60" y="79"/>
                      <a:pt x="0" y="162"/>
                      <a:pt x="42" y="245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4" name="Freeform 10"/>
              <p:cNvSpPr>
                <a:spLocks/>
              </p:cNvSpPr>
              <p:nvPr/>
            </p:nvSpPr>
            <p:spPr bwMode="gray">
              <a:xfrm>
                <a:off x="-8243888" y="-11663362"/>
                <a:ext cx="1343025" cy="3681413"/>
              </a:xfrm>
              <a:custGeom>
                <a:avLst/>
                <a:gdLst/>
                <a:ahLst/>
                <a:cxnLst>
                  <a:cxn ang="0">
                    <a:pos x="0" y="147"/>
                  </a:cxn>
                  <a:cxn ang="0">
                    <a:pos x="169" y="465"/>
                  </a:cxn>
                  <a:cxn ang="0">
                    <a:pos x="156" y="656"/>
                  </a:cxn>
                  <a:cxn ang="0">
                    <a:pos x="207" y="753"/>
                  </a:cxn>
                  <a:cxn ang="0">
                    <a:pos x="150" y="811"/>
                  </a:cxn>
                  <a:cxn ang="0">
                    <a:pos x="202" y="810"/>
                  </a:cxn>
                  <a:cxn ang="0">
                    <a:pos x="100" y="860"/>
                  </a:cxn>
                  <a:cxn ang="0">
                    <a:pos x="168" y="864"/>
                  </a:cxn>
                  <a:cxn ang="0">
                    <a:pos x="130" y="929"/>
                  </a:cxn>
                  <a:cxn ang="0">
                    <a:pos x="237" y="903"/>
                  </a:cxn>
                  <a:cxn ang="0">
                    <a:pos x="220" y="969"/>
                  </a:cxn>
                  <a:cxn ang="0">
                    <a:pos x="256" y="969"/>
                  </a:cxn>
                  <a:cxn ang="0">
                    <a:pos x="348" y="713"/>
                  </a:cxn>
                  <a:cxn ang="0">
                    <a:pos x="320" y="581"/>
                  </a:cxn>
                  <a:cxn ang="0">
                    <a:pos x="288" y="423"/>
                  </a:cxn>
                  <a:cxn ang="0">
                    <a:pos x="211" y="128"/>
                  </a:cxn>
                  <a:cxn ang="0">
                    <a:pos x="0" y="147"/>
                  </a:cxn>
                </a:cxnLst>
                <a:rect l="0" t="0" r="r" b="b"/>
                <a:pathLst>
                  <a:path w="358" h="982">
                    <a:moveTo>
                      <a:pt x="0" y="147"/>
                    </a:moveTo>
                    <a:cubicBezTo>
                      <a:pt x="61" y="230"/>
                      <a:pt x="164" y="358"/>
                      <a:pt x="169" y="465"/>
                    </a:cubicBezTo>
                    <a:cubicBezTo>
                      <a:pt x="172" y="534"/>
                      <a:pt x="135" y="587"/>
                      <a:pt x="156" y="656"/>
                    </a:cubicBezTo>
                    <a:cubicBezTo>
                      <a:pt x="168" y="694"/>
                      <a:pt x="209" y="705"/>
                      <a:pt x="207" y="753"/>
                    </a:cubicBezTo>
                    <a:cubicBezTo>
                      <a:pt x="207" y="758"/>
                      <a:pt x="126" y="789"/>
                      <a:pt x="150" y="811"/>
                    </a:cubicBezTo>
                    <a:cubicBezTo>
                      <a:pt x="163" y="812"/>
                      <a:pt x="190" y="809"/>
                      <a:pt x="202" y="810"/>
                    </a:cubicBezTo>
                    <a:cubicBezTo>
                      <a:pt x="176" y="818"/>
                      <a:pt x="87" y="842"/>
                      <a:pt x="100" y="860"/>
                    </a:cubicBezTo>
                    <a:cubicBezTo>
                      <a:pt x="106" y="878"/>
                      <a:pt x="147" y="865"/>
                      <a:pt x="168" y="864"/>
                    </a:cubicBezTo>
                    <a:cubicBezTo>
                      <a:pt x="275" y="837"/>
                      <a:pt x="120" y="908"/>
                      <a:pt x="130" y="929"/>
                    </a:cubicBezTo>
                    <a:cubicBezTo>
                      <a:pt x="174" y="953"/>
                      <a:pt x="247" y="873"/>
                      <a:pt x="237" y="903"/>
                    </a:cubicBezTo>
                    <a:cubicBezTo>
                      <a:pt x="247" y="930"/>
                      <a:pt x="214" y="951"/>
                      <a:pt x="220" y="969"/>
                    </a:cubicBezTo>
                    <a:cubicBezTo>
                      <a:pt x="231" y="978"/>
                      <a:pt x="239" y="982"/>
                      <a:pt x="256" y="969"/>
                    </a:cubicBezTo>
                    <a:cubicBezTo>
                      <a:pt x="299" y="880"/>
                      <a:pt x="358" y="829"/>
                      <a:pt x="348" y="713"/>
                    </a:cubicBezTo>
                    <a:cubicBezTo>
                      <a:pt x="343" y="661"/>
                      <a:pt x="338" y="628"/>
                      <a:pt x="320" y="581"/>
                    </a:cubicBezTo>
                    <a:cubicBezTo>
                      <a:pt x="295" y="517"/>
                      <a:pt x="297" y="491"/>
                      <a:pt x="288" y="423"/>
                    </a:cubicBezTo>
                    <a:cubicBezTo>
                      <a:pt x="276" y="333"/>
                      <a:pt x="240" y="214"/>
                      <a:pt x="211" y="128"/>
                    </a:cubicBezTo>
                    <a:cubicBezTo>
                      <a:pt x="169" y="0"/>
                      <a:pt x="49" y="31"/>
                      <a:pt x="0" y="147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5" name="Freeform 11"/>
              <p:cNvSpPr>
                <a:spLocks/>
              </p:cNvSpPr>
              <p:nvPr/>
            </p:nvSpPr>
            <p:spPr bwMode="gray">
              <a:xfrm>
                <a:off x="-11974513" y="-11715750"/>
                <a:ext cx="4462463" cy="11758613"/>
              </a:xfrm>
              <a:custGeom>
                <a:avLst/>
                <a:gdLst/>
                <a:ahLst/>
                <a:cxnLst>
                  <a:cxn ang="0">
                    <a:pos x="100" y="333"/>
                  </a:cxn>
                  <a:cxn ang="0">
                    <a:pos x="55" y="459"/>
                  </a:cxn>
                  <a:cxn ang="0">
                    <a:pos x="55" y="630"/>
                  </a:cxn>
                  <a:cxn ang="0">
                    <a:pos x="3" y="757"/>
                  </a:cxn>
                  <a:cxn ang="0">
                    <a:pos x="10" y="921"/>
                  </a:cxn>
                  <a:cxn ang="0">
                    <a:pos x="62" y="1062"/>
                  </a:cxn>
                  <a:cxn ang="0">
                    <a:pos x="84" y="1256"/>
                  </a:cxn>
                  <a:cxn ang="0">
                    <a:pos x="92" y="1434"/>
                  </a:cxn>
                  <a:cxn ang="0">
                    <a:pos x="99" y="1495"/>
                  </a:cxn>
                  <a:cxn ang="0">
                    <a:pos x="135" y="1567"/>
                  </a:cxn>
                  <a:cxn ang="0">
                    <a:pos x="113" y="1849"/>
                  </a:cxn>
                  <a:cxn ang="0">
                    <a:pos x="85" y="2226"/>
                  </a:cxn>
                  <a:cxn ang="0">
                    <a:pos x="123" y="2646"/>
                  </a:cxn>
                  <a:cxn ang="0">
                    <a:pos x="143" y="2648"/>
                  </a:cxn>
                  <a:cxn ang="0">
                    <a:pos x="232" y="3005"/>
                  </a:cxn>
                  <a:cxn ang="0">
                    <a:pos x="516" y="3064"/>
                  </a:cxn>
                  <a:cxn ang="0">
                    <a:pos x="575" y="3026"/>
                  </a:cxn>
                  <a:cxn ang="0">
                    <a:pos x="583" y="2937"/>
                  </a:cxn>
                  <a:cxn ang="0">
                    <a:pos x="577" y="2750"/>
                  </a:cxn>
                  <a:cxn ang="0">
                    <a:pos x="457" y="2424"/>
                  </a:cxn>
                  <a:cxn ang="0">
                    <a:pos x="503" y="2194"/>
                  </a:cxn>
                  <a:cxn ang="0">
                    <a:pos x="537" y="1968"/>
                  </a:cxn>
                  <a:cxn ang="0">
                    <a:pos x="600" y="1466"/>
                  </a:cxn>
                  <a:cxn ang="0">
                    <a:pos x="673" y="1613"/>
                  </a:cxn>
                  <a:cxn ang="0">
                    <a:pos x="658" y="1806"/>
                  </a:cxn>
                  <a:cxn ang="0">
                    <a:pos x="686" y="1946"/>
                  </a:cxn>
                  <a:cxn ang="0">
                    <a:pos x="620" y="2079"/>
                  </a:cxn>
                  <a:cxn ang="0">
                    <a:pos x="566" y="2416"/>
                  </a:cxn>
                  <a:cxn ang="0">
                    <a:pos x="509" y="2573"/>
                  </a:cxn>
                  <a:cxn ang="0">
                    <a:pos x="576" y="2729"/>
                  </a:cxn>
                  <a:cxn ang="0">
                    <a:pos x="605" y="2900"/>
                  </a:cxn>
                  <a:cxn ang="0">
                    <a:pos x="757" y="2872"/>
                  </a:cxn>
                  <a:cxn ang="0">
                    <a:pos x="946" y="2638"/>
                  </a:cxn>
                  <a:cxn ang="0">
                    <a:pos x="963" y="2455"/>
                  </a:cxn>
                  <a:cxn ang="0">
                    <a:pos x="1021" y="2297"/>
                  </a:cxn>
                  <a:cxn ang="0">
                    <a:pos x="1089" y="1910"/>
                  </a:cxn>
                  <a:cxn ang="0">
                    <a:pos x="1097" y="1709"/>
                  </a:cxn>
                  <a:cxn ang="0">
                    <a:pos x="1134" y="1560"/>
                  </a:cxn>
                  <a:cxn ang="0">
                    <a:pos x="1106" y="1367"/>
                  </a:cxn>
                  <a:cxn ang="0">
                    <a:pos x="1164" y="1218"/>
                  </a:cxn>
                  <a:cxn ang="0">
                    <a:pos x="1110" y="876"/>
                  </a:cxn>
                  <a:cxn ang="0">
                    <a:pos x="1054" y="532"/>
                  </a:cxn>
                  <a:cxn ang="0">
                    <a:pos x="733" y="72"/>
                  </a:cxn>
                  <a:cxn ang="0">
                    <a:pos x="191" y="96"/>
                  </a:cxn>
                  <a:cxn ang="0">
                    <a:pos x="85" y="347"/>
                  </a:cxn>
                </a:cxnLst>
                <a:rect l="0" t="0" r="r" b="b"/>
                <a:pathLst>
                  <a:path w="1190" h="3136">
                    <a:moveTo>
                      <a:pt x="100" y="333"/>
                    </a:moveTo>
                    <a:cubicBezTo>
                      <a:pt x="85" y="375"/>
                      <a:pt x="62" y="412"/>
                      <a:pt x="55" y="459"/>
                    </a:cubicBezTo>
                    <a:cubicBezTo>
                      <a:pt x="47" y="516"/>
                      <a:pt x="72" y="584"/>
                      <a:pt x="55" y="630"/>
                    </a:cubicBezTo>
                    <a:cubicBezTo>
                      <a:pt x="34" y="685"/>
                      <a:pt x="2" y="682"/>
                      <a:pt x="3" y="757"/>
                    </a:cubicBezTo>
                    <a:cubicBezTo>
                      <a:pt x="3" y="800"/>
                      <a:pt x="0" y="876"/>
                      <a:pt x="10" y="921"/>
                    </a:cubicBezTo>
                    <a:cubicBezTo>
                      <a:pt x="21" y="970"/>
                      <a:pt x="53" y="1010"/>
                      <a:pt x="62" y="1062"/>
                    </a:cubicBezTo>
                    <a:cubicBezTo>
                      <a:pt x="73" y="1126"/>
                      <a:pt x="77" y="1191"/>
                      <a:pt x="84" y="1256"/>
                    </a:cubicBezTo>
                    <a:cubicBezTo>
                      <a:pt x="91" y="1314"/>
                      <a:pt x="87" y="1375"/>
                      <a:pt x="92" y="1434"/>
                    </a:cubicBezTo>
                    <a:cubicBezTo>
                      <a:pt x="95" y="1458"/>
                      <a:pt x="91" y="1471"/>
                      <a:pt x="99" y="1495"/>
                    </a:cubicBezTo>
                    <a:cubicBezTo>
                      <a:pt x="110" y="1528"/>
                      <a:pt x="143" y="1522"/>
                      <a:pt x="135" y="1567"/>
                    </a:cubicBezTo>
                    <a:cubicBezTo>
                      <a:pt x="27" y="1602"/>
                      <a:pt x="125" y="1778"/>
                      <a:pt x="113" y="1849"/>
                    </a:cubicBezTo>
                    <a:cubicBezTo>
                      <a:pt x="29" y="1904"/>
                      <a:pt x="57" y="2138"/>
                      <a:pt x="85" y="2226"/>
                    </a:cubicBezTo>
                    <a:cubicBezTo>
                      <a:pt x="127" y="2361"/>
                      <a:pt x="101" y="2507"/>
                      <a:pt x="123" y="2646"/>
                    </a:cubicBezTo>
                    <a:cubicBezTo>
                      <a:pt x="130" y="2648"/>
                      <a:pt x="136" y="2645"/>
                      <a:pt x="143" y="2648"/>
                    </a:cubicBezTo>
                    <a:cubicBezTo>
                      <a:pt x="188" y="2762"/>
                      <a:pt x="180" y="2896"/>
                      <a:pt x="232" y="3005"/>
                    </a:cubicBezTo>
                    <a:cubicBezTo>
                      <a:pt x="295" y="3136"/>
                      <a:pt x="406" y="3101"/>
                      <a:pt x="516" y="3064"/>
                    </a:cubicBezTo>
                    <a:cubicBezTo>
                      <a:pt x="565" y="3047"/>
                      <a:pt x="552" y="3075"/>
                      <a:pt x="575" y="3026"/>
                    </a:cubicBezTo>
                    <a:cubicBezTo>
                      <a:pt x="588" y="3000"/>
                      <a:pt x="583" y="2967"/>
                      <a:pt x="583" y="2937"/>
                    </a:cubicBezTo>
                    <a:cubicBezTo>
                      <a:pt x="583" y="2875"/>
                      <a:pt x="586" y="2808"/>
                      <a:pt x="577" y="2750"/>
                    </a:cubicBezTo>
                    <a:cubicBezTo>
                      <a:pt x="559" y="2628"/>
                      <a:pt x="462" y="2553"/>
                      <a:pt x="457" y="2424"/>
                    </a:cubicBezTo>
                    <a:cubicBezTo>
                      <a:pt x="453" y="2338"/>
                      <a:pt x="478" y="2274"/>
                      <a:pt x="503" y="2194"/>
                    </a:cubicBezTo>
                    <a:cubicBezTo>
                      <a:pt x="525" y="2124"/>
                      <a:pt x="528" y="2045"/>
                      <a:pt x="537" y="1968"/>
                    </a:cubicBezTo>
                    <a:cubicBezTo>
                      <a:pt x="555" y="1813"/>
                      <a:pt x="612" y="1625"/>
                      <a:pt x="600" y="1466"/>
                    </a:cubicBezTo>
                    <a:cubicBezTo>
                      <a:pt x="634" y="1513"/>
                      <a:pt x="665" y="1553"/>
                      <a:pt x="673" y="1613"/>
                    </a:cubicBezTo>
                    <a:cubicBezTo>
                      <a:pt x="682" y="1678"/>
                      <a:pt x="646" y="1746"/>
                      <a:pt x="658" y="1806"/>
                    </a:cubicBezTo>
                    <a:cubicBezTo>
                      <a:pt x="669" y="1865"/>
                      <a:pt x="717" y="1878"/>
                      <a:pt x="686" y="1946"/>
                    </a:cubicBezTo>
                    <a:cubicBezTo>
                      <a:pt x="665" y="1992"/>
                      <a:pt x="623" y="2014"/>
                      <a:pt x="620" y="2079"/>
                    </a:cubicBezTo>
                    <a:cubicBezTo>
                      <a:pt x="613" y="2215"/>
                      <a:pt x="623" y="2296"/>
                      <a:pt x="566" y="2416"/>
                    </a:cubicBezTo>
                    <a:cubicBezTo>
                      <a:pt x="551" y="2450"/>
                      <a:pt x="506" y="2539"/>
                      <a:pt x="509" y="2573"/>
                    </a:cubicBezTo>
                    <a:cubicBezTo>
                      <a:pt x="512" y="2620"/>
                      <a:pt x="564" y="2678"/>
                      <a:pt x="576" y="2729"/>
                    </a:cubicBezTo>
                    <a:cubicBezTo>
                      <a:pt x="587" y="2774"/>
                      <a:pt x="581" y="2863"/>
                      <a:pt x="605" y="2900"/>
                    </a:cubicBezTo>
                    <a:cubicBezTo>
                      <a:pt x="647" y="2964"/>
                      <a:pt x="712" y="2911"/>
                      <a:pt x="757" y="2872"/>
                    </a:cubicBezTo>
                    <a:cubicBezTo>
                      <a:pt x="819" y="2818"/>
                      <a:pt x="917" y="2712"/>
                      <a:pt x="946" y="2638"/>
                    </a:cubicBezTo>
                    <a:cubicBezTo>
                      <a:pt x="968" y="2580"/>
                      <a:pt x="951" y="2519"/>
                      <a:pt x="963" y="2455"/>
                    </a:cubicBezTo>
                    <a:cubicBezTo>
                      <a:pt x="973" y="2401"/>
                      <a:pt x="1001" y="2349"/>
                      <a:pt x="1021" y="2297"/>
                    </a:cubicBezTo>
                    <a:cubicBezTo>
                      <a:pt x="1064" y="2182"/>
                      <a:pt x="1090" y="2042"/>
                      <a:pt x="1089" y="1910"/>
                    </a:cubicBezTo>
                    <a:cubicBezTo>
                      <a:pt x="1089" y="1844"/>
                      <a:pt x="1083" y="1773"/>
                      <a:pt x="1097" y="1709"/>
                    </a:cubicBezTo>
                    <a:cubicBezTo>
                      <a:pt x="1108" y="1656"/>
                      <a:pt x="1133" y="1619"/>
                      <a:pt x="1134" y="1560"/>
                    </a:cubicBezTo>
                    <a:cubicBezTo>
                      <a:pt x="1135" y="1498"/>
                      <a:pt x="1100" y="1423"/>
                      <a:pt x="1106" y="1367"/>
                    </a:cubicBezTo>
                    <a:cubicBezTo>
                      <a:pt x="1111" y="1317"/>
                      <a:pt x="1153" y="1273"/>
                      <a:pt x="1164" y="1218"/>
                    </a:cubicBezTo>
                    <a:cubicBezTo>
                      <a:pt x="1190" y="1087"/>
                      <a:pt x="1134" y="999"/>
                      <a:pt x="1110" y="876"/>
                    </a:cubicBezTo>
                    <a:cubicBezTo>
                      <a:pt x="1089" y="765"/>
                      <a:pt x="1094" y="637"/>
                      <a:pt x="1054" y="532"/>
                    </a:cubicBezTo>
                    <a:cubicBezTo>
                      <a:pt x="985" y="349"/>
                      <a:pt x="954" y="140"/>
                      <a:pt x="733" y="72"/>
                    </a:cubicBezTo>
                    <a:cubicBezTo>
                      <a:pt x="605" y="33"/>
                      <a:pt x="290" y="0"/>
                      <a:pt x="191" y="96"/>
                    </a:cubicBezTo>
                    <a:cubicBezTo>
                      <a:pt x="143" y="144"/>
                      <a:pt x="95" y="280"/>
                      <a:pt x="85" y="347"/>
                    </a:cubicBezTo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6" name="Freeform 12"/>
              <p:cNvSpPr>
                <a:spLocks/>
              </p:cNvSpPr>
              <p:nvPr/>
            </p:nvSpPr>
            <p:spPr bwMode="gray">
              <a:xfrm>
                <a:off x="-10628313" y="-3938587"/>
                <a:ext cx="495300" cy="1957388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101" y="118"/>
                  </a:cxn>
                  <a:cxn ang="0">
                    <a:pos x="76" y="257"/>
                  </a:cxn>
                  <a:cxn ang="0">
                    <a:pos x="31" y="522"/>
                  </a:cxn>
                  <a:cxn ang="0">
                    <a:pos x="106" y="273"/>
                  </a:cxn>
                  <a:cxn ang="0">
                    <a:pos x="120" y="130"/>
                  </a:cxn>
                  <a:cxn ang="0">
                    <a:pos x="128" y="4"/>
                  </a:cxn>
                </a:cxnLst>
                <a:rect l="0" t="0" r="r" b="b"/>
                <a:pathLst>
                  <a:path w="132" h="522">
                    <a:moveTo>
                      <a:pt x="131" y="0"/>
                    </a:moveTo>
                    <a:cubicBezTo>
                      <a:pt x="130" y="44"/>
                      <a:pt x="109" y="77"/>
                      <a:pt x="101" y="118"/>
                    </a:cubicBezTo>
                    <a:cubicBezTo>
                      <a:pt x="91" y="164"/>
                      <a:pt x="90" y="210"/>
                      <a:pt x="76" y="257"/>
                    </a:cubicBezTo>
                    <a:cubicBezTo>
                      <a:pt x="55" y="331"/>
                      <a:pt x="0" y="446"/>
                      <a:pt x="31" y="522"/>
                    </a:cubicBezTo>
                    <a:cubicBezTo>
                      <a:pt x="55" y="439"/>
                      <a:pt x="81" y="357"/>
                      <a:pt x="106" y="273"/>
                    </a:cubicBezTo>
                    <a:cubicBezTo>
                      <a:pt x="119" y="229"/>
                      <a:pt x="109" y="176"/>
                      <a:pt x="120" y="130"/>
                    </a:cubicBezTo>
                    <a:cubicBezTo>
                      <a:pt x="131" y="84"/>
                      <a:pt x="132" y="51"/>
                      <a:pt x="128" y="4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7" name="Freeform 13"/>
              <p:cNvSpPr>
                <a:spLocks/>
              </p:cNvSpPr>
              <p:nvPr/>
            </p:nvSpPr>
            <p:spPr bwMode="gray">
              <a:xfrm>
                <a:off x="-8558213" y="-9991725"/>
                <a:ext cx="498475" cy="1335088"/>
              </a:xfrm>
              <a:custGeom>
                <a:avLst/>
                <a:gdLst/>
                <a:ahLst/>
                <a:cxnLst>
                  <a:cxn ang="0">
                    <a:pos x="59" y="88"/>
                  </a:cxn>
                  <a:cxn ang="0">
                    <a:pos x="19" y="170"/>
                  </a:cxn>
                  <a:cxn ang="0">
                    <a:pos x="14" y="214"/>
                  </a:cxn>
                  <a:cxn ang="0">
                    <a:pos x="0" y="266"/>
                  </a:cxn>
                  <a:cxn ang="0">
                    <a:pos x="63" y="241"/>
                  </a:cxn>
                  <a:cxn ang="0">
                    <a:pos x="11" y="356"/>
                  </a:cxn>
                  <a:cxn ang="0">
                    <a:pos x="88" y="266"/>
                  </a:cxn>
                  <a:cxn ang="0">
                    <a:pos x="130" y="164"/>
                  </a:cxn>
                  <a:cxn ang="0">
                    <a:pos x="111" y="107"/>
                  </a:cxn>
                  <a:cxn ang="0">
                    <a:pos x="103" y="51"/>
                  </a:cxn>
                  <a:cxn ang="0">
                    <a:pos x="56" y="92"/>
                  </a:cxn>
                </a:cxnLst>
                <a:rect l="0" t="0" r="r" b="b"/>
                <a:pathLst>
                  <a:path w="133" h="356">
                    <a:moveTo>
                      <a:pt x="59" y="88"/>
                    </a:moveTo>
                    <a:cubicBezTo>
                      <a:pt x="57" y="127"/>
                      <a:pt x="26" y="137"/>
                      <a:pt x="19" y="170"/>
                    </a:cubicBezTo>
                    <a:cubicBezTo>
                      <a:pt x="17" y="182"/>
                      <a:pt x="19" y="198"/>
                      <a:pt x="14" y="214"/>
                    </a:cubicBezTo>
                    <a:cubicBezTo>
                      <a:pt x="8" y="232"/>
                      <a:pt x="3" y="247"/>
                      <a:pt x="0" y="266"/>
                    </a:cubicBezTo>
                    <a:cubicBezTo>
                      <a:pt x="13" y="240"/>
                      <a:pt x="66" y="168"/>
                      <a:pt x="63" y="241"/>
                    </a:cubicBezTo>
                    <a:cubicBezTo>
                      <a:pt x="61" y="280"/>
                      <a:pt x="24" y="319"/>
                      <a:pt x="11" y="356"/>
                    </a:cubicBezTo>
                    <a:cubicBezTo>
                      <a:pt x="47" y="344"/>
                      <a:pt x="71" y="296"/>
                      <a:pt x="88" y="266"/>
                    </a:cubicBezTo>
                    <a:cubicBezTo>
                      <a:pt x="107" y="235"/>
                      <a:pt x="133" y="202"/>
                      <a:pt x="130" y="164"/>
                    </a:cubicBezTo>
                    <a:cubicBezTo>
                      <a:pt x="128" y="142"/>
                      <a:pt x="116" y="127"/>
                      <a:pt x="111" y="107"/>
                    </a:cubicBezTo>
                    <a:cubicBezTo>
                      <a:pt x="106" y="87"/>
                      <a:pt x="114" y="70"/>
                      <a:pt x="103" y="51"/>
                    </a:cubicBezTo>
                    <a:cubicBezTo>
                      <a:pt x="71" y="0"/>
                      <a:pt x="64" y="64"/>
                      <a:pt x="56" y="92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8" name="Freeform 14"/>
              <p:cNvSpPr>
                <a:spLocks/>
              </p:cNvSpPr>
              <p:nvPr/>
            </p:nvSpPr>
            <p:spPr bwMode="gray">
              <a:xfrm>
                <a:off x="-11685588" y="-8664575"/>
                <a:ext cx="454025" cy="698500"/>
              </a:xfrm>
              <a:custGeom>
                <a:avLst/>
                <a:gdLst/>
                <a:ahLst/>
                <a:cxnLst>
                  <a:cxn ang="0">
                    <a:pos x="15" y="166"/>
                  </a:cxn>
                  <a:cxn ang="0">
                    <a:pos x="118" y="38"/>
                  </a:cxn>
                  <a:cxn ang="0">
                    <a:pos x="0" y="186"/>
                  </a:cxn>
                </a:cxnLst>
                <a:rect l="0" t="0" r="r" b="b"/>
                <a:pathLst>
                  <a:path w="121" h="186">
                    <a:moveTo>
                      <a:pt x="15" y="166"/>
                    </a:moveTo>
                    <a:cubicBezTo>
                      <a:pt x="54" y="156"/>
                      <a:pt x="121" y="78"/>
                      <a:pt x="118" y="38"/>
                    </a:cubicBezTo>
                    <a:cubicBezTo>
                      <a:pt x="49" y="0"/>
                      <a:pt x="40" y="154"/>
                      <a:pt x="0" y="186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9" name="Freeform 15"/>
              <p:cNvSpPr>
                <a:spLocks/>
              </p:cNvSpPr>
              <p:nvPr/>
            </p:nvSpPr>
            <p:spPr bwMode="gray">
              <a:xfrm>
                <a:off x="-11531600" y="-5735637"/>
                <a:ext cx="782638" cy="979488"/>
              </a:xfrm>
              <a:custGeom>
                <a:avLst/>
                <a:gdLst/>
                <a:ahLst/>
                <a:cxnLst>
                  <a:cxn ang="0">
                    <a:pos x="20" y="247"/>
                  </a:cxn>
                  <a:cxn ang="0">
                    <a:pos x="118" y="147"/>
                  </a:cxn>
                  <a:cxn ang="0">
                    <a:pos x="209" y="0"/>
                  </a:cxn>
                  <a:cxn ang="0">
                    <a:pos x="0" y="261"/>
                  </a:cxn>
                </a:cxnLst>
                <a:rect l="0" t="0" r="r" b="b"/>
                <a:pathLst>
                  <a:path w="209" h="261">
                    <a:moveTo>
                      <a:pt x="20" y="247"/>
                    </a:moveTo>
                    <a:cubicBezTo>
                      <a:pt x="72" y="229"/>
                      <a:pt x="80" y="176"/>
                      <a:pt x="118" y="147"/>
                    </a:cubicBezTo>
                    <a:cubicBezTo>
                      <a:pt x="141" y="93"/>
                      <a:pt x="181" y="53"/>
                      <a:pt x="209" y="0"/>
                    </a:cubicBezTo>
                    <a:cubicBezTo>
                      <a:pt x="119" y="79"/>
                      <a:pt x="83" y="186"/>
                      <a:pt x="0" y="261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0" name="Freeform 16"/>
              <p:cNvSpPr>
                <a:spLocks/>
              </p:cNvSpPr>
              <p:nvPr/>
            </p:nvSpPr>
            <p:spPr bwMode="gray">
              <a:xfrm>
                <a:off x="-9398000" y="-9934575"/>
                <a:ext cx="708025" cy="682625"/>
              </a:xfrm>
              <a:custGeom>
                <a:avLst/>
                <a:gdLst/>
                <a:ahLst/>
                <a:cxnLst>
                  <a:cxn ang="0">
                    <a:pos x="35" y="158"/>
                  </a:cxn>
                  <a:cxn ang="0">
                    <a:pos x="148" y="122"/>
                  </a:cxn>
                  <a:cxn ang="0">
                    <a:pos x="106" y="30"/>
                  </a:cxn>
                  <a:cxn ang="0">
                    <a:pos x="1" y="58"/>
                  </a:cxn>
                  <a:cxn ang="0">
                    <a:pos x="1" y="34"/>
                  </a:cxn>
                  <a:cxn ang="0">
                    <a:pos x="168" y="0"/>
                  </a:cxn>
                  <a:cxn ang="0">
                    <a:pos x="183" y="142"/>
                  </a:cxn>
                  <a:cxn ang="0">
                    <a:pos x="25" y="182"/>
                  </a:cxn>
                  <a:cxn ang="0">
                    <a:pos x="16" y="159"/>
                  </a:cxn>
                  <a:cxn ang="0">
                    <a:pos x="35" y="158"/>
                  </a:cxn>
                </a:cxnLst>
                <a:rect l="0" t="0" r="r" b="b"/>
                <a:pathLst>
                  <a:path w="189" h="182">
                    <a:moveTo>
                      <a:pt x="35" y="158"/>
                    </a:moveTo>
                    <a:cubicBezTo>
                      <a:pt x="61" y="160"/>
                      <a:pt x="133" y="144"/>
                      <a:pt x="148" y="122"/>
                    </a:cubicBezTo>
                    <a:cubicBezTo>
                      <a:pt x="171" y="90"/>
                      <a:pt x="159" y="2"/>
                      <a:pt x="106" y="30"/>
                    </a:cubicBezTo>
                    <a:cubicBezTo>
                      <a:pt x="88" y="60"/>
                      <a:pt x="35" y="61"/>
                      <a:pt x="1" y="58"/>
                    </a:cubicBezTo>
                    <a:cubicBezTo>
                      <a:pt x="0" y="50"/>
                      <a:pt x="0" y="42"/>
                      <a:pt x="1" y="34"/>
                    </a:cubicBezTo>
                    <a:cubicBezTo>
                      <a:pt x="57" y="25"/>
                      <a:pt x="113" y="8"/>
                      <a:pt x="168" y="0"/>
                    </a:cubicBezTo>
                    <a:cubicBezTo>
                      <a:pt x="189" y="43"/>
                      <a:pt x="186" y="94"/>
                      <a:pt x="183" y="142"/>
                    </a:cubicBezTo>
                    <a:cubicBezTo>
                      <a:pt x="133" y="165"/>
                      <a:pt x="76" y="164"/>
                      <a:pt x="25" y="182"/>
                    </a:cubicBezTo>
                    <a:cubicBezTo>
                      <a:pt x="20" y="175"/>
                      <a:pt x="17" y="166"/>
                      <a:pt x="16" y="159"/>
                    </a:cubicBezTo>
                    <a:cubicBezTo>
                      <a:pt x="22" y="157"/>
                      <a:pt x="29" y="158"/>
                      <a:pt x="35" y="158"/>
                    </a:cubicBezTo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1" name="Freeform 17"/>
              <p:cNvSpPr>
                <a:spLocks/>
              </p:cNvSpPr>
              <p:nvPr/>
            </p:nvSpPr>
            <p:spPr bwMode="gray">
              <a:xfrm>
                <a:off x="-11566525" y="-16860837"/>
                <a:ext cx="1827213" cy="1319213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1" y="40"/>
                  </a:cxn>
                  <a:cxn ang="0">
                    <a:pos x="95" y="8"/>
                  </a:cxn>
                  <a:cxn ang="0">
                    <a:pos x="250" y="5"/>
                  </a:cxn>
                  <a:cxn ang="0">
                    <a:pos x="390" y="8"/>
                  </a:cxn>
                  <a:cxn ang="0">
                    <a:pos x="459" y="97"/>
                  </a:cxn>
                  <a:cxn ang="0">
                    <a:pos x="456" y="263"/>
                  </a:cxn>
                  <a:cxn ang="0">
                    <a:pos x="287" y="338"/>
                  </a:cxn>
                  <a:cxn ang="0">
                    <a:pos x="193" y="325"/>
                  </a:cxn>
                  <a:cxn ang="0">
                    <a:pos x="72" y="204"/>
                  </a:cxn>
                  <a:cxn ang="0">
                    <a:pos x="3" y="85"/>
                  </a:cxn>
                  <a:cxn ang="0">
                    <a:pos x="5" y="55"/>
                  </a:cxn>
                </a:cxnLst>
                <a:rect l="0" t="0" r="r" b="b"/>
                <a:pathLst>
                  <a:path w="487" h="352">
                    <a:moveTo>
                      <a:pt x="3" y="57"/>
                    </a:moveTo>
                    <a:cubicBezTo>
                      <a:pt x="0" y="53"/>
                      <a:pt x="0" y="46"/>
                      <a:pt x="1" y="40"/>
                    </a:cubicBezTo>
                    <a:cubicBezTo>
                      <a:pt x="32" y="26"/>
                      <a:pt x="60" y="13"/>
                      <a:pt x="95" y="8"/>
                    </a:cubicBezTo>
                    <a:cubicBezTo>
                      <a:pt x="145" y="0"/>
                      <a:pt x="199" y="2"/>
                      <a:pt x="250" y="5"/>
                    </a:cubicBezTo>
                    <a:cubicBezTo>
                      <a:pt x="297" y="7"/>
                      <a:pt x="344" y="5"/>
                      <a:pt x="390" y="8"/>
                    </a:cubicBezTo>
                    <a:cubicBezTo>
                      <a:pt x="444" y="11"/>
                      <a:pt x="447" y="53"/>
                      <a:pt x="459" y="97"/>
                    </a:cubicBezTo>
                    <a:cubicBezTo>
                      <a:pt x="473" y="151"/>
                      <a:pt x="487" y="211"/>
                      <a:pt x="456" y="263"/>
                    </a:cubicBezTo>
                    <a:cubicBezTo>
                      <a:pt x="424" y="318"/>
                      <a:pt x="348" y="326"/>
                      <a:pt x="287" y="338"/>
                    </a:cubicBezTo>
                    <a:cubicBezTo>
                      <a:pt x="246" y="345"/>
                      <a:pt x="221" y="352"/>
                      <a:pt x="193" y="325"/>
                    </a:cubicBezTo>
                    <a:cubicBezTo>
                      <a:pt x="152" y="286"/>
                      <a:pt x="107" y="250"/>
                      <a:pt x="72" y="204"/>
                    </a:cubicBezTo>
                    <a:cubicBezTo>
                      <a:pt x="47" y="170"/>
                      <a:pt x="2" y="131"/>
                      <a:pt x="3" y="85"/>
                    </a:cubicBezTo>
                    <a:cubicBezTo>
                      <a:pt x="3" y="72"/>
                      <a:pt x="15" y="62"/>
                      <a:pt x="5" y="55"/>
                    </a:cubicBezTo>
                  </a:path>
                </a:pathLst>
              </a:custGeom>
              <a:solidFill>
                <a:srgbClr val="8A97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2" name="Freeform 18"/>
              <p:cNvSpPr>
                <a:spLocks/>
              </p:cNvSpPr>
              <p:nvPr/>
            </p:nvSpPr>
            <p:spPr bwMode="gray">
              <a:xfrm>
                <a:off x="-11825288" y="-18024475"/>
                <a:ext cx="2809875" cy="3270250"/>
              </a:xfrm>
              <a:custGeom>
                <a:avLst/>
                <a:gdLst/>
                <a:ahLst/>
                <a:cxnLst>
                  <a:cxn ang="0">
                    <a:pos x="82" y="117"/>
                  </a:cxn>
                  <a:cxn ang="0">
                    <a:pos x="107" y="221"/>
                  </a:cxn>
                  <a:cxn ang="0">
                    <a:pos x="132" y="330"/>
                  </a:cxn>
                  <a:cxn ang="0">
                    <a:pos x="87" y="554"/>
                  </a:cxn>
                  <a:cxn ang="0">
                    <a:pos x="474" y="871"/>
                  </a:cxn>
                  <a:cxn ang="0">
                    <a:pos x="689" y="768"/>
                  </a:cxn>
                  <a:cxn ang="0">
                    <a:pos x="652" y="558"/>
                  </a:cxn>
                  <a:cxn ang="0">
                    <a:pos x="510" y="378"/>
                  </a:cxn>
                  <a:cxn ang="0">
                    <a:pos x="455" y="171"/>
                  </a:cxn>
                  <a:cxn ang="0">
                    <a:pos x="246" y="8"/>
                  </a:cxn>
                  <a:cxn ang="0">
                    <a:pos x="82" y="137"/>
                  </a:cxn>
                </a:cxnLst>
                <a:rect l="0" t="0" r="r" b="b"/>
                <a:pathLst>
                  <a:path w="749" h="872">
                    <a:moveTo>
                      <a:pt x="82" y="117"/>
                    </a:moveTo>
                    <a:cubicBezTo>
                      <a:pt x="95" y="151"/>
                      <a:pt x="91" y="186"/>
                      <a:pt x="107" y="221"/>
                    </a:cubicBezTo>
                    <a:cubicBezTo>
                      <a:pt x="122" y="256"/>
                      <a:pt x="140" y="286"/>
                      <a:pt x="132" y="330"/>
                    </a:cubicBezTo>
                    <a:cubicBezTo>
                      <a:pt x="119" y="404"/>
                      <a:pt x="87" y="475"/>
                      <a:pt x="87" y="554"/>
                    </a:cubicBezTo>
                    <a:cubicBezTo>
                      <a:pt x="86" y="750"/>
                      <a:pt x="299" y="869"/>
                      <a:pt x="474" y="871"/>
                    </a:cubicBezTo>
                    <a:cubicBezTo>
                      <a:pt x="569" y="872"/>
                      <a:pt x="633" y="838"/>
                      <a:pt x="689" y="768"/>
                    </a:cubicBezTo>
                    <a:cubicBezTo>
                      <a:pt x="749" y="692"/>
                      <a:pt x="700" y="629"/>
                      <a:pt x="652" y="558"/>
                    </a:cubicBezTo>
                    <a:cubicBezTo>
                      <a:pt x="609" y="495"/>
                      <a:pt x="550" y="445"/>
                      <a:pt x="510" y="378"/>
                    </a:cubicBezTo>
                    <a:cubicBezTo>
                      <a:pt x="471" y="316"/>
                      <a:pt x="476" y="240"/>
                      <a:pt x="455" y="171"/>
                    </a:cubicBezTo>
                    <a:cubicBezTo>
                      <a:pt x="422" y="61"/>
                      <a:pt x="366" y="0"/>
                      <a:pt x="246" y="8"/>
                    </a:cubicBezTo>
                    <a:cubicBezTo>
                      <a:pt x="211" y="10"/>
                      <a:pt x="0" y="108"/>
                      <a:pt x="82" y="137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3" name="Freeform 19"/>
              <p:cNvSpPr>
                <a:spLocks/>
              </p:cNvSpPr>
              <p:nvPr/>
            </p:nvSpPr>
            <p:spPr bwMode="gray">
              <a:xfrm>
                <a:off x="-8213725" y="-11528425"/>
                <a:ext cx="674688" cy="754063"/>
              </a:xfrm>
              <a:custGeom>
                <a:avLst/>
                <a:gdLst/>
                <a:ahLst/>
                <a:cxnLst>
                  <a:cxn ang="0">
                    <a:pos x="57" y="197"/>
                  </a:cxn>
                  <a:cxn ang="0">
                    <a:pos x="63" y="63"/>
                  </a:cxn>
                  <a:cxn ang="0">
                    <a:pos x="180" y="47"/>
                  </a:cxn>
                  <a:cxn ang="0">
                    <a:pos x="90" y="3"/>
                  </a:cxn>
                  <a:cxn ang="0">
                    <a:pos x="13" y="45"/>
                  </a:cxn>
                  <a:cxn ang="0">
                    <a:pos x="4" y="130"/>
                  </a:cxn>
                  <a:cxn ang="0">
                    <a:pos x="53" y="201"/>
                  </a:cxn>
                </a:cxnLst>
                <a:rect l="0" t="0" r="r" b="b"/>
                <a:pathLst>
                  <a:path w="180" h="201">
                    <a:moveTo>
                      <a:pt x="57" y="197"/>
                    </a:moveTo>
                    <a:cubicBezTo>
                      <a:pt x="63" y="143"/>
                      <a:pt x="24" y="112"/>
                      <a:pt x="63" y="63"/>
                    </a:cubicBezTo>
                    <a:cubicBezTo>
                      <a:pt x="84" y="36"/>
                      <a:pt x="147" y="13"/>
                      <a:pt x="180" y="47"/>
                    </a:cubicBezTo>
                    <a:cubicBezTo>
                      <a:pt x="166" y="15"/>
                      <a:pt x="123" y="0"/>
                      <a:pt x="90" y="3"/>
                    </a:cubicBezTo>
                    <a:cubicBezTo>
                      <a:pt x="56" y="7"/>
                      <a:pt x="41" y="29"/>
                      <a:pt x="13" y="45"/>
                    </a:cubicBezTo>
                    <a:cubicBezTo>
                      <a:pt x="7" y="63"/>
                      <a:pt x="0" y="112"/>
                      <a:pt x="4" y="130"/>
                    </a:cubicBezTo>
                    <a:cubicBezTo>
                      <a:pt x="10" y="155"/>
                      <a:pt x="39" y="179"/>
                      <a:pt x="53" y="201"/>
                    </a:cubicBezTo>
                  </a:path>
                </a:pathLst>
              </a:custGeom>
              <a:solidFill>
                <a:srgbClr val="E2CEC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4" name="Freeform 20"/>
              <p:cNvSpPr>
                <a:spLocks/>
              </p:cNvSpPr>
              <p:nvPr/>
            </p:nvSpPr>
            <p:spPr bwMode="gray">
              <a:xfrm>
                <a:off x="-13061950" y="-16805275"/>
                <a:ext cx="5811838" cy="7023100"/>
              </a:xfrm>
              <a:custGeom>
                <a:avLst/>
                <a:gdLst/>
                <a:ahLst/>
                <a:cxnLst>
                  <a:cxn ang="0">
                    <a:pos x="399" y="25"/>
                  </a:cxn>
                  <a:cxn ang="0">
                    <a:pos x="583" y="142"/>
                  </a:cxn>
                  <a:cxn ang="0">
                    <a:pos x="714" y="204"/>
                  </a:cxn>
                  <a:cxn ang="0">
                    <a:pos x="799" y="296"/>
                  </a:cxn>
                  <a:cxn ang="0">
                    <a:pos x="858" y="357"/>
                  </a:cxn>
                  <a:cxn ang="0">
                    <a:pos x="861" y="298"/>
                  </a:cxn>
                  <a:cxn ang="0">
                    <a:pos x="873" y="246"/>
                  </a:cxn>
                  <a:cxn ang="0">
                    <a:pos x="817" y="149"/>
                  </a:cxn>
                  <a:cxn ang="0">
                    <a:pos x="856" y="89"/>
                  </a:cxn>
                  <a:cxn ang="0">
                    <a:pos x="831" y="0"/>
                  </a:cxn>
                  <a:cxn ang="0">
                    <a:pos x="896" y="91"/>
                  </a:cxn>
                  <a:cxn ang="0">
                    <a:pos x="1013" y="137"/>
                  </a:cxn>
                  <a:cxn ang="0">
                    <a:pos x="1164" y="201"/>
                  </a:cxn>
                  <a:cxn ang="0">
                    <a:pos x="1273" y="283"/>
                  </a:cxn>
                  <a:cxn ang="0">
                    <a:pos x="1315" y="409"/>
                  </a:cxn>
                  <a:cxn ang="0">
                    <a:pos x="1352" y="530"/>
                  </a:cxn>
                  <a:cxn ang="0">
                    <a:pos x="1362" y="715"/>
                  </a:cxn>
                  <a:cxn ang="0">
                    <a:pos x="1369" y="822"/>
                  </a:cxn>
                  <a:cxn ang="0">
                    <a:pos x="1389" y="890"/>
                  </a:cxn>
                  <a:cxn ang="0">
                    <a:pos x="1399" y="968"/>
                  </a:cxn>
                  <a:cxn ang="0">
                    <a:pos x="1417" y="1049"/>
                  </a:cxn>
                  <a:cxn ang="0">
                    <a:pos x="1423" y="1116"/>
                  </a:cxn>
                  <a:cxn ang="0">
                    <a:pos x="1451" y="1185"/>
                  </a:cxn>
                  <a:cxn ang="0">
                    <a:pos x="1466" y="1251"/>
                  </a:cxn>
                  <a:cxn ang="0">
                    <a:pos x="1497" y="1292"/>
                  </a:cxn>
                  <a:cxn ang="0">
                    <a:pos x="1499" y="1359"/>
                  </a:cxn>
                  <a:cxn ang="0">
                    <a:pos x="1525" y="1402"/>
                  </a:cxn>
                  <a:cxn ang="0">
                    <a:pos x="1453" y="1547"/>
                  </a:cxn>
                  <a:cxn ang="0">
                    <a:pos x="1296" y="1548"/>
                  </a:cxn>
                  <a:cxn ang="0">
                    <a:pos x="1278" y="1662"/>
                  </a:cxn>
                  <a:cxn ang="0">
                    <a:pos x="1214" y="1762"/>
                  </a:cxn>
                  <a:cxn ang="0">
                    <a:pos x="988" y="1871"/>
                  </a:cxn>
                  <a:cxn ang="0">
                    <a:pos x="656" y="1816"/>
                  </a:cxn>
                  <a:cxn ang="0">
                    <a:pos x="482" y="1774"/>
                  </a:cxn>
                  <a:cxn ang="0">
                    <a:pos x="350" y="1696"/>
                  </a:cxn>
                  <a:cxn ang="0">
                    <a:pos x="288" y="1591"/>
                  </a:cxn>
                  <a:cxn ang="0">
                    <a:pos x="248" y="1546"/>
                  </a:cxn>
                  <a:cxn ang="0">
                    <a:pos x="208" y="1509"/>
                  </a:cxn>
                  <a:cxn ang="0">
                    <a:pos x="228" y="1386"/>
                  </a:cxn>
                  <a:cxn ang="0">
                    <a:pos x="213" y="1330"/>
                  </a:cxn>
                  <a:cxn ang="0">
                    <a:pos x="221" y="1270"/>
                  </a:cxn>
                  <a:cxn ang="0">
                    <a:pos x="228" y="1206"/>
                  </a:cxn>
                  <a:cxn ang="0">
                    <a:pos x="206" y="1144"/>
                  </a:cxn>
                  <a:cxn ang="0">
                    <a:pos x="171" y="998"/>
                  </a:cxn>
                  <a:cxn ang="0">
                    <a:pos x="107" y="878"/>
                  </a:cxn>
                  <a:cxn ang="0">
                    <a:pos x="99" y="795"/>
                  </a:cxn>
                  <a:cxn ang="0">
                    <a:pos x="78" y="743"/>
                  </a:cxn>
                  <a:cxn ang="0">
                    <a:pos x="54" y="670"/>
                  </a:cxn>
                  <a:cxn ang="0">
                    <a:pos x="24" y="608"/>
                  </a:cxn>
                  <a:cxn ang="0">
                    <a:pos x="14" y="479"/>
                  </a:cxn>
                  <a:cxn ang="0">
                    <a:pos x="80" y="395"/>
                  </a:cxn>
                  <a:cxn ang="0">
                    <a:pos x="125" y="363"/>
                  </a:cxn>
                  <a:cxn ang="0">
                    <a:pos x="156" y="322"/>
                  </a:cxn>
                  <a:cxn ang="0">
                    <a:pos x="239" y="254"/>
                  </a:cxn>
                  <a:cxn ang="0">
                    <a:pos x="317" y="196"/>
                  </a:cxn>
                  <a:cxn ang="0">
                    <a:pos x="354" y="164"/>
                  </a:cxn>
                  <a:cxn ang="0">
                    <a:pos x="370" y="119"/>
                  </a:cxn>
                  <a:cxn ang="0">
                    <a:pos x="399" y="20"/>
                  </a:cxn>
                </a:cxnLst>
                <a:rect l="0" t="0" r="r" b="b"/>
                <a:pathLst>
                  <a:path w="1550" h="1873">
                    <a:moveTo>
                      <a:pt x="399" y="25"/>
                    </a:moveTo>
                    <a:cubicBezTo>
                      <a:pt x="452" y="73"/>
                      <a:pt x="517" y="116"/>
                      <a:pt x="583" y="142"/>
                    </a:cubicBezTo>
                    <a:cubicBezTo>
                      <a:pt x="626" y="159"/>
                      <a:pt x="677" y="176"/>
                      <a:pt x="714" y="204"/>
                    </a:cubicBezTo>
                    <a:cubicBezTo>
                      <a:pt x="746" y="228"/>
                      <a:pt x="771" y="265"/>
                      <a:pt x="799" y="296"/>
                    </a:cubicBezTo>
                    <a:cubicBezTo>
                      <a:pt x="818" y="317"/>
                      <a:pt x="836" y="339"/>
                      <a:pt x="858" y="357"/>
                    </a:cubicBezTo>
                    <a:cubicBezTo>
                      <a:pt x="859" y="338"/>
                      <a:pt x="857" y="317"/>
                      <a:pt x="861" y="298"/>
                    </a:cubicBezTo>
                    <a:cubicBezTo>
                      <a:pt x="866" y="280"/>
                      <a:pt x="880" y="266"/>
                      <a:pt x="873" y="246"/>
                    </a:cubicBezTo>
                    <a:cubicBezTo>
                      <a:pt x="860" y="209"/>
                      <a:pt x="810" y="194"/>
                      <a:pt x="817" y="149"/>
                    </a:cubicBezTo>
                    <a:cubicBezTo>
                      <a:pt x="842" y="138"/>
                      <a:pt x="856" y="118"/>
                      <a:pt x="856" y="89"/>
                    </a:cubicBezTo>
                    <a:cubicBezTo>
                      <a:pt x="856" y="56"/>
                      <a:pt x="826" y="34"/>
                      <a:pt x="831" y="0"/>
                    </a:cubicBezTo>
                    <a:cubicBezTo>
                      <a:pt x="869" y="16"/>
                      <a:pt x="869" y="73"/>
                      <a:pt x="896" y="91"/>
                    </a:cubicBezTo>
                    <a:cubicBezTo>
                      <a:pt x="926" y="112"/>
                      <a:pt x="976" y="126"/>
                      <a:pt x="1013" y="137"/>
                    </a:cubicBezTo>
                    <a:cubicBezTo>
                      <a:pt x="1065" y="153"/>
                      <a:pt x="1114" y="177"/>
                      <a:pt x="1164" y="201"/>
                    </a:cubicBezTo>
                    <a:cubicBezTo>
                      <a:pt x="1203" y="221"/>
                      <a:pt x="1247" y="246"/>
                      <a:pt x="1273" y="283"/>
                    </a:cubicBezTo>
                    <a:cubicBezTo>
                      <a:pt x="1299" y="321"/>
                      <a:pt x="1305" y="365"/>
                      <a:pt x="1315" y="409"/>
                    </a:cubicBezTo>
                    <a:cubicBezTo>
                      <a:pt x="1324" y="452"/>
                      <a:pt x="1343" y="489"/>
                      <a:pt x="1352" y="530"/>
                    </a:cubicBezTo>
                    <a:cubicBezTo>
                      <a:pt x="1365" y="589"/>
                      <a:pt x="1362" y="655"/>
                      <a:pt x="1362" y="715"/>
                    </a:cubicBezTo>
                    <a:cubicBezTo>
                      <a:pt x="1362" y="750"/>
                      <a:pt x="1357" y="791"/>
                      <a:pt x="1369" y="822"/>
                    </a:cubicBezTo>
                    <a:cubicBezTo>
                      <a:pt x="1378" y="846"/>
                      <a:pt x="1384" y="864"/>
                      <a:pt x="1389" y="890"/>
                    </a:cubicBezTo>
                    <a:cubicBezTo>
                      <a:pt x="1394" y="916"/>
                      <a:pt x="1397" y="942"/>
                      <a:pt x="1399" y="968"/>
                    </a:cubicBezTo>
                    <a:cubicBezTo>
                      <a:pt x="1402" y="997"/>
                      <a:pt x="1410" y="1021"/>
                      <a:pt x="1417" y="1049"/>
                    </a:cubicBezTo>
                    <a:cubicBezTo>
                      <a:pt x="1422" y="1069"/>
                      <a:pt x="1418" y="1094"/>
                      <a:pt x="1423" y="1116"/>
                    </a:cubicBezTo>
                    <a:cubicBezTo>
                      <a:pt x="1429" y="1139"/>
                      <a:pt x="1444" y="1161"/>
                      <a:pt x="1451" y="1185"/>
                    </a:cubicBezTo>
                    <a:cubicBezTo>
                      <a:pt x="1457" y="1207"/>
                      <a:pt x="1457" y="1231"/>
                      <a:pt x="1466" y="1251"/>
                    </a:cubicBezTo>
                    <a:cubicBezTo>
                      <a:pt x="1472" y="1267"/>
                      <a:pt x="1491" y="1279"/>
                      <a:pt x="1497" y="1292"/>
                    </a:cubicBezTo>
                    <a:cubicBezTo>
                      <a:pt x="1505" y="1311"/>
                      <a:pt x="1493" y="1339"/>
                      <a:pt x="1499" y="1359"/>
                    </a:cubicBezTo>
                    <a:cubicBezTo>
                      <a:pt x="1503" y="1374"/>
                      <a:pt x="1519" y="1388"/>
                      <a:pt x="1525" y="1402"/>
                    </a:cubicBezTo>
                    <a:cubicBezTo>
                      <a:pt x="1550" y="1458"/>
                      <a:pt x="1501" y="1520"/>
                      <a:pt x="1453" y="1547"/>
                    </a:cubicBezTo>
                    <a:cubicBezTo>
                      <a:pt x="1416" y="1568"/>
                      <a:pt x="1329" y="1592"/>
                      <a:pt x="1296" y="1548"/>
                    </a:cubicBezTo>
                    <a:cubicBezTo>
                      <a:pt x="1315" y="1566"/>
                      <a:pt x="1288" y="1641"/>
                      <a:pt x="1278" y="1662"/>
                    </a:cubicBezTo>
                    <a:cubicBezTo>
                      <a:pt x="1261" y="1696"/>
                      <a:pt x="1237" y="1731"/>
                      <a:pt x="1214" y="1762"/>
                    </a:cubicBezTo>
                    <a:cubicBezTo>
                      <a:pt x="1165" y="1829"/>
                      <a:pt x="1076" y="1873"/>
                      <a:pt x="988" y="1871"/>
                    </a:cubicBezTo>
                    <a:cubicBezTo>
                      <a:pt x="877" y="1867"/>
                      <a:pt x="763" y="1836"/>
                      <a:pt x="656" y="1816"/>
                    </a:cubicBezTo>
                    <a:cubicBezTo>
                      <a:pt x="596" y="1804"/>
                      <a:pt x="539" y="1793"/>
                      <a:pt x="482" y="1774"/>
                    </a:cubicBezTo>
                    <a:cubicBezTo>
                      <a:pt x="431" y="1757"/>
                      <a:pt x="382" y="1742"/>
                      <a:pt x="350" y="1696"/>
                    </a:cubicBezTo>
                    <a:cubicBezTo>
                      <a:pt x="327" y="1663"/>
                      <a:pt x="312" y="1625"/>
                      <a:pt x="288" y="1591"/>
                    </a:cubicBezTo>
                    <a:cubicBezTo>
                      <a:pt x="275" y="1573"/>
                      <a:pt x="265" y="1559"/>
                      <a:pt x="248" y="1546"/>
                    </a:cubicBezTo>
                    <a:cubicBezTo>
                      <a:pt x="234" y="1536"/>
                      <a:pt x="215" y="1525"/>
                      <a:pt x="208" y="1509"/>
                    </a:cubicBezTo>
                    <a:cubicBezTo>
                      <a:pt x="192" y="1474"/>
                      <a:pt x="234" y="1428"/>
                      <a:pt x="228" y="1386"/>
                    </a:cubicBezTo>
                    <a:cubicBezTo>
                      <a:pt x="225" y="1366"/>
                      <a:pt x="216" y="1350"/>
                      <a:pt x="213" y="1330"/>
                    </a:cubicBezTo>
                    <a:cubicBezTo>
                      <a:pt x="209" y="1306"/>
                      <a:pt x="215" y="1291"/>
                      <a:pt x="221" y="1270"/>
                    </a:cubicBezTo>
                    <a:cubicBezTo>
                      <a:pt x="227" y="1249"/>
                      <a:pt x="228" y="1230"/>
                      <a:pt x="228" y="1206"/>
                    </a:cubicBezTo>
                    <a:cubicBezTo>
                      <a:pt x="228" y="1173"/>
                      <a:pt x="222" y="1169"/>
                      <a:pt x="206" y="1144"/>
                    </a:cubicBezTo>
                    <a:cubicBezTo>
                      <a:pt x="185" y="1110"/>
                      <a:pt x="168" y="1037"/>
                      <a:pt x="171" y="998"/>
                    </a:cubicBezTo>
                    <a:cubicBezTo>
                      <a:pt x="130" y="991"/>
                      <a:pt x="113" y="912"/>
                      <a:pt x="107" y="878"/>
                    </a:cubicBezTo>
                    <a:cubicBezTo>
                      <a:pt x="101" y="851"/>
                      <a:pt x="104" y="822"/>
                      <a:pt x="99" y="795"/>
                    </a:cubicBezTo>
                    <a:cubicBezTo>
                      <a:pt x="96" y="775"/>
                      <a:pt x="85" y="762"/>
                      <a:pt x="78" y="743"/>
                    </a:cubicBezTo>
                    <a:cubicBezTo>
                      <a:pt x="68" y="719"/>
                      <a:pt x="65" y="694"/>
                      <a:pt x="54" y="670"/>
                    </a:cubicBezTo>
                    <a:cubicBezTo>
                      <a:pt x="45" y="650"/>
                      <a:pt x="33" y="628"/>
                      <a:pt x="24" y="608"/>
                    </a:cubicBezTo>
                    <a:cubicBezTo>
                      <a:pt x="8" y="569"/>
                      <a:pt x="0" y="520"/>
                      <a:pt x="14" y="479"/>
                    </a:cubicBezTo>
                    <a:cubicBezTo>
                      <a:pt x="25" y="449"/>
                      <a:pt x="54" y="413"/>
                      <a:pt x="80" y="395"/>
                    </a:cubicBezTo>
                    <a:cubicBezTo>
                      <a:pt x="95" y="384"/>
                      <a:pt x="113" y="376"/>
                      <a:pt x="125" y="363"/>
                    </a:cubicBezTo>
                    <a:cubicBezTo>
                      <a:pt x="136" y="350"/>
                      <a:pt x="141" y="331"/>
                      <a:pt x="156" y="322"/>
                    </a:cubicBezTo>
                    <a:cubicBezTo>
                      <a:pt x="160" y="297"/>
                      <a:pt x="219" y="269"/>
                      <a:pt x="239" y="254"/>
                    </a:cubicBezTo>
                    <a:cubicBezTo>
                      <a:pt x="264" y="235"/>
                      <a:pt x="293" y="216"/>
                      <a:pt x="317" y="196"/>
                    </a:cubicBezTo>
                    <a:cubicBezTo>
                      <a:pt x="328" y="186"/>
                      <a:pt x="346" y="175"/>
                      <a:pt x="354" y="164"/>
                    </a:cubicBezTo>
                    <a:cubicBezTo>
                      <a:pt x="362" y="153"/>
                      <a:pt x="365" y="132"/>
                      <a:pt x="370" y="119"/>
                    </a:cubicBezTo>
                    <a:cubicBezTo>
                      <a:pt x="382" y="86"/>
                      <a:pt x="392" y="53"/>
                      <a:pt x="399" y="20"/>
                    </a:cubicBezTo>
                  </a:path>
                </a:pathLst>
              </a:custGeom>
              <a:solidFill>
                <a:srgbClr val="C2D1E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5" name="Freeform 21"/>
              <p:cNvSpPr>
                <a:spLocks/>
              </p:cNvSpPr>
              <p:nvPr/>
            </p:nvSpPr>
            <p:spPr bwMode="gray">
              <a:xfrm>
                <a:off x="-11472863" y="-17295812"/>
                <a:ext cx="1463675" cy="1019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6" y="235"/>
                  </a:cxn>
                  <a:cxn ang="0">
                    <a:pos x="390" y="81"/>
                  </a:cxn>
                </a:cxnLst>
                <a:rect l="0" t="0" r="r" b="b"/>
                <a:pathLst>
                  <a:path w="390" h="272">
                    <a:moveTo>
                      <a:pt x="0" y="0"/>
                    </a:moveTo>
                    <a:cubicBezTo>
                      <a:pt x="53" y="100"/>
                      <a:pt x="61" y="200"/>
                      <a:pt x="186" y="235"/>
                    </a:cubicBezTo>
                    <a:cubicBezTo>
                      <a:pt x="317" y="272"/>
                      <a:pt x="363" y="191"/>
                      <a:pt x="390" y="81"/>
                    </a:cubicBezTo>
                  </a:path>
                </a:pathLst>
              </a:custGeom>
              <a:solidFill>
                <a:srgbClr val="E2CEC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6" name="Freeform 22"/>
              <p:cNvSpPr>
                <a:spLocks/>
              </p:cNvSpPr>
              <p:nvPr/>
            </p:nvSpPr>
            <p:spPr bwMode="gray">
              <a:xfrm>
                <a:off x="-12001500" y="-19794537"/>
                <a:ext cx="2457450" cy="3352800"/>
              </a:xfrm>
              <a:custGeom>
                <a:avLst/>
                <a:gdLst/>
                <a:ahLst/>
                <a:cxnLst>
                  <a:cxn ang="0">
                    <a:pos x="69" y="231"/>
                  </a:cxn>
                  <a:cxn ang="0">
                    <a:pos x="80" y="387"/>
                  </a:cxn>
                  <a:cxn ang="0">
                    <a:pos x="19" y="490"/>
                  </a:cxn>
                  <a:cxn ang="0">
                    <a:pos x="126" y="621"/>
                  </a:cxn>
                  <a:cxn ang="0">
                    <a:pos x="327" y="857"/>
                  </a:cxn>
                  <a:cxn ang="0">
                    <a:pos x="546" y="688"/>
                  </a:cxn>
                  <a:cxn ang="0">
                    <a:pos x="548" y="591"/>
                  </a:cxn>
                  <a:cxn ang="0">
                    <a:pos x="603" y="537"/>
                  </a:cxn>
                  <a:cxn ang="0">
                    <a:pos x="595" y="379"/>
                  </a:cxn>
                  <a:cxn ang="0">
                    <a:pos x="575" y="402"/>
                  </a:cxn>
                  <a:cxn ang="0">
                    <a:pos x="357" y="33"/>
                  </a:cxn>
                  <a:cxn ang="0">
                    <a:pos x="69" y="231"/>
                  </a:cxn>
                </a:cxnLst>
                <a:rect l="0" t="0" r="r" b="b"/>
                <a:pathLst>
                  <a:path w="655" h="894">
                    <a:moveTo>
                      <a:pt x="69" y="231"/>
                    </a:moveTo>
                    <a:cubicBezTo>
                      <a:pt x="62" y="287"/>
                      <a:pt x="80" y="333"/>
                      <a:pt x="80" y="387"/>
                    </a:cubicBezTo>
                    <a:cubicBezTo>
                      <a:pt x="14" y="340"/>
                      <a:pt x="0" y="439"/>
                      <a:pt x="19" y="490"/>
                    </a:cubicBezTo>
                    <a:cubicBezTo>
                      <a:pt x="38" y="537"/>
                      <a:pt x="101" y="571"/>
                      <a:pt x="126" y="621"/>
                    </a:cubicBezTo>
                    <a:cubicBezTo>
                      <a:pt x="179" y="722"/>
                      <a:pt x="202" y="821"/>
                      <a:pt x="327" y="857"/>
                    </a:cubicBezTo>
                    <a:cubicBezTo>
                      <a:pt x="458" y="894"/>
                      <a:pt x="518" y="798"/>
                      <a:pt x="546" y="688"/>
                    </a:cubicBezTo>
                    <a:cubicBezTo>
                      <a:pt x="553" y="658"/>
                      <a:pt x="536" y="620"/>
                      <a:pt x="548" y="591"/>
                    </a:cubicBezTo>
                    <a:cubicBezTo>
                      <a:pt x="556" y="568"/>
                      <a:pt x="592" y="558"/>
                      <a:pt x="603" y="537"/>
                    </a:cubicBezTo>
                    <a:cubicBezTo>
                      <a:pt x="627" y="489"/>
                      <a:pt x="655" y="411"/>
                      <a:pt x="595" y="379"/>
                    </a:cubicBezTo>
                    <a:cubicBezTo>
                      <a:pt x="591" y="385"/>
                      <a:pt x="572" y="409"/>
                      <a:pt x="575" y="402"/>
                    </a:cubicBezTo>
                    <a:cubicBezTo>
                      <a:pt x="575" y="236"/>
                      <a:pt x="549" y="75"/>
                      <a:pt x="357" y="33"/>
                    </a:cubicBezTo>
                    <a:cubicBezTo>
                      <a:pt x="211" y="0"/>
                      <a:pt x="2" y="47"/>
                      <a:pt x="69" y="231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7" name="Freeform 23"/>
              <p:cNvSpPr>
                <a:spLocks/>
              </p:cNvSpPr>
              <p:nvPr/>
            </p:nvSpPr>
            <p:spPr bwMode="gray">
              <a:xfrm>
                <a:off x="-9563100" y="-12788900"/>
                <a:ext cx="1897063" cy="1323975"/>
              </a:xfrm>
              <a:custGeom>
                <a:avLst/>
                <a:gdLst/>
                <a:ahLst/>
                <a:cxnLst>
                  <a:cxn ang="0">
                    <a:pos x="7" y="313"/>
                  </a:cxn>
                  <a:cxn ang="0">
                    <a:pos x="456" y="107"/>
                  </a:cxn>
                  <a:cxn ang="0">
                    <a:pos x="424" y="17"/>
                  </a:cxn>
                  <a:cxn ang="0">
                    <a:pos x="298" y="118"/>
                  </a:cxn>
                  <a:cxn ang="0">
                    <a:pos x="31" y="263"/>
                  </a:cxn>
                  <a:cxn ang="0">
                    <a:pos x="0" y="299"/>
                  </a:cxn>
                </a:cxnLst>
                <a:rect l="0" t="0" r="r" b="b"/>
                <a:pathLst>
                  <a:path w="506" h="353">
                    <a:moveTo>
                      <a:pt x="7" y="313"/>
                    </a:moveTo>
                    <a:cubicBezTo>
                      <a:pt x="188" y="353"/>
                      <a:pt x="367" y="277"/>
                      <a:pt x="456" y="107"/>
                    </a:cubicBezTo>
                    <a:cubicBezTo>
                      <a:pt x="474" y="71"/>
                      <a:pt x="506" y="0"/>
                      <a:pt x="424" y="17"/>
                    </a:cubicBezTo>
                    <a:cubicBezTo>
                      <a:pt x="389" y="24"/>
                      <a:pt x="330" y="95"/>
                      <a:pt x="298" y="118"/>
                    </a:cubicBezTo>
                    <a:cubicBezTo>
                      <a:pt x="214" y="176"/>
                      <a:pt x="131" y="250"/>
                      <a:pt x="31" y="263"/>
                    </a:cubicBezTo>
                    <a:cubicBezTo>
                      <a:pt x="22" y="276"/>
                      <a:pt x="10" y="285"/>
                      <a:pt x="0" y="299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8" name="Freeform 24"/>
              <p:cNvSpPr>
                <a:spLocks/>
              </p:cNvSpPr>
              <p:nvPr/>
            </p:nvSpPr>
            <p:spPr bwMode="gray">
              <a:xfrm>
                <a:off x="-8715375" y="-14732000"/>
                <a:ext cx="677863" cy="1879600"/>
              </a:xfrm>
              <a:custGeom>
                <a:avLst/>
                <a:gdLst/>
                <a:ahLst/>
                <a:cxnLst>
                  <a:cxn ang="0">
                    <a:pos x="34" y="430"/>
                  </a:cxn>
                  <a:cxn ang="0">
                    <a:pos x="13" y="319"/>
                  </a:cxn>
                  <a:cxn ang="0">
                    <a:pos x="64" y="341"/>
                  </a:cxn>
                  <a:cxn ang="0">
                    <a:pos x="0" y="221"/>
                  </a:cxn>
                  <a:cxn ang="0">
                    <a:pos x="93" y="257"/>
                  </a:cxn>
                  <a:cxn ang="0">
                    <a:pos x="58" y="0"/>
                  </a:cxn>
                  <a:cxn ang="0">
                    <a:pos x="176" y="281"/>
                  </a:cxn>
                  <a:cxn ang="0">
                    <a:pos x="35" y="495"/>
                  </a:cxn>
                  <a:cxn ang="0">
                    <a:pos x="34" y="444"/>
                  </a:cxn>
                </a:cxnLst>
                <a:rect l="0" t="0" r="r" b="b"/>
                <a:pathLst>
                  <a:path w="181" h="501">
                    <a:moveTo>
                      <a:pt x="34" y="430"/>
                    </a:moveTo>
                    <a:cubicBezTo>
                      <a:pt x="47" y="381"/>
                      <a:pt x="31" y="355"/>
                      <a:pt x="13" y="319"/>
                    </a:cubicBezTo>
                    <a:cubicBezTo>
                      <a:pt x="36" y="325"/>
                      <a:pt x="46" y="319"/>
                      <a:pt x="64" y="341"/>
                    </a:cubicBezTo>
                    <a:cubicBezTo>
                      <a:pt x="103" y="308"/>
                      <a:pt x="27" y="252"/>
                      <a:pt x="0" y="221"/>
                    </a:cubicBezTo>
                    <a:cubicBezTo>
                      <a:pt x="30" y="233"/>
                      <a:pt x="56" y="260"/>
                      <a:pt x="93" y="257"/>
                    </a:cubicBezTo>
                    <a:cubicBezTo>
                      <a:pt x="105" y="161"/>
                      <a:pt x="82" y="92"/>
                      <a:pt x="58" y="0"/>
                    </a:cubicBezTo>
                    <a:cubicBezTo>
                      <a:pt x="106" y="96"/>
                      <a:pt x="169" y="173"/>
                      <a:pt x="176" y="281"/>
                    </a:cubicBezTo>
                    <a:cubicBezTo>
                      <a:pt x="181" y="357"/>
                      <a:pt x="126" y="501"/>
                      <a:pt x="35" y="495"/>
                    </a:cubicBezTo>
                    <a:cubicBezTo>
                      <a:pt x="34" y="480"/>
                      <a:pt x="31" y="460"/>
                      <a:pt x="34" y="444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9" name="Freeform 25"/>
              <p:cNvSpPr>
                <a:spLocks/>
              </p:cNvSpPr>
              <p:nvPr/>
            </p:nvSpPr>
            <p:spPr bwMode="gray">
              <a:xfrm>
                <a:off x="-10058400" y="-14716125"/>
                <a:ext cx="4803775" cy="3281363"/>
              </a:xfrm>
              <a:custGeom>
                <a:avLst/>
                <a:gdLst/>
                <a:ahLst/>
                <a:cxnLst>
                  <a:cxn ang="0">
                    <a:pos x="370" y="460"/>
                  </a:cxn>
                  <a:cxn ang="0">
                    <a:pos x="572" y="360"/>
                  </a:cxn>
                  <a:cxn ang="0">
                    <a:pos x="668" y="301"/>
                  </a:cxn>
                  <a:cxn ang="0">
                    <a:pos x="714" y="197"/>
                  </a:cxn>
                  <a:cxn ang="0">
                    <a:pos x="857" y="89"/>
                  </a:cxn>
                  <a:cxn ang="0">
                    <a:pos x="966" y="6"/>
                  </a:cxn>
                  <a:cxn ang="0">
                    <a:pos x="898" y="184"/>
                  </a:cxn>
                  <a:cxn ang="0">
                    <a:pos x="1074" y="158"/>
                  </a:cxn>
                  <a:cxn ang="0">
                    <a:pos x="1244" y="98"/>
                  </a:cxn>
                  <a:cxn ang="0">
                    <a:pos x="1277" y="124"/>
                  </a:cxn>
                  <a:cxn ang="0">
                    <a:pos x="1183" y="171"/>
                  </a:cxn>
                  <a:cxn ang="0">
                    <a:pos x="1098" y="221"/>
                  </a:cxn>
                  <a:cxn ang="0">
                    <a:pos x="1050" y="238"/>
                  </a:cxn>
                  <a:cxn ang="0">
                    <a:pos x="1025" y="287"/>
                  </a:cxn>
                  <a:cxn ang="0">
                    <a:pos x="980" y="371"/>
                  </a:cxn>
                  <a:cxn ang="0">
                    <a:pos x="876" y="402"/>
                  </a:cxn>
                  <a:cxn ang="0">
                    <a:pos x="756" y="444"/>
                  </a:cxn>
                  <a:cxn ang="0">
                    <a:pos x="600" y="555"/>
                  </a:cxn>
                  <a:cxn ang="0">
                    <a:pos x="302" y="804"/>
                  </a:cxn>
                  <a:cxn ang="0">
                    <a:pos x="83" y="826"/>
                  </a:cxn>
                  <a:cxn ang="0">
                    <a:pos x="52" y="600"/>
                  </a:cxn>
                  <a:cxn ang="0">
                    <a:pos x="226" y="535"/>
                  </a:cxn>
                  <a:cxn ang="0">
                    <a:pos x="380" y="460"/>
                  </a:cxn>
                </a:cxnLst>
                <a:rect l="0" t="0" r="r" b="b"/>
                <a:pathLst>
                  <a:path w="1281" h="875">
                    <a:moveTo>
                      <a:pt x="370" y="460"/>
                    </a:moveTo>
                    <a:cubicBezTo>
                      <a:pt x="446" y="442"/>
                      <a:pt x="505" y="399"/>
                      <a:pt x="572" y="360"/>
                    </a:cubicBezTo>
                    <a:cubicBezTo>
                      <a:pt x="604" y="341"/>
                      <a:pt x="641" y="327"/>
                      <a:pt x="668" y="301"/>
                    </a:cubicBezTo>
                    <a:cubicBezTo>
                      <a:pt x="696" y="274"/>
                      <a:pt x="683" y="232"/>
                      <a:pt x="714" y="197"/>
                    </a:cubicBezTo>
                    <a:cubicBezTo>
                      <a:pt x="742" y="150"/>
                      <a:pt x="815" y="128"/>
                      <a:pt x="857" y="89"/>
                    </a:cubicBezTo>
                    <a:cubicBezTo>
                      <a:pt x="898" y="52"/>
                      <a:pt x="900" y="0"/>
                      <a:pt x="966" y="6"/>
                    </a:cubicBezTo>
                    <a:cubicBezTo>
                      <a:pt x="1027" y="83"/>
                      <a:pt x="833" y="129"/>
                      <a:pt x="898" y="184"/>
                    </a:cubicBezTo>
                    <a:cubicBezTo>
                      <a:pt x="929" y="210"/>
                      <a:pt x="1023" y="164"/>
                      <a:pt x="1074" y="158"/>
                    </a:cubicBezTo>
                    <a:cubicBezTo>
                      <a:pt x="1127" y="113"/>
                      <a:pt x="1218" y="117"/>
                      <a:pt x="1244" y="98"/>
                    </a:cubicBezTo>
                    <a:cubicBezTo>
                      <a:pt x="1269" y="99"/>
                      <a:pt x="1281" y="98"/>
                      <a:pt x="1277" y="124"/>
                    </a:cubicBezTo>
                    <a:cubicBezTo>
                      <a:pt x="1277" y="135"/>
                      <a:pt x="1211" y="159"/>
                      <a:pt x="1183" y="171"/>
                    </a:cubicBezTo>
                    <a:cubicBezTo>
                      <a:pt x="1152" y="185"/>
                      <a:pt x="1128" y="205"/>
                      <a:pt x="1098" y="221"/>
                    </a:cubicBezTo>
                    <a:cubicBezTo>
                      <a:pt x="1085" y="228"/>
                      <a:pt x="1062" y="228"/>
                      <a:pt x="1050" y="238"/>
                    </a:cubicBezTo>
                    <a:cubicBezTo>
                      <a:pt x="1028" y="256"/>
                      <a:pt x="1037" y="267"/>
                      <a:pt x="1025" y="287"/>
                    </a:cubicBezTo>
                    <a:cubicBezTo>
                      <a:pt x="1012" y="307"/>
                      <a:pt x="996" y="358"/>
                      <a:pt x="980" y="371"/>
                    </a:cubicBezTo>
                    <a:cubicBezTo>
                      <a:pt x="963" y="387"/>
                      <a:pt x="900" y="393"/>
                      <a:pt x="876" y="402"/>
                    </a:cubicBezTo>
                    <a:cubicBezTo>
                      <a:pt x="835" y="416"/>
                      <a:pt x="795" y="430"/>
                      <a:pt x="756" y="444"/>
                    </a:cubicBezTo>
                    <a:cubicBezTo>
                      <a:pt x="694" y="467"/>
                      <a:pt x="649" y="506"/>
                      <a:pt x="600" y="555"/>
                    </a:cubicBezTo>
                    <a:cubicBezTo>
                      <a:pt x="511" y="642"/>
                      <a:pt x="419" y="750"/>
                      <a:pt x="302" y="804"/>
                    </a:cubicBezTo>
                    <a:cubicBezTo>
                      <a:pt x="251" y="827"/>
                      <a:pt x="136" y="875"/>
                      <a:pt x="83" y="826"/>
                    </a:cubicBezTo>
                    <a:cubicBezTo>
                      <a:pt x="37" y="783"/>
                      <a:pt x="0" y="635"/>
                      <a:pt x="52" y="600"/>
                    </a:cubicBezTo>
                    <a:cubicBezTo>
                      <a:pt x="101" y="568"/>
                      <a:pt x="173" y="558"/>
                      <a:pt x="226" y="535"/>
                    </a:cubicBezTo>
                    <a:cubicBezTo>
                      <a:pt x="278" y="511"/>
                      <a:pt x="321" y="477"/>
                      <a:pt x="380" y="460"/>
                    </a:cubicBezTo>
                  </a:path>
                </a:pathLst>
              </a:custGeom>
              <a:solidFill>
                <a:srgbClr val="F4DD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0" name="Freeform 26"/>
              <p:cNvSpPr>
                <a:spLocks/>
              </p:cNvSpPr>
              <p:nvPr/>
            </p:nvSpPr>
            <p:spPr bwMode="gray">
              <a:xfrm>
                <a:off x="-9967913" y="-12128500"/>
                <a:ext cx="1296988" cy="6064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4" y="85"/>
                  </a:cxn>
                  <a:cxn ang="0">
                    <a:pos x="152" y="130"/>
                  </a:cxn>
                  <a:cxn ang="0">
                    <a:pos x="198" y="116"/>
                  </a:cxn>
                  <a:cxn ang="0">
                    <a:pos x="256" y="107"/>
                  </a:cxn>
                  <a:cxn ang="0">
                    <a:pos x="346" y="72"/>
                  </a:cxn>
                  <a:cxn ang="0">
                    <a:pos x="145" y="156"/>
                  </a:cxn>
                  <a:cxn ang="0">
                    <a:pos x="48" y="126"/>
                  </a:cxn>
                  <a:cxn ang="0">
                    <a:pos x="4" y="15"/>
                  </a:cxn>
                </a:cxnLst>
                <a:rect l="0" t="0" r="r" b="b"/>
                <a:pathLst>
                  <a:path w="346" h="162">
                    <a:moveTo>
                      <a:pt x="0" y="0"/>
                    </a:moveTo>
                    <a:cubicBezTo>
                      <a:pt x="2" y="23"/>
                      <a:pt x="31" y="66"/>
                      <a:pt x="44" y="85"/>
                    </a:cubicBezTo>
                    <a:cubicBezTo>
                      <a:pt x="68" y="122"/>
                      <a:pt x="109" y="133"/>
                      <a:pt x="152" y="130"/>
                    </a:cubicBezTo>
                    <a:cubicBezTo>
                      <a:pt x="175" y="128"/>
                      <a:pt x="180" y="121"/>
                      <a:pt x="198" y="116"/>
                    </a:cubicBezTo>
                    <a:cubicBezTo>
                      <a:pt x="217" y="110"/>
                      <a:pt x="236" y="112"/>
                      <a:pt x="256" y="107"/>
                    </a:cubicBezTo>
                    <a:cubicBezTo>
                      <a:pt x="284" y="99"/>
                      <a:pt x="321" y="85"/>
                      <a:pt x="346" y="72"/>
                    </a:cubicBezTo>
                    <a:cubicBezTo>
                      <a:pt x="275" y="108"/>
                      <a:pt x="227" y="143"/>
                      <a:pt x="145" y="156"/>
                    </a:cubicBezTo>
                    <a:cubicBezTo>
                      <a:pt x="102" y="162"/>
                      <a:pt x="76" y="157"/>
                      <a:pt x="48" y="126"/>
                    </a:cubicBezTo>
                    <a:cubicBezTo>
                      <a:pt x="14" y="87"/>
                      <a:pt x="18" y="59"/>
                      <a:pt x="4" y="15"/>
                    </a:cubicBezTo>
                  </a:path>
                </a:pathLst>
              </a:custGeom>
              <a:solidFill>
                <a:srgbClr val="E2CEC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1" name="Freeform 27"/>
              <p:cNvSpPr>
                <a:spLocks/>
              </p:cNvSpPr>
              <p:nvPr/>
            </p:nvSpPr>
            <p:spPr bwMode="gray">
              <a:xfrm>
                <a:off x="-11960225" y="-19913600"/>
                <a:ext cx="2347913" cy="1990725"/>
              </a:xfrm>
              <a:custGeom>
                <a:avLst/>
                <a:gdLst/>
                <a:ahLst/>
                <a:cxnLst>
                  <a:cxn ang="0">
                    <a:pos x="103" y="251"/>
                  </a:cxn>
                  <a:cxn ang="0">
                    <a:pos x="91" y="393"/>
                  </a:cxn>
                  <a:cxn ang="0">
                    <a:pos x="75" y="531"/>
                  </a:cxn>
                  <a:cxn ang="0">
                    <a:pos x="69" y="531"/>
                  </a:cxn>
                  <a:cxn ang="0">
                    <a:pos x="54" y="504"/>
                  </a:cxn>
                  <a:cxn ang="0">
                    <a:pos x="53" y="445"/>
                  </a:cxn>
                  <a:cxn ang="0">
                    <a:pos x="14" y="405"/>
                  </a:cxn>
                  <a:cxn ang="0">
                    <a:pos x="14" y="343"/>
                  </a:cxn>
                  <a:cxn ang="0">
                    <a:pos x="1" y="288"/>
                  </a:cxn>
                  <a:cxn ang="0">
                    <a:pos x="75" y="92"/>
                  </a:cxn>
                  <a:cxn ang="0">
                    <a:pos x="282" y="8"/>
                  </a:cxn>
                  <a:cxn ang="0">
                    <a:pos x="423" y="32"/>
                  </a:cxn>
                  <a:cxn ang="0">
                    <a:pos x="530" y="92"/>
                  </a:cxn>
                  <a:cxn ang="0">
                    <a:pos x="587" y="175"/>
                  </a:cxn>
                  <a:cxn ang="0">
                    <a:pos x="612" y="221"/>
                  </a:cxn>
                  <a:cxn ang="0">
                    <a:pos x="599" y="271"/>
                  </a:cxn>
                  <a:cxn ang="0">
                    <a:pos x="621" y="377"/>
                  </a:cxn>
                  <a:cxn ang="0">
                    <a:pos x="602" y="380"/>
                  </a:cxn>
                  <a:cxn ang="0">
                    <a:pos x="606" y="394"/>
                  </a:cxn>
                  <a:cxn ang="0">
                    <a:pos x="584" y="440"/>
                  </a:cxn>
                  <a:cxn ang="0">
                    <a:pos x="571" y="494"/>
                  </a:cxn>
                  <a:cxn ang="0">
                    <a:pos x="535" y="269"/>
                  </a:cxn>
                  <a:cxn ang="0">
                    <a:pos x="514" y="217"/>
                  </a:cxn>
                  <a:cxn ang="0">
                    <a:pos x="480" y="192"/>
                  </a:cxn>
                  <a:cxn ang="0">
                    <a:pos x="436" y="211"/>
                  </a:cxn>
                  <a:cxn ang="0">
                    <a:pos x="383" y="224"/>
                  </a:cxn>
                  <a:cxn ang="0">
                    <a:pos x="227" y="216"/>
                  </a:cxn>
                  <a:cxn ang="0">
                    <a:pos x="98" y="254"/>
                  </a:cxn>
                </a:cxnLst>
                <a:rect l="0" t="0" r="r" b="b"/>
                <a:pathLst>
                  <a:path w="626" h="531">
                    <a:moveTo>
                      <a:pt x="103" y="251"/>
                    </a:moveTo>
                    <a:cubicBezTo>
                      <a:pt x="99" y="293"/>
                      <a:pt x="93" y="347"/>
                      <a:pt x="91" y="393"/>
                    </a:cubicBezTo>
                    <a:cubicBezTo>
                      <a:pt x="89" y="442"/>
                      <a:pt x="78" y="483"/>
                      <a:pt x="75" y="531"/>
                    </a:cubicBezTo>
                    <a:cubicBezTo>
                      <a:pt x="74" y="531"/>
                      <a:pt x="70" y="531"/>
                      <a:pt x="69" y="531"/>
                    </a:cubicBezTo>
                    <a:cubicBezTo>
                      <a:pt x="63" y="521"/>
                      <a:pt x="62" y="511"/>
                      <a:pt x="54" y="504"/>
                    </a:cubicBezTo>
                    <a:cubicBezTo>
                      <a:pt x="48" y="486"/>
                      <a:pt x="60" y="462"/>
                      <a:pt x="53" y="445"/>
                    </a:cubicBezTo>
                    <a:cubicBezTo>
                      <a:pt x="45" y="428"/>
                      <a:pt x="20" y="423"/>
                      <a:pt x="14" y="405"/>
                    </a:cubicBezTo>
                    <a:cubicBezTo>
                      <a:pt x="7" y="386"/>
                      <a:pt x="19" y="362"/>
                      <a:pt x="14" y="343"/>
                    </a:cubicBezTo>
                    <a:cubicBezTo>
                      <a:pt x="8" y="323"/>
                      <a:pt x="0" y="313"/>
                      <a:pt x="1" y="288"/>
                    </a:cubicBezTo>
                    <a:cubicBezTo>
                      <a:pt x="4" y="215"/>
                      <a:pt x="23" y="141"/>
                      <a:pt x="75" y="92"/>
                    </a:cubicBezTo>
                    <a:cubicBezTo>
                      <a:pt x="134" y="35"/>
                      <a:pt x="205" y="20"/>
                      <a:pt x="282" y="8"/>
                    </a:cubicBezTo>
                    <a:cubicBezTo>
                      <a:pt x="335" y="0"/>
                      <a:pt x="374" y="21"/>
                      <a:pt x="423" y="32"/>
                    </a:cubicBezTo>
                    <a:cubicBezTo>
                      <a:pt x="470" y="42"/>
                      <a:pt x="496" y="56"/>
                      <a:pt x="530" y="92"/>
                    </a:cubicBezTo>
                    <a:cubicBezTo>
                      <a:pt x="539" y="101"/>
                      <a:pt x="626" y="174"/>
                      <a:pt x="587" y="175"/>
                    </a:cubicBezTo>
                    <a:cubicBezTo>
                      <a:pt x="595" y="190"/>
                      <a:pt x="609" y="201"/>
                      <a:pt x="612" y="221"/>
                    </a:cubicBezTo>
                    <a:cubicBezTo>
                      <a:pt x="615" y="246"/>
                      <a:pt x="603" y="252"/>
                      <a:pt x="599" y="271"/>
                    </a:cubicBezTo>
                    <a:cubicBezTo>
                      <a:pt x="592" y="309"/>
                      <a:pt x="615" y="346"/>
                      <a:pt x="621" y="377"/>
                    </a:cubicBezTo>
                    <a:cubicBezTo>
                      <a:pt x="614" y="377"/>
                      <a:pt x="609" y="381"/>
                      <a:pt x="602" y="380"/>
                    </a:cubicBezTo>
                    <a:cubicBezTo>
                      <a:pt x="604" y="383"/>
                      <a:pt x="604" y="391"/>
                      <a:pt x="606" y="394"/>
                    </a:cubicBezTo>
                    <a:cubicBezTo>
                      <a:pt x="574" y="404"/>
                      <a:pt x="586" y="416"/>
                      <a:pt x="584" y="440"/>
                    </a:cubicBezTo>
                    <a:cubicBezTo>
                      <a:pt x="583" y="458"/>
                      <a:pt x="573" y="473"/>
                      <a:pt x="571" y="494"/>
                    </a:cubicBezTo>
                    <a:cubicBezTo>
                      <a:pt x="546" y="423"/>
                      <a:pt x="553" y="342"/>
                      <a:pt x="535" y="269"/>
                    </a:cubicBezTo>
                    <a:cubicBezTo>
                      <a:pt x="530" y="250"/>
                      <a:pt x="525" y="233"/>
                      <a:pt x="514" y="217"/>
                    </a:cubicBezTo>
                    <a:cubicBezTo>
                      <a:pt x="503" y="200"/>
                      <a:pt x="497" y="189"/>
                      <a:pt x="480" y="192"/>
                    </a:cubicBezTo>
                    <a:cubicBezTo>
                      <a:pt x="466" y="194"/>
                      <a:pt x="449" y="207"/>
                      <a:pt x="436" y="211"/>
                    </a:cubicBezTo>
                    <a:cubicBezTo>
                      <a:pt x="419" y="217"/>
                      <a:pt x="401" y="221"/>
                      <a:pt x="383" y="224"/>
                    </a:cubicBezTo>
                    <a:cubicBezTo>
                      <a:pt x="329" y="232"/>
                      <a:pt x="278" y="219"/>
                      <a:pt x="227" y="216"/>
                    </a:cubicBezTo>
                    <a:cubicBezTo>
                      <a:pt x="192" y="215"/>
                      <a:pt x="123" y="229"/>
                      <a:pt x="98" y="254"/>
                    </a:cubicBezTo>
                  </a:path>
                </a:pathLst>
              </a:custGeom>
              <a:solidFill>
                <a:srgbClr val="7C5D5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2" name="Freeform 28"/>
              <p:cNvSpPr>
                <a:spLocks/>
              </p:cNvSpPr>
              <p:nvPr/>
            </p:nvSpPr>
            <p:spPr bwMode="gray">
              <a:xfrm>
                <a:off x="-11539538" y="-19569112"/>
                <a:ext cx="1166813" cy="457200"/>
              </a:xfrm>
              <a:custGeom>
                <a:avLst/>
                <a:gdLst/>
                <a:ahLst/>
                <a:cxnLst>
                  <a:cxn ang="0">
                    <a:pos x="209" y="112"/>
                  </a:cxn>
                  <a:cxn ang="0">
                    <a:pos x="120" y="62"/>
                  </a:cxn>
                  <a:cxn ang="0">
                    <a:pos x="0" y="57"/>
                  </a:cxn>
                  <a:cxn ang="0">
                    <a:pos x="110" y="46"/>
                  </a:cxn>
                  <a:cxn ang="0">
                    <a:pos x="233" y="81"/>
                  </a:cxn>
                  <a:cxn ang="0">
                    <a:pos x="105" y="14"/>
                  </a:cxn>
                  <a:cxn ang="0">
                    <a:pos x="258" y="37"/>
                  </a:cxn>
                  <a:cxn ang="0">
                    <a:pos x="241" y="7"/>
                  </a:cxn>
                  <a:cxn ang="0">
                    <a:pos x="304" y="87"/>
                  </a:cxn>
                  <a:cxn ang="0">
                    <a:pos x="209" y="122"/>
                  </a:cxn>
                </a:cxnLst>
                <a:rect l="0" t="0" r="r" b="b"/>
                <a:pathLst>
                  <a:path w="311" h="122">
                    <a:moveTo>
                      <a:pt x="209" y="112"/>
                    </a:moveTo>
                    <a:cubicBezTo>
                      <a:pt x="179" y="97"/>
                      <a:pt x="152" y="71"/>
                      <a:pt x="120" y="62"/>
                    </a:cubicBezTo>
                    <a:cubicBezTo>
                      <a:pt x="84" y="52"/>
                      <a:pt x="39" y="57"/>
                      <a:pt x="0" y="57"/>
                    </a:cubicBezTo>
                    <a:cubicBezTo>
                      <a:pt x="23" y="42"/>
                      <a:pt x="73" y="39"/>
                      <a:pt x="110" y="46"/>
                    </a:cubicBezTo>
                    <a:cubicBezTo>
                      <a:pt x="154" y="56"/>
                      <a:pt x="185" y="90"/>
                      <a:pt x="233" y="81"/>
                    </a:cubicBezTo>
                    <a:cubicBezTo>
                      <a:pt x="254" y="4"/>
                      <a:pt x="139" y="25"/>
                      <a:pt x="105" y="14"/>
                    </a:cubicBezTo>
                    <a:cubicBezTo>
                      <a:pt x="163" y="0"/>
                      <a:pt x="211" y="11"/>
                      <a:pt x="258" y="37"/>
                    </a:cubicBezTo>
                    <a:cubicBezTo>
                      <a:pt x="253" y="29"/>
                      <a:pt x="250" y="17"/>
                      <a:pt x="241" y="7"/>
                    </a:cubicBezTo>
                    <a:cubicBezTo>
                      <a:pt x="263" y="12"/>
                      <a:pt x="311" y="63"/>
                      <a:pt x="304" y="87"/>
                    </a:cubicBezTo>
                    <a:cubicBezTo>
                      <a:pt x="297" y="109"/>
                      <a:pt x="232" y="119"/>
                      <a:pt x="209" y="122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3" name="Freeform 29"/>
              <p:cNvSpPr>
                <a:spLocks/>
              </p:cNvSpPr>
              <p:nvPr/>
            </p:nvSpPr>
            <p:spPr bwMode="gray">
              <a:xfrm>
                <a:off x="-10264775" y="-19553237"/>
                <a:ext cx="239713" cy="258763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2" y="0"/>
                  </a:cxn>
                  <a:cxn ang="0">
                    <a:pos x="14" y="38"/>
                  </a:cxn>
                  <a:cxn ang="0">
                    <a:pos x="64" y="19"/>
                  </a:cxn>
                  <a:cxn ang="0">
                    <a:pos x="8" y="69"/>
                  </a:cxn>
                  <a:cxn ang="0">
                    <a:pos x="3" y="53"/>
                  </a:cxn>
                </a:cxnLst>
                <a:rect l="0" t="0" r="r" b="b"/>
                <a:pathLst>
                  <a:path w="64" h="69">
                    <a:moveTo>
                      <a:pt x="3" y="48"/>
                    </a:moveTo>
                    <a:cubicBezTo>
                      <a:pt x="1" y="31"/>
                      <a:pt x="4" y="15"/>
                      <a:pt x="12" y="0"/>
                    </a:cubicBezTo>
                    <a:cubicBezTo>
                      <a:pt x="10" y="11"/>
                      <a:pt x="14" y="26"/>
                      <a:pt x="14" y="38"/>
                    </a:cubicBezTo>
                    <a:cubicBezTo>
                      <a:pt x="30" y="29"/>
                      <a:pt x="48" y="12"/>
                      <a:pt x="64" y="19"/>
                    </a:cubicBezTo>
                    <a:cubicBezTo>
                      <a:pt x="48" y="34"/>
                      <a:pt x="22" y="47"/>
                      <a:pt x="8" y="69"/>
                    </a:cubicBezTo>
                    <a:cubicBezTo>
                      <a:pt x="0" y="65"/>
                      <a:pt x="4" y="61"/>
                      <a:pt x="3" y="53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4" name="Freeform 30"/>
              <p:cNvSpPr>
                <a:spLocks/>
              </p:cNvSpPr>
              <p:nvPr/>
            </p:nvSpPr>
            <p:spPr bwMode="gray">
              <a:xfrm>
                <a:off x="-11831638" y="-19035712"/>
                <a:ext cx="277813" cy="369888"/>
              </a:xfrm>
              <a:custGeom>
                <a:avLst/>
                <a:gdLst/>
                <a:ahLst/>
                <a:cxnLst>
                  <a:cxn ang="0">
                    <a:pos x="74" y="0"/>
                  </a:cxn>
                  <a:cxn ang="0">
                    <a:pos x="0" y="48"/>
                  </a:cxn>
                  <a:cxn ang="0">
                    <a:pos x="29" y="50"/>
                  </a:cxn>
                  <a:cxn ang="0">
                    <a:pos x="4" y="79"/>
                  </a:cxn>
                  <a:cxn ang="0">
                    <a:pos x="64" y="10"/>
                  </a:cxn>
                </a:cxnLst>
                <a:rect l="0" t="0" r="r" b="b"/>
                <a:pathLst>
                  <a:path w="74" h="99">
                    <a:moveTo>
                      <a:pt x="74" y="0"/>
                    </a:moveTo>
                    <a:cubicBezTo>
                      <a:pt x="50" y="10"/>
                      <a:pt x="12" y="17"/>
                      <a:pt x="0" y="48"/>
                    </a:cubicBezTo>
                    <a:cubicBezTo>
                      <a:pt x="9" y="47"/>
                      <a:pt x="20" y="52"/>
                      <a:pt x="29" y="50"/>
                    </a:cubicBezTo>
                    <a:cubicBezTo>
                      <a:pt x="20" y="58"/>
                      <a:pt x="13" y="71"/>
                      <a:pt x="4" y="79"/>
                    </a:cubicBezTo>
                    <a:cubicBezTo>
                      <a:pt x="43" y="99"/>
                      <a:pt x="42" y="26"/>
                      <a:pt x="64" y="10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5" name="Freeform 31"/>
              <p:cNvSpPr>
                <a:spLocks/>
              </p:cNvSpPr>
              <p:nvPr/>
            </p:nvSpPr>
            <p:spPr bwMode="gray">
              <a:xfrm>
                <a:off x="-10515600" y="-13898562"/>
                <a:ext cx="701675" cy="1195388"/>
              </a:xfrm>
              <a:custGeom>
                <a:avLst/>
                <a:gdLst/>
                <a:ahLst/>
                <a:cxnLst>
                  <a:cxn ang="0">
                    <a:pos x="187" y="304"/>
                  </a:cxn>
                  <a:cxn ang="0">
                    <a:pos x="105" y="163"/>
                  </a:cxn>
                  <a:cxn ang="0">
                    <a:pos x="32" y="0"/>
                  </a:cxn>
                  <a:cxn ang="0">
                    <a:pos x="68" y="200"/>
                  </a:cxn>
                  <a:cxn ang="0">
                    <a:pos x="179" y="319"/>
                  </a:cxn>
                </a:cxnLst>
                <a:rect l="0" t="0" r="r" b="b"/>
                <a:pathLst>
                  <a:path w="187" h="319">
                    <a:moveTo>
                      <a:pt x="187" y="304"/>
                    </a:moveTo>
                    <a:cubicBezTo>
                      <a:pt x="171" y="233"/>
                      <a:pt x="137" y="211"/>
                      <a:pt x="105" y="163"/>
                    </a:cubicBezTo>
                    <a:cubicBezTo>
                      <a:pt x="75" y="119"/>
                      <a:pt x="83" y="25"/>
                      <a:pt x="32" y="0"/>
                    </a:cubicBezTo>
                    <a:cubicBezTo>
                      <a:pt x="0" y="56"/>
                      <a:pt x="65" y="137"/>
                      <a:pt x="68" y="200"/>
                    </a:cubicBezTo>
                    <a:cubicBezTo>
                      <a:pt x="72" y="292"/>
                      <a:pt x="68" y="319"/>
                      <a:pt x="179" y="319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6" name="Freeform 32"/>
              <p:cNvSpPr>
                <a:spLocks/>
              </p:cNvSpPr>
              <p:nvPr/>
            </p:nvSpPr>
            <p:spPr bwMode="gray">
              <a:xfrm>
                <a:off x="-12436475" y="-14701837"/>
                <a:ext cx="1422400" cy="938213"/>
              </a:xfrm>
              <a:custGeom>
                <a:avLst/>
                <a:gdLst/>
                <a:ahLst/>
                <a:cxnLst>
                  <a:cxn ang="0">
                    <a:pos x="364" y="235"/>
                  </a:cxn>
                  <a:cxn ang="0">
                    <a:pos x="163" y="124"/>
                  </a:cxn>
                  <a:cxn ang="0">
                    <a:pos x="0" y="0"/>
                  </a:cxn>
                  <a:cxn ang="0">
                    <a:pos x="199" y="125"/>
                  </a:cxn>
                  <a:cxn ang="0">
                    <a:pos x="379" y="250"/>
                  </a:cxn>
                </a:cxnLst>
                <a:rect l="0" t="0" r="r" b="b"/>
                <a:pathLst>
                  <a:path w="379" h="250">
                    <a:moveTo>
                      <a:pt x="364" y="235"/>
                    </a:moveTo>
                    <a:cubicBezTo>
                      <a:pt x="304" y="237"/>
                      <a:pt x="216" y="155"/>
                      <a:pt x="163" y="124"/>
                    </a:cubicBezTo>
                    <a:cubicBezTo>
                      <a:pt x="114" y="95"/>
                      <a:pt x="19" y="53"/>
                      <a:pt x="0" y="0"/>
                    </a:cubicBezTo>
                    <a:cubicBezTo>
                      <a:pt x="68" y="47"/>
                      <a:pt x="127" y="90"/>
                      <a:pt x="199" y="125"/>
                    </a:cubicBezTo>
                    <a:cubicBezTo>
                      <a:pt x="261" y="156"/>
                      <a:pt x="320" y="229"/>
                      <a:pt x="379" y="25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-11255375" y="-12815887"/>
                <a:ext cx="800100" cy="701675"/>
              </a:xfrm>
              <a:custGeom>
                <a:avLst/>
                <a:gdLst/>
                <a:ahLst/>
                <a:cxnLst>
                  <a:cxn ang="0">
                    <a:pos x="213" y="38"/>
                  </a:cxn>
                  <a:cxn ang="0">
                    <a:pos x="13" y="91"/>
                  </a:cxn>
                  <a:cxn ang="0">
                    <a:pos x="213" y="30"/>
                  </a:cxn>
                </a:cxnLst>
                <a:rect l="0" t="0" r="r" b="b"/>
                <a:pathLst>
                  <a:path w="213" h="187">
                    <a:moveTo>
                      <a:pt x="213" y="38"/>
                    </a:moveTo>
                    <a:cubicBezTo>
                      <a:pt x="179" y="52"/>
                      <a:pt x="0" y="187"/>
                      <a:pt x="13" y="91"/>
                    </a:cubicBezTo>
                    <a:cubicBezTo>
                      <a:pt x="53" y="72"/>
                      <a:pt x="181" y="0"/>
                      <a:pt x="213" y="3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8" name="Freeform 34"/>
              <p:cNvSpPr>
                <a:spLocks/>
              </p:cNvSpPr>
              <p:nvPr/>
            </p:nvSpPr>
            <p:spPr bwMode="gray">
              <a:xfrm>
                <a:off x="-12541250" y="-13846175"/>
                <a:ext cx="1357313" cy="809625"/>
              </a:xfrm>
              <a:custGeom>
                <a:avLst/>
                <a:gdLst/>
                <a:ahLst/>
                <a:cxnLst>
                  <a:cxn ang="0">
                    <a:pos x="347" y="194"/>
                  </a:cxn>
                  <a:cxn ang="0">
                    <a:pos x="184" y="95"/>
                  </a:cxn>
                  <a:cxn ang="0">
                    <a:pos x="0" y="0"/>
                  </a:cxn>
                  <a:cxn ang="0">
                    <a:pos x="362" y="208"/>
                  </a:cxn>
                </a:cxnLst>
                <a:rect l="0" t="0" r="r" b="b"/>
                <a:pathLst>
                  <a:path w="362" h="216">
                    <a:moveTo>
                      <a:pt x="347" y="194"/>
                    </a:moveTo>
                    <a:cubicBezTo>
                      <a:pt x="318" y="148"/>
                      <a:pt x="229" y="123"/>
                      <a:pt x="184" y="95"/>
                    </a:cubicBezTo>
                    <a:cubicBezTo>
                      <a:pt x="124" y="59"/>
                      <a:pt x="64" y="26"/>
                      <a:pt x="0" y="0"/>
                    </a:cubicBezTo>
                    <a:cubicBezTo>
                      <a:pt x="111" y="70"/>
                      <a:pt x="210" y="216"/>
                      <a:pt x="362" y="208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9" name="Freeform 35"/>
              <p:cNvSpPr>
                <a:spLocks/>
              </p:cNvSpPr>
              <p:nvPr/>
            </p:nvSpPr>
            <p:spPr bwMode="gray">
              <a:xfrm>
                <a:off x="-11955463" y="-11753850"/>
                <a:ext cx="741363" cy="1098550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160" y="21"/>
                  </a:cxn>
                  <a:cxn ang="0">
                    <a:pos x="124" y="82"/>
                  </a:cxn>
                  <a:cxn ang="0">
                    <a:pos x="65" y="141"/>
                  </a:cxn>
                  <a:cxn ang="0">
                    <a:pos x="71" y="282"/>
                  </a:cxn>
                  <a:cxn ang="0">
                    <a:pos x="111" y="149"/>
                  </a:cxn>
                  <a:cxn ang="0">
                    <a:pos x="169" y="15"/>
                  </a:cxn>
                </a:cxnLst>
                <a:rect l="0" t="0" r="r" b="b"/>
                <a:pathLst>
                  <a:path w="198" h="293">
                    <a:moveTo>
                      <a:pt x="169" y="0"/>
                    </a:moveTo>
                    <a:cubicBezTo>
                      <a:pt x="164" y="4"/>
                      <a:pt x="162" y="15"/>
                      <a:pt x="160" y="21"/>
                    </a:cubicBezTo>
                    <a:cubicBezTo>
                      <a:pt x="109" y="27"/>
                      <a:pt x="144" y="56"/>
                      <a:pt x="124" y="82"/>
                    </a:cubicBezTo>
                    <a:cubicBezTo>
                      <a:pt x="109" y="103"/>
                      <a:pt x="81" y="120"/>
                      <a:pt x="65" y="141"/>
                    </a:cubicBezTo>
                    <a:cubicBezTo>
                      <a:pt x="41" y="171"/>
                      <a:pt x="0" y="293"/>
                      <a:pt x="71" y="282"/>
                    </a:cubicBezTo>
                    <a:cubicBezTo>
                      <a:pt x="83" y="232"/>
                      <a:pt x="82" y="193"/>
                      <a:pt x="111" y="149"/>
                    </a:cubicBezTo>
                    <a:cubicBezTo>
                      <a:pt x="139" y="107"/>
                      <a:pt x="198" y="79"/>
                      <a:pt x="169" y="15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0" name="Freeform 36"/>
              <p:cNvSpPr>
                <a:spLocks/>
              </p:cNvSpPr>
              <p:nvPr/>
            </p:nvSpPr>
            <p:spPr bwMode="gray">
              <a:xfrm>
                <a:off x="-12285663" y="-12552362"/>
                <a:ext cx="460375" cy="622300"/>
              </a:xfrm>
              <a:custGeom>
                <a:avLst/>
                <a:gdLst/>
                <a:ahLst/>
                <a:cxnLst>
                  <a:cxn ang="0">
                    <a:pos x="116" y="35"/>
                  </a:cxn>
                  <a:cxn ang="0">
                    <a:pos x="41" y="166"/>
                  </a:cxn>
                  <a:cxn ang="0">
                    <a:pos x="19" y="34"/>
                  </a:cxn>
                  <a:cxn ang="0">
                    <a:pos x="123" y="35"/>
                  </a:cxn>
                </a:cxnLst>
                <a:rect l="0" t="0" r="r" b="b"/>
                <a:pathLst>
                  <a:path w="123" h="166">
                    <a:moveTo>
                      <a:pt x="116" y="35"/>
                    </a:moveTo>
                    <a:cubicBezTo>
                      <a:pt x="62" y="8"/>
                      <a:pt x="40" y="121"/>
                      <a:pt x="41" y="166"/>
                    </a:cubicBezTo>
                    <a:cubicBezTo>
                      <a:pt x="37" y="133"/>
                      <a:pt x="0" y="67"/>
                      <a:pt x="19" y="34"/>
                    </a:cubicBezTo>
                    <a:cubicBezTo>
                      <a:pt x="38" y="0"/>
                      <a:pt x="99" y="3"/>
                      <a:pt x="123" y="35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1" name="Freeform 37"/>
              <p:cNvSpPr>
                <a:spLocks/>
              </p:cNvSpPr>
              <p:nvPr/>
            </p:nvSpPr>
            <p:spPr bwMode="gray">
              <a:xfrm>
                <a:off x="-10752138" y="-16092487"/>
                <a:ext cx="258763" cy="476250"/>
              </a:xfrm>
              <a:custGeom>
                <a:avLst/>
                <a:gdLst/>
                <a:ahLst/>
                <a:cxnLst>
                  <a:cxn ang="0">
                    <a:pos x="56" y="4"/>
                  </a:cxn>
                  <a:cxn ang="0">
                    <a:pos x="37" y="2"/>
                  </a:cxn>
                  <a:cxn ang="0">
                    <a:pos x="22" y="127"/>
                  </a:cxn>
                  <a:cxn ang="0">
                    <a:pos x="32" y="88"/>
                  </a:cxn>
                  <a:cxn ang="0">
                    <a:pos x="69" y="104"/>
                  </a:cxn>
                  <a:cxn ang="0">
                    <a:pos x="53" y="84"/>
                  </a:cxn>
                  <a:cxn ang="0">
                    <a:pos x="49" y="61"/>
                  </a:cxn>
                  <a:cxn ang="0">
                    <a:pos x="58" y="16"/>
                  </a:cxn>
                  <a:cxn ang="0">
                    <a:pos x="56" y="6"/>
                  </a:cxn>
                </a:cxnLst>
                <a:rect l="0" t="0" r="r" b="b"/>
                <a:pathLst>
                  <a:path w="69" h="127">
                    <a:moveTo>
                      <a:pt x="56" y="4"/>
                    </a:moveTo>
                    <a:cubicBezTo>
                      <a:pt x="51" y="1"/>
                      <a:pt x="43" y="0"/>
                      <a:pt x="37" y="2"/>
                    </a:cubicBezTo>
                    <a:cubicBezTo>
                      <a:pt x="19" y="34"/>
                      <a:pt x="0" y="88"/>
                      <a:pt x="22" y="127"/>
                    </a:cubicBezTo>
                    <a:cubicBezTo>
                      <a:pt x="21" y="111"/>
                      <a:pt x="17" y="93"/>
                      <a:pt x="32" y="88"/>
                    </a:cubicBezTo>
                    <a:cubicBezTo>
                      <a:pt x="45" y="83"/>
                      <a:pt x="59" y="97"/>
                      <a:pt x="69" y="104"/>
                    </a:cubicBezTo>
                    <a:cubicBezTo>
                      <a:pt x="64" y="98"/>
                      <a:pt x="57" y="91"/>
                      <a:pt x="53" y="84"/>
                    </a:cubicBezTo>
                    <a:cubicBezTo>
                      <a:pt x="48" y="73"/>
                      <a:pt x="50" y="69"/>
                      <a:pt x="49" y="61"/>
                    </a:cubicBezTo>
                    <a:cubicBezTo>
                      <a:pt x="47" y="48"/>
                      <a:pt x="36" y="24"/>
                      <a:pt x="58" y="16"/>
                    </a:cubicBezTo>
                    <a:cubicBezTo>
                      <a:pt x="60" y="11"/>
                      <a:pt x="58" y="10"/>
                      <a:pt x="56" y="6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2" name="Freeform 38"/>
              <p:cNvSpPr>
                <a:spLocks/>
              </p:cNvSpPr>
              <p:nvPr/>
            </p:nvSpPr>
            <p:spPr bwMode="gray">
              <a:xfrm>
                <a:off x="-9871075" y="-15316200"/>
                <a:ext cx="528638" cy="2414588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46" y="132"/>
                  </a:cxn>
                  <a:cxn ang="0">
                    <a:pos x="80" y="257"/>
                  </a:cxn>
                  <a:cxn ang="0">
                    <a:pos x="104" y="391"/>
                  </a:cxn>
                  <a:cxn ang="0">
                    <a:pos x="129" y="529"/>
                  </a:cxn>
                  <a:cxn ang="0">
                    <a:pos x="141" y="644"/>
                  </a:cxn>
                  <a:cxn ang="0">
                    <a:pos x="121" y="543"/>
                  </a:cxn>
                  <a:cxn ang="0">
                    <a:pos x="102" y="427"/>
                  </a:cxn>
                  <a:cxn ang="0">
                    <a:pos x="77" y="313"/>
                  </a:cxn>
                  <a:cxn ang="0">
                    <a:pos x="55" y="201"/>
                  </a:cxn>
                  <a:cxn ang="0">
                    <a:pos x="25" y="104"/>
                  </a:cxn>
                  <a:cxn ang="0">
                    <a:pos x="0" y="0"/>
                  </a:cxn>
                </a:cxnLst>
                <a:rect l="0" t="0" r="r" b="b"/>
                <a:pathLst>
                  <a:path w="141" h="644">
                    <a:moveTo>
                      <a:pt x="2" y="3"/>
                    </a:moveTo>
                    <a:cubicBezTo>
                      <a:pt x="27" y="43"/>
                      <a:pt x="30" y="88"/>
                      <a:pt x="46" y="132"/>
                    </a:cubicBezTo>
                    <a:cubicBezTo>
                      <a:pt x="62" y="173"/>
                      <a:pt x="65" y="216"/>
                      <a:pt x="80" y="257"/>
                    </a:cubicBezTo>
                    <a:cubicBezTo>
                      <a:pt x="95" y="297"/>
                      <a:pt x="97" y="349"/>
                      <a:pt x="104" y="391"/>
                    </a:cubicBezTo>
                    <a:cubicBezTo>
                      <a:pt x="111" y="437"/>
                      <a:pt x="122" y="482"/>
                      <a:pt x="129" y="529"/>
                    </a:cubicBezTo>
                    <a:cubicBezTo>
                      <a:pt x="135" y="567"/>
                      <a:pt x="141" y="603"/>
                      <a:pt x="141" y="644"/>
                    </a:cubicBezTo>
                    <a:cubicBezTo>
                      <a:pt x="104" y="622"/>
                      <a:pt x="120" y="576"/>
                      <a:pt x="121" y="543"/>
                    </a:cubicBezTo>
                    <a:cubicBezTo>
                      <a:pt x="124" y="509"/>
                      <a:pt x="112" y="461"/>
                      <a:pt x="102" y="427"/>
                    </a:cubicBezTo>
                    <a:cubicBezTo>
                      <a:pt x="91" y="389"/>
                      <a:pt x="83" y="352"/>
                      <a:pt x="77" y="313"/>
                    </a:cubicBezTo>
                    <a:cubicBezTo>
                      <a:pt x="71" y="274"/>
                      <a:pt x="62" y="238"/>
                      <a:pt x="55" y="201"/>
                    </a:cubicBezTo>
                    <a:cubicBezTo>
                      <a:pt x="48" y="166"/>
                      <a:pt x="34" y="138"/>
                      <a:pt x="25" y="104"/>
                    </a:cubicBezTo>
                    <a:cubicBezTo>
                      <a:pt x="16" y="68"/>
                      <a:pt x="13" y="34"/>
                      <a:pt x="0" y="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3" name="Freeform 39"/>
              <p:cNvSpPr>
                <a:spLocks/>
              </p:cNvSpPr>
              <p:nvPr/>
            </p:nvSpPr>
            <p:spPr bwMode="gray">
              <a:xfrm>
                <a:off x="-12484100" y="-15297150"/>
                <a:ext cx="1570038" cy="1195388"/>
              </a:xfrm>
              <a:custGeom>
                <a:avLst/>
                <a:gdLst/>
                <a:ahLst/>
                <a:cxnLst>
                  <a:cxn ang="0">
                    <a:pos x="218" y="92"/>
                  </a:cxn>
                  <a:cxn ang="0">
                    <a:pos x="174" y="57"/>
                  </a:cxn>
                  <a:cxn ang="0">
                    <a:pos x="119" y="30"/>
                  </a:cxn>
                  <a:cxn ang="0">
                    <a:pos x="62" y="13"/>
                  </a:cxn>
                  <a:cxn ang="0">
                    <a:pos x="0" y="3"/>
                  </a:cxn>
                  <a:cxn ang="0">
                    <a:pos x="114" y="35"/>
                  </a:cxn>
                  <a:cxn ang="0">
                    <a:pos x="227" y="92"/>
                  </a:cxn>
                  <a:cxn ang="0">
                    <a:pos x="349" y="189"/>
                  </a:cxn>
                  <a:cxn ang="0">
                    <a:pos x="419" y="319"/>
                  </a:cxn>
                  <a:cxn ang="0">
                    <a:pos x="379" y="256"/>
                  </a:cxn>
                  <a:cxn ang="0">
                    <a:pos x="335" y="191"/>
                  </a:cxn>
                  <a:cxn ang="0">
                    <a:pos x="277" y="140"/>
                  </a:cxn>
                  <a:cxn ang="0">
                    <a:pos x="208" y="89"/>
                  </a:cxn>
                </a:cxnLst>
                <a:rect l="0" t="0" r="r" b="b"/>
                <a:pathLst>
                  <a:path w="419" h="319">
                    <a:moveTo>
                      <a:pt x="218" y="92"/>
                    </a:moveTo>
                    <a:cubicBezTo>
                      <a:pt x="201" y="84"/>
                      <a:pt x="191" y="65"/>
                      <a:pt x="174" y="57"/>
                    </a:cubicBezTo>
                    <a:cubicBezTo>
                      <a:pt x="157" y="48"/>
                      <a:pt x="138" y="37"/>
                      <a:pt x="119" y="30"/>
                    </a:cubicBezTo>
                    <a:cubicBezTo>
                      <a:pt x="101" y="23"/>
                      <a:pt x="81" y="17"/>
                      <a:pt x="62" y="13"/>
                    </a:cubicBezTo>
                    <a:cubicBezTo>
                      <a:pt x="46" y="10"/>
                      <a:pt x="10" y="13"/>
                      <a:pt x="0" y="3"/>
                    </a:cubicBezTo>
                    <a:cubicBezTo>
                      <a:pt x="46" y="0"/>
                      <a:pt x="75" y="15"/>
                      <a:pt x="114" y="35"/>
                    </a:cubicBezTo>
                    <a:cubicBezTo>
                      <a:pt x="153" y="54"/>
                      <a:pt x="192" y="68"/>
                      <a:pt x="227" y="92"/>
                    </a:cubicBezTo>
                    <a:cubicBezTo>
                      <a:pt x="267" y="119"/>
                      <a:pt x="321" y="149"/>
                      <a:pt x="349" y="189"/>
                    </a:cubicBezTo>
                    <a:cubicBezTo>
                      <a:pt x="378" y="231"/>
                      <a:pt x="404" y="272"/>
                      <a:pt x="419" y="319"/>
                    </a:cubicBezTo>
                    <a:cubicBezTo>
                      <a:pt x="403" y="302"/>
                      <a:pt x="394" y="275"/>
                      <a:pt x="379" y="256"/>
                    </a:cubicBezTo>
                    <a:cubicBezTo>
                      <a:pt x="364" y="234"/>
                      <a:pt x="352" y="211"/>
                      <a:pt x="335" y="191"/>
                    </a:cubicBezTo>
                    <a:cubicBezTo>
                      <a:pt x="319" y="170"/>
                      <a:pt x="298" y="155"/>
                      <a:pt x="277" y="140"/>
                    </a:cubicBezTo>
                    <a:cubicBezTo>
                      <a:pt x="257" y="124"/>
                      <a:pt x="231" y="99"/>
                      <a:pt x="208" y="89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4" name="Freeform 40"/>
              <p:cNvSpPr>
                <a:spLocks/>
              </p:cNvSpPr>
              <p:nvPr/>
            </p:nvSpPr>
            <p:spPr bwMode="gray">
              <a:xfrm>
                <a:off x="-11820525" y="-16114712"/>
                <a:ext cx="1173163" cy="666750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160" y="84"/>
                  </a:cxn>
                  <a:cxn ang="0">
                    <a:pos x="313" y="141"/>
                  </a:cxn>
                  <a:cxn ang="0">
                    <a:pos x="158" y="102"/>
                  </a:cxn>
                  <a:cxn ang="0">
                    <a:pos x="86" y="86"/>
                  </a:cxn>
                  <a:cxn ang="0">
                    <a:pos x="0" y="74"/>
                  </a:cxn>
                  <a:cxn ang="0">
                    <a:pos x="51" y="56"/>
                  </a:cxn>
                  <a:cxn ang="0">
                    <a:pos x="34" y="2"/>
                  </a:cxn>
                </a:cxnLst>
                <a:rect l="0" t="0" r="r" b="b"/>
                <a:pathLst>
                  <a:path w="313" h="178">
                    <a:moveTo>
                      <a:pt x="39" y="0"/>
                    </a:moveTo>
                    <a:cubicBezTo>
                      <a:pt x="82" y="23"/>
                      <a:pt x="118" y="61"/>
                      <a:pt x="160" y="84"/>
                    </a:cubicBezTo>
                    <a:cubicBezTo>
                      <a:pt x="208" y="111"/>
                      <a:pt x="254" y="143"/>
                      <a:pt x="313" y="141"/>
                    </a:cubicBezTo>
                    <a:cubicBezTo>
                      <a:pt x="261" y="178"/>
                      <a:pt x="201" y="125"/>
                      <a:pt x="158" y="102"/>
                    </a:cubicBezTo>
                    <a:cubicBezTo>
                      <a:pt x="136" y="91"/>
                      <a:pt x="110" y="90"/>
                      <a:pt x="86" y="86"/>
                    </a:cubicBezTo>
                    <a:cubicBezTo>
                      <a:pt x="59" y="82"/>
                      <a:pt x="28" y="72"/>
                      <a:pt x="0" y="74"/>
                    </a:cubicBezTo>
                    <a:cubicBezTo>
                      <a:pt x="14" y="72"/>
                      <a:pt x="42" y="70"/>
                      <a:pt x="51" y="56"/>
                    </a:cubicBezTo>
                    <a:cubicBezTo>
                      <a:pt x="65" y="34"/>
                      <a:pt x="34" y="22"/>
                      <a:pt x="34" y="2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5" name="Freeform 41"/>
              <p:cNvSpPr>
                <a:spLocks/>
              </p:cNvSpPr>
              <p:nvPr/>
            </p:nvSpPr>
            <p:spPr bwMode="gray">
              <a:xfrm>
                <a:off x="-9739313" y="-16471900"/>
                <a:ext cx="352425" cy="3413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4" y="43"/>
                  </a:cxn>
                  <a:cxn ang="0">
                    <a:pos x="62" y="91"/>
                  </a:cxn>
                  <a:cxn ang="0">
                    <a:pos x="94" y="35"/>
                  </a:cxn>
                  <a:cxn ang="0">
                    <a:pos x="0" y="0"/>
                  </a:cxn>
                </a:cxnLst>
                <a:rect l="0" t="0" r="r" b="b"/>
                <a:pathLst>
                  <a:path w="94" h="91">
                    <a:moveTo>
                      <a:pt x="2" y="0"/>
                    </a:moveTo>
                    <a:cubicBezTo>
                      <a:pt x="11" y="15"/>
                      <a:pt x="22" y="28"/>
                      <a:pt x="34" y="43"/>
                    </a:cubicBezTo>
                    <a:cubicBezTo>
                      <a:pt x="49" y="59"/>
                      <a:pt x="52" y="75"/>
                      <a:pt x="62" y="91"/>
                    </a:cubicBezTo>
                    <a:cubicBezTo>
                      <a:pt x="61" y="59"/>
                      <a:pt x="52" y="32"/>
                      <a:pt x="94" y="35"/>
                    </a:cubicBezTo>
                    <a:cubicBezTo>
                      <a:pt x="72" y="14"/>
                      <a:pt x="25" y="21"/>
                      <a:pt x="0" y="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6" name="Freeform 42"/>
              <p:cNvSpPr>
                <a:spLocks/>
              </p:cNvSpPr>
              <p:nvPr/>
            </p:nvSpPr>
            <p:spPr bwMode="gray">
              <a:xfrm>
                <a:off x="-8167688" y="-15155862"/>
                <a:ext cx="130175" cy="1177925"/>
              </a:xfrm>
              <a:custGeom>
                <a:avLst/>
                <a:gdLst/>
                <a:ahLst/>
                <a:cxnLst>
                  <a:cxn ang="0">
                    <a:pos x="20" y="260"/>
                  </a:cxn>
                  <a:cxn ang="0">
                    <a:pos x="0" y="0"/>
                  </a:cxn>
                  <a:cxn ang="0">
                    <a:pos x="32" y="146"/>
                  </a:cxn>
                  <a:cxn ang="0">
                    <a:pos x="32" y="314"/>
                  </a:cxn>
                  <a:cxn ang="0">
                    <a:pos x="25" y="314"/>
                  </a:cxn>
                  <a:cxn ang="0">
                    <a:pos x="20" y="260"/>
                  </a:cxn>
                </a:cxnLst>
                <a:rect l="0" t="0" r="r" b="b"/>
                <a:pathLst>
                  <a:path w="35" h="314">
                    <a:moveTo>
                      <a:pt x="20" y="260"/>
                    </a:moveTo>
                    <a:cubicBezTo>
                      <a:pt x="20" y="171"/>
                      <a:pt x="21" y="85"/>
                      <a:pt x="0" y="0"/>
                    </a:cubicBezTo>
                    <a:cubicBezTo>
                      <a:pt x="29" y="34"/>
                      <a:pt x="32" y="102"/>
                      <a:pt x="32" y="146"/>
                    </a:cubicBezTo>
                    <a:cubicBezTo>
                      <a:pt x="32" y="202"/>
                      <a:pt x="35" y="257"/>
                      <a:pt x="32" y="314"/>
                    </a:cubicBezTo>
                    <a:cubicBezTo>
                      <a:pt x="30" y="314"/>
                      <a:pt x="27" y="314"/>
                      <a:pt x="25" y="314"/>
                    </a:cubicBezTo>
                    <a:cubicBezTo>
                      <a:pt x="16" y="299"/>
                      <a:pt x="20" y="277"/>
                      <a:pt x="20" y="26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7" name="Freeform 43"/>
              <p:cNvSpPr>
                <a:spLocks/>
              </p:cNvSpPr>
              <p:nvPr/>
            </p:nvSpPr>
            <p:spPr bwMode="gray">
              <a:xfrm>
                <a:off x="-12233275" y="-15687675"/>
                <a:ext cx="974725" cy="825500"/>
              </a:xfrm>
              <a:custGeom>
                <a:avLst/>
                <a:gdLst/>
                <a:ahLst/>
                <a:cxnLst>
                  <a:cxn ang="0">
                    <a:pos x="74" y="0"/>
                  </a:cxn>
                  <a:cxn ang="0">
                    <a:pos x="121" y="20"/>
                  </a:cxn>
                  <a:cxn ang="0">
                    <a:pos x="173" y="39"/>
                  </a:cxn>
                  <a:cxn ang="0">
                    <a:pos x="255" y="106"/>
                  </a:cxn>
                  <a:cxn ang="0">
                    <a:pos x="194" y="121"/>
                  </a:cxn>
                  <a:cxn ang="0">
                    <a:pos x="260" y="220"/>
                  </a:cxn>
                  <a:cxn ang="0">
                    <a:pos x="152" y="104"/>
                  </a:cxn>
                  <a:cxn ang="0">
                    <a:pos x="0" y="44"/>
                  </a:cxn>
                  <a:cxn ang="0">
                    <a:pos x="109" y="23"/>
                  </a:cxn>
                  <a:cxn ang="0">
                    <a:pos x="74" y="2"/>
                  </a:cxn>
                </a:cxnLst>
                <a:rect l="0" t="0" r="r" b="b"/>
                <a:pathLst>
                  <a:path w="260" h="220">
                    <a:moveTo>
                      <a:pt x="74" y="0"/>
                    </a:moveTo>
                    <a:cubicBezTo>
                      <a:pt x="79" y="15"/>
                      <a:pt x="107" y="16"/>
                      <a:pt x="121" y="20"/>
                    </a:cubicBezTo>
                    <a:cubicBezTo>
                      <a:pt x="143" y="24"/>
                      <a:pt x="155" y="29"/>
                      <a:pt x="173" y="39"/>
                    </a:cubicBezTo>
                    <a:cubicBezTo>
                      <a:pt x="202" y="56"/>
                      <a:pt x="240" y="78"/>
                      <a:pt x="255" y="106"/>
                    </a:cubicBezTo>
                    <a:cubicBezTo>
                      <a:pt x="229" y="84"/>
                      <a:pt x="167" y="70"/>
                      <a:pt x="194" y="121"/>
                    </a:cubicBezTo>
                    <a:cubicBezTo>
                      <a:pt x="212" y="155"/>
                      <a:pt x="240" y="187"/>
                      <a:pt x="260" y="220"/>
                    </a:cubicBezTo>
                    <a:cubicBezTo>
                      <a:pt x="219" y="187"/>
                      <a:pt x="186" y="144"/>
                      <a:pt x="152" y="104"/>
                    </a:cubicBezTo>
                    <a:cubicBezTo>
                      <a:pt x="112" y="58"/>
                      <a:pt x="60" y="46"/>
                      <a:pt x="0" y="44"/>
                    </a:cubicBezTo>
                    <a:cubicBezTo>
                      <a:pt x="25" y="29"/>
                      <a:pt x="120" y="67"/>
                      <a:pt x="109" y="23"/>
                    </a:cubicBezTo>
                    <a:cubicBezTo>
                      <a:pt x="93" y="25"/>
                      <a:pt x="82" y="15"/>
                      <a:pt x="74" y="2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8" name="Freeform 44"/>
              <p:cNvSpPr>
                <a:spLocks/>
              </p:cNvSpPr>
              <p:nvPr/>
            </p:nvSpPr>
            <p:spPr bwMode="gray">
              <a:xfrm>
                <a:off x="-12068175" y="-12238037"/>
                <a:ext cx="401638" cy="957263"/>
              </a:xfrm>
              <a:custGeom>
                <a:avLst/>
                <a:gdLst/>
                <a:ahLst/>
                <a:cxnLst>
                  <a:cxn ang="0">
                    <a:pos x="105" y="30"/>
                  </a:cxn>
                  <a:cxn ang="0">
                    <a:pos x="73" y="150"/>
                  </a:cxn>
                  <a:cxn ang="0">
                    <a:pos x="3" y="255"/>
                  </a:cxn>
                  <a:cxn ang="0">
                    <a:pos x="0" y="152"/>
                  </a:cxn>
                  <a:cxn ang="0">
                    <a:pos x="58" y="62"/>
                  </a:cxn>
                  <a:cxn ang="0">
                    <a:pos x="70" y="10"/>
                  </a:cxn>
                  <a:cxn ang="0">
                    <a:pos x="105" y="35"/>
                  </a:cxn>
                </a:cxnLst>
                <a:rect l="0" t="0" r="r" b="b"/>
                <a:pathLst>
                  <a:path w="107" h="255">
                    <a:moveTo>
                      <a:pt x="105" y="30"/>
                    </a:moveTo>
                    <a:cubicBezTo>
                      <a:pt x="105" y="75"/>
                      <a:pt x="93" y="113"/>
                      <a:pt x="73" y="150"/>
                    </a:cubicBezTo>
                    <a:cubicBezTo>
                      <a:pt x="58" y="179"/>
                      <a:pt x="29" y="241"/>
                      <a:pt x="3" y="255"/>
                    </a:cubicBezTo>
                    <a:cubicBezTo>
                      <a:pt x="10" y="232"/>
                      <a:pt x="69" y="115"/>
                      <a:pt x="0" y="152"/>
                    </a:cubicBezTo>
                    <a:cubicBezTo>
                      <a:pt x="38" y="138"/>
                      <a:pt x="52" y="98"/>
                      <a:pt x="58" y="62"/>
                    </a:cubicBezTo>
                    <a:cubicBezTo>
                      <a:pt x="60" y="48"/>
                      <a:pt x="56" y="19"/>
                      <a:pt x="70" y="10"/>
                    </a:cubicBezTo>
                    <a:cubicBezTo>
                      <a:pt x="88" y="0"/>
                      <a:pt x="107" y="18"/>
                      <a:pt x="105" y="35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9" name="Freeform 45"/>
              <p:cNvSpPr>
                <a:spLocks/>
              </p:cNvSpPr>
              <p:nvPr/>
            </p:nvSpPr>
            <p:spPr bwMode="gray">
              <a:xfrm>
                <a:off x="-10583863" y="-15178087"/>
                <a:ext cx="935038" cy="828675"/>
              </a:xfrm>
              <a:custGeom>
                <a:avLst/>
                <a:gdLst/>
                <a:ahLst/>
                <a:cxnLst>
                  <a:cxn ang="0">
                    <a:pos x="220" y="189"/>
                  </a:cxn>
                  <a:cxn ang="0">
                    <a:pos x="0" y="1"/>
                  </a:cxn>
                  <a:cxn ang="0">
                    <a:pos x="87" y="47"/>
                  </a:cxn>
                  <a:cxn ang="0">
                    <a:pos x="150" y="99"/>
                  </a:cxn>
                  <a:cxn ang="0">
                    <a:pos x="249" y="221"/>
                  </a:cxn>
                  <a:cxn ang="0">
                    <a:pos x="220" y="189"/>
                  </a:cxn>
                </a:cxnLst>
                <a:rect l="0" t="0" r="r" b="b"/>
                <a:pathLst>
                  <a:path w="249" h="221">
                    <a:moveTo>
                      <a:pt x="220" y="189"/>
                    </a:moveTo>
                    <a:cubicBezTo>
                      <a:pt x="165" y="107"/>
                      <a:pt x="60" y="76"/>
                      <a:pt x="0" y="1"/>
                    </a:cubicBezTo>
                    <a:cubicBezTo>
                      <a:pt x="24" y="0"/>
                      <a:pt x="65" y="34"/>
                      <a:pt x="87" y="47"/>
                    </a:cubicBezTo>
                    <a:cubicBezTo>
                      <a:pt x="109" y="61"/>
                      <a:pt x="132" y="80"/>
                      <a:pt x="150" y="99"/>
                    </a:cubicBezTo>
                    <a:cubicBezTo>
                      <a:pt x="177" y="129"/>
                      <a:pt x="246" y="179"/>
                      <a:pt x="249" y="221"/>
                    </a:cubicBezTo>
                    <a:cubicBezTo>
                      <a:pt x="234" y="217"/>
                      <a:pt x="228" y="201"/>
                      <a:pt x="220" y="189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0" name="Freeform 46"/>
              <p:cNvSpPr>
                <a:spLocks/>
              </p:cNvSpPr>
              <p:nvPr/>
            </p:nvSpPr>
            <p:spPr bwMode="gray">
              <a:xfrm>
                <a:off x="-10399713" y="-15530512"/>
                <a:ext cx="641350" cy="698500"/>
              </a:xfrm>
              <a:custGeom>
                <a:avLst/>
                <a:gdLst/>
                <a:ahLst/>
                <a:cxnLst>
                  <a:cxn ang="0">
                    <a:pos x="168" y="181"/>
                  </a:cxn>
                  <a:cxn ang="0">
                    <a:pos x="118" y="120"/>
                  </a:cxn>
                  <a:cxn ang="0">
                    <a:pos x="81" y="82"/>
                  </a:cxn>
                  <a:cxn ang="0">
                    <a:pos x="0" y="0"/>
                  </a:cxn>
                  <a:cxn ang="0">
                    <a:pos x="71" y="65"/>
                  </a:cxn>
                  <a:cxn ang="0">
                    <a:pos x="143" y="111"/>
                  </a:cxn>
                  <a:cxn ang="0">
                    <a:pos x="141" y="65"/>
                  </a:cxn>
                  <a:cxn ang="0">
                    <a:pos x="149" y="126"/>
                  </a:cxn>
                  <a:cxn ang="0">
                    <a:pos x="171" y="186"/>
                  </a:cxn>
                </a:cxnLst>
                <a:rect l="0" t="0" r="r" b="b"/>
                <a:pathLst>
                  <a:path w="171" h="186">
                    <a:moveTo>
                      <a:pt x="168" y="181"/>
                    </a:moveTo>
                    <a:cubicBezTo>
                      <a:pt x="148" y="165"/>
                      <a:pt x="136" y="138"/>
                      <a:pt x="118" y="120"/>
                    </a:cubicBezTo>
                    <a:cubicBezTo>
                      <a:pt x="106" y="107"/>
                      <a:pt x="92" y="96"/>
                      <a:pt x="81" y="82"/>
                    </a:cubicBezTo>
                    <a:cubicBezTo>
                      <a:pt x="55" y="53"/>
                      <a:pt x="26" y="28"/>
                      <a:pt x="0" y="0"/>
                    </a:cubicBezTo>
                    <a:cubicBezTo>
                      <a:pt x="26" y="4"/>
                      <a:pt x="51" y="48"/>
                      <a:pt x="71" y="65"/>
                    </a:cubicBezTo>
                    <a:cubicBezTo>
                      <a:pt x="88" y="79"/>
                      <a:pt x="121" y="112"/>
                      <a:pt x="143" y="111"/>
                    </a:cubicBezTo>
                    <a:cubicBezTo>
                      <a:pt x="147" y="97"/>
                      <a:pt x="148" y="78"/>
                      <a:pt x="141" y="65"/>
                    </a:cubicBezTo>
                    <a:cubicBezTo>
                      <a:pt x="141" y="89"/>
                      <a:pt x="141" y="106"/>
                      <a:pt x="149" y="126"/>
                    </a:cubicBezTo>
                    <a:cubicBezTo>
                      <a:pt x="155" y="143"/>
                      <a:pt x="160" y="174"/>
                      <a:pt x="171" y="186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1" name="Freeform 47"/>
              <p:cNvSpPr>
                <a:spLocks/>
              </p:cNvSpPr>
              <p:nvPr/>
            </p:nvSpPr>
            <p:spPr bwMode="gray">
              <a:xfrm>
                <a:off x="-12307888" y="-13550900"/>
                <a:ext cx="1597025" cy="158273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92" y="113"/>
                  </a:cxn>
                  <a:cxn ang="0">
                    <a:pos x="176" y="221"/>
                  </a:cxn>
                  <a:cxn ang="0">
                    <a:pos x="262" y="323"/>
                  </a:cxn>
                  <a:cxn ang="0">
                    <a:pos x="383" y="389"/>
                  </a:cxn>
                  <a:cxn ang="0">
                    <a:pos x="426" y="422"/>
                  </a:cxn>
                  <a:cxn ang="0">
                    <a:pos x="330" y="371"/>
                  </a:cxn>
                  <a:cxn ang="0">
                    <a:pos x="234" y="301"/>
                  </a:cxn>
                  <a:cxn ang="0">
                    <a:pos x="164" y="211"/>
                  </a:cxn>
                  <a:cxn ang="0">
                    <a:pos x="94" y="115"/>
                  </a:cxn>
                  <a:cxn ang="0">
                    <a:pos x="0" y="0"/>
                  </a:cxn>
                </a:cxnLst>
                <a:rect l="0" t="0" r="r" b="b"/>
                <a:pathLst>
                  <a:path w="426" h="422">
                    <a:moveTo>
                      <a:pt x="0" y="3"/>
                    </a:moveTo>
                    <a:cubicBezTo>
                      <a:pt x="40" y="28"/>
                      <a:pt x="64" y="77"/>
                      <a:pt x="92" y="113"/>
                    </a:cubicBezTo>
                    <a:cubicBezTo>
                      <a:pt x="120" y="149"/>
                      <a:pt x="149" y="185"/>
                      <a:pt x="176" y="221"/>
                    </a:cubicBezTo>
                    <a:cubicBezTo>
                      <a:pt x="203" y="256"/>
                      <a:pt x="226" y="294"/>
                      <a:pt x="262" y="323"/>
                    </a:cubicBezTo>
                    <a:cubicBezTo>
                      <a:pt x="297" y="352"/>
                      <a:pt x="344" y="362"/>
                      <a:pt x="383" y="389"/>
                    </a:cubicBezTo>
                    <a:cubicBezTo>
                      <a:pt x="397" y="399"/>
                      <a:pt x="413" y="410"/>
                      <a:pt x="426" y="422"/>
                    </a:cubicBezTo>
                    <a:cubicBezTo>
                      <a:pt x="393" y="409"/>
                      <a:pt x="365" y="385"/>
                      <a:pt x="330" y="371"/>
                    </a:cubicBezTo>
                    <a:cubicBezTo>
                      <a:pt x="291" y="354"/>
                      <a:pt x="260" y="336"/>
                      <a:pt x="234" y="301"/>
                    </a:cubicBezTo>
                    <a:cubicBezTo>
                      <a:pt x="212" y="271"/>
                      <a:pt x="190" y="238"/>
                      <a:pt x="164" y="211"/>
                    </a:cubicBezTo>
                    <a:cubicBezTo>
                      <a:pt x="134" y="180"/>
                      <a:pt x="117" y="150"/>
                      <a:pt x="94" y="115"/>
                    </a:cubicBezTo>
                    <a:cubicBezTo>
                      <a:pt x="69" y="76"/>
                      <a:pt x="34" y="31"/>
                      <a:pt x="0" y="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2" name="Freeform 48"/>
              <p:cNvSpPr>
                <a:spLocks/>
              </p:cNvSpPr>
              <p:nvPr/>
            </p:nvSpPr>
            <p:spPr bwMode="gray">
              <a:xfrm>
                <a:off x="-11134725" y="-11585575"/>
                <a:ext cx="2182813" cy="1054100"/>
              </a:xfrm>
              <a:custGeom>
                <a:avLst/>
                <a:gdLst/>
                <a:ahLst/>
                <a:cxnLst>
                  <a:cxn ang="0">
                    <a:pos x="191" y="144"/>
                  </a:cxn>
                  <a:cxn ang="0">
                    <a:pos x="273" y="120"/>
                  </a:cxn>
                  <a:cxn ang="0">
                    <a:pos x="364" y="97"/>
                  </a:cxn>
                  <a:cxn ang="0">
                    <a:pos x="417" y="87"/>
                  </a:cxn>
                  <a:cxn ang="0">
                    <a:pos x="456" y="69"/>
                  </a:cxn>
                  <a:cxn ang="0">
                    <a:pos x="533" y="34"/>
                  </a:cxn>
                  <a:cxn ang="0">
                    <a:pos x="580" y="10"/>
                  </a:cxn>
                  <a:cxn ang="0">
                    <a:pos x="506" y="74"/>
                  </a:cxn>
                  <a:cxn ang="0">
                    <a:pos x="438" y="133"/>
                  </a:cxn>
                  <a:cxn ang="0">
                    <a:pos x="406" y="187"/>
                  </a:cxn>
                  <a:cxn ang="0">
                    <a:pos x="370" y="226"/>
                  </a:cxn>
                  <a:cxn ang="0">
                    <a:pos x="261" y="275"/>
                  </a:cxn>
                  <a:cxn ang="0">
                    <a:pos x="332" y="174"/>
                  </a:cxn>
                  <a:cxn ang="0">
                    <a:pos x="291" y="203"/>
                  </a:cxn>
                  <a:cxn ang="0">
                    <a:pos x="216" y="223"/>
                  </a:cxn>
                  <a:cxn ang="0">
                    <a:pos x="266" y="183"/>
                  </a:cxn>
                  <a:cxn ang="0">
                    <a:pos x="288" y="127"/>
                  </a:cxn>
                  <a:cxn ang="0">
                    <a:pos x="186" y="146"/>
                  </a:cxn>
                  <a:cxn ang="0">
                    <a:pos x="0" y="0"/>
                  </a:cxn>
                  <a:cxn ang="0">
                    <a:pos x="76" y="97"/>
                  </a:cxn>
                  <a:cxn ang="0">
                    <a:pos x="123" y="139"/>
                  </a:cxn>
                  <a:cxn ang="0">
                    <a:pos x="166" y="136"/>
                  </a:cxn>
                </a:cxnLst>
                <a:rect l="0" t="0" r="r" b="b"/>
                <a:pathLst>
                  <a:path w="582" h="281">
                    <a:moveTo>
                      <a:pt x="191" y="144"/>
                    </a:moveTo>
                    <a:cubicBezTo>
                      <a:pt x="222" y="147"/>
                      <a:pt x="246" y="128"/>
                      <a:pt x="273" y="120"/>
                    </a:cubicBezTo>
                    <a:cubicBezTo>
                      <a:pt x="303" y="110"/>
                      <a:pt x="334" y="107"/>
                      <a:pt x="364" y="97"/>
                    </a:cubicBezTo>
                    <a:cubicBezTo>
                      <a:pt x="381" y="91"/>
                      <a:pt x="398" y="91"/>
                      <a:pt x="417" y="87"/>
                    </a:cubicBezTo>
                    <a:cubicBezTo>
                      <a:pt x="432" y="83"/>
                      <a:pt x="442" y="76"/>
                      <a:pt x="456" y="69"/>
                    </a:cubicBezTo>
                    <a:cubicBezTo>
                      <a:pt x="482" y="57"/>
                      <a:pt x="505" y="40"/>
                      <a:pt x="533" y="34"/>
                    </a:cubicBezTo>
                    <a:cubicBezTo>
                      <a:pt x="542" y="20"/>
                      <a:pt x="564" y="14"/>
                      <a:pt x="580" y="10"/>
                    </a:cubicBezTo>
                    <a:cubicBezTo>
                      <a:pt x="582" y="29"/>
                      <a:pt x="523" y="60"/>
                      <a:pt x="506" y="74"/>
                    </a:cubicBezTo>
                    <a:cubicBezTo>
                      <a:pt x="484" y="91"/>
                      <a:pt x="453" y="110"/>
                      <a:pt x="438" y="133"/>
                    </a:cubicBezTo>
                    <a:cubicBezTo>
                      <a:pt x="415" y="138"/>
                      <a:pt x="416" y="170"/>
                      <a:pt x="406" y="187"/>
                    </a:cubicBezTo>
                    <a:cubicBezTo>
                      <a:pt x="398" y="202"/>
                      <a:pt x="381" y="215"/>
                      <a:pt x="370" y="226"/>
                    </a:cubicBezTo>
                    <a:cubicBezTo>
                      <a:pt x="344" y="252"/>
                      <a:pt x="300" y="281"/>
                      <a:pt x="261" y="275"/>
                    </a:cubicBezTo>
                    <a:cubicBezTo>
                      <a:pt x="285" y="266"/>
                      <a:pt x="382" y="208"/>
                      <a:pt x="332" y="174"/>
                    </a:cubicBezTo>
                    <a:cubicBezTo>
                      <a:pt x="310" y="159"/>
                      <a:pt x="304" y="191"/>
                      <a:pt x="291" y="203"/>
                    </a:cubicBezTo>
                    <a:cubicBezTo>
                      <a:pt x="269" y="223"/>
                      <a:pt x="244" y="224"/>
                      <a:pt x="216" y="223"/>
                    </a:cubicBezTo>
                    <a:cubicBezTo>
                      <a:pt x="218" y="203"/>
                      <a:pt x="254" y="196"/>
                      <a:pt x="266" y="183"/>
                    </a:cubicBezTo>
                    <a:cubicBezTo>
                      <a:pt x="277" y="171"/>
                      <a:pt x="304" y="139"/>
                      <a:pt x="288" y="127"/>
                    </a:cubicBezTo>
                    <a:cubicBezTo>
                      <a:pt x="272" y="115"/>
                      <a:pt x="210" y="149"/>
                      <a:pt x="186" y="146"/>
                    </a:cubicBezTo>
                    <a:cubicBezTo>
                      <a:pt x="111" y="136"/>
                      <a:pt x="57" y="42"/>
                      <a:pt x="0" y="0"/>
                    </a:cubicBezTo>
                    <a:cubicBezTo>
                      <a:pt x="32" y="27"/>
                      <a:pt x="48" y="67"/>
                      <a:pt x="76" y="97"/>
                    </a:cubicBezTo>
                    <a:cubicBezTo>
                      <a:pt x="89" y="112"/>
                      <a:pt x="107" y="126"/>
                      <a:pt x="123" y="139"/>
                    </a:cubicBezTo>
                    <a:cubicBezTo>
                      <a:pt x="134" y="149"/>
                      <a:pt x="185" y="166"/>
                      <a:pt x="166" y="136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3" name="Freeform 49"/>
              <p:cNvSpPr>
                <a:spLocks/>
              </p:cNvSpPr>
              <p:nvPr/>
            </p:nvSpPr>
            <p:spPr bwMode="gray">
              <a:xfrm>
                <a:off x="-9890125" y="-10245725"/>
                <a:ext cx="608013" cy="400050"/>
              </a:xfrm>
              <a:custGeom>
                <a:avLst/>
                <a:gdLst/>
                <a:ahLst/>
                <a:cxnLst>
                  <a:cxn ang="0">
                    <a:pos x="0" y="102"/>
                  </a:cxn>
                  <a:cxn ang="0">
                    <a:pos x="133" y="0"/>
                  </a:cxn>
                  <a:cxn ang="0">
                    <a:pos x="79" y="60"/>
                  </a:cxn>
                  <a:cxn ang="0">
                    <a:pos x="2" y="107"/>
                  </a:cxn>
                </a:cxnLst>
                <a:rect l="0" t="0" r="r" b="b"/>
                <a:pathLst>
                  <a:path w="162" h="107">
                    <a:moveTo>
                      <a:pt x="0" y="102"/>
                    </a:moveTo>
                    <a:cubicBezTo>
                      <a:pt x="56" y="92"/>
                      <a:pt x="82" y="12"/>
                      <a:pt x="133" y="0"/>
                    </a:cubicBezTo>
                    <a:cubicBezTo>
                      <a:pt x="162" y="34"/>
                      <a:pt x="96" y="50"/>
                      <a:pt x="79" y="60"/>
                    </a:cubicBezTo>
                    <a:cubicBezTo>
                      <a:pt x="55" y="74"/>
                      <a:pt x="29" y="99"/>
                      <a:pt x="2" y="107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4" name="Freeform 50"/>
              <p:cNvSpPr>
                <a:spLocks/>
              </p:cNvSpPr>
              <p:nvPr/>
            </p:nvSpPr>
            <p:spPr bwMode="gray">
              <a:xfrm>
                <a:off x="-11055350" y="-10545762"/>
                <a:ext cx="617538" cy="300038"/>
              </a:xfrm>
              <a:custGeom>
                <a:avLst/>
                <a:gdLst/>
                <a:ahLst/>
                <a:cxnLst>
                  <a:cxn ang="0">
                    <a:pos x="3" y="68"/>
                  </a:cxn>
                  <a:cxn ang="0">
                    <a:pos x="165" y="8"/>
                  </a:cxn>
                  <a:cxn ang="0">
                    <a:pos x="78" y="43"/>
                  </a:cxn>
                  <a:cxn ang="0">
                    <a:pos x="36" y="60"/>
                  </a:cxn>
                  <a:cxn ang="0">
                    <a:pos x="1" y="80"/>
                  </a:cxn>
                  <a:cxn ang="0">
                    <a:pos x="1" y="70"/>
                  </a:cxn>
                </a:cxnLst>
                <a:rect l="0" t="0" r="r" b="b"/>
                <a:pathLst>
                  <a:path w="165" h="80">
                    <a:moveTo>
                      <a:pt x="3" y="68"/>
                    </a:moveTo>
                    <a:cubicBezTo>
                      <a:pt x="0" y="40"/>
                      <a:pt x="141" y="0"/>
                      <a:pt x="165" y="8"/>
                    </a:cubicBezTo>
                    <a:cubicBezTo>
                      <a:pt x="135" y="12"/>
                      <a:pt x="105" y="30"/>
                      <a:pt x="78" y="43"/>
                    </a:cubicBezTo>
                    <a:cubicBezTo>
                      <a:pt x="64" y="49"/>
                      <a:pt x="49" y="54"/>
                      <a:pt x="36" y="60"/>
                    </a:cubicBezTo>
                    <a:cubicBezTo>
                      <a:pt x="23" y="66"/>
                      <a:pt x="15" y="80"/>
                      <a:pt x="1" y="80"/>
                    </a:cubicBezTo>
                    <a:cubicBezTo>
                      <a:pt x="1" y="76"/>
                      <a:pt x="1" y="73"/>
                      <a:pt x="1" y="7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5" name="Freeform 51"/>
              <p:cNvSpPr>
                <a:spLocks/>
              </p:cNvSpPr>
              <p:nvPr/>
            </p:nvSpPr>
            <p:spPr bwMode="gray">
              <a:xfrm>
                <a:off x="-12522200" y="-13520737"/>
                <a:ext cx="1271588" cy="18113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5" y="112"/>
                  </a:cxn>
                  <a:cxn ang="0">
                    <a:pos x="125" y="231"/>
                  </a:cxn>
                  <a:cxn ang="0">
                    <a:pos x="221" y="334"/>
                  </a:cxn>
                  <a:cxn ang="0">
                    <a:pos x="293" y="428"/>
                  </a:cxn>
                  <a:cxn ang="0">
                    <a:pos x="309" y="448"/>
                  </a:cxn>
                  <a:cxn ang="0">
                    <a:pos x="298" y="447"/>
                  </a:cxn>
                  <a:cxn ang="0">
                    <a:pos x="339" y="483"/>
                  </a:cxn>
                  <a:cxn ang="0">
                    <a:pos x="278" y="391"/>
                  </a:cxn>
                  <a:cxn ang="0">
                    <a:pos x="198" y="298"/>
                  </a:cxn>
                  <a:cxn ang="0">
                    <a:pos x="127" y="218"/>
                  </a:cxn>
                  <a:cxn ang="0">
                    <a:pos x="71" y="114"/>
                  </a:cxn>
                  <a:cxn ang="0">
                    <a:pos x="0" y="2"/>
                  </a:cxn>
                </a:cxnLst>
                <a:rect l="0" t="0" r="r" b="b"/>
                <a:pathLst>
                  <a:path w="339" h="483">
                    <a:moveTo>
                      <a:pt x="0" y="0"/>
                    </a:moveTo>
                    <a:cubicBezTo>
                      <a:pt x="23" y="37"/>
                      <a:pt x="47" y="71"/>
                      <a:pt x="65" y="112"/>
                    </a:cubicBezTo>
                    <a:cubicBezTo>
                      <a:pt x="82" y="151"/>
                      <a:pt x="100" y="195"/>
                      <a:pt x="125" y="231"/>
                    </a:cubicBezTo>
                    <a:cubicBezTo>
                      <a:pt x="152" y="270"/>
                      <a:pt x="190" y="298"/>
                      <a:pt x="221" y="334"/>
                    </a:cubicBezTo>
                    <a:cubicBezTo>
                      <a:pt x="247" y="364"/>
                      <a:pt x="269" y="397"/>
                      <a:pt x="293" y="428"/>
                    </a:cubicBezTo>
                    <a:cubicBezTo>
                      <a:pt x="298" y="435"/>
                      <a:pt x="302" y="442"/>
                      <a:pt x="309" y="448"/>
                    </a:cubicBezTo>
                    <a:cubicBezTo>
                      <a:pt x="306" y="448"/>
                      <a:pt x="301" y="448"/>
                      <a:pt x="298" y="447"/>
                    </a:cubicBezTo>
                    <a:cubicBezTo>
                      <a:pt x="312" y="459"/>
                      <a:pt x="322" y="474"/>
                      <a:pt x="339" y="483"/>
                    </a:cubicBezTo>
                    <a:cubicBezTo>
                      <a:pt x="311" y="460"/>
                      <a:pt x="299" y="419"/>
                      <a:pt x="278" y="391"/>
                    </a:cubicBezTo>
                    <a:cubicBezTo>
                      <a:pt x="253" y="357"/>
                      <a:pt x="227" y="329"/>
                      <a:pt x="198" y="298"/>
                    </a:cubicBezTo>
                    <a:cubicBezTo>
                      <a:pt x="173" y="272"/>
                      <a:pt x="150" y="245"/>
                      <a:pt x="127" y="218"/>
                    </a:cubicBezTo>
                    <a:cubicBezTo>
                      <a:pt x="103" y="188"/>
                      <a:pt x="90" y="148"/>
                      <a:pt x="71" y="114"/>
                    </a:cubicBezTo>
                    <a:cubicBezTo>
                      <a:pt x="50" y="75"/>
                      <a:pt x="33" y="34"/>
                      <a:pt x="0" y="2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6" name="Freeform 52"/>
              <p:cNvSpPr>
                <a:spLocks/>
              </p:cNvSpPr>
              <p:nvPr/>
            </p:nvSpPr>
            <p:spPr bwMode="gray">
              <a:xfrm>
                <a:off x="-12296775" y="-15147925"/>
                <a:ext cx="1616075" cy="1885950"/>
              </a:xfrm>
              <a:custGeom>
                <a:avLst/>
                <a:gdLst/>
                <a:ahLst/>
                <a:cxnLst>
                  <a:cxn ang="0">
                    <a:pos x="426" y="493"/>
                  </a:cxn>
                  <a:cxn ang="0">
                    <a:pos x="352" y="406"/>
                  </a:cxn>
                  <a:cxn ang="0">
                    <a:pos x="305" y="322"/>
                  </a:cxn>
                  <a:cxn ang="0">
                    <a:pos x="272" y="290"/>
                  </a:cxn>
                  <a:cxn ang="0">
                    <a:pos x="246" y="255"/>
                  </a:cxn>
                  <a:cxn ang="0">
                    <a:pos x="174" y="183"/>
                  </a:cxn>
                  <a:cxn ang="0">
                    <a:pos x="225" y="215"/>
                  </a:cxn>
                  <a:cxn ang="0">
                    <a:pos x="196" y="146"/>
                  </a:cxn>
                  <a:cxn ang="0">
                    <a:pos x="134" y="84"/>
                  </a:cxn>
                  <a:cxn ang="0">
                    <a:pos x="0" y="8"/>
                  </a:cxn>
                  <a:cxn ang="0">
                    <a:pos x="114" y="59"/>
                  </a:cxn>
                  <a:cxn ang="0">
                    <a:pos x="206" y="143"/>
                  </a:cxn>
                  <a:cxn ang="0">
                    <a:pos x="278" y="260"/>
                  </a:cxn>
                  <a:cxn ang="0">
                    <a:pos x="349" y="370"/>
                  </a:cxn>
                  <a:cxn ang="0">
                    <a:pos x="385" y="440"/>
                  </a:cxn>
                  <a:cxn ang="0">
                    <a:pos x="431" y="503"/>
                  </a:cxn>
                </a:cxnLst>
                <a:rect l="0" t="0" r="r" b="b"/>
                <a:pathLst>
                  <a:path w="431" h="503">
                    <a:moveTo>
                      <a:pt x="426" y="493"/>
                    </a:moveTo>
                    <a:cubicBezTo>
                      <a:pt x="401" y="464"/>
                      <a:pt x="381" y="434"/>
                      <a:pt x="352" y="406"/>
                    </a:cubicBezTo>
                    <a:cubicBezTo>
                      <a:pt x="327" y="381"/>
                      <a:pt x="324" y="348"/>
                      <a:pt x="305" y="322"/>
                    </a:cubicBezTo>
                    <a:cubicBezTo>
                      <a:pt x="297" y="309"/>
                      <a:pt x="281" y="302"/>
                      <a:pt x="272" y="290"/>
                    </a:cubicBezTo>
                    <a:cubicBezTo>
                      <a:pt x="262" y="278"/>
                      <a:pt x="258" y="267"/>
                      <a:pt x="246" y="255"/>
                    </a:cubicBezTo>
                    <a:cubicBezTo>
                      <a:pt x="220" y="232"/>
                      <a:pt x="196" y="211"/>
                      <a:pt x="174" y="183"/>
                    </a:cubicBezTo>
                    <a:cubicBezTo>
                      <a:pt x="188" y="192"/>
                      <a:pt x="208" y="217"/>
                      <a:pt x="225" y="215"/>
                    </a:cubicBezTo>
                    <a:cubicBezTo>
                      <a:pt x="230" y="194"/>
                      <a:pt x="205" y="163"/>
                      <a:pt x="196" y="146"/>
                    </a:cubicBezTo>
                    <a:cubicBezTo>
                      <a:pt x="182" y="119"/>
                      <a:pt x="156" y="105"/>
                      <a:pt x="134" y="84"/>
                    </a:cubicBezTo>
                    <a:cubicBezTo>
                      <a:pt x="96" y="47"/>
                      <a:pt x="46" y="32"/>
                      <a:pt x="0" y="8"/>
                    </a:cubicBezTo>
                    <a:cubicBezTo>
                      <a:pt x="35" y="0"/>
                      <a:pt x="87" y="40"/>
                      <a:pt x="114" y="59"/>
                    </a:cubicBezTo>
                    <a:cubicBezTo>
                      <a:pt x="148" y="83"/>
                      <a:pt x="180" y="109"/>
                      <a:pt x="206" y="143"/>
                    </a:cubicBezTo>
                    <a:cubicBezTo>
                      <a:pt x="235" y="180"/>
                      <a:pt x="259" y="216"/>
                      <a:pt x="278" y="260"/>
                    </a:cubicBezTo>
                    <a:cubicBezTo>
                      <a:pt x="296" y="302"/>
                      <a:pt x="325" y="332"/>
                      <a:pt x="349" y="370"/>
                    </a:cubicBezTo>
                    <a:cubicBezTo>
                      <a:pt x="362" y="392"/>
                      <a:pt x="372" y="418"/>
                      <a:pt x="385" y="440"/>
                    </a:cubicBezTo>
                    <a:cubicBezTo>
                      <a:pt x="398" y="464"/>
                      <a:pt x="420" y="479"/>
                      <a:pt x="431" y="503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7" name="Freeform 53"/>
              <p:cNvSpPr>
                <a:spLocks/>
              </p:cNvSpPr>
              <p:nvPr/>
            </p:nvSpPr>
            <p:spPr bwMode="gray">
              <a:xfrm>
                <a:off x="-9882188" y="-16448087"/>
                <a:ext cx="438150" cy="546100"/>
              </a:xfrm>
              <a:custGeom>
                <a:avLst/>
                <a:gdLst/>
                <a:ahLst/>
                <a:cxnLst>
                  <a:cxn ang="0">
                    <a:pos x="0" y="51"/>
                  </a:cxn>
                  <a:cxn ang="0">
                    <a:pos x="68" y="146"/>
                  </a:cxn>
                  <a:cxn ang="0">
                    <a:pos x="8" y="51"/>
                  </a:cxn>
                </a:cxnLst>
                <a:rect l="0" t="0" r="r" b="b"/>
                <a:pathLst>
                  <a:path w="117" h="146">
                    <a:moveTo>
                      <a:pt x="0" y="51"/>
                    </a:moveTo>
                    <a:cubicBezTo>
                      <a:pt x="54" y="0"/>
                      <a:pt x="117" y="103"/>
                      <a:pt x="68" y="146"/>
                    </a:cubicBezTo>
                    <a:cubicBezTo>
                      <a:pt x="71" y="117"/>
                      <a:pt x="35" y="61"/>
                      <a:pt x="8" y="51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8" name="Freeform 54"/>
              <p:cNvSpPr>
                <a:spLocks/>
              </p:cNvSpPr>
              <p:nvPr/>
            </p:nvSpPr>
            <p:spPr bwMode="gray">
              <a:xfrm>
                <a:off x="-8726488" y="-15594012"/>
                <a:ext cx="231775" cy="16160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225"/>
                  </a:cxn>
                  <a:cxn ang="0">
                    <a:pos x="37" y="338"/>
                  </a:cxn>
                  <a:cxn ang="0">
                    <a:pos x="62" y="431"/>
                  </a:cxn>
                  <a:cxn ang="0">
                    <a:pos x="42" y="223"/>
                  </a:cxn>
                  <a:cxn ang="0">
                    <a:pos x="37" y="89"/>
                  </a:cxn>
                  <a:cxn ang="0">
                    <a:pos x="3" y="0"/>
                  </a:cxn>
                </a:cxnLst>
                <a:rect l="0" t="0" r="r" b="b"/>
                <a:pathLst>
                  <a:path w="62" h="431">
                    <a:moveTo>
                      <a:pt x="0" y="0"/>
                    </a:moveTo>
                    <a:cubicBezTo>
                      <a:pt x="0" y="78"/>
                      <a:pt x="5" y="150"/>
                      <a:pt x="17" y="225"/>
                    </a:cubicBezTo>
                    <a:cubicBezTo>
                      <a:pt x="23" y="262"/>
                      <a:pt x="28" y="301"/>
                      <a:pt x="37" y="338"/>
                    </a:cubicBezTo>
                    <a:cubicBezTo>
                      <a:pt x="43" y="363"/>
                      <a:pt x="43" y="414"/>
                      <a:pt x="62" y="431"/>
                    </a:cubicBezTo>
                    <a:cubicBezTo>
                      <a:pt x="49" y="364"/>
                      <a:pt x="42" y="295"/>
                      <a:pt x="42" y="223"/>
                    </a:cubicBezTo>
                    <a:cubicBezTo>
                      <a:pt x="42" y="179"/>
                      <a:pt x="39" y="134"/>
                      <a:pt x="37" y="89"/>
                    </a:cubicBezTo>
                    <a:cubicBezTo>
                      <a:pt x="35" y="58"/>
                      <a:pt x="29" y="19"/>
                      <a:pt x="3" y="0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9" name="Freeform 55"/>
              <p:cNvSpPr>
                <a:spLocks/>
              </p:cNvSpPr>
              <p:nvPr/>
            </p:nvSpPr>
            <p:spPr bwMode="gray">
              <a:xfrm>
                <a:off x="-8261350" y="-12144375"/>
                <a:ext cx="314325" cy="663575"/>
              </a:xfrm>
              <a:custGeom>
                <a:avLst/>
                <a:gdLst/>
                <a:ahLst/>
                <a:cxnLst>
                  <a:cxn ang="0">
                    <a:pos x="47" y="166"/>
                  </a:cxn>
                  <a:cxn ang="0">
                    <a:pos x="77" y="92"/>
                  </a:cxn>
                  <a:cxn ang="0">
                    <a:pos x="82" y="0"/>
                  </a:cxn>
                  <a:cxn ang="0">
                    <a:pos x="52" y="91"/>
                  </a:cxn>
                  <a:cxn ang="0">
                    <a:pos x="55" y="169"/>
                  </a:cxn>
                </a:cxnLst>
                <a:rect l="0" t="0" r="r" b="b"/>
                <a:pathLst>
                  <a:path w="84" h="177">
                    <a:moveTo>
                      <a:pt x="47" y="166"/>
                    </a:moveTo>
                    <a:cubicBezTo>
                      <a:pt x="57" y="140"/>
                      <a:pt x="74" y="121"/>
                      <a:pt x="77" y="92"/>
                    </a:cubicBezTo>
                    <a:cubicBezTo>
                      <a:pt x="80" y="61"/>
                      <a:pt x="84" y="31"/>
                      <a:pt x="82" y="0"/>
                    </a:cubicBezTo>
                    <a:cubicBezTo>
                      <a:pt x="62" y="23"/>
                      <a:pt x="61" y="63"/>
                      <a:pt x="52" y="91"/>
                    </a:cubicBezTo>
                    <a:cubicBezTo>
                      <a:pt x="45" y="112"/>
                      <a:pt x="0" y="177"/>
                      <a:pt x="55" y="169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0" name="Freeform 56"/>
              <p:cNvSpPr>
                <a:spLocks/>
              </p:cNvSpPr>
              <p:nvPr/>
            </p:nvSpPr>
            <p:spPr bwMode="gray">
              <a:xfrm>
                <a:off x="-7891463" y="-11993562"/>
                <a:ext cx="363538" cy="377825"/>
              </a:xfrm>
              <a:custGeom>
                <a:avLst/>
                <a:gdLst/>
                <a:ahLst/>
                <a:cxnLst>
                  <a:cxn ang="0">
                    <a:pos x="5" y="94"/>
                  </a:cxn>
                  <a:cxn ang="0">
                    <a:pos x="92" y="0"/>
                  </a:cxn>
                  <a:cxn ang="0">
                    <a:pos x="70" y="27"/>
                  </a:cxn>
                  <a:cxn ang="0">
                    <a:pos x="46" y="55"/>
                  </a:cxn>
                  <a:cxn ang="0">
                    <a:pos x="0" y="101"/>
                  </a:cxn>
                </a:cxnLst>
                <a:rect l="0" t="0" r="r" b="b"/>
                <a:pathLst>
                  <a:path w="97" h="101">
                    <a:moveTo>
                      <a:pt x="5" y="94"/>
                    </a:moveTo>
                    <a:cubicBezTo>
                      <a:pt x="42" y="86"/>
                      <a:pt x="97" y="42"/>
                      <a:pt x="92" y="0"/>
                    </a:cubicBezTo>
                    <a:cubicBezTo>
                      <a:pt x="75" y="0"/>
                      <a:pt x="77" y="15"/>
                      <a:pt x="70" y="27"/>
                    </a:cubicBezTo>
                    <a:cubicBezTo>
                      <a:pt x="65" y="35"/>
                      <a:pt x="52" y="47"/>
                      <a:pt x="46" y="55"/>
                    </a:cubicBezTo>
                    <a:cubicBezTo>
                      <a:pt x="32" y="72"/>
                      <a:pt x="20" y="92"/>
                      <a:pt x="0" y="101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1" name="Freeform 57"/>
              <p:cNvSpPr>
                <a:spLocks/>
              </p:cNvSpPr>
              <p:nvPr/>
            </p:nvSpPr>
            <p:spPr bwMode="gray">
              <a:xfrm>
                <a:off x="-9221788" y="-10617200"/>
                <a:ext cx="187325" cy="779463"/>
              </a:xfrm>
              <a:custGeom>
                <a:avLst/>
                <a:gdLst/>
                <a:ahLst/>
                <a:cxnLst>
                  <a:cxn ang="0">
                    <a:pos x="23" y="191"/>
                  </a:cxn>
                  <a:cxn ang="0">
                    <a:pos x="24" y="0"/>
                  </a:cxn>
                  <a:cxn ang="0">
                    <a:pos x="23" y="57"/>
                  </a:cxn>
                  <a:cxn ang="0">
                    <a:pos x="11" y="109"/>
                  </a:cxn>
                  <a:cxn ang="0">
                    <a:pos x="8" y="161"/>
                  </a:cxn>
                  <a:cxn ang="0">
                    <a:pos x="1" y="208"/>
                  </a:cxn>
                  <a:cxn ang="0">
                    <a:pos x="20" y="191"/>
                  </a:cxn>
                </a:cxnLst>
                <a:rect l="0" t="0" r="r" b="b"/>
                <a:pathLst>
                  <a:path w="50" h="208">
                    <a:moveTo>
                      <a:pt x="23" y="191"/>
                    </a:moveTo>
                    <a:cubicBezTo>
                      <a:pt x="20" y="130"/>
                      <a:pt x="50" y="57"/>
                      <a:pt x="24" y="0"/>
                    </a:cubicBezTo>
                    <a:cubicBezTo>
                      <a:pt x="22" y="19"/>
                      <a:pt x="24" y="38"/>
                      <a:pt x="23" y="57"/>
                    </a:cubicBezTo>
                    <a:cubicBezTo>
                      <a:pt x="21" y="75"/>
                      <a:pt x="14" y="93"/>
                      <a:pt x="11" y="109"/>
                    </a:cubicBezTo>
                    <a:cubicBezTo>
                      <a:pt x="8" y="126"/>
                      <a:pt x="10" y="143"/>
                      <a:pt x="8" y="161"/>
                    </a:cubicBezTo>
                    <a:cubicBezTo>
                      <a:pt x="7" y="177"/>
                      <a:pt x="0" y="191"/>
                      <a:pt x="1" y="208"/>
                    </a:cubicBezTo>
                    <a:cubicBezTo>
                      <a:pt x="10" y="207"/>
                      <a:pt x="16" y="200"/>
                      <a:pt x="20" y="191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2" name="Freeform 58"/>
              <p:cNvSpPr>
                <a:spLocks/>
              </p:cNvSpPr>
              <p:nvPr/>
            </p:nvSpPr>
            <p:spPr bwMode="gray">
              <a:xfrm>
                <a:off x="-8632825" y="-12068175"/>
                <a:ext cx="576263" cy="1941513"/>
              </a:xfrm>
              <a:custGeom>
                <a:avLst/>
                <a:gdLst/>
                <a:ahLst/>
                <a:cxnLst>
                  <a:cxn ang="0">
                    <a:pos x="30" y="489"/>
                  </a:cxn>
                  <a:cxn ang="0">
                    <a:pos x="67" y="424"/>
                  </a:cxn>
                  <a:cxn ang="0">
                    <a:pos x="35" y="354"/>
                  </a:cxn>
                  <a:cxn ang="0">
                    <a:pos x="80" y="333"/>
                  </a:cxn>
                  <a:cxn ang="0">
                    <a:pos x="45" y="270"/>
                  </a:cxn>
                  <a:cxn ang="0">
                    <a:pos x="32" y="223"/>
                  </a:cxn>
                  <a:cxn ang="0">
                    <a:pos x="71" y="255"/>
                  </a:cxn>
                  <a:cxn ang="0">
                    <a:pos x="92" y="196"/>
                  </a:cxn>
                  <a:cxn ang="0">
                    <a:pos x="59" y="159"/>
                  </a:cxn>
                  <a:cxn ang="0">
                    <a:pos x="77" y="136"/>
                  </a:cxn>
                  <a:cxn ang="0">
                    <a:pos x="138" y="8"/>
                  </a:cxn>
                  <a:cxn ang="0">
                    <a:pos x="123" y="141"/>
                  </a:cxn>
                  <a:cxn ang="0">
                    <a:pos x="117" y="283"/>
                  </a:cxn>
                  <a:cxn ang="0">
                    <a:pos x="92" y="417"/>
                  </a:cxn>
                  <a:cxn ang="0">
                    <a:pos x="20" y="489"/>
                  </a:cxn>
                  <a:cxn ang="0">
                    <a:pos x="0" y="518"/>
                  </a:cxn>
                </a:cxnLst>
                <a:rect l="0" t="0" r="r" b="b"/>
                <a:pathLst>
                  <a:path w="154" h="518">
                    <a:moveTo>
                      <a:pt x="30" y="489"/>
                    </a:moveTo>
                    <a:cubicBezTo>
                      <a:pt x="46" y="468"/>
                      <a:pt x="64" y="451"/>
                      <a:pt x="67" y="424"/>
                    </a:cubicBezTo>
                    <a:cubicBezTo>
                      <a:pt x="70" y="394"/>
                      <a:pt x="45" y="378"/>
                      <a:pt x="35" y="354"/>
                    </a:cubicBezTo>
                    <a:cubicBezTo>
                      <a:pt x="60" y="347"/>
                      <a:pt x="76" y="362"/>
                      <a:pt x="80" y="333"/>
                    </a:cubicBezTo>
                    <a:cubicBezTo>
                      <a:pt x="83" y="305"/>
                      <a:pt x="64" y="288"/>
                      <a:pt x="45" y="270"/>
                    </a:cubicBezTo>
                    <a:cubicBezTo>
                      <a:pt x="35" y="261"/>
                      <a:pt x="5" y="234"/>
                      <a:pt x="32" y="223"/>
                    </a:cubicBezTo>
                    <a:cubicBezTo>
                      <a:pt x="52" y="215"/>
                      <a:pt x="40" y="260"/>
                      <a:pt x="71" y="255"/>
                    </a:cubicBezTo>
                    <a:cubicBezTo>
                      <a:pt x="70" y="230"/>
                      <a:pt x="91" y="217"/>
                      <a:pt x="92" y="196"/>
                    </a:cubicBezTo>
                    <a:cubicBezTo>
                      <a:pt x="93" y="174"/>
                      <a:pt x="62" y="175"/>
                      <a:pt x="59" y="159"/>
                    </a:cubicBezTo>
                    <a:cubicBezTo>
                      <a:pt x="57" y="149"/>
                      <a:pt x="72" y="143"/>
                      <a:pt x="77" y="136"/>
                    </a:cubicBezTo>
                    <a:cubicBezTo>
                      <a:pt x="99" y="98"/>
                      <a:pt x="75" y="0"/>
                      <a:pt x="138" y="8"/>
                    </a:cubicBezTo>
                    <a:cubicBezTo>
                      <a:pt x="154" y="56"/>
                      <a:pt x="128" y="97"/>
                      <a:pt x="123" y="141"/>
                    </a:cubicBezTo>
                    <a:cubicBezTo>
                      <a:pt x="119" y="188"/>
                      <a:pt x="117" y="234"/>
                      <a:pt x="117" y="283"/>
                    </a:cubicBezTo>
                    <a:cubicBezTo>
                      <a:pt x="117" y="331"/>
                      <a:pt x="112" y="374"/>
                      <a:pt x="92" y="417"/>
                    </a:cubicBezTo>
                    <a:cubicBezTo>
                      <a:pt x="74" y="454"/>
                      <a:pt x="49" y="463"/>
                      <a:pt x="20" y="489"/>
                    </a:cubicBezTo>
                    <a:cubicBezTo>
                      <a:pt x="13" y="495"/>
                      <a:pt x="4" y="510"/>
                      <a:pt x="0" y="518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3" name="Freeform 59"/>
              <p:cNvSpPr>
                <a:spLocks/>
              </p:cNvSpPr>
              <p:nvPr/>
            </p:nvSpPr>
            <p:spPr bwMode="gray">
              <a:xfrm>
                <a:off x="-9431338" y="-8450262"/>
                <a:ext cx="1162050" cy="1879600"/>
              </a:xfrm>
              <a:custGeom>
                <a:avLst/>
                <a:gdLst/>
                <a:ahLst/>
                <a:cxnLst>
                  <a:cxn ang="0">
                    <a:pos x="0" y="501"/>
                  </a:cxn>
                  <a:cxn ang="0">
                    <a:pos x="45" y="398"/>
                  </a:cxn>
                  <a:cxn ang="0">
                    <a:pos x="99" y="304"/>
                  </a:cxn>
                  <a:cxn ang="0">
                    <a:pos x="163" y="229"/>
                  </a:cxn>
                  <a:cxn ang="0">
                    <a:pos x="208" y="144"/>
                  </a:cxn>
                  <a:cxn ang="0">
                    <a:pos x="254" y="46"/>
                  </a:cxn>
                  <a:cxn ang="0">
                    <a:pos x="302" y="94"/>
                  </a:cxn>
                  <a:cxn ang="0">
                    <a:pos x="189" y="269"/>
                  </a:cxn>
                  <a:cxn ang="0">
                    <a:pos x="5" y="501"/>
                  </a:cxn>
                </a:cxnLst>
                <a:rect l="0" t="0" r="r" b="b"/>
                <a:pathLst>
                  <a:path w="310" h="501">
                    <a:moveTo>
                      <a:pt x="0" y="501"/>
                    </a:moveTo>
                    <a:cubicBezTo>
                      <a:pt x="44" y="466"/>
                      <a:pt x="32" y="446"/>
                      <a:pt x="45" y="398"/>
                    </a:cubicBezTo>
                    <a:cubicBezTo>
                      <a:pt x="53" y="368"/>
                      <a:pt x="81" y="328"/>
                      <a:pt x="99" y="304"/>
                    </a:cubicBezTo>
                    <a:cubicBezTo>
                      <a:pt x="118" y="278"/>
                      <a:pt x="142" y="254"/>
                      <a:pt x="163" y="229"/>
                    </a:cubicBezTo>
                    <a:cubicBezTo>
                      <a:pt x="187" y="201"/>
                      <a:pt x="194" y="180"/>
                      <a:pt x="208" y="144"/>
                    </a:cubicBezTo>
                    <a:cubicBezTo>
                      <a:pt x="220" y="112"/>
                      <a:pt x="231" y="71"/>
                      <a:pt x="254" y="46"/>
                    </a:cubicBezTo>
                    <a:cubicBezTo>
                      <a:pt x="295" y="0"/>
                      <a:pt x="310" y="43"/>
                      <a:pt x="302" y="94"/>
                    </a:cubicBezTo>
                    <a:cubicBezTo>
                      <a:pt x="292" y="166"/>
                      <a:pt x="244" y="224"/>
                      <a:pt x="189" y="269"/>
                    </a:cubicBezTo>
                    <a:cubicBezTo>
                      <a:pt x="107" y="336"/>
                      <a:pt x="99" y="445"/>
                      <a:pt x="5" y="501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4" name="Freeform 60"/>
              <p:cNvSpPr>
                <a:spLocks/>
              </p:cNvSpPr>
              <p:nvPr/>
            </p:nvSpPr>
            <p:spPr bwMode="gray">
              <a:xfrm>
                <a:off x="-9469438" y="-4321175"/>
                <a:ext cx="1522413" cy="2659063"/>
              </a:xfrm>
              <a:custGeom>
                <a:avLst/>
                <a:gdLst/>
                <a:ahLst/>
                <a:cxnLst>
                  <a:cxn ang="0">
                    <a:pos x="183" y="273"/>
                  </a:cxn>
                  <a:cxn ang="0">
                    <a:pos x="287" y="144"/>
                  </a:cxn>
                  <a:cxn ang="0">
                    <a:pos x="372" y="0"/>
                  </a:cxn>
                  <a:cxn ang="0">
                    <a:pos x="333" y="194"/>
                  </a:cxn>
                  <a:cxn ang="0">
                    <a:pos x="254" y="399"/>
                  </a:cxn>
                  <a:cxn ang="0">
                    <a:pos x="139" y="581"/>
                  </a:cxn>
                  <a:cxn ang="0">
                    <a:pos x="0" y="709"/>
                  </a:cxn>
                  <a:cxn ang="0">
                    <a:pos x="150" y="506"/>
                  </a:cxn>
                  <a:cxn ang="0">
                    <a:pos x="183" y="273"/>
                  </a:cxn>
                </a:cxnLst>
                <a:rect l="0" t="0" r="r" b="b"/>
                <a:pathLst>
                  <a:path w="406" h="709">
                    <a:moveTo>
                      <a:pt x="183" y="273"/>
                    </a:moveTo>
                    <a:cubicBezTo>
                      <a:pt x="212" y="228"/>
                      <a:pt x="261" y="193"/>
                      <a:pt x="287" y="144"/>
                    </a:cubicBezTo>
                    <a:cubicBezTo>
                      <a:pt x="314" y="95"/>
                      <a:pt x="328" y="39"/>
                      <a:pt x="372" y="0"/>
                    </a:cubicBezTo>
                    <a:cubicBezTo>
                      <a:pt x="406" y="34"/>
                      <a:pt x="347" y="155"/>
                      <a:pt x="333" y="194"/>
                    </a:cubicBezTo>
                    <a:cubicBezTo>
                      <a:pt x="310" y="260"/>
                      <a:pt x="289" y="336"/>
                      <a:pt x="254" y="399"/>
                    </a:cubicBezTo>
                    <a:cubicBezTo>
                      <a:pt x="218" y="462"/>
                      <a:pt x="173" y="515"/>
                      <a:pt x="139" y="581"/>
                    </a:cubicBezTo>
                    <a:cubicBezTo>
                      <a:pt x="107" y="643"/>
                      <a:pt x="56" y="674"/>
                      <a:pt x="0" y="709"/>
                    </a:cubicBezTo>
                    <a:cubicBezTo>
                      <a:pt x="43" y="636"/>
                      <a:pt x="120" y="585"/>
                      <a:pt x="150" y="506"/>
                    </a:cubicBezTo>
                    <a:cubicBezTo>
                      <a:pt x="176" y="437"/>
                      <a:pt x="241" y="331"/>
                      <a:pt x="183" y="273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5" name="Freeform 61"/>
              <p:cNvSpPr>
                <a:spLocks/>
              </p:cNvSpPr>
              <p:nvPr/>
            </p:nvSpPr>
            <p:spPr bwMode="gray">
              <a:xfrm>
                <a:off x="-11423650" y="-5618162"/>
                <a:ext cx="1373188" cy="1905000"/>
              </a:xfrm>
              <a:custGeom>
                <a:avLst/>
                <a:gdLst/>
                <a:ahLst/>
                <a:cxnLst>
                  <a:cxn ang="0">
                    <a:pos x="307" y="34"/>
                  </a:cxn>
                  <a:cxn ang="0">
                    <a:pos x="229" y="163"/>
                  </a:cxn>
                  <a:cxn ang="0">
                    <a:pos x="170" y="277"/>
                  </a:cxn>
                  <a:cxn ang="0">
                    <a:pos x="0" y="453"/>
                  </a:cxn>
                  <a:cxn ang="0">
                    <a:pos x="114" y="396"/>
                  </a:cxn>
                  <a:cxn ang="0">
                    <a:pos x="119" y="508"/>
                  </a:cxn>
                  <a:cxn ang="0">
                    <a:pos x="249" y="266"/>
                  </a:cxn>
                  <a:cxn ang="0">
                    <a:pos x="318" y="0"/>
                  </a:cxn>
                  <a:cxn ang="0">
                    <a:pos x="307" y="44"/>
                  </a:cxn>
                </a:cxnLst>
                <a:rect l="0" t="0" r="r" b="b"/>
                <a:pathLst>
                  <a:path w="366" h="508">
                    <a:moveTo>
                      <a:pt x="307" y="34"/>
                    </a:moveTo>
                    <a:cubicBezTo>
                      <a:pt x="311" y="80"/>
                      <a:pt x="248" y="125"/>
                      <a:pt x="229" y="163"/>
                    </a:cubicBezTo>
                    <a:cubicBezTo>
                      <a:pt x="211" y="201"/>
                      <a:pt x="196" y="240"/>
                      <a:pt x="170" y="277"/>
                    </a:cubicBezTo>
                    <a:cubicBezTo>
                      <a:pt x="118" y="348"/>
                      <a:pt x="61" y="401"/>
                      <a:pt x="0" y="453"/>
                    </a:cubicBezTo>
                    <a:cubicBezTo>
                      <a:pt x="32" y="439"/>
                      <a:pt x="77" y="389"/>
                      <a:pt x="114" y="396"/>
                    </a:cubicBezTo>
                    <a:cubicBezTo>
                      <a:pt x="172" y="406"/>
                      <a:pt x="150" y="477"/>
                      <a:pt x="119" y="508"/>
                    </a:cubicBezTo>
                    <a:cubicBezTo>
                      <a:pt x="178" y="431"/>
                      <a:pt x="210" y="355"/>
                      <a:pt x="249" y="266"/>
                    </a:cubicBezTo>
                    <a:cubicBezTo>
                      <a:pt x="266" y="228"/>
                      <a:pt x="366" y="2"/>
                      <a:pt x="318" y="0"/>
                    </a:cubicBezTo>
                    <a:cubicBezTo>
                      <a:pt x="314" y="14"/>
                      <a:pt x="309" y="30"/>
                      <a:pt x="307" y="44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6" name="Freeform 62"/>
              <p:cNvSpPr>
                <a:spLocks/>
              </p:cNvSpPr>
              <p:nvPr/>
            </p:nvSpPr>
            <p:spPr bwMode="gray">
              <a:xfrm>
                <a:off x="-10220325" y="-1512887"/>
                <a:ext cx="420688" cy="338138"/>
              </a:xfrm>
              <a:custGeom>
                <a:avLst/>
                <a:gdLst/>
                <a:ahLst/>
                <a:cxnLst>
                  <a:cxn ang="0">
                    <a:pos x="90" y="90"/>
                  </a:cxn>
                  <a:cxn ang="0">
                    <a:pos x="20" y="30"/>
                  </a:cxn>
                  <a:cxn ang="0">
                    <a:pos x="30" y="74"/>
                  </a:cxn>
                  <a:cxn ang="0">
                    <a:pos x="85" y="56"/>
                  </a:cxn>
                  <a:cxn ang="0">
                    <a:pos x="95" y="90"/>
                  </a:cxn>
                </a:cxnLst>
                <a:rect l="0" t="0" r="r" b="b"/>
                <a:pathLst>
                  <a:path w="112" h="90">
                    <a:moveTo>
                      <a:pt x="90" y="90"/>
                    </a:moveTo>
                    <a:cubicBezTo>
                      <a:pt x="112" y="50"/>
                      <a:pt x="51" y="0"/>
                      <a:pt x="20" y="30"/>
                    </a:cubicBezTo>
                    <a:cubicBezTo>
                      <a:pt x="0" y="49"/>
                      <a:pt x="11" y="69"/>
                      <a:pt x="30" y="74"/>
                    </a:cubicBezTo>
                    <a:cubicBezTo>
                      <a:pt x="29" y="74"/>
                      <a:pt x="66" y="52"/>
                      <a:pt x="85" y="56"/>
                    </a:cubicBezTo>
                    <a:cubicBezTo>
                      <a:pt x="92" y="66"/>
                      <a:pt x="96" y="77"/>
                      <a:pt x="95" y="90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7" name="Freeform 63"/>
              <p:cNvSpPr>
                <a:spLocks/>
              </p:cNvSpPr>
              <p:nvPr/>
            </p:nvSpPr>
            <p:spPr bwMode="gray">
              <a:xfrm>
                <a:off x="-8858250" y="-4695825"/>
                <a:ext cx="719138" cy="952500"/>
              </a:xfrm>
              <a:custGeom>
                <a:avLst/>
                <a:gdLst/>
                <a:ahLst/>
                <a:cxnLst>
                  <a:cxn ang="0">
                    <a:pos x="20" y="254"/>
                  </a:cxn>
                  <a:cxn ang="0">
                    <a:pos x="85" y="22"/>
                  </a:cxn>
                  <a:cxn ang="0">
                    <a:pos x="27" y="179"/>
                  </a:cxn>
                  <a:cxn ang="0">
                    <a:pos x="0" y="249"/>
                  </a:cxn>
                </a:cxnLst>
                <a:rect l="0" t="0" r="r" b="b"/>
                <a:pathLst>
                  <a:path w="192" h="254">
                    <a:moveTo>
                      <a:pt x="20" y="254"/>
                    </a:moveTo>
                    <a:cubicBezTo>
                      <a:pt x="81" y="230"/>
                      <a:pt x="192" y="0"/>
                      <a:pt x="85" y="22"/>
                    </a:cubicBezTo>
                    <a:cubicBezTo>
                      <a:pt x="77" y="69"/>
                      <a:pt x="74" y="150"/>
                      <a:pt x="27" y="179"/>
                    </a:cubicBezTo>
                    <a:cubicBezTo>
                      <a:pt x="86" y="168"/>
                      <a:pt x="52" y="248"/>
                      <a:pt x="0" y="249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8" name="Freeform 64"/>
              <p:cNvSpPr>
                <a:spLocks/>
              </p:cNvSpPr>
              <p:nvPr/>
            </p:nvSpPr>
            <p:spPr bwMode="gray">
              <a:xfrm>
                <a:off x="-11404600" y="-7046912"/>
                <a:ext cx="619125" cy="1311275"/>
              </a:xfrm>
              <a:custGeom>
                <a:avLst/>
                <a:gdLst/>
                <a:ahLst/>
                <a:cxnLst>
                  <a:cxn ang="0">
                    <a:pos x="15" y="340"/>
                  </a:cxn>
                  <a:cxn ang="0">
                    <a:pos x="132" y="151"/>
                  </a:cxn>
                  <a:cxn ang="0">
                    <a:pos x="163" y="58"/>
                  </a:cxn>
                  <a:cxn ang="0">
                    <a:pos x="130" y="43"/>
                  </a:cxn>
                  <a:cxn ang="0">
                    <a:pos x="109" y="127"/>
                  </a:cxn>
                  <a:cxn ang="0">
                    <a:pos x="70" y="197"/>
                  </a:cxn>
                  <a:cxn ang="0">
                    <a:pos x="0" y="350"/>
                  </a:cxn>
                </a:cxnLst>
                <a:rect l="0" t="0" r="r" b="b"/>
                <a:pathLst>
                  <a:path w="165" h="350">
                    <a:moveTo>
                      <a:pt x="15" y="340"/>
                    </a:moveTo>
                    <a:cubicBezTo>
                      <a:pt x="70" y="316"/>
                      <a:pt x="104" y="202"/>
                      <a:pt x="132" y="151"/>
                    </a:cubicBezTo>
                    <a:cubicBezTo>
                      <a:pt x="147" y="125"/>
                      <a:pt x="162" y="87"/>
                      <a:pt x="163" y="58"/>
                    </a:cubicBezTo>
                    <a:cubicBezTo>
                      <a:pt x="165" y="15"/>
                      <a:pt x="153" y="0"/>
                      <a:pt x="130" y="43"/>
                    </a:cubicBezTo>
                    <a:cubicBezTo>
                      <a:pt x="119" y="62"/>
                      <a:pt x="116" y="107"/>
                      <a:pt x="109" y="127"/>
                    </a:cubicBezTo>
                    <a:cubicBezTo>
                      <a:pt x="101" y="151"/>
                      <a:pt x="81" y="177"/>
                      <a:pt x="70" y="197"/>
                    </a:cubicBezTo>
                    <a:cubicBezTo>
                      <a:pt x="44" y="248"/>
                      <a:pt x="38" y="310"/>
                      <a:pt x="0" y="350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9" name="Freeform 65"/>
              <p:cNvSpPr>
                <a:spLocks/>
              </p:cNvSpPr>
              <p:nvPr/>
            </p:nvSpPr>
            <p:spPr bwMode="gray">
              <a:xfrm>
                <a:off x="-9620250" y="-4902200"/>
                <a:ext cx="676275" cy="812800"/>
              </a:xfrm>
              <a:custGeom>
                <a:avLst/>
                <a:gdLst/>
                <a:ahLst/>
                <a:cxnLst>
                  <a:cxn ang="0">
                    <a:pos x="59" y="5"/>
                  </a:cxn>
                  <a:cxn ang="0">
                    <a:pos x="135" y="130"/>
                  </a:cxn>
                  <a:cxn ang="0">
                    <a:pos x="35" y="217"/>
                  </a:cxn>
                  <a:cxn ang="0">
                    <a:pos x="71" y="105"/>
                  </a:cxn>
                  <a:cxn ang="0">
                    <a:pos x="40" y="1"/>
                  </a:cxn>
                  <a:cxn ang="0">
                    <a:pos x="59" y="0"/>
                  </a:cxn>
                </a:cxnLst>
                <a:rect l="0" t="0" r="r" b="b"/>
                <a:pathLst>
                  <a:path w="180" h="217">
                    <a:moveTo>
                      <a:pt x="59" y="5"/>
                    </a:moveTo>
                    <a:cubicBezTo>
                      <a:pt x="107" y="26"/>
                      <a:pt x="180" y="61"/>
                      <a:pt x="135" y="130"/>
                    </a:cubicBezTo>
                    <a:cubicBezTo>
                      <a:pt x="111" y="167"/>
                      <a:pt x="46" y="172"/>
                      <a:pt x="35" y="217"/>
                    </a:cubicBezTo>
                    <a:cubicBezTo>
                      <a:pt x="0" y="167"/>
                      <a:pt x="53" y="144"/>
                      <a:pt x="71" y="105"/>
                    </a:cubicBezTo>
                    <a:cubicBezTo>
                      <a:pt x="97" y="49"/>
                      <a:pt x="26" y="50"/>
                      <a:pt x="40" y="1"/>
                    </a:cubicBezTo>
                    <a:cubicBezTo>
                      <a:pt x="47" y="0"/>
                      <a:pt x="53" y="0"/>
                      <a:pt x="59" y="0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0" name="Freeform 66"/>
              <p:cNvSpPr>
                <a:spLocks/>
              </p:cNvSpPr>
              <p:nvPr/>
            </p:nvSpPr>
            <p:spPr bwMode="gray">
              <a:xfrm>
                <a:off x="-11168063" y="-1050925"/>
                <a:ext cx="295275" cy="250825"/>
              </a:xfrm>
              <a:custGeom>
                <a:avLst/>
                <a:gdLst/>
                <a:ahLst/>
                <a:cxnLst>
                  <a:cxn ang="0">
                    <a:pos x="21" y="7"/>
                  </a:cxn>
                  <a:cxn ang="0">
                    <a:pos x="79" y="60"/>
                  </a:cxn>
                  <a:cxn ang="0">
                    <a:pos x="40" y="2"/>
                  </a:cxn>
                  <a:cxn ang="0">
                    <a:pos x="16" y="2"/>
                  </a:cxn>
                </a:cxnLst>
                <a:rect l="0" t="0" r="r" b="b"/>
                <a:pathLst>
                  <a:path w="79" h="67">
                    <a:moveTo>
                      <a:pt x="21" y="7"/>
                    </a:moveTo>
                    <a:cubicBezTo>
                      <a:pt x="0" y="51"/>
                      <a:pt x="41" y="67"/>
                      <a:pt x="79" y="60"/>
                    </a:cubicBezTo>
                    <a:cubicBezTo>
                      <a:pt x="51" y="52"/>
                      <a:pt x="33" y="35"/>
                      <a:pt x="40" y="2"/>
                    </a:cubicBezTo>
                    <a:cubicBezTo>
                      <a:pt x="33" y="1"/>
                      <a:pt x="23" y="0"/>
                      <a:pt x="16" y="2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1" name="Freeform 67"/>
              <p:cNvSpPr>
                <a:spLocks/>
              </p:cNvSpPr>
              <p:nvPr/>
            </p:nvSpPr>
            <p:spPr bwMode="gray">
              <a:xfrm>
                <a:off x="-11630025" y="-10137775"/>
                <a:ext cx="1485900" cy="847725"/>
              </a:xfrm>
              <a:custGeom>
                <a:avLst/>
                <a:gdLst/>
                <a:ahLst/>
                <a:cxnLst>
                  <a:cxn ang="0">
                    <a:pos x="5" y="117"/>
                  </a:cxn>
                  <a:cxn ang="0">
                    <a:pos x="89" y="142"/>
                  </a:cxn>
                  <a:cxn ang="0">
                    <a:pos x="189" y="177"/>
                  </a:cxn>
                  <a:cxn ang="0">
                    <a:pos x="396" y="226"/>
                  </a:cxn>
                  <a:cxn ang="0">
                    <a:pos x="396" y="108"/>
                  </a:cxn>
                  <a:cxn ang="0">
                    <a:pos x="193" y="63"/>
                  </a:cxn>
                  <a:cxn ang="0">
                    <a:pos x="11" y="0"/>
                  </a:cxn>
                  <a:cxn ang="0">
                    <a:pos x="0" y="112"/>
                  </a:cxn>
                </a:cxnLst>
                <a:rect l="0" t="0" r="r" b="b"/>
                <a:pathLst>
                  <a:path w="396" h="226">
                    <a:moveTo>
                      <a:pt x="5" y="117"/>
                    </a:moveTo>
                    <a:cubicBezTo>
                      <a:pt x="28" y="114"/>
                      <a:pt x="67" y="135"/>
                      <a:pt x="89" y="142"/>
                    </a:cubicBezTo>
                    <a:cubicBezTo>
                      <a:pt x="123" y="153"/>
                      <a:pt x="155" y="166"/>
                      <a:pt x="189" y="177"/>
                    </a:cubicBezTo>
                    <a:cubicBezTo>
                      <a:pt x="257" y="198"/>
                      <a:pt x="325" y="217"/>
                      <a:pt x="396" y="226"/>
                    </a:cubicBezTo>
                    <a:cubicBezTo>
                      <a:pt x="393" y="188"/>
                      <a:pt x="389" y="145"/>
                      <a:pt x="396" y="108"/>
                    </a:cubicBezTo>
                    <a:cubicBezTo>
                      <a:pt x="320" y="104"/>
                      <a:pt x="263" y="86"/>
                      <a:pt x="193" y="63"/>
                    </a:cubicBezTo>
                    <a:cubicBezTo>
                      <a:pt x="133" y="42"/>
                      <a:pt x="66" y="36"/>
                      <a:pt x="11" y="0"/>
                    </a:cubicBezTo>
                    <a:cubicBezTo>
                      <a:pt x="2" y="36"/>
                      <a:pt x="4" y="76"/>
                      <a:pt x="0" y="112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2" name="Freeform 68"/>
              <p:cNvSpPr>
                <a:spLocks/>
              </p:cNvSpPr>
              <p:nvPr/>
            </p:nvSpPr>
            <p:spPr bwMode="gray">
              <a:xfrm>
                <a:off x="-8731250" y="-10564812"/>
                <a:ext cx="574675" cy="1049338"/>
              </a:xfrm>
              <a:custGeom>
                <a:avLst/>
                <a:gdLst/>
                <a:ahLst/>
                <a:cxnLst>
                  <a:cxn ang="0">
                    <a:pos x="1" y="182"/>
                  </a:cxn>
                  <a:cxn ang="0">
                    <a:pos x="35" y="156"/>
                  </a:cxn>
                  <a:cxn ang="0">
                    <a:pos x="130" y="0"/>
                  </a:cxn>
                  <a:cxn ang="0">
                    <a:pos x="110" y="177"/>
                  </a:cxn>
                  <a:cxn ang="0">
                    <a:pos x="2" y="280"/>
                  </a:cxn>
                  <a:cxn ang="0">
                    <a:pos x="1" y="192"/>
                  </a:cxn>
                </a:cxnLst>
                <a:rect l="0" t="0" r="r" b="b"/>
                <a:pathLst>
                  <a:path w="153" h="280">
                    <a:moveTo>
                      <a:pt x="1" y="182"/>
                    </a:moveTo>
                    <a:cubicBezTo>
                      <a:pt x="12" y="173"/>
                      <a:pt x="24" y="163"/>
                      <a:pt x="35" y="156"/>
                    </a:cubicBezTo>
                    <a:cubicBezTo>
                      <a:pt x="51" y="101"/>
                      <a:pt x="116" y="61"/>
                      <a:pt x="130" y="0"/>
                    </a:cubicBezTo>
                    <a:cubicBezTo>
                      <a:pt x="153" y="54"/>
                      <a:pt x="146" y="136"/>
                      <a:pt x="110" y="177"/>
                    </a:cubicBezTo>
                    <a:cubicBezTo>
                      <a:pt x="82" y="209"/>
                      <a:pt x="44" y="265"/>
                      <a:pt x="2" y="280"/>
                    </a:cubicBezTo>
                    <a:cubicBezTo>
                      <a:pt x="0" y="251"/>
                      <a:pt x="1" y="221"/>
                      <a:pt x="1" y="192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3" name="Freeform 69"/>
              <p:cNvSpPr>
                <a:spLocks/>
              </p:cNvSpPr>
              <p:nvPr/>
            </p:nvSpPr>
            <p:spPr bwMode="gray">
              <a:xfrm>
                <a:off x="-9372600" y="-9818687"/>
                <a:ext cx="657225" cy="512763"/>
              </a:xfrm>
              <a:custGeom>
                <a:avLst/>
                <a:gdLst/>
                <a:ahLst/>
                <a:cxnLst>
                  <a:cxn ang="0">
                    <a:pos x="8" y="117"/>
                  </a:cxn>
                  <a:cxn ang="0">
                    <a:pos x="4" y="38"/>
                  </a:cxn>
                  <a:cxn ang="0">
                    <a:pos x="128" y="0"/>
                  </a:cxn>
                  <a:cxn ang="0">
                    <a:pos x="132" y="36"/>
                  </a:cxn>
                  <a:cxn ang="0">
                    <a:pos x="108" y="56"/>
                  </a:cxn>
                  <a:cxn ang="0">
                    <a:pos x="133" y="59"/>
                  </a:cxn>
                  <a:cxn ang="0">
                    <a:pos x="3" y="127"/>
                  </a:cxn>
                </a:cxnLst>
                <a:rect l="0" t="0" r="r" b="b"/>
                <a:pathLst>
                  <a:path w="175" h="137">
                    <a:moveTo>
                      <a:pt x="8" y="117"/>
                    </a:moveTo>
                    <a:cubicBezTo>
                      <a:pt x="0" y="97"/>
                      <a:pt x="3" y="63"/>
                      <a:pt x="4" y="38"/>
                    </a:cubicBezTo>
                    <a:cubicBezTo>
                      <a:pt x="54" y="35"/>
                      <a:pt x="88" y="28"/>
                      <a:pt x="128" y="0"/>
                    </a:cubicBezTo>
                    <a:cubicBezTo>
                      <a:pt x="130" y="8"/>
                      <a:pt x="132" y="30"/>
                      <a:pt x="132" y="36"/>
                    </a:cubicBezTo>
                    <a:cubicBezTo>
                      <a:pt x="116" y="41"/>
                      <a:pt x="116" y="50"/>
                      <a:pt x="108" y="56"/>
                    </a:cubicBezTo>
                    <a:cubicBezTo>
                      <a:pt x="117" y="56"/>
                      <a:pt x="125" y="60"/>
                      <a:pt x="133" y="59"/>
                    </a:cubicBezTo>
                    <a:cubicBezTo>
                      <a:pt x="175" y="113"/>
                      <a:pt x="36" y="137"/>
                      <a:pt x="3" y="127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4" name="Freeform 70"/>
              <p:cNvSpPr>
                <a:spLocks/>
              </p:cNvSpPr>
              <p:nvPr/>
            </p:nvSpPr>
            <p:spPr bwMode="gray">
              <a:xfrm>
                <a:off x="-9975850" y="-9710737"/>
                <a:ext cx="461963" cy="409575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1" y="102"/>
                  </a:cxn>
                  <a:cxn ang="0">
                    <a:pos x="114" y="107"/>
                  </a:cxn>
                  <a:cxn ang="0">
                    <a:pos x="100" y="13"/>
                  </a:cxn>
                  <a:cxn ang="0">
                    <a:pos x="1" y="8"/>
                  </a:cxn>
                </a:cxnLst>
                <a:rect l="0" t="0" r="r" b="b"/>
                <a:pathLst>
                  <a:path w="123" h="109">
                    <a:moveTo>
                      <a:pt x="1" y="13"/>
                    </a:moveTo>
                    <a:cubicBezTo>
                      <a:pt x="1" y="43"/>
                      <a:pt x="0" y="73"/>
                      <a:pt x="1" y="102"/>
                    </a:cubicBezTo>
                    <a:cubicBezTo>
                      <a:pt x="39" y="99"/>
                      <a:pt x="76" y="109"/>
                      <a:pt x="114" y="107"/>
                    </a:cubicBezTo>
                    <a:cubicBezTo>
                      <a:pt x="116" y="74"/>
                      <a:pt x="123" y="30"/>
                      <a:pt x="100" y="13"/>
                    </a:cubicBezTo>
                    <a:cubicBezTo>
                      <a:pt x="81" y="0"/>
                      <a:pt x="25" y="8"/>
                      <a:pt x="1" y="8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5" name="Freeform 71"/>
              <p:cNvSpPr>
                <a:spLocks/>
              </p:cNvSpPr>
              <p:nvPr/>
            </p:nvSpPr>
            <p:spPr bwMode="gray">
              <a:xfrm>
                <a:off x="-9593263" y="-9185275"/>
                <a:ext cx="573088" cy="2452688"/>
              </a:xfrm>
              <a:custGeom>
                <a:avLst/>
                <a:gdLst/>
                <a:ahLst/>
                <a:cxnLst>
                  <a:cxn ang="0">
                    <a:pos x="138" y="0"/>
                  </a:cxn>
                  <a:cxn ang="0">
                    <a:pos x="149" y="67"/>
                  </a:cxn>
                  <a:cxn ang="0">
                    <a:pos x="138" y="141"/>
                  </a:cxn>
                  <a:cxn ang="0">
                    <a:pos x="91" y="316"/>
                  </a:cxn>
                  <a:cxn ang="0">
                    <a:pos x="33" y="487"/>
                  </a:cxn>
                  <a:cxn ang="0">
                    <a:pos x="0" y="654"/>
                  </a:cxn>
                  <a:cxn ang="0">
                    <a:pos x="23" y="484"/>
                  </a:cxn>
                  <a:cxn ang="0">
                    <a:pos x="75" y="338"/>
                  </a:cxn>
                  <a:cxn ang="0">
                    <a:pos x="116" y="186"/>
                  </a:cxn>
                  <a:cxn ang="0">
                    <a:pos x="127" y="93"/>
                  </a:cxn>
                  <a:cxn ang="0">
                    <a:pos x="109" y="12"/>
                  </a:cxn>
                  <a:cxn ang="0">
                    <a:pos x="138" y="4"/>
                  </a:cxn>
                </a:cxnLst>
                <a:rect l="0" t="0" r="r" b="b"/>
                <a:pathLst>
                  <a:path w="153" h="654">
                    <a:moveTo>
                      <a:pt x="138" y="0"/>
                    </a:moveTo>
                    <a:cubicBezTo>
                      <a:pt x="134" y="25"/>
                      <a:pt x="146" y="44"/>
                      <a:pt x="149" y="67"/>
                    </a:cubicBezTo>
                    <a:cubicBezTo>
                      <a:pt x="153" y="95"/>
                      <a:pt x="146" y="117"/>
                      <a:pt x="138" y="141"/>
                    </a:cubicBezTo>
                    <a:cubicBezTo>
                      <a:pt x="120" y="200"/>
                      <a:pt x="110" y="258"/>
                      <a:pt x="91" y="316"/>
                    </a:cubicBezTo>
                    <a:cubicBezTo>
                      <a:pt x="71" y="374"/>
                      <a:pt x="52" y="431"/>
                      <a:pt x="33" y="487"/>
                    </a:cubicBezTo>
                    <a:cubicBezTo>
                      <a:pt x="15" y="542"/>
                      <a:pt x="15" y="600"/>
                      <a:pt x="0" y="654"/>
                    </a:cubicBezTo>
                    <a:cubicBezTo>
                      <a:pt x="0" y="590"/>
                      <a:pt x="11" y="542"/>
                      <a:pt x="23" y="484"/>
                    </a:cubicBezTo>
                    <a:cubicBezTo>
                      <a:pt x="34" y="429"/>
                      <a:pt x="60" y="389"/>
                      <a:pt x="75" y="338"/>
                    </a:cubicBezTo>
                    <a:cubicBezTo>
                      <a:pt x="88" y="289"/>
                      <a:pt x="105" y="236"/>
                      <a:pt x="116" y="186"/>
                    </a:cubicBezTo>
                    <a:cubicBezTo>
                      <a:pt x="122" y="158"/>
                      <a:pt x="126" y="121"/>
                      <a:pt x="127" y="93"/>
                    </a:cubicBezTo>
                    <a:cubicBezTo>
                      <a:pt x="128" y="62"/>
                      <a:pt x="109" y="40"/>
                      <a:pt x="109" y="12"/>
                    </a:cubicBezTo>
                    <a:cubicBezTo>
                      <a:pt x="120" y="10"/>
                      <a:pt x="128" y="5"/>
                      <a:pt x="138" y="4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6" name="Freeform 72"/>
              <p:cNvSpPr>
                <a:spLocks/>
              </p:cNvSpPr>
              <p:nvPr/>
            </p:nvSpPr>
            <p:spPr bwMode="gray">
              <a:xfrm>
                <a:off x="-10085388" y="-4021137"/>
                <a:ext cx="1076325" cy="2747963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102" y="172"/>
                  </a:cxn>
                  <a:cxn ang="0">
                    <a:pos x="45" y="363"/>
                  </a:cxn>
                  <a:cxn ang="0">
                    <a:pos x="19" y="536"/>
                  </a:cxn>
                  <a:cxn ang="0">
                    <a:pos x="60" y="615"/>
                  </a:cxn>
                  <a:cxn ang="0">
                    <a:pos x="82" y="699"/>
                  </a:cxn>
                  <a:cxn ang="0">
                    <a:pos x="97" y="733"/>
                  </a:cxn>
                  <a:cxn ang="0">
                    <a:pos x="101" y="573"/>
                  </a:cxn>
                  <a:cxn ang="0">
                    <a:pos x="158" y="443"/>
                  </a:cxn>
                  <a:cxn ang="0">
                    <a:pos x="222" y="302"/>
                  </a:cxn>
                  <a:cxn ang="0">
                    <a:pos x="287" y="179"/>
                  </a:cxn>
                  <a:cxn ang="0">
                    <a:pos x="139" y="234"/>
                  </a:cxn>
                  <a:cxn ang="0">
                    <a:pos x="165" y="77"/>
                  </a:cxn>
                  <a:cxn ang="0">
                    <a:pos x="146" y="0"/>
                  </a:cxn>
                </a:cxnLst>
                <a:rect l="0" t="0" r="r" b="b"/>
                <a:pathLst>
                  <a:path w="287" h="733">
                    <a:moveTo>
                      <a:pt x="143" y="0"/>
                    </a:moveTo>
                    <a:cubicBezTo>
                      <a:pt x="143" y="64"/>
                      <a:pt x="120" y="113"/>
                      <a:pt x="102" y="172"/>
                    </a:cubicBezTo>
                    <a:cubicBezTo>
                      <a:pt x="83" y="238"/>
                      <a:pt x="76" y="301"/>
                      <a:pt x="45" y="363"/>
                    </a:cubicBezTo>
                    <a:cubicBezTo>
                      <a:pt x="19" y="416"/>
                      <a:pt x="0" y="484"/>
                      <a:pt x="19" y="536"/>
                    </a:cubicBezTo>
                    <a:cubicBezTo>
                      <a:pt x="28" y="562"/>
                      <a:pt x="53" y="587"/>
                      <a:pt x="60" y="615"/>
                    </a:cubicBezTo>
                    <a:cubicBezTo>
                      <a:pt x="69" y="649"/>
                      <a:pt x="67" y="668"/>
                      <a:pt x="82" y="699"/>
                    </a:cubicBezTo>
                    <a:cubicBezTo>
                      <a:pt x="89" y="712"/>
                      <a:pt x="88" y="723"/>
                      <a:pt x="97" y="733"/>
                    </a:cubicBezTo>
                    <a:cubicBezTo>
                      <a:pt x="101" y="680"/>
                      <a:pt x="91" y="624"/>
                      <a:pt x="101" y="573"/>
                    </a:cubicBezTo>
                    <a:cubicBezTo>
                      <a:pt x="110" y="524"/>
                      <a:pt x="143" y="490"/>
                      <a:pt x="158" y="443"/>
                    </a:cubicBezTo>
                    <a:cubicBezTo>
                      <a:pt x="174" y="388"/>
                      <a:pt x="191" y="350"/>
                      <a:pt x="222" y="302"/>
                    </a:cubicBezTo>
                    <a:cubicBezTo>
                      <a:pt x="244" y="267"/>
                      <a:pt x="286" y="222"/>
                      <a:pt x="287" y="179"/>
                    </a:cubicBezTo>
                    <a:cubicBezTo>
                      <a:pt x="245" y="177"/>
                      <a:pt x="148" y="312"/>
                      <a:pt x="139" y="234"/>
                    </a:cubicBezTo>
                    <a:cubicBezTo>
                      <a:pt x="132" y="179"/>
                      <a:pt x="278" y="98"/>
                      <a:pt x="165" y="77"/>
                    </a:cubicBezTo>
                    <a:cubicBezTo>
                      <a:pt x="164" y="48"/>
                      <a:pt x="170" y="19"/>
                      <a:pt x="146" y="0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7" name="Freeform 73"/>
              <p:cNvSpPr>
                <a:spLocks/>
              </p:cNvSpPr>
              <p:nvPr/>
            </p:nvSpPr>
            <p:spPr bwMode="gray">
              <a:xfrm>
                <a:off x="-11971338" y="-9609137"/>
                <a:ext cx="1200150" cy="979488"/>
              </a:xfrm>
              <a:custGeom>
                <a:avLst/>
                <a:gdLst/>
                <a:ahLst/>
                <a:cxnLst>
                  <a:cxn ang="0">
                    <a:pos x="95" y="5"/>
                  </a:cxn>
                  <a:cxn ang="0">
                    <a:pos x="199" y="53"/>
                  </a:cxn>
                  <a:cxn ang="0">
                    <a:pos x="320" y="102"/>
                  </a:cxn>
                  <a:cxn ang="0">
                    <a:pos x="221" y="101"/>
                  </a:cxn>
                  <a:cxn ang="0">
                    <a:pos x="140" y="69"/>
                  </a:cxn>
                  <a:cxn ang="0">
                    <a:pos x="158" y="105"/>
                  </a:cxn>
                  <a:cxn ang="0">
                    <a:pos x="107" y="102"/>
                  </a:cxn>
                  <a:cxn ang="0">
                    <a:pos x="88" y="128"/>
                  </a:cxn>
                  <a:cxn ang="0">
                    <a:pos x="64" y="143"/>
                  </a:cxn>
                  <a:cxn ang="0">
                    <a:pos x="49" y="261"/>
                  </a:cxn>
                  <a:cxn ang="0">
                    <a:pos x="2" y="191"/>
                  </a:cxn>
                  <a:cxn ang="0">
                    <a:pos x="38" y="134"/>
                  </a:cxn>
                  <a:cxn ang="0">
                    <a:pos x="72" y="71"/>
                  </a:cxn>
                  <a:cxn ang="0">
                    <a:pos x="91" y="9"/>
                  </a:cxn>
                </a:cxnLst>
                <a:rect l="0" t="0" r="r" b="b"/>
                <a:pathLst>
                  <a:path w="320" h="261">
                    <a:moveTo>
                      <a:pt x="95" y="5"/>
                    </a:moveTo>
                    <a:cubicBezTo>
                      <a:pt x="137" y="0"/>
                      <a:pt x="167" y="33"/>
                      <a:pt x="199" y="53"/>
                    </a:cubicBezTo>
                    <a:cubicBezTo>
                      <a:pt x="235" y="76"/>
                      <a:pt x="288" y="77"/>
                      <a:pt x="320" y="102"/>
                    </a:cubicBezTo>
                    <a:cubicBezTo>
                      <a:pt x="288" y="103"/>
                      <a:pt x="254" y="111"/>
                      <a:pt x="221" y="101"/>
                    </a:cubicBezTo>
                    <a:cubicBezTo>
                      <a:pt x="192" y="91"/>
                      <a:pt x="172" y="69"/>
                      <a:pt x="140" y="69"/>
                    </a:cubicBezTo>
                    <a:cubicBezTo>
                      <a:pt x="144" y="82"/>
                      <a:pt x="153" y="93"/>
                      <a:pt x="158" y="105"/>
                    </a:cubicBezTo>
                    <a:cubicBezTo>
                      <a:pt x="138" y="106"/>
                      <a:pt x="124" y="95"/>
                      <a:pt x="107" y="102"/>
                    </a:cubicBezTo>
                    <a:cubicBezTo>
                      <a:pt x="111" y="100"/>
                      <a:pt x="89" y="127"/>
                      <a:pt x="88" y="128"/>
                    </a:cubicBezTo>
                    <a:cubicBezTo>
                      <a:pt x="80" y="136"/>
                      <a:pt x="72" y="133"/>
                      <a:pt x="64" y="143"/>
                    </a:cubicBezTo>
                    <a:cubicBezTo>
                      <a:pt x="43" y="168"/>
                      <a:pt x="36" y="229"/>
                      <a:pt x="49" y="261"/>
                    </a:cubicBezTo>
                    <a:cubicBezTo>
                      <a:pt x="27" y="247"/>
                      <a:pt x="0" y="219"/>
                      <a:pt x="2" y="191"/>
                    </a:cubicBezTo>
                    <a:cubicBezTo>
                      <a:pt x="3" y="164"/>
                      <a:pt x="25" y="154"/>
                      <a:pt x="38" y="134"/>
                    </a:cubicBezTo>
                    <a:cubicBezTo>
                      <a:pt x="49" y="119"/>
                      <a:pt x="68" y="88"/>
                      <a:pt x="72" y="71"/>
                    </a:cubicBezTo>
                    <a:cubicBezTo>
                      <a:pt x="78" y="51"/>
                      <a:pt x="61" y="12"/>
                      <a:pt x="91" y="9"/>
                    </a:cubicBezTo>
                  </a:path>
                </a:pathLst>
              </a:custGeom>
              <a:solidFill>
                <a:srgbClr val="1A1A1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8" name="Freeform 74"/>
              <p:cNvSpPr>
                <a:spLocks/>
              </p:cNvSpPr>
              <p:nvPr/>
            </p:nvSpPr>
            <p:spPr bwMode="gray">
              <a:xfrm>
                <a:off x="-10425113" y="681038"/>
                <a:ext cx="719138" cy="484188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51" y="31"/>
                  </a:cxn>
                  <a:cxn ang="0">
                    <a:pos x="95" y="45"/>
                  </a:cxn>
                  <a:cxn ang="0">
                    <a:pos x="181" y="75"/>
                  </a:cxn>
                  <a:cxn ang="0">
                    <a:pos x="78" y="85"/>
                  </a:cxn>
                  <a:cxn ang="0">
                    <a:pos x="0" y="12"/>
                  </a:cxn>
                  <a:cxn ang="0">
                    <a:pos x="7" y="7"/>
                  </a:cxn>
                </a:cxnLst>
                <a:rect l="0" t="0" r="r" b="b"/>
                <a:pathLst>
                  <a:path w="192" h="129">
                    <a:moveTo>
                      <a:pt x="18" y="7"/>
                    </a:moveTo>
                    <a:cubicBezTo>
                      <a:pt x="47" y="0"/>
                      <a:pt x="35" y="23"/>
                      <a:pt x="51" y="31"/>
                    </a:cubicBezTo>
                    <a:cubicBezTo>
                      <a:pt x="66" y="38"/>
                      <a:pt x="83" y="39"/>
                      <a:pt x="95" y="45"/>
                    </a:cubicBezTo>
                    <a:cubicBezTo>
                      <a:pt x="128" y="59"/>
                      <a:pt x="140" y="73"/>
                      <a:pt x="181" y="75"/>
                    </a:cubicBezTo>
                    <a:cubicBezTo>
                      <a:pt x="192" y="129"/>
                      <a:pt x="97" y="99"/>
                      <a:pt x="78" y="85"/>
                    </a:cubicBezTo>
                    <a:cubicBezTo>
                      <a:pt x="55" y="66"/>
                      <a:pt x="6" y="37"/>
                      <a:pt x="0" y="12"/>
                    </a:cubicBezTo>
                    <a:cubicBezTo>
                      <a:pt x="5" y="12"/>
                      <a:pt x="4" y="9"/>
                      <a:pt x="7" y="7"/>
                    </a:cubicBezTo>
                  </a:path>
                </a:pathLst>
              </a:custGeom>
              <a:solidFill>
                <a:srgbClr val="B3B3B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9" name="Freeform 75"/>
              <p:cNvSpPr>
                <a:spLocks/>
              </p:cNvSpPr>
              <p:nvPr/>
            </p:nvSpPr>
            <p:spPr bwMode="gray">
              <a:xfrm>
                <a:off x="-9455150" y="714375"/>
                <a:ext cx="200025" cy="252413"/>
              </a:xfrm>
              <a:custGeom>
                <a:avLst/>
                <a:gdLst/>
                <a:ahLst/>
                <a:cxnLst>
                  <a:cxn ang="0">
                    <a:pos x="30" y="2"/>
                  </a:cxn>
                  <a:cxn ang="0">
                    <a:pos x="26" y="42"/>
                  </a:cxn>
                  <a:cxn ang="0">
                    <a:pos x="1" y="55"/>
                  </a:cxn>
                  <a:cxn ang="0">
                    <a:pos x="0" y="62"/>
                  </a:cxn>
                  <a:cxn ang="0">
                    <a:pos x="33" y="65"/>
                  </a:cxn>
                  <a:cxn ang="0">
                    <a:pos x="48" y="2"/>
                  </a:cxn>
                  <a:cxn ang="0">
                    <a:pos x="27" y="6"/>
                  </a:cxn>
                </a:cxnLst>
                <a:rect l="0" t="0" r="r" b="b"/>
                <a:pathLst>
                  <a:path w="53" h="67">
                    <a:moveTo>
                      <a:pt x="30" y="2"/>
                    </a:moveTo>
                    <a:cubicBezTo>
                      <a:pt x="31" y="16"/>
                      <a:pt x="30" y="30"/>
                      <a:pt x="26" y="42"/>
                    </a:cubicBezTo>
                    <a:cubicBezTo>
                      <a:pt x="14" y="46"/>
                      <a:pt x="12" y="52"/>
                      <a:pt x="1" y="55"/>
                    </a:cubicBezTo>
                    <a:cubicBezTo>
                      <a:pt x="0" y="57"/>
                      <a:pt x="0" y="59"/>
                      <a:pt x="0" y="62"/>
                    </a:cubicBezTo>
                    <a:cubicBezTo>
                      <a:pt x="8" y="66"/>
                      <a:pt x="23" y="67"/>
                      <a:pt x="33" y="65"/>
                    </a:cubicBezTo>
                    <a:cubicBezTo>
                      <a:pt x="43" y="44"/>
                      <a:pt x="53" y="27"/>
                      <a:pt x="48" y="2"/>
                    </a:cubicBezTo>
                    <a:cubicBezTo>
                      <a:pt x="39" y="0"/>
                      <a:pt x="32" y="2"/>
                      <a:pt x="27" y="6"/>
                    </a:cubicBezTo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0" name="Freeform 76"/>
              <p:cNvSpPr>
                <a:spLocks/>
              </p:cNvSpPr>
              <p:nvPr/>
            </p:nvSpPr>
            <p:spPr bwMode="gray">
              <a:xfrm>
                <a:off x="-8194675" y="39688"/>
                <a:ext cx="539750" cy="184150"/>
              </a:xfrm>
              <a:custGeom>
                <a:avLst/>
                <a:gdLst/>
                <a:ahLst/>
                <a:cxnLst>
                  <a:cxn ang="0">
                    <a:pos x="133" y="3"/>
                  </a:cxn>
                  <a:cxn ang="0">
                    <a:pos x="108" y="4"/>
                  </a:cxn>
                  <a:cxn ang="0">
                    <a:pos x="0" y="23"/>
                  </a:cxn>
                  <a:cxn ang="0">
                    <a:pos x="140" y="18"/>
                  </a:cxn>
                  <a:cxn ang="0">
                    <a:pos x="126" y="0"/>
                  </a:cxn>
                </a:cxnLst>
                <a:rect l="0" t="0" r="r" b="b"/>
                <a:pathLst>
                  <a:path w="144" h="49">
                    <a:moveTo>
                      <a:pt x="133" y="3"/>
                    </a:moveTo>
                    <a:cubicBezTo>
                      <a:pt x="126" y="2"/>
                      <a:pt x="116" y="3"/>
                      <a:pt x="108" y="4"/>
                    </a:cubicBezTo>
                    <a:cubicBezTo>
                      <a:pt x="95" y="33"/>
                      <a:pt x="28" y="21"/>
                      <a:pt x="0" y="23"/>
                    </a:cubicBezTo>
                    <a:cubicBezTo>
                      <a:pt x="35" y="49"/>
                      <a:pt x="106" y="41"/>
                      <a:pt x="140" y="18"/>
                    </a:cubicBezTo>
                    <a:cubicBezTo>
                      <a:pt x="144" y="2"/>
                      <a:pt x="138" y="2"/>
                      <a:pt x="126" y="0"/>
                    </a:cubicBezTo>
                  </a:path>
                </a:pathLst>
              </a:custGeom>
              <a:solidFill>
                <a:srgbClr val="B3B3B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1" name="Freeform 77"/>
              <p:cNvSpPr>
                <a:spLocks/>
              </p:cNvSpPr>
              <p:nvPr/>
            </p:nvSpPr>
            <p:spPr bwMode="gray">
              <a:xfrm>
                <a:off x="-10587038" y="-53975"/>
                <a:ext cx="311150" cy="382588"/>
              </a:xfrm>
              <a:custGeom>
                <a:avLst/>
                <a:gdLst/>
                <a:ahLst/>
                <a:cxnLst>
                  <a:cxn ang="0">
                    <a:pos x="50" y="2"/>
                  </a:cxn>
                  <a:cxn ang="0">
                    <a:pos x="5" y="58"/>
                  </a:cxn>
                  <a:cxn ang="0">
                    <a:pos x="15" y="59"/>
                  </a:cxn>
                  <a:cxn ang="0">
                    <a:pos x="50" y="33"/>
                  </a:cxn>
                  <a:cxn ang="0">
                    <a:pos x="61" y="25"/>
                  </a:cxn>
                  <a:cxn ang="0">
                    <a:pos x="82" y="7"/>
                  </a:cxn>
                  <a:cxn ang="0">
                    <a:pos x="38" y="2"/>
                  </a:cxn>
                </a:cxnLst>
                <a:rect l="0" t="0" r="r" b="b"/>
                <a:pathLst>
                  <a:path w="83" h="102">
                    <a:moveTo>
                      <a:pt x="50" y="2"/>
                    </a:moveTo>
                    <a:cubicBezTo>
                      <a:pt x="28" y="0"/>
                      <a:pt x="0" y="35"/>
                      <a:pt x="5" y="58"/>
                    </a:cubicBezTo>
                    <a:cubicBezTo>
                      <a:pt x="8" y="59"/>
                      <a:pt x="12" y="58"/>
                      <a:pt x="15" y="59"/>
                    </a:cubicBezTo>
                    <a:cubicBezTo>
                      <a:pt x="32" y="102"/>
                      <a:pt x="43" y="45"/>
                      <a:pt x="50" y="33"/>
                    </a:cubicBezTo>
                    <a:cubicBezTo>
                      <a:pt x="58" y="30"/>
                      <a:pt x="56" y="28"/>
                      <a:pt x="61" y="25"/>
                    </a:cubicBezTo>
                    <a:cubicBezTo>
                      <a:pt x="78" y="26"/>
                      <a:pt x="83" y="23"/>
                      <a:pt x="82" y="7"/>
                    </a:cubicBezTo>
                    <a:cubicBezTo>
                      <a:pt x="68" y="3"/>
                      <a:pt x="54" y="1"/>
                      <a:pt x="38" y="2"/>
                    </a:cubicBezTo>
                  </a:path>
                </a:pathLst>
              </a:custGeom>
              <a:solidFill>
                <a:srgbClr val="B3B3B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2" name="Freeform 78"/>
              <p:cNvSpPr>
                <a:spLocks/>
              </p:cNvSpPr>
              <p:nvPr/>
            </p:nvSpPr>
            <p:spPr bwMode="gray">
              <a:xfrm>
                <a:off x="-8615363" y="-631825"/>
                <a:ext cx="263525" cy="255588"/>
              </a:xfrm>
              <a:custGeom>
                <a:avLst/>
                <a:gdLst/>
                <a:ahLst/>
                <a:cxnLst>
                  <a:cxn ang="0">
                    <a:pos x="15" y="4"/>
                  </a:cxn>
                  <a:cxn ang="0">
                    <a:pos x="70" y="66"/>
                  </a:cxn>
                  <a:cxn ang="0">
                    <a:pos x="0" y="0"/>
                  </a:cxn>
                </a:cxnLst>
                <a:rect l="0" t="0" r="r" b="b"/>
                <a:pathLst>
                  <a:path w="70" h="68">
                    <a:moveTo>
                      <a:pt x="15" y="4"/>
                    </a:moveTo>
                    <a:cubicBezTo>
                      <a:pt x="35" y="22"/>
                      <a:pt x="70" y="35"/>
                      <a:pt x="70" y="66"/>
                    </a:cubicBezTo>
                    <a:cubicBezTo>
                      <a:pt x="38" y="68"/>
                      <a:pt x="15" y="22"/>
                      <a:pt x="0" y="0"/>
                    </a:cubicBezTo>
                  </a:path>
                </a:pathLst>
              </a:custGeom>
              <a:solidFill>
                <a:srgbClr val="CCCCC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3" name="Freeform 79"/>
              <p:cNvSpPr>
                <a:spLocks/>
              </p:cNvSpPr>
              <p:nvPr/>
            </p:nvSpPr>
            <p:spPr bwMode="gray">
              <a:xfrm>
                <a:off x="-10680700" y="-11974512"/>
                <a:ext cx="1409700" cy="865188"/>
              </a:xfrm>
              <a:custGeom>
                <a:avLst/>
                <a:gdLst/>
                <a:ahLst/>
                <a:cxnLst>
                  <a:cxn ang="0">
                    <a:pos x="4" y="119"/>
                  </a:cxn>
                  <a:cxn ang="0">
                    <a:pos x="219" y="207"/>
                  </a:cxn>
                  <a:cxn ang="0">
                    <a:pos x="308" y="174"/>
                  </a:cxn>
                  <a:cxn ang="0">
                    <a:pos x="376" y="138"/>
                  </a:cxn>
                  <a:cxn ang="0">
                    <a:pos x="219" y="127"/>
                  </a:cxn>
                  <a:cxn ang="0">
                    <a:pos x="148" y="0"/>
                  </a:cxn>
                  <a:cxn ang="0">
                    <a:pos x="152" y="107"/>
                  </a:cxn>
                  <a:cxn ang="0">
                    <a:pos x="109" y="63"/>
                  </a:cxn>
                  <a:cxn ang="0">
                    <a:pos x="137" y="151"/>
                  </a:cxn>
                  <a:cxn ang="0">
                    <a:pos x="45" y="97"/>
                  </a:cxn>
                  <a:cxn ang="0">
                    <a:pos x="59" y="163"/>
                  </a:cxn>
                  <a:cxn ang="0">
                    <a:pos x="0" y="122"/>
                  </a:cxn>
                </a:cxnLst>
                <a:rect l="0" t="0" r="r" b="b"/>
                <a:pathLst>
                  <a:path w="376" h="231">
                    <a:moveTo>
                      <a:pt x="4" y="119"/>
                    </a:moveTo>
                    <a:cubicBezTo>
                      <a:pt x="37" y="204"/>
                      <a:pt x="132" y="231"/>
                      <a:pt x="219" y="207"/>
                    </a:cubicBezTo>
                    <a:cubicBezTo>
                      <a:pt x="236" y="173"/>
                      <a:pt x="279" y="186"/>
                      <a:pt x="308" y="174"/>
                    </a:cubicBezTo>
                    <a:cubicBezTo>
                      <a:pt x="328" y="165"/>
                      <a:pt x="359" y="150"/>
                      <a:pt x="376" y="138"/>
                    </a:cubicBezTo>
                    <a:cubicBezTo>
                      <a:pt x="323" y="137"/>
                      <a:pt x="266" y="160"/>
                      <a:pt x="219" y="127"/>
                    </a:cubicBezTo>
                    <a:cubicBezTo>
                      <a:pt x="182" y="102"/>
                      <a:pt x="160" y="41"/>
                      <a:pt x="148" y="0"/>
                    </a:cubicBezTo>
                    <a:cubicBezTo>
                      <a:pt x="120" y="24"/>
                      <a:pt x="143" y="79"/>
                      <a:pt x="152" y="107"/>
                    </a:cubicBezTo>
                    <a:cubicBezTo>
                      <a:pt x="129" y="107"/>
                      <a:pt x="115" y="82"/>
                      <a:pt x="109" y="63"/>
                    </a:cubicBezTo>
                    <a:cubicBezTo>
                      <a:pt x="106" y="94"/>
                      <a:pt x="120" y="126"/>
                      <a:pt x="137" y="151"/>
                    </a:cubicBezTo>
                    <a:cubicBezTo>
                      <a:pt x="79" y="176"/>
                      <a:pt x="79" y="100"/>
                      <a:pt x="45" y="97"/>
                    </a:cubicBezTo>
                    <a:cubicBezTo>
                      <a:pt x="44" y="119"/>
                      <a:pt x="49" y="144"/>
                      <a:pt x="59" y="163"/>
                    </a:cubicBezTo>
                    <a:cubicBezTo>
                      <a:pt x="40" y="153"/>
                      <a:pt x="29" y="125"/>
                      <a:pt x="0" y="122"/>
                    </a:cubicBezTo>
                  </a:path>
                </a:pathLst>
              </a:custGeom>
              <a:solidFill>
                <a:srgbClr val="B6C3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4" name="Freeform 80"/>
              <p:cNvSpPr>
                <a:spLocks/>
              </p:cNvSpPr>
              <p:nvPr/>
            </p:nvSpPr>
            <p:spPr bwMode="gray">
              <a:xfrm>
                <a:off x="-10174288" y="-19205575"/>
                <a:ext cx="333375" cy="833438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88" y="79"/>
                  </a:cxn>
                  <a:cxn ang="0">
                    <a:pos x="69" y="75"/>
                  </a:cxn>
                  <a:cxn ang="0">
                    <a:pos x="77" y="138"/>
                  </a:cxn>
                  <a:cxn ang="0">
                    <a:pos x="79" y="222"/>
                  </a:cxn>
                  <a:cxn ang="0">
                    <a:pos x="59" y="109"/>
                  </a:cxn>
                  <a:cxn ang="0">
                    <a:pos x="0" y="6"/>
                  </a:cxn>
                  <a:cxn ang="0">
                    <a:pos x="24" y="0"/>
                  </a:cxn>
                </a:cxnLst>
                <a:rect l="0" t="0" r="r" b="b"/>
                <a:pathLst>
                  <a:path w="89" h="222">
                    <a:moveTo>
                      <a:pt x="24" y="5"/>
                    </a:moveTo>
                    <a:cubicBezTo>
                      <a:pt x="56" y="5"/>
                      <a:pt x="89" y="49"/>
                      <a:pt x="88" y="79"/>
                    </a:cubicBezTo>
                    <a:cubicBezTo>
                      <a:pt x="82" y="77"/>
                      <a:pt x="75" y="77"/>
                      <a:pt x="69" y="75"/>
                    </a:cubicBezTo>
                    <a:cubicBezTo>
                      <a:pt x="69" y="97"/>
                      <a:pt x="73" y="116"/>
                      <a:pt x="77" y="138"/>
                    </a:cubicBezTo>
                    <a:cubicBezTo>
                      <a:pt x="63" y="156"/>
                      <a:pt x="79" y="193"/>
                      <a:pt x="79" y="222"/>
                    </a:cubicBezTo>
                    <a:cubicBezTo>
                      <a:pt x="60" y="187"/>
                      <a:pt x="68" y="148"/>
                      <a:pt x="59" y="109"/>
                    </a:cubicBezTo>
                    <a:cubicBezTo>
                      <a:pt x="49" y="66"/>
                      <a:pt x="8" y="42"/>
                      <a:pt x="0" y="6"/>
                    </a:cubicBezTo>
                    <a:cubicBezTo>
                      <a:pt x="8" y="0"/>
                      <a:pt x="15" y="0"/>
                      <a:pt x="24" y="0"/>
                    </a:cubicBezTo>
                  </a:path>
                </a:pathLst>
              </a:custGeom>
              <a:solidFill>
                <a:srgbClr val="60484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1305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ing </a:t>
            </a:r>
            <a:r>
              <a:rPr lang="en-US" b="0" smtClean="0"/>
              <a:t>- Sales Market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Differentiation according to 3 sales markets and the participating partners</a:t>
            </a:r>
            <a:endParaRPr lang="en-US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323850" y="1555749"/>
            <a:ext cx="8494713" cy="4101386"/>
            <a:chOff x="323850" y="1555749"/>
            <a:chExt cx="8494713" cy="4101386"/>
          </a:xfrm>
        </p:grpSpPr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49"/>
              <a:ext cx="2735263" cy="540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10800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sz="24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gray">
            <a:xfrm>
              <a:off x="323850" y="209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B - to - B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323850" y="2635749"/>
              <a:ext cx="2735263" cy="302138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Business-to-Business-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r>
                <a:rPr lang="en-US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dirty="0" smtClean="0"/>
                <a:t>(company customer)</a:t>
              </a: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dirty="0"/>
                <a:t>M</a:t>
              </a:r>
              <a:r>
                <a:rPr lang="en-US" sz="1400" dirty="0" smtClean="0"/>
                <a:t>arketing of one </a:t>
              </a:r>
              <a:br>
                <a:rPr lang="en-US" sz="1400" dirty="0" smtClean="0"/>
              </a:br>
              <a:r>
                <a:rPr lang="en-US" sz="1400" dirty="0" smtClean="0"/>
                <a:t>company to another </a:t>
              </a:r>
              <a:br>
                <a:rPr lang="en-US" sz="1400" dirty="0" smtClean="0"/>
              </a:br>
              <a:r>
                <a:rPr lang="en-US" sz="1400" dirty="0" smtClean="0"/>
                <a:t>company </a:t>
              </a:r>
              <a:br>
                <a:rPr lang="en-US" sz="1400" dirty="0" smtClean="0"/>
              </a:br>
              <a:r>
                <a:rPr lang="en-US" sz="1400" dirty="0" smtClean="0"/>
                <a:t>(i.e. production machines)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gray">
            <a:xfrm>
              <a:off x="6083300" y="209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C - to - C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2635749"/>
              <a:ext cx="2735263" cy="302138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ustomer-to-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ustomer-Marketing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smtClean="0"/>
                <a:t>Marketing of a private </a:t>
              </a:r>
              <a:br>
                <a:rPr lang="en-US" sz="1400" smtClean="0"/>
              </a:br>
              <a:r>
                <a:rPr lang="en-US" sz="1400" smtClean="0"/>
                <a:t>household to another </a:t>
              </a:r>
              <a:br>
                <a:rPr lang="en-US" sz="1400" smtClean="0"/>
              </a:br>
              <a:r>
                <a:rPr lang="en-US" sz="1400" smtClean="0"/>
                <a:t>private household </a:t>
              </a:r>
              <a:br>
                <a:rPr lang="en-US" sz="1400" smtClean="0"/>
              </a:br>
              <a:r>
                <a:rPr lang="en-US" sz="1400" smtClean="0"/>
                <a:t>(i.e. private sales on ebay)</a:t>
              </a: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gray">
            <a:xfrm>
              <a:off x="3203575" y="2095749"/>
              <a:ext cx="2735263" cy="54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B - to - C</a:t>
              </a: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2635749"/>
              <a:ext cx="2735263" cy="302138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Business-to-Customer-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r>
                <a:rPr lang="en-US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dirty="0" smtClean="0"/>
                <a:t>(private customer business)</a:t>
              </a: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  <a:p>
              <a:pPr algn="ctr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dirty="0"/>
                <a:t>M</a:t>
              </a:r>
              <a:r>
                <a:rPr lang="en-US" sz="1400" dirty="0" smtClean="0"/>
                <a:t>arketing of a </a:t>
              </a:r>
              <a:br>
                <a:rPr lang="en-US" sz="1400" dirty="0" smtClean="0"/>
              </a:br>
              <a:r>
                <a:rPr lang="en-US" sz="1400" dirty="0" smtClean="0"/>
                <a:t>company </a:t>
              </a:r>
              <a:br>
                <a:rPr lang="en-US" sz="1400" dirty="0" smtClean="0"/>
              </a:br>
              <a:r>
                <a:rPr lang="en-US" sz="1400" dirty="0" smtClean="0"/>
                <a:t>to a private house old </a:t>
              </a:r>
              <a:br>
                <a:rPr lang="en-US" sz="1400" dirty="0" smtClean="0"/>
              </a:br>
              <a:r>
                <a:rPr lang="en-US" sz="1400" dirty="0" smtClean="0"/>
                <a:t>(consumption goods)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8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32"/>
          <p:cNvGrpSpPr/>
          <p:nvPr/>
        </p:nvGrpSpPr>
        <p:grpSpPr bwMode="gray">
          <a:xfrm>
            <a:off x="0" y="4513233"/>
            <a:ext cx="9144000" cy="1163782"/>
            <a:chOff x="0" y="4534215"/>
            <a:chExt cx="9144000" cy="1163782"/>
          </a:xfrm>
        </p:grpSpPr>
        <p:sp>
          <p:nvSpPr>
            <p:cNvPr id="30" name="Rechteck 29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1" name="Rechteck 30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3" name="_text"/>
          <p:cNvSpPr txBox="1">
            <a:spLocks/>
          </p:cNvSpPr>
          <p:nvPr/>
        </p:nvSpPr>
        <p:spPr bwMode="gray">
          <a:xfrm>
            <a:off x="323850" y="1554163"/>
            <a:ext cx="4175125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is is a placeholder text. This text can be replaced with your own text.</a:t>
            </a:r>
          </a:p>
          <a:p>
            <a:pPr marL="180000" marR="0" lvl="0" indent="-180000" algn="l" defTabSz="914400" rtl="0" eaLnBrk="1" fontAlgn="auto" latinLnBrk="0" hangingPunct="1">
              <a:lnSpc>
                <a:spcPct val="95000"/>
              </a:lnSpc>
              <a:spcAft>
                <a:spcPts val="800"/>
              </a:spcAft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The text demonstrates how your own text will look when you replace the placeholder with your own text.</a:t>
            </a:r>
          </a:p>
          <a:p>
            <a:pPr marL="180000" lvl="0" indent="-1800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If you don’t want to use the style and size of the fonts as used in this placeholder </a:t>
            </a:r>
            <a:r>
              <a:rPr lang="en-US" noProof="1" smtClean="0"/>
              <a:t>it’s </a:t>
            </a:r>
            <a:r>
              <a:rPr kumimoji="0" lang="en-US" sz="1800" b="0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rPr>
              <a:t>possible to replace it by selecting different options.</a:t>
            </a:r>
          </a:p>
        </p:txBody>
      </p: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uzzle </a:t>
            </a:r>
            <a:r>
              <a:rPr lang="en-US" b="0" noProof="1" smtClean="0"/>
              <a:t>- Marketing 4P‘s</a:t>
            </a:r>
            <a:endParaRPr lang="en-US" noProof="1" smtClean="0"/>
          </a:p>
        </p:txBody>
      </p:sp>
      <p:grpSp>
        <p:nvGrpSpPr>
          <p:cNvPr id="2" name="Gruppieren 1"/>
          <p:cNvGrpSpPr/>
          <p:nvPr/>
        </p:nvGrpSpPr>
        <p:grpSpPr bwMode="gray">
          <a:xfrm>
            <a:off x="3592325" y="1296628"/>
            <a:ext cx="6085611" cy="4419582"/>
            <a:chOff x="4027982" y="1798491"/>
            <a:chExt cx="5256203" cy="3817238"/>
          </a:xfrm>
          <a:effectLst>
            <a:outerShdw blurRad="4572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24" name="Raute 23"/>
            <p:cNvSpPr/>
            <p:nvPr/>
          </p:nvSpPr>
          <p:spPr bwMode="gray">
            <a:xfrm>
              <a:off x="4027982" y="4694708"/>
              <a:ext cx="5256203" cy="835096"/>
            </a:xfrm>
            <a:prstGeom prst="diamond">
              <a:avLst/>
            </a:prstGeom>
            <a:solidFill>
              <a:srgbClr val="000000">
                <a:alpha val="24000"/>
              </a:srgbClr>
            </a:solidFill>
            <a:ln w="12700">
              <a:solidFill>
                <a:srgbClr val="A50021">
                  <a:alpha val="52000"/>
                </a:srgbClr>
              </a:solidFill>
              <a:round/>
              <a:headEnd/>
              <a:tailEnd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/>
              <a:endParaRPr lang="en-US" sz="2200" noProof="1"/>
            </a:p>
          </p:txBody>
        </p:sp>
        <p:sp>
          <p:nvSpPr>
            <p:cNvPr id="20" name="_color1"/>
            <p:cNvSpPr>
              <a:spLocks/>
            </p:cNvSpPr>
            <p:nvPr/>
          </p:nvSpPr>
          <p:spPr bwMode="gray">
            <a:xfrm rot="18900000">
              <a:off x="6424988" y="2688341"/>
              <a:ext cx="2095196" cy="1680662"/>
            </a:xfrm>
            <a:custGeom>
              <a:avLst/>
              <a:gdLst/>
              <a:ahLst/>
              <a:cxnLst>
                <a:cxn ang="0">
                  <a:pos x="447" y="448"/>
                </a:cxn>
                <a:cxn ang="0">
                  <a:pos x="891" y="448"/>
                </a:cxn>
                <a:cxn ang="0">
                  <a:pos x="891" y="448"/>
                </a:cxn>
                <a:cxn ang="0">
                  <a:pos x="893" y="448"/>
                </a:cxn>
                <a:cxn ang="0">
                  <a:pos x="975" y="366"/>
                </a:cxn>
                <a:cxn ang="0">
                  <a:pos x="951" y="308"/>
                </a:cxn>
                <a:cxn ang="0">
                  <a:pos x="920" y="201"/>
                </a:cxn>
                <a:cxn ang="0">
                  <a:pos x="1121" y="0"/>
                </a:cxn>
                <a:cxn ang="0">
                  <a:pos x="1323" y="201"/>
                </a:cxn>
                <a:cxn ang="0">
                  <a:pos x="1289" y="312"/>
                </a:cxn>
                <a:cxn ang="0">
                  <a:pos x="1270" y="366"/>
                </a:cxn>
                <a:cxn ang="0">
                  <a:pos x="1335" y="446"/>
                </a:cxn>
                <a:cxn ang="0">
                  <a:pos x="1352" y="448"/>
                </a:cxn>
                <a:cxn ang="0">
                  <a:pos x="1798" y="448"/>
                </a:cxn>
                <a:cxn ang="0">
                  <a:pos x="1798" y="894"/>
                </a:cxn>
                <a:cxn ang="0">
                  <a:pos x="1798" y="894"/>
                </a:cxn>
                <a:cxn ang="0">
                  <a:pos x="1798" y="895"/>
                </a:cxn>
                <a:cxn ang="0">
                  <a:pos x="1799" y="908"/>
                </a:cxn>
                <a:cxn ang="0">
                  <a:pos x="1880" y="977"/>
                </a:cxn>
                <a:cxn ang="0">
                  <a:pos x="1938" y="953"/>
                </a:cxn>
                <a:cxn ang="0">
                  <a:pos x="2044" y="923"/>
                </a:cxn>
                <a:cxn ang="0">
                  <a:pos x="2245" y="1124"/>
                </a:cxn>
                <a:cxn ang="0">
                  <a:pos x="2044" y="1325"/>
                </a:cxn>
                <a:cxn ang="0">
                  <a:pos x="1933" y="1292"/>
                </a:cxn>
                <a:cxn ang="0">
                  <a:pos x="1880" y="1272"/>
                </a:cxn>
                <a:cxn ang="0">
                  <a:pos x="1799" y="1338"/>
                </a:cxn>
                <a:cxn ang="0">
                  <a:pos x="1799" y="1341"/>
                </a:cxn>
                <a:cxn ang="0">
                  <a:pos x="1798" y="1354"/>
                </a:cxn>
                <a:cxn ang="0">
                  <a:pos x="1798" y="1800"/>
                </a:cxn>
                <a:cxn ang="0">
                  <a:pos x="1352" y="1800"/>
                </a:cxn>
                <a:cxn ang="0">
                  <a:pos x="1335" y="1799"/>
                </a:cxn>
                <a:cxn ang="0">
                  <a:pos x="1270" y="1718"/>
                </a:cxn>
                <a:cxn ang="0">
                  <a:pos x="1290" y="1665"/>
                </a:cxn>
                <a:cxn ang="0">
                  <a:pos x="1323" y="1554"/>
                </a:cxn>
                <a:cxn ang="0">
                  <a:pos x="1122" y="1352"/>
                </a:cxn>
                <a:cxn ang="0">
                  <a:pos x="920" y="1554"/>
                </a:cxn>
                <a:cxn ang="0">
                  <a:pos x="951" y="1660"/>
                </a:cxn>
                <a:cxn ang="0">
                  <a:pos x="975" y="1718"/>
                </a:cxn>
                <a:cxn ang="0">
                  <a:pos x="893" y="1800"/>
                </a:cxn>
                <a:cxn ang="0">
                  <a:pos x="891" y="1800"/>
                </a:cxn>
                <a:cxn ang="0">
                  <a:pos x="891" y="1800"/>
                </a:cxn>
                <a:cxn ang="0">
                  <a:pos x="447" y="1800"/>
                </a:cxn>
                <a:cxn ang="0">
                  <a:pos x="447" y="1354"/>
                </a:cxn>
                <a:cxn ang="0">
                  <a:pos x="447" y="1354"/>
                </a:cxn>
                <a:cxn ang="0">
                  <a:pos x="447" y="1353"/>
                </a:cxn>
                <a:cxn ang="0">
                  <a:pos x="365" y="1271"/>
                </a:cxn>
                <a:cxn ang="0">
                  <a:pos x="307" y="1295"/>
                </a:cxn>
                <a:cxn ang="0">
                  <a:pos x="201" y="1325"/>
                </a:cxn>
                <a:cxn ang="0">
                  <a:pos x="0" y="1124"/>
                </a:cxn>
                <a:cxn ang="0">
                  <a:pos x="201" y="923"/>
                </a:cxn>
                <a:cxn ang="0">
                  <a:pos x="312" y="956"/>
                </a:cxn>
                <a:cxn ang="0">
                  <a:pos x="365" y="976"/>
                </a:cxn>
                <a:cxn ang="0">
                  <a:pos x="446" y="910"/>
                </a:cxn>
                <a:cxn ang="0">
                  <a:pos x="447" y="894"/>
                </a:cxn>
                <a:cxn ang="0">
                  <a:pos x="447" y="448"/>
                </a:cxn>
              </a:cxnLst>
              <a:rect l="0" t="0" r="r" b="b"/>
              <a:pathLst>
                <a:path w="2245" h="1800">
                  <a:moveTo>
                    <a:pt x="447" y="448"/>
                  </a:moveTo>
                  <a:cubicBezTo>
                    <a:pt x="891" y="448"/>
                    <a:pt x="891" y="448"/>
                    <a:pt x="891" y="448"/>
                  </a:cubicBezTo>
                  <a:cubicBezTo>
                    <a:pt x="891" y="448"/>
                    <a:pt x="891" y="448"/>
                    <a:pt x="891" y="448"/>
                  </a:cubicBezTo>
                  <a:cubicBezTo>
                    <a:pt x="892" y="448"/>
                    <a:pt x="892" y="448"/>
                    <a:pt x="893" y="448"/>
                  </a:cubicBezTo>
                  <a:cubicBezTo>
                    <a:pt x="938" y="448"/>
                    <a:pt x="975" y="411"/>
                    <a:pt x="975" y="366"/>
                  </a:cubicBezTo>
                  <a:cubicBezTo>
                    <a:pt x="975" y="343"/>
                    <a:pt x="965" y="322"/>
                    <a:pt x="951" y="308"/>
                  </a:cubicBezTo>
                  <a:cubicBezTo>
                    <a:pt x="931" y="277"/>
                    <a:pt x="920" y="240"/>
                    <a:pt x="920" y="201"/>
                  </a:cubicBezTo>
                  <a:cubicBezTo>
                    <a:pt x="920" y="90"/>
                    <a:pt x="1010" y="0"/>
                    <a:pt x="1121" y="0"/>
                  </a:cubicBezTo>
                  <a:cubicBezTo>
                    <a:pt x="1233" y="0"/>
                    <a:pt x="1323" y="90"/>
                    <a:pt x="1323" y="201"/>
                  </a:cubicBezTo>
                  <a:cubicBezTo>
                    <a:pt x="1323" y="242"/>
                    <a:pt x="1311" y="280"/>
                    <a:pt x="1289" y="312"/>
                  </a:cubicBezTo>
                  <a:cubicBezTo>
                    <a:pt x="1277" y="326"/>
                    <a:pt x="1270" y="345"/>
                    <a:pt x="1270" y="366"/>
                  </a:cubicBezTo>
                  <a:cubicBezTo>
                    <a:pt x="1270" y="405"/>
                    <a:pt x="1298" y="439"/>
                    <a:pt x="1335" y="446"/>
                  </a:cubicBezTo>
                  <a:cubicBezTo>
                    <a:pt x="1341" y="447"/>
                    <a:pt x="1346" y="448"/>
                    <a:pt x="1352" y="448"/>
                  </a:cubicBezTo>
                  <a:cubicBezTo>
                    <a:pt x="1798" y="448"/>
                    <a:pt x="1798" y="448"/>
                    <a:pt x="1798" y="448"/>
                  </a:cubicBezTo>
                  <a:cubicBezTo>
                    <a:pt x="1798" y="894"/>
                    <a:pt x="1798" y="894"/>
                    <a:pt x="1798" y="894"/>
                  </a:cubicBezTo>
                  <a:cubicBezTo>
                    <a:pt x="1798" y="894"/>
                    <a:pt x="1798" y="894"/>
                    <a:pt x="1798" y="894"/>
                  </a:cubicBezTo>
                  <a:cubicBezTo>
                    <a:pt x="1798" y="894"/>
                    <a:pt x="1798" y="895"/>
                    <a:pt x="1798" y="895"/>
                  </a:cubicBezTo>
                  <a:cubicBezTo>
                    <a:pt x="1798" y="900"/>
                    <a:pt x="1798" y="904"/>
                    <a:pt x="1799" y="908"/>
                  </a:cubicBezTo>
                  <a:cubicBezTo>
                    <a:pt x="1805" y="947"/>
                    <a:pt x="1839" y="977"/>
                    <a:pt x="1880" y="977"/>
                  </a:cubicBezTo>
                  <a:cubicBezTo>
                    <a:pt x="1902" y="977"/>
                    <a:pt x="1923" y="968"/>
                    <a:pt x="1938" y="953"/>
                  </a:cubicBezTo>
                  <a:cubicBezTo>
                    <a:pt x="1969" y="934"/>
                    <a:pt x="2005" y="923"/>
                    <a:pt x="2044" y="923"/>
                  </a:cubicBezTo>
                  <a:cubicBezTo>
                    <a:pt x="2155" y="923"/>
                    <a:pt x="2245" y="1013"/>
                    <a:pt x="2245" y="1124"/>
                  </a:cubicBezTo>
                  <a:cubicBezTo>
                    <a:pt x="2245" y="1235"/>
                    <a:pt x="2155" y="1325"/>
                    <a:pt x="2044" y="1325"/>
                  </a:cubicBezTo>
                  <a:cubicBezTo>
                    <a:pt x="2003" y="1325"/>
                    <a:pt x="1965" y="1313"/>
                    <a:pt x="1933" y="1292"/>
                  </a:cubicBezTo>
                  <a:cubicBezTo>
                    <a:pt x="1919" y="1280"/>
                    <a:pt x="1900" y="1272"/>
                    <a:pt x="1880" y="1272"/>
                  </a:cubicBezTo>
                  <a:cubicBezTo>
                    <a:pt x="1840" y="1272"/>
                    <a:pt x="1807" y="1300"/>
                    <a:pt x="1799" y="1338"/>
                  </a:cubicBezTo>
                  <a:cubicBezTo>
                    <a:pt x="1799" y="1339"/>
                    <a:pt x="1799" y="1340"/>
                    <a:pt x="1799" y="1341"/>
                  </a:cubicBezTo>
                  <a:cubicBezTo>
                    <a:pt x="1798" y="1345"/>
                    <a:pt x="1798" y="1350"/>
                    <a:pt x="1798" y="1354"/>
                  </a:cubicBezTo>
                  <a:cubicBezTo>
                    <a:pt x="1798" y="1800"/>
                    <a:pt x="1798" y="1800"/>
                    <a:pt x="1798" y="1800"/>
                  </a:cubicBezTo>
                  <a:cubicBezTo>
                    <a:pt x="1352" y="1800"/>
                    <a:pt x="1352" y="1800"/>
                    <a:pt x="1352" y="1800"/>
                  </a:cubicBezTo>
                  <a:cubicBezTo>
                    <a:pt x="1346" y="1800"/>
                    <a:pt x="1341" y="1800"/>
                    <a:pt x="1335" y="1799"/>
                  </a:cubicBezTo>
                  <a:cubicBezTo>
                    <a:pt x="1298" y="1791"/>
                    <a:pt x="1270" y="1758"/>
                    <a:pt x="1270" y="1718"/>
                  </a:cubicBezTo>
                  <a:cubicBezTo>
                    <a:pt x="1270" y="1698"/>
                    <a:pt x="1277" y="1679"/>
                    <a:pt x="1290" y="1665"/>
                  </a:cubicBezTo>
                  <a:cubicBezTo>
                    <a:pt x="1311" y="1633"/>
                    <a:pt x="1323" y="1595"/>
                    <a:pt x="1323" y="1554"/>
                  </a:cubicBezTo>
                  <a:cubicBezTo>
                    <a:pt x="1323" y="1443"/>
                    <a:pt x="1233" y="1352"/>
                    <a:pt x="1122" y="1352"/>
                  </a:cubicBezTo>
                  <a:cubicBezTo>
                    <a:pt x="1010" y="1352"/>
                    <a:pt x="920" y="1443"/>
                    <a:pt x="920" y="1554"/>
                  </a:cubicBezTo>
                  <a:cubicBezTo>
                    <a:pt x="920" y="1593"/>
                    <a:pt x="931" y="1629"/>
                    <a:pt x="951" y="1660"/>
                  </a:cubicBezTo>
                  <a:cubicBezTo>
                    <a:pt x="965" y="1675"/>
                    <a:pt x="975" y="1695"/>
                    <a:pt x="975" y="1718"/>
                  </a:cubicBezTo>
                  <a:cubicBezTo>
                    <a:pt x="975" y="1763"/>
                    <a:pt x="938" y="1800"/>
                    <a:pt x="893" y="1800"/>
                  </a:cubicBezTo>
                  <a:cubicBezTo>
                    <a:pt x="892" y="1800"/>
                    <a:pt x="892" y="1800"/>
                    <a:pt x="891" y="1800"/>
                  </a:cubicBezTo>
                  <a:cubicBezTo>
                    <a:pt x="891" y="1800"/>
                    <a:pt x="891" y="1800"/>
                    <a:pt x="891" y="1800"/>
                  </a:cubicBezTo>
                  <a:cubicBezTo>
                    <a:pt x="447" y="1800"/>
                    <a:pt x="447" y="1800"/>
                    <a:pt x="447" y="1800"/>
                  </a:cubicBezTo>
                  <a:cubicBezTo>
                    <a:pt x="447" y="1354"/>
                    <a:pt x="447" y="1354"/>
                    <a:pt x="447" y="1354"/>
                  </a:cubicBezTo>
                  <a:cubicBezTo>
                    <a:pt x="447" y="1354"/>
                    <a:pt x="447" y="1354"/>
                    <a:pt x="447" y="1354"/>
                  </a:cubicBezTo>
                  <a:cubicBezTo>
                    <a:pt x="447" y="1354"/>
                    <a:pt x="447" y="1353"/>
                    <a:pt x="447" y="1353"/>
                  </a:cubicBezTo>
                  <a:cubicBezTo>
                    <a:pt x="447" y="1308"/>
                    <a:pt x="411" y="1271"/>
                    <a:pt x="365" y="1271"/>
                  </a:cubicBezTo>
                  <a:cubicBezTo>
                    <a:pt x="343" y="1271"/>
                    <a:pt x="322" y="1280"/>
                    <a:pt x="307" y="1295"/>
                  </a:cubicBezTo>
                  <a:cubicBezTo>
                    <a:pt x="276" y="1314"/>
                    <a:pt x="240" y="1325"/>
                    <a:pt x="201" y="1325"/>
                  </a:cubicBezTo>
                  <a:cubicBezTo>
                    <a:pt x="90" y="1325"/>
                    <a:pt x="0" y="1235"/>
                    <a:pt x="0" y="1124"/>
                  </a:cubicBezTo>
                  <a:cubicBezTo>
                    <a:pt x="0" y="1013"/>
                    <a:pt x="90" y="923"/>
                    <a:pt x="201" y="923"/>
                  </a:cubicBezTo>
                  <a:cubicBezTo>
                    <a:pt x="242" y="923"/>
                    <a:pt x="280" y="935"/>
                    <a:pt x="312" y="956"/>
                  </a:cubicBezTo>
                  <a:cubicBezTo>
                    <a:pt x="326" y="968"/>
                    <a:pt x="345" y="976"/>
                    <a:pt x="365" y="976"/>
                  </a:cubicBezTo>
                  <a:cubicBezTo>
                    <a:pt x="405" y="976"/>
                    <a:pt x="438" y="948"/>
                    <a:pt x="446" y="910"/>
                  </a:cubicBezTo>
                  <a:cubicBezTo>
                    <a:pt x="447" y="905"/>
                    <a:pt x="447" y="899"/>
                    <a:pt x="447" y="894"/>
                  </a:cubicBezTo>
                  <a:lnTo>
                    <a:pt x="447" y="44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19050" prstMaterial="matte">
              <a:bevelT w="63500" h="25400" prst="artDeco"/>
              <a:contourClr>
                <a:srgbClr val="FFFFFF"/>
              </a:contourClr>
            </a:sp3d>
          </p:spPr>
          <p:txBody>
            <a:bodyPr lIns="0" tIns="18000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22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6200000">
                      <a:prstClr val="black">
                        <a:alpha val="50000"/>
                      </a:prstClr>
                    </a:innerShdw>
                  </a:effectLst>
                  <a:cs typeface="Arial" charset="0"/>
                </a:rPr>
                <a:t>Place</a:t>
              </a:r>
              <a:endParaRPr lang="en-US" sz="22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17" name="_color1"/>
            <p:cNvSpPr>
              <a:spLocks/>
            </p:cNvSpPr>
            <p:nvPr/>
          </p:nvSpPr>
          <p:spPr bwMode="gray">
            <a:xfrm rot="18900000">
              <a:off x="6094309" y="3520533"/>
              <a:ext cx="1263877" cy="2095196"/>
            </a:xfrm>
            <a:custGeom>
              <a:avLst/>
              <a:gdLst/>
              <a:ahLst/>
              <a:cxnLst>
                <a:cxn ang="0">
                  <a:pos x="877" y="2045"/>
                </a:cxn>
                <a:cxn ang="0">
                  <a:pos x="847" y="1938"/>
                </a:cxn>
                <a:cxn ang="0">
                  <a:pos x="823" y="1880"/>
                </a:cxn>
                <a:cxn ang="0">
                  <a:pos x="905" y="1798"/>
                </a:cxn>
                <a:cxn ang="0">
                  <a:pos x="906" y="1798"/>
                </a:cxn>
                <a:cxn ang="0">
                  <a:pos x="906" y="1798"/>
                </a:cxn>
                <a:cxn ang="0">
                  <a:pos x="1352" y="1798"/>
                </a:cxn>
                <a:cxn ang="0">
                  <a:pos x="1352" y="1354"/>
                </a:cxn>
                <a:cxn ang="0">
                  <a:pos x="1352" y="1354"/>
                </a:cxn>
                <a:cxn ang="0">
                  <a:pos x="1352" y="1353"/>
                </a:cxn>
                <a:cxn ang="0">
                  <a:pos x="1270" y="1271"/>
                </a:cxn>
                <a:cxn ang="0">
                  <a:pos x="1212" y="1295"/>
                </a:cxn>
                <a:cxn ang="0">
                  <a:pos x="1106" y="1325"/>
                </a:cxn>
                <a:cxn ang="0">
                  <a:pos x="905" y="1124"/>
                </a:cxn>
                <a:cxn ang="0">
                  <a:pos x="1106" y="923"/>
                </a:cxn>
                <a:cxn ang="0">
                  <a:pos x="1217" y="956"/>
                </a:cxn>
                <a:cxn ang="0">
                  <a:pos x="1270" y="976"/>
                </a:cxn>
                <a:cxn ang="0">
                  <a:pos x="1351" y="910"/>
                </a:cxn>
                <a:cxn ang="0">
                  <a:pos x="1352" y="894"/>
                </a:cxn>
                <a:cxn ang="0">
                  <a:pos x="1352" y="448"/>
                </a:cxn>
                <a:cxn ang="0">
                  <a:pos x="906" y="448"/>
                </a:cxn>
                <a:cxn ang="0">
                  <a:pos x="893" y="447"/>
                </a:cxn>
                <a:cxn ang="0">
                  <a:pos x="890" y="446"/>
                </a:cxn>
                <a:cxn ang="0">
                  <a:pos x="824" y="366"/>
                </a:cxn>
                <a:cxn ang="0">
                  <a:pos x="844" y="312"/>
                </a:cxn>
                <a:cxn ang="0">
                  <a:pos x="877" y="201"/>
                </a:cxn>
                <a:cxn ang="0">
                  <a:pos x="676" y="0"/>
                </a:cxn>
                <a:cxn ang="0">
                  <a:pos x="475" y="201"/>
                </a:cxn>
                <a:cxn ang="0">
                  <a:pos x="505" y="308"/>
                </a:cxn>
                <a:cxn ang="0">
                  <a:pos x="529" y="366"/>
                </a:cxn>
                <a:cxn ang="0">
                  <a:pos x="460" y="447"/>
                </a:cxn>
                <a:cxn ang="0">
                  <a:pos x="447" y="448"/>
                </a:cxn>
                <a:cxn ang="0">
                  <a:pos x="446" y="448"/>
                </a:cxn>
                <a:cxn ang="0">
                  <a:pos x="446" y="448"/>
                </a:cxn>
                <a:cxn ang="0">
                  <a:pos x="0" y="448"/>
                </a:cxn>
                <a:cxn ang="0">
                  <a:pos x="0" y="892"/>
                </a:cxn>
                <a:cxn ang="0">
                  <a:pos x="0" y="892"/>
                </a:cxn>
                <a:cxn ang="0">
                  <a:pos x="0" y="893"/>
                </a:cxn>
                <a:cxn ang="0">
                  <a:pos x="82" y="975"/>
                </a:cxn>
                <a:cxn ang="0">
                  <a:pos x="140" y="951"/>
                </a:cxn>
                <a:cxn ang="0">
                  <a:pos x="246" y="921"/>
                </a:cxn>
                <a:cxn ang="0">
                  <a:pos x="447" y="1122"/>
                </a:cxn>
                <a:cxn ang="0">
                  <a:pos x="246" y="1323"/>
                </a:cxn>
                <a:cxn ang="0">
                  <a:pos x="135" y="1290"/>
                </a:cxn>
                <a:cxn ang="0">
                  <a:pos x="82" y="1270"/>
                </a:cxn>
                <a:cxn ang="0">
                  <a:pos x="1" y="1336"/>
                </a:cxn>
                <a:cxn ang="0">
                  <a:pos x="0" y="1352"/>
                </a:cxn>
                <a:cxn ang="0">
                  <a:pos x="0" y="1798"/>
                </a:cxn>
                <a:cxn ang="0">
                  <a:pos x="446" y="1798"/>
                </a:cxn>
                <a:cxn ang="0">
                  <a:pos x="462" y="1800"/>
                </a:cxn>
                <a:cxn ang="0">
                  <a:pos x="528" y="1880"/>
                </a:cxn>
                <a:cxn ang="0">
                  <a:pos x="508" y="1934"/>
                </a:cxn>
                <a:cxn ang="0">
                  <a:pos x="475" y="2045"/>
                </a:cxn>
                <a:cxn ang="0">
                  <a:pos x="676" y="2246"/>
                </a:cxn>
                <a:cxn ang="0">
                  <a:pos x="877" y="2045"/>
                </a:cxn>
              </a:cxnLst>
              <a:rect l="0" t="0" r="r" b="b"/>
              <a:pathLst>
                <a:path w="1352" h="2246">
                  <a:moveTo>
                    <a:pt x="877" y="2045"/>
                  </a:moveTo>
                  <a:cubicBezTo>
                    <a:pt x="877" y="2005"/>
                    <a:pt x="866" y="1969"/>
                    <a:pt x="847" y="1938"/>
                  </a:cubicBezTo>
                  <a:cubicBezTo>
                    <a:pt x="832" y="1923"/>
                    <a:pt x="823" y="1903"/>
                    <a:pt x="823" y="1880"/>
                  </a:cubicBezTo>
                  <a:cubicBezTo>
                    <a:pt x="823" y="1835"/>
                    <a:pt x="860" y="1798"/>
                    <a:pt x="905" y="1798"/>
                  </a:cubicBezTo>
                  <a:cubicBezTo>
                    <a:pt x="905" y="1798"/>
                    <a:pt x="906" y="1798"/>
                    <a:pt x="906" y="1798"/>
                  </a:cubicBezTo>
                  <a:cubicBezTo>
                    <a:pt x="906" y="1798"/>
                    <a:pt x="906" y="1798"/>
                    <a:pt x="906" y="1798"/>
                  </a:cubicBezTo>
                  <a:cubicBezTo>
                    <a:pt x="1352" y="1798"/>
                    <a:pt x="1352" y="1798"/>
                    <a:pt x="1352" y="1798"/>
                  </a:cubicBezTo>
                  <a:cubicBezTo>
                    <a:pt x="1352" y="1354"/>
                    <a:pt x="1352" y="1354"/>
                    <a:pt x="1352" y="1354"/>
                  </a:cubicBezTo>
                  <a:cubicBezTo>
                    <a:pt x="1352" y="1354"/>
                    <a:pt x="1352" y="1354"/>
                    <a:pt x="1352" y="1354"/>
                  </a:cubicBezTo>
                  <a:cubicBezTo>
                    <a:pt x="1352" y="1354"/>
                    <a:pt x="1352" y="1353"/>
                    <a:pt x="1352" y="1353"/>
                  </a:cubicBezTo>
                  <a:cubicBezTo>
                    <a:pt x="1352" y="1308"/>
                    <a:pt x="1316" y="1271"/>
                    <a:pt x="1270" y="1271"/>
                  </a:cubicBezTo>
                  <a:cubicBezTo>
                    <a:pt x="1248" y="1271"/>
                    <a:pt x="1227" y="1280"/>
                    <a:pt x="1212" y="1295"/>
                  </a:cubicBezTo>
                  <a:cubicBezTo>
                    <a:pt x="1181" y="1314"/>
                    <a:pt x="1145" y="1325"/>
                    <a:pt x="1106" y="1325"/>
                  </a:cubicBezTo>
                  <a:cubicBezTo>
                    <a:pt x="995" y="1325"/>
                    <a:pt x="905" y="1235"/>
                    <a:pt x="905" y="1124"/>
                  </a:cubicBezTo>
                  <a:cubicBezTo>
                    <a:pt x="905" y="1013"/>
                    <a:pt x="995" y="923"/>
                    <a:pt x="1106" y="923"/>
                  </a:cubicBezTo>
                  <a:cubicBezTo>
                    <a:pt x="1147" y="923"/>
                    <a:pt x="1185" y="935"/>
                    <a:pt x="1217" y="956"/>
                  </a:cubicBezTo>
                  <a:cubicBezTo>
                    <a:pt x="1231" y="968"/>
                    <a:pt x="1250" y="976"/>
                    <a:pt x="1270" y="976"/>
                  </a:cubicBezTo>
                  <a:cubicBezTo>
                    <a:pt x="1310" y="976"/>
                    <a:pt x="1343" y="948"/>
                    <a:pt x="1351" y="910"/>
                  </a:cubicBezTo>
                  <a:cubicBezTo>
                    <a:pt x="1352" y="905"/>
                    <a:pt x="1352" y="899"/>
                    <a:pt x="1352" y="894"/>
                  </a:cubicBezTo>
                  <a:cubicBezTo>
                    <a:pt x="1352" y="448"/>
                    <a:pt x="1352" y="448"/>
                    <a:pt x="1352" y="448"/>
                  </a:cubicBezTo>
                  <a:cubicBezTo>
                    <a:pt x="906" y="448"/>
                    <a:pt x="906" y="448"/>
                    <a:pt x="906" y="448"/>
                  </a:cubicBezTo>
                  <a:cubicBezTo>
                    <a:pt x="902" y="448"/>
                    <a:pt x="897" y="447"/>
                    <a:pt x="893" y="447"/>
                  </a:cubicBezTo>
                  <a:cubicBezTo>
                    <a:pt x="892" y="446"/>
                    <a:pt x="891" y="446"/>
                    <a:pt x="890" y="446"/>
                  </a:cubicBezTo>
                  <a:cubicBezTo>
                    <a:pt x="852" y="438"/>
                    <a:pt x="824" y="405"/>
                    <a:pt x="824" y="366"/>
                  </a:cubicBezTo>
                  <a:cubicBezTo>
                    <a:pt x="824" y="345"/>
                    <a:pt x="832" y="326"/>
                    <a:pt x="844" y="312"/>
                  </a:cubicBezTo>
                  <a:cubicBezTo>
                    <a:pt x="865" y="280"/>
                    <a:pt x="877" y="242"/>
                    <a:pt x="877" y="201"/>
                  </a:cubicBezTo>
                  <a:cubicBezTo>
                    <a:pt x="877" y="90"/>
                    <a:pt x="787" y="0"/>
                    <a:pt x="676" y="0"/>
                  </a:cubicBezTo>
                  <a:cubicBezTo>
                    <a:pt x="565" y="0"/>
                    <a:pt x="475" y="90"/>
                    <a:pt x="475" y="201"/>
                  </a:cubicBezTo>
                  <a:cubicBezTo>
                    <a:pt x="475" y="240"/>
                    <a:pt x="486" y="277"/>
                    <a:pt x="505" y="308"/>
                  </a:cubicBezTo>
                  <a:cubicBezTo>
                    <a:pt x="520" y="322"/>
                    <a:pt x="529" y="343"/>
                    <a:pt x="529" y="366"/>
                  </a:cubicBezTo>
                  <a:cubicBezTo>
                    <a:pt x="529" y="406"/>
                    <a:pt x="499" y="440"/>
                    <a:pt x="460" y="447"/>
                  </a:cubicBezTo>
                  <a:cubicBezTo>
                    <a:pt x="456" y="447"/>
                    <a:pt x="452" y="448"/>
                    <a:pt x="447" y="448"/>
                  </a:cubicBezTo>
                  <a:cubicBezTo>
                    <a:pt x="447" y="448"/>
                    <a:pt x="446" y="448"/>
                    <a:pt x="446" y="448"/>
                  </a:cubicBezTo>
                  <a:cubicBezTo>
                    <a:pt x="446" y="448"/>
                    <a:pt x="446" y="448"/>
                    <a:pt x="446" y="448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892"/>
                    <a:pt x="0" y="892"/>
                    <a:pt x="0" y="892"/>
                  </a:cubicBezTo>
                  <a:cubicBezTo>
                    <a:pt x="0" y="892"/>
                    <a:pt x="0" y="892"/>
                    <a:pt x="0" y="892"/>
                  </a:cubicBezTo>
                  <a:cubicBezTo>
                    <a:pt x="0" y="892"/>
                    <a:pt x="0" y="893"/>
                    <a:pt x="0" y="893"/>
                  </a:cubicBezTo>
                  <a:cubicBezTo>
                    <a:pt x="0" y="938"/>
                    <a:pt x="36" y="975"/>
                    <a:pt x="82" y="975"/>
                  </a:cubicBezTo>
                  <a:cubicBezTo>
                    <a:pt x="104" y="975"/>
                    <a:pt x="125" y="966"/>
                    <a:pt x="140" y="951"/>
                  </a:cubicBezTo>
                  <a:cubicBezTo>
                    <a:pt x="171" y="932"/>
                    <a:pt x="207" y="921"/>
                    <a:pt x="246" y="921"/>
                  </a:cubicBezTo>
                  <a:cubicBezTo>
                    <a:pt x="357" y="921"/>
                    <a:pt x="447" y="1011"/>
                    <a:pt x="447" y="1122"/>
                  </a:cubicBezTo>
                  <a:cubicBezTo>
                    <a:pt x="447" y="1233"/>
                    <a:pt x="357" y="1323"/>
                    <a:pt x="246" y="1323"/>
                  </a:cubicBezTo>
                  <a:cubicBezTo>
                    <a:pt x="205" y="1323"/>
                    <a:pt x="167" y="1311"/>
                    <a:pt x="135" y="1290"/>
                  </a:cubicBezTo>
                  <a:cubicBezTo>
                    <a:pt x="121" y="1277"/>
                    <a:pt x="102" y="1270"/>
                    <a:pt x="82" y="1270"/>
                  </a:cubicBezTo>
                  <a:cubicBezTo>
                    <a:pt x="42" y="1270"/>
                    <a:pt x="9" y="1298"/>
                    <a:pt x="1" y="1336"/>
                  </a:cubicBezTo>
                  <a:cubicBezTo>
                    <a:pt x="0" y="1341"/>
                    <a:pt x="0" y="1346"/>
                    <a:pt x="0" y="1352"/>
                  </a:cubicBezTo>
                  <a:cubicBezTo>
                    <a:pt x="0" y="1798"/>
                    <a:pt x="0" y="1798"/>
                    <a:pt x="0" y="1798"/>
                  </a:cubicBezTo>
                  <a:cubicBezTo>
                    <a:pt x="446" y="1798"/>
                    <a:pt x="446" y="1798"/>
                    <a:pt x="446" y="1798"/>
                  </a:cubicBezTo>
                  <a:cubicBezTo>
                    <a:pt x="451" y="1798"/>
                    <a:pt x="457" y="1799"/>
                    <a:pt x="462" y="1800"/>
                  </a:cubicBezTo>
                  <a:cubicBezTo>
                    <a:pt x="500" y="1807"/>
                    <a:pt x="528" y="1840"/>
                    <a:pt x="528" y="1880"/>
                  </a:cubicBezTo>
                  <a:cubicBezTo>
                    <a:pt x="528" y="1901"/>
                    <a:pt x="520" y="1919"/>
                    <a:pt x="508" y="1934"/>
                  </a:cubicBezTo>
                  <a:cubicBezTo>
                    <a:pt x="487" y="1965"/>
                    <a:pt x="475" y="2004"/>
                    <a:pt x="475" y="2045"/>
                  </a:cubicBezTo>
                  <a:cubicBezTo>
                    <a:pt x="475" y="2156"/>
                    <a:pt x="565" y="2246"/>
                    <a:pt x="676" y="2246"/>
                  </a:cubicBezTo>
                  <a:cubicBezTo>
                    <a:pt x="787" y="2246"/>
                    <a:pt x="877" y="2156"/>
                    <a:pt x="877" y="204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19050" prstMaterial="matte">
              <a:bevelT w="63500" h="25400" prst="artDeco"/>
              <a:contourClr>
                <a:srgbClr val="FFFFFF"/>
              </a:contourClr>
            </a:sp3d>
          </p:spPr>
          <p:txBody>
            <a:bodyPr vert="vert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22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6200000">
                      <a:prstClr val="black">
                        <a:alpha val="50000"/>
                      </a:prstClr>
                    </a:innerShdw>
                  </a:effectLst>
                  <a:cs typeface="Arial" charset="0"/>
                </a:rPr>
                <a:t>Promotion</a:t>
              </a:r>
            </a:p>
          </p:txBody>
        </p:sp>
        <p:sp>
          <p:nvSpPr>
            <p:cNvPr id="19" name="_color1"/>
            <p:cNvSpPr>
              <a:spLocks/>
            </p:cNvSpPr>
            <p:nvPr/>
          </p:nvSpPr>
          <p:spPr bwMode="gray">
            <a:xfrm rot="18900000">
              <a:off x="5949672" y="1798491"/>
              <a:ext cx="1261623" cy="1676157"/>
            </a:xfrm>
            <a:custGeom>
              <a:avLst/>
              <a:gdLst/>
              <a:ahLst/>
              <a:cxnLst>
                <a:cxn ang="0">
                  <a:pos x="0" y="1798"/>
                </a:cxn>
                <a:cxn ang="0">
                  <a:pos x="446" y="1798"/>
                </a:cxn>
                <a:cxn ang="0">
                  <a:pos x="446" y="1798"/>
                </a:cxn>
                <a:cxn ang="0">
                  <a:pos x="448" y="1798"/>
                </a:cxn>
                <a:cxn ang="0">
                  <a:pos x="530" y="1716"/>
                </a:cxn>
                <a:cxn ang="0">
                  <a:pos x="506" y="1658"/>
                </a:cxn>
                <a:cxn ang="0">
                  <a:pos x="475" y="1551"/>
                </a:cxn>
                <a:cxn ang="0">
                  <a:pos x="676" y="1350"/>
                </a:cxn>
                <a:cxn ang="0">
                  <a:pos x="878" y="1551"/>
                </a:cxn>
                <a:cxn ang="0">
                  <a:pos x="844" y="1662"/>
                </a:cxn>
                <a:cxn ang="0">
                  <a:pos x="825" y="1716"/>
                </a:cxn>
                <a:cxn ang="0">
                  <a:pos x="890" y="1796"/>
                </a:cxn>
                <a:cxn ang="0">
                  <a:pos x="907" y="1798"/>
                </a:cxn>
                <a:cxn ang="0">
                  <a:pos x="1353" y="1798"/>
                </a:cxn>
                <a:cxn ang="0">
                  <a:pos x="1353" y="1354"/>
                </a:cxn>
                <a:cxn ang="0">
                  <a:pos x="1353" y="1354"/>
                </a:cxn>
                <a:cxn ang="0">
                  <a:pos x="1353" y="1352"/>
                </a:cxn>
                <a:cxn ang="0">
                  <a:pos x="1271" y="1270"/>
                </a:cxn>
                <a:cxn ang="0">
                  <a:pos x="1213" y="1294"/>
                </a:cxn>
                <a:cxn ang="0">
                  <a:pos x="1106" y="1325"/>
                </a:cxn>
                <a:cxn ang="0">
                  <a:pos x="905" y="1123"/>
                </a:cxn>
                <a:cxn ang="0">
                  <a:pos x="1106" y="922"/>
                </a:cxn>
                <a:cxn ang="0">
                  <a:pos x="1217" y="955"/>
                </a:cxn>
                <a:cxn ang="0">
                  <a:pos x="1271" y="975"/>
                </a:cxn>
                <a:cxn ang="0">
                  <a:pos x="1351" y="910"/>
                </a:cxn>
                <a:cxn ang="0">
                  <a:pos x="1353" y="893"/>
                </a:cxn>
                <a:cxn ang="0">
                  <a:pos x="1353" y="447"/>
                </a:cxn>
                <a:cxn ang="0">
                  <a:pos x="907" y="447"/>
                </a:cxn>
                <a:cxn ang="0">
                  <a:pos x="893" y="446"/>
                </a:cxn>
                <a:cxn ang="0">
                  <a:pos x="890" y="446"/>
                </a:cxn>
                <a:cxn ang="0">
                  <a:pos x="825" y="365"/>
                </a:cxn>
                <a:cxn ang="0">
                  <a:pos x="844" y="312"/>
                </a:cxn>
                <a:cxn ang="0">
                  <a:pos x="878" y="201"/>
                </a:cxn>
                <a:cxn ang="0">
                  <a:pos x="676" y="0"/>
                </a:cxn>
                <a:cxn ang="0">
                  <a:pos x="475" y="201"/>
                </a:cxn>
                <a:cxn ang="0">
                  <a:pos x="506" y="307"/>
                </a:cxn>
                <a:cxn ang="0">
                  <a:pos x="530" y="365"/>
                </a:cxn>
                <a:cxn ang="0">
                  <a:pos x="461" y="446"/>
                </a:cxn>
                <a:cxn ang="0">
                  <a:pos x="448" y="447"/>
                </a:cxn>
                <a:cxn ang="0">
                  <a:pos x="446" y="447"/>
                </a:cxn>
                <a:cxn ang="0">
                  <a:pos x="446" y="447"/>
                </a:cxn>
                <a:cxn ang="0">
                  <a:pos x="0" y="447"/>
                </a:cxn>
                <a:cxn ang="0">
                  <a:pos x="0" y="891"/>
                </a:cxn>
                <a:cxn ang="0">
                  <a:pos x="0" y="891"/>
                </a:cxn>
                <a:cxn ang="0">
                  <a:pos x="0" y="892"/>
                </a:cxn>
                <a:cxn ang="0">
                  <a:pos x="82" y="975"/>
                </a:cxn>
                <a:cxn ang="0">
                  <a:pos x="140" y="950"/>
                </a:cxn>
                <a:cxn ang="0">
                  <a:pos x="247" y="920"/>
                </a:cxn>
                <a:cxn ang="0">
                  <a:pos x="448" y="1121"/>
                </a:cxn>
                <a:cxn ang="0">
                  <a:pos x="247" y="1323"/>
                </a:cxn>
                <a:cxn ang="0">
                  <a:pos x="136" y="1289"/>
                </a:cxn>
                <a:cxn ang="0">
                  <a:pos x="82" y="1269"/>
                </a:cxn>
                <a:cxn ang="0">
                  <a:pos x="2" y="1335"/>
                </a:cxn>
                <a:cxn ang="0">
                  <a:pos x="0" y="1352"/>
                </a:cxn>
                <a:cxn ang="0">
                  <a:pos x="0" y="1798"/>
                </a:cxn>
              </a:cxnLst>
              <a:rect l="0" t="0" r="r" b="b"/>
              <a:pathLst>
                <a:path w="1353" h="1798">
                  <a:moveTo>
                    <a:pt x="0" y="1798"/>
                  </a:moveTo>
                  <a:cubicBezTo>
                    <a:pt x="446" y="1798"/>
                    <a:pt x="446" y="1798"/>
                    <a:pt x="446" y="1798"/>
                  </a:cubicBezTo>
                  <a:cubicBezTo>
                    <a:pt x="446" y="1798"/>
                    <a:pt x="446" y="1798"/>
                    <a:pt x="446" y="1798"/>
                  </a:cubicBezTo>
                  <a:cubicBezTo>
                    <a:pt x="447" y="1798"/>
                    <a:pt x="447" y="1798"/>
                    <a:pt x="448" y="1798"/>
                  </a:cubicBezTo>
                  <a:cubicBezTo>
                    <a:pt x="493" y="1798"/>
                    <a:pt x="530" y="1761"/>
                    <a:pt x="530" y="1716"/>
                  </a:cubicBezTo>
                  <a:cubicBezTo>
                    <a:pt x="530" y="1693"/>
                    <a:pt x="520" y="1672"/>
                    <a:pt x="506" y="1658"/>
                  </a:cubicBezTo>
                  <a:cubicBezTo>
                    <a:pt x="486" y="1627"/>
                    <a:pt x="475" y="1590"/>
                    <a:pt x="475" y="1551"/>
                  </a:cubicBezTo>
                  <a:cubicBezTo>
                    <a:pt x="475" y="1440"/>
                    <a:pt x="565" y="1350"/>
                    <a:pt x="676" y="1350"/>
                  </a:cubicBezTo>
                  <a:cubicBezTo>
                    <a:pt x="788" y="1350"/>
                    <a:pt x="878" y="1440"/>
                    <a:pt x="878" y="1551"/>
                  </a:cubicBezTo>
                  <a:cubicBezTo>
                    <a:pt x="878" y="1592"/>
                    <a:pt x="866" y="1630"/>
                    <a:pt x="844" y="1662"/>
                  </a:cubicBezTo>
                  <a:cubicBezTo>
                    <a:pt x="832" y="1676"/>
                    <a:pt x="825" y="1695"/>
                    <a:pt x="825" y="1716"/>
                  </a:cubicBezTo>
                  <a:cubicBezTo>
                    <a:pt x="825" y="1755"/>
                    <a:pt x="853" y="1789"/>
                    <a:pt x="890" y="1796"/>
                  </a:cubicBezTo>
                  <a:cubicBezTo>
                    <a:pt x="896" y="1797"/>
                    <a:pt x="901" y="1798"/>
                    <a:pt x="907" y="1798"/>
                  </a:cubicBezTo>
                  <a:cubicBezTo>
                    <a:pt x="1353" y="1798"/>
                    <a:pt x="1353" y="1798"/>
                    <a:pt x="1353" y="1798"/>
                  </a:cubicBezTo>
                  <a:cubicBezTo>
                    <a:pt x="1353" y="1354"/>
                    <a:pt x="1353" y="1354"/>
                    <a:pt x="1353" y="1354"/>
                  </a:cubicBezTo>
                  <a:cubicBezTo>
                    <a:pt x="1353" y="1354"/>
                    <a:pt x="1353" y="1354"/>
                    <a:pt x="1353" y="1354"/>
                  </a:cubicBezTo>
                  <a:cubicBezTo>
                    <a:pt x="1353" y="1353"/>
                    <a:pt x="1353" y="1353"/>
                    <a:pt x="1353" y="1352"/>
                  </a:cubicBezTo>
                  <a:cubicBezTo>
                    <a:pt x="1353" y="1307"/>
                    <a:pt x="1316" y="1270"/>
                    <a:pt x="1271" y="1270"/>
                  </a:cubicBezTo>
                  <a:cubicBezTo>
                    <a:pt x="1248" y="1270"/>
                    <a:pt x="1228" y="1280"/>
                    <a:pt x="1213" y="1294"/>
                  </a:cubicBezTo>
                  <a:cubicBezTo>
                    <a:pt x="1182" y="1314"/>
                    <a:pt x="1145" y="1325"/>
                    <a:pt x="1106" y="1325"/>
                  </a:cubicBezTo>
                  <a:cubicBezTo>
                    <a:pt x="995" y="1325"/>
                    <a:pt x="905" y="1235"/>
                    <a:pt x="905" y="1123"/>
                  </a:cubicBezTo>
                  <a:cubicBezTo>
                    <a:pt x="905" y="1012"/>
                    <a:pt x="995" y="922"/>
                    <a:pt x="1106" y="922"/>
                  </a:cubicBezTo>
                  <a:cubicBezTo>
                    <a:pt x="1147" y="922"/>
                    <a:pt x="1185" y="934"/>
                    <a:pt x="1217" y="955"/>
                  </a:cubicBezTo>
                  <a:cubicBezTo>
                    <a:pt x="1232" y="968"/>
                    <a:pt x="1250" y="975"/>
                    <a:pt x="1271" y="975"/>
                  </a:cubicBezTo>
                  <a:cubicBezTo>
                    <a:pt x="1310" y="975"/>
                    <a:pt x="1344" y="947"/>
                    <a:pt x="1351" y="910"/>
                  </a:cubicBezTo>
                  <a:cubicBezTo>
                    <a:pt x="1352" y="904"/>
                    <a:pt x="1353" y="899"/>
                    <a:pt x="1353" y="893"/>
                  </a:cubicBezTo>
                  <a:cubicBezTo>
                    <a:pt x="1353" y="447"/>
                    <a:pt x="1353" y="447"/>
                    <a:pt x="1353" y="447"/>
                  </a:cubicBezTo>
                  <a:cubicBezTo>
                    <a:pt x="907" y="447"/>
                    <a:pt x="907" y="447"/>
                    <a:pt x="907" y="447"/>
                  </a:cubicBezTo>
                  <a:cubicBezTo>
                    <a:pt x="902" y="447"/>
                    <a:pt x="898" y="447"/>
                    <a:pt x="893" y="446"/>
                  </a:cubicBezTo>
                  <a:cubicBezTo>
                    <a:pt x="892" y="446"/>
                    <a:pt x="891" y="446"/>
                    <a:pt x="890" y="446"/>
                  </a:cubicBezTo>
                  <a:cubicBezTo>
                    <a:pt x="853" y="438"/>
                    <a:pt x="825" y="405"/>
                    <a:pt x="825" y="365"/>
                  </a:cubicBezTo>
                  <a:cubicBezTo>
                    <a:pt x="825" y="345"/>
                    <a:pt x="832" y="326"/>
                    <a:pt x="844" y="312"/>
                  </a:cubicBezTo>
                  <a:cubicBezTo>
                    <a:pt x="866" y="280"/>
                    <a:pt x="878" y="242"/>
                    <a:pt x="878" y="201"/>
                  </a:cubicBezTo>
                  <a:cubicBezTo>
                    <a:pt x="878" y="90"/>
                    <a:pt x="788" y="0"/>
                    <a:pt x="676" y="0"/>
                  </a:cubicBezTo>
                  <a:cubicBezTo>
                    <a:pt x="565" y="0"/>
                    <a:pt x="475" y="90"/>
                    <a:pt x="475" y="201"/>
                  </a:cubicBezTo>
                  <a:cubicBezTo>
                    <a:pt x="475" y="240"/>
                    <a:pt x="486" y="276"/>
                    <a:pt x="506" y="307"/>
                  </a:cubicBezTo>
                  <a:cubicBezTo>
                    <a:pt x="520" y="322"/>
                    <a:pt x="530" y="343"/>
                    <a:pt x="530" y="365"/>
                  </a:cubicBezTo>
                  <a:cubicBezTo>
                    <a:pt x="530" y="406"/>
                    <a:pt x="500" y="440"/>
                    <a:pt x="461" y="446"/>
                  </a:cubicBezTo>
                  <a:cubicBezTo>
                    <a:pt x="456" y="447"/>
                    <a:pt x="452" y="447"/>
                    <a:pt x="448" y="447"/>
                  </a:cubicBezTo>
                  <a:cubicBezTo>
                    <a:pt x="447" y="447"/>
                    <a:pt x="447" y="447"/>
                    <a:pt x="446" y="447"/>
                  </a:cubicBezTo>
                  <a:cubicBezTo>
                    <a:pt x="446" y="447"/>
                    <a:pt x="446" y="447"/>
                    <a:pt x="446" y="447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0" y="891"/>
                    <a:pt x="0" y="891"/>
                    <a:pt x="0" y="891"/>
                  </a:cubicBezTo>
                  <a:cubicBezTo>
                    <a:pt x="0" y="891"/>
                    <a:pt x="0" y="891"/>
                    <a:pt x="0" y="891"/>
                  </a:cubicBezTo>
                  <a:cubicBezTo>
                    <a:pt x="0" y="892"/>
                    <a:pt x="0" y="892"/>
                    <a:pt x="0" y="892"/>
                  </a:cubicBezTo>
                  <a:cubicBezTo>
                    <a:pt x="0" y="938"/>
                    <a:pt x="37" y="975"/>
                    <a:pt x="82" y="975"/>
                  </a:cubicBezTo>
                  <a:cubicBezTo>
                    <a:pt x="105" y="975"/>
                    <a:pt x="125" y="965"/>
                    <a:pt x="140" y="950"/>
                  </a:cubicBezTo>
                  <a:cubicBezTo>
                    <a:pt x="171" y="931"/>
                    <a:pt x="208" y="920"/>
                    <a:pt x="247" y="920"/>
                  </a:cubicBezTo>
                  <a:cubicBezTo>
                    <a:pt x="358" y="920"/>
                    <a:pt x="448" y="1010"/>
                    <a:pt x="448" y="1121"/>
                  </a:cubicBezTo>
                  <a:cubicBezTo>
                    <a:pt x="448" y="1233"/>
                    <a:pt x="358" y="1323"/>
                    <a:pt x="247" y="1323"/>
                  </a:cubicBezTo>
                  <a:cubicBezTo>
                    <a:pt x="206" y="1323"/>
                    <a:pt x="168" y="1310"/>
                    <a:pt x="136" y="1289"/>
                  </a:cubicBezTo>
                  <a:cubicBezTo>
                    <a:pt x="121" y="1277"/>
                    <a:pt x="103" y="1269"/>
                    <a:pt x="82" y="1269"/>
                  </a:cubicBezTo>
                  <a:cubicBezTo>
                    <a:pt x="43" y="1269"/>
                    <a:pt x="9" y="1298"/>
                    <a:pt x="2" y="1335"/>
                  </a:cubicBezTo>
                  <a:cubicBezTo>
                    <a:pt x="1" y="1341"/>
                    <a:pt x="0" y="1346"/>
                    <a:pt x="0" y="1352"/>
                  </a:cubicBezTo>
                  <a:cubicBezTo>
                    <a:pt x="0" y="1798"/>
                    <a:pt x="0" y="1798"/>
                    <a:pt x="0" y="179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19050" prstMaterial="matte">
              <a:bevelT w="63500" h="25400" prst="artDeco"/>
              <a:contourClr>
                <a:srgbClr val="FFFFFF"/>
              </a:contourClr>
            </a:sp3d>
          </p:spPr>
          <p:txBody>
            <a:bodyPr vert="vert"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22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6200000">
                      <a:prstClr val="black">
                        <a:alpha val="50000"/>
                      </a:prstClr>
                    </a:innerShdw>
                  </a:effectLst>
                  <a:cs typeface="Arial" charset="0"/>
                </a:rPr>
                <a:t>Price</a:t>
              </a:r>
              <a:endParaRPr lang="en-US" sz="22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  <p:sp>
          <p:nvSpPr>
            <p:cNvPr id="18" name="_color1"/>
            <p:cNvSpPr>
              <a:spLocks/>
            </p:cNvSpPr>
            <p:nvPr/>
          </p:nvSpPr>
          <p:spPr bwMode="gray">
            <a:xfrm rot="18900000">
              <a:off x="4787343" y="3044420"/>
              <a:ext cx="2095196" cy="1261623"/>
            </a:xfrm>
            <a:custGeom>
              <a:avLst/>
              <a:gdLst/>
              <a:ahLst/>
              <a:cxnLst>
                <a:cxn ang="0">
                  <a:pos x="2045" y="475"/>
                </a:cxn>
                <a:cxn ang="0">
                  <a:pos x="1938" y="505"/>
                </a:cxn>
                <a:cxn ang="0">
                  <a:pos x="1880" y="530"/>
                </a:cxn>
                <a:cxn ang="0">
                  <a:pos x="1798" y="447"/>
                </a:cxn>
                <a:cxn ang="0">
                  <a:pos x="1798" y="446"/>
                </a:cxn>
                <a:cxn ang="0">
                  <a:pos x="1798" y="446"/>
                </a:cxn>
                <a:cxn ang="0">
                  <a:pos x="1798" y="0"/>
                </a:cxn>
                <a:cxn ang="0">
                  <a:pos x="1354" y="0"/>
                </a:cxn>
                <a:cxn ang="0">
                  <a:pos x="1354" y="0"/>
                </a:cxn>
                <a:cxn ang="0">
                  <a:pos x="1353" y="0"/>
                </a:cxn>
                <a:cxn ang="0">
                  <a:pos x="1271" y="82"/>
                </a:cxn>
                <a:cxn ang="0">
                  <a:pos x="1295" y="140"/>
                </a:cxn>
                <a:cxn ang="0">
                  <a:pos x="1325" y="247"/>
                </a:cxn>
                <a:cxn ang="0">
                  <a:pos x="1124" y="448"/>
                </a:cxn>
                <a:cxn ang="0">
                  <a:pos x="923" y="247"/>
                </a:cxn>
                <a:cxn ang="0">
                  <a:pos x="956" y="136"/>
                </a:cxn>
                <a:cxn ang="0">
                  <a:pos x="976" y="82"/>
                </a:cxn>
                <a:cxn ang="0">
                  <a:pos x="910" y="2"/>
                </a:cxn>
                <a:cxn ang="0">
                  <a:pos x="894" y="0"/>
                </a:cxn>
                <a:cxn ang="0">
                  <a:pos x="448" y="0"/>
                </a:cxn>
                <a:cxn ang="0">
                  <a:pos x="448" y="446"/>
                </a:cxn>
                <a:cxn ang="0">
                  <a:pos x="447" y="459"/>
                </a:cxn>
                <a:cxn ang="0">
                  <a:pos x="446" y="463"/>
                </a:cxn>
                <a:cxn ang="0">
                  <a:pos x="366" y="528"/>
                </a:cxn>
                <a:cxn ang="0">
                  <a:pos x="312" y="508"/>
                </a:cxn>
                <a:cxn ang="0">
                  <a:pos x="201" y="475"/>
                </a:cxn>
                <a:cxn ang="0">
                  <a:pos x="0" y="676"/>
                </a:cxn>
                <a:cxn ang="0">
                  <a:pos x="201" y="878"/>
                </a:cxn>
                <a:cxn ang="0">
                  <a:pos x="308" y="847"/>
                </a:cxn>
                <a:cxn ang="0">
                  <a:pos x="366" y="823"/>
                </a:cxn>
                <a:cxn ang="0">
                  <a:pos x="447" y="892"/>
                </a:cxn>
                <a:cxn ang="0">
                  <a:pos x="448" y="905"/>
                </a:cxn>
                <a:cxn ang="0">
                  <a:pos x="448" y="906"/>
                </a:cxn>
                <a:cxn ang="0">
                  <a:pos x="448" y="906"/>
                </a:cxn>
                <a:cxn ang="0">
                  <a:pos x="448" y="1353"/>
                </a:cxn>
                <a:cxn ang="0">
                  <a:pos x="892" y="1353"/>
                </a:cxn>
                <a:cxn ang="0">
                  <a:pos x="892" y="1353"/>
                </a:cxn>
                <a:cxn ang="0">
                  <a:pos x="893" y="1353"/>
                </a:cxn>
                <a:cxn ang="0">
                  <a:pos x="975" y="1271"/>
                </a:cxn>
                <a:cxn ang="0">
                  <a:pos x="951" y="1213"/>
                </a:cxn>
                <a:cxn ang="0">
                  <a:pos x="921" y="1106"/>
                </a:cxn>
                <a:cxn ang="0">
                  <a:pos x="1122" y="905"/>
                </a:cxn>
                <a:cxn ang="0">
                  <a:pos x="1323" y="1106"/>
                </a:cxn>
                <a:cxn ang="0">
                  <a:pos x="1290" y="1217"/>
                </a:cxn>
                <a:cxn ang="0">
                  <a:pos x="1270" y="1271"/>
                </a:cxn>
                <a:cxn ang="0">
                  <a:pos x="1336" y="1351"/>
                </a:cxn>
                <a:cxn ang="0">
                  <a:pos x="1352" y="1353"/>
                </a:cxn>
                <a:cxn ang="0">
                  <a:pos x="1798" y="1353"/>
                </a:cxn>
                <a:cxn ang="0">
                  <a:pos x="1798" y="907"/>
                </a:cxn>
                <a:cxn ang="0">
                  <a:pos x="1800" y="890"/>
                </a:cxn>
                <a:cxn ang="0">
                  <a:pos x="1880" y="824"/>
                </a:cxn>
                <a:cxn ang="0">
                  <a:pos x="1934" y="844"/>
                </a:cxn>
                <a:cxn ang="0">
                  <a:pos x="2045" y="878"/>
                </a:cxn>
                <a:cxn ang="0">
                  <a:pos x="2246" y="676"/>
                </a:cxn>
                <a:cxn ang="0">
                  <a:pos x="2045" y="475"/>
                </a:cxn>
              </a:cxnLst>
              <a:rect l="0" t="0" r="r" b="b"/>
              <a:pathLst>
                <a:path w="2246" h="1353">
                  <a:moveTo>
                    <a:pt x="2045" y="475"/>
                  </a:moveTo>
                  <a:cubicBezTo>
                    <a:pt x="2006" y="475"/>
                    <a:pt x="1969" y="486"/>
                    <a:pt x="1938" y="505"/>
                  </a:cubicBezTo>
                  <a:cubicBezTo>
                    <a:pt x="1923" y="520"/>
                    <a:pt x="1903" y="530"/>
                    <a:pt x="1880" y="530"/>
                  </a:cubicBezTo>
                  <a:cubicBezTo>
                    <a:pt x="1835" y="530"/>
                    <a:pt x="1798" y="493"/>
                    <a:pt x="1798" y="447"/>
                  </a:cubicBezTo>
                  <a:cubicBezTo>
                    <a:pt x="1798" y="447"/>
                    <a:pt x="1798" y="447"/>
                    <a:pt x="1798" y="446"/>
                  </a:cubicBezTo>
                  <a:cubicBezTo>
                    <a:pt x="1798" y="446"/>
                    <a:pt x="1798" y="446"/>
                    <a:pt x="1798" y="446"/>
                  </a:cubicBezTo>
                  <a:cubicBezTo>
                    <a:pt x="1798" y="0"/>
                    <a:pt x="1798" y="0"/>
                    <a:pt x="1798" y="0"/>
                  </a:cubicBezTo>
                  <a:cubicBezTo>
                    <a:pt x="1354" y="0"/>
                    <a:pt x="1354" y="0"/>
                    <a:pt x="1354" y="0"/>
                  </a:cubicBezTo>
                  <a:cubicBezTo>
                    <a:pt x="1354" y="0"/>
                    <a:pt x="1354" y="0"/>
                    <a:pt x="1354" y="0"/>
                  </a:cubicBezTo>
                  <a:cubicBezTo>
                    <a:pt x="1354" y="0"/>
                    <a:pt x="1353" y="0"/>
                    <a:pt x="1353" y="0"/>
                  </a:cubicBezTo>
                  <a:cubicBezTo>
                    <a:pt x="1308" y="0"/>
                    <a:pt x="1271" y="37"/>
                    <a:pt x="1271" y="82"/>
                  </a:cubicBezTo>
                  <a:cubicBezTo>
                    <a:pt x="1271" y="105"/>
                    <a:pt x="1280" y="125"/>
                    <a:pt x="1295" y="140"/>
                  </a:cubicBezTo>
                  <a:cubicBezTo>
                    <a:pt x="1314" y="171"/>
                    <a:pt x="1325" y="208"/>
                    <a:pt x="1325" y="247"/>
                  </a:cubicBezTo>
                  <a:cubicBezTo>
                    <a:pt x="1325" y="358"/>
                    <a:pt x="1235" y="448"/>
                    <a:pt x="1124" y="448"/>
                  </a:cubicBezTo>
                  <a:cubicBezTo>
                    <a:pt x="1013" y="448"/>
                    <a:pt x="923" y="358"/>
                    <a:pt x="923" y="247"/>
                  </a:cubicBezTo>
                  <a:cubicBezTo>
                    <a:pt x="923" y="206"/>
                    <a:pt x="935" y="168"/>
                    <a:pt x="956" y="136"/>
                  </a:cubicBezTo>
                  <a:cubicBezTo>
                    <a:pt x="968" y="121"/>
                    <a:pt x="976" y="103"/>
                    <a:pt x="976" y="82"/>
                  </a:cubicBezTo>
                  <a:cubicBezTo>
                    <a:pt x="976" y="42"/>
                    <a:pt x="948" y="9"/>
                    <a:pt x="910" y="2"/>
                  </a:cubicBezTo>
                  <a:cubicBezTo>
                    <a:pt x="905" y="1"/>
                    <a:pt x="900" y="0"/>
                    <a:pt x="894" y="0"/>
                  </a:cubicBezTo>
                  <a:cubicBezTo>
                    <a:pt x="448" y="0"/>
                    <a:pt x="448" y="0"/>
                    <a:pt x="448" y="0"/>
                  </a:cubicBezTo>
                  <a:cubicBezTo>
                    <a:pt x="448" y="446"/>
                    <a:pt x="448" y="446"/>
                    <a:pt x="448" y="446"/>
                  </a:cubicBezTo>
                  <a:cubicBezTo>
                    <a:pt x="448" y="451"/>
                    <a:pt x="447" y="455"/>
                    <a:pt x="447" y="459"/>
                  </a:cubicBezTo>
                  <a:cubicBezTo>
                    <a:pt x="446" y="461"/>
                    <a:pt x="446" y="462"/>
                    <a:pt x="446" y="463"/>
                  </a:cubicBezTo>
                  <a:cubicBezTo>
                    <a:pt x="439" y="500"/>
                    <a:pt x="405" y="528"/>
                    <a:pt x="366" y="528"/>
                  </a:cubicBezTo>
                  <a:cubicBezTo>
                    <a:pt x="345" y="528"/>
                    <a:pt x="327" y="521"/>
                    <a:pt x="312" y="508"/>
                  </a:cubicBezTo>
                  <a:cubicBezTo>
                    <a:pt x="280" y="487"/>
                    <a:pt x="242" y="475"/>
                    <a:pt x="201" y="475"/>
                  </a:cubicBezTo>
                  <a:cubicBezTo>
                    <a:pt x="90" y="475"/>
                    <a:pt x="0" y="565"/>
                    <a:pt x="0" y="676"/>
                  </a:cubicBezTo>
                  <a:cubicBezTo>
                    <a:pt x="0" y="788"/>
                    <a:pt x="90" y="878"/>
                    <a:pt x="201" y="878"/>
                  </a:cubicBezTo>
                  <a:cubicBezTo>
                    <a:pt x="240" y="878"/>
                    <a:pt x="277" y="867"/>
                    <a:pt x="308" y="847"/>
                  </a:cubicBezTo>
                  <a:cubicBezTo>
                    <a:pt x="323" y="832"/>
                    <a:pt x="343" y="823"/>
                    <a:pt x="366" y="823"/>
                  </a:cubicBezTo>
                  <a:cubicBezTo>
                    <a:pt x="407" y="823"/>
                    <a:pt x="440" y="853"/>
                    <a:pt x="447" y="892"/>
                  </a:cubicBezTo>
                  <a:cubicBezTo>
                    <a:pt x="447" y="896"/>
                    <a:pt x="448" y="901"/>
                    <a:pt x="448" y="905"/>
                  </a:cubicBezTo>
                  <a:cubicBezTo>
                    <a:pt x="448" y="906"/>
                    <a:pt x="448" y="906"/>
                    <a:pt x="448" y="906"/>
                  </a:cubicBezTo>
                  <a:cubicBezTo>
                    <a:pt x="448" y="906"/>
                    <a:pt x="448" y="906"/>
                    <a:pt x="448" y="906"/>
                  </a:cubicBezTo>
                  <a:cubicBezTo>
                    <a:pt x="448" y="1353"/>
                    <a:pt x="448" y="1353"/>
                    <a:pt x="448" y="1353"/>
                  </a:cubicBezTo>
                  <a:cubicBezTo>
                    <a:pt x="892" y="1353"/>
                    <a:pt x="892" y="1353"/>
                    <a:pt x="892" y="1353"/>
                  </a:cubicBezTo>
                  <a:cubicBezTo>
                    <a:pt x="892" y="1353"/>
                    <a:pt x="892" y="1353"/>
                    <a:pt x="892" y="1353"/>
                  </a:cubicBezTo>
                  <a:cubicBezTo>
                    <a:pt x="892" y="1353"/>
                    <a:pt x="893" y="1353"/>
                    <a:pt x="893" y="1353"/>
                  </a:cubicBezTo>
                  <a:cubicBezTo>
                    <a:pt x="938" y="1353"/>
                    <a:pt x="975" y="1316"/>
                    <a:pt x="975" y="1271"/>
                  </a:cubicBezTo>
                  <a:cubicBezTo>
                    <a:pt x="975" y="1248"/>
                    <a:pt x="966" y="1227"/>
                    <a:pt x="951" y="1213"/>
                  </a:cubicBezTo>
                  <a:cubicBezTo>
                    <a:pt x="932" y="1182"/>
                    <a:pt x="921" y="1145"/>
                    <a:pt x="921" y="1106"/>
                  </a:cubicBezTo>
                  <a:cubicBezTo>
                    <a:pt x="921" y="995"/>
                    <a:pt x="1011" y="905"/>
                    <a:pt x="1122" y="905"/>
                  </a:cubicBezTo>
                  <a:cubicBezTo>
                    <a:pt x="1233" y="905"/>
                    <a:pt x="1323" y="995"/>
                    <a:pt x="1323" y="1106"/>
                  </a:cubicBezTo>
                  <a:cubicBezTo>
                    <a:pt x="1323" y="1147"/>
                    <a:pt x="1311" y="1185"/>
                    <a:pt x="1290" y="1217"/>
                  </a:cubicBezTo>
                  <a:cubicBezTo>
                    <a:pt x="1278" y="1231"/>
                    <a:pt x="1270" y="1250"/>
                    <a:pt x="1270" y="1271"/>
                  </a:cubicBezTo>
                  <a:cubicBezTo>
                    <a:pt x="1270" y="1310"/>
                    <a:pt x="1298" y="1344"/>
                    <a:pt x="1336" y="1351"/>
                  </a:cubicBezTo>
                  <a:cubicBezTo>
                    <a:pt x="1341" y="1352"/>
                    <a:pt x="1347" y="1353"/>
                    <a:pt x="1352" y="1353"/>
                  </a:cubicBezTo>
                  <a:cubicBezTo>
                    <a:pt x="1798" y="1353"/>
                    <a:pt x="1798" y="1353"/>
                    <a:pt x="1798" y="1353"/>
                  </a:cubicBezTo>
                  <a:cubicBezTo>
                    <a:pt x="1798" y="907"/>
                    <a:pt x="1798" y="907"/>
                    <a:pt x="1798" y="907"/>
                  </a:cubicBezTo>
                  <a:cubicBezTo>
                    <a:pt x="1798" y="901"/>
                    <a:pt x="1799" y="896"/>
                    <a:pt x="1800" y="890"/>
                  </a:cubicBezTo>
                  <a:cubicBezTo>
                    <a:pt x="1807" y="853"/>
                    <a:pt x="1841" y="824"/>
                    <a:pt x="1880" y="824"/>
                  </a:cubicBezTo>
                  <a:cubicBezTo>
                    <a:pt x="1901" y="824"/>
                    <a:pt x="1919" y="832"/>
                    <a:pt x="1934" y="844"/>
                  </a:cubicBezTo>
                  <a:cubicBezTo>
                    <a:pt x="1966" y="865"/>
                    <a:pt x="2004" y="878"/>
                    <a:pt x="2045" y="878"/>
                  </a:cubicBezTo>
                  <a:cubicBezTo>
                    <a:pt x="2156" y="878"/>
                    <a:pt x="2246" y="788"/>
                    <a:pt x="2246" y="676"/>
                  </a:cubicBezTo>
                  <a:cubicBezTo>
                    <a:pt x="2246" y="565"/>
                    <a:pt x="2156" y="475"/>
                    <a:pt x="2045" y="47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19050" prstMaterial="matte">
              <a:bevelT w="63500" h="25400" prst="artDeco"/>
              <a:contourClr>
                <a:srgbClr val="FFFFFF"/>
              </a:contourClr>
            </a:sp3d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2200" b="1" noProof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6200000">
                      <a:prstClr val="black">
                        <a:alpha val="50000"/>
                      </a:prstClr>
                    </a:innerShdw>
                  </a:effectLst>
                  <a:cs typeface="Arial" charset="0"/>
                </a:rPr>
                <a:t>Product</a:t>
              </a:r>
              <a:endParaRPr lang="en-US" sz="2200" b="1" noProof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396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1" smtClean="0"/>
              <a:t>Marketi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  <a:endParaRPr lang="en-US" noProof="1"/>
          </a:p>
        </p:txBody>
      </p:sp>
      <p:grpSp>
        <p:nvGrpSpPr>
          <p:cNvPr id="2" name="Gruppieren 40"/>
          <p:cNvGrpSpPr/>
          <p:nvPr/>
        </p:nvGrpSpPr>
        <p:grpSpPr bwMode="gray">
          <a:xfrm>
            <a:off x="324643" y="1903294"/>
            <a:ext cx="8495508" cy="3498361"/>
            <a:chOff x="944880" y="1903294"/>
            <a:chExt cx="7875270" cy="3498361"/>
          </a:xfrm>
        </p:grpSpPr>
        <p:cxnSp>
          <p:nvCxnSpPr>
            <p:cNvPr id="46" name="Gerade Verbindung 45"/>
            <p:cNvCxnSpPr/>
            <p:nvPr/>
          </p:nvCxnSpPr>
          <p:spPr bwMode="gray">
            <a:xfrm rot="5400000">
              <a:off x="7212765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47" name="Gerade Verbindung 46"/>
            <p:cNvCxnSpPr/>
            <p:nvPr/>
          </p:nvCxnSpPr>
          <p:spPr bwMode="gray">
            <a:xfrm rot="5400000">
              <a:off x="5637711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48" name="Gerade Verbindung 47"/>
            <p:cNvCxnSpPr/>
            <p:nvPr/>
          </p:nvCxnSpPr>
          <p:spPr bwMode="gray">
            <a:xfrm rot="5400000">
              <a:off x="4062657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49" name="Gerade Verbindung 48"/>
            <p:cNvCxnSpPr/>
            <p:nvPr/>
          </p:nvCxnSpPr>
          <p:spPr bwMode="gray">
            <a:xfrm rot="5400000">
              <a:off x="2487604" y="5369325"/>
              <a:ext cx="64660" cy="0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prstDash val="solid"/>
              <a:miter lim="800000"/>
              <a:headEnd/>
              <a:tailEnd/>
            </a:ln>
            <a:effectLst/>
          </p:spPr>
        </p:cxnSp>
        <p:cxnSp>
          <p:nvCxnSpPr>
            <p:cNvPr id="57" name="Gerade Verbindung mit Pfeil 56"/>
            <p:cNvCxnSpPr/>
            <p:nvPr/>
          </p:nvCxnSpPr>
          <p:spPr bwMode="gray">
            <a:xfrm>
              <a:off x="944880" y="5335450"/>
              <a:ext cx="7875270" cy="0"/>
            </a:xfrm>
            <a:prstGeom prst="straightConnector1">
              <a:avLst/>
            </a:prstGeom>
            <a:noFill/>
            <a:ln w="28575">
              <a:solidFill>
                <a:srgbClr val="969696"/>
              </a:solidFill>
              <a:prstDash val="solid"/>
              <a:round/>
              <a:headEnd type="none" w="lg" len="lg"/>
              <a:tailEnd type="triangle" w="lg" len="lg"/>
            </a:ln>
          </p:spPr>
        </p:cxnSp>
        <p:cxnSp>
          <p:nvCxnSpPr>
            <p:cNvPr id="58" name="Gerade Verbindung mit Pfeil 57"/>
            <p:cNvCxnSpPr/>
            <p:nvPr/>
          </p:nvCxnSpPr>
          <p:spPr bwMode="gray">
            <a:xfrm flipV="1">
              <a:off x="944880" y="1903294"/>
              <a:ext cx="0" cy="3435322"/>
            </a:xfrm>
            <a:prstGeom prst="straightConnector1">
              <a:avLst/>
            </a:prstGeom>
            <a:noFill/>
            <a:ln w="28575">
              <a:solidFill>
                <a:srgbClr val="969696"/>
              </a:solidFill>
              <a:prstDash val="solid"/>
              <a:round/>
              <a:headEnd type="none" w="lg" len="lg"/>
              <a:tailEnd type="triangle" w="lg" len="lg"/>
            </a:ln>
          </p:spPr>
        </p:cxnSp>
      </p:grpSp>
      <p:sp>
        <p:nvSpPr>
          <p:cNvPr id="87" name="Textfeld 86"/>
          <p:cNvSpPr txBox="1"/>
          <p:nvPr/>
        </p:nvSpPr>
        <p:spPr bwMode="gray">
          <a:xfrm>
            <a:off x="7135115" y="5661169"/>
            <a:ext cx="16850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ct val="30000"/>
              </a:spcAft>
            </a:pPr>
            <a:r>
              <a:rPr lang="de-DE" b="1" dirty="0" smtClean="0"/>
              <a:t>Time</a:t>
            </a:r>
            <a:endParaRPr lang="de-DE" b="1" dirty="0"/>
          </a:p>
        </p:txBody>
      </p:sp>
      <p:sp>
        <p:nvSpPr>
          <p:cNvPr id="88" name="Textfeld 87"/>
          <p:cNvSpPr txBox="1"/>
          <p:nvPr/>
        </p:nvSpPr>
        <p:spPr bwMode="gray">
          <a:xfrm>
            <a:off x="324643" y="1555751"/>
            <a:ext cx="16850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ct val="30000"/>
              </a:spcAft>
            </a:pPr>
            <a:r>
              <a:rPr lang="de-DE" b="1" dirty="0" smtClean="0"/>
              <a:t>Sales and Profit</a:t>
            </a:r>
          </a:p>
        </p:txBody>
      </p:sp>
      <p:grpSp>
        <p:nvGrpSpPr>
          <p:cNvPr id="3" name="Gruppieren 93"/>
          <p:cNvGrpSpPr/>
          <p:nvPr/>
        </p:nvGrpSpPr>
        <p:grpSpPr bwMode="gray">
          <a:xfrm>
            <a:off x="2023745" y="1916114"/>
            <a:ext cx="5097302" cy="3419336"/>
            <a:chOff x="2023745" y="1916114"/>
            <a:chExt cx="5097302" cy="3419336"/>
          </a:xfrm>
        </p:grpSpPr>
        <p:cxnSp>
          <p:nvCxnSpPr>
            <p:cNvPr id="90" name="Gerade Verbindung 89"/>
            <p:cNvCxnSpPr/>
            <p:nvPr/>
          </p:nvCxnSpPr>
          <p:spPr bwMode="gray">
            <a:xfrm flipV="1">
              <a:off x="2023745" y="1916114"/>
              <a:ext cx="0" cy="3419336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 type="none"/>
              <a:tailEnd type="none"/>
            </a:ln>
          </p:spPr>
        </p:cxnSp>
        <p:cxnSp>
          <p:nvCxnSpPr>
            <p:cNvPr id="91" name="Gerade Verbindung 90"/>
            <p:cNvCxnSpPr/>
            <p:nvPr/>
          </p:nvCxnSpPr>
          <p:spPr bwMode="gray">
            <a:xfrm flipV="1">
              <a:off x="3722845" y="1916114"/>
              <a:ext cx="0" cy="3419336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 type="none"/>
              <a:tailEnd type="none"/>
            </a:ln>
          </p:spPr>
        </p:cxnSp>
        <p:cxnSp>
          <p:nvCxnSpPr>
            <p:cNvPr id="92" name="Gerade Verbindung 91"/>
            <p:cNvCxnSpPr/>
            <p:nvPr/>
          </p:nvCxnSpPr>
          <p:spPr bwMode="gray">
            <a:xfrm flipV="1">
              <a:off x="5421946" y="1916114"/>
              <a:ext cx="0" cy="3419336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 type="none"/>
              <a:tailEnd type="none"/>
            </a:ln>
          </p:spPr>
        </p:cxnSp>
        <p:cxnSp>
          <p:nvCxnSpPr>
            <p:cNvPr id="93" name="Gerade Verbindung 92"/>
            <p:cNvCxnSpPr/>
            <p:nvPr/>
          </p:nvCxnSpPr>
          <p:spPr bwMode="gray">
            <a:xfrm flipV="1">
              <a:off x="7121047" y="1916114"/>
              <a:ext cx="0" cy="3419336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 type="none"/>
              <a:tailEnd type="none"/>
            </a:ln>
          </p:spPr>
        </p:cxnSp>
      </p:grpSp>
      <p:sp>
        <p:nvSpPr>
          <p:cNvPr id="103" name="Freihandform 102"/>
          <p:cNvSpPr/>
          <p:nvPr/>
        </p:nvSpPr>
        <p:spPr bwMode="gray">
          <a:xfrm>
            <a:off x="324643" y="2060353"/>
            <a:ext cx="8495507" cy="2556990"/>
          </a:xfrm>
          <a:custGeom>
            <a:avLst/>
            <a:gdLst>
              <a:gd name="connsiteX0" fmla="*/ 0 w 5743339"/>
              <a:gd name="connsiteY0" fmla="*/ 1826280 h 1838875"/>
              <a:gd name="connsiteX1" fmla="*/ 272053 w 5743339"/>
              <a:gd name="connsiteY1" fmla="*/ 1788495 h 1838875"/>
              <a:gd name="connsiteX2" fmla="*/ 544106 w 5743339"/>
              <a:gd name="connsiteY2" fmla="*/ 1652469 h 1838875"/>
              <a:gd name="connsiteX3" fmla="*/ 899286 w 5743339"/>
              <a:gd name="connsiteY3" fmla="*/ 1342631 h 1838875"/>
              <a:gd name="connsiteX4" fmla="*/ 1299809 w 5743339"/>
              <a:gd name="connsiteY4" fmla="*/ 911880 h 1838875"/>
              <a:gd name="connsiteX5" fmla="*/ 1602090 w 5743339"/>
              <a:gd name="connsiteY5" fmla="*/ 586928 h 1838875"/>
              <a:gd name="connsiteX6" fmla="*/ 1904371 w 5743339"/>
              <a:gd name="connsiteY6" fmla="*/ 314876 h 1838875"/>
              <a:gd name="connsiteX7" fmla="*/ 2274665 w 5743339"/>
              <a:gd name="connsiteY7" fmla="*/ 110836 h 1838875"/>
              <a:gd name="connsiteX8" fmla="*/ 2675187 w 5743339"/>
              <a:gd name="connsiteY8" fmla="*/ 12595 h 1838875"/>
              <a:gd name="connsiteX9" fmla="*/ 3090824 w 5743339"/>
              <a:gd name="connsiteY9" fmla="*/ 35266 h 1838875"/>
              <a:gd name="connsiteX10" fmla="*/ 3430890 w 5743339"/>
              <a:gd name="connsiteY10" fmla="*/ 163735 h 1838875"/>
              <a:gd name="connsiteX11" fmla="*/ 3740728 w 5743339"/>
              <a:gd name="connsiteY11" fmla="*/ 360218 h 1838875"/>
              <a:gd name="connsiteX12" fmla="*/ 4088351 w 5743339"/>
              <a:gd name="connsiteY12" fmla="*/ 662499 h 1838875"/>
              <a:gd name="connsiteX13" fmla="*/ 4413303 w 5743339"/>
              <a:gd name="connsiteY13" fmla="*/ 1025236 h 1838875"/>
              <a:gd name="connsiteX14" fmla="*/ 4715584 w 5743339"/>
              <a:gd name="connsiteY14" fmla="*/ 1327517 h 1838875"/>
              <a:gd name="connsiteX15" fmla="*/ 4995194 w 5743339"/>
              <a:gd name="connsiteY15" fmla="*/ 1561785 h 1838875"/>
              <a:gd name="connsiteX16" fmla="*/ 5259690 w 5743339"/>
              <a:gd name="connsiteY16" fmla="*/ 1712925 h 1838875"/>
              <a:gd name="connsiteX17" fmla="*/ 5561971 w 5743339"/>
              <a:gd name="connsiteY17" fmla="*/ 1818723 h 1838875"/>
              <a:gd name="connsiteX18" fmla="*/ 5743339 w 5743339"/>
              <a:gd name="connsiteY18" fmla="*/ 1833838 h 1838875"/>
              <a:gd name="connsiteX19" fmla="*/ 5743339 w 5743339"/>
              <a:gd name="connsiteY19" fmla="*/ 1833838 h 183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43339" h="1838875">
                <a:moveTo>
                  <a:pt x="0" y="1826280"/>
                </a:moveTo>
                <a:cubicBezTo>
                  <a:pt x="90684" y="1821871"/>
                  <a:pt x="181369" y="1817463"/>
                  <a:pt x="272053" y="1788495"/>
                </a:cubicBezTo>
                <a:cubicBezTo>
                  <a:pt x="362737" y="1759527"/>
                  <a:pt x="439567" y="1726780"/>
                  <a:pt x="544106" y="1652469"/>
                </a:cubicBezTo>
                <a:cubicBezTo>
                  <a:pt x="648645" y="1578158"/>
                  <a:pt x="773336" y="1466063"/>
                  <a:pt x="899286" y="1342631"/>
                </a:cubicBezTo>
                <a:cubicBezTo>
                  <a:pt x="1025237" y="1219200"/>
                  <a:pt x="1299809" y="911880"/>
                  <a:pt x="1299809" y="911880"/>
                </a:cubicBezTo>
                <a:cubicBezTo>
                  <a:pt x="1416943" y="785930"/>
                  <a:pt x="1501330" y="686429"/>
                  <a:pt x="1602090" y="586928"/>
                </a:cubicBezTo>
                <a:cubicBezTo>
                  <a:pt x="1702850" y="487427"/>
                  <a:pt x="1792275" y="394225"/>
                  <a:pt x="1904371" y="314876"/>
                </a:cubicBezTo>
                <a:cubicBezTo>
                  <a:pt x="2016467" y="235527"/>
                  <a:pt x="2146196" y="161216"/>
                  <a:pt x="2274665" y="110836"/>
                </a:cubicBezTo>
                <a:cubicBezTo>
                  <a:pt x="2403134" y="60456"/>
                  <a:pt x="2539161" y="25190"/>
                  <a:pt x="2675187" y="12595"/>
                </a:cubicBezTo>
                <a:cubicBezTo>
                  <a:pt x="2811213" y="0"/>
                  <a:pt x="2964874" y="10076"/>
                  <a:pt x="3090824" y="35266"/>
                </a:cubicBezTo>
                <a:cubicBezTo>
                  <a:pt x="3216774" y="60456"/>
                  <a:pt x="3322573" y="109576"/>
                  <a:pt x="3430890" y="163735"/>
                </a:cubicBezTo>
                <a:cubicBezTo>
                  <a:pt x="3539207" y="217894"/>
                  <a:pt x="3631151" y="277091"/>
                  <a:pt x="3740728" y="360218"/>
                </a:cubicBezTo>
                <a:cubicBezTo>
                  <a:pt x="3850305" y="443345"/>
                  <a:pt x="3976255" y="551663"/>
                  <a:pt x="4088351" y="662499"/>
                </a:cubicBezTo>
                <a:cubicBezTo>
                  <a:pt x="4200447" y="773335"/>
                  <a:pt x="4308764" y="914400"/>
                  <a:pt x="4413303" y="1025236"/>
                </a:cubicBezTo>
                <a:cubicBezTo>
                  <a:pt x="4517842" y="1136072"/>
                  <a:pt x="4618602" y="1238092"/>
                  <a:pt x="4715584" y="1327517"/>
                </a:cubicBezTo>
                <a:cubicBezTo>
                  <a:pt x="4812566" y="1416942"/>
                  <a:pt x="4904510" y="1497550"/>
                  <a:pt x="4995194" y="1561785"/>
                </a:cubicBezTo>
                <a:cubicBezTo>
                  <a:pt x="5085878" y="1626020"/>
                  <a:pt x="5165227" y="1670102"/>
                  <a:pt x="5259690" y="1712925"/>
                </a:cubicBezTo>
                <a:cubicBezTo>
                  <a:pt x="5354153" y="1755748"/>
                  <a:pt x="5481363" y="1798571"/>
                  <a:pt x="5561971" y="1818723"/>
                </a:cubicBezTo>
                <a:cubicBezTo>
                  <a:pt x="5642579" y="1838875"/>
                  <a:pt x="5743339" y="1833838"/>
                  <a:pt x="5743339" y="1833838"/>
                </a:cubicBezTo>
                <a:lnTo>
                  <a:pt x="5743339" y="1833838"/>
                </a:lnTo>
              </a:path>
            </a:pathLst>
          </a:custGeom>
          <a:ln w="571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" name="Textfeld 103"/>
          <p:cNvSpPr txBox="1"/>
          <p:nvPr/>
        </p:nvSpPr>
        <p:spPr bwMode="gray">
          <a:xfrm>
            <a:off x="549985" y="4705962"/>
            <a:ext cx="1249446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smtClean="0"/>
              <a:t>Introduction</a:t>
            </a:r>
          </a:p>
        </p:txBody>
      </p:sp>
      <p:sp>
        <p:nvSpPr>
          <p:cNvPr id="105" name="Textfeld 104"/>
          <p:cNvSpPr txBox="1"/>
          <p:nvPr/>
        </p:nvSpPr>
        <p:spPr bwMode="gray">
          <a:xfrm>
            <a:off x="2457303" y="4705962"/>
            <a:ext cx="831574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smtClean="0"/>
              <a:t>Growth</a:t>
            </a:r>
          </a:p>
        </p:txBody>
      </p:sp>
      <p:sp>
        <p:nvSpPr>
          <p:cNvPr id="106" name="Textfeld 105"/>
          <p:cNvSpPr txBox="1"/>
          <p:nvPr/>
        </p:nvSpPr>
        <p:spPr bwMode="gray">
          <a:xfrm>
            <a:off x="4101809" y="4705962"/>
            <a:ext cx="936154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smtClean="0"/>
              <a:t>Maturity</a:t>
            </a:r>
          </a:p>
        </p:txBody>
      </p:sp>
      <p:sp>
        <p:nvSpPr>
          <p:cNvPr id="107" name="Textfeld 106"/>
          <p:cNvSpPr txBox="1"/>
          <p:nvPr/>
        </p:nvSpPr>
        <p:spPr bwMode="gray">
          <a:xfrm>
            <a:off x="5725240" y="4705962"/>
            <a:ext cx="1072409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smtClean="0"/>
              <a:t>Saturation</a:t>
            </a:r>
          </a:p>
        </p:txBody>
      </p:sp>
      <p:sp>
        <p:nvSpPr>
          <p:cNvPr id="108" name="Textfeld 107"/>
          <p:cNvSpPr txBox="1"/>
          <p:nvPr/>
        </p:nvSpPr>
        <p:spPr bwMode="gray">
          <a:xfrm>
            <a:off x="7300203" y="4705962"/>
            <a:ext cx="1338251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1" smtClean="0"/>
              <a:t>Degeneration</a:t>
            </a:r>
          </a:p>
        </p:txBody>
      </p:sp>
    </p:spTree>
    <p:extLst>
      <p:ext uri="{BB962C8B-B14F-4D97-AF65-F5344CB8AC3E}">
        <p14:creationId xmlns:p14="http://schemas.microsoft.com/office/powerpoint/2010/main" val="195236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rocess of Benchmarking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rocess chart</a:t>
            </a:r>
            <a:endParaRPr lang="en-US" noProof="1"/>
          </a:p>
        </p:txBody>
      </p:sp>
      <p:pic>
        <p:nvPicPr>
          <p:cNvPr id="26" name="Freihand 25"/>
          <p:cNvPicPr/>
          <p:nvPr/>
        </p:nvPicPr>
        <p:blipFill>
          <a:blip r:embed="rId2"/>
          <a:stretch>
            <a:fillRect/>
          </a:stretch>
        </p:blipFill>
        <p:spPr bwMode="gray">
          <a:xfrm>
            <a:off x="0" y="0"/>
            <a:ext cx="0" cy="11520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 bwMode="gray">
          <a:xfrm>
            <a:off x="3626931" y="2733962"/>
            <a:ext cx="1890138" cy="1890138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b="1" noProof="1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rPr>
              <a:t>Benchmarking</a:t>
            </a:r>
          </a:p>
        </p:txBody>
      </p:sp>
      <p:sp>
        <p:nvSpPr>
          <p:cNvPr id="47" name="Textfeld 46"/>
          <p:cNvSpPr txBox="1"/>
          <p:nvPr/>
        </p:nvSpPr>
        <p:spPr bwMode="gray">
          <a:xfrm>
            <a:off x="6778758" y="2216834"/>
            <a:ext cx="2041392" cy="521766"/>
          </a:xfrm>
          <a:prstGeom prst="rect">
            <a:avLst/>
          </a:prstGeom>
          <a:noFill/>
        </p:spPr>
        <p:txBody>
          <a:bodyPr wrap="square" lIns="0" tIns="90000" rIns="0" bIns="0" rtlCol="0">
            <a:spAutoFit/>
          </a:bodyPr>
          <a:lstStyle/>
          <a:p>
            <a:pPr algn="r"/>
            <a:r>
              <a:rPr lang="en-US" sz="1400" noProof="1" smtClean="0"/>
              <a:t>Selection of object</a:t>
            </a:r>
          </a:p>
          <a:p>
            <a:pPr algn="r"/>
            <a:r>
              <a:rPr lang="en-US" sz="1400" noProof="1" smtClean="0"/>
              <a:t>(product, method, process)</a:t>
            </a:r>
            <a:endParaRPr lang="en-US" sz="1400" noProof="1"/>
          </a:p>
        </p:txBody>
      </p:sp>
      <p:sp>
        <p:nvSpPr>
          <p:cNvPr id="48" name="Textfeld 47"/>
          <p:cNvSpPr txBox="1"/>
          <p:nvPr/>
        </p:nvSpPr>
        <p:spPr bwMode="gray">
          <a:xfrm>
            <a:off x="6778758" y="3973690"/>
            <a:ext cx="2041392" cy="952653"/>
          </a:xfrm>
          <a:prstGeom prst="rect">
            <a:avLst/>
          </a:prstGeom>
          <a:noFill/>
        </p:spPr>
        <p:txBody>
          <a:bodyPr wrap="square" lIns="0" tIns="90000" rIns="0" bIns="0" rtlCol="0">
            <a:spAutoFit/>
          </a:bodyPr>
          <a:lstStyle/>
          <a:p>
            <a:pPr algn="r"/>
            <a:r>
              <a:rPr lang="en-US" sz="1400" noProof="1" smtClean="0"/>
              <a:t>Determination of comparative figures. Selection of comparative business</a:t>
            </a:r>
            <a:endParaRPr lang="en-US" sz="1400" noProof="1"/>
          </a:p>
        </p:txBody>
      </p:sp>
      <p:cxnSp>
        <p:nvCxnSpPr>
          <p:cNvPr id="50" name="Gerade Verbindung mit Pfeil 49"/>
          <p:cNvCxnSpPr/>
          <p:nvPr/>
        </p:nvCxnSpPr>
        <p:spPr bwMode="gray">
          <a:xfrm>
            <a:off x="5829300" y="2218422"/>
            <a:ext cx="2990850" cy="0"/>
          </a:xfrm>
          <a:prstGeom prst="straightConnector1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cxnSp>
        <p:nvCxnSpPr>
          <p:cNvPr id="55" name="Gerade Verbindung mit Pfeil 54"/>
          <p:cNvCxnSpPr/>
          <p:nvPr/>
        </p:nvCxnSpPr>
        <p:spPr bwMode="gray">
          <a:xfrm>
            <a:off x="6467475" y="3975278"/>
            <a:ext cx="2352675" cy="0"/>
          </a:xfrm>
          <a:prstGeom prst="straightConnector1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sp>
        <p:nvSpPr>
          <p:cNvPr id="58" name="Textfeld 57"/>
          <p:cNvSpPr txBox="1"/>
          <p:nvPr/>
        </p:nvSpPr>
        <p:spPr bwMode="gray">
          <a:xfrm>
            <a:off x="2124974" y="5602107"/>
            <a:ext cx="489405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noProof="1" smtClean="0"/>
              <a:t>Data mining (about secondary and primary information)</a:t>
            </a:r>
            <a:endParaRPr lang="en-US" sz="1400" noProof="1"/>
          </a:p>
        </p:txBody>
      </p:sp>
      <p:sp>
        <p:nvSpPr>
          <p:cNvPr id="59" name="Textfeld 58"/>
          <p:cNvSpPr txBox="1"/>
          <p:nvPr/>
        </p:nvSpPr>
        <p:spPr bwMode="gray">
          <a:xfrm>
            <a:off x="323850" y="2216834"/>
            <a:ext cx="1401583" cy="521766"/>
          </a:xfrm>
          <a:prstGeom prst="rect">
            <a:avLst/>
          </a:prstGeom>
          <a:noFill/>
        </p:spPr>
        <p:txBody>
          <a:bodyPr wrap="square" lIns="0" tIns="90000" rIns="0" bIns="0" rtlCol="0">
            <a:spAutoFit/>
          </a:bodyPr>
          <a:lstStyle/>
          <a:p>
            <a:r>
              <a:rPr lang="en-US" sz="1400" noProof="1" smtClean="0"/>
              <a:t>Develop own </a:t>
            </a:r>
            <a:br>
              <a:rPr lang="en-US" sz="1400" noProof="1" smtClean="0"/>
            </a:br>
            <a:r>
              <a:rPr lang="en-US" sz="1400" noProof="1" smtClean="0"/>
              <a:t>best practice</a:t>
            </a:r>
            <a:endParaRPr lang="en-US" sz="1400" noProof="1"/>
          </a:p>
        </p:txBody>
      </p:sp>
      <p:sp>
        <p:nvSpPr>
          <p:cNvPr id="60" name="Textfeld 59"/>
          <p:cNvSpPr txBox="1"/>
          <p:nvPr/>
        </p:nvSpPr>
        <p:spPr bwMode="gray">
          <a:xfrm>
            <a:off x="323850" y="3973690"/>
            <a:ext cx="2041392" cy="737210"/>
          </a:xfrm>
          <a:prstGeom prst="rect">
            <a:avLst/>
          </a:prstGeom>
          <a:noFill/>
        </p:spPr>
        <p:txBody>
          <a:bodyPr wrap="square" lIns="0" tIns="90000" rIns="0" bIns="0" rtlCol="0">
            <a:spAutoFit/>
          </a:bodyPr>
          <a:lstStyle/>
          <a:p>
            <a:r>
              <a:rPr lang="en-US" sz="1400" noProof="1" smtClean="0"/>
              <a:t>Determination of performance gaps and</a:t>
            </a:r>
            <a:br>
              <a:rPr lang="en-US" sz="1400" noProof="1" smtClean="0"/>
            </a:br>
            <a:r>
              <a:rPr lang="en-US" sz="1400" noProof="1" smtClean="0"/>
              <a:t>their causes</a:t>
            </a:r>
            <a:endParaRPr lang="en-US" sz="1400" noProof="1"/>
          </a:p>
        </p:txBody>
      </p:sp>
      <p:cxnSp>
        <p:nvCxnSpPr>
          <p:cNvPr id="62" name="Gerade Verbindung mit Pfeil 61"/>
          <p:cNvCxnSpPr/>
          <p:nvPr/>
        </p:nvCxnSpPr>
        <p:spPr bwMode="gray">
          <a:xfrm flipH="1">
            <a:off x="323850" y="2218422"/>
            <a:ext cx="3124200" cy="0"/>
          </a:xfrm>
          <a:prstGeom prst="straightConnector1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cxnSp>
        <p:nvCxnSpPr>
          <p:cNvPr id="65" name="Gerade Verbindung mit Pfeil 64"/>
          <p:cNvCxnSpPr/>
          <p:nvPr/>
        </p:nvCxnSpPr>
        <p:spPr bwMode="gray">
          <a:xfrm flipH="1">
            <a:off x="323853" y="3975278"/>
            <a:ext cx="2352672" cy="0"/>
          </a:xfrm>
          <a:prstGeom prst="straightConnector1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grpSp>
        <p:nvGrpSpPr>
          <p:cNvPr id="9" name="Gruppieren 48"/>
          <p:cNvGrpSpPr/>
          <p:nvPr/>
        </p:nvGrpSpPr>
        <p:grpSpPr>
          <a:xfrm>
            <a:off x="2823393" y="1916112"/>
            <a:ext cx="3523836" cy="3525840"/>
            <a:chOff x="-6234113" y="638175"/>
            <a:chExt cx="5580063" cy="5583237"/>
          </a:xfrm>
        </p:grpSpPr>
        <p:sp>
          <p:nvSpPr>
            <p:cNvPr id="64" name="Freeform 8"/>
            <p:cNvSpPr>
              <a:spLocks/>
            </p:cNvSpPr>
            <p:nvPr/>
          </p:nvSpPr>
          <p:spPr bwMode="auto">
            <a:xfrm>
              <a:off x="-6110288" y="649288"/>
              <a:ext cx="2849563" cy="2216150"/>
            </a:xfrm>
            <a:custGeom>
              <a:avLst/>
              <a:gdLst/>
              <a:ahLst/>
              <a:cxnLst>
                <a:cxn ang="0">
                  <a:pos x="225" y="591"/>
                </a:cxn>
                <a:cxn ang="0">
                  <a:pos x="658" y="241"/>
                </a:cxn>
                <a:cxn ang="0">
                  <a:pos x="760" y="124"/>
                </a:cxn>
                <a:cxn ang="0">
                  <a:pos x="652" y="0"/>
                </a:cxn>
                <a:cxn ang="0">
                  <a:pos x="0" y="521"/>
                </a:cxn>
                <a:cxn ang="0">
                  <a:pos x="146" y="459"/>
                </a:cxn>
                <a:cxn ang="0">
                  <a:pos x="225" y="591"/>
                </a:cxn>
              </a:cxnLst>
              <a:rect l="0" t="0" r="r" b="b"/>
              <a:pathLst>
                <a:path w="760" h="591">
                  <a:moveTo>
                    <a:pt x="225" y="591"/>
                  </a:moveTo>
                  <a:cubicBezTo>
                    <a:pt x="284" y="401"/>
                    <a:pt x="454" y="260"/>
                    <a:pt x="658" y="241"/>
                  </a:cubicBezTo>
                  <a:cubicBezTo>
                    <a:pt x="760" y="124"/>
                    <a:pt x="760" y="124"/>
                    <a:pt x="760" y="124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343" y="24"/>
                    <a:pt x="88" y="236"/>
                    <a:pt x="0" y="521"/>
                  </a:cubicBezTo>
                  <a:cubicBezTo>
                    <a:pt x="146" y="459"/>
                    <a:pt x="146" y="459"/>
                    <a:pt x="146" y="459"/>
                  </a:cubicBezTo>
                  <a:lnTo>
                    <a:pt x="225" y="59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3240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-3519488" y="638175"/>
              <a:ext cx="2651125" cy="2276475"/>
            </a:xfrm>
            <a:custGeom>
              <a:avLst/>
              <a:gdLst/>
              <a:ahLst/>
              <a:cxnLst>
                <a:cxn ang="0">
                  <a:pos x="8" y="242"/>
                </a:cxn>
                <a:cxn ang="0">
                  <a:pos x="13" y="242"/>
                </a:cxn>
                <a:cxn ang="0">
                  <a:pos x="475" y="546"/>
                </a:cxn>
                <a:cxn ang="0">
                  <a:pos x="618" y="607"/>
                </a:cxn>
                <a:cxn ang="0">
                  <a:pos x="707" y="458"/>
                </a:cxn>
                <a:cxn ang="0">
                  <a:pos x="20" y="0"/>
                </a:cxn>
                <a:cxn ang="0">
                  <a:pos x="0" y="1"/>
                </a:cxn>
                <a:cxn ang="0">
                  <a:pos x="109" y="126"/>
                </a:cxn>
                <a:cxn ang="0">
                  <a:pos x="8" y="242"/>
                </a:cxn>
              </a:cxnLst>
              <a:rect l="0" t="0" r="r" b="b"/>
              <a:pathLst>
                <a:path w="707" h="607">
                  <a:moveTo>
                    <a:pt x="8" y="242"/>
                  </a:moveTo>
                  <a:cubicBezTo>
                    <a:pt x="10" y="242"/>
                    <a:pt x="11" y="242"/>
                    <a:pt x="13" y="242"/>
                  </a:cubicBezTo>
                  <a:cubicBezTo>
                    <a:pt x="220" y="242"/>
                    <a:pt x="398" y="367"/>
                    <a:pt x="475" y="546"/>
                  </a:cubicBezTo>
                  <a:cubicBezTo>
                    <a:pt x="618" y="607"/>
                    <a:pt x="618" y="607"/>
                    <a:pt x="618" y="607"/>
                  </a:cubicBezTo>
                  <a:cubicBezTo>
                    <a:pt x="707" y="458"/>
                    <a:pt x="707" y="458"/>
                    <a:pt x="707" y="458"/>
                  </a:cubicBezTo>
                  <a:cubicBezTo>
                    <a:pt x="595" y="189"/>
                    <a:pt x="329" y="0"/>
                    <a:pt x="20" y="0"/>
                  </a:cubicBezTo>
                  <a:cubicBezTo>
                    <a:pt x="13" y="0"/>
                    <a:pt x="6" y="1"/>
                    <a:pt x="0" y="1"/>
                  </a:cubicBezTo>
                  <a:cubicBezTo>
                    <a:pt x="109" y="126"/>
                    <a:pt x="109" y="126"/>
                    <a:pt x="109" y="126"/>
                  </a:cubicBezTo>
                  <a:lnTo>
                    <a:pt x="8" y="242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3240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Freeform 10"/>
            <p:cNvSpPr>
              <a:spLocks/>
            </p:cNvSpPr>
            <p:nvPr/>
          </p:nvSpPr>
          <p:spPr bwMode="auto">
            <a:xfrm>
              <a:off x="-6234113" y="2513013"/>
              <a:ext cx="1671638" cy="3184525"/>
            </a:xfrm>
            <a:custGeom>
              <a:avLst/>
              <a:gdLst/>
              <a:ahLst/>
              <a:cxnLst>
                <a:cxn ang="0">
                  <a:pos x="446" y="654"/>
                </a:cxn>
                <a:cxn ang="0">
                  <a:pos x="235" y="244"/>
                </a:cxn>
                <a:cxn ang="0">
                  <a:pos x="247" y="133"/>
                </a:cxn>
                <a:cxn ang="0">
                  <a:pos x="167" y="0"/>
                </a:cxn>
                <a:cxn ang="0">
                  <a:pos x="22" y="62"/>
                </a:cxn>
                <a:cxn ang="0">
                  <a:pos x="0" y="244"/>
                </a:cxn>
                <a:cxn ang="0">
                  <a:pos x="310" y="849"/>
                </a:cxn>
                <a:cxn ang="0">
                  <a:pos x="296" y="688"/>
                </a:cxn>
                <a:cxn ang="0">
                  <a:pos x="446" y="654"/>
                </a:cxn>
              </a:cxnLst>
              <a:rect l="0" t="0" r="r" b="b"/>
              <a:pathLst>
                <a:path w="446" h="849">
                  <a:moveTo>
                    <a:pt x="446" y="654"/>
                  </a:moveTo>
                  <a:cubicBezTo>
                    <a:pt x="318" y="563"/>
                    <a:pt x="235" y="413"/>
                    <a:pt x="235" y="244"/>
                  </a:cubicBezTo>
                  <a:cubicBezTo>
                    <a:pt x="235" y="206"/>
                    <a:pt x="239" y="169"/>
                    <a:pt x="247" y="133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7" y="121"/>
                    <a:pt x="0" y="182"/>
                    <a:pt x="0" y="244"/>
                  </a:cubicBezTo>
                  <a:cubicBezTo>
                    <a:pt x="0" y="494"/>
                    <a:pt x="122" y="714"/>
                    <a:pt x="310" y="849"/>
                  </a:cubicBezTo>
                  <a:cubicBezTo>
                    <a:pt x="296" y="688"/>
                    <a:pt x="296" y="688"/>
                    <a:pt x="296" y="688"/>
                  </a:cubicBezTo>
                  <a:lnTo>
                    <a:pt x="446" y="65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36000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9" name="Freeform 9"/>
            <p:cNvSpPr>
              <a:spLocks/>
            </p:cNvSpPr>
            <p:nvPr/>
          </p:nvSpPr>
          <p:spPr bwMode="auto">
            <a:xfrm>
              <a:off x="-5000625" y="4943475"/>
              <a:ext cx="3228975" cy="1277937"/>
            </a:xfrm>
            <a:custGeom>
              <a:avLst/>
              <a:gdLst/>
              <a:ahLst/>
              <a:cxnLst>
                <a:cxn ang="0">
                  <a:pos x="707" y="0"/>
                </a:cxn>
                <a:cxn ang="0">
                  <a:pos x="408" y="99"/>
                </a:cxn>
                <a:cxn ang="0">
                  <a:pos x="151" y="28"/>
                </a:cxn>
                <a:cxn ang="0">
                  <a:pos x="0" y="63"/>
                </a:cxn>
                <a:cxn ang="0">
                  <a:pos x="14" y="224"/>
                </a:cxn>
                <a:cxn ang="0">
                  <a:pos x="415" y="341"/>
                </a:cxn>
                <a:cxn ang="0">
                  <a:pos x="861" y="192"/>
                </a:cxn>
                <a:cxn ang="0">
                  <a:pos x="694" y="153"/>
                </a:cxn>
                <a:cxn ang="0">
                  <a:pos x="707" y="0"/>
                </a:cxn>
              </a:cxnLst>
              <a:rect l="0" t="0" r="r" b="b"/>
              <a:pathLst>
                <a:path w="861" h="341">
                  <a:moveTo>
                    <a:pt x="707" y="0"/>
                  </a:moveTo>
                  <a:cubicBezTo>
                    <a:pt x="624" y="62"/>
                    <a:pt x="520" y="99"/>
                    <a:pt x="408" y="99"/>
                  </a:cubicBezTo>
                  <a:cubicBezTo>
                    <a:pt x="314" y="99"/>
                    <a:pt x="226" y="73"/>
                    <a:pt x="151" y="2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14" y="224"/>
                    <a:pt x="14" y="224"/>
                    <a:pt x="14" y="224"/>
                  </a:cubicBezTo>
                  <a:cubicBezTo>
                    <a:pt x="130" y="298"/>
                    <a:pt x="267" y="341"/>
                    <a:pt x="415" y="341"/>
                  </a:cubicBezTo>
                  <a:cubicBezTo>
                    <a:pt x="582" y="341"/>
                    <a:pt x="737" y="285"/>
                    <a:pt x="861" y="192"/>
                  </a:cubicBezTo>
                  <a:cubicBezTo>
                    <a:pt x="694" y="153"/>
                    <a:pt x="694" y="153"/>
                    <a:pt x="694" y="153"/>
                  </a:cubicBezTo>
                  <a:lnTo>
                    <a:pt x="70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25200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0" name="Freeform 7"/>
            <p:cNvSpPr>
              <a:spLocks/>
            </p:cNvSpPr>
            <p:nvPr/>
          </p:nvSpPr>
          <p:spPr bwMode="auto">
            <a:xfrm>
              <a:off x="-2278063" y="2493963"/>
              <a:ext cx="1624013" cy="3074987"/>
            </a:xfrm>
            <a:custGeom>
              <a:avLst/>
              <a:gdLst/>
              <a:ahLst/>
              <a:cxnLst>
                <a:cxn ang="0">
                  <a:pos x="158" y="90"/>
                </a:cxn>
                <a:cxn ang="0">
                  <a:pos x="184" y="249"/>
                </a:cxn>
                <a:cxn ang="0">
                  <a:pos x="13" y="627"/>
                </a:cxn>
                <a:cxn ang="0">
                  <a:pos x="0" y="782"/>
                </a:cxn>
                <a:cxn ang="0">
                  <a:pos x="166" y="820"/>
                </a:cxn>
                <a:cxn ang="0">
                  <a:pos x="433" y="249"/>
                </a:cxn>
                <a:cxn ang="0">
                  <a:pos x="390" y="0"/>
                </a:cxn>
                <a:cxn ang="0">
                  <a:pos x="300" y="150"/>
                </a:cxn>
                <a:cxn ang="0">
                  <a:pos x="158" y="90"/>
                </a:cxn>
              </a:cxnLst>
              <a:rect l="0" t="0" r="r" b="b"/>
              <a:pathLst>
                <a:path w="433" h="820">
                  <a:moveTo>
                    <a:pt x="158" y="90"/>
                  </a:moveTo>
                  <a:cubicBezTo>
                    <a:pt x="175" y="140"/>
                    <a:pt x="184" y="194"/>
                    <a:pt x="184" y="249"/>
                  </a:cubicBezTo>
                  <a:cubicBezTo>
                    <a:pt x="184" y="400"/>
                    <a:pt x="118" y="535"/>
                    <a:pt x="13" y="627"/>
                  </a:cubicBezTo>
                  <a:cubicBezTo>
                    <a:pt x="0" y="782"/>
                    <a:pt x="0" y="782"/>
                    <a:pt x="0" y="782"/>
                  </a:cubicBezTo>
                  <a:cubicBezTo>
                    <a:pt x="166" y="820"/>
                    <a:pt x="166" y="820"/>
                    <a:pt x="166" y="820"/>
                  </a:cubicBezTo>
                  <a:cubicBezTo>
                    <a:pt x="329" y="684"/>
                    <a:pt x="433" y="479"/>
                    <a:pt x="433" y="249"/>
                  </a:cubicBezTo>
                  <a:cubicBezTo>
                    <a:pt x="433" y="162"/>
                    <a:pt x="418" y="78"/>
                    <a:pt x="390" y="0"/>
                  </a:cubicBezTo>
                  <a:cubicBezTo>
                    <a:pt x="300" y="150"/>
                    <a:pt x="300" y="150"/>
                    <a:pt x="300" y="150"/>
                  </a:cubicBezTo>
                  <a:lnTo>
                    <a:pt x="158" y="9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46184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 smtClean="0"/>
              <a:t>Benchmarking</a:t>
            </a:r>
            <a:endParaRPr lang="de-DE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tages and disadvantages of different forms of benchmarking</a:t>
            </a:r>
            <a:endParaRPr lang="de-DE" noProof="1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253248"/>
              </p:ext>
            </p:extLst>
          </p:nvPr>
        </p:nvGraphicFramePr>
        <p:xfrm>
          <a:off x="323850" y="1555750"/>
          <a:ext cx="8497092" cy="424923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832364"/>
                <a:gridCol w="2832364"/>
                <a:gridCol w="2832364"/>
              </a:tblGrid>
              <a:tr h="364979">
                <a:tc>
                  <a:txBody>
                    <a:bodyPr/>
                    <a:lstStyle/>
                    <a:p>
                      <a:endParaRPr lang="de-DE" sz="1600" b="1" noProof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noProof="1" smtClean="0"/>
                        <a:t>Advantages </a:t>
                      </a:r>
                      <a:endParaRPr lang="de-DE" sz="1600" b="1" noProof="1"/>
                    </a:p>
                  </a:txBody>
                  <a:tcPr marL="288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noProof="1" smtClean="0"/>
                        <a:t>Disadvantages</a:t>
                      </a:r>
                      <a:endParaRPr lang="de-DE" sz="1600" b="1" noProof="1"/>
                    </a:p>
                  </a:txBody>
                  <a:tcPr marL="288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143081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noProof="1" smtClean="0"/>
                        <a:t>Benchmarking</a:t>
                      </a:r>
                      <a:r>
                        <a:rPr lang="de-DE" sz="1400" b="1" baseline="0" noProof="1" smtClean="0"/>
                        <a:t> with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baseline="0" noProof="1" smtClean="0"/>
                        <a:t>direct Competitors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1" noProof="1" smtClean="0"/>
                    </a:p>
                    <a:p>
                      <a:pPr algn="r"/>
                      <a:endParaRPr lang="de-DE" sz="1400" b="1" noProof="1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Highly effective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en-US" sz="1200" noProof="1" smtClean="0"/>
                        <a:t>Determination of the position of the own company in the competition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en-US" sz="1200" noProof="1" smtClean="0"/>
                        <a:t>Direct performance comparison of matching tasks</a:t>
                      </a:r>
                      <a:endParaRPr lang="de-DE" sz="1200" noProof="1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kern="1200" noProof="1" smtClean="0"/>
                        <a:t>Data </a:t>
                      </a:r>
                      <a:r>
                        <a:rPr lang="de-DE" sz="1200" kern="1200" noProof="1" smtClean="0"/>
                        <a:t>exchange is required, may need </a:t>
                      </a:r>
                      <a:br>
                        <a:rPr lang="de-DE" sz="1200" kern="1200" noProof="1" smtClean="0"/>
                      </a:br>
                      <a:r>
                        <a:rPr lang="de-DE" sz="1200" kern="1200" noProof="1" smtClean="0"/>
                        <a:t>to expose own data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kern="1200" noProof="1" smtClean="0"/>
                        <a:t>Competitor </a:t>
                      </a:r>
                      <a:r>
                        <a:rPr lang="de-DE" sz="1200" kern="1200" noProof="1" smtClean="0"/>
                        <a:t>has expanded information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kern="1200" noProof="1" smtClean="0"/>
                        <a:t>Focus on preventing competition</a:t>
                      </a:r>
                      <a:br>
                        <a:rPr lang="de-DE" sz="1200" kern="1200" noProof="1" smtClean="0"/>
                      </a:br>
                      <a:r>
                        <a:rPr lang="de-DE" sz="1200" kern="1200" noProof="1" smtClean="0"/>
                        <a:t>new ideas (rather obtaining than overtaking)</a:t>
                      </a:r>
                      <a:endParaRPr lang="de-DE" sz="1200" kern="1200" noProof="1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48328">
                <a:tc>
                  <a:txBody>
                    <a:bodyPr/>
                    <a:lstStyle/>
                    <a:p>
                      <a:pPr algn="r"/>
                      <a:r>
                        <a:rPr lang="en-US" sz="1400" b="1" noProof="1" smtClean="0"/>
                        <a:t>Benchmarking with other organizational units</a:t>
                      </a:r>
                    </a:p>
                    <a:p>
                      <a:pPr algn="r"/>
                      <a:r>
                        <a:rPr lang="en-US" sz="1400" b="1" noProof="1" smtClean="0"/>
                        <a:t>(internal departments)</a:t>
                      </a:r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Easy access to data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In case of similar structures </a:t>
                      </a:r>
                      <a:br>
                        <a:rPr lang="de-DE" sz="1200" noProof="1" smtClean="0"/>
                      </a:br>
                      <a:r>
                        <a:rPr lang="de-DE" sz="1200" noProof="1" smtClean="0"/>
                        <a:t>(branches, subsidiaries) comparisons are advantageous 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Immediate response and improvement possible </a:t>
                      </a:r>
                      <a:endParaRPr lang="de-DE" sz="1200" baseline="0" noProof="1" smtClean="0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Only internal view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In some cases similar inefficient services are compared and improvement potentials remain undetected</a:t>
                      </a:r>
                      <a:endParaRPr lang="de-DE" sz="1200" baseline="0" noProof="1" smtClean="0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02439">
                <a:tc>
                  <a:txBody>
                    <a:bodyPr/>
                    <a:lstStyle/>
                    <a:p>
                      <a:pPr algn="r"/>
                      <a:r>
                        <a:rPr lang="en-US" sz="1400" b="1" noProof="1" smtClean="0"/>
                        <a:t>Benchmarking with </a:t>
                      </a:r>
                      <a:br>
                        <a:rPr lang="en-US" sz="1400" b="1" noProof="1" smtClean="0"/>
                      </a:br>
                      <a:r>
                        <a:rPr lang="en-US" sz="1400" b="1" noProof="1" smtClean="0"/>
                        <a:t>structurally similar, </a:t>
                      </a:r>
                      <a:br>
                        <a:rPr lang="en-US" sz="1400" b="1" noProof="1" smtClean="0"/>
                      </a:br>
                      <a:r>
                        <a:rPr lang="en-US" sz="1400" b="1" noProof="1" smtClean="0"/>
                        <a:t>non-industry organizations</a:t>
                      </a:r>
                      <a:endParaRPr lang="de-DE" sz="1400" b="1" noProof="1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/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Wide range of comparison</a:t>
                      </a:r>
                      <a:br>
                        <a:rPr lang="de-DE" sz="1200" noProof="1" smtClean="0"/>
                      </a:br>
                      <a:r>
                        <a:rPr lang="de-DE" sz="1200" noProof="1" smtClean="0"/>
                        <a:t>with other industries provide new insights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New ideas can be gained</a:t>
                      </a:r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Transfer of results to their own company is sometimes difficult</a:t>
                      </a:r>
                    </a:p>
                    <a:p>
                      <a:pPr marL="179388" indent="-179388">
                        <a:buFont typeface="Wingdings" pitchFamily="2" charset="2"/>
                        <a:buChar char="§"/>
                      </a:pPr>
                      <a:r>
                        <a:rPr lang="de-DE" sz="1200" noProof="1" smtClean="0"/>
                        <a:t>Detection and exchange of data </a:t>
                      </a:r>
                      <a:br>
                        <a:rPr lang="de-DE" sz="1200" noProof="1" smtClean="0"/>
                      </a:br>
                      <a:r>
                        <a:rPr lang="de-DE" sz="1200" noProof="1" smtClean="0"/>
                        <a:t>(data transfer) is complex</a:t>
                      </a:r>
                      <a:endParaRPr lang="de-DE" sz="1200" baseline="0" noProof="1" smtClean="0"/>
                    </a:p>
                  </a:txBody>
                  <a:tcPr marT="108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342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ing Mix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de-DE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24643" y="1513389"/>
            <a:ext cx="8495507" cy="4288129"/>
            <a:chOff x="324643" y="1513389"/>
            <a:chExt cx="8495507" cy="4288129"/>
          </a:xfrm>
        </p:grpSpPr>
        <p:sp>
          <p:nvSpPr>
            <p:cNvPr id="17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048715" y="1513389"/>
              <a:ext cx="3048768" cy="803091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GB" sz="2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Information</a:t>
              </a:r>
            </a:p>
          </p:txBody>
        </p:sp>
        <p:sp>
          <p:nvSpPr>
            <p:cNvPr id="16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4643" y="2975630"/>
              <a:ext cx="2380852" cy="1406008"/>
            </a:xfrm>
            <a:prstGeom prst="roundRect">
              <a:avLst>
                <a:gd name="adj" fmla="val 5337"/>
              </a:avLst>
            </a:pr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GB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Marketing</a:t>
              </a:r>
            </a:p>
          </p:txBody>
        </p:sp>
        <p:sp>
          <p:nvSpPr>
            <p:cNvPr id="1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381574" y="2996952"/>
              <a:ext cx="2380852" cy="1406008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GB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Customer</a:t>
              </a:r>
            </a:p>
          </p:txBody>
        </p:sp>
        <p:sp>
          <p:nvSpPr>
            <p:cNvPr id="19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439298" y="2996952"/>
              <a:ext cx="2380852" cy="1406008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GB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Sales</a:t>
              </a:r>
            </a:p>
          </p:txBody>
        </p:sp>
        <p:sp>
          <p:nvSpPr>
            <p:cNvPr id="21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048715" y="4998427"/>
              <a:ext cx="3048768" cy="803091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GB" sz="2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Marketing plan</a:t>
              </a:r>
            </a:p>
          </p:txBody>
        </p:sp>
        <p:cxnSp>
          <p:nvCxnSpPr>
            <p:cNvPr id="29" name="Form 28"/>
            <p:cNvCxnSpPr>
              <a:stCxn id="19" idx="0"/>
              <a:endCxn id="17" idx="3"/>
            </p:cNvCxnSpPr>
            <p:nvPr/>
          </p:nvCxnSpPr>
          <p:spPr>
            <a:xfrm rot="16200000" flipV="1">
              <a:off x="6322596" y="1689823"/>
              <a:ext cx="1082017" cy="1532241"/>
            </a:xfrm>
            <a:prstGeom prst="bentConnector2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Form 30"/>
            <p:cNvCxnSpPr>
              <a:stCxn id="17" idx="1"/>
              <a:endCxn id="16" idx="0"/>
            </p:cNvCxnSpPr>
            <p:nvPr/>
          </p:nvCxnSpPr>
          <p:spPr>
            <a:xfrm rot="10800000" flipV="1">
              <a:off x="1515069" y="1914934"/>
              <a:ext cx="1533646" cy="1060695"/>
            </a:xfrm>
            <a:prstGeom prst="bentConnector2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Form 32"/>
            <p:cNvCxnSpPr>
              <a:stCxn id="16" idx="2"/>
              <a:endCxn id="21" idx="1"/>
            </p:cNvCxnSpPr>
            <p:nvPr/>
          </p:nvCxnSpPr>
          <p:spPr>
            <a:xfrm rot="16200000" flipH="1">
              <a:off x="1772725" y="4123982"/>
              <a:ext cx="1018335" cy="1533646"/>
            </a:xfrm>
            <a:prstGeom prst="bentConnector2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Form 34"/>
            <p:cNvCxnSpPr>
              <a:stCxn id="21" idx="3"/>
              <a:endCxn id="19" idx="2"/>
            </p:cNvCxnSpPr>
            <p:nvPr/>
          </p:nvCxnSpPr>
          <p:spPr>
            <a:xfrm flipV="1">
              <a:off x="6097483" y="4402960"/>
              <a:ext cx="1532241" cy="997013"/>
            </a:xfrm>
            <a:prstGeom prst="bentConnector2">
              <a:avLst/>
            </a:prstGeom>
            <a:ln w="12700">
              <a:solidFill>
                <a:srgbClr val="96969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>
              <a:stCxn id="37" idx="1"/>
            </p:cNvCxnSpPr>
            <p:nvPr/>
          </p:nvCxnSpPr>
          <p:spPr>
            <a:xfrm>
              <a:off x="3043534" y="3850203"/>
              <a:ext cx="0" cy="699126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>
            <a:xfrm>
              <a:off x="6087958" y="3850203"/>
              <a:ext cx="0" cy="699126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feld 41"/>
            <p:cNvSpPr txBox="1"/>
            <p:nvPr/>
          </p:nvSpPr>
          <p:spPr>
            <a:xfrm>
              <a:off x="2042314" y="4554551"/>
              <a:ext cx="175881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smtClean="0"/>
                <a:t>Needs, behavior, problems</a:t>
              </a:r>
              <a:endParaRPr lang="en-US" sz="1100" b="1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185403" y="4554551"/>
              <a:ext cx="158248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smtClean="0"/>
                <a:t>Approach, sales, service</a:t>
              </a:r>
              <a:endParaRPr lang="en-US" sz="1100" b="1"/>
            </a:p>
          </p:txBody>
        </p:sp>
        <p:sp>
          <p:nvSpPr>
            <p:cNvPr id="37" name="Gleichschenkliges Dreieck 36"/>
            <p:cNvSpPr/>
            <p:nvPr/>
          </p:nvSpPr>
          <p:spPr bwMode="auto">
            <a:xfrm rot="16200000">
              <a:off x="2756367" y="3587409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Gleichschenkliges Dreieck 37"/>
            <p:cNvSpPr/>
            <p:nvPr/>
          </p:nvSpPr>
          <p:spPr bwMode="auto">
            <a:xfrm rot="16200000">
              <a:off x="5804170" y="3587409"/>
              <a:ext cx="574334" cy="238422"/>
            </a:xfrm>
            <a:prstGeom prst="triangl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AFAFA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sz="14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35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haracterization of Markets </a:t>
            </a:r>
            <a:r>
              <a:rPr lang="en-US" b="0" smtClean="0"/>
              <a:t>- Types of Good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Types of assets and their usage situations</a:t>
            </a:r>
            <a:endParaRPr lang="en-US" dirty="0"/>
          </a:p>
        </p:txBody>
      </p:sp>
      <p:grpSp>
        <p:nvGrpSpPr>
          <p:cNvPr id="23" name="Gruppieren 22"/>
          <p:cNvGrpSpPr/>
          <p:nvPr/>
        </p:nvGrpSpPr>
        <p:grpSpPr>
          <a:xfrm>
            <a:off x="323850" y="1554480"/>
            <a:ext cx="8497093" cy="4062411"/>
            <a:chOff x="323850" y="1554480"/>
            <a:chExt cx="8497093" cy="4062411"/>
          </a:xfrm>
        </p:grpSpPr>
        <p:sp>
          <p:nvSpPr>
            <p:cNvPr id="10" name="Rechteck 9"/>
            <p:cNvSpPr/>
            <p:nvPr/>
          </p:nvSpPr>
          <p:spPr bwMode="gray">
            <a:xfrm>
              <a:off x="323851" y="1554480"/>
              <a:ext cx="2745070" cy="1608001"/>
            </a:xfrm>
            <a:prstGeom prst="rect">
              <a:avLst/>
            </a:prstGeom>
            <a:blipFill dpi="0" rotWithShape="1">
              <a:blip r:embed="rId2" cstate="print"/>
              <a:srcRect/>
              <a:stretch>
                <a:fillRect l="-1000" t="-1000" r="-1000" b="-19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323851" y="3162481"/>
              <a:ext cx="2745070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Consumer Goods</a:t>
              </a: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3199709" y="1554480"/>
              <a:ext cx="2745070" cy="1608001"/>
            </a:xfrm>
            <a:prstGeom prst="rect">
              <a:avLst/>
            </a:prstGeom>
            <a:blipFill dpi="0" rotWithShape="1">
              <a:blip r:embed="rId3" cstate="print">
                <a:lum bright="10000"/>
              </a:blip>
              <a:srcRect/>
              <a:stretch>
                <a:fillRect l="-1000" t="-1000" r="-1000" b="-19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3199709" y="3162481"/>
              <a:ext cx="2745070" cy="360363"/>
            </a:xfrm>
            <a:prstGeom prst="rect">
              <a:avLst/>
            </a:prstGeom>
            <a:gradFill>
              <a:gsLst>
                <a:gs pos="0">
                  <a:srgbClr val="C00000"/>
                </a:gs>
                <a:gs pos="100000">
                  <a:srgbClr val="820000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/>
              <a:r>
                <a:rPr lang="en-US" sz="2000" b="1" dirty="0" smtClean="0">
                  <a:solidFill>
                    <a:srgbClr val="FFFFFF"/>
                  </a:solidFill>
                </a:rPr>
                <a:t>Capital Goods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6075873" y="1554480"/>
              <a:ext cx="2745070" cy="1608001"/>
            </a:xfrm>
            <a:prstGeom prst="rect">
              <a:avLst/>
            </a:prstGeom>
            <a:blipFill dpi="0" rotWithShape="1">
              <a:blip r:embed="rId4" cstate="screen">
                <a:lum bright="10000"/>
              </a:blip>
              <a:srcRect/>
              <a:stretch>
                <a:fillRect l="-1000" t="-1000" r="-1000" b="-19000"/>
              </a:stretch>
            </a:blipFill>
            <a:ln w="12700">
              <a:solidFill>
                <a:srgbClr val="C0C0C0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6075873" y="3162481"/>
              <a:ext cx="2745070" cy="360363"/>
            </a:xfrm>
            <a:prstGeom prst="rect">
              <a:avLst/>
            </a:prstGeom>
            <a:gradFill>
              <a:gsLst>
                <a:gs pos="0">
                  <a:srgbClr val="92D050"/>
                </a:gs>
                <a:gs pos="100000">
                  <a:srgbClr val="639729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/>
              <a:r>
                <a:rPr lang="en-US" sz="2000" b="1" dirty="0" smtClean="0">
                  <a:solidFill>
                    <a:srgbClr val="FFFFFF"/>
                  </a:solidFill>
                </a:rPr>
                <a:t>Services</a:t>
              </a:r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3850" y="3522844"/>
              <a:ext cx="2745071" cy="151084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onsumer goods (e.g. food)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nd durables (e.g. cars) satisfy immediate needs, and are directly put into use by the buyers (consumers).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03848" y="3522845"/>
              <a:ext cx="2745071" cy="151084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re used by production companie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to produce further goods. Buyers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are usually establishments or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ublic companies.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6075874" y="3522845"/>
              <a:ext cx="2744276" cy="151084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Immaterial benefits,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often incurred only at the time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of consumption. The customer is </a:t>
              </a:r>
              <a:b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part of the performance / service.</a:t>
              </a: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323850" y="5033691"/>
              <a:ext cx="2745071" cy="58320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Mass-Market (B2C)</a:t>
              </a: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3203848" y="5033691"/>
              <a:ext cx="2745071" cy="58320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Single, clear identifiable </a:t>
              </a:r>
              <a:b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customer (B2B)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6075874" y="5033691"/>
              <a:ext cx="2744277" cy="58320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Services for customer with </a:t>
              </a:r>
              <a:b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a high use of resour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603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Segment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cientific level of consideration</a:t>
            </a:r>
            <a:endParaRPr lang="en-US" noProof="1"/>
          </a:p>
        </p:txBody>
      </p:sp>
      <p:grpSp>
        <p:nvGrpSpPr>
          <p:cNvPr id="37" name="Gruppieren 36"/>
          <p:cNvGrpSpPr/>
          <p:nvPr/>
        </p:nvGrpSpPr>
        <p:grpSpPr bwMode="gray">
          <a:xfrm>
            <a:off x="323849" y="1405853"/>
            <a:ext cx="8509443" cy="4435650"/>
            <a:chOff x="323849" y="1405853"/>
            <a:chExt cx="8509443" cy="4435650"/>
          </a:xfrm>
        </p:grpSpPr>
        <p:sp>
          <p:nvSpPr>
            <p:cNvPr id="50" name="Freeform 6"/>
            <p:cNvSpPr>
              <a:spLocks/>
            </p:cNvSpPr>
            <p:nvPr/>
          </p:nvSpPr>
          <p:spPr bwMode="gray">
            <a:xfrm>
              <a:off x="323850" y="1555751"/>
              <a:ext cx="3408422" cy="1812776"/>
            </a:xfrm>
            <a:custGeom>
              <a:avLst/>
              <a:gdLst/>
              <a:ahLst/>
              <a:cxnLst>
                <a:cxn ang="0">
                  <a:pos x="1429" y="0"/>
                </a:cxn>
                <a:cxn ang="0">
                  <a:pos x="0" y="0"/>
                </a:cxn>
                <a:cxn ang="0">
                  <a:pos x="0" y="760"/>
                </a:cxn>
                <a:cxn ang="0">
                  <a:pos x="1411" y="760"/>
                </a:cxn>
                <a:cxn ang="0">
                  <a:pos x="1272" y="390"/>
                </a:cxn>
                <a:cxn ang="0">
                  <a:pos x="1429" y="0"/>
                </a:cxn>
              </a:cxnLst>
              <a:rect l="0" t="0" r="r" b="b"/>
              <a:pathLst>
                <a:path w="1429" h="760">
                  <a:moveTo>
                    <a:pt x="142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60"/>
                    <a:pt x="0" y="760"/>
                    <a:pt x="0" y="760"/>
                  </a:cubicBezTo>
                  <a:cubicBezTo>
                    <a:pt x="1411" y="760"/>
                    <a:pt x="1411" y="760"/>
                    <a:pt x="1411" y="760"/>
                  </a:cubicBezTo>
                  <a:cubicBezTo>
                    <a:pt x="1324" y="661"/>
                    <a:pt x="1272" y="532"/>
                    <a:pt x="1272" y="390"/>
                  </a:cubicBezTo>
                  <a:cubicBezTo>
                    <a:pt x="1272" y="239"/>
                    <a:pt x="1332" y="101"/>
                    <a:pt x="142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2000" b="1" noProof="1" smtClean="0">
                  <a:solidFill>
                    <a:srgbClr val="000000"/>
                  </a:solidFill>
                  <a:cs typeface="Arial" charset="0"/>
                </a:rPr>
                <a:t>Market Capture</a:t>
              </a:r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gray">
            <a:xfrm>
              <a:off x="5662197" y="1555751"/>
              <a:ext cx="3171095" cy="1812776"/>
            </a:xfrm>
            <a:custGeom>
              <a:avLst/>
              <a:gdLst/>
              <a:ahLst/>
              <a:cxnLst>
                <a:cxn ang="0">
                  <a:pos x="1329" y="0"/>
                </a:cxn>
                <a:cxn ang="0">
                  <a:pos x="0" y="0"/>
                </a:cxn>
                <a:cxn ang="0">
                  <a:pos x="157" y="390"/>
                </a:cxn>
                <a:cxn ang="0">
                  <a:pos x="18" y="760"/>
                </a:cxn>
                <a:cxn ang="0">
                  <a:pos x="1329" y="760"/>
                </a:cxn>
                <a:cxn ang="0">
                  <a:pos x="1329" y="0"/>
                </a:cxn>
              </a:cxnLst>
              <a:rect l="0" t="0" r="r" b="b"/>
              <a:pathLst>
                <a:path w="1329" h="760">
                  <a:moveTo>
                    <a:pt x="132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101"/>
                    <a:pt x="157" y="239"/>
                    <a:pt x="157" y="390"/>
                  </a:cubicBezTo>
                  <a:cubicBezTo>
                    <a:pt x="157" y="532"/>
                    <a:pt x="105" y="661"/>
                    <a:pt x="18" y="760"/>
                  </a:cubicBezTo>
                  <a:cubicBezTo>
                    <a:pt x="1329" y="760"/>
                    <a:pt x="1329" y="760"/>
                    <a:pt x="1329" y="760"/>
                  </a:cubicBezTo>
                  <a:lnTo>
                    <a:pt x="132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2000" b="1" noProof="1" smtClean="0">
                  <a:solidFill>
                    <a:srgbClr val="000000"/>
                  </a:solidFill>
                  <a:cs typeface="Arial" charset="0"/>
                </a:rPr>
                <a:t>Market Processing</a:t>
              </a:r>
            </a:p>
          </p:txBody>
        </p:sp>
        <p:sp>
          <p:nvSpPr>
            <p:cNvPr id="19" name="Textfeld 18"/>
            <p:cNvSpPr txBox="1"/>
            <p:nvPr/>
          </p:nvSpPr>
          <p:spPr bwMode="gray">
            <a:xfrm rot="16200000">
              <a:off x="3588441" y="1405853"/>
              <a:ext cx="2160000" cy="2160000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noProof="1" smtClean="0"/>
                <a:t>Information Site</a:t>
              </a:r>
              <a:endParaRPr lang="en-US" noProof="1"/>
            </a:p>
          </p:txBody>
        </p:sp>
        <p:sp>
          <p:nvSpPr>
            <p:cNvPr id="21" name="Textfeld 20"/>
            <p:cNvSpPr txBox="1"/>
            <p:nvPr/>
          </p:nvSpPr>
          <p:spPr bwMode="gray">
            <a:xfrm rot="5400000">
              <a:off x="3589932" y="1405853"/>
              <a:ext cx="2160000" cy="2160000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noProof="1" smtClean="0"/>
                <a:t>Action Site</a:t>
              </a:r>
              <a:endParaRPr lang="en-US" noProof="1"/>
            </a:p>
          </p:txBody>
        </p:sp>
        <p:sp>
          <p:nvSpPr>
            <p:cNvPr id="22" name="Ellipse 21"/>
            <p:cNvSpPr/>
            <p:nvPr/>
          </p:nvSpPr>
          <p:spPr bwMode="gray">
            <a:xfrm>
              <a:off x="3767337" y="1555750"/>
              <a:ext cx="1812776" cy="1812776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Market </a:t>
              </a:r>
              <a:br>
                <a:rPr lang="en-US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Segmentation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323849" y="3565854"/>
              <a:ext cx="1316139" cy="107685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Explanatory models</a:t>
              </a:r>
              <a:b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of purchase pattern</a:t>
              </a: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1811232" y="3565854"/>
              <a:ext cx="1316139" cy="107685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Acquisition of information</a:t>
              </a: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3298616" y="3565854"/>
              <a:ext cx="1316139" cy="107685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Information processing</a:t>
              </a:r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6016627" y="3565854"/>
              <a:ext cx="1316139" cy="107685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Selection of segments</a:t>
              </a: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7504010" y="3565854"/>
              <a:ext cx="1316139" cy="107685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Segments-</a:t>
              </a:r>
              <a:b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Specific use of instruments</a:t>
              </a:r>
            </a:p>
          </p:txBody>
        </p:sp>
        <p:grpSp>
          <p:nvGrpSpPr>
            <p:cNvPr id="36" name="Gruppieren 35"/>
            <p:cNvGrpSpPr/>
            <p:nvPr/>
          </p:nvGrpSpPr>
          <p:grpSpPr bwMode="gray">
            <a:xfrm>
              <a:off x="323850" y="4786407"/>
              <a:ext cx="2807990" cy="282120"/>
              <a:chOff x="323850" y="4786407"/>
              <a:chExt cx="2807990" cy="282120"/>
            </a:xfrm>
          </p:grpSpPr>
          <p:cxnSp>
            <p:nvCxnSpPr>
              <p:cNvPr id="32" name="Gerade Verbindung 31"/>
              <p:cNvCxnSpPr/>
              <p:nvPr/>
            </p:nvCxnSpPr>
            <p:spPr bwMode="gray">
              <a:xfrm rot="5400000">
                <a:off x="182791" y="4927466"/>
                <a:ext cx="28211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/>
            </p:nvCxnSpPr>
            <p:spPr bwMode="gray">
              <a:xfrm rot="5400000">
                <a:off x="2990781" y="4927466"/>
                <a:ext cx="28211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/>
            </p:nvCxnSpPr>
            <p:spPr bwMode="gray">
              <a:xfrm rot="10800000">
                <a:off x="323851" y="5068526"/>
                <a:ext cx="2803521" cy="1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pieren 37"/>
            <p:cNvGrpSpPr/>
            <p:nvPr/>
          </p:nvGrpSpPr>
          <p:grpSpPr bwMode="gray">
            <a:xfrm>
              <a:off x="6084168" y="5159833"/>
              <a:ext cx="2736305" cy="291642"/>
              <a:chOff x="6084168" y="5159833"/>
              <a:chExt cx="2736305" cy="291642"/>
            </a:xfrm>
          </p:grpSpPr>
          <p:cxnSp>
            <p:nvCxnSpPr>
              <p:cNvPr id="44" name="Gerade Verbindung 43"/>
              <p:cNvCxnSpPr/>
              <p:nvPr/>
            </p:nvCxnSpPr>
            <p:spPr bwMode="gray">
              <a:xfrm rot="5400000">
                <a:off x="5943109" y="5300892"/>
                <a:ext cx="28211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/>
            </p:nvCxnSpPr>
            <p:spPr bwMode="gray">
              <a:xfrm rot="10800000" flipV="1">
                <a:off x="6084170" y="5451474"/>
                <a:ext cx="2736303" cy="1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/>
            </p:nvCxnSpPr>
            <p:spPr bwMode="gray">
              <a:xfrm rot="5400000">
                <a:off x="8679413" y="5300892"/>
                <a:ext cx="28211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Rechteck 50"/>
            <p:cNvSpPr/>
            <p:nvPr/>
          </p:nvSpPr>
          <p:spPr bwMode="gray">
            <a:xfrm>
              <a:off x="496986" y="5016137"/>
              <a:ext cx="2473629" cy="43887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 smtClean="0"/>
                <a:t>Consumer-oriented approach</a:t>
              </a: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2061801" y="5402627"/>
              <a:ext cx="2473629" cy="43887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 smtClean="0"/>
                <a:t>Method-oriented approach</a:t>
              </a:r>
            </a:p>
          </p:txBody>
        </p:sp>
        <p:sp>
          <p:nvSpPr>
            <p:cNvPr id="53" name="Rechteck 52"/>
            <p:cNvSpPr/>
            <p:nvPr/>
          </p:nvSpPr>
          <p:spPr bwMode="gray">
            <a:xfrm>
              <a:off x="6095951" y="5402627"/>
              <a:ext cx="2473629" cy="438876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 smtClean="0"/>
                <a:t>Management-oriented approach</a:t>
              </a:r>
            </a:p>
          </p:txBody>
        </p:sp>
        <p:grpSp>
          <p:nvGrpSpPr>
            <p:cNvPr id="57" name="Gruppieren 56"/>
            <p:cNvGrpSpPr/>
            <p:nvPr/>
          </p:nvGrpSpPr>
          <p:grpSpPr bwMode="gray">
            <a:xfrm>
              <a:off x="1835697" y="5159833"/>
              <a:ext cx="2736304" cy="291642"/>
              <a:chOff x="1835697" y="5159833"/>
              <a:chExt cx="2736304" cy="291642"/>
            </a:xfrm>
          </p:grpSpPr>
          <p:cxnSp>
            <p:nvCxnSpPr>
              <p:cNvPr id="39" name="Gerade Verbindung 38"/>
              <p:cNvCxnSpPr/>
              <p:nvPr/>
            </p:nvCxnSpPr>
            <p:spPr bwMode="gray">
              <a:xfrm rot="10800000" flipV="1">
                <a:off x="1835698" y="5451474"/>
                <a:ext cx="2736303" cy="1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/>
            </p:nvCxnSpPr>
            <p:spPr bwMode="gray">
              <a:xfrm rot="5400000">
                <a:off x="4430941" y="5300892"/>
                <a:ext cx="28211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/>
            </p:nvCxnSpPr>
            <p:spPr bwMode="gray">
              <a:xfrm rot="5400000">
                <a:off x="1784103" y="5390357"/>
                <a:ext cx="103188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7224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Segment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Objectives, methods, strategies of market segmentation</a:t>
            </a:r>
            <a:endParaRPr lang="en-US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139665" y="2043748"/>
            <a:ext cx="8547135" cy="3420874"/>
            <a:chOff x="139665" y="2043748"/>
            <a:chExt cx="8547135" cy="3420874"/>
          </a:xfrm>
        </p:grpSpPr>
        <p:grpSp>
          <p:nvGrpSpPr>
            <p:cNvPr id="37" name="Gruppieren 36"/>
            <p:cNvGrpSpPr/>
            <p:nvPr/>
          </p:nvGrpSpPr>
          <p:grpSpPr>
            <a:xfrm>
              <a:off x="6990080" y="2043748"/>
              <a:ext cx="1696720" cy="3415353"/>
              <a:chOff x="8521700" y="915988"/>
              <a:chExt cx="1819275" cy="3729037"/>
            </a:xfrm>
            <a:solidFill>
              <a:schemeClr val="accent2"/>
            </a:solidFill>
          </p:grpSpPr>
          <p:sp>
            <p:nvSpPr>
              <p:cNvPr id="1030" name="Freeform 6"/>
              <p:cNvSpPr>
                <a:spLocks/>
              </p:cNvSpPr>
              <p:nvPr/>
            </p:nvSpPr>
            <p:spPr bwMode="auto">
              <a:xfrm>
                <a:off x="8521700" y="915988"/>
                <a:ext cx="1544638" cy="1785937"/>
              </a:xfrm>
              <a:custGeom>
                <a:avLst/>
                <a:gdLst/>
                <a:ahLst/>
                <a:cxnLst>
                  <a:cxn ang="0">
                    <a:pos x="412" y="238"/>
                  </a:cxn>
                  <a:cxn ang="0">
                    <a:pos x="0" y="0"/>
                  </a:cxn>
                  <a:cxn ang="0">
                    <a:pos x="0" y="476"/>
                  </a:cxn>
                  <a:cxn ang="0">
                    <a:pos x="412" y="238"/>
                  </a:cxn>
                </a:cxnLst>
                <a:rect l="0" t="0" r="r" b="b"/>
                <a:pathLst>
                  <a:path w="412" h="476">
                    <a:moveTo>
                      <a:pt x="412" y="238"/>
                    </a:moveTo>
                    <a:cubicBezTo>
                      <a:pt x="327" y="98"/>
                      <a:pt x="175" y="4"/>
                      <a:pt x="0" y="0"/>
                    </a:cubicBezTo>
                    <a:cubicBezTo>
                      <a:pt x="0" y="476"/>
                      <a:pt x="0" y="476"/>
                      <a:pt x="0" y="476"/>
                    </a:cubicBezTo>
                    <a:lnTo>
                      <a:pt x="412" y="238"/>
                    </a:lnTo>
                    <a:close/>
                  </a:path>
                </a:pathLst>
              </a:custGeom>
              <a:solidFill>
                <a:srgbClr val="C8C8C8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auto">
              <a:xfrm>
                <a:off x="8566150" y="1887538"/>
                <a:ext cx="1774825" cy="1785937"/>
              </a:xfrm>
              <a:custGeom>
                <a:avLst/>
                <a:gdLst/>
                <a:ahLst/>
                <a:cxnLst>
                  <a:cxn ang="0">
                    <a:pos x="412" y="476"/>
                  </a:cxn>
                  <a:cxn ang="0">
                    <a:pos x="473" y="238"/>
                  </a:cxn>
                  <a:cxn ang="0">
                    <a:pos x="412" y="0"/>
                  </a:cxn>
                  <a:cxn ang="0">
                    <a:pos x="0" y="238"/>
                  </a:cxn>
                  <a:cxn ang="0">
                    <a:pos x="412" y="476"/>
                  </a:cxn>
                </a:cxnLst>
                <a:rect l="0" t="0" r="r" b="b"/>
                <a:pathLst>
                  <a:path w="473" h="476">
                    <a:moveTo>
                      <a:pt x="412" y="476"/>
                    </a:moveTo>
                    <a:cubicBezTo>
                      <a:pt x="451" y="405"/>
                      <a:pt x="473" y="324"/>
                      <a:pt x="473" y="238"/>
                    </a:cubicBezTo>
                    <a:cubicBezTo>
                      <a:pt x="473" y="152"/>
                      <a:pt x="451" y="70"/>
                      <a:pt x="412" y="0"/>
                    </a:cubicBezTo>
                    <a:cubicBezTo>
                      <a:pt x="0" y="238"/>
                      <a:pt x="0" y="238"/>
                      <a:pt x="0" y="238"/>
                    </a:cubicBezTo>
                    <a:lnTo>
                      <a:pt x="412" y="476"/>
                    </a:lnTo>
                    <a:close/>
                  </a:path>
                </a:pathLst>
              </a:custGeom>
              <a:solidFill>
                <a:srgbClr val="C8C8C8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  <p:sp>
            <p:nvSpPr>
              <p:cNvPr id="1032" name="Freeform 8"/>
              <p:cNvSpPr>
                <a:spLocks/>
              </p:cNvSpPr>
              <p:nvPr/>
            </p:nvSpPr>
            <p:spPr bwMode="auto">
              <a:xfrm>
                <a:off x="8521700" y="2859088"/>
                <a:ext cx="1544638" cy="1785937"/>
              </a:xfrm>
              <a:custGeom>
                <a:avLst/>
                <a:gdLst/>
                <a:ahLst/>
                <a:cxnLst>
                  <a:cxn ang="0">
                    <a:pos x="0" y="476"/>
                  </a:cxn>
                  <a:cxn ang="0">
                    <a:pos x="412" y="238"/>
                  </a:cxn>
                  <a:cxn ang="0">
                    <a:pos x="0" y="0"/>
                  </a:cxn>
                  <a:cxn ang="0">
                    <a:pos x="0" y="476"/>
                  </a:cxn>
                </a:cxnLst>
                <a:rect l="0" t="0" r="r" b="b"/>
                <a:pathLst>
                  <a:path w="412" h="476">
                    <a:moveTo>
                      <a:pt x="0" y="476"/>
                    </a:moveTo>
                    <a:cubicBezTo>
                      <a:pt x="175" y="471"/>
                      <a:pt x="327" y="377"/>
                      <a:pt x="412" y="23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476"/>
                    </a:lnTo>
                    <a:close/>
                  </a:path>
                </a:pathLst>
              </a:custGeom>
              <a:solidFill>
                <a:srgbClr val="C8C8C8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</p:grpSp>
        <p:sp>
          <p:nvSpPr>
            <p:cNvPr id="27" name="Abgerundetes Rechteck 26"/>
            <p:cNvSpPr/>
            <p:nvPr/>
          </p:nvSpPr>
          <p:spPr bwMode="gray">
            <a:xfrm>
              <a:off x="3689118" y="2947807"/>
              <a:ext cx="1970342" cy="1574054"/>
            </a:xfrm>
            <a:prstGeom prst="roundRect">
              <a:avLst>
                <a:gd name="adj" fmla="val 8789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600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3395833" y="2314255"/>
              <a:ext cx="2556912" cy="45066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b="1" dirty="0" smtClean="0"/>
                <a:t>Approaches of</a:t>
              </a:r>
              <a:br>
                <a:rPr lang="en-US" sz="1600" b="1" dirty="0" smtClean="0"/>
              </a:br>
              <a:r>
                <a:rPr lang="en-US" sz="1600" b="1" dirty="0" smtClean="0"/>
                <a:t>Market Segmentation</a:t>
              </a:r>
            </a:p>
          </p:txBody>
        </p:sp>
        <p:sp>
          <p:nvSpPr>
            <p:cNvPr id="18" name="Pfeil nach rechts 17"/>
            <p:cNvSpPr/>
            <p:nvPr/>
          </p:nvSpPr>
          <p:spPr bwMode="gray">
            <a:xfrm>
              <a:off x="3276132" y="3443415"/>
              <a:ext cx="481151" cy="561703"/>
            </a:xfrm>
            <a:prstGeom prst="rightArrow">
              <a:avLst/>
            </a:prstGeom>
            <a:solidFill>
              <a:srgbClr val="AFAFA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139665" y="2248940"/>
              <a:ext cx="1625128" cy="45066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600" b="1" dirty="0" smtClean="0"/>
                <a:t>Lead Structure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3772368" y="3042511"/>
              <a:ext cx="1801698" cy="450669"/>
            </a:xfrm>
            <a:prstGeom prst="rect">
              <a:avLst/>
            </a:prstGeom>
            <a:solidFill>
              <a:srgbClr val="D7D7D7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behavior-oriented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3772368" y="3493180"/>
              <a:ext cx="1801698" cy="450669"/>
            </a:xfrm>
            <a:prstGeom prst="rect">
              <a:avLst/>
            </a:prstGeom>
            <a:solidFill>
              <a:srgbClr val="D7D7D7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method-oriented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3772368" y="3943849"/>
              <a:ext cx="1801698" cy="450669"/>
            </a:xfrm>
            <a:prstGeom prst="rect">
              <a:avLst/>
            </a:prstGeom>
            <a:solidFill>
              <a:srgbClr val="D7D7D7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1200" noProof="1" smtClean="0"/>
                <a:t>management-oriented</a:t>
              </a:r>
              <a:endParaRPr lang="en-US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Pfeil nach rechts 27"/>
            <p:cNvSpPr/>
            <p:nvPr/>
          </p:nvSpPr>
          <p:spPr bwMode="gray">
            <a:xfrm rot="5400000">
              <a:off x="3891025" y="4532109"/>
              <a:ext cx="481151" cy="561703"/>
            </a:xfrm>
            <a:prstGeom prst="rightArrow">
              <a:avLst/>
            </a:prstGeom>
            <a:solidFill>
              <a:srgbClr val="AFAFA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9" name="Pfeil nach rechts 28"/>
            <p:cNvSpPr/>
            <p:nvPr/>
          </p:nvSpPr>
          <p:spPr bwMode="gray">
            <a:xfrm rot="5400000">
              <a:off x="4966272" y="4532109"/>
              <a:ext cx="481151" cy="561703"/>
            </a:xfrm>
            <a:prstGeom prst="rightArrow">
              <a:avLst/>
            </a:prstGeom>
            <a:solidFill>
              <a:srgbClr val="AFAFA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3034881" y="5095290"/>
              <a:ext cx="135197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Quantitative</a:t>
              </a:r>
              <a:endParaRPr lang="en-US" dirty="0"/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5053155" y="5095290"/>
              <a:ext cx="12082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mtClean="0"/>
                <a:t>Qualitative</a:t>
              </a:r>
              <a:endParaRPr lang="en-US" dirty="0"/>
            </a:p>
          </p:txBody>
        </p:sp>
        <p:sp>
          <p:nvSpPr>
            <p:cNvPr id="33" name="Ellipse 32"/>
            <p:cNvSpPr/>
            <p:nvPr/>
          </p:nvSpPr>
          <p:spPr bwMode="gray">
            <a:xfrm>
              <a:off x="1768930" y="2924944"/>
              <a:ext cx="1624770" cy="1624770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OBJECTIVES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4" name="Pfeil nach rechts 33"/>
            <p:cNvSpPr/>
            <p:nvPr/>
          </p:nvSpPr>
          <p:spPr bwMode="gray">
            <a:xfrm>
              <a:off x="1502228" y="3452124"/>
              <a:ext cx="481151" cy="561703"/>
            </a:xfrm>
            <a:prstGeom prst="rightArrow">
              <a:avLst/>
            </a:prstGeom>
            <a:solidFill>
              <a:srgbClr val="AFAFA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5" name="Rechteck 34"/>
            <p:cNvSpPr/>
            <p:nvPr/>
          </p:nvSpPr>
          <p:spPr bwMode="gray">
            <a:xfrm>
              <a:off x="323851" y="3278777"/>
              <a:ext cx="1256755" cy="90133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Reasons/</a:t>
              </a:r>
              <a:b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Meaning</a:t>
              </a:r>
            </a:p>
          </p:txBody>
        </p:sp>
        <p:sp>
          <p:nvSpPr>
            <p:cNvPr id="14" name="Ellipse 13"/>
            <p:cNvSpPr/>
            <p:nvPr/>
          </p:nvSpPr>
          <p:spPr bwMode="gray">
            <a:xfrm>
              <a:off x="6172802" y="2933653"/>
              <a:ext cx="1624770" cy="1624770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TRATEGIES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cxnSp>
          <p:nvCxnSpPr>
            <p:cNvPr id="38" name="Gerade Verbindung 37"/>
            <p:cNvCxnSpPr/>
            <p:nvPr/>
          </p:nvCxnSpPr>
          <p:spPr bwMode="gray">
            <a:xfrm flipV="1">
              <a:off x="7675650" y="2764924"/>
              <a:ext cx="692333" cy="475730"/>
            </a:xfrm>
            <a:prstGeom prst="line">
              <a:avLst/>
            </a:prstGeom>
            <a:ln w="38100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etal">
              <a:bevelT w="38100" h="57150" prst="angle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 bwMode="gray">
            <a:xfrm>
              <a:off x="7688713" y="4156653"/>
              <a:ext cx="692333" cy="475730"/>
            </a:xfrm>
            <a:prstGeom prst="line">
              <a:avLst/>
            </a:prstGeom>
            <a:ln w="38100"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etal">
              <a:bevelT w="38100" h="57150" prst="angle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llipse 43"/>
            <p:cNvSpPr/>
            <p:nvPr/>
          </p:nvSpPr>
          <p:spPr bwMode="gray">
            <a:xfrm rot="1800000">
              <a:off x="6619418" y="2505277"/>
              <a:ext cx="1801698" cy="597306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etal">
              <a:bevelT w="38100" h="57150" prst="angle"/>
            </a:sp3d>
          </p:spPr>
          <p:txBody>
            <a:bodyPr rtlCol="0" anchor="ctr">
              <a:prstTxWarp prst="textArchUp">
                <a:avLst/>
              </a:prstTxWarp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undifferentiated 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Market Processing</a:t>
              </a:r>
            </a:p>
          </p:txBody>
        </p:sp>
        <p:sp>
          <p:nvSpPr>
            <p:cNvPr id="45" name="Ellipse 44"/>
            <p:cNvSpPr/>
            <p:nvPr/>
          </p:nvSpPr>
          <p:spPr bwMode="gray">
            <a:xfrm rot="19800000">
              <a:off x="6641349" y="4492400"/>
              <a:ext cx="1801698" cy="450669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etal">
              <a:bevelT w="38100" h="57150" prst="angle"/>
            </a:sp3d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differentiated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Market Processing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46" name="Ellipse 45"/>
            <p:cNvSpPr/>
            <p:nvPr/>
          </p:nvSpPr>
          <p:spPr bwMode="gray">
            <a:xfrm rot="16200000">
              <a:off x="7229409" y="3535869"/>
              <a:ext cx="1801698" cy="450669"/>
            </a:xfrm>
            <a:prstGeom prst="ellipse">
              <a:avLst/>
            </a:prstGeom>
            <a:noFill/>
            <a:ln w="1270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etal">
              <a:bevelT w="38100" h="57150" prst="angle"/>
            </a:sp3d>
          </p:spPr>
          <p:txBody>
            <a:bodyPr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sz="1200" dirty="0" smtClean="0"/>
                <a:t>concentrated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Market Processing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Pfeil nach rechts 31"/>
            <p:cNvSpPr/>
            <p:nvPr/>
          </p:nvSpPr>
          <p:spPr bwMode="gray">
            <a:xfrm>
              <a:off x="5703005" y="3443415"/>
              <a:ext cx="481151" cy="561703"/>
            </a:xfrm>
            <a:prstGeom prst="rightArrow">
              <a:avLst/>
            </a:prstGeom>
            <a:solidFill>
              <a:srgbClr val="AFAFA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9534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Hierarchy representation for the preparation of a market analysis of companies with a broad range of products or services 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Definition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323850" y="1555750"/>
            <a:ext cx="8497092" cy="4246563"/>
            <a:chOff x="323850" y="1555750"/>
            <a:chExt cx="8497092" cy="4246563"/>
          </a:xfrm>
        </p:grpSpPr>
        <p:sp>
          <p:nvSpPr>
            <p:cNvPr id="40981" name="Line 31"/>
            <p:cNvSpPr>
              <a:spLocks noChangeShapeType="1"/>
            </p:cNvSpPr>
            <p:nvPr/>
          </p:nvSpPr>
          <p:spPr bwMode="gray">
            <a:xfrm rot="5400000">
              <a:off x="4572000" y="1554163"/>
              <a:ext cx="0" cy="8496300"/>
            </a:xfrm>
            <a:prstGeom prst="line">
              <a:avLst/>
            </a:prstGeom>
            <a:noFill/>
            <a:ln w="127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40968" name="Line 27"/>
            <p:cNvSpPr>
              <a:spLocks noChangeShapeType="1"/>
            </p:cNvSpPr>
            <p:nvPr/>
          </p:nvSpPr>
          <p:spPr bwMode="gray">
            <a:xfrm rot="5400000">
              <a:off x="4572000" y="1193800"/>
              <a:ext cx="0" cy="8496300"/>
            </a:xfrm>
            <a:prstGeom prst="line">
              <a:avLst/>
            </a:prstGeom>
            <a:noFill/>
            <a:ln w="127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" name="Rechteck 2"/>
            <p:cNvSpPr/>
            <p:nvPr/>
          </p:nvSpPr>
          <p:spPr bwMode="gray">
            <a:xfrm>
              <a:off x="4326296" y="1555750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Overall Market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1983037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1</a:t>
              </a:r>
            </a:p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4326296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2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6657139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3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1983037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1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4326296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2</a:t>
              </a:r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6657139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3</a:t>
              </a:r>
            </a:p>
          </p:txBody>
        </p:sp>
        <p:cxnSp>
          <p:nvCxnSpPr>
            <p:cNvPr id="8" name="Gewinkelte Verbindung 7"/>
            <p:cNvCxnSpPr>
              <a:stCxn id="3" idx="2"/>
              <a:endCxn id="19" idx="0"/>
            </p:cNvCxnSpPr>
            <p:nvPr/>
          </p:nvCxnSpPr>
          <p:spPr bwMode="gray">
            <a:xfrm rot="16200000" flipH="1">
              <a:off x="6412705" y="1270846"/>
              <a:ext cx="321037" cy="2330843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winkelte Verbindung 9"/>
            <p:cNvCxnSpPr>
              <a:stCxn id="3" idx="2"/>
              <a:endCxn id="17" idx="0"/>
            </p:cNvCxnSpPr>
            <p:nvPr/>
          </p:nvCxnSpPr>
          <p:spPr bwMode="gray">
            <a:xfrm rot="5400000">
              <a:off x="4075655" y="1264639"/>
              <a:ext cx="321037" cy="234325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winkelte Verbindung 11"/>
            <p:cNvCxnSpPr>
              <a:stCxn id="3" idx="2"/>
              <a:endCxn id="18" idx="0"/>
            </p:cNvCxnSpPr>
            <p:nvPr/>
          </p:nvCxnSpPr>
          <p:spPr bwMode="gray">
            <a:xfrm rot="5400000">
              <a:off x="5247284" y="2436268"/>
              <a:ext cx="321037" cy="1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winkelte Verbindung 13"/>
            <p:cNvCxnSpPr>
              <a:stCxn id="18" idx="2"/>
              <a:endCxn id="33" idx="0"/>
            </p:cNvCxnSpPr>
            <p:nvPr/>
          </p:nvCxnSpPr>
          <p:spPr bwMode="gray">
            <a:xfrm rot="16200000" flipH="1">
              <a:off x="6412705" y="2311883"/>
              <a:ext cx="321037" cy="2330843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winkelte Verbindung 33"/>
            <p:cNvCxnSpPr>
              <a:stCxn id="18" idx="2"/>
              <a:endCxn id="31" idx="0"/>
            </p:cNvCxnSpPr>
            <p:nvPr/>
          </p:nvCxnSpPr>
          <p:spPr bwMode="gray">
            <a:xfrm rot="5400000">
              <a:off x="4075655" y="2305676"/>
              <a:ext cx="321037" cy="234325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18" idx="2"/>
              <a:endCxn id="32" idx="0"/>
            </p:cNvCxnSpPr>
            <p:nvPr/>
          </p:nvCxnSpPr>
          <p:spPr bwMode="gray">
            <a:xfrm rot="5400000">
              <a:off x="5247284" y="3477305"/>
              <a:ext cx="321037" cy="1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 bwMode="gray">
            <a:xfrm>
              <a:off x="323850" y="1968397"/>
              <a:ext cx="1264962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Strategic </a:t>
              </a:r>
              <a:br>
                <a:rPr lang="en-US" b="1" noProof="1" smtClean="0"/>
              </a:br>
              <a:r>
                <a:rPr lang="en-US" b="1" noProof="1" smtClean="0"/>
                <a:t>management</a:t>
              </a:r>
              <a:endParaRPr lang="en-US" b="1" noProof="1"/>
            </a:p>
          </p:txBody>
        </p:sp>
        <p:sp>
          <p:nvSpPr>
            <p:cNvPr id="46" name="Textfeld 45"/>
            <p:cNvSpPr txBox="1"/>
            <p:nvPr/>
          </p:nvSpPr>
          <p:spPr bwMode="gray">
            <a:xfrm>
              <a:off x="323850" y="4252446"/>
              <a:ext cx="98437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Marketing</a:t>
              </a:r>
              <a:endParaRPr lang="en-US" b="1" noProof="1"/>
            </a:p>
          </p:txBody>
        </p:sp>
        <p:cxnSp>
          <p:nvCxnSpPr>
            <p:cNvPr id="42" name="Gerade Verbindung 41"/>
            <p:cNvCxnSpPr/>
            <p:nvPr/>
          </p:nvCxnSpPr>
          <p:spPr bwMode="gray">
            <a:xfrm>
              <a:off x="323850" y="4175393"/>
              <a:ext cx="8496300" cy="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 bwMode="gray">
            <a:xfrm>
              <a:off x="2040302" y="4463335"/>
              <a:ext cx="2227309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A</a:t>
              </a: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323850" y="4847656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A</a:t>
              </a: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323850" y="5165872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B</a:t>
              </a:r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323850" y="5484089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C</a:t>
              </a: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2040302" y="4847656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Rechteck 61"/>
            <p:cNvSpPr/>
            <p:nvPr/>
          </p:nvSpPr>
          <p:spPr bwMode="gray">
            <a:xfrm>
              <a:off x="2040302" y="5165872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" name="Rechteck 64"/>
            <p:cNvSpPr/>
            <p:nvPr/>
          </p:nvSpPr>
          <p:spPr bwMode="gray">
            <a:xfrm>
              <a:off x="2040302" y="5484089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4267611" y="4463335"/>
              <a:ext cx="2227259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B</a:t>
              </a:r>
            </a:p>
          </p:txBody>
        </p:sp>
        <p:sp>
          <p:nvSpPr>
            <p:cNvPr id="58" name="Rechteck 57"/>
            <p:cNvSpPr/>
            <p:nvPr/>
          </p:nvSpPr>
          <p:spPr bwMode="gray">
            <a:xfrm>
              <a:off x="4267611" y="4847656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Rechteck 60"/>
            <p:cNvSpPr/>
            <p:nvPr/>
          </p:nvSpPr>
          <p:spPr bwMode="gray">
            <a:xfrm>
              <a:off x="4267611" y="5165872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4" name="Rechteck 63"/>
            <p:cNvSpPr/>
            <p:nvPr/>
          </p:nvSpPr>
          <p:spPr bwMode="gray">
            <a:xfrm>
              <a:off x="4267611" y="5484089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6494870" y="4463335"/>
              <a:ext cx="2326072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C</a:t>
              </a:r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6494870" y="4847656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Rechteck 62"/>
            <p:cNvSpPr/>
            <p:nvPr/>
          </p:nvSpPr>
          <p:spPr bwMode="gray">
            <a:xfrm>
              <a:off x="6494870" y="5165872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6" name="Rechteck 65"/>
            <p:cNvSpPr/>
            <p:nvPr/>
          </p:nvSpPr>
          <p:spPr bwMode="gray">
            <a:xfrm>
              <a:off x="6494870" y="5484089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Textfeld 67"/>
            <p:cNvSpPr txBox="1"/>
            <p:nvPr/>
          </p:nvSpPr>
          <p:spPr bwMode="gray">
            <a:xfrm>
              <a:off x="323850" y="2719937"/>
              <a:ext cx="777136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Definition </a:t>
              </a:r>
              <a:br>
                <a:rPr lang="en-US" sz="1400" noProof="1" smtClean="0"/>
              </a:br>
              <a:r>
                <a:rPr lang="en-US" sz="1400" noProof="1" smtClean="0"/>
                <a:t>of markets</a:t>
              </a:r>
              <a:endParaRPr lang="en-US" sz="1400" noProof="1"/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323850" y="3589939"/>
              <a:ext cx="1029128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Strategic</a:t>
              </a:r>
              <a:br>
                <a:rPr lang="en-US" sz="1400" noProof="1" smtClean="0"/>
              </a:br>
              <a:r>
                <a:rPr lang="en-US" sz="1400" noProof="1" smtClean="0"/>
                <a:t>business units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5949159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dirty="0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 Analysis/ Competition</a:t>
            </a:r>
            <a:endParaRPr lang="en-US" sz="66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1" name="Untertitel 2"/>
          <p:cNvSpPr txBox="1">
            <a:spLocks/>
          </p:cNvSpPr>
          <p:nvPr/>
        </p:nvSpPr>
        <p:spPr bwMode="gray">
          <a:xfrm>
            <a:off x="647702" y="5217774"/>
            <a:ext cx="7856218" cy="938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sz="2800" noProof="1" smtClean="0">
                <a:solidFill>
                  <a:schemeClr val="bg1"/>
                </a:solidFill>
              </a:rPr>
              <a:t>Situation analysis</a:t>
            </a:r>
            <a:endParaRPr lang="en-US" sz="28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86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ing Orient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Orientation in companies which strongly influenced the development of marketing</a:t>
            </a:r>
            <a:endParaRPr lang="en-US" noProof="1" smtClean="0"/>
          </a:p>
        </p:txBody>
      </p:sp>
      <p:grpSp>
        <p:nvGrpSpPr>
          <p:cNvPr id="19" name="Gruppieren 18"/>
          <p:cNvGrpSpPr/>
          <p:nvPr/>
        </p:nvGrpSpPr>
        <p:grpSpPr bwMode="gray">
          <a:xfrm>
            <a:off x="323850" y="2259399"/>
            <a:ext cx="7236413" cy="2440117"/>
            <a:chOff x="323850" y="1831899"/>
            <a:chExt cx="6148106" cy="2440117"/>
          </a:xfrm>
          <a:noFill/>
        </p:grpSpPr>
        <p:sp>
          <p:nvSpPr>
            <p:cNvPr id="20" name="AutoShape 3"/>
            <p:cNvSpPr>
              <a:spLocks noChangeArrowheads="1"/>
            </p:cNvSpPr>
            <p:nvPr/>
          </p:nvSpPr>
          <p:spPr bwMode="gray">
            <a:xfrm>
              <a:off x="323851" y="1831899"/>
              <a:ext cx="2549874" cy="614417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Technological Orientation </a:t>
              </a:r>
              <a:r>
                <a:rPr lang="en-US" sz="1400" noProof="1" smtClean="0">
                  <a:latin typeface="+mj-lt"/>
                  <a:cs typeface="Arial" pitchFamily="34" charset="0"/>
                </a:rPr>
                <a:t>(innovation, perfectionism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/>
          </p:nvSpPr>
          <p:spPr bwMode="gray">
            <a:xfrm>
              <a:off x="323850" y="2446317"/>
              <a:ext cx="2549874" cy="614417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Employee Orientation </a:t>
              </a:r>
              <a:endParaRPr kumimoji="0" lang="en-US" b="1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 smtClean="0">
                  <a:latin typeface="+mj-lt"/>
                  <a:cs typeface="Arial" pitchFamily="34" charset="0"/>
                </a:rPr>
                <a:t>(satisfaction, qualification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/>
          </p:nvSpPr>
          <p:spPr bwMode="gray">
            <a:xfrm>
              <a:off x="323851" y="3040083"/>
              <a:ext cx="2549875" cy="614417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Efficiency Orientation </a:t>
              </a:r>
              <a:endParaRPr kumimoji="0" lang="en-US" b="1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 smtClean="0">
                  <a:latin typeface="+mj-lt"/>
                  <a:cs typeface="Arial" pitchFamily="34" charset="0"/>
                </a:rPr>
                <a:t>(optimization, cost reduction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  <p:sp>
          <p:nvSpPr>
            <p:cNvPr id="23" name="AutoShape 6"/>
            <p:cNvSpPr>
              <a:spLocks noChangeArrowheads="1"/>
            </p:cNvSpPr>
            <p:nvPr/>
          </p:nvSpPr>
          <p:spPr bwMode="gray">
            <a:xfrm>
              <a:off x="323850" y="3657599"/>
              <a:ext cx="2549874" cy="614417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Social Orientation </a:t>
              </a:r>
              <a:r>
                <a:rPr lang="en-US" sz="1400" b="1" noProof="1" smtClean="0">
                  <a:latin typeface="+mj-lt"/>
                  <a:cs typeface="Arial" pitchFamily="34" charset="0"/>
                </a:rPr>
                <a:t/>
              </a:r>
              <a:br>
                <a:rPr lang="en-US" sz="1400" b="1" noProof="1" smtClean="0">
                  <a:latin typeface="+mj-lt"/>
                  <a:cs typeface="Arial" pitchFamily="34" charset="0"/>
                </a:rPr>
              </a:br>
              <a:r>
                <a:rPr lang="en-US" sz="1400" noProof="1" smtClean="0">
                  <a:latin typeface="+mj-lt"/>
                  <a:cs typeface="Arial" pitchFamily="34" charset="0"/>
                </a:rPr>
                <a:t>(environment, public, image)</a:t>
              </a:r>
            </a:p>
          </p:txBody>
        </p:sp>
        <p:sp>
          <p:nvSpPr>
            <p:cNvPr id="24" name="AutoShape 7"/>
            <p:cNvSpPr>
              <a:spLocks noChangeArrowheads="1"/>
            </p:cNvSpPr>
            <p:nvPr/>
          </p:nvSpPr>
          <p:spPr bwMode="gray">
            <a:xfrm>
              <a:off x="3102112" y="1831899"/>
              <a:ext cx="3369844" cy="614418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Marketing Orientation </a:t>
              </a:r>
              <a:r>
                <a:rPr kumimoji="0" lang="en-US" sz="1400" b="0" i="0" u="none" strike="noStrike" cap="none" normalizeH="0" baseline="0" noProof="1" smtClean="0">
                  <a:ln>
                    <a:noFill/>
                  </a:ln>
                  <a:effectLst/>
                  <a:latin typeface="+mj-lt"/>
                  <a:cs typeface="Arial" pitchFamily="34" charset="0"/>
                </a:rPr>
                <a:t/>
              </a:r>
              <a:br>
                <a:rPr kumimoji="0" lang="en-US" sz="1400" b="0" i="0" u="none" strike="noStrike" cap="none" normalizeH="0" baseline="0" noProof="1" smtClean="0">
                  <a:ln>
                    <a:noFill/>
                  </a:ln>
                  <a:effectLst/>
                  <a:latin typeface="+mj-lt"/>
                  <a:cs typeface="Arial" pitchFamily="34" charset="0"/>
                </a:rPr>
              </a:br>
              <a:r>
                <a:rPr lang="en-US" sz="1400" noProof="1" smtClean="0">
                  <a:latin typeface="+mj-lt"/>
                  <a:cs typeface="Arial" pitchFamily="34" charset="0"/>
                </a:rPr>
                <a:t>(market share, competitive advantage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  <p:sp>
          <p:nvSpPr>
            <p:cNvPr id="25" name="AutoShape 9"/>
            <p:cNvSpPr>
              <a:spLocks noChangeArrowheads="1"/>
            </p:cNvSpPr>
            <p:nvPr/>
          </p:nvSpPr>
          <p:spPr bwMode="gray">
            <a:xfrm>
              <a:off x="3102110" y="3025108"/>
              <a:ext cx="3369846" cy="632491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Financial Orientation </a:t>
              </a:r>
              <a:endParaRPr kumimoji="0" lang="en-US" b="1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noProof="1" smtClean="0">
                  <a:latin typeface="+mj-lt"/>
                  <a:cs typeface="Arial" pitchFamily="34" charset="0"/>
                </a:rPr>
                <a:t> (result, revenue, profitability, liquidity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  <p:sp>
          <p:nvSpPr>
            <p:cNvPr id="26" name="AutoShape 10"/>
            <p:cNvSpPr>
              <a:spLocks noChangeArrowheads="1"/>
            </p:cNvSpPr>
            <p:nvPr/>
          </p:nvSpPr>
          <p:spPr bwMode="gray">
            <a:xfrm>
              <a:off x="3102110" y="3657599"/>
              <a:ext cx="3369846" cy="614417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b="1" noProof="1" smtClean="0"/>
                <a:t>Quality Orientation </a:t>
              </a:r>
            </a:p>
            <a:p>
              <a:r>
                <a:rPr lang="en-US" sz="1400" noProof="1" smtClean="0"/>
                <a:t>(improvement, ISO-certification, quality price)</a:t>
              </a:r>
              <a:endParaRPr lang="en-US" sz="1400" noProof="1"/>
            </a:p>
          </p:txBody>
        </p:sp>
        <p:sp>
          <p:nvSpPr>
            <p:cNvPr id="27" name="AutoShape 8"/>
            <p:cNvSpPr>
              <a:spLocks noChangeArrowheads="1"/>
            </p:cNvSpPr>
            <p:nvPr/>
          </p:nvSpPr>
          <p:spPr bwMode="gray">
            <a:xfrm>
              <a:off x="3102112" y="2446318"/>
              <a:ext cx="3369844" cy="593766"/>
            </a:xfrm>
            <a:prstGeom prst="roundRect">
              <a:avLst>
                <a:gd name="adj" fmla="val 97"/>
              </a:avLst>
            </a:prstGeom>
            <a:grp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vert="horz" wrap="square" lIns="0" tIns="108000" rIns="0" bIns="45000" numCol="1" anchor="t" anchorCtr="0" compatLnSpc="1">
              <a:prstTxWarp prst="textNoShape">
                <a:avLst/>
              </a:prstTxWarp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noProof="1" smtClean="0">
                  <a:latin typeface="+mj-lt"/>
                  <a:cs typeface="Arial" pitchFamily="34" charset="0"/>
                </a:rPr>
                <a:t>Customer Orientation </a:t>
              </a:r>
              <a:r>
                <a:rPr kumimoji="0" lang="en-US" sz="1400" b="0" i="0" u="none" strike="noStrike" cap="none" normalizeH="0" baseline="0" noProof="1" smtClean="0">
                  <a:ln>
                    <a:noFill/>
                  </a:ln>
                  <a:effectLst/>
                  <a:latin typeface="+mj-lt"/>
                  <a:cs typeface="Arial" pitchFamily="34" charset="0"/>
                </a:rPr>
                <a:t/>
              </a:r>
              <a:br>
                <a:rPr kumimoji="0" lang="en-US" sz="1400" b="0" i="0" u="none" strike="noStrike" cap="none" normalizeH="0" baseline="0" noProof="1" smtClean="0">
                  <a:ln>
                    <a:noFill/>
                  </a:ln>
                  <a:effectLst/>
                  <a:latin typeface="+mj-lt"/>
                  <a:cs typeface="Arial" pitchFamily="34" charset="0"/>
                </a:rPr>
              </a:br>
              <a:r>
                <a:rPr lang="en-US" sz="1400" noProof="1" smtClean="0">
                  <a:latin typeface="+mj-lt"/>
                  <a:cs typeface="Arial" pitchFamily="34" charset="0"/>
                </a:rPr>
                <a:t>(customer satisfaction, customer loyalty)</a:t>
              </a:r>
              <a:endParaRPr kumimoji="0" lang="en-US" sz="1600" b="0" i="0" u="none" strike="noStrike" cap="none" normalizeH="0" baseline="0" noProof="1" smtClean="0">
                <a:ln>
                  <a:noFill/>
                </a:ln>
                <a:effectLst/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7" name="Gruppieren 211"/>
          <p:cNvGrpSpPr/>
          <p:nvPr/>
        </p:nvGrpSpPr>
        <p:grpSpPr bwMode="gray">
          <a:xfrm>
            <a:off x="5719033" y="3625857"/>
            <a:ext cx="3520800" cy="3520800"/>
            <a:chOff x="6332400" y="1667552"/>
            <a:chExt cx="3520800" cy="3520800"/>
          </a:xfrm>
          <a:scene3d>
            <a:camera prst="perspectiveRelaxed" fov="3600000">
              <a:rot lat="17700000" lon="0" rev="0"/>
            </a:camera>
            <a:lightRig rig="balanced" dir="t">
              <a:rot lat="0" lon="0" rev="600000"/>
            </a:lightRig>
          </a:scene3d>
        </p:grpSpPr>
        <p:sp>
          <p:nvSpPr>
            <p:cNvPr id="76" name="_color1"/>
            <p:cNvSpPr>
              <a:spLocks noChangeArrowheads="1"/>
            </p:cNvSpPr>
            <p:nvPr/>
          </p:nvSpPr>
          <p:spPr bwMode="gray">
            <a:xfrm>
              <a:off x="6332400" y="1667552"/>
              <a:ext cx="3520800" cy="35208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 extrusionH="63500" prstMaterial="metal">
              <a:bevelT w="19050" h="19050"/>
            </a:sp3d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77" name="Oval 22"/>
            <p:cNvSpPr>
              <a:spLocks noChangeArrowheads="1"/>
            </p:cNvSpPr>
            <p:nvPr/>
          </p:nvSpPr>
          <p:spPr bwMode="gray">
            <a:xfrm>
              <a:off x="6583615" y="1920527"/>
              <a:ext cx="3018370" cy="301674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78" name="_color1"/>
            <p:cNvSpPr>
              <a:spLocks noChangeArrowheads="1"/>
            </p:cNvSpPr>
            <p:nvPr/>
          </p:nvSpPr>
          <p:spPr bwMode="gray">
            <a:xfrm>
              <a:off x="6836726" y="2171606"/>
              <a:ext cx="2514993" cy="2512691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79" name="Oval 24"/>
            <p:cNvSpPr>
              <a:spLocks noChangeArrowheads="1"/>
            </p:cNvSpPr>
            <p:nvPr/>
          </p:nvSpPr>
          <p:spPr bwMode="gray">
            <a:xfrm>
              <a:off x="7086993" y="2421738"/>
              <a:ext cx="2011615" cy="201242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80" name="_color1"/>
            <p:cNvSpPr>
              <a:spLocks noChangeArrowheads="1"/>
            </p:cNvSpPr>
            <p:nvPr/>
          </p:nvSpPr>
          <p:spPr bwMode="gray">
            <a:xfrm>
              <a:off x="7338207" y="2674713"/>
              <a:ext cx="1509185" cy="1508373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81" name="Oval 26"/>
            <p:cNvSpPr>
              <a:spLocks noChangeArrowheads="1"/>
            </p:cNvSpPr>
            <p:nvPr/>
          </p:nvSpPr>
          <p:spPr bwMode="gray">
            <a:xfrm>
              <a:off x="7588474" y="2925793"/>
              <a:ext cx="1008651" cy="100431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  <p:sp>
          <p:nvSpPr>
            <p:cNvPr id="82" name="_color1"/>
            <p:cNvSpPr>
              <a:spLocks noChangeArrowheads="1"/>
            </p:cNvSpPr>
            <p:nvPr/>
          </p:nvSpPr>
          <p:spPr bwMode="gray">
            <a:xfrm>
              <a:off x="7841585" y="3175925"/>
              <a:ext cx="502430" cy="50405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sp3d prstMaterial="metal"/>
          </p:spPr>
          <p:txBody>
            <a:bodyPr/>
            <a:lstStyle/>
            <a:p>
              <a:pPr>
                <a:lnSpc>
                  <a:spcPct val="95000"/>
                </a:lnSpc>
                <a:spcAft>
                  <a:spcPts val="800"/>
                </a:spcAft>
              </a:pPr>
              <a:endParaRPr lang="en-US" noProof="1"/>
            </a:p>
          </p:txBody>
        </p:sp>
      </p:grpSp>
      <p:pic>
        <p:nvPicPr>
          <p:cNvPr id="16" name="_effect" descr="C:\Users\marc.h\Desktop\Schatten-TEST.png"/>
          <p:cNvPicPr>
            <a:picLocks noChangeAspect="1" noChangeArrowheads="1"/>
          </p:cNvPicPr>
          <p:nvPr/>
        </p:nvPicPr>
        <p:blipFill>
          <a:blip r:embed="rId2" cstate="print">
            <a:lum bright="-100000" contrast="88000"/>
          </a:blip>
          <a:srcRect/>
          <a:stretch>
            <a:fillRect/>
          </a:stretch>
        </p:blipFill>
        <p:spPr bwMode="gray">
          <a:xfrm>
            <a:off x="7445829" y="5361238"/>
            <a:ext cx="83156" cy="45720"/>
          </a:xfrm>
          <a:prstGeom prst="rect">
            <a:avLst/>
          </a:prstGeom>
          <a:noFill/>
        </p:spPr>
      </p:pic>
      <p:grpSp>
        <p:nvGrpSpPr>
          <p:cNvPr id="28" name="Gruppieren 320"/>
          <p:cNvGrpSpPr/>
          <p:nvPr/>
        </p:nvGrpSpPr>
        <p:grpSpPr bwMode="gray">
          <a:xfrm rot="335918">
            <a:off x="7644292" y="2524369"/>
            <a:ext cx="946058" cy="2925469"/>
            <a:chOff x="4617933" y="1623898"/>
            <a:chExt cx="946058" cy="2925469"/>
          </a:xfrm>
        </p:grpSpPr>
        <p:sp>
          <p:nvSpPr>
            <p:cNvPr id="61" name="Freeform 74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783704" y="1623898"/>
              <a:ext cx="725001" cy="2600738"/>
            </a:xfrm>
            <a:custGeom>
              <a:avLst/>
              <a:gdLst/>
              <a:ahLst/>
              <a:cxnLst>
                <a:cxn ang="0">
                  <a:pos x="7" y="814"/>
                </a:cxn>
                <a:cxn ang="0">
                  <a:pos x="24" y="670"/>
                </a:cxn>
                <a:cxn ang="0">
                  <a:pos x="29" y="651"/>
                </a:cxn>
                <a:cxn ang="0">
                  <a:pos x="82" y="321"/>
                </a:cxn>
                <a:cxn ang="0">
                  <a:pos x="82" y="321"/>
                </a:cxn>
                <a:cxn ang="0">
                  <a:pos x="21" y="186"/>
                </a:cxn>
                <a:cxn ang="0">
                  <a:pos x="0" y="122"/>
                </a:cxn>
                <a:cxn ang="0">
                  <a:pos x="66" y="21"/>
                </a:cxn>
                <a:cxn ang="0">
                  <a:pos x="107" y="57"/>
                </a:cxn>
                <a:cxn ang="0">
                  <a:pos x="109" y="34"/>
                </a:cxn>
                <a:cxn ang="0">
                  <a:pos x="127" y="68"/>
                </a:cxn>
                <a:cxn ang="0">
                  <a:pos x="155" y="10"/>
                </a:cxn>
                <a:cxn ang="0">
                  <a:pos x="166" y="47"/>
                </a:cxn>
                <a:cxn ang="0">
                  <a:pos x="194" y="38"/>
                </a:cxn>
                <a:cxn ang="0">
                  <a:pos x="227" y="86"/>
                </a:cxn>
                <a:cxn ang="0">
                  <a:pos x="238" y="165"/>
                </a:cxn>
                <a:cxn ang="0">
                  <a:pos x="120" y="328"/>
                </a:cxn>
                <a:cxn ang="0">
                  <a:pos x="99" y="662"/>
                </a:cxn>
                <a:cxn ang="0">
                  <a:pos x="101" y="678"/>
                </a:cxn>
                <a:cxn ang="0">
                  <a:pos x="87" y="827"/>
                </a:cxn>
                <a:cxn ang="0">
                  <a:pos x="75" y="868"/>
                </a:cxn>
                <a:cxn ang="0">
                  <a:pos x="14" y="865"/>
                </a:cxn>
                <a:cxn ang="0">
                  <a:pos x="7" y="814"/>
                </a:cxn>
              </a:cxnLst>
              <a:rect l="0" t="0" r="r" b="b"/>
              <a:pathLst>
                <a:path w="246" h="884">
                  <a:moveTo>
                    <a:pt x="7" y="814"/>
                  </a:moveTo>
                  <a:cubicBezTo>
                    <a:pt x="24" y="670"/>
                    <a:pt x="24" y="670"/>
                    <a:pt x="24" y="670"/>
                  </a:cubicBezTo>
                  <a:cubicBezTo>
                    <a:pt x="24" y="670"/>
                    <a:pt x="26" y="658"/>
                    <a:pt x="29" y="651"/>
                  </a:cubicBezTo>
                  <a:cubicBezTo>
                    <a:pt x="82" y="321"/>
                    <a:pt x="82" y="321"/>
                    <a:pt x="82" y="321"/>
                  </a:cubicBezTo>
                  <a:cubicBezTo>
                    <a:pt x="82" y="321"/>
                    <a:pt x="82" y="321"/>
                    <a:pt x="82" y="321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8" y="167"/>
                    <a:pt x="0" y="122"/>
                    <a:pt x="0" y="122"/>
                  </a:cubicBezTo>
                  <a:cubicBezTo>
                    <a:pt x="13" y="56"/>
                    <a:pt x="66" y="21"/>
                    <a:pt x="66" y="21"/>
                  </a:cubicBezTo>
                  <a:cubicBezTo>
                    <a:pt x="66" y="21"/>
                    <a:pt x="96" y="47"/>
                    <a:pt x="107" y="57"/>
                  </a:cubicBezTo>
                  <a:cubicBezTo>
                    <a:pt x="106" y="42"/>
                    <a:pt x="109" y="34"/>
                    <a:pt x="109" y="34"/>
                  </a:cubicBezTo>
                  <a:cubicBezTo>
                    <a:pt x="113" y="34"/>
                    <a:pt x="122" y="56"/>
                    <a:pt x="127" y="68"/>
                  </a:cubicBezTo>
                  <a:cubicBezTo>
                    <a:pt x="144" y="0"/>
                    <a:pt x="155" y="10"/>
                    <a:pt x="155" y="10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6" y="47"/>
                    <a:pt x="187" y="38"/>
                    <a:pt x="194" y="38"/>
                  </a:cubicBezTo>
                  <a:cubicBezTo>
                    <a:pt x="209" y="37"/>
                    <a:pt x="227" y="86"/>
                    <a:pt x="227" y="86"/>
                  </a:cubicBezTo>
                  <a:cubicBezTo>
                    <a:pt x="243" y="124"/>
                    <a:pt x="246" y="147"/>
                    <a:pt x="238" y="165"/>
                  </a:cubicBezTo>
                  <a:cubicBezTo>
                    <a:pt x="223" y="202"/>
                    <a:pt x="155" y="285"/>
                    <a:pt x="120" y="328"/>
                  </a:cubicBezTo>
                  <a:cubicBezTo>
                    <a:pt x="114" y="414"/>
                    <a:pt x="99" y="663"/>
                    <a:pt x="99" y="662"/>
                  </a:cubicBezTo>
                  <a:cubicBezTo>
                    <a:pt x="99" y="663"/>
                    <a:pt x="100" y="671"/>
                    <a:pt x="101" y="678"/>
                  </a:cubicBezTo>
                  <a:cubicBezTo>
                    <a:pt x="87" y="827"/>
                    <a:pt x="87" y="827"/>
                    <a:pt x="87" y="827"/>
                  </a:cubicBezTo>
                  <a:cubicBezTo>
                    <a:pt x="87" y="827"/>
                    <a:pt x="83" y="856"/>
                    <a:pt x="75" y="868"/>
                  </a:cubicBezTo>
                  <a:cubicBezTo>
                    <a:pt x="75" y="868"/>
                    <a:pt x="41" y="884"/>
                    <a:pt x="14" y="865"/>
                  </a:cubicBezTo>
                  <a:cubicBezTo>
                    <a:pt x="14" y="865"/>
                    <a:pt x="5" y="840"/>
                    <a:pt x="7" y="81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2" name="Freeform 75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916067" y="1662511"/>
              <a:ext cx="372298" cy="986855"/>
            </a:xfrm>
            <a:custGeom>
              <a:avLst/>
              <a:gdLst/>
              <a:ahLst/>
              <a:cxnLst>
                <a:cxn ang="0">
                  <a:pos x="127" y="49"/>
                </a:cxn>
                <a:cxn ang="0">
                  <a:pos x="97" y="335"/>
                </a:cxn>
                <a:cxn ang="0">
                  <a:pos x="69" y="276"/>
                </a:cxn>
                <a:cxn ang="0">
                  <a:pos x="15" y="156"/>
                </a:cxn>
                <a:cxn ang="0">
                  <a:pos x="0" y="103"/>
                </a:cxn>
                <a:cxn ang="0">
                  <a:pos x="66" y="2"/>
                </a:cxn>
                <a:cxn ang="0">
                  <a:pos x="127" y="49"/>
                </a:cxn>
              </a:cxnLst>
              <a:rect l="0" t="0" r="r" b="b"/>
              <a:pathLst>
                <a:path w="127" h="336">
                  <a:moveTo>
                    <a:pt x="127" y="49"/>
                  </a:moveTo>
                  <a:cubicBezTo>
                    <a:pt x="127" y="49"/>
                    <a:pt x="102" y="283"/>
                    <a:pt x="97" y="335"/>
                  </a:cubicBezTo>
                  <a:cubicBezTo>
                    <a:pt x="97" y="336"/>
                    <a:pt x="71" y="280"/>
                    <a:pt x="69" y="276"/>
                  </a:cubicBezTo>
                  <a:cubicBezTo>
                    <a:pt x="50" y="235"/>
                    <a:pt x="15" y="156"/>
                    <a:pt x="15" y="156"/>
                  </a:cubicBezTo>
                  <a:cubicBezTo>
                    <a:pt x="15" y="156"/>
                    <a:pt x="1" y="127"/>
                    <a:pt x="0" y="103"/>
                  </a:cubicBezTo>
                  <a:cubicBezTo>
                    <a:pt x="0" y="73"/>
                    <a:pt x="41" y="4"/>
                    <a:pt x="66" y="2"/>
                  </a:cubicBezTo>
                  <a:cubicBezTo>
                    <a:pt x="86" y="0"/>
                    <a:pt x="127" y="49"/>
                    <a:pt x="127" y="4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3" name="Freeform 76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5009997" y="1747621"/>
              <a:ext cx="553994" cy="1889988"/>
            </a:xfrm>
            <a:custGeom>
              <a:avLst/>
              <a:gdLst/>
              <a:ahLst/>
              <a:cxnLst>
                <a:cxn ang="0">
                  <a:pos x="38" y="643"/>
                </a:cxn>
                <a:cxn ang="0">
                  <a:pos x="0" y="639"/>
                </a:cxn>
                <a:cxn ang="0">
                  <a:pos x="38" y="289"/>
                </a:cxn>
                <a:cxn ang="0">
                  <a:pos x="70" y="34"/>
                </a:cxn>
                <a:cxn ang="0">
                  <a:pos x="131" y="3"/>
                </a:cxn>
                <a:cxn ang="0">
                  <a:pos x="160" y="40"/>
                </a:cxn>
                <a:cxn ang="0">
                  <a:pos x="175" y="130"/>
                </a:cxn>
                <a:cxn ang="0">
                  <a:pos x="132" y="197"/>
                </a:cxn>
                <a:cxn ang="0">
                  <a:pos x="56" y="293"/>
                </a:cxn>
                <a:cxn ang="0">
                  <a:pos x="36" y="625"/>
                </a:cxn>
                <a:cxn ang="0">
                  <a:pos x="38" y="643"/>
                </a:cxn>
              </a:cxnLst>
              <a:rect l="0" t="0" r="r" b="b"/>
              <a:pathLst>
                <a:path w="188" h="643">
                  <a:moveTo>
                    <a:pt x="38" y="643"/>
                  </a:moveTo>
                  <a:cubicBezTo>
                    <a:pt x="0" y="639"/>
                    <a:pt x="0" y="639"/>
                    <a:pt x="0" y="639"/>
                  </a:cubicBezTo>
                  <a:cubicBezTo>
                    <a:pt x="38" y="289"/>
                    <a:pt x="38" y="289"/>
                    <a:pt x="38" y="289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104" y="6"/>
                    <a:pt x="131" y="3"/>
                  </a:cubicBezTo>
                  <a:cubicBezTo>
                    <a:pt x="131" y="3"/>
                    <a:pt x="143" y="0"/>
                    <a:pt x="160" y="40"/>
                  </a:cubicBezTo>
                  <a:cubicBezTo>
                    <a:pt x="160" y="40"/>
                    <a:pt x="188" y="99"/>
                    <a:pt x="175" y="130"/>
                  </a:cubicBezTo>
                  <a:cubicBezTo>
                    <a:pt x="162" y="162"/>
                    <a:pt x="132" y="197"/>
                    <a:pt x="132" y="197"/>
                  </a:cubicBezTo>
                  <a:cubicBezTo>
                    <a:pt x="132" y="197"/>
                    <a:pt x="76" y="272"/>
                    <a:pt x="56" y="293"/>
                  </a:cubicBezTo>
                  <a:cubicBezTo>
                    <a:pt x="56" y="293"/>
                    <a:pt x="42" y="542"/>
                    <a:pt x="36" y="625"/>
                  </a:cubicBezTo>
                  <a:cubicBezTo>
                    <a:pt x="36" y="630"/>
                    <a:pt x="37" y="641"/>
                    <a:pt x="38" y="643"/>
                  </a:cubicBezTo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4" name="Freeform 77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5197308" y="1666761"/>
              <a:ext cx="279669" cy="1020701"/>
            </a:xfrm>
            <a:custGeom>
              <a:avLst/>
              <a:gdLst/>
              <a:ahLst/>
              <a:cxnLst>
                <a:cxn ang="0">
                  <a:pos x="30" y="61"/>
                </a:cxn>
                <a:cxn ang="0">
                  <a:pos x="58" y="3"/>
                </a:cxn>
                <a:cxn ang="0">
                  <a:pos x="92" y="122"/>
                </a:cxn>
                <a:cxn ang="0">
                  <a:pos x="24" y="293"/>
                </a:cxn>
                <a:cxn ang="0">
                  <a:pos x="0" y="347"/>
                </a:cxn>
                <a:cxn ang="0">
                  <a:pos x="2" y="333"/>
                </a:cxn>
                <a:cxn ang="0">
                  <a:pos x="30" y="61"/>
                </a:cxn>
              </a:cxnLst>
              <a:rect l="0" t="0" r="r" b="b"/>
              <a:pathLst>
                <a:path w="95" h="347">
                  <a:moveTo>
                    <a:pt x="30" y="61"/>
                  </a:moveTo>
                  <a:cubicBezTo>
                    <a:pt x="30" y="61"/>
                    <a:pt x="45" y="0"/>
                    <a:pt x="58" y="3"/>
                  </a:cubicBezTo>
                  <a:cubicBezTo>
                    <a:pt x="71" y="5"/>
                    <a:pt x="95" y="91"/>
                    <a:pt x="92" y="122"/>
                  </a:cubicBezTo>
                  <a:cubicBezTo>
                    <a:pt x="87" y="168"/>
                    <a:pt x="24" y="293"/>
                    <a:pt x="24" y="293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2" y="333"/>
                    <a:pt x="2" y="333"/>
                    <a:pt x="2" y="333"/>
                  </a:cubicBezTo>
                  <a:lnTo>
                    <a:pt x="30" y="6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5" name="Freeform 78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619343" y="4097745"/>
              <a:ext cx="3563" cy="17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7C8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6" name="Freeform 79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644432" y="3481684"/>
              <a:ext cx="281450" cy="646622"/>
            </a:xfrm>
            <a:custGeom>
              <a:avLst/>
              <a:gdLst/>
              <a:ahLst/>
              <a:cxnLst>
                <a:cxn ang="0">
                  <a:pos x="39" y="210"/>
                </a:cxn>
                <a:cxn ang="0">
                  <a:pos x="9" y="215"/>
                </a:cxn>
                <a:cxn ang="0">
                  <a:pos x="9" y="215"/>
                </a:cxn>
                <a:cxn ang="0">
                  <a:pos x="2" y="166"/>
                </a:cxn>
                <a:cxn ang="0">
                  <a:pos x="18" y="25"/>
                </a:cxn>
                <a:cxn ang="0">
                  <a:pos x="22" y="7"/>
                </a:cxn>
                <a:cxn ang="0">
                  <a:pos x="22" y="7"/>
                </a:cxn>
                <a:cxn ang="0">
                  <a:pos x="23" y="6"/>
                </a:cxn>
                <a:cxn ang="0">
                  <a:pos x="23" y="6"/>
                </a:cxn>
                <a:cxn ang="0">
                  <a:pos x="58" y="1"/>
                </a:cxn>
                <a:cxn ang="0">
                  <a:pos x="94" y="12"/>
                </a:cxn>
                <a:cxn ang="0">
                  <a:pos x="94" y="14"/>
                </a:cxn>
                <a:cxn ang="0">
                  <a:pos x="96" y="30"/>
                </a:cxn>
                <a:cxn ang="0">
                  <a:pos x="82" y="179"/>
                </a:cxn>
                <a:cxn ang="0">
                  <a:pos x="70" y="220"/>
                </a:cxn>
                <a:cxn ang="0">
                  <a:pos x="70" y="220"/>
                </a:cxn>
                <a:cxn ang="0">
                  <a:pos x="70" y="219"/>
                </a:cxn>
                <a:cxn ang="0">
                  <a:pos x="39" y="210"/>
                </a:cxn>
              </a:cxnLst>
              <a:rect l="0" t="0" r="r" b="b"/>
              <a:pathLst>
                <a:path w="96" h="220">
                  <a:moveTo>
                    <a:pt x="39" y="210"/>
                  </a:moveTo>
                  <a:cubicBezTo>
                    <a:pt x="23" y="208"/>
                    <a:pt x="9" y="211"/>
                    <a:pt x="9" y="215"/>
                  </a:cubicBezTo>
                  <a:cubicBezTo>
                    <a:pt x="9" y="215"/>
                    <a:pt x="9" y="215"/>
                    <a:pt x="9" y="215"/>
                  </a:cubicBezTo>
                  <a:cubicBezTo>
                    <a:pt x="7" y="209"/>
                    <a:pt x="0" y="185"/>
                    <a:pt x="2" y="16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9" y="16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6" y="1"/>
                    <a:pt x="41" y="0"/>
                    <a:pt x="58" y="1"/>
                  </a:cubicBezTo>
                  <a:cubicBezTo>
                    <a:pt x="77" y="3"/>
                    <a:pt x="95" y="7"/>
                    <a:pt x="94" y="12"/>
                  </a:cubicBezTo>
                  <a:cubicBezTo>
                    <a:pt x="94" y="12"/>
                    <a:pt x="94" y="13"/>
                    <a:pt x="94" y="14"/>
                  </a:cubicBezTo>
                  <a:cubicBezTo>
                    <a:pt x="95" y="15"/>
                    <a:pt x="96" y="30"/>
                    <a:pt x="96" y="30"/>
                  </a:cubicBezTo>
                  <a:cubicBezTo>
                    <a:pt x="82" y="179"/>
                    <a:pt x="82" y="179"/>
                    <a:pt x="82" y="179"/>
                  </a:cubicBezTo>
                  <a:cubicBezTo>
                    <a:pt x="82" y="179"/>
                    <a:pt x="76" y="215"/>
                    <a:pt x="70" y="220"/>
                  </a:cubicBezTo>
                  <a:cubicBezTo>
                    <a:pt x="70" y="220"/>
                    <a:pt x="70" y="220"/>
                    <a:pt x="70" y="220"/>
                  </a:cubicBezTo>
                  <a:cubicBezTo>
                    <a:pt x="70" y="220"/>
                    <a:pt x="70" y="220"/>
                    <a:pt x="70" y="219"/>
                  </a:cubicBezTo>
                  <a:cubicBezTo>
                    <a:pt x="70" y="215"/>
                    <a:pt x="55" y="211"/>
                    <a:pt x="39" y="210"/>
                  </a:cubicBezTo>
                  <a:close/>
                </a:path>
              </a:pathLst>
            </a:custGeom>
            <a:gradFill rotWithShape="1">
              <a:gsLst>
                <a:gs pos="0">
                  <a:srgbClr val="808080">
                    <a:gamma/>
                    <a:tint val="18039"/>
                    <a:invGamma/>
                  </a:srgbClr>
                </a:gs>
                <a:gs pos="100000">
                  <a:srgbClr val="80808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7" name="Freeform 80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617933" y="4085866"/>
              <a:ext cx="179914" cy="57002"/>
            </a:xfrm>
            <a:custGeom>
              <a:avLst/>
              <a:gdLst/>
              <a:ahLst/>
              <a:cxnLst>
                <a:cxn ang="0">
                  <a:pos x="21" y="10"/>
                </a:cxn>
                <a:cxn ang="0">
                  <a:pos x="21" y="18"/>
                </a:cxn>
                <a:cxn ang="0">
                  <a:pos x="1" y="9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0" y="2"/>
                </a:cxn>
                <a:cxn ang="0">
                  <a:pos x="61" y="11"/>
                </a:cxn>
                <a:cxn ang="0">
                  <a:pos x="61" y="12"/>
                </a:cxn>
                <a:cxn ang="0">
                  <a:pos x="36" y="19"/>
                </a:cxn>
                <a:cxn ang="0">
                  <a:pos x="37" y="12"/>
                </a:cxn>
                <a:cxn ang="0">
                  <a:pos x="21" y="10"/>
                </a:cxn>
              </a:cxnLst>
              <a:rect l="0" t="0" r="r" b="b"/>
              <a:pathLst>
                <a:path w="61" h="19">
                  <a:moveTo>
                    <a:pt x="21" y="10"/>
                  </a:moveTo>
                  <a:cubicBezTo>
                    <a:pt x="21" y="18"/>
                    <a:pt x="21" y="18"/>
                    <a:pt x="21" y="18"/>
                  </a:cubicBezTo>
                  <a:cubicBezTo>
                    <a:pt x="10" y="16"/>
                    <a:pt x="3" y="12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14" y="0"/>
                    <a:pt x="30" y="2"/>
                  </a:cubicBezTo>
                  <a:cubicBezTo>
                    <a:pt x="46" y="3"/>
                    <a:pt x="61" y="7"/>
                    <a:pt x="61" y="11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58" y="16"/>
                    <a:pt x="48" y="19"/>
                    <a:pt x="36" y="1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0" y="9"/>
                    <a:pt x="21" y="10"/>
                    <a:pt x="21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808080"/>
                </a:gs>
                <a:gs pos="100000">
                  <a:srgbClr val="808080">
                    <a:gamma/>
                    <a:shade val="72549"/>
                    <a:invGamma/>
                  </a:srgb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sp>
          <p:nvSpPr>
            <p:cNvPr id="68" name="Freeform 81" descr="© INSCALE GmbH, 26.05.2010&#10;http://www.presentationload.com/"/>
            <p:cNvSpPr>
              <a:spLocks/>
            </p:cNvSpPr>
            <p:nvPr/>
          </p:nvSpPr>
          <p:spPr bwMode="gray">
            <a:xfrm rot="581880">
              <a:off x="4619905" y="4109650"/>
              <a:ext cx="69687" cy="439717"/>
            </a:xfrm>
            <a:custGeom>
              <a:avLst/>
              <a:gdLst>
                <a:gd name="connsiteX0" fmla="*/ 0 w 10000"/>
                <a:gd name="connsiteY0" fmla="*/ 9935 h 9935"/>
                <a:gd name="connsiteX1" fmla="*/ 3333 w 10000"/>
                <a:gd name="connsiteY1" fmla="*/ 519 h 9935"/>
                <a:gd name="connsiteX2" fmla="*/ 3333 w 10000"/>
                <a:gd name="connsiteY2" fmla="*/ 0 h 9935"/>
                <a:gd name="connsiteX3" fmla="*/ 10000 w 10000"/>
                <a:gd name="connsiteY3" fmla="*/ 130 h 9935"/>
                <a:gd name="connsiteX4" fmla="*/ 9583 w 10000"/>
                <a:gd name="connsiteY4" fmla="*/ 584 h 9935"/>
                <a:gd name="connsiteX5" fmla="*/ 2815 w 10000"/>
                <a:gd name="connsiteY5" fmla="*/ 7190 h 9935"/>
                <a:gd name="connsiteX6" fmla="*/ 417 w 10000"/>
                <a:gd name="connsiteY6" fmla="*/ 9935 h 9935"/>
                <a:gd name="connsiteX7" fmla="*/ 0 w 10000"/>
                <a:gd name="connsiteY7" fmla="*/ 9935 h 9935"/>
                <a:gd name="connsiteX0" fmla="*/ 0 w 10000"/>
                <a:gd name="connsiteY0" fmla="*/ 10000 h 10000"/>
                <a:gd name="connsiteX1" fmla="*/ 3333 w 10000"/>
                <a:gd name="connsiteY1" fmla="*/ 522 h 10000"/>
                <a:gd name="connsiteX2" fmla="*/ 3333 w 10000"/>
                <a:gd name="connsiteY2" fmla="*/ 0 h 10000"/>
                <a:gd name="connsiteX3" fmla="*/ 10000 w 10000"/>
                <a:gd name="connsiteY3" fmla="*/ 131 h 10000"/>
                <a:gd name="connsiteX4" fmla="*/ 9583 w 10000"/>
                <a:gd name="connsiteY4" fmla="*/ 588 h 10000"/>
                <a:gd name="connsiteX5" fmla="*/ 3080 w 10000"/>
                <a:gd name="connsiteY5" fmla="*/ 9424 h 10000"/>
                <a:gd name="connsiteX6" fmla="*/ 417 w 10000"/>
                <a:gd name="connsiteY6" fmla="*/ 10000 h 10000"/>
                <a:gd name="connsiteX7" fmla="*/ 0 w 10000"/>
                <a:gd name="connsiteY7" fmla="*/ 10000 h 10000"/>
                <a:gd name="connsiteX0" fmla="*/ 0 w 10000"/>
                <a:gd name="connsiteY0" fmla="*/ 10000 h 10232"/>
                <a:gd name="connsiteX1" fmla="*/ 3333 w 10000"/>
                <a:gd name="connsiteY1" fmla="*/ 522 h 10232"/>
                <a:gd name="connsiteX2" fmla="*/ 3333 w 10000"/>
                <a:gd name="connsiteY2" fmla="*/ 0 h 10232"/>
                <a:gd name="connsiteX3" fmla="*/ 10000 w 10000"/>
                <a:gd name="connsiteY3" fmla="*/ 131 h 10232"/>
                <a:gd name="connsiteX4" fmla="*/ 9583 w 10000"/>
                <a:gd name="connsiteY4" fmla="*/ 588 h 10232"/>
                <a:gd name="connsiteX5" fmla="*/ 4511 w 10000"/>
                <a:gd name="connsiteY5" fmla="*/ 10232 h 10232"/>
                <a:gd name="connsiteX6" fmla="*/ 417 w 10000"/>
                <a:gd name="connsiteY6" fmla="*/ 10000 h 10232"/>
                <a:gd name="connsiteX7" fmla="*/ 0 w 10000"/>
                <a:gd name="connsiteY7" fmla="*/ 10000 h 10232"/>
                <a:gd name="connsiteX0" fmla="*/ 0 w 10000"/>
                <a:gd name="connsiteY0" fmla="*/ 10000 h 10000"/>
                <a:gd name="connsiteX1" fmla="*/ 3333 w 10000"/>
                <a:gd name="connsiteY1" fmla="*/ 522 h 10000"/>
                <a:gd name="connsiteX2" fmla="*/ 3333 w 10000"/>
                <a:gd name="connsiteY2" fmla="*/ 0 h 10000"/>
                <a:gd name="connsiteX3" fmla="*/ 10000 w 10000"/>
                <a:gd name="connsiteY3" fmla="*/ 131 h 10000"/>
                <a:gd name="connsiteX4" fmla="*/ 9583 w 10000"/>
                <a:gd name="connsiteY4" fmla="*/ 588 h 10000"/>
                <a:gd name="connsiteX5" fmla="*/ 3510 w 10000"/>
                <a:gd name="connsiteY5" fmla="*/ 9666 h 10000"/>
                <a:gd name="connsiteX6" fmla="*/ 417 w 10000"/>
                <a:gd name="connsiteY6" fmla="*/ 10000 h 10000"/>
                <a:gd name="connsiteX7" fmla="*/ 0 w 10000"/>
                <a:gd name="connsiteY7" fmla="*/ 10000 h 10000"/>
                <a:gd name="connsiteX0" fmla="*/ 0 w 10031"/>
                <a:gd name="connsiteY0" fmla="*/ 9782 h 10000"/>
                <a:gd name="connsiteX1" fmla="*/ 3364 w 10031"/>
                <a:gd name="connsiteY1" fmla="*/ 522 h 10000"/>
                <a:gd name="connsiteX2" fmla="*/ 3364 w 10031"/>
                <a:gd name="connsiteY2" fmla="*/ 0 h 10000"/>
                <a:gd name="connsiteX3" fmla="*/ 10031 w 10031"/>
                <a:gd name="connsiteY3" fmla="*/ 131 h 10000"/>
                <a:gd name="connsiteX4" fmla="*/ 9614 w 10031"/>
                <a:gd name="connsiteY4" fmla="*/ 588 h 10000"/>
                <a:gd name="connsiteX5" fmla="*/ 3541 w 10031"/>
                <a:gd name="connsiteY5" fmla="*/ 9666 h 10000"/>
                <a:gd name="connsiteX6" fmla="*/ 448 w 10031"/>
                <a:gd name="connsiteY6" fmla="*/ 10000 h 10000"/>
                <a:gd name="connsiteX7" fmla="*/ 0 w 10031"/>
                <a:gd name="connsiteY7" fmla="*/ 9782 h 10000"/>
                <a:gd name="connsiteX0" fmla="*/ 0 w 10031"/>
                <a:gd name="connsiteY0" fmla="*/ 9782 h 9782"/>
                <a:gd name="connsiteX1" fmla="*/ 3364 w 10031"/>
                <a:gd name="connsiteY1" fmla="*/ 522 h 9782"/>
                <a:gd name="connsiteX2" fmla="*/ 3364 w 10031"/>
                <a:gd name="connsiteY2" fmla="*/ 0 h 9782"/>
                <a:gd name="connsiteX3" fmla="*/ 10031 w 10031"/>
                <a:gd name="connsiteY3" fmla="*/ 131 h 9782"/>
                <a:gd name="connsiteX4" fmla="*/ 9614 w 10031"/>
                <a:gd name="connsiteY4" fmla="*/ 588 h 9782"/>
                <a:gd name="connsiteX5" fmla="*/ 3541 w 10031"/>
                <a:gd name="connsiteY5" fmla="*/ 9666 h 9782"/>
                <a:gd name="connsiteX6" fmla="*/ 0 w 10031"/>
                <a:gd name="connsiteY6" fmla="*/ 9782 h 9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1" h="9782">
                  <a:moveTo>
                    <a:pt x="0" y="9782"/>
                  </a:moveTo>
                  <a:lnTo>
                    <a:pt x="3364" y="522"/>
                  </a:lnTo>
                  <a:lnTo>
                    <a:pt x="3364" y="0"/>
                  </a:lnTo>
                  <a:lnTo>
                    <a:pt x="10031" y="131"/>
                  </a:lnTo>
                  <a:lnTo>
                    <a:pt x="9614" y="588"/>
                  </a:lnTo>
                  <a:lnTo>
                    <a:pt x="3541" y="9666"/>
                  </a:lnTo>
                  <a:lnTo>
                    <a:pt x="0" y="9782"/>
                  </a:lnTo>
                  <a:close/>
                </a:path>
              </a:pathLst>
            </a:custGeom>
            <a:gradFill rotWithShape="1">
              <a:gsLst>
                <a:gs pos="0">
                  <a:srgbClr val="808080">
                    <a:gamma/>
                    <a:tint val="50588"/>
                    <a:invGamma/>
                  </a:srgbClr>
                </a:gs>
                <a:gs pos="100000">
                  <a:srgbClr val="808080"/>
                </a:gs>
              </a:gsLst>
              <a:lin ang="189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noProof="1"/>
            </a:p>
          </p:txBody>
        </p:sp>
        <p:grpSp>
          <p:nvGrpSpPr>
            <p:cNvPr id="69" name="Group 82"/>
            <p:cNvGrpSpPr>
              <a:grpSpLocks/>
            </p:cNvGrpSpPr>
            <p:nvPr/>
          </p:nvGrpSpPr>
          <p:grpSpPr bwMode="gray">
            <a:xfrm rot="581880">
              <a:off x="4650245" y="3579848"/>
              <a:ext cx="274325" cy="423956"/>
              <a:chOff x="2890" y="2096"/>
              <a:chExt cx="154" cy="238"/>
            </a:xfrm>
          </p:grpSpPr>
          <p:sp>
            <p:nvSpPr>
              <p:cNvPr id="7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913" y="2096"/>
                <a:ext cx="131" cy="34"/>
              </a:xfrm>
              <a:custGeom>
                <a:avLst/>
                <a:gdLst/>
                <a:ahLst/>
                <a:cxnLst>
                  <a:cxn ang="0">
                    <a:pos x="1" y="15"/>
                  </a:cxn>
                  <a:cxn ang="0">
                    <a:pos x="1" y="12"/>
                  </a:cxn>
                  <a:cxn ang="0">
                    <a:pos x="44" y="2"/>
                  </a:cxn>
                  <a:cxn ang="0">
                    <a:pos x="79" y="18"/>
                  </a:cxn>
                  <a:cxn ang="0">
                    <a:pos x="78" y="20"/>
                  </a:cxn>
                  <a:cxn ang="0">
                    <a:pos x="43" y="6"/>
                  </a:cxn>
                  <a:cxn ang="0">
                    <a:pos x="1" y="15"/>
                  </a:cxn>
                </a:cxnLst>
                <a:rect l="0" t="0" r="r" b="b"/>
                <a:pathLst>
                  <a:path w="79" h="20">
                    <a:moveTo>
                      <a:pt x="1" y="15"/>
                    </a:moveTo>
                    <a:cubicBezTo>
                      <a:pt x="0" y="14"/>
                      <a:pt x="1" y="13"/>
                      <a:pt x="1" y="12"/>
                    </a:cubicBezTo>
                    <a:cubicBezTo>
                      <a:pt x="1" y="7"/>
                      <a:pt x="23" y="0"/>
                      <a:pt x="44" y="2"/>
                    </a:cubicBezTo>
                    <a:cubicBezTo>
                      <a:pt x="64" y="4"/>
                      <a:pt x="79" y="12"/>
                      <a:pt x="79" y="18"/>
                    </a:cubicBezTo>
                    <a:cubicBezTo>
                      <a:pt x="79" y="19"/>
                      <a:pt x="79" y="20"/>
                      <a:pt x="78" y="20"/>
                    </a:cubicBezTo>
                    <a:cubicBezTo>
                      <a:pt x="75" y="15"/>
                      <a:pt x="61" y="8"/>
                      <a:pt x="43" y="6"/>
                    </a:cubicBezTo>
                    <a:cubicBezTo>
                      <a:pt x="25" y="5"/>
                      <a:pt x="6" y="10"/>
                      <a:pt x="1" y="15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1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909" y="2126"/>
                <a:ext cx="133" cy="33"/>
              </a:xfrm>
              <a:custGeom>
                <a:avLst/>
                <a:gdLst/>
                <a:ahLst/>
                <a:cxnLst>
                  <a:cxn ang="0">
                    <a:pos x="1" y="14"/>
                  </a:cxn>
                  <a:cxn ang="0">
                    <a:pos x="1" y="12"/>
                  </a:cxn>
                  <a:cxn ang="0">
                    <a:pos x="44" y="2"/>
                  </a:cxn>
                  <a:cxn ang="0">
                    <a:pos x="79" y="17"/>
                  </a:cxn>
                  <a:cxn ang="0">
                    <a:pos x="79" y="20"/>
                  </a:cxn>
                  <a:cxn ang="0">
                    <a:pos x="44" y="6"/>
                  </a:cxn>
                  <a:cxn ang="0">
                    <a:pos x="1" y="14"/>
                  </a:cxn>
                </a:cxnLst>
                <a:rect l="0" t="0" r="r" b="b"/>
                <a:pathLst>
                  <a:path w="80" h="20">
                    <a:moveTo>
                      <a:pt x="1" y="14"/>
                    </a:moveTo>
                    <a:cubicBezTo>
                      <a:pt x="0" y="14"/>
                      <a:pt x="1" y="12"/>
                      <a:pt x="1" y="12"/>
                    </a:cubicBezTo>
                    <a:cubicBezTo>
                      <a:pt x="1" y="6"/>
                      <a:pt x="23" y="0"/>
                      <a:pt x="44" y="2"/>
                    </a:cubicBezTo>
                    <a:cubicBezTo>
                      <a:pt x="65" y="4"/>
                      <a:pt x="80" y="12"/>
                      <a:pt x="79" y="17"/>
                    </a:cubicBezTo>
                    <a:cubicBezTo>
                      <a:pt x="79" y="18"/>
                      <a:pt x="79" y="19"/>
                      <a:pt x="79" y="20"/>
                    </a:cubicBezTo>
                    <a:cubicBezTo>
                      <a:pt x="76" y="15"/>
                      <a:pt x="62" y="8"/>
                      <a:pt x="44" y="6"/>
                    </a:cubicBezTo>
                    <a:cubicBezTo>
                      <a:pt x="25" y="4"/>
                      <a:pt x="6" y="9"/>
                      <a:pt x="1" y="1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907" y="2154"/>
                <a:ext cx="133" cy="33"/>
              </a:xfrm>
              <a:custGeom>
                <a:avLst/>
                <a:gdLst/>
                <a:ahLst/>
                <a:cxnLst>
                  <a:cxn ang="0">
                    <a:pos x="1" y="14"/>
                  </a:cxn>
                  <a:cxn ang="0">
                    <a:pos x="1" y="12"/>
                  </a:cxn>
                  <a:cxn ang="0">
                    <a:pos x="44" y="2"/>
                  </a:cxn>
                  <a:cxn ang="0">
                    <a:pos x="80" y="17"/>
                  </a:cxn>
                  <a:cxn ang="0">
                    <a:pos x="79" y="20"/>
                  </a:cxn>
                  <a:cxn ang="0">
                    <a:pos x="44" y="6"/>
                  </a:cxn>
                  <a:cxn ang="0">
                    <a:pos x="1" y="14"/>
                  </a:cxn>
                </a:cxnLst>
                <a:rect l="0" t="0" r="r" b="b"/>
                <a:pathLst>
                  <a:path w="80" h="20">
                    <a:moveTo>
                      <a:pt x="1" y="14"/>
                    </a:moveTo>
                    <a:cubicBezTo>
                      <a:pt x="0" y="13"/>
                      <a:pt x="1" y="12"/>
                      <a:pt x="1" y="12"/>
                    </a:cubicBezTo>
                    <a:cubicBezTo>
                      <a:pt x="1" y="6"/>
                      <a:pt x="23" y="0"/>
                      <a:pt x="44" y="2"/>
                    </a:cubicBezTo>
                    <a:cubicBezTo>
                      <a:pt x="65" y="4"/>
                      <a:pt x="80" y="12"/>
                      <a:pt x="80" y="17"/>
                    </a:cubicBezTo>
                    <a:cubicBezTo>
                      <a:pt x="80" y="18"/>
                      <a:pt x="80" y="19"/>
                      <a:pt x="79" y="20"/>
                    </a:cubicBezTo>
                    <a:cubicBezTo>
                      <a:pt x="76" y="15"/>
                      <a:pt x="62" y="7"/>
                      <a:pt x="44" y="6"/>
                    </a:cubicBezTo>
                    <a:cubicBezTo>
                      <a:pt x="26" y="4"/>
                      <a:pt x="6" y="9"/>
                      <a:pt x="1" y="1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897" y="2241"/>
                <a:ext cx="134" cy="35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2"/>
                  </a:cxn>
                  <a:cxn ang="0">
                    <a:pos x="44" y="2"/>
                  </a:cxn>
                  <a:cxn ang="0">
                    <a:pos x="81" y="18"/>
                  </a:cxn>
                  <a:cxn ang="0">
                    <a:pos x="80" y="21"/>
                  </a:cxn>
                  <a:cxn ang="0">
                    <a:pos x="44" y="6"/>
                  </a:cxn>
                  <a:cxn ang="0">
                    <a:pos x="0" y="15"/>
                  </a:cxn>
                </a:cxnLst>
                <a:rect l="0" t="0" r="r" b="b"/>
                <a:pathLst>
                  <a:path w="81" h="21">
                    <a:moveTo>
                      <a:pt x="0" y="15"/>
                    </a:moveTo>
                    <a:cubicBezTo>
                      <a:pt x="0" y="14"/>
                      <a:pt x="0" y="13"/>
                      <a:pt x="0" y="12"/>
                    </a:cubicBezTo>
                    <a:cubicBezTo>
                      <a:pt x="1" y="7"/>
                      <a:pt x="23" y="0"/>
                      <a:pt x="44" y="2"/>
                    </a:cubicBezTo>
                    <a:cubicBezTo>
                      <a:pt x="66" y="4"/>
                      <a:pt x="81" y="13"/>
                      <a:pt x="81" y="18"/>
                    </a:cubicBezTo>
                    <a:cubicBezTo>
                      <a:pt x="81" y="19"/>
                      <a:pt x="81" y="20"/>
                      <a:pt x="80" y="21"/>
                    </a:cubicBezTo>
                    <a:cubicBezTo>
                      <a:pt x="77" y="15"/>
                      <a:pt x="63" y="8"/>
                      <a:pt x="44" y="6"/>
                    </a:cubicBezTo>
                    <a:cubicBezTo>
                      <a:pt x="25" y="5"/>
                      <a:pt x="5" y="10"/>
                      <a:pt x="0" y="15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894" y="2271"/>
                <a:ext cx="135" cy="35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2"/>
                  </a:cxn>
                  <a:cxn ang="0">
                    <a:pos x="45" y="2"/>
                  </a:cxn>
                  <a:cxn ang="0">
                    <a:pos x="81" y="18"/>
                  </a:cxn>
                  <a:cxn ang="0">
                    <a:pos x="81" y="21"/>
                  </a:cxn>
                  <a:cxn ang="0">
                    <a:pos x="44" y="6"/>
                  </a:cxn>
                  <a:cxn ang="0">
                    <a:pos x="0" y="15"/>
                  </a:cxn>
                </a:cxnLst>
                <a:rect l="0" t="0" r="r" b="b"/>
                <a:pathLst>
                  <a:path w="82" h="21">
                    <a:moveTo>
                      <a:pt x="0" y="15"/>
                    </a:moveTo>
                    <a:cubicBezTo>
                      <a:pt x="0" y="14"/>
                      <a:pt x="0" y="13"/>
                      <a:pt x="0" y="12"/>
                    </a:cubicBezTo>
                    <a:cubicBezTo>
                      <a:pt x="1" y="7"/>
                      <a:pt x="23" y="0"/>
                      <a:pt x="45" y="2"/>
                    </a:cubicBezTo>
                    <a:cubicBezTo>
                      <a:pt x="66" y="4"/>
                      <a:pt x="82" y="13"/>
                      <a:pt x="81" y="18"/>
                    </a:cubicBezTo>
                    <a:cubicBezTo>
                      <a:pt x="81" y="19"/>
                      <a:pt x="81" y="20"/>
                      <a:pt x="81" y="21"/>
                    </a:cubicBezTo>
                    <a:cubicBezTo>
                      <a:pt x="78" y="15"/>
                      <a:pt x="63" y="8"/>
                      <a:pt x="44" y="6"/>
                    </a:cubicBezTo>
                    <a:cubicBezTo>
                      <a:pt x="26" y="5"/>
                      <a:pt x="5" y="10"/>
                      <a:pt x="0" y="15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2890" y="2300"/>
                <a:ext cx="136" cy="34"/>
              </a:xfrm>
              <a:custGeom>
                <a:avLst/>
                <a:gdLst/>
                <a:ahLst/>
                <a:cxnLst>
                  <a:cxn ang="0">
                    <a:pos x="1" y="12"/>
                  </a:cxn>
                  <a:cxn ang="0">
                    <a:pos x="45" y="2"/>
                  </a:cxn>
                  <a:cxn ang="0">
                    <a:pos x="81" y="18"/>
                  </a:cxn>
                  <a:cxn ang="0">
                    <a:pos x="81" y="20"/>
                  </a:cxn>
                  <a:cxn ang="0">
                    <a:pos x="45" y="6"/>
                  </a:cxn>
                  <a:cxn ang="0">
                    <a:pos x="1" y="14"/>
                  </a:cxn>
                  <a:cxn ang="0">
                    <a:pos x="1" y="12"/>
                  </a:cxn>
                </a:cxnLst>
                <a:rect l="0" t="0" r="r" b="b"/>
                <a:pathLst>
                  <a:path w="82" h="20">
                    <a:moveTo>
                      <a:pt x="1" y="12"/>
                    </a:moveTo>
                    <a:cubicBezTo>
                      <a:pt x="1" y="6"/>
                      <a:pt x="23" y="0"/>
                      <a:pt x="45" y="2"/>
                    </a:cubicBezTo>
                    <a:cubicBezTo>
                      <a:pt x="66" y="4"/>
                      <a:pt x="82" y="12"/>
                      <a:pt x="81" y="18"/>
                    </a:cubicBezTo>
                    <a:cubicBezTo>
                      <a:pt x="81" y="18"/>
                      <a:pt x="81" y="20"/>
                      <a:pt x="81" y="20"/>
                    </a:cubicBezTo>
                    <a:cubicBezTo>
                      <a:pt x="78" y="15"/>
                      <a:pt x="63" y="8"/>
                      <a:pt x="45" y="6"/>
                    </a:cubicBezTo>
                    <a:cubicBezTo>
                      <a:pt x="26" y="4"/>
                      <a:pt x="5" y="9"/>
                      <a:pt x="1" y="14"/>
                    </a:cubicBezTo>
                    <a:cubicBezTo>
                      <a:pt x="0" y="14"/>
                      <a:pt x="0" y="13"/>
                      <a:pt x="1" y="12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931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Situation Analysis </a:t>
            </a:r>
            <a:r>
              <a:rPr lang="en-US" b="0" noProof="1" smtClean="0"/>
              <a:t>- Search Field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Search fields for the identification of potential chances and risks</a:t>
            </a:r>
            <a:endParaRPr lang="en-US" noProof="1"/>
          </a:p>
        </p:txBody>
      </p:sp>
      <p:grpSp>
        <p:nvGrpSpPr>
          <p:cNvPr id="27" name="Gruppieren 26"/>
          <p:cNvGrpSpPr/>
          <p:nvPr/>
        </p:nvGrpSpPr>
        <p:grpSpPr>
          <a:xfrm>
            <a:off x="323850" y="1646182"/>
            <a:ext cx="8496300" cy="4186410"/>
            <a:chOff x="323850" y="1646182"/>
            <a:chExt cx="8496300" cy="4186410"/>
          </a:xfrm>
        </p:grpSpPr>
        <p:sp>
          <p:nvSpPr>
            <p:cNvPr id="56" name="Rechteck 55"/>
            <p:cNvSpPr/>
            <p:nvPr/>
          </p:nvSpPr>
          <p:spPr bwMode="gray">
            <a:xfrm>
              <a:off x="3139808" y="1646182"/>
              <a:ext cx="5680342" cy="335719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Market analysis</a:t>
              </a:r>
            </a:p>
          </p:txBody>
        </p:sp>
        <p:sp>
          <p:nvSpPr>
            <p:cNvPr id="64" name="Rechteck 63"/>
            <p:cNvSpPr/>
            <p:nvPr/>
          </p:nvSpPr>
          <p:spPr bwMode="gray">
            <a:xfrm>
              <a:off x="323850" y="1646182"/>
              <a:ext cx="2447950" cy="335719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Environment analysis</a:t>
              </a:r>
            </a:p>
          </p:txBody>
        </p:sp>
        <p:sp>
          <p:nvSpPr>
            <p:cNvPr id="65" name="Textfeld 64"/>
            <p:cNvSpPr txBox="1"/>
            <p:nvPr/>
          </p:nvSpPr>
          <p:spPr bwMode="gray">
            <a:xfrm>
              <a:off x="323850" y="1981902"/>
              <a:ext cx="2447950" cy="38506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0" bIns="0" anchor="t" anchorCtr="0"/>
            <a:lstStyle/>
            <a:p>
              <a:pPr>
                <a:spcAft>
                  <a:spcPts val="300"/>
                </a:spcAft>
                <a:buClr>
                  <a:srgbClr val="969696"/>
                </a:buClr>
                <a:defRPr/>
              </a:pPr>
              <a:r>
                <a:rPr lang="en-US" sz="1400" b="1" dirty="0" smtClean="0">
                  <a:solidFill>
                    <a:srgbClr val="000000"/>
                  </a:solidFill>
                  <a:cs typeface="Arial" charset="0"/>
                </a:rPr>
                <a:t>Frame conditions:</a:t>
              </a: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political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social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technological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economical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ecological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defRPr/>
              </a:pPr>
              <a:r>
                <a:rPr lang="en-US" sz="1400" b="1" dirty="0" smtClean="0">
                  <a:solidFill>
                    <a:srgbClr val="000000"/>
                  </a:solidFill>
                  <a:cs typeface="Arial" charset="0"/>
                </a:rPr>
                <a:t>Stakeholder:</a:t>
              </a: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employees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investors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/>
                <a:t>unions</a:t>
              </a:r>
              <a:endParaRPr lang="en-US" sz="1400" dirty="0" smtClean="0">
                <a:solidFill>
                  <a:srgbClr val="000000"/>
                </a:solidFill>
                <a:cs typeface="Arial" charset="0"/>
              </a:endParaRPr>
            </a:p>
            <a:p>
              <a:pPr indent="-285750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400" dirty="0" smtClean="0">
                  <a:solidFill>
                    <a:srgbClr val="000000"/>
                  </a:solidFill>
                  <a:cs typeface="Arial" charset="0"/>
                </a:rPr>
                <a:t>etc.</a:t>
              </a: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3139808" y="1981902"/>
              <a:ext cx="5680342" cy="385069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0" bIns="0" anchor="t" anchorCtr="0"/>
            <a:lstStyle/>
            <a:p>
              <a:pPr>
                <a:spcAft>
                  <a:spcPts val="300"/>
                </a:spcAft>
                <a:buClr>
                  <a:srgbClr val="969696"/>
                </a:buClr>
                <a:defRPr/>
              </a:pP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57" name="Gruppieren 32"/>
            <p:cNvGrpSpPr/>
            <p:nvPr/>
          </p:nvGrpSpPr>
          <p:grpSpPr bwMode="gray">
            <a:xfrm>
              <a:off x="3148013" y="5318760"/>
              <a:ext cx="5667375" cy="439132"/>
              <a:chOff x="0" y="4534215"/>
              <a:chExt cx="9144000" cy="1163782"/>
            </a:xfrm>
          </p:grpSpPr>
          <p:sp>
            <p:nvSpPr>
              <p:cNvPr id="58" name="Rechteck 57"/>
              <p:cNvSpPr/>
              <p:nvPr/>
            </p:nvSpPr>
            <p:spPr bwMode="gray">
              <a:xfrm>
                <a:off x="0" y="4723141"/>
                <a:ext cx="9144000" cy="974856"/>
              </a:xfrm>
              <a:prstGeom prst="rect">
                <a:avLst/>
              </a:prstGeom>
              <a:gradFill>
                <a:gsLst>
                  <a:gs pos="0">
                    <a:schemeClr val="tx1">
                      <a:alpha val="20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6" name="Rechteck 65"/>
              <p:cNvSpPr/>
              <p:nvPr/>
            </p:nvSpPr>
            <p:spPr bwMode="gray">
              <a:xfrm flipV="1">
                <a:off x="0" y="4534215"/>
                <a:ext cx="9144000" cy="188926"/>
              </a:xfrm>
              <a:prstGeom prst="rect">
                <a:avLst/>
              </a:prstGeom>
              <a:gradFill>
                <a:gsLst>
                  <a:gs pos="0">
                    <a:schemeClr val="tx1">
                      <a:alpha val="20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5" name="Gruppieren 54"/>
            <p:cNvGrpSpPr/>
            <p:nvPr/>
          </p:nvGrpSpPr>
          <p:grpSpPr bwMode="gray">
            <a:xfrm>
              <a:off x="3325780" y="2308955"/>
              <a:ext cx="5308399" cy="3327017"/>
              <a:chOff x="3325780" y="2308955"/>
              <a:chExt cx="5308399" cy="3327017"/>
            </a:xfrm>
          </p:grpSpPr>
          <p:cxnSp>
            <p:nvCxnSpPr>
              <p:cNvPr id="28" name="Form 27"/>
              <p:cNvCxnSpPr>
                <a:stCxn id="26" idx="0"/>
                <a:endCxn id="39" idx="3"/>
              </p:cNvCxnSpPr>
              <p:nvPr/>
            </p:nvCxnSpPr>
            <p:spPr bwMode="gray">
              <a:xfrm rot="16200000" flipV="1">
                <a:off x="6914473" y="2557321"/>
                <a:ext cx="784967" cy="1166777"/>
              </a:xfrm>
              <a:prstGeom prst="bentConnector2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Form 28"/>
              <p:cNvCxnSpPr>
                <a:stCxn id="39" idx="1"/>
                <a:endCxn id="23" idx="0"/>
              </p:cNvCxnSpPr>
              <p:nvPr/>
            </p:nvCxnSpPr>
            <p:spPr bwMode="gray">
              <a:xfrm rot="10800000" flipV="1">
                <a:off x="4069615" y="2748225"/>
                <a:ext cx="1166282" cy="784967"/>
              </a:xfrm>
              <a:prstGeom prst="bentConnector2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Form 29"/>
              <p:cNvCxnSpPr>
                <a:stCxn id="23" idx="2"/>
                <a:endCxn id="40" idx="1"/>
              </p:cNvCxnSpPr>
              <p:nvPr/>
            </p:nvCxnSpPr>
            <p:spPr bwMode="gray">
              <a:xfrm rot="16200000" flipH="1">
                <a:off x="4260272" y="4221077"/>
                <a:ext cx="784968" cy="1166282"/>
              </a:xfrm>
              <a:prstGeom prst="bentConnector2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Form 30"/>
              <p:cNvCxnSpPr>
                <a:stCxn id="40" idx="3"/>
                <a:endCxn id="26" idx="2"/>
              </p:cNvCxnSpPr>
              <p:nvPr/>
            </p:nvCxnSpPr>
            <p:spPr bwMode="gray">
              <a:xfrm flipV="1">
                <a:off x="6723567" y="4411734"/>
                <a:ext cx="1166777" cy="784968"/>
              </a:xfrm>
              <a:prstGeom prst="bentConnector2">
                <a:avLst/>
              </a:prstGeom>
              <a:ln w="12700">
                <a:solidFill>
                  <a:srgbClr val="96969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>
                <a:stCxn id="39" idx="2"/>
                <a:endCxn id="25" idx="0"/>
              </p:cNvCxnSpPr>
              <p:nvPr/>
            </p:nvCxnSpPr>
            <p:spPr bwMode="gray">
              <a:xfrm>
                <a:off x="5979732" y="3187496"/>
                <a:ext cx="0" cy="345697"/>
              </a:xfrm>
              <a:prstGeom prst="line">
                <a:avLst/>
              </a:prstGeom>
              <a:ln w="12700">
                <a:solidFill>
                  <a:srgbClr val="969696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>
                <a:stCxn id="25" idx="2"/>
                <a:endCxn id="40" idx="0"/>
              </p:cNvCxnSpPr>
              <p:nvPr/>
            </p:nvCxnSpPr>
            <p:spPr bwMode="gray">
              <a:xfrm>
                <a:off x="5979732" y="4411734"/>
                <a:ext cx="0" cy="345697"/>
              </a:xfrm>
              <a:prstGeom prst="line">
                <a:avLst/>
              </a:prstGeom>
              <a:ln w="12700">
                <a:solidFill>
                  <a:srgbClr val="969696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>
                <a:stCxn id="23" idx="3"/>
                <a:endCxn id="25" idx="1"/>
              </p:cNvCxnSpPr>
              <p:nvPr/>
            </p:nvCxnSpPr>
            <p:spPr bwMode="gray">
              <a:xfrm>
                <a:off x="4813450" y="3972464"/>
                <a:ext cx="422447" cy="0"/>
              </a:xfrm>
              <a:prstGeom prst="line">
                <a:avLst/>
              </a:prstGeom>
              <a:ln w="12700">
                <a:solidFill>
                  <a:srgbClr val="969696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>
                <a:stCxn id="25" idx="3"/>
                <a:endCxn id="26" idx="1"/>
              </p:cNvCxnSpPr>
              <p:nvPr/>
            </p:nvCxnSpPr>
            <p:spPr bwMode="gray">
              <a:xfrm>
                <a:off x="6723567" y="3972464"/>
                <a:ext cx="422942" cy="0"/>
              </a:xfrm>
              <a:prstGeom prst="line">
                <a:avLst/>
              </a:prstGeom>
              <a:ln w="12700">
                <a:solidFill>
                  <a:srgbClr val="969696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1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25780" y="3533193"/>
                <a:ext cx="1487670" cy="878541"/>
              </a:xfrm>
              <a:prstGeom prst="roundRect">
                <a:avLst>
                  <a:gd name="adj" fmla="val 5337"/>
                </a:avLst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cs typeface="Arial" charset="0"/>
                  </a:rPr>
                  <a:t>Supplier</a:t>
                </a:r>
              </a:p>
            </p:txBody>
          </p:sp>
          <p:sp>
            <p:nvSpPr>
              <p:cNvPr id="25" name="Rectangle 1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235897" y="3533193"/>
                <a:ext cx="1487670" cy="878541"/>
              </a:xfrm>
              <a:prstGeom prst="roundRect">
                <a:avLst>
                  <a:gd name="adj" fmla="val 5337"/>
                </a:avLst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50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noProof="1" smtClean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cs typeface="Arial" charset="0"/>
                  </a:rPr>
                  <a:t>Company analysis</a:t>
                </a:r>
              </a:p>
            </p:txBody>
          </p:sp>
          <p:sp>
            <p:nvSpPr>
              <p:cNvPr id="26" name="Rectangle 1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146509" y="3533193"/>
                <a:ext cx="1487670" cy="878541"/>
              </a:xfrm>
              <a:prstGeom prst="roundRect">
                <a:avLst>
                  <a:gd name="adj" fmla="val 5337"/>
                </a:avLst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cs typeface="Arial" charset="0"/>
                  </a:rPr>
                  <a:t>Customer</a:t>
                </a:r>
              </a:p>
            </p:txBody>
          </p:sp>
          <p:sp>
            <p:nvSpPr>
              <p:cNvPr id="39" name="Rectangle 1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235897" y="2308955"/>
                <a:ext cx="1487670" cy="878541"/>
              </a:xfrm>
              <a:prstGeom prst="roundRect">
                <a:avLst>
                  <a:gd name="adj" fmla="val 5337"/>
                </a:avLst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cs typeface="Arial" charset="0"/>
                  </a:rPr>
                  <a:t>Competitor</a:t>
                </a:r>
              </a:p>
            </p:txBody>
          </p:sp>
          <p:sp>
            <p:nvSpPr>
              <p:cNvPr id="40" name="Rectangle 1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235897" y="4757431"/>
                <a:ext cx="1487670" cy="878541"/>
              </a:xfrm>
              <a:prstGeom prst="roundRect">
                <a:avLst>
                  <a:gd name="adj" fmla="val 5337"/>
                </a:avLst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defRPr/>
                </a:pPr>
                <a:r>
                  <a:rPr lang="en-US" sz="1600" b="1" noProof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cs typeface="Arial" charset="0"/>
                  </a:rPr>
                  <a:t>Substitute product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992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Strategic Situation Analysis</a:t>
            </a:r>
            <a:endParaRPr lang="en-US" b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Analysis of market participants, political and legal situation and social, technological, geographical and economical aspects</a:t>
            </a:r>
            <a:endParaRPr lang="en-US"/>
          </a:p>
        </p:txBody>
      </p:sp>
      <p:grpSp>
        <p:nvGrpSpPr>
          <p:cNvPr id="28" name="Gruppieren 27"/>
          <p:cNvGrpSpPr/>
          <p:nvPr/>
        </p:nvGrpSpPr>
        <p:grpSpPr>
          <a:xfrm>
            <a:off x="323850" y="1646181"/>
            <a:ext cx="8497092" cy="4156131"/>
            <a:chOff x="323850" y="1646181"/>
            <a:chExt cx="8497092" cy="4156131"/>
          </a:xfrm>
        </p:grpSpPr>
        <p:sp>
          <p:nvSpPr>
            <p:cNvPr id="4" name="Rechteck 3"/>
            <p:cNvSpPr/>
            <p:nvPr/>
          </p:nvSpPr>
          <p:spPr bwMode="gray">
            <a:xfrm>
              <a:off x="323850" y="5157191"/>
              <a:ext cx="8497092" cy="645121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mtClean="0"/>
                <a:t>Interpretation of data of strategic situation analysis are the foundation </a:t>
              </a:r>
              <a:br>
                <a:rPr lang="en-US" smtClean="0"/>
              </a:br>
              <a:r>
                <a:rPr lang="en-US" smtClean="0"/>
                <a:t>of the following marketing decisions</a:t>
              </a:r>
              <a:endParaRPr lang="en-US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41" name="Gerade Verbindung mit Pfeil 40"/>
            <p:cNvCxnSpPr>
              <a:stCxn id="16" idx="2"/>
              <a:endCxn id="17" idx="0"/>
            </p:cNvCxnSpPr>
            <p:nvPr/>
          </p:nvCxnSpPr>
          <p:spPr bwMode="gray">
            <a:xfrm>
              <a:off x="1222149" y="2187202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>
              <a:stCxn id="20" idx="2"/>
              <a:endCxn id="21" idx="0"/>
            </p:cNvCxnSpPr>
            <p:nvPr/>
          </p:nvCxnSpPr>
          <p:spPr bwMode="gray">
            <a:xfrm>
              <a:off x="3455383" y="2187202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>
              <a:stCxn id="23" idx="2"/>
              <a:endCxn id="24" idx="0"/>
            </p:cNvCxnSpPr>
            <p:nvPr/>
          </p:nvCxnSpPr>
          <p:spPr bwMode="gray">
            <a:xfrm>
              <a:off x="5688617" y="2187202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>
              <a:stCxn id="26" idx="2"/>
              <a:endCxn id="27" idx="0"/>
            </p:cNvCxnSpPr>
            <p:nvPr/>
          </p:nvCxnSpPr>
          <p:spPr bwMode="gray">
            <a:xfrm>
              <a:off x="7921852" y="2187201"/>
              <a:ext cx="0" cy="372958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>
              <a:stCxn id="17" idx="2"/>
            </p:cNvCxnSpPr>
            <p:nvPr/>
          </p:nvCxnSpPr>
          <p:spPr bwMode="gray">
            <a:xfrm>
              <a:off x="1222149" y="3101179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>
              <a:stCxn id="21" idx="2"/>
            </p:cNvCxnSpPr>
            <p:nvPr/>
          </p:nvCxnSpPr>
          <p:spPr bwMode="gray">
            <a:xfrm>
              <a:off x="3455383" y="3101179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>
              <a:stCxn id="24" idx="2"/>
            </p:cNvCxnSpPr>
            <p:nvPr/>
          </p:nvCxnSpPr>
          <p:spPr bwMode="gray">
            <a:xfrm>
              <a:off x="5688617" y="3101179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mit Pfeil 54"/>
            <p:cNvCxnSpPr>
              <a:stCxn id="27" idx="2"/>
            </p:cNvCxnSpPr>
            <p:nvPr/>
          </p:nvCxnSpPr>
          <p:spPr bwMode="gray">
            <a:xfrm>
              <a:off x="7921852" y="3101179"/>
              <a:ext cx="0" cy="372957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>
              <a:stCxn id="18" idx="3"/>
              <a:endCxn id="34" idx="1"/>
            </p:cNvCxnSpPr>
            <p:nvPr/>
          </p:nvCxnSpPr>
          <p:spPr bwMode="gray">
            <a:xfrm>
              <a:off x="3718560" y="3744646"/>
              <a:ext cx="1706074" cy="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Form 58"/>
            <p:cNvCxnSpPr>
              <a:stCxn id="18" idx="2"/>
              <a:endCxn id="19" idx="1"/>
            </p:cNvCxnSpPr>
            <p:nvPr/>
          </p:nvCxnSpPr>
          <p:spPr bwMode="gray">
            <a:xfrm rot="16200000" flipH="1">
              <a:off x="2443349" y="3910572"/>
              <a:ext cx="643466" cy="852633"/>
            </a:xfrm>
            <a:prstGeom prst="bentConnector2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Form 60"/>
            <p:cNvCxnSpPr>
              <a:stCxn id="34" idx="2"/>
              <a:endCxn id="19" idx="3"/>
            </p:cNvCxnSpPr>
            <p:nvPr/>
          </p:nvCxnSpPr>
          <p:spPr bwMode="gray">
            <a:xfrm rot="5400000">
              <a:off x="6057184" y="3910572"/>
              <a:ext cx="643466" cy="852635"/>
            </a:xfrm>
            <a:prstGeom prst="bentConnector2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hteck 18"/>
            <p:cNvSpPr/>
            <p:nvPr/>
          </p:nvSpPr>
          <p:spPr bwMode="gray">
            <a:xfrm>
              <a:off x="3191399" y="4388112"/>
              <a:ext cx="2761200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smtClean="0">
                  <a:solidFill>
                    <a:srgbClr val="000000"/>
                  </a:solidFill>
                  <a:cs typeface="Arial" charset="0"/>
                </a:rPr>
                <a:t>SWOT A</a:t>
              </a:r>
              <a:r>
                <a:rPr lang="en-US" sz="1400" b="1" smtClean="0"/>
                <a:t>nalysis</a:t>
              </a:r>
              <a:endParaRPr lang="en-US" sz="14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958972" y="3474136"/>
              <a:ext cx="2759588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Strengths and weaknesses analysis</a:t>
              </a:r>
              <a:endParaRPr lang="en-US" sz="14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3850" y="1646182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smtClean="0"/>
                <a:t>Own </a:t>
              </a:r>
              <a:br>
                <a:rPr lang="en-US" sz="1100" smtClean="0"/>
              </a:br>
              <a:r>
                <a:rPr lang="en-US" sz="1100" smtClean="0"/>
                <a:t>organization</a:t>
              </a:r>
              <a:endParaRPr lang="en-US" sz="11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3850" y="2560159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Potential analysis</a:t>
              </a:r>
              <a:endParaRPr lang="en-US" sz="14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2557084" y="1646182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smtClean="0"/>
                <a:t>Relevant </a:t>
              </a:r>
              <a:br>
                <a:rPr lang="en-US" sz="1100" smtClean="0"/>
              </a:br>
              <a:r>
                <a:rPr lang="en-US" sz="1100" smtClean="0"/>
                <a:t>competitor</a:t>
              </a:r>
              <a:endParaRPr lang="en-US" sz="11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2557084" y="2560159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Competition analysis</a:t>
              </a:r>
              <a:endParaRPr lang="en-US" sz="14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4790318" y="1646182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smtClean="0"/>
                <a:t>Supplier, Sales mediator </a:t>
              </a:r>
              <a:br>
                <a:rPr lang="en-US" sz="1100" smtClean="0"/>
              </a:br>
              <a:r>
                <a:rPr lang="en-US" sz="1100" smtClean="0"/>
                <a:t>and potential customers</a:t>
              </a:r>
              <a:endParaRPr lang="en-US" sz="11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4790318" y="2560159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Market analysis</a:t>
              </a:r>
              <a:endParaRPr lang="en-US" sz="14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7023553" y="1646181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100" dirty="0"/>
                <a:t>L</a:t>
              </a:r>
              <a:r>
                <a:rPr lang="en-US" sz="1100" dirty="0" smtClean="0"/>
                <a:t>egal, social and natural environment</a:t>
              </a:r>
              <a:endParaRPr lang="en-US" sz="11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7023553" y="2560159"/>
              <a:ext cx="1796597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Environment analysis</a:t>
              </a:r>
              <a:endParaRPr lang="en-US" sz="14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Rechteck 33"/>
            <p:cNvSpPr/>
            <p:nvPr/>
          </p:nvSpPr>
          <p:spPr bwMode="gray">
            <a:xfrm>
              <a:off x="5424634" y="3474136"/>
              <a:ext cx="2761200" cy="54102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smtClean="0"/>
                <a:t>Opportunities and threats analysis</a:t>
              </a:r>
              <a:endParaRPr lang="en-US" sz="1400" b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09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34"/>
          <p:cNvGrpSpPr/>
          <p:nvPr/>
        </p:nvGrpSpPr>
        <p:grpSpPr bwMode="gray">
          <a:xfrm>
            <a:off x="323850" y="1555750"/>
            <a:ext cx="8489243" cy="4246322"/>
            <a:chOff x="338667" y="1569156"/>
            <a:chExt cx="8489243" cy="4246322"/>
          </a:xfrm>
        </p:grpSpPr>
        <p:grpSp>
          <p:nvGrpSpPr>
            <p:cNvPr id="4" name="Gruppieren 20"/>
            <p:cNvGrpSpPr/>
            <p:nvPr/>
          </p:nvGrpSpPr>
          <p:grpSpPr bwMode="gray">
            <a:xfrm>
              <a:off x="338667" y="1569156"/>
              <a:ext cx="8489243" cy="779724"/>
              <a:chOff x="338667" y="1569156"/>
              <a:chExt cx="8489243" cy="779724"/>
            </a:xfrm>
          </p:grpSpPr>
          <p:sp>
            <p:nvSpPr>
              <p:cNvPr id="16" name="Rechteck 15"/>
              <p:cNvSpPr/>
              <p:nvPr/>
            </p:nvSpPr>
            <p:spPr bwMode="gray">
              <a:xfrm>
                <a:off x="338667" y="1569156"/>
                <a:ext cx="360000" cy="77972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1</a:t>
                </a:r>
              </a:p>
            </p:txBody>
          </p:sp>
          <p:sp>
            <p:nvSpPr>
              <p:cNvPr id="17" name="Rechteck 16"/>
              <p:cNvSpPr/>
              <p:nvPr/>
            </p:nvSpPr>
            <p:spPr bwMode="gray">
              <a:xfrm>
                <a:off x="808193" y="1569156"/>
                <a:ext cx="8019717" cy="77972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52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at is the market where the company operates and</a:t>
                </a:r>
              </a:p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how can it be defined and narrowed?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5" name="Gruppieren 23"/>
            <p:cNvGrpSpPr/>
            <p:nvPr/>
          </p:nvGrpSpPr>
          <p:grpSpPr bwMode="gray">
            <a:xfrm>
              <a:off x="338667" y="2435806"/>
              <a:ext cx="8489243" cy="779724"/>
              <a:chOff x="338667" y="2435806"/>
              <a:chExt cx="8489243" cy="779724"/>
            </a:xfrm>
          </p:grpSpPr>
          <p:sp>
            <p:nvSpPr>
              <p:cNvPr id="22" name="Rechteck 21"/>
              <p:cNvSpPr/>
              <p:nvPr/>
            </p:nvSpPr>
            <p:spPr bwMode="gray">
              <a:xfrm>
                <a:off x="338667" y="2435806"/>
                <a:ext cx="360000" cy="77972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2</a:t>
                </a: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808193" y="2435806"/>
                <a:ext cx="8019717" cy="77972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52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o is involved in the sales process?</a:t>
                </a:r>
              </a:p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at determines the behavior of these groups?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" name="Gruppieren 26"/>
            <p:cNvGrpSpPr/>
            <p:nvPr/>
          </p:nvGrpSpPr>
          <p:grpSpPr bwMode="gray">
            <a:xfrm>
              <a:off x="338667" y="3302456"/>
              <a:ext cx="8489243" cy="779724"/>
              <a:chOff x="338667" y="3302456"/>
              <a:chExt cx="8489243" cy="779724"/>
            </a:xfrm>
          </p:grpSpPr>
          <p:sp>
            <p:nvSpPr>
              <p:cNvPr id="25" name="Rechteck 24"/>
              <p:cNvSpPr/>
              <p:nvPr/>
            </p:nvSpPr>
            <p:spPr bwMode="gray">
              <a:xfrm>
                <a:off x="338667" y="3302456"/>
                <a:ext cx="360000" cy="77972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3</a:t>
                </a: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808193" y="3302456"/>
                <a:ext cx="8019717" cy="77972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52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ich competitors are currently operating on the market?</a:t>
                </a:r>
              </a:p>
            </p:txBody>
          </p:sp>
        </p:grpSp>
        <p:grpSp>
          <p:nvGrpSpPr>
            <p:cNvPr id="7" name="Gruppieren 30"/>
            <p:cNvGrpSpPr/>
            <p:nvPr/>
          </p:nvGrpSpPr>
          <p:grpSpPr bwMode="gray">
            <a:xfrm>
              <a:off x="338667" y="4169106"/>
              <a:ext cx="8489243" cy="779724"/>
              <a:chOff x="338667" y="4169106"/>
              <a:chExt cx="8489243" cy="779724"/>
            </a:xfrm>
          </p:grpSpPr>
          <p:sp>
            <p:nvSpPr>
              <p:cNvPr id="28" name="Rechteck 27"/>
              <p:cNvSpPr/>
              <p:nvPr/>
            </p:nvSpPr>
            <p:spPr bwMode="gray">
              <a:xfrm>
                <a:off x="338667" y="4169106"/>
                <a:ext cx="360000" cy="77972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4</a:t>
                </a:r>
              </a:p>
            </p:txBody>
          </p:sp>
          <p:sp>
            <p:nvSpPr>
              <p:cNvPr id="30" name="Rechteck 29"/>
              <p:cNvSpPr/>
              <p:nvPr/>
            </p:nvSpPr>
            <p:spPr bwMode="gray">
              <a:xfrm>
                <a:off x="808193" y="4169106"/>
                <a:ext cx="8019717" cy="77972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52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Do public interest groups or any external stakeholders have an </a:t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impact on your company policy?</a:t>
                </a:r>
              </a:p>
            </p:txBody>
          </p:sp>
        </p:grpSp>
        <p:grpSp>
          <p:nvGrpSpPr>
            <p:cNvPr id="8" name="Gruppieren 33"/>
            <p:cNvGrpSpPr/>
            <p:nvPr/>
          </p:nvGrpSpPr>
          <p:grpSpPr bwMode="gray">
            <a:xfrm>
              <a:off x="338667" y="5035754"/>
              <a:ext cx="8489243" cy="779724"/>
              <a:chOff x="338667" y="5035754"/>
              <a:chExt cx="8489243" cy="779724"/>
            </a:xfrm>
          </p:grpSpPr>
          <p:sp>
            <p:nvSpPr>
              <p:cNvPr id="32" name="Rechteck 31"/>
              <p:cNvSpPr/>
              <p:nvPr/>
            </p:nvSpPr>
            <p:spPr bwMode="gray">
              <a:xfrm>
                <a:off x="338667" y="5035754"/>
                <a:ext cx="360000" cy="77972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2400" b="1" noProof="1" smtClean="0">
                    <a:solidFill>
                      <a:srgbClr val="FFFFFF"/>
                    </a:solidFill>
                    <a:cs typeface="Arial" charset="0"/>
                  </a:rPr>
                  <a:t>5</a:t>
                </a:r>
              </a:p>
            </p:txBody>
          </p:sp>
          <p:sp>
            <p:nvSpPr>
              <p:cNvPr id="33" name="Rechteck 32"/>
              <p:cNvSpPr/>
              <p:nvPr/>
            </p:nvSpPr>
            <p:spPr bwMode="gray">
              <a:xfrm>
                <a:off x="808193" y="5035754"/>
                <a:ext cx="8019717" cy="779724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52000" tIns="46800" rIns="90000" bIns="46800" anchor="ctr" anchorCtr="0"/>
              <a:lstStyle/>
              <a:p>
                <a:pPr lvl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at is the actual-situation of the company?</a:t>
                </a:r>
                <a:b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noProof="1" smtClean="0">
                    <a:solidFill>
                      <a:srgbClr val="000000"/>
                    </a:solidFill>
                    <a:cs typeface="Arial" charset="0"/>
                  </a:rPr>
                  <a:t>What are your strengths and weaknesses?</a:t>
                </a:r>
                <a:endParaRPr lang="en-US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heck list with basic questions to clarify the initial situatio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Situation Analysis</a:t>
            </a:r>
          </a:p>
        </p:txBody>
      </p:sp>
    </p:spTree>
    <p:extLst>
      <p:ext uri="{BB962C8B-B14F-4D97-AF65-F5344CB8AC3E}">
        <p14:creationId xmlns:p14="http://schemas.microsoft.com/office/powerpoint/2010/main" val="402678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rporate philosophy (1/6) </a:t>
            </a:r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323850" y="1390651"/>
            <a:ext cx="8494713" cy="4411663"/>
            <a:chOff x="323850" y="1390651"/>
            <a:chExt cx="8494713" cy="4411663"/>
          </a:xfrm>
        </p:grpSpPr>
        <p:sp>
          <p:nvSpPr>
            <p:cNvPr id="4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smtClean="0"/>
                <a:t>Corporate policy</a:t>
              </a:r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608330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smtClean="0"/>
                <a:t>Corporate idea</a:t>
              </a:r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32385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  <a:endParaRPr lang="en-US" sz="1300">
                <a:solidFill>
                  <a:srgbClr val="646464"/>
                </a:solidFill>
                <a:cs typeface="Arial" charset="0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  <a:endParaRPr lang="en-US" sz="1300">
                <a:solidFill>
                  <a:srgbClr val="646464"/>
                </a:solidFill>
                <a:cs typeface="Arial" charset="0"/>
              </a:endParaRPr>
            </a:p>
          </p:txBody>
        </p:sp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smtClean="0"/>
                <a:t>Corporate vision</a:t>
              </a:r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  <a:endParaRPr lang="en-US" sz="1300">
                <a:solidFill>
                  <a:srgbClr val="646464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27596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5644836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84854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270803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557506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294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rporate philosophy (2/6)</a:t>
            </a:r>
            <a:endParaRPr lang="en-US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323850" y="1390651"/>
            <a:ext cx="8494713" cy="4411663"/>
            <a:chOff x="323850" y="1390651"/>
            <a:chExt cx="8494713" cy="4411663"/>
          </a:xfrm>
        </p:grpSpPr>
        <p:sp>
          <p:nvSpPr>
            <p:cNvPr id="4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rporate identity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608330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rporate objective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32385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</p:txBody>
        </p:sp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rporate culture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27596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5644836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84854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270803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557506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5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rporate potentials (3/6)</a:t>
            </a:r>
            <a:endParaRPr lang="en-US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323850" y="1390651"/>
            <a:ext cx="8494713" cy="4411664"/>
            <a:chOff x="323850" y="1390651"/>
            <a:chExt cx="8494713" cy="4411664"/>
          </a:xfrm>
        </p:grpSpPr>
        <p:sp>
          <p:nvSpPr>
            <p:cNvPr id="4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Development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608330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duction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technolog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capac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productiv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marketing concept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standard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brand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  <a:endParaRPr lang="en-US" sz="1300" dirty="0">
                <a:solidFill>
                  <a:srgbClr val="646464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27596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5644836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84854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 bwMode="gray">
            <a:xfrm>
              <a:off x="270803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557506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gray">
            <a:xfrm>
              <a:off x="324899" y="1924581"/>
              <a:ext cx="2735263" cy="3877734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research/ development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know how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patent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development statu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  <a:endParaRPr lang="en-US" sz="1300" dirty="0">
                <a:solidFill>
                  <a:srgbClr val="646464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474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rporate potentials (4/6)</a:t>
            </a:r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23850" y="1390651"/>
            <a:ext cx="8494713" cy="4411663"/>
            <a:chOff x="323850" y="1390651"/>
            <a:chExt cx="8494713" cy="4411663"/>
          </a:xfrm>
        </p:grpSpPr>
        <p:sp>
          <p:nvSpPr>
            <p:cNvPr id="4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curement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608330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mpany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32385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procurement system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supplier relationship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purchasing power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gray">
            <a:xfrm>
              <a:off x="6083300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organization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value chain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tangle 19"/>
            <p:cNvSpPr>
              <a:spLocks noChangeArrowheads="1"/>
            </p:cNvSpPr>
            <p:nvPr/>
          </p:nvSpPr>
          <p:spPr bwMode="gray">
            <a:xfrm>
              <a:off x="3203575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Financing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gray">
            <a:xfrm>
              <a:off x="3203575" y="1916113"/>
              <a:ext cx="2735263" cy="388620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capital requirement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investment intens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buFontTx/>
                <a:buChar char="-"/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27596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5644836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84854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270803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Textfeld 16"/>
            <p:cNvSpPr txBox="1"/>
            <p:nvPr/>
          </p:nvSpPr>
          <p:spPr bwMode="gray">
            <a:xfrm>
              <a:off x="557506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554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rporate resources (5/6)</a:t>
            </a:r>
            <a:endParaRPr lang="en-US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323850" y="1390651"/>
            <a:ext cx="8494713" cy="4411663"/>
            <a:chOff x="323850" y="1390651"/>
            <a:chExt cx="8494713" cy="4411663"/>
          </a:xfrm>
        </p:grpSpPr>
        <p:sp>
          <p:nvSpPr>
            <p:cNvPr id="10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terial resource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6083300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Employee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gray">
            <a:xfrm>
              <a:off x="323850" y="191611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installation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interior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equipment</a:t>
              </a: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gray">
            <a:xfrm>
              <a:off x="6083300" y="191611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staff situation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 education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 staff development</a:t>
              </a:r>
            </a:p>
          </p:txBody>
        </p:sp>
        <p:sp>
          <p:nvSpPr>
            <p:cNvPr id="14" name="Rectangle 19"/>
            <p:cNvSpPr>
              <a:spLocks noChangeArrowheads="1"/>
            </p:cNvSpPr>
            <p:nvPr/>
          </p:nvSpPr>
          <p:spPr bwMode="gray">
            <a:xfrm>
              <a:off x="3203575" y="155575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Financial resource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Rectangle 5"/>
            <p:cNvSpPr>
              <a:spLocks noChangeArrowheads="1"/>
            </p:cNvSpPr>
            <p:nvPr/>
          </p:nvSpPr>
          <p:spPr bwMode="gray">
            <a:xfrm>
              <a:off x="3203575" y="191611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liquid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reserve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possibilities to raise capital</a:t>
              </a: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gray">
            <a:xfrm>
              <a:off x="323850" y="375444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nager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gray">
            <a:xfrm>
              <a:off x="6083300" y="375444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Other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Rectangle 5"/>
            <p:cNvSpPr>
              <a:spLocks noChangeArrowheads="1"/>
            </p:cNvSpPr>
            <p:nvPr/>
          </p:nvSpPr>
          <p:spPr bwMode="gray">
            <a:xfrm>
              <a:off x="323850" y="411480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 quality of leadership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 business experience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>
                  <a:solidFill>
                    <a:srgbClr val="000000"/>
                  </a:solidFill>
                  <a:cs typeface="Arial" charset="0"/>
                </a:rPr>
                <a:t>- age structure</a:t>
              </a:r>
            </a:p>
          </p:txBody>
        </p:sp>
        <p:sp>
          <p:nvSpPr>
            <p:cNvPr id="19" name="Rectangle 5"/>
            <p:cNvSpPr>
              <a:spLocks noChangeArrowheads="1"/>
            </p:cNvSpPr>
            <p:nvPr/>
          </p:nvSpPr>
          <p:spPr bwMode="gray">
            <a:xfrm>
              <a:off x="6083300" y="411480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Insert description and notes in </a:t>
              </a:r>
              <a:br>
                <a:rPr lang="en-US" sz="1300" dirty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>
                  <a:solidFill>
                    <a:srgbClr val="646464"/>
                  </a:solidFill>
                  <a:cs typeface="Arial" charset="0"/>
                </a:rPr>
                <a:t>key words. </a:t>
              </a: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gray">
            <a:xfrm>
              <a:off x="3203575" y="3754440"/>
              <a:ext cx="2735263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IT-equipment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 5"/>
            <p:cNvSpPr>
              <a:spLocks noChangeArrowheads="1"/>
            </p:cNvSpPr>
            <p:nvPr/>
          </p:nvSpPr>
          <p:spPr bwMode="gray">
            <a:xfrm>
              <a:off x="3203575" y="4114803"/>
              <a:ext cx="2735263" cy="1687511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sort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actual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complexity</a:t>
              </a: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27596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5644836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84854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2759640" y="3857822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Rechteck 33"/>
            <p:cNvSpPr/>
            <p:nvPr/>
          </p:nvSpPr>
          <p:spPr bwMode="gray">
            <a:xfrm>
              <a:off x="5644836" y="3857822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Rechteck 35"/>
            <p:cNvSpPr/>
            <p:nvPr/>
          </p:nvSpPr>
          <p:spPr bwMode="gray">
            <a:xfrm>
              <a:off x="8485400" y="3857822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269851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558458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2698513" y="3590926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5584588" y="3590926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065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Analysis </a:t>
            </a:r>
            <a:r>
              <a:rPr lang="en-US" b="0" smtClean="0"/>
              <a:t>- Company Analysi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mpany position on the market (6/6)</a:t>
            </a:r>
            <a:endParaRPr lang="en-US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323851" y="1390651"/>
            <a:ext cx="8494712" cy="4411662"/>
            <a:chOff x="323851" y="1390651"/>
            <a:chExt cx="8494712" cy="4411662"/>
          </a:xfrm>
        </p:grpSpPr>
        <p:sp>
          <p:nvSpPr>
            <p:cNvPr id="30" name="Rectangle 19"/>
            <p:cNvSpPr>
              <a:spLocks noChangeArrowheads="1"/>
            </p:cNvSpPr>
            <p:nvPr/>
          </p:nvSpPr>
          <p:spPr bwMode="gray">
            <a:xfrm>
              <a:off x="323851" y="1555750"/>
              <a:ext cx="2014538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Market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Rectangle 19"/>
            <p:cNvSpPr>
              <a:spLocks noChangeArrowheads="1"/>
            </p:cNvSpPr>
            <p:nvPr/>
          </p:nvSpPr>
          <p:spPr bwMode="gray">
            <a:xfrm>
              <a:off x="6804025" y="1555750"/>
              <a:ext cx="2014538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Cost- Price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Rectangle 5"/>
            <p:cNvSpPr>
              <a:spLocks noChangeArrowheads="1"/>
            </p:cNvSpPr>
            <p:nvPr/>
          </p:nvSpPr>
          <p:spPr bwMode="gray">
            <a:xfrm>
              <a:off x="323851" y="1916113"/>
              <a:ext cx="2014538" cy="3886200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overall and partial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market share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market and sales profile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key words. </a:t>
              </a:r>
              <a:endParaRPr lang="en-US" sz="1300" dirty="0">
                <a:solidFill>
                  <a:srgbClr val="646464"/>
                </a:solidFill>
                <a:cs typeface="Arial" charset="0"/>
              </a:endParaRPr>
            </a:p>
          </p:txBody>
        </p:sp>
        <p:sp>
          <p:nvSpPr>
            <p:cNvPr id="33" name="Rectangle 5"/>
            <p:cNvSpPr>
              <a:spLocks noChangeArrowheads="1"/>
            </p:cNvSpPr>
            <p:nvPr/>
          </p:nvSpPr>
          <p:spPr bwMode="gray">
            <a:xfrm>
              <a:off x="6804025" y="1916113"/>
              <a:ext cx="2014538" cy="3886200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price per piece- market price relation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value chain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646464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646464"/>
                  </a:solidFill>
                  <a:cs typeface="Arial" charset="0"/>
                </a:rPr>
              </a:b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Rectangle 19"/>
            <p:cNvSpPr>
              <a:spLocks noChangeArrowheads="1"/>
            </p:cNvSpPr>
            <p:nvPr/>
          </p:nvSpPr>
          <p:spPr bwMode="gray">
            <a:xfrm>
              <a:off x="2482850" y="1555750"/>
              <a:ext cx="2014538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Advantages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2482850" y="1916113"/>
              <a:ext cx="2014538" cy="3886200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product and performance advantage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innovation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protection  against replicates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gray">
            <a:xfrm>
              <a:off x="4643438" y="1555750"/>
              <a:ext cx="2014538" cy="36036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Product mix</a:t>
              </a:r>
              <a:endParaRPr lang="en-US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Rectangle 5"/>
            <p:cNvSpPr>
              <a:spLocks noChangeArrowheads="1"/>
            </p:cNvSpPr>
            <p:nvPr/>
          </p:nvSpPr>
          <p:spPr bwMode="gray">
            <a:xfrm>
              <a:off x="4643438" y="1916113"/>
              <a:ext cx="2014538" cy="3886200"/>
            </a:xfrm>
            <a:prstGeom prst="rect">
              <a:avLst/>
            </a:prstGeom>
            <a:gradFill flip="none"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revenue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profitability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>- age profile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300" noProof="1" smtClean="0">
                  <a:solidFill>
                    <a:srgbClr val="000000"/>
                  </a:solidFill>
                  <a:cs typeface="Arial" charset="0"/>
                </a:rPr>
              </a:br>
              <a:endParaRPr lang="en-US" sz="1300" noProof="1" smtClean="0">
                <a:solidFill>
                  <a:srgbClr val="000000"/>
                </a:solidFill>
                <a:cs typeface="Arial" charset="0"/>
              </a:endParaRP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300" dirty="0" smtClean="0">
                  <a:solidFill>
                    <a:srgbClr val="646464"/>
                  </a:solidFill>
                  <a:cs typeface="Arial" charset="0"/>
                </a:rPr>
                <a:t>Insert description and notes in key words. </a:t>
              </a:r>
            </a:p>
            <a:p>
              <a:pPr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endParaRPr lang="en-US" sz="13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Rechteck 4"/>
            <p:cNvSpPr/>
            <p:nvPr/>
          </p:nvSpPr>
          <p:spPr bwMode="gray">
            <a:xfrm>
              <a:off x="2050783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Rechteck 37"/>
            <p:cNvSpPr/>
            <p:nvPr/>
          </p:nvSpPr>
          <p:spPr bwMode="gray">
            <a:xfrm>
              <a:off x="421196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637220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0" name="Rechteck 39"/>
            <p:cNvSpPr/>
            <p:nvPr/>
          </p:nvSpPr>
          <p:spPr bwMode="gray">
            <a:xfrm>
              <a:off x="8532440" y="1655674"/>
              <a:ext cx="177800" cy="177800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16200000" scaled="1"/>
              <a:tileRect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lIns="108000" tIns="0" rIns="0" bIns="0" anchor="ctr"/>
            <a:lstStyle/>
            <a:p>
              <a:pPr defTabSz="801688" eaLnBrk="0" hangingPunct="0"/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4146313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1984138" y="1390651"/>
              <a:ext cx="482504" cy="6771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400" b="1" spc="300" smtClean="0">
                  <a:ln w="1143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rgbClr val="92D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Wingdings"/>
                </a:rPr>
                <a:t></a:t>
              </a:r>
              <a:endParaRPr lang="en-US" sz="4400" b="1" spc="300" dirty="0">
                <a:ln w="1143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060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Potential Analysi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Inspection of the position of own company on the market according to the following factors</a:t>
            </a:r>
            <a:endParaRPr lang="en-US" dirty="0"/>
          </a:p>
        </p:txBody>
      </p:sp>
      <p:grpSp>
        <p:nvGrpSpPr>
          <p:cNvPr id="20" name="Gruppieren 19"/>
          <p:cNvGrpSpPr/>
          <p:nvPr/>
        </p:nvGrpSpPr>
        <p:grpSpPr>
          <a:xfrm>
            <a:off x="323850" y="1761564"/>
            <a:ext cx="8496300" cy="3573043"/>
            <a:chOff x="323850" y="1761564"/>
            <a:chExt cx="8496300" cy="3573043"/>
          </a:xfrm>
        </p:grpSpPr>
        <p:sp>
          <p:nvSpPr>
            <p:cNvPr id="4" name="Rechteck 3"/>
            <p:cNvSpPr/>
            <p:nvPr/>
          </p:nvSpPr>
          <p:spPr bwMode="gray">
            <a:xfrm>
              <a:off x="323850" y="176156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Image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" name="Rechteck 4"/>
            <p:cNvSpPr/>
            <p:nvPr/>
          </p:nvSpPr>
          <p:spPr bwMode="gray">
            <a:xfrm>
              <a:off x="323850" y="216885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dirty="0" smtClean="0"/>
                <a:t>brand image of </a:t>
              </a:r>
              <a:br>
                <a:rPr lang="en-US" sz="1200" dirty="0" smtClean="0"/>
              </a:br>
              <a:r>
                <a:rPr lang="en-US" sz="1200" dirty="0" smtClean="0"/>
                <a:t>company, </a:t>
              </a:r>
              <a:br>
                <a:rPr lang="en-US" sz="1200" dirty="0" smtClean="0"/>
              </a:br>
              <a:r>
                <a:rPr lang="en-US" sz="1200" dirty="0" smtClean="0"/>
                <a:t>separate </a:t>
              </a:r>
              <a:br>
                <a:rPr lang="en-US" sz="1200" dirty="0" smtClean="0"/>
              </a:br>
              <a:r>
                <a:rPr lang="en-US" sz="1200" dirty="0" smtClean="0"/>
                <a:t>product brands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Rechteck 5"/>
            <p:cNvSpPr/>
            <p:nvPr/>
          </p:nvSpPr>
          <p:spPr bwMode="gray">
            <a:xfrm>
              <a:off x="2492829" y="176156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smtClean="0">
                  <a:solidFill>
                    <a:srgbClr val="FFFFFF"/>
                  </a:solidFill>
                  <a:cs typeface="Arial" charset="0"/>
                </a:rPr>
                <a:t>Market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2492829" y="216885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positioning of company, market share of provider of product brands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4633436" y="176156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apital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4633436" y="216885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smtClean="0"/>
                <a:t>capital resources, creditworthiness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6789321" y="176156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mployees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gray">
            <a:xfrm>
              <a:off x="6789321" y="216885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dirty="0" smtClean="0"/>
                <a:t>number of employees, structure, </a:t>
              </a:r>
              <a:br>
                <a:rPr lang="en-US" sz="1200" dirty="0" smtClean="0"/>
              </a:br>
              <a:r>
                <a:rPr lang="en-US" sz="1200" dirty="0" smtClean="0"/>
                <a:t>qualification </a:t>
              </a:r>
              <a:br>
                <a:rPr lang="en-US" sz="1200" dirty="0" smtClean="0"/>
              </a:br>
              <a:r>
                <a:rPr lang="en-US" sz="1200" dirty="0" smtClean="0"/>
                <a:t>and motivation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Rechteck 11"/>
            <p:cNvSpPr/>
            <p:nvPr/>
          </p:nvSpPr>
          <p:spPr bwMode="gray">
            <a:xfrm>
              <a:off x="323850" y="361692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Location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3" name="Rechteck 12"/>
            <p:cNvSpPr/>
            <p:nvPr/>
          </p:nvSpPr>
          <p:spPr bwMode="gray">
            <a:xfrm>
              <a:off x="323850" y="402421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location quality, infrastructure,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business locations, distribution in target area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2492829" y="361692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Sales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2492829" y="402421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smtClean="0"/>
                <a:t>distribution </a:t>
              </a:r>
              <a:br>
                <a:rPr lang="en-US" sz="1200" smtClean="0"/>
              </a:br>
              <a:r>
                <a:rPr lang="en-US" sz="1200" smtClean="0"/>
                <a:t>organization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4633436" y="361692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Partner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4633436" y="402421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smtClean="0"/>
                <a:t>relation to </a:t>
              </a:r>
              <a:br>
                <a:rPr lang="en-US" sz="1200" smtClean="0"/>
              </a:br>
              <a:r>
                <a:rPr lang="en-US" sz="1200" smtClean="0"/>
                <a:t>cooperation </a:t>
              </a:r>
              <a:br>
                <a:rPr lang="en-US" sz="1200" smtClean="0"/>
              </a:br>
              <a:r>
                <a:rPr lang="en-US" sz="1200" smtClean="0"/>
                <a:t>and distribution</a:t>
              </a:r>
              <a:br>
                <a:rPr lang="en-US" sz="1200" smtClean="0"/>
              </a:br>
              <a:r>
                <a:rPr lang="en-US" sz="1200" smtClean="0"/>
                <a:t> partners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6789321" y="3616924"/>
              <a:ext cx="2030829" cy="407286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Customer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6789321" y="4024210"/>
              <a:ext cx="2030829" cy="131039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200" smtClean="0"/>
                <a:t>number of customers, customer potential, customer retention </a:t>
              </a:r>
              <a:br>
                <a:rPr lang="en-US" sz="1200" smtClean="0"/>
              </a:br>
              <a:r>
                <a:rPr lang="en-US" sz="1200" smtClean="0"/>
                <a:t>(loyalty vs. fluctuation)</a:t>
              </a: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017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Orient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mportant factors where marketing strategy is impotant</a:t>
            </a:r>
          </a:p>
        </p:txBody>
      </p:sp>
      <p:grpSp>
        <p:nvGrpSpPr>
          <p:cNvPr id="4" name="Gruppieren 17"/>
          <p:cNvGrpSpPr/>
          <p:nvPr/>
        </p:nvGrpSpPr>
        <p:grpSpPr bwMode="gray">
          <a:xfrm>
            <a:off x="323851" y="1831899"/>
            <a:ext cx="8496300" cy="3694264"/>
            <a:chOff x="323851" y="1821265"/>
            <a:chExt cx="8496300" cy="3694264"/>
          </a:xfrm>
        </p:grpSpPr>
        <p:sp>
          <p:nvSpPr>
            <p:cNvPr id="5123" name="AutoShape 3"/>
            <p:cNvSpPr>
              <a:spLocks noChangeArrowheads="1"/>
            </p:cNvSpPr>
            <p:nvPr/>
          </p:nvSpPr>
          <p:spPr bwMode="gray">
            <a:xfrm>
              <a:off x="323851" y="1821265"/>
              <a:ext cx="2026626" cy="1783314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Technological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innovation,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perfectionism)</a:t>
              </a:r>
            </a:p>
          </p:txBody>
        </p:sp>
        <p:sp>
          <p:nvSpPr>
            <p:cNvPr id="5124" name="AutoShape 4"/>
            <p:cNvSpPr>
              <a:spLocks noChangeArrowheads="1"/>
            </p:cNvSpPr>
            <p:nvPr/>
          </p:nvSpPr>
          <p:spPr bwMode="gray">
            <a:xfrm>
              <a:off x="2492620" y="1821266"/>
              <a:ext cx="2026626" cy="1783314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Employee orientation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(satisfaction, </a:t>
              </a:r>
              <a:b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qualification)</a:t>
              </a:r>
              <a:endParaRPr lang="en-US" sz="1400" noProof="1" smtClean="0">
                <a:solidFill>
                  <a:srgbClr val="000000"/>
                </a:solidFill>
                <a:cs typeface="Arial" pitchFamily="34" charset="0"/>
              </a:endParaRPr>
            </a:p>
            <a:p>
              <a:pPr marR="0" lvl="0" indent="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5" name="AutoShape 5"/>
            <p:cNvSpPr>
              <a:spLocks noChangeArrowheads="1"/>
            </p:cNvSpPr>
            <p:nvPr/>
          </p:nvSpPr>
          <p:spPr bwMode="gray">
            <a:xfrm>
              <a:off x="4636477" y="1821266"/>
              <a:ext cx="2026627" cy="1783314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Efficiency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optimization,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cost reduction)</a:t>
              </a:r>
            </a:p>
            <a:p>
              <a:pPr lvl="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6" name="AutoShape 6"/>
            <p:cNvSpPr>
              <a:spLocks noChangeArrowheads="1"/>
            </p:cNvSpPr>
            <p:nvPr/>
          </p:nvSpPr>
          <p:spPr bwMode="gray">
            <a:xfrm>
              <a:off x="6792059" y="1821266"/>
              <a:ext cx="2026626" cy="1783314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lvl="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  <a:t>Social</a:t>
              </a:r>
              <a:b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  <a:t>orientation </a:t>
              </a: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 (environment,</a:t>
              </a:r>
              <a:b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 public, image)</a:t>
              </a: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7" name="AutoShape 7"/>
            <p:cNvSpPr>
              <a:spLocks noChangeArrowheads="1"/>
            </p:cNvSpPr>
            <p:nvPr/>
          </p:nvSpPr>
          <p:spPr bwMode="gray">
            <a:xfrm>
              <a:off x="323851" y="3732214"/>
              <a:ext cx="2026626" cy="1783315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marR="0" lvl="0" indent="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  <a:t>Marketing</a:t>
              </a:r>
              <a:b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pitchFamily="34" charset="0"/>
                </a:rPr>
                <a:t>orientation 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 (market share, </a:t>
              </a:r>
              <a:b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pitchFamily="34" charset="0"/>
                </a:rPr>
                <a:t>competitive advantage)</a:t>
              </a: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8" name="AutoShape 8"/>
            <p:cNvSpPr>
              <a:spLocks noChangeArrowheads="1"/>
            </p:cNvSpPr>
            <p:nvPr/>
          </p:nvSpPr>
          <p:spPr bwMode="gray">
            <a:xfrm>
              <a:off x="2492620" y="3732214"/>
              <a:ext cx="2026626" cy="1783315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Customer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 </a:t>
              </a: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 (customer satisfaction,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customer loyalty)</a:t>
              </a:r>
              <a:endParaRPr lang="en-US" sz="12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9" name="AutoShape 9"/>
            <p:cNvSpPr>
              <a:spLocks noChangeArrowheads="1"/>
            </p:cNvSpPr>
            <p:nvPr/>
          </p:nvSpPr>
          <p:spPr bwMode="gray">
            <a:xfrm>
              <a:off x="4636477" y="3732214"/>
              <a:ext cx="2026627" cy="1783315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marR="0" lvl="0" indent="0"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Financial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earnings, profits, profitability, liquidity)</a:t>
              </a:r>
            </a:p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2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30" name="AutoShape 10"/>
            <p:cNvSpPr>
              <a:spLocks noChangeArrowheads="1"/>
            </p:cNvSpPr>
            <p:nvPr/>
          </p:nvSpPr>
          <p:spPr bwMode="gray">
            <a:xfrm>
              <a:off x="6793524" y="3732214"/>
              <a:ext cx="2026627" cy="1783315"/>
            </a:xfrm>
            <a:prstGeom prst="roundRect">
              <a:avLst>
                <a:gd name="adj" fmla="val 97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88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Quality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orientation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quality improvement,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ISO- certification,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price of quality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809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Analysis </a:t>
            </a:r>
            <a:r>
              <a:rPr lang="en-US" b="0" dirty="0" smtClean="0"/>
              <a:t>- Strengths and Weakness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Strengths and weaknesses profile</a:t>
            </a:r>
            <a:endParaRPr lang="en-US"/>
          </a:p>
        </p:txBody>
      </p:sp>
      <p:graphicFrame>
        <p:nvGraphicFramePr>
          <p:cNvPr id="26" name="Tabel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956612"/>
              </p:ext>
            </p:extLst>
          </p:nvPr>
        </p:nvGraphicFramePr>
        <p:xfrm>
          <a:off x="324643" y="1916113"/>
          <a:ext cx="8496300" cy="388699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4755342"/>
                <a:gridCol w="623493"/>
                <a:gridCol w="623493"/>
                <a:gridCol w="623493"/>
                <a:gridCol w="623493"/>
                <a:gridCol w="623493"/>
                <a:gridCol w="623493"/>
              </a:tblGrid>
              <a:tr h="361396">
                <a:tc rowSpan="2">
                  <a:txBody>
                    <a:bodyPr/>
                    <a:lstStyle/>
                    <a:p>
                      <a:r>
                        <a:rPr lang="en-US" sz="1400" b="1" noProof="0" smtClean="0"/>
                        <a:t>Criteria</a:t>
                      </a:r>
                      <a:endParaRPr lang="en-US" sz="1400" b="1" noProof="0"/>
                    </a:p>
                  </a:txBody>
                  <a:tcPr marT="7200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Weakness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Strength</a:t>
                      </a:r>
                      <a:endParaRPr lang="en-US" sz="1400" b="1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</a:tr>
              <a:tr h="391733">
                <a:tc vMerge="1"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-3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-2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-1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+1</a:t>
                      </a:r>
                      <a:endParaRPr lang="en-US" sz="1400" b="1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+2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+3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oduct</a:t>
                      </a:r>
                      <a:r>
                        <a:rPr lang="en-US" sz="1400" baseline="0" noProof="0" smtClean="0"/>
                        <a:t> range</a:t>
                      </a:r>
                      <a:r>
                        <a:rPr lang="en-US" sz="1400" noProof="0" smtClean="0"/>
                        <a:t> (quantity)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oduct</a:t>
                      </a:r>
                      <a:r>
                        <a:rPr lang="en-US" sz="1400" baseline="0" noProof="0" smtClean="0"/>
                        <a:t> range</a:t>
                      </a:r>
                      <a:r>
                        <a:rPr lang="en-US" sz="1400" noProof="0" smtClean="0"/>
                        <a:t> (quality)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ic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Service (general)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Availability</a:t>
                      </a:r>
                      <a:r>
                        <a:rPr lang="en-US" sz="1400" baseline="0" noProof="0" smtClean="0"/>
                        <a:t> by phon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Customer</a:t>
                      </a:r>
                      <a:r>
                        <a:rPr lang="en-US" sz="1400" baseline="0" noProof="0" smtClean="0"/>
                        <a:t> satisfaction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Supplier</a:t>
                      </a:r>
                      <a:r>
                        <a:rPr lang="en-US" sz="1400" baseline="0" noProof="0" smtClean="0"/>
                        <a:t> satisfaction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73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…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28575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pSp>
        <p:nvGrpSpPr>
          <p:cNvPr id="24" name="Gruppieren 23"/>
          <p:cNvGrpSpPr/>
          <p:nvPr/>
        </p:nvGrpSpPr>
        <p:grpSpPr>
          <a:xfrm>
            <a:off x="323850" y="1554956"/>
            <a:ext cx="8272462" cy="4149725"/>
            <a:chOff x="323850" y="1554956"/>
            <a:chExt cx="8272462" cy="4149725"/>
          </a:xfrm>
        </p:grpSpPr>
        <p:sp>
          <p:nvSpPr>
            <p:cNvPr id="29" name="Ellipse 28"/>
            <p:cNvSpPr/>
            <p:nvPr/>
          </p:nvSpPr>
          <p:spPr bwMode="auto">
            <a:xfrm>
              <a:off x="5275104" y="393620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0" name="Ellipse 29"/>
            <p:cNvSpPr/>
            <p:nvPr/>
          </p:nvSpPr>
          <p:spPr bwMode="auto">
            <a:xfrm>
              <a:off x="5903754" y="2764314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1" name="Ellipse 30"/>
            <p:cNvSpPr/>
            <p:nvPr/>
          </p:nvSpPr>
          <p:spPr bwMode="auto">
            <a:xfrm>
              <a:off x="6523673" y="432355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2" name="Ellipse 31"/>
            <p:cNvSpPr/>
            <p:nvPr/>
          </p:nvSpPr>
          <p:spPr bwMode="auto">
            <a:xfrm>
              <a:off x="5275104" y="511095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3" name="Ellipse 32"/>
            <p:cNvSpPr/>
            <p:nvPr/>
          </p:nvSpPr>
          <p:spPr bwMode="auto">
            <a:xfrm>
              <a:off x="7154744" y="393620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4" name="Ellipse 33"/>
            <p:cNvSpPr/>
            <p:nvPr/>
          </p:nvSpPr>
          <p:spPr bwMode="auto">
            <a:xfrm>
              <a:off x="7782462" y="314880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5" name="Ellipse 34"/>
            <p:cNvSpPr/>
            <p:nvPr/>
          </p:nvSpPr>
          <p:spPr bwMode="auto">
            <a:xfrm>
              <a:off x="7154744" y="4710907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6" name="Gleichschenkliges Dreieck 35"/>
            <p:cNvSpPr/>
            <p:nvPr/>
          </p:nvSpPr>
          <p:spPr bwMode="auto">
            <a:xfrm rot="10800000">
              <a:off x="6555583" y="3185319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7" name="Gleichschenkliges Dreieck 36"/>
            <p:cNvSpPr/>
            <p:nvPr/>
          </p:nvSpPr>
          <p:spPr bwMode="auto">
            <a:xfrm rot="10800000">
              <a:off x="5920421" y="3571876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8" name="Gleichschenkliges Dreieck 37"/>
            <p:cNvSpPr/>
            <p:nvPr/>
          </p:nvSpPr>
          <p:spPr bwMode="auto">
            <a:xfrm rot="10800000">
              <a:off x="8424862" y="3571876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39" name="Gleichschenkliges Dreieck 38"/>
            <p:cNvSpPr/>
            <p:nvPr/>
          </p:nvSpPr>
          <p:spPr bwMode="auto">
            <a:xfrm rot="10800000">
              <a:off x="5292722" y="4738051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0" name="Gleichschenkliges Dreieck 39"/>
            <p:cNvSpPr/>
            <p:nvPr/>
          </p:nvSpPr>
          <p:spPr bwMode="auto">
            <a:xfrm rot="10800000">
              <a:off x="5920421" y="5537994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1" name="Gleichschenkliges Dreieck 40"/>
            <p:cNvSpPr/>
            <p:nvPr/>
          </p:nvSpPr>
          <p:spPr bwMode="auto">
            <a:xfrm rot="10800000">
              <a:off x="7175622" y="5537994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2" name="Gleichschenkliges Dreieck 41"/>
            <p:cNvSpPr/>
            <p:nvPr/>
          </p:nvSpPr>
          <p:spPr bwMode="auto">
            <a:xfrm rot="10800000">
              <a:off x="7801514" y="5138101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3" name="Gleichschenkliges Dreieck 42"/>
            <p:cNvSpPr/>
            <p:nvPr/>
          </p:nvSpPr>
          <p:spPr bwMode="auto">
            <a:xfrm rot="10800000">
              <a:off x="7175622" y="2777169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4" name="Ellipse 43"/>
            <p:cNvSpPr/>
            <p:nvPr/>
          </p:nvSpPr>
          <p:spPr bwMode="auto">
            <a:xfrm>
              <a:off x="323850" y="1584632"/>
              <a:ext cx="217646" cy="217646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1750" h="31750" prst="relaxedInset"/>
            </a:sp3d>
          </p:spPr>
          <p:txBody>
            <a:bodyPr tIns="0" bIns="28800" rtlCol="0" anchor="ctr"/>
            <a:lstStyle/>
            <a:p>
              <a:pPr algn="ctr"/>
              <a:r>
                <a:rPr lang="en-US" sz="1600" smtClean="0">
                  <a:ln w="6350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+</a:t>
              </a:r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541496" y="1554956"/>
              <a:ext cx="16350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smtClean="0"/>
                <a:t>Own company </a:t>
              </a:r>
              <a:endParaRPr lang="en-US" sz="1200"/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2577085" y="1554956"/>
              <a:ext cx="16350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smtClean="0"/>
                <a:t>Other Company</a:t>
              </a:r>
              <a:endParaRPr lang="en-US" sz="1200"/>
            </a:p>
          </p:txBody>
        </p:sp>
        <p:sp>
          <p:nvSpPr>
            <p:cNvPr id="48" name="Gleichschenkliges Dreieck 47"/>
            <p:cNvSpPr/>
            <p:nvPr/>
          </p:nvSpPr>
          <p:spPr bwMode="auto">
            <a:xfrm rot="10800000">
              <a:off x="2380868" y="1623686"/>
              <a:ext cx="171450" cy="166687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algn="ctr" rotWithShape="0">
                <a:prstClr val="black">
                  <a:alpha val="72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" h="19050" prst="angle"/>
            </a:sp3d>
          </p:spPr>
          <p:txBody>
            <a:bodyPr tIns="0" bIns="18000" rtlCol="0" anchor="ctr"/>
            <a:lstStyle/>
            <a:p>
              <a:pPr algn="ctr"/>
              <a:endParaRPr lang="en-US" sz="1600">
                <a:ln w="635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647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Analysis </a:t>
            </a:r>
            <a:r>
              <a:rPr lang="en-US" b="0" dirty="0" smtClean="0"/>
              <a:t>- Strengths and Weakness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trengths and weaknesses profile</a:t>
            </a:r>
            <a:endParaRPr lang="en-US" dirty="0"/>
          </a:p>
        </p:txBody>
      </p:sp>
      <p:graphicFrame>
        <p:nvGraphicFramePr>
          <p:cNvPr id="25" name="Tabel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142292"/>
              </p:ext>
            </p:extLst>
          </p:nvPr>
        </p:nvGraphicFramePr>
        <p:xfrm>
          <a:off x="324640" y="1552571"/>
          <a:ext cx="8495514" cy="39006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673026"/>
                <a:gridCol w="535832"/>
                <a:gridCol w="535832"/>
                <a:gridCol w="535832"/>
                <a:gridCol w="535832"/>
                <a:gridCol w="535832"/>
                <a:gridCol w="535832"/>
                <a:gridCol w="535832"/>
                <a:gridCol w="535832"/>
                <a:gridCol w="535832"/>
              </a:tblGrid>
              <a:tr h="300633">
                <a:tc rowSpan="2">
                  <a:txBody>
                    <a:bodyPr/>
                    <a:lstStyle/>
                    <a:p>
                      <a:r>
                        <a:rPr lang="en-US" sz="1600" b="1" noProof="0" dirty="0" smtClean="0"/>
                        <a:t>Critical resources </a:t>
                      </a:r>
                      <a:br>
                        <a:rPr lang="en-US" sz="1600" b="1" noProof="0" dirty="0" smtClean="0"/>
                      </a:br>
                      <a:r>
                        <a:rPr lang="en-US" sz="1600" b="0" noProof="0" dirty="0" smtClean="0"/>
                        <a:t>(performance potential)</a:t>
                      </a:r>
                      <a:endParaRPr lang="en-US" sz="1600" b="0" noProof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Evaluation </a:t>
                      </a:r>
                      <a:endParaRPr lang="en-US" sz="1400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00633">
                <a:tc v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insufficient</a:t>
                      </a:r>
                      <a:endParaRPr lang="en-US" sz="1400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moderate</a:t>
                      </a:r>
                      <a:endParaRPr lang="en-US" sz="1400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noProof="0" dirty="0" smtClean="0"/>
                        <a:t>good</a:t>
                      </a:r>
                      <a:endParaRPr lang="en-US" sz="1400" b="1" noProof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000" dirty="0"/>
                    </a:p>
                  </a:txBody>
                  <a:tcPr/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product line X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sales market (market share)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marketing concept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finance situation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research and development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production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accommodation of raw materials and energy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location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cost situation, differentiation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quality of management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leading systems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74255">
                <a:tc>
                  <a:txBody>
                    <a:bodyPr/>
                    <a:lstStyle/>
                    <a:p>
                      <a:r>
                        <a:rPr lang="en-US" sz="1000" noProof="0" smtClean="0"/>
                        <a:t>potential increase of productivity</a:t>
                      </a:r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66" name="Gerade Verbindung 65"/>
          <p:cNvCxnSpPr>
            <a:stCxn id="30" idx="4"/>
            <a:endCxn id="33" idx="4"/>
          </p:cNvCxnSpPr>
          <p:nvPr/>
        </p:nvCxnSpPr>
        <p:spPr>
          <a:xfrm>
            <a:off x="5874021" y="2323836"/>
            <a:ext cx="0" cy="219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>
            <a:stCxn id="33" idx="1"/>
            <a:endCxn id="36" idx="1"/>
          </p:cNvCxnSpPr>
          <p:nvPr/>
        </p:nvCxnSpPr>
        <p:spPr>
          <a:xfrm flipH="1">
            <a:off x="4813293" y="2582405"/>
            <a:ext cx="1044563" cy="2481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88"/>
          <p:cNvCxnSpPr>
            <a:stCxn id="36" idx="3"/>
            <a:endCxn id="39" idx="6"/>
          </p:cNvCxnSpPr>
          <p:nvPr/>
        </p:nvCxnSpPr>
        <p:spPr>
          <a:xfrm>
            <a:off x="4813293" y="2862910"/>
            <a:ext cx="1567524" cy="2491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90"/>
          <p:cNvCxnSpPr>
            <a:stCxn id="39" idx="6"/>
            <a:endCxn id="42" idx="7"/>
          </p:cNvCxnSpPr>
          <p:nvPr/>
        </p:nvCxnSpPr>
        <p:spPr>
          <a:xfrm flipH="1">
            <a:off x="5346693" y="3112011"/>
            <a:ext cx="1034124" cy="2643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>
            <a:stCxn id="42" idx="5"/>
            <a:endCxn id="45" idx="3"/>
          </p:cNvCxnSpPr>
          <p:nvPr/>
        </p:nvCxnSpPr>
        <p:spPr>
          <a:xfrm>
            <a:off x="5346693" y="3408680"/>
            <a:ext cx="2641020" cy="2405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45" idx="1"/>
            <a:endCxn id="48" idx="7"/>
          </p:cNvCxnSpPr>
          <p:nvPr/>
        </p:nvCxnSpPr>
        <p:spPr>
          <a:xfrm flipH="1">
            <a:off x="6419844" y="3681565"/>
            <a:ext cx="1567869" cy="2405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>
            <a:stCxn id="48" idx="5"/>
            <a:endCxn id="51" idx="3"/>
          </p:cNvCxnSpPr>
          <p:nvPr/>
        </p:nvCxnSpPr>
        <p:spPr>
          <a:xfrm>
            <a:off x="6419844" y="3954451"/>
            <a:ext cx="1567868" cy="248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98"/>
          <p:cNvCxnSpPr>
            <a:stCxn id="51" idx="0"/>
            <a:endCxn id="54" idx="4"/>
          </p:cNvCxnSpPr>
          <p:nvPr/>
        </p:nvCxnSpPr>
        <p:spPr>
          <a:xfrm>
            <a:off x="8003878" y="4241652"/>
            <a:ext cx="0" cy="219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01"/>
          <p:cNvCxnSpPr>
            <a:stCxn id="54" idx="1"/>
            <a:endCxn id="57" idx="0"/>
          </p:cNvCxnSpPr>
          <p:nvPr/>
        </p:nvCxnSpPr>
        <p:spPr>
          <a:xfrm flipH="1">
            <a:off x="6943428" y="4500221"/>
            <a:ext cx="1044284" cy="249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103"/>
          <p:cNvCxnSpPr>
            <a:stCxn id="57" idx="4"/>
            <a:endCxn id="60" idx="0"/>
          </p:cNvCxnSpPr>
          <p:nvPr/>
        </p:nvCxnSpPr>
        <p:spPr>
          <a:xfrm>
            <a:off x="6943428" y="4795041"/>
            <a:ext cx="0" cy="2271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>
            <a:stCxn id="60" idx="4"/>
            <a:endCxn id="63" idx="0"/>
          </p:cNvCxnSpPr>
          <p:nvPr/>
        </p:nvCxnSpPr>
        <p:spPr>
          <a:xfrm>
            <a:off x="6943428" y="5067926"/>
            <a:ext cx="0" cy="2271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68"/>
          <p:cNvGrpSpPr/>
          <p:nvPr/>
        </p:nvGrpSpPr>
        <p:grpSpPr>
          <a:xfrm>
            <a:off x="5813398" y="2240353"/>
            <a:ext cx="121245" cy="121245"/>
            <a:chOff x="5813398" y="2507053"/>
            <a:chExt cx="121245" cy="121245"/>
          </a:xfrm>
        </p:grpSpPr>
        <p:sp>
          <p:nvSpPr>
            <p:cNvPr id="28" name="Ellipse 27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Ellipse 29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uppieren 69"/>
          <p:cNvGrpSpPr/>
          <p:nvPr/>
        </p:nvGrpSpPr>
        <p:grpSpPr>
          <a:xfrm>
            <a:off x="5813398" y="2505618"/>
            <a:ext cx="121245" cy="121245"/>
            <a:chOff x="5813398" y="2757078"/>
            <a:chExt cx="121245" cy="121245"/>
          </a:xfrm>
        </p:grpSpPr>
        <p:sp>
          <p:nvSpPr>
            <p:cNvPr id="34" name="Ellipse 33"/>
            <p:cNvSpPr/>
            <p:nvPr/>
          </p:nvSpPr>
          <p:spPr bwMode="auto">
            <a:xfrm>
              <a:off x="5813398" y="2757078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Ellipse 32"/>
            <p:cNvSpPr/>
            <p:nvPr/>
          </p:nvSpPr>
          <p:spPr bwMode="auto">
            <a:xfrm flipV="1">
              <a:off x="5851160" y="2794841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uppieren 70"/>
          <p:cNvGrpSpPr/>
          <p:nvPr/>
        </p:nvGrpSpPr>
        <p:grpSpPr>
          <a:xfrm>
            <a:off x="4736505" y="2786123"/>
            <a:ext cx="121245" cy="121245"/>
            <a:chOff x="4736505" y="3007103"/>
            <a:chExt cx="121245" cy="121245"/>
          </a:xfrm>
        </p:grpSpPr>
        <p:sp>
          <p:nvSpPr>
            <p:cNvPr id="37" name="Ellipse 36"/>
            <p:cNvSpPr/>
            <p:nvPr/>
          </p:nvSpPr>
          <p:spPr bwMode="auto">
            <a:xfrm>
              <a:off x="4736505" y="300710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35"/>
            <p:cNvSpPr/>
            <p:nvPr/>
          </p:nvSpPr>
          <p:spPr bwMode="auto">
            <a:xfrm flipH="1">
              <a:off x="4774267" y="3044866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pieren 72"/>
          <p:cNvGrpSpPr/>
          <p:nvPr/>
        </p:nvGrpSpPr>
        <p:grpSpPr>
          <a:xfrm>
            <a:off x="6343055" y="3051388"/>
            <a:ext cx="121245" cy="121245"/>
            <a:chOff x="6343055" y="3257128"/>
            <a:chExt cx="121245" cy="121245"/>
          </a:xfrm>
        </p:grpSpPr>
        <p:sp>
          <p:nvSpPr>
            <p:cNvPr id="40" name="Ellipse 39"/>
            <p:cNvSpPr/>
            <p:nvPr/>
          </p:nvSpPr>
          <p:spPr bwMode="auto">
            <a:xfrm>
              <a:off x="6343055" y="3257128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Ellipse 38"/>
            <p:cNvSpPr/>
            <p:nvPr/>
          </p:nvSpPr>
          <p:spPr bwMode="auto">
            <a:xfrm flipH="1">
              <a:off x="6380817" y="3294891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uppieren 71"/>
          <p:cNvGrpSpPr/>
          <p:nvPr/>
        </p:nvGrpSpPr>
        <p:grpSpPr>
          <a:xfrm>
            <a:off x="5269905" y="3331893"/>
            <a:ext cx="121245" cy="121245"/>
            <a:chOff x="5269905" y="3507153"/>
            <a:chExt cx="121245" cy="121245"/>
          </a:xfrm>
        </p:grpSpPr>
        <p:sp>
          <p:nvSpPr>
            <p:cNvPr id="43" name="Ellipse 42"/>
            <p:cNvSpPr/>
            <p:nvPr/>
          </p:nvSpPr>
          <p:spPr bwMode="auto">
            <a:xfrm>
              <a:off x="5269905" y="350715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Ellipse 41"/>
            <p:cNvSpPr/>
            <p:nvPr/>
          </p:nvSpPr>
          <p:spPr bwMode="auto">
            <a:xfrm>
              <a:off x="5307667" y="3544916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uppieren 73"/>
          <p:cNvGrpSpPr/>
          <p:nvPr/>
        </p:nvGrpSpPr>
        <p:grpSpPr>
          <a:xfrm>
            <a:off x="7943255" y="3604778"/>
            <a:ext cx="121245" cy="121245"/>
            <a:chOff x="7943255" y="3757178"/>
            <a:chExt cx="121245" cy="121245"/>
          </a:xfrm>
        </p:grpSpPr>
        <p:sp>
          <p:nvSpPr>
            <p:cNvPr id="46" name="Ellipse 45"/>
            <p:cNvSpPr/>
            <p:nvPr/>
          </p:nvSpPr>
          <p:spPr bwMode="auto">
            <a:xfrm>
              <a:off x="7943255" y="3757178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44"/>
            <p:cNvSpPr/>
            <p:nvPr/>
          </p:nvSpPr>
          <p:spPr bwMode="auto">
            <a:xfrm flipV="1">
              <a:off x="7981017" y="3794941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uppieren 74"/>
          <p:cNvGrpSpPr/>
          <p:nvPr/>
        </p:nvGrpSpPr>
        <p:grpSpPr>
          <a:xfrm>
            <a:off x="6343055" y="3877663"/>
            <a:ext cx="121245" cy="121245"/>
            <a:chOff x="6343055" y="4007203"/>
            <a:chExt cx="121245" cy="121245"/>
          </a:xfrm>
        </p:grpSpPr>
        <p:sp>
          <p:nvSpPr>
            <p:cNvPr id="49" name="Ellipse 48"/>
            <p:cNvSpPr/>
            <p:nvPr/>
          </p:nvSpPr>
          <p:spPr bwMode="auto">
            <a:xfrm>
              <a:off x="6343055" y="400720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Ellipse 47"/>
            <p:cNvSpPr/>
            <p:nvPr/>
          </p:nvSpPr>
          <p:spPr bwMode="auto">
            <a:xfrm>
              <a:off x="6380816" y="4044965"/>
              <a:ext cx="45724" cy="45722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uppieren 75"/>
          <p:cNvGrpSpPr/>
          <p:nvPr/>
        </p:nvGrpSpPr>
        <p:grpSpPr>
          <a:xfrm>
            <a:off x="7943255" y="4158168"/>
            <a:ext cx="121245" cy="121245"/>
            <a:chOff x="7943255" y="4257228"/>
            <a:chExt cx="121245" cy="121245"/>
          </a:xfrm>
        </p:grpSpPr>
        <p:sp>
          <p:nvSpPr>
            <p:cNvPr id="52" name="Ellipse 51"/>
            <p:cNvSpPr/>
            <p:nvPr/>
          </p:nvSpPr>
          <p:spPr bwMode="auto">
            <a:xfrm>
              <a:off x="7943255" y="4257228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Ellipse 50"/>
            <p:cNvSpPr/>
            <p:nvPr/>
          </p:nvSpPr>
          <p:spPr bwMode="auto">
            <a:xfrm flipV="1">
              <a:off x="7981016" y="4294990"/>
              <a:ext cx="45724" cy="45722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uppieren 76"/>
          <p:cNvGrpSpPr/>
          <p:nvPr/>
        </p:nvGrpSpPr>
        <p:grpSpPr>
          <a:xfrm>
            <a:off x="7943255" y="4423433"/>
            <a:ext cx="121245" cy="121245"/>
            <a:chOff x="7943255" y="4507253"/>
            <a:chExt cx="121245" cy="121245"/>
          </a:xfrm>
        </p:grpSpPr>
        <p:sp>
          <p:nvSpPr>
            <p:cNvPr id="55" name="Ellipse 54"/>
            <p:cNvSpPr/>
            <p:nvPr/>
          </p:nvSpPr>
          <p:spPr bwMode="auto">
            <a:xfrm>
              <a:off x="7943255" y="450725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Ellipse 53"/>
            <p:cNvSpPr/>
            <p:nvPr/>
          </p:nvSpPr>
          <p:spPr bwMode="auto">
            <a:xfrm flipV="1">
              <a:off x="7981016" y="4545015"/>
              <a:ext cx="45724" cy="45722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uppieren 77"/>
          <p:cNvGrpSpPr/>
          <p:nvPr/>
        </p:nvGrpSpPr>
        <p:grpSpPr>
          <a:xfrm>
            <a:off x="6882805" y="4711558"/>
            <a:ext cx="121245" cy="121245"/>
            <a:chOff x="6882805" y="4757278"/>
            <a:chExt cx="121245" cy="121245"/>
          </a:xfrm>
        </p:grpSpPr>
        <p:sp>
          <p:nvSpPr>
            <p:cNvPr id="58" name="Ellipse 57"/>
            <p:cNvSpPr/>
            <p:nvPr/>
          </p:nvSpPr>
          <p:spPr bwMode="auto">
            <a:xfrm>
              <a:off x="6882805" y="4757278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Ellipse 56"/>
            <p:cNvSpPr/>
            <p:nvPr/>
          </p:nvSpPr>
          <p:spPr bwMode="auto">
            <a:xfrm>
              <a:off x="6920567" y="4795041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uppieren 78"/>
          <p:cNvGrpSpPr/>
          <p:nvPr/>
        </p:nvGrpSpPr>
        <p:grpSpPr>
          <a:xfrm>
            <a:off x="6882805" y="4984443"/>
            <a:ext cx="121245" cy="121245"/>
            <a:chOff x="6882805" y="5007303"/>
            <a:chExt cx="121245" cy="121245"/>
          </a:xfrm>
        </p:grpSpPr>
        <p:sp>
          <p:nvSpPr>
            <p:cNvPr id="61" name="Ellipse 60"/>
            <p:cNvSpPr/>
            <p:nvPr/>
          </p:nvSpPr>
          <p:spPr bwMode="auto">
            <a:xfrm>
              <a:off x="6882805" y="500730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Ellipse 59"/>
            <p:cNvSpPr/>
            <p:nvPr/>
          </p:nvSpPr>
          <p:spPr bwMode="auto">
            <a:xfrm flipH="1">
              <a:off x="6920567" y="5045066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uppieren 79"/>
          <p:cNvGrpSpPr/>
          <p:nvPr/>
        </p:nvGrpSpPr>
        <p:grpSpPr>
          <a:xfrm>
            <a:off x="6882805" y="5257330"/>
            <a:ext cx="121245" cy="121245"/>
            <a:chOff x="6882805" y="5257330"/>
            <a:chExt cx="121245" cy="121245"/>
          </a:xfrm>
        </p:grpSpPr>
        <p:sp>
          <p:nvSpPr>
            <p:cNvPr id="64" name="Ellipse 63"/>
            <p:cNvSpPr/>
            <p:nvPr/>
          </p:nvSpPr>
          <p:spPr bwMode="auto">
            <a:xfrm>
              <a:off x="6882805" y="5257330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Ellipse 62"/>
            <p:cNvSpPr/>
            <p:nvPr/>
          </p:nvSpPr>
          <p:spPr bwMode="auto">
            <a:xfrm>
              <a:off x="6920566" y="5295092"/>
              <a:ext cx="45724" cy="45722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47" name="Gerade Verbindung 146"/>
          <p:cNvCxnSpPr>
            <a:stCxn id="109" idx="5"/>
            <a:endCxn id="127" idx="1"/>
          </p:cNvCxnSpPr>
          <p:nvPr/>
        </p:nvCxnSpPr>
        <p:spPr>
          <a:xfrm flipH="1">
            <a:off x="6959593" y="2317140"/>
            <a:ext cx="1034470" cy="232937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Gerade Verbindung 149"/>
          <p:cNvCxnSpPr>
            <a:stCxn id="127" idx="4"/>
            <a:endCxn id="130" idx="0"/>
          </p:cNvCxnSpPr>
          <p:nvPr/>
        </p:nvCxnSpPr>
        <p:spPr>
          <a:xfrm>
            <a:off x="6943428" y="2589101"/>
            <a:ext cx="0" cy="23478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151"/>
          <p:cNvCxnSpPr>
            <a:stCxn id="130" idx="6"/>
            <a:endCxn id="133" idx="2"/>
          </p:cNvCxnSpPr>
          <p:nvPr/>
        </p:nvCxnSpPr>
        <p:spPr>
          <a:xfrm flipH="1">
            <a:off x="5353389" y="2846746"/>
            <a:ext cx="1567178" cy="26526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/>
          <p:cNvCxnSpPr>
            <a:stCxn id="133" idx="2"/>
            <a:endCxn id="136" idx="6"/>
          </p:cNvCxnSpPr>
          <p:nvPr/>
        </p:nvCxnSpPr>
        <p:spPr>
          <a:xfrm>
            <a:off x="5353389" y="3112011"/>
            <a:ext cx="1027428" cy="28050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58"/>
          <p:cNvCxnSpPr>
            <a:stCxn id="136" idx="2"/>
            <a:endCxn id="139" idx="6"/>
          </p:cNvCxnSpPr>
          <p:nvPr/>
        </p:nvCxnSpPr>
        <p:spPr>
          <a:xfrm>
            <a:off x="6426539" y="3392516"/>
            <a:ext cx="494028" cy="27288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Gerade Verbindung 160"/>
          <p:cNvCxnSpPr>
            <a:stCxn id="139" idx="6"/>
            <a:endCxn id="142" idx="2"/>
          </p:cNvCxnSpPr>
          <p:nvPr/>
        </p:nvCxnSpPr>
        <p:spPr>
          <a:xfrm flipH="1">
            <a:off x="4280239" y="3665401"/>
            <a:ext cx="2640328" cy="27288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/>
          <p:cNvCxnSpPr>
            <a:stCxn id="142" idx="3"/>
            <a:endCxn id="145" idx="6"/>
          </p:cNvCxnSpPr>
          <p:nvPr/>
        </p:nvCxnSpPr>
        <p:spPr>
          <a:xfrm>
            <a:off x="4273543" y="3954450"/>
            <a:ext cx="1034124" cy="264341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/>
          <p:cNvCxnSpPr>
            <a:stCxn id="145" idx="2"/>
            <a:endCxn id="124" idx="7"/>
          </p:cNvCxnSpPr>
          <p:nvPr/>
        </p:nvCxnSpPr>
        <p:spPr>
          <a:xfrm>
            <a:off x="5353389" y="4218791"/>
            <a:ext cx="504467" cy="249101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168"/>
          <p:cNvCxnSpPr>
            <a:stCxn id="124" idx="3"/>
            <a:endCxn id="115" idx="6"/>
          </p:cNvCxnSpPr>
          <p:nvPr/>
        </p:nvCxnSpPr>
        <p:spPr>
          <a:xfrm>
            <a:off x="5890186" y="4500220"/>
            <a:ext cx="2097181" cy="271961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170"/>
          <p:cNvCxnSpPr>
            <a:stCxn id="115" idx="4"/>
            <a:endCxn id="118" idx="0"/>
          </p:cNvCxnSpPr>
          <p:nvPr/>
        </p:nvCxnSpPr>
        <p:spPr>
          <a:xfrm>
            <a:off x="8010228" y="4795041"/>
            <a:ext cx="0" cy="227165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/>
          <p:cNvCxnSpPr>
            <a:stCxn id="118" idx="4"/>
            <a:endCxn id="121" idx="0"/>
          </p:cNvCxnSpPr>
          <p:nvPr/>
        </p:nvCxnSpPr>
        <p:spPr>
          <a:xfrm>
            <a:off x="8010228" y="5067926"/>
            <a:ext cx="0" cy="227167"/>
          </a:xfrm>
          <a:prstGeom prst="line">
            <a:avLst/>
          </a:prstGeom>
          <a:ln>
            <a:solidFill>
              <a:srgbClr val="96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12"/>
          <p:cNvGrpSpPr/>
          <p:nvPr/>
        </p:nvGrpSpPr>
        <p:grpSpPr>
          <a:xfrm>
            <a:off x="7949605" y="4711558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14" name="Ellipse 113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Ellipse 114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uppieren 115"/>
          <p:cNvGrpSpPr/>
          <p:nvPr/>
        </p:nvGrpSpPr>
        <p:grpSpPr>
          <a:xfrm>
            <a:off x="7949605" y="498444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17" name="Ellipse 116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Ellipse 117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pieren 118"/>
          <p:cNvGrpSpPr/>
          <p:nvPr/>
        </p:nvGrpSpPr>
        <p:grpSpPr>
          <a:xfrm>
            <a:off x="7949605" y="5257330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0" name="Ellipse 119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Ellipse 120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uppieren 121"/>
          <p:cNvGrpSpPr/>
          <p:nvPr/>
        </p:nvGrpSpPr>
        <p:grpSpPr>
          <a:xfrm>
            <a:off x="5813398" y="442343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3" name="Ellipse 122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Ellipse 123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uppieren 124"/>
          <p:cNvGrpSpPr/>
          <p:nvPr/>
        </p:nvGrpSpPr>
        <p:grpSpPr>
          <a:xfrm>
            <a:off x="6882805" y="2505618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6" name="Ellipse 125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Ellipse 126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uppieren 127"/>
          <p:cNvGrpSpPr/>
          <p:nvPr/>
        </p:nvGrpSpPr>
        <p:grpSpPr>
          <a:xfrm>
            <a:off x="6882805" y="278612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29" name="Ellipse 128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Ellipse 129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uppieren 130"/>
          <p:cNvGrpSpPr/>
          <p:nvPr/>
        </p:nvGrpSpPr>
        <p:grpSpPr>
          <a:xfrm>
            <a:off x="5269905" y="3051388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2" name="Ellipse 131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Ellipse 132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uppieren 133"/>
          <p:cNvGrpSpPr/>
          <p:nvPr/>
        </p:nvGrpSpPr>
        <p:grpSpPr>
          <a:xfrm>
            <a:off x="6343055" y="333189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5" name="Ellipse 134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Ellipse 135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136"/>
          <p:cNvGrpSpPr/>
          <p:nvPr/>
        </p:nvGrpSpPr>
        <p:grpSpPr>
          <a:xfrm>
            <a:off x="6882805" y="3604778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38" name="Ellipse 137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Ellipse 138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uppieren 139"/>
          <p:cNvGrpSpPr/>
          <p:nvPr/>
        </p:nvGrpSpPr>
        <p:grpSpPr>
          <a:xfrm>
            <a:off x="4196755" y="387766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41" name="Ellipse 140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Ellipse 141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uppieren 142"/>
          <p:cNvGrpSpPr/>
          <p:nvPr/>
        </p:nvGrpSpPr>
        <p:grpSpPr>
          <a:xfrm>
            <a:off x="5269905" y="4158168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44" name="Ellipse 143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Ellipse 144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uppieren 106"/>
          <p:cNvGrpSpPr/>
          <p:nvPr/>
        </p:nvGrpSpPr>
        <p:grpSpPr>
          <a:xfrm>
            <a:off x="7949605" y="2240353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8" name="Ellipse 107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Ellipse 108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uppieren 175"/>
          <p:cNvGrpSpPr/>
          <p:nvPr/>
        </p:nvGrpSpPr>
        <p:grpSpPr>
          <a:xfrm>
            <a:off x="324643" y="5634127"/>
            <a:ext cx="121245" cy="121245"/>
            <a:chOff x="4736505" y="3007103"/>
            <a:chExt cx="121245" cy="121245"/>
          </a:xfrm>
        </p:grpSpPr>
        <p:sp>
          <p:nvSpPr>
            <p:cNvPr id="111" name="Ellipse 110"/>
            <p:cNvSpPr/>
            <p:nvPr/>
          </p:nvSpPr>
          <p:spPr bwMode="auto">
            <a:xfrm>
              <a:off x="4736505" y="3007103"/>
              <a:ext cx="121245" cy="121245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Ellipse 111"/>
            <p:cNvSpPr/>
            <p:nvPr/>
          </p:nvSpPr>
          <p:spPr bwMode="auto">
            <a:xfrm flipH="1">
              <a:off x="4774267" y="3044866"/>
              <a:ext cx="45722" cy="45720"/>
            </a:xfrm>
            <a:prstGeom prst="ellipse">
              <a:avLst/>
            </a:prstGeom>
            <a:solidFill>
              <a:schemeClr val="accent1">
                <a:alpha val="2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uppieren 178"/>
          <p:cNvGrpSpPr/>
          <p:nvPr/>
        </p:nvGrpSpPr>
        <p:grpSpPr>
          <a:xfrm>
            <a:off x="2007546" y="5634127"/>
            <a:ext cx="121245" cy="121245"/>
            <a:chOff x="5813398" y="2507053"/>
            <a:chExt cx="121245" cy="121245"/>
          </a:xfrm>
          <a:solidFill>
            <a:schemeClr val="bg1">
              <a:lumMod val="65000"/>
            </a:schemeClr>
          </a:solidFill>
          <a:effectLst>
            <a:outerShdw blurRad="25400" dist="127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16" name="Ellipse 115"/>
            <p:cNvSpPr/>
            <p:nvPr/>
          </p:nvSpPr>
          <p:spPr bwMode="auto">
            <a:xfrm>
              <a:off x="5813398" y="2507053"/>
              <a:ext cx="121245" cy="121245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7150" h="5715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Ellipse 118"/>
            <p:cNvSpPr/>
            <p:nvPr/>
          </p:nvSpPr>
          <p:spPr bwMode="auto">
            <a:xfrm flipH="1">
              <a:off x="5851160" y="2544816"/>
              <a:ext cx="45722" cy="45720"/>
            </a:xfrm>
            <a:prstGeom prst="ellipse">
              <a:avLst/>
            </a:prstGeom>
            <a:solidFill>
              <a:schemeClr val="bg1">
                <a:lumMod val="75000"/>
                <a:alpha val="1000"/>
              </a:schemeClr>
            </a:solidFill>
            <a:ln w="12700">
              <a:noFill/>
              <a:round/>
              <a:headEnd/>
              <a:tailEnd/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2" name="Textfeld 121"/>
          <p:cNvSpPr txBox="1"/>
          <p:nvPr/>
        </p:nvSpPr>
        <p:spPr>
          <a:xfrm>
            <a:off x="430751" y="5556250"/>
            <a:ext cx="1118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wn company </a:t>
            </a:r>
            <a:endParaRPr lang="en-US" sz="1200" dirty="0"/>
          </a:p>
        </p:txBody>
      </p:sp>
      <p:sp>
        <p:nvSpPr>
          <p:cNvPr id="125" name="Textfeld 124"/>
          <p:cNvSpPr txBox="1"/>
          <p:nvPr/>
        </p:nvSpPr>
        <p:spPr>
          <a:xfrm>
            <a:off x="2113654" y="5556250"/>
            <a:ext cx="14979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trongest competito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3366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Tabel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813705"/>
              </p:ext>
            </p:extLst>
          </p:nvPr>
        </p:nvGraphicFramePr>
        <p:xfrm>
          <a:off x="324640" y="1554943"/>
          <a:ext cx="8495508" cy="388700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60800"/>
                <a:gridCol w="659412"/>
                <a:gridCol w="659412"/>
                <a:gridCol w="659412"/>
                <a:gridCol w="659412"/>
                <a:gridCol w="659412"/>
                <a:gridCol w="659412"/>
                <a:gridCol w="659412"/>
                <a:gridCol w="659412"/>
                <a:gridCol w="659412"/>
              </a:tblGrid>
              <a:tr h="360247"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Characteristic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</a:tr>
              <a:tr h="352676"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200" b="1" i="0" noProof="0" smtClean="0"/>
                        <a:t>high</a:t>
                      </a:r>
                      <a:endParaRPr lang="en-US" sz="1200" b="1" i="0" noProof="0"/>
                    </a:p>
                  </a:txBody>
                  <a:tcPr marL="144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gridSpan="5">
                  <a:txBody>
                    <a:bodyPr/>
                    <a:lstStyle/>
                    <a:p>
                      <a:pPr algn="r"/>
                      <a:r>
                        <a:rPr lang="en-US" sz="1200" b="1" i="0" noProof="0" smtClean="0"/>
                        <a:t>low</a:t>
                      </a:r>
                      <a:endParaRPr lang="en-US" sz="1200" b="1" i="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T="0" marB="0"/>
                </a:tc>
              </a:tr>
              <a:tr h="352676"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1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2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3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4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5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6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7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8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smtClean="0"/>
                        <a:t>9</a:t>
                      </a:r>
                      <a:endParaRPr lang="en-US" sz="14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Quality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ic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erformanc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Usag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Image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Environment-friendliness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Design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2676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Additional functions</a:t>
                      </a:r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mpetition Analysis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Example</a:t>
            </a:r>
            <a:endParaRPr lang="en-US"/>
          </a:p>
        </p:txBody>
      </p:sp>
      <p:cxnSp>
        <p:nvCxnSpPr>
          <p:cNvPr id="45" name="Gerade Verbindung 44"/>
          <p:cNvCxnSpPr>
            <a:stCxn id="22" idx="7"/>
            <a:endCxn id="25" idx="7"/>
          </p:cNvCxnSpPr>
          <p:nvPr/>
        </p:nvCxnSpPr>
        <p:spPr>
          <a:xfrm flipH="1">
            <a:off x="5201649" y="2790791"/>
            <a:ext cx="2641600" cy="342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46"/>
          <p:cNvCxnSpPr>
            <a:stCxn id="25" idx="3"/>
            <a:endCxn id="28" idx="5"/>
          </p:cNvCxnSpPr>
          <p:nvPr/>
        </p:nvCxnSpPr>
        <p:spPr>
          <a:xfrm>
            <a:off x="5180325" y="3155015"/>
            <a:ext cx="1348474" cy="3619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>
            <a:stCxn id="28" idx="7"/>
            <a:endCxn id="31" idx="0"/>
          </p:cNvCxnSpPr>
          <p:nvPr/>
        </p:nvCxnSpPr>
        <p:spPr>
          <a:xfrm flipH="1">
            <a:off x="5845037" y="3495641"/>
            <a:ext cx="683762" cy="3448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stCxn id="31" idx="1"/>
            <a:endCxn id="34" idx="1"/>
          </p:cNvCxnSpPr>
          <p:nvPr/>
        </p:nvCxnSpPr>
        <p:spPr>
          <a:xfrm flipH="1">
            <a:off x="3192775" y="3844891"/>
            <a:ext cx="2641600" cy="355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>
            <a:stCxn id="34" idx="1"/>
            <a:endCxn id="37" idx="3"/>
          </p:cNvCxnSpPr>
          <p:nvPr/>
        </p:nvCxnSpPr>
        <p:spPr>
          <a:xfrm>
            <a:off x="3192775" y="4200491"/>
            <a:ext cx="4629150" cy="3705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37" idx="7"/>
            <a:endCxn id="40" idx="7"/>
          </p:cNvCxnSpPr>
          <p:nvPr/>
        </p:nvCxnSpPr>
        <p:spPr>
          <a:xfrm>
            <a:off x="7843249" y="4549741"/>
            <a:ext cx="664247" cy="3505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40" idx="1"/>
            <a:endCxn id="43" idx="1"/>
          </p:cNvCxnSpPr>
          <p:nvPr/>
        </p:nvCxnSpPr>
        <p:spPr>
          <a:xfrm flipH="1">
            <a:off x="6492397" y="4900266"/>
            <a:ext cx="1993775" cy="352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pieren 251"/>
          <p:cNvGrpSpPr/>
          <p:nvPr/>
        </p:nvGrpSpPr>
        <p:grpSpPr bwMode="gray">
          <a:xfrm>
            <a:off x="7750570" y="27194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21" name="Ellipse 20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Ellipse 21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uppieren 251"/>
          <p:cNvGrpSpPr/>
          <p:nvPr/>
        </p:nvGrpSpPr>
        <p:grpSpPr bwMode="gray">
          <a:xfrm>
            <a:off x="5108970" y="30623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24" name="Ellipse 23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Ellipse 24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uppieren 251"/>
          <p:cNvGrpSpPr/>
          <p:nvPr/>
        </p:nvGrpSpPr>
        <p:grpSpPr bwMode="gray">
          <a:xfrm>
            <a:off x="6436120" y="342428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27" name="Ellipse 26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Ellipse 27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uppieren 251"/>
          <p:cNvGrpSpPr/>
          <p:nvPr/>
        </p:nvGrpSpPr>
        <p:grpSpPr bwMode="gray">
          <a:xfrm>
            <a:off x="5763020" y="37735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30" name="Ellipse 29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Ellipse 30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uppieren 251"/>
          <p:cNvGrpSpPr/>
          <p:nvPr/>
        </p:nvGrpSpPr>
        <p:grpSpPr bwMode="gray">
          <a:xfrm>
            <a:off x="3121420" y="41291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33" name="Ellipse 32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Ellipse 33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uppieren 251"/>
          <p:cNvGrpSpPr/>
          <p:nvPr/>
        </p:nvGrpSpPr>
        <p:grpSpPr bwMode="gray">
          <a:xfrm>
            <a:off x="7750570" y="447838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36" name="Ellipse 35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36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251"/>
          <p:cNvGrpSpPr/>
          <p:nvPr/>
        </p:nvGrpSpPr>
        <p:grpSpPr bwMode="gray">
          <a:xfrm>
            <a:off x="8414817" y="4828911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39" name="Ellipse 38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Ellipse 39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" name="Gruppieren 251"/>
          <p:cNvGrpSpPr/>
          <p:nvPr/>
        </p:nvGrpSpPr>
        <p:grpSpPr bwMode="gray">
          <a:xfrm>
            <a:off x="6421042" y="5181600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42" name="Ellipse 41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Ellipse 42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3" name="Gerade Verbindung 82"/>
          <p:cNvCxnSpPr>
            <a:stCxn id="60" idx="1"/>
            <a:endCxn id="63" idx="7"/>
          </p:cNvCxnSpPr>
          <p:nvPr/>
        </p:nvCxnSpPr>
        <p:spPr>
          <a:xfrm flipH="1">
            <a:off x="5855699" y="2784441"/>
            <a:ext cx="645426" cy="3492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84"/>
          <p:cNvCxnSpPr>
            <a:stCxn id="63" idx="4"/>
            <a:endCxn id="66" idx="1"/>
          </p:cNvCxnSpPr>
          <p:nvPr/>
        </p:nvCxnSpPr>
        <p:spPr>
          <a:xfrm>
            <a:off x="5845037" y="3159431"/>
            <a:ext cx="1320335" cy="33621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>
            <a:stCxn id="66" idx="7"/>
            <a:endCxn id="69" idx="0"/>
          </p:cNvCxnSpPr>
          <p:nvPr/>
        </p:nvCxnSpPr>
        <p:spPr>
          <a:xfrm>
            <a:off x="7186696" y="3495641"/>
            <a:ext cx="645891" cy="34483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88"/>
          <p:cNvCxnSpPr>
            <a:stCxn id="69" idx="1"/>
            <a:endCxn id="72" idx="7"/>
          </p:cNvCxnSpPr>
          <p:nvPr/>
        </p:nvCxnSpPr>
        <p:spPr>
          <a:xfrm flipH="1">
            <a:off x="6528799" y="3844891"/>
            <a:ext cx="1293126" cy="34493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90"/>
          <p:cNvCxnSpPr>
            <a:stCxn id="72" idx="7"/>
            <a:endCxn id="75" idx="3"/>
          </p:cNvCxnSpPr>
          <p:nvPr/>
        </p:nvCxnSpPr>
        <p:spPr>
          <a:xfrm flipH="1">
            <a:off x="5834375" y="4189829"/>
            <a:ext cx="694424" cy="38361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>
            <a:stCxn id="75" idx="1"/>
            <a:endCxn id="78" idx="0"/>
          </p:cNvCxnSpPr>
          <p:nvPr/>
        </p:nvCxnSpPr>
        <p:spPr>
          <a:xfrm>
            <a:off x="5834375" y="4552119"/>
            <a:ext cx="668684" cy="3413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78" idx="0"/>
            <a:endCxn id="81" idx="7"/>
          </p:cNvCxnSpPr>
          <p:nvPr/>
        </p:nvCxnSpPr>
        <p:spPr>
          <a:xfrm flipH="1">
            <a:off x="4544562" y="4893472"/>
            <a:ext cx="1958497" cy="36152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uppieren 251"/>
          <p:cNvGrpSpPr/>
          <p:nvPr/>
        </p:nvGrpSpPr>
        <p:grpSpPr bwMode="gray">
          <a:xfrm>
            <a:off x="6429770" y="271308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59" name="Ellipse 58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Ellipse 59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uppieren 251"/>
          <p:cNvGrpSpPr/>
          <p:nvPr/>
        </p:nvGrpSpPr>
        <p:grpSpPr bwMode="gray">
          <a:xfrm>
            <a:off x="5763020" y="30623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62" name="Ellipse 61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Ellipse 62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Gruppieren 251"/>
          <p:cNvGrpSpPr/>
          <p:nvPr/>
        </p:nvGrpSpPr>
        <p:grpSpPr bwMode="gray">
          <a:xfrm>
            <a:off x="7094017" y="342428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65" name="Ellipse 64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Ellipse 65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7" name="Gruppieren 251"/>
          <p:cNvGrpSpPr/>
          <p:nvPr/>
        </p:nvGrpSpPr>
        <p:grpSpPr bwMode="gray">
          <a:xfrm>
            <a:off x="7750570" y="3773536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68" name="Ellipse 67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Ellipse 68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0" name="Gruppieren 251"/>
          <p:cNvGrpSpPr/>
          <p:nvPr/>
        </p:nvGrpSpPr>
        <p:grpSpPr bwMode="gray">
          <a:xfrm>
            <a:off x="6436120" y="4118474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71" name="Ellipse 70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Ellipse 71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3" name="Gruppieren 251"/>
          <p:cNvGrpSpPr/>
          <p:nvPr/>
        </p:nvGrpSpPr>
        <p:grpSpPr bwMode="gray">
          <a:xfrm>
            <a:off x="5763020" y="4480764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74" name="Ellipse 73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Ellipse 74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uppieren 251"/>
          <p:cNvGrpSpPr/>
          <p:nvPr/>
        </p:nvGrpSpPr>
        <p:grpSpPr bwMode="gray">
          <a:xfrm>
            <a:off x="6421042" y="4826533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77" name="Ellipse 76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Ellipse 77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Gruppieren 251"/>
          <p:cNvGrpSpPr/>
          <p:nvPr/>
        </p:nvGrpSpPr>
        <p:grpSpPr bwMode="gray">
          <a:xfrm>
            <a:off x="4451883" y="5183638"/>
            <a:ext cx="164033" cy="164033"/>
            <a:chOff x="2162874" y="2304770"/>
            <a:chExt cx="97912" cy="97912"/>
          </a:xfrm>
          <a:solidFill>
            <a:schemeClr val="accent1">
              <a:lumMod val="60000"/>
              <a:lumOff val="40000"/>
            </a:schemeClr>
          </a:solidFill>
          <a:effectLst>
            <a:outerShdw blurRad="101600" dist="12700" dir="2700000" algn="tl" rotWithShape="0">
              <a:prstClr val="black">
                <a:alpha val="62000"/>
              </a:prstClr>
            </a:outerShdw>
          </a:effectLst>
        </p:grpSpPr>
        <p:sp>
          <p:nvSpPr>
            <p:cNvPr id="80" name="Ellipse 79"/>
            <p:cNvSpPr/>
            <p:nvPr/>
          </p:nvSpPr>
          <p:spPr bwMode="gray">
            <a:xfrm>
              <a:off x="2162874" y="2304770"/>
              <a:ext cx="97912" cy="979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8900" h="88900"/>
            </a:sp3d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Ellipse 80"/>
            <p:cNvSpPr/>
            <p:nvPr/>
          </p:nvSpPr>
          <p:spPr bwMode="gray">
            <a:xfrm>
              <a:off x="2202830" y="2344726"/>
              <a:ext cx="18000" cy="18000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4" name="Gruppieren 103"/>
          <p:cNvGrpSpPr/>
          <p:nvPr/>
        </p:nvGrpSpPr>
        <p:grpSpPr>
          <a:xfrm>
            <a:off x="324643" y="5573692"/>
            <a:ext cx="3280517" cy="461665"/>
            <a:chOff x="324643" y="5482252"/>
            <a:chExt cx="3280517" cy="461665"/>
          </a:xfrm>
        </p:grpSpPr>
        <p:grpSp>
          <p:nvGrpSpPr>
            <p:cNvPr id="96" name="Gruppieren 251"/>
            <p:cNvGrpSpPr/>
            <p:nvPr/>
          </p:nvGrpSpPr>
          <p:grpSpPr bwMode="gray">
            <a:xfrm>
              <a:off x="324643" y="5538735"/>
              <a:ext cx="164033" cy="164033"/>
              <a:chOff x="2162874" y="2304770"/>
              <a:chExt cx="97912" cy="97912"/>
            </a:xfrm>
            <a:solidFill>
              <a:schemeClr val="accent1">
                <a:lumMod val="60000"/>
                <a:lumOff val="40000"/>
              </a:schemeClr>
            </a:solidFill>
            <a:effectLst>
              <a:outerShdw blurRad="101600" dist="12700" dir="2700000" algn="tl" rotWithShape="0">
                <a:prstClr val="black">
                  <a:alpha val="62000"/>
                </a:prstClr>
              </a:outerShdw>
            </a:effectLst>
          </p:grpSpPr>
          <p:sp>
            <p:nvSpPr>
              <p:cNvPr id="97" name="Ellipse 96"/>
              <p:cNvSpPr/>
              <p:nvPr/>
            </p:nvSpPr>
            <p:spPr bwMode="gray">
              <a:xfrm>
                <a:off x="2162874" y="2304770"/>
                <a:ext cx="97912" cy="97912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88900" h="88900"/>
              </a:sp3d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Ellipse 97"/>
              <p:cNvSpPr/>
              <p:nvPr/>
            </p:nvSpPr>
            <p:spPr bwMode="gray">
              <a:xfrm>
                <a:off x="2202830" y="2344726"/>
                <a:ext cx="18000" cy="18000"/>
              </a:xfrm>
              <a:prstGeom prst="ellipse">
                <a:avLst/>
              </a:prstGeom>
              <a:solidFill>
                <a:srgbClr val="FFFFFF">
                  <a:alpha val="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9" name="Gruppieren 251"/>
            <p:cNvGrpSpPr/>
            <p:nvPr/>
          </p:nvGrpSpPr>
          <p:grpSpPr bwMode="gray">
            <a:xfrm>
              <a:off x="1902447" y="5539046"/>
              <a:ext cx="164033" cy="164033"/>
              <a:chOff x="2162874" y="2304770"/>
              <a:chExt cx="97912" cy="97912"/>
            </a:xfrm>
            <a:solidFill>
              <a:schemeClr val="accent1">
                <a:lumMod val="60000"/>
                <a:lumOff val="40000"/>
              </a:schemeClr>
            </a:solidFill>
            <a:effectLst>
              <a:outerShdw blurRad="101600" dist="12700" dir="2700000" algn="tl" rotWithShape="0">
                <a:prstClr val="black">
                  <a:alpha val="62000"/>
                </a:prstClr>
              </a:outerShdw>
            </a:effectLst>
          </p:grpSpPr>
          <p:sp>
            <p:nvSpPr>
              <p:cNvPr id="100" name="Ellipse 99"/>
              <p:cNvSpPr/>
              <p:nvPr/>
            </p:nvSpPr>
            <p:spPr bwMode="gray">
              <a:xfrm>
                <a:off x="2162874" y="2304770"/>
                <a:ext cx="97912" cy="97912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88900" h="88900"/>
              </a:sp3d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Ellipse 100"/>
              <p:cNvSpPr/>
              <p:nvPr/>
            </p:nvSpPr>
            <p:spPr bwMode="gray">
              <a:xfrm>
                <a:off x="2202830" y="2344726"/>
                <a:ext cx="18000" cy="18000"/>
              </a:xfrm>
              <a:prstGeom prst="ellipse">
                <a:avLst/>
              </a:prstGeom>
              <a:solidFill>
                <a:srgbClr val="FFFFFF">
                  <a:alpha val="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2" name="Textfeld 101"/>
            <p:cNvSpPr txBox="1"/>
            <p:nvPr/>
          </p:nvSpPr>
          <p:spPr>
            <a:xfrm>
              <a:off x="514345" y="5482252"/>
              <a:ext cx="988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smtClean="0"/>
                <a:t>Your product</a:t>
              </a:r>
              <a:endParaRPr lang="en-US" sz="1200"/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2084487" y="5482252"/>
              <a:ext cx="152067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smtClean="0"/>
                <a:t>Competitor’s product</a:t>
              </a:r>
            </a:p>
            <a:p>
              <a:endParaRPr lang="en-US" sz="1200"/>
            </a:p>
          </p:txBody>
        </p:sp>
      </p:grpSp>
    </p:spTree>
    <p:extLst>
      <p:ext uri="{BB962C8B-B14F-4D97-AF65-F5344CB8AC3E}">
        <p14:creationId xmlns:p14="http://schemas.microsoft.com/office/powerpoint/2010/main" val="261322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Preparation of employees about the interaction with customers by internal marketing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noProof="1" smtClean="0"/>
              <a:t>Internal Marketing</a:t>
            </a:r>
          </a:p>
        </p:txBody>
      </p:sp>
      <p:grpSp>
        <p:nvGrpSpPr>
          <p:cNvPr id="2" name="Gruppieren 25"/>
          <p:cNvGrpSpPr/>
          <p:nvPr/>
        </p:nvGrpSpPr>
        <p:grpSpPr>
          <a:xfrm>
            <a:off x="586406" y="1507102"/>
            <a:ext cx="6977857" cy="4404442"/>
            <a:chOff x="586406" y="1507102"/>
            <a:chExt cx="6977857" cy="4404442"/>
          </a:xfrm>
        </p:grpSpPr>
        <p:sp>
          <p:nvSpPr>
            <p:cNvPr id="6" name="Textfeld 5"/>
            <p:cNvSpPr txBox="1"/>
            <p:nvPr/>
          </p:nvSpPr>
          <p:spPr bwMode="gray">
            <a:xfrm>
              <a:off x="586406" y="4250792"/>
              <a:ext cx="1073435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Skills</a:t>
              </a:r>
              <a:endParaRPr lang="en-US" sz="1200" noProof="1"/>
            </a:p>
            <a:p>
              <a:r>
                <a:rPr lang="en-US" sz="1200" noProof="1" smtClean="0"/>
                <a:t>Know-How</a:t>
              </a:r>
              <a:endParaRPr lang="en-US" sz="1200" noProof="1"/>
            </a:p>
            <a:p>
              <a:r>
                <a:rPr lang="en-US" sz="1200" noProof="1" smtClean="0"/>
                <a:t>Motivation</a:t>
              </a:r>
              <a:endParaRPr lang="en-US" sz="1200" noProof="1"/>
            </a:p>
            <a:p>
              <a:r>
                <a:rPr lang="en-US" sz="1200" noProof="1" smtClean="0"/>
                <a:t>Setting</a:t>
              </a:r>
              <a:endParaRPr lang="en-US" sz="1200" noProof="1"/>
            </a:p>
            <a:p>
              <a:r>
                <a:rPr lang="en-US" sz="1200" noProof="1" smtClean="0"/>
                <a:t>Competencies</a:t>
              </a:r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2738461" y="5111325"/>
              <a:ext cx="3741852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noProof="1"/>
                <a:t>Internal training and interactive communication</a:t>
              </a:r>
            </a:p>
            <a:p>
              <a:pPr algn="ctr">
                <a:spcBef>
                  <a:spcPts val="600"/>
                </a:spcBef>
              </a:pPr>
              <a:r>
                <a:rPr lang="en-US" sz="1200" noProof="1"/>
                <a:t>Recruitment advertisement</a:t>
              </a:r>
            </a:p>
            <a:p>
              <a:pPr algn="ctr">
                <a:spcBef>
                  <a:spcPts val="600"/>
                </a:spcBef>
              </a:pPr>
              <a:r>
                <a:rPr lang="en-US" sz="1200" noProof="1"/>
                <a:t>and </a:t>
              </a:r>
              <a:r>
                <a:rPr lang="en-US" sz="1200" noProof="1" smtClean="0"/>
                <a:t>Internal </a:t>
              </a:r>
              <a:r>
                <a:rPr lang="en-US" sz="1200" noProof="1"/>
                <a:t>market research</a:t>
              </a:r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1563600" y="3059406"/>
              <a:ext cx="125540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noProof="1" smtClean="0"/>
                <a:t>Optimal supplier</a:t>
              </a:r>
            </a:p>
            <a:p>
              <a:pPr algn="r"/>
              <a:r>
                <a:rPr lang="en-US" sz="1200" noProof="1" smtClean="0"/>
                <a:t>buyer interaction</a:t>
              </a:r>
              <a:endParaRPr lang="en-US" sz="1200" noProof="1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6460435" y="3158149"/>
              <a:ext cx="11038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noProof="1" smtClean="0"/>
                <a:t>Marketing-Mix</a:t>
              </a:r>
              <a:endParaRPr lang="en-US" sz="1200" noProof="1"/>
            </a:p>
          </p:txBody>
        </p:sp>
        <p:sp>
          <p:nvSpPr>
            <p:cNvPr id="34" name="Ellipse 33"/>
            <p:cNvSpPr/>
            <p:nvPr/>
          </p:nvSpPr>
          <p:spPr bwMode="gray">
            <a:xfrm>
              <a:off x="3921908" y="1507102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35" name="Ellipse 34"/>
            <p:cNvSpPr/>
            <p:nvPr/>
          </p:nvSpPr>
          <p:spPr bwMode="gray">
            <a:xfrm>
              <a:off x="6223795" y="4716166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Company</a:t>
              </a:r>
            </a:p>
          </p:txBody>
        </p:sp>
        <p:sp>
          <p:nvSpPr>
            <p:cNvPr id="36" name="Ellipse 35"/>
            <p:cNvSpPr/>
            <p:nvPr/>
          </p:nvSpPr>
          <p:spPr bwMode="gray">
            <a:xfrm>
              <a:off x="1596230" y="4716166"/>
              <a:ext cx="1318982" cy="722769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108000" rIns="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 smtClean="0">
                  <a:solidFill>
                    <a:srgbClr val="000000"/>
                  </a:solidFill>
                  <a:cs typeface="Arial" charset="0"/>
                </a:rPr>
                <a:t>Employees</a:t>
              </a:r>
            </a:p>
          </p:txBody>
        </p:sp>
        <p:grpSp>
          <p:nvGrpSpPr>
            <p:cNvPr id="3" name="Gruppieren 16"/>
            <p:cNvGrpSpPr/>
            <p:nvPr/>
          </p:nvGrpSpPr>
          <p:grpSpPr bwMode="gray">
            <a:xfrm>
              <a:off x="2953380" y="2278518"/>
              <a:ext cx="3237240" cy="2801026"/>
              <a:chOff x="2534725" y="1553185"/>
              <a:chExt cx="4076134" cy="3526881"/>
            </a:xfrm>
          </p:grpSpPr>
          <p:sp>
            <p:nvSpPr>
              <p:cNvPr id="18" name="_color1"/>
              <p:cNvSpPr>
                <a:spLocks/>
              </p:cNvSpPr>
              <p:nvPr/>
            </p:nvSpPr>
            <p:spPr bwMode="gray">
              <a:xfrm>
                <a:off x="3188979" y="2298111"/>
                <a:ext cx="2773671" cy="2397154"/>
              </a:xfrm>
              <a:custGeom>
                <a:avLst/>
                <a:gdLst/>
                <a:ahLst/>
                <a:cxnLst>
                  <a:cxn ang="0">
                    <a:pos x="0" y="191"/>
                  </a:cxn>
                  <a:cxn ang="0">
                    <a:pos x="110" y="0"/>
                  </a:cxn>
                  <a:cxn ang="0">
                    <a:pos x="221" y="191"/>
                  </a:cxn>
                  <a:cxn ang="0">
                    <a:pos x="0" y="191"/>
                  </a:cxn>
                </a:cxnLst>
                <a:rect l="0" t="0" r="r" b="b"/>
                <a:pathLst>
                  <a:path w="221" h="191">
                    <a:moveTo>
                      <a:pt x="0" y="191"/>
                    </a:moveTo>
                    <a:lnTo>
                      <a:pt x="110" y="0"/>
                    </a:lnTo>
                    <a:lnTo>
                      <a:pt x="221" y="191"/>
                    </a:lnTo>
                    <a:lnTo>
                      <a:pt x="0" y="19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  <p:txBody>
              <a:bodyPr lIns="36000" tIns="36000" rIns="36000" bIns="288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b="1" noProof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_color1"/>
              <p:cNvSpPr>
                <a:spLocks/>
              </p:cNvSpPr>
              <p:nvPr/>
            </p:nvSpPr>
            <p:spPr bwMode="gray">
              <a:xfrm>
                <a:off x="2546633" y="1553185"/>
                <a:ext cx="2019444" cy="3491160"/>
              </a:xfrm>
              <a:custGeom>
                <a:avLst/>
                <a:gdLst/>
                <a:ahLst/>
                <a:cxnLst>
                  <a:cxn ang="0">
                    <a:pos x="274" y="1315"/>
                  </a:cxn>
                  <a:cxn ang="0">
                    <a:pos x="848" y="323"/>
                  </a:cxn>
                  <a:cxn ang="0">
                    <a:pos x="848" y="0"/>
                  </a:cxn>
                  <a:cxn ang="0">
                    <a:pos x="0" y="1466"/>
                  </a:cxn>
                  <a:cxn ang="0">
                    <a:pos x="269" y="1315"/>
                  </a:cxn>
                  <a:cxn ang="0">
                    <a:pos x="274" y="1315"/>
                  </a:cxn>
                </a:cxnLst>
                <a:rect l="0" t="0" r="r" b="b"/>
                <a:pathLst>
                  <a:path w="848" h="1466">
                    <a:moveTo>
                      <a:pt x="274" y="1315"/>
                    </a:moveTo>
                    <a:lnTo>
                      <a:pt x="848" y="323"/>
                    </a:lnTo>
                    <a:lnTo>
                      <a:pt x="848" y="0"/>
                    </a:lnTo>
                    <a:lnTo>
                      <a:pt x="0" y="1466"/>
                    </a:lnTo>
                    <a:lnTo>
                      <a:pt x="269" y="1315"/>
                    </a:lnTo>
                    <a:lnTo>
                      <a:pt x="274" y="1315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0" name="_color1"/>
              <p:cNvSpPr>
                <a:spLocks/>
              </p:cNvSpPr>
              <p:nvPr/>
            </p:nvSpPr>
            <p:spPr bwMode="gray">
              <a:xfrm>
                <a:off x="4586652" y="1553185"/>
                <a:ext cx="2024207" cy="3503066"/>
              </a:xfrm>
              <a:custGeom>
                <a:avLst/>
                <a:gdLst/>
                <a:ahLst/>
                <a:cxnLst>
                  <a:cxn ang="0">
                    <a:pos x="777" y="1429"/>
                  </a:cxn>
                  <a:cxn ang="0">
                    <a:pos x="850" y="1471"/>
                  </a:cxn>
                  <a:cxn ang="0">
                    <a:pos x="0" y="0"/>
                  </a:cxn>
                  <a:cxn ang="0">
                    <a:pos x="0" y="323"/>
                  </a:cxn>
                  <a:cxn ang="0">
                    <a:pos x="572" y="1315"/>
                  </a:cxn>
                  <a:cxn ang="0">
                    <a:pos x="569" y="1315"/>
                  </a:cxn>
                  <a:cxn ang="0">
                    <a:pos x="569" y="1315"/>
                  </a:cxn>
                  <a:cxn ang="0">
                    <a:pos x="576" y="1315"/>
                  </a:cxn>
                  <a:cxn ang="0">
                    <a:pos x="777" y="1429"/>
                  </a:cxn>
                </a:cxnLst>
                <a:rect l="0" t="0" r="r" b="b"/>
                <a:pathLst>
                  <a:path w="850" h="1471">
                    <a:moveTo>
                      <a:pt x="777" y="1429"/>
                    </a:moveTo>
                    <a:lnTo>
                      <a:pt x="850" y="1471"/>
                    </a:lnTo>
                    <a:lnTo>
                      <a:pt x="0" y="0"/>
                    </a:lnTo>
                    <a:lnTo>
                      <a:pt x="0" y="323"/>
                    </a:lnTo>
                    <a:lnTo>
                      <a:pt x="572" y="1315"/>
                    </a:lnTo>
                    <a:lnTo>
                      <a:pt x="569" y="1315"/>
                    </a:lnTo>
                    <a:lnTo>
                      <a:pt x="569" y="1315"/>
                    </a:lnTo>
                    <a:lnTo>
                      <a:pt x="576" y="1315"/>
                    </a:lnTo>
                    <a:lnTo>
                      <a:pt x="777" y="14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1" name="_color1"/>
              <p:cNvSpPr>
                <a:spLocks/>
              </p:cNvSpPr>
              <p:nvPr/>
            </p:nvSpPr>
            <p:spPr bwMode="gray">
              <a:xfrm>
                <a:off x="2534725" y="4696658"/>
                <a:ext cx="4057939" cy="383408"/>
              </a:xfrm>
              <a:custGeom>
                <a:avLst/>
                <a:gdLst/>
                <a:ahLst/>
                <a:cxnLst>
                  <a:cxn ang="0">
                    <a:pos x="289" y="0"/>
                  </a:cxn>
                  <a:cxn ang="0">
                    <a:pos x="0" y="161"/>
                  </a:cxn>
                  <a:cxn ang="0">
                    <a:pos x="1704" y="161"/>
                  </a:cxn>
                  <a:cxn ang="0">
                    <a:pos x="1619" y="111"/>
                  </a:cxn>
                  <a:cxn ang="0">
                    <a:pos x="1420" y="0"/>
                  </a:cxn>
                  <a:cxn ang="0">
                    <a:pos x="289" y="0"/>
                  </a:cxn>
                </a:cxnLst>
                <a:rect l="0" t="0" r="r" b="b"/>
                <a:pathLst>
                  <a:path w="1704" h="161">
                    <a:moveTo>
                      <a:pt x="289" y="0"/>
                    </a:moveTo>
                    <a:lnTo>
                      <a:pt x="0" y="161"/>
                    </a:lnTo>
                    <a:lnTo>
                      <a:pt x="1704" y="161"/>
                    </a:lnTo>
                    <a:lnTo>
                      <a:pt x="1619" y="111"/>
                    </a:lnTo>
                    <a:lnTo>
                      <a:pt x="1420" y="0"/>
                    </a:lnTo>
                    <a:lnTo>
                      <a:pt x="289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36000" tIns="360000" rIns="36000" bIns="3600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en-US" sz="1600" b="1" noProof="1" smtClean="0"/>
              </a:p>
            </p:txBody>
          </p:sp>
          <p:sp>
            <p:nvSpPr>
              <p:cNvPr id="22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18021908">
                <a:off x="2199916" y="3310660"/>
                <a:ext cx="3018816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>
                    <a:solidFill>
                      <a:srgbClr val="000000"/>
                    </a:solidFill>
                  </a:rPr>
                  <a:t>Interactive </a:t>
                </a:r>
                <a:r>
                  <a:rPr lang="en-US" sz="1400" noProof="1" smtClean="0">
                    <a:solidFill>
                      <a:srgbClr val="000000"/>
                    </a:solidFill>
                  </a:rPr>
                  <a:t>Marketing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 rot="3578092" flipH="1">
                <a:off x="3959393" y="3310660"/>
                <a:ext cx="3018816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rgbClr val="000000"/>
                    </a:solidFill>
                  </a:rPr>
                  <a:t>External Marketing</a:t>
                </a:r>
                <a:endParaRPr lang="en-US" sz="14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152921" y="4763942"/>
                <a:ext cx="2919783" cy="2577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rgbClr val="000000"/>
                    </a:solidFill>
                  </a:rPr>
                  <a:t>Internal Marketing</a:t>
                </a:r>
              </a:p>
            </p:txBody>
          </p:sp>
          <p:sp>
            <p:nvSpPr>
              <p:cNvPr id="25" name="_content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815575" y="3729650"/>
                <a:ext cx="1575454" cy="2577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r>
                  <a:rPr lang="en-US" sz="1400" noProof="1" smtClean="0">
                    <a:solidFill>
                      <a:srgbClr val="FFFFFF"/>
                    </a:solidFill>
                  </a:rPr>
                  <a:t>Service Cultu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89405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Hierarchy representation for the preparation of a market analysis of companies with a broad range of products or services 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Analysis </a:t>
            </a:r>
            <a:r>
              <a:rPr lang="en-US" b="0" noProof="1" smtClean="0"/>
              <a:t>- Market Definition</a:t>
            </a:r>
          </a:p>
        </p:txBody>
      </p:sp>
      <p:grpSp>
        <p:nvGrpSpPr>
          <p:cNvPr id="2" name="Gruppieren 40"/>
          <p:cNvGrpSpPr/>
          <p:nvPr/>
        </p:nvGrpSpPr>
        <p:grpSpPr>
          <a:xfrm>
            <a:off x="323850" y="1555750"/>
            <a:ext cx="8497092" cy="4246563"/>
            <a:chOff x="323850" y="1555750"/>
            <a:chExt cx="8497092" cy="4246563"/>
          </a:xfrm>
        </p:grpSpPr>
        <p:sp>
          <p:nvSpPr>
            <p:cNvPr id="40981" name="Line 31"/>
            <p:cNvSpPr>
              <a:spLocks noChangeShapeType="1"/>
            </p:cNvSpPr>
            <p:nvPr/>
          </p:nvSpPr>
          <p:spPr bwMode="gray">
            <a:xfrm rot="5400000">
              <a:off x="4572000" y="1554163"/>
              <a:ext cx="0" cy="8496300"/>
            </a:xfrm>
            <a:prstGeom prst="line">
              <a:avLst/>
            </a:prstGeom>
            <a:noFill/>
            <a:ln w="127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40968" name="Line 27"/>
            <p:cNvSpPr>
              <a:spLocks noChangeShapeType="1"/>
            </p:cNvSpPr>
            <p:nvPr/>
          </p:nvSpPr>
          <p:spPr bwMode="gray">
            <a:xfrm rot="5400000">
              <a:off x="4572000" y="1193800"/>
              <a:ext cx="0" cy="8496300"/>
            </a:xfrm>
            <a:prstGeom prst="line">
              <a:avLst/>
            </a:prstGeom>
            <a:noFill/>
            <a:ln w="12700">
              <a:solidFill>
                <a:srgbClr val="FFC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noProof="1"/>
            </a:p>
          </p:txBody>
        </p:sp>
        <p:sp>
          <p:nvSpPr>
            <p:cNvPr id="3" name="Rechteck 2"/>
            <p:cNvSpPr/>
            <p:nvPr/>
          </p:nvSpPr>
          <p:spPr bwMode="gray">
            <a:xfrm>
              <a:off x="4326296" y="1555750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Overall Market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1983037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1</a:t>
              </a:r>
            </a:p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4326296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2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6657139" y="2596787"/>
              <a:ext cx="2163012" cy="720000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 3</a:t>
              </a:r>
              <a:b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(Description)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1983037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1</a:t>
              </a:r>
            </a:p>
          </p:txBody>
        </p:sp>
        <p:sp>
          <p:nvSpPr>
            <p:cNvPr id="32" name="Rechteck 31"/>
            <p:cNvSpPr/>
            <p:nvPr/>
          </p:nvSpPr>
          <p:spPr bwMode="gray">
            <a:xfrm>
              <a:off x="4326296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2</a:t>
              </a:r>
            </a:p>
          </p:txBody>
        </p:sp>
        <p:sp>
          <p:nvSpPr>
            <p:cNvPr id="33" name="Rechteck 32"/>
            <p:cNvSpPr/>
            <p:nvPr/>
          </p:nvSpPr>
          <p:spPr bwMode="gray">
            <a:xfrm>
              <a:off x="6657139" y="3637824"/>
              <a:ext cx="2163012" cy="360000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BU 3</a:t>
              </a:r>
            </a:p>
          </p:txBody>
        </p:sp>
        <p:cxnSp>
          <p:nvCxnSpPr>
            <p:cNvPr id="8" name="Gewinkelte Verbindung 7"/>
            <p:cNvCxnSpPr>
              <a:stCxn id="3" idx="2"/>
              <a:endCxn id="19" idx="0"/>
            </p:cNvCxnSpPr>
            <p:nvPr/>
          </p:nvCxnSpPr>
          <p:spPr bwMode="gray">
            <a:xfrm rot="16200000" flipH="1">
              <a:off x="6412705" y="1270846"/>
              <a:ext cx="321037" cy="2330843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winkelte Verbindung 9"/>
            <p:cNvCxnSpPr>
              <a:stCxn id="3" idx="2"/>
              <a:endCxn id="17" idx="0"/>
            </p:cNvCxnSpPr>
            <p:nvPr/>
          </p:nvCxnSpPr>
          <p:spPr bwMode="gray">
            <a:xfrm rot="5400000">
              <a:off x="4075655" y="1264639"/>
              <a:ext cx="321037" cy="234325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winkelte Verbindung 11"/>
            <p:cNvCxnSpPr>
              <a:stCxn id="3" idx="2"/>
              <a:endCxn id="18" idx="0"/>
            </p:cNvCxnSpPr>
            <p:nvPr/>
          </p:nvCxnSpPr>
          <p:spPr bwMode="gray">
            <a:xfrm rot="5400000">
              <a:off x="5247284" y="2436268"/>
              <a:ext cx="321037" cy="1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winkelte Verbindung 13"/>
            <p:cNvCxnSpPr>
              <a:stCxn id="18" idx="2"/>
              <a:endCxn id="33" idx="0"/>
            </p:cNvCxnSpPr>
            <p:nvPr/>
          </p:nvCxnSpPr>
          <p:spPr bwMode="gray">
            <a:xfrm rot="16200000" flipH="1">
              <a:off x="6412705" y="2311883"/>
              <a:ext cx="321037" cy="2330843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winkelte Verbindung 33"/>
            <p:cNvCxnSpPr>
              <a:stCxn id="18" idx="2"/>
              <a:endCxn id="31" idx="0"/>
            </p:cNvCxnSpPr>
            <p:nvPr/>
          </p:nvCxnSpPr>
          <p:spPr bwMode="gray">
            <a:xfrm rot="5400000">
              <a:off x="4075655" y="2305676"/>
              <a:ext cx="321037" cy="234325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18" idx="2"/>
              <a:endCxn id="32" idx="0"/>
            </p:cNvCxnSpPr>
            <p:nvPr/>
          </p:nvCxnSpPr>
          <p:spPr bwMode="gray">
            <a:xfrm rot="5400000">
              <a:off x="5247284" y="3477305"/>
              <a:ext cx="321037" cy="1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AFAF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 bwMode="gray">
            <a:xfrm>
              <a:off x="323850" y="1968397"/>
              <a:ext cx="1264962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Strategic </a:t>
              </a:r>
              <a:br>
                <a:rPr lang="en-US" b="1" noProof="1" smtClean="0"/>
              </a:br>
              <a:r>
                <a:rPr lang="en-US" b="1" noProof="1" smtClean="0"/>
                <a:t>management</a:t>
              </a:r>
              <a:endParaRPr lang="en-US" b="1" noProof="1"/>
            </a:p>
          </p:txBody>
        </p:sp>
        <p:sp>
          <p:nvSpPr>
            <p:cNvPr id="46" name="Textfeld 45"/>
            <p:cNvSpPr txBox="1"/>
            <p:nvPr/>
          </p:nvSpPr>
          <p:spPr bwMode="gray">
            <a:xfrm>
              <a:off x="323850" y="4252446"/>
              <a:ext cx="98437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noProof="1" smtClean="0"/>
                <a:t>Marketing</a:t>
              </a:r>
              <a:endParaRPr lang="en-US" b="1" noProof="1"/>
            </a:p>
          </p:txBody>
        </p:sp>
        <p:cxnSp>
          <p:nvCxnSpPr>
            <p:cNvPr id="42" name="Gerade Verbindung 41"/>
            <p:cNvCxnSpPr/>
            <p:nvPr/>
          </p:nvCxnSpPr>
          <p:spPr bwMode="gray">
            <a:xfrm>
              <a:off x="323850" y="4175393"/>
              <a:ext cx="8496300" cy="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 bwMode="gray">
            <a:xfrm>
              <a:off x="2040302" y="4463335"/>
              <a:ext cx="2227309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A</a:t>
              </a: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323850" y="4847656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A</a:t>
              </a: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323850" y="5165872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B</a:t>
              </a:r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323850" y="5484089"/>
              <a:ext cx="1659187" cy="318216"/>
            </a:xfrm>
            <a:prstGeom prst="rect">
              <a:avLst/>
            </a:prstGeom>
            <a:gradFill flip="none" rotWithShape="1">
              <a:gsLst>
                <a:gs pos="0">
                  <a:srgbClr val="969696"/>
                </a:gs>
                <a:gs pos="100000">
                  <a:srgbClr val="D7D7D7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 Market C</a:t>
              </a: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2040302" y="4847656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Rechteck 61"/>
            <p:cNvSpPr/>
            <p:nvPr/>
          </p:nvSpPr>
          <p:spPr bwMode="gray">
            <a:xfrm>
              <a:off x="2040302" y="5165872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" name="Rechteck 64"/>
            <p:cNvSpPr/>
            <p:nvPr/>
          </p:nvSpPr>
          <p:spPr bwMode="gray">
            <a:xfrm>
              <a:off x="2040302" y="5484089"/>
              <a:ext cx="222730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4267611" y="4463335"/>
              <a:ext cx="2227259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B</a:t>
              </a:r>
            </a:p>
          </p:txBody>
        </p:sp>
        <p:sp>
          <p:nvSpPr>
            <p:cNvPr id="58" name="Rechteck 57"/>
            <p:cNvSpPr/>
            <p:nvPr/>
          </p:nvSpPr>
          <p:spPr bwMode="gray">
            <a:xfrm>
              <a:off x="4267611" y="4847656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Rechteck 60"/>
            <p:cNvSpPr/>
            <p:nvPr/>
          </p:nvSpPr>
          <p:spPr bwMode="gray">
            <a:xfrm>
              <a:off x="4267611" y="5165872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4" name="Rechteck 63"/>
            <p:cNvSpPr/>
            <p:nvPr/>
          </p:nvSpPr>
          <p:spPr bwMode="gray">
            <a:xfrm>
              <a:off x="4267611" y="5484089"/>
              <a:ext cx="2227259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6494870" y="4463335"/>
              <a:ext cx="2326072" cy="318217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egment C</a:t>
              </a:r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6494870" y="4847656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3" name="Rechteck 62"/>
            <p:cNvSpPr/>
            <p:nvPr/>
          </p:nvSpPr>
          <p:spPr bwMode="gray">
            <a:xfrm>
              <a:off x="6494870" y="5165872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6" name="Rechteck 65"/>
            <p:cNvSpPr/>
            <p:nvPr/>
          </p:nvSpPr>
          <p:spPr bwMode="gray">
            <a:xfrm>
              <a:off x="6494870" y="5484089"/>
              <a:ext cx="2326072" cy="31821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Textfeld 67"/>
            <p:cNvSpPr txBox="1"/>
            <p:nvPr/>
          </p:nvSpPr>
          <p:spPr bwMode="gray">
            <a:xfrm>
              <a:off x="323850" y="2719937"/>
              <a:ext cx="777136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Definition </a:t>
              </a:r>
              <a:br>
                <a:rPr lang="en-US" sz="1400" noProof="1" smtClean="0"/>
              </a:br>
              <a:r>
                <a:rPr lang="en-US" sz="1400" noProof="1" smtClean="0"/>
                <a:t>of markets</a:t>
              </a:r>
              <a:endParaRPr lang="en-US" sz="1400" noProof="1"/>
            </a:p>
          </p:txBody>
        </p:sp>
        <p:sp>
          <p:nvSpPr>
            <p:cNvPr id="69" name="Textfeld 68"/>
            <p:cNvSpPr txBox="1"/>
            <p:nvPr/>
          </p:nvSpPr>
          <p:spPr bwMode="gray">
            <a:xfrm>
              <a:off x="323850" y="3589939"/>
              <a:ext cx="1029128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noProof="1" smtClean="0"/>
                <a:t>Strategic</a:t>
              </a:r>
              <a:br>
                <a:rPr lang="en-US" sz="1400" noProof="1" smtClean="0"/>
              </a:br>
              <a:r>
                <a:rPr lang="en-US" sz="1400" noProof="1" smtClean="0"/>
                <a:t>business units</a:t>
              </a:r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5949159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Representation of Market Volume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Representation of market volume and its development as a diagram</a:t>
            </a:r>
            <a:endParaRPr lang="en-US" noProof="1"/>
          </a:p>
        </p:txBody>
      </p:sp>
      <p:grpSp>
        <p:nvGrpSpPr>
          <p:cNvPr id="30" name="Gruppieren 29"/>
          <p:cNvGrpSpPr/>
          <p:nvPr/>
        </p:nvGrpSpPr>
        <p:grpSpPr>
          <a:xfrm>
            <a:off x="827584" y="1528830"/>
            <a:ext cx="7993255" cy="4487660"/>
            <a:chOff x="827584" y="1528830"/>
            <a:chExt cx="7993255" cy="4487660"/>
          </a:xfrm>
        </p:grpSpPr>
        <p:grpSp>
          <p:nvGrpSpPr>
            <p:cNvPr id="4" name="Gruppieren 40"/>
            <p:cNvGrpSpPr/>
            <p:nvPr/>
          </p:nvGrpSpPr>
          <p:grpSpPr bwMode="gray">
            <a:xfrm>
              <a:off x="827584" y="1528830"/>
              <a:ext cx="7849446" cy="3842339"/>
              <a:chOff x="323850" y="1480679"/>
              <a:chExt cx="7447828" cy="4493871"/>
            </a:xfrm>
          </p:grpSpPr>
          <p:grpSp>
            <p:nvGrpSpPr>
              <p:cNvPr id="5" name="Gruppieren 28"/>
              <p:cNvGrpSpPr/>
              <p:nvPr/>
            </p:nvGrpSpPr>
            <p:grpSpPr bwMode="gray">
              <a:xfrm>
                <a:off x="323850" y="2625930"/>
                <a:ext cx="6731306" cy="2009648"/>
                <a:chOff x="1133322" y="2625930"/>
                <a:chExt cx="6731306" cy="2009648"/>
              </a:xfrm>
            </p:grpSpPr>
            <p:grpSp>
              <p:nvGrpSpPr>
                <p:cNvPr id="6" name="Gruppieren 16"/>
                <p:cNvGrpSpPr/>
                <p:nvPr/>
              </p:nvGrpSpPr>
              <p:grpSpPr bwMode="gray">
                <a:xfrm>
                  <a:off x="1133322" y="2625930"/>
                  <a:ext cx="6731306" cy="2009648"/>
                  <a:chOff x="1133322" y="3117773"/>
                  <a:chExt cx="6731306" cy="2009648"/>
                </a:xfrm>
              </p:grpSpPr>
              <p:sp>
                <p:nvSpPr>
                  <p:cNvPr id="13" name="Ellipse 12"/>
                  <p:cNvSpPr/>
                  <p:nvPr/>
                </p:nvSpPr>
                <p:spPr bwMode="gray">
                  <a:xfrm>
                    <a:off x="1133322" y="3117773"/>
                    <a:ext cx="6731306" cy="2009648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>
                          <a:lumMod val="20000"/>
                          <a:lumOff val="80000"/>
                        </a:schemeClr>
                      </a:gs>
                      <a:gs pos="100000">
                        <a:schemeClr val="accent1">
                          <a:lumMod val="40000"/>
                          <a:lumOff val="60000"/>
                        </a:schemeClr>
                      </a:gs>
                    </a:gsLst>
                    <a:lin ang="2700000" scaled="1"/>
                  </a:gradFill>
                  <a:ln w="127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vert="horz" wrap="square" lIns="4464000" tIns="57600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01688">
                      <a:lnSpc>
                        <a:spcPct val="95000"/>
                      </a:lnSpc>
                    </a:pPr>
                    <a:endParaRPr lang="en-US" sz="1600" noProof="1" smtClean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4" name="Ellipse 13"/>
                  <p:cNvSpPr/>
                  <p:nvPr/>
                </p:nvSpPr>
                <p:spPr bwMode="gray">
                  <a:xfrm>
                    <a:off x="2255399" y="3335277"/>
                    <a:ext cx="5609228" cy="1574640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>
                          <a:lumMod val="40000"/>
                          <a:lumOff val="60000"/>
                        </a:schemeClr>
                      </a:gs>
                      <a:gs pos="10000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2700000" scaled="1"/>
                  </a:gradFill>
                  <a:ln w="127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vert="horz" wrap="square" lIns="2556000" tIns="39600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 noProof="1" smtClean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5" name="Ellipse 14"/>
                  <p:cNvSpPr/>
                  <p:nvPr/>
                </p:nvSpPr>
                <p:spPr bwMode="gray">
                  <a:xfrm>
                    <a:off x="3800820" y="3526266"/>
                    <a:ext cx="4063808" cy="1192662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  <a:gs pos="100000">
                        <a:schemeClr val="accent1"/>
                      </a:gs>
                    </a:gsLst>
                    <a:lin ang="2700000" scaled="1"/>
                  </a:gradFill>
                  <a:ln w="127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vert="horz" wrap="square" lIns="0" tIns="10800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 noProof="1" smtClean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" name="Ellipse 15"/>
                  <p:cNvSpPr/>
                  <p:nvPr/>
                </p:nvSpPr>
                <p:spPr bwMode="gray">
                  <a:xfrm>
                    <a:off x="6114361" y="3706326"/>
                    <a:ext cx="1750266" cy="83172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2700000" scaled="1"/>
                  </a:gradFill>
                  <a:ln w="127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vert="horz" wrap="square" lIns="0" tIns="10800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600" noProof="1" smtClean="0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18" name="Textfeld 17"/>
                <p:cNvSpPr txBox="1"/>
                <p:nvPr/>
              </p:nvSpPr>
              <p:spPr bwMode="gray">
                <a:xfrm>
                  <a:off x="6371707" y="3430780"/>
                  <a:ext cx="1249276" cy="3959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noProof="1" smtClean="0">
                      <a:solidFill>
                        <a:srgbClr val="FFFFFF"/>
                      </a:solidFill>
                    </a:rPr>
                    <a:t>Market share</a:t>
                  </a:r>
                  <a:endParaRPr lang="en-US" sz="1600" b="1" noProof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" name="Textfeld 18"/>
                <p:cNvSpPr txBox="1"/>
                <p:nvPr/>
              </p:nvSpPr>
              <p:spPr bwMode="gray">
                <a:xfrm>
                  <a:off x="4430416" y="3430780"/>
                  <a:ext cx="1453454" cy="3959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noProof="1" smtClean="0">
                      <a:solidFill>
                        <a:srgbClr val="FFFFFF"/>
                      </a:solidFill>
                    </a:rPr>
                    <a:t>Market volume </a:t>
                  </a:r>
                </a:p>
              </p:txBody>
            </p:sp>
          </p:grpSp>
          <p:sp>
            <p:nvSpPr>
              <p:cNvPr id="20" name="Textfeld 19"/>
              <p:cNvSpPr txBox="1"/>
              <p:nvPr/>
            </p:nvSpPr>
            <p:spPr bwMode="gray">
              <a:xfrm>
                <a:off x="1768476" y="1480679"/>
                <a:ext cx="2490462" cy="1043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noProof="1" smtClean="0"/>
                  <a:t>Market potential </a:t>
                </a:r>
                <a:r>
                  <a:rPr lang="en-US" sz="1600" noProof="1" smtClean="0"/>
                  <a:t/>
                </a:r>
                <a:br>
                  <a:rPr lang="en-US" sz="1600" noProof="1" smtClean="0"/>
                </a:br>
                <a:r>
                  <a:rPr lang="en-US" sz="1200" noProof="1" smtClean="0"/>
                  <a:t>Number of possible customer</a:t>
                </a:r>
              </a:p>
              <a:p>
                <a:r>
                  <a:rPr lang="en-US" sz="1200" noProof="1" smtClean="0"/>
                  <a:t>or amount if all customers</a:t>
                </a:r>
              </a:p>
              <a:p>
                <a:r>
                  <a:rPr lang="en-US" sz="1200" noProof="1" smtClean="0"/>
                  <a:t>are prepared to buy (at the given price)</a:t>
                </a:r>
                <a:endParaRPr lang="en-US" sz="1200" noProof="1"/>
              </a:p>
            </p:txBody>
          </p:sp>
          <p:sp>
            <p:nvSpPr>
              <p:cNvPr id="21" name="Textfeld 20"/>
              <p:cNvSpPr txBox="1"/>
              <p:nvPr/>
            </p:nvSpPr>
            <p:spPr bwMode="gray">
              <a:xfrm>
                <a:off x="558051" y="4930651"/>
                <a:ext cx="2973565" cy="1043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noProof="1" smtClean="0"/>
                  <a:t>Market capcity </a:t>
                </a:r>
                <a:r>
                  <a:rPr lang="en-US" sz="1600" noProof="1" smtClean="0"/>
                  <a:t/>
                </a:r>
                <a:br>
                  <a:rPr lang="en-US" sz="1600" noProof="1" smtClean="0"/>
                </a:br>
                <a:r>
                  <a:rPr lang="en-US" sz="1200" noProof="1" smtClean="0"/>
                  <a:t>Total number of possible customer</a:t>
                </a:r>
              </a:p>
              <a:p>
                <a:r>
                  <a:rPr lang="en-US" sz="1200" noProof="1" smtClean="0"/>
                  <a:t>or max. amount of products that can be used consumed / (if price does not matter)</a:t>
                </a:r>
              </a:p>
            </p:txBody>
          </p:sp>
          <p:cxnSp>
            <p:nvCxnSpPr>
              <p:cNvPr id="23" name="Gerade Verbindung 22"/>
              <p:cNvCxnSpPr/>
              <p:nvPr/>
            </p:nvCxnSpPr>
            <p:spPr bwMode="gray">
              <a:xfrm flipV="1">
                <a:off x="1737492" y="1600310"/>
                <a:ext cx="0" cy="1984583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 bwMode="gray">
              <a:xfrm flipV="1">
                <a:off x="539708" y="3611675"/>
                <a:ext cx="0" cy="2235197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feld 26"/>
              <p:cNvSpPr txBox="1"/>
              <p:nvPr/>
            </p:nvSpPr>
            <p:spPr bwMode="gray">
              <a:xfrm>
                <a:off x="3778955" y="5145796"/>
                <a:ext cx="2059165" cy="5399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noProof="1" smtClean="0"/>
                  <a:t>Actual sales or sales for </a:t>
                </a:r>
                <a:br>
                  <a:rPr lang="en-US" sz="1200" noProof="1" smtClean="0"/>
                </a:br>
                <a:r>
                  <a:rPr lang="en-US" sz="1200" noProof="1" smtClean="0"/>
                  <a:t>all vendors at the market</a:t>
                </a:r>
                <a:endParaRPr lang="en-US" sz="1050" noProof="1"/>
              </a:p>
            </p:txBody>
          </p:sp>
          <p:sp>
            <p:nvSpPr>
              <p:cNvPr id="28" name="Textfeld 27"/>
              <p:cNvSpPr txBox="1"/>
              <p:nvPr/>
            </p:nvSpPr>
            <p:spPr bwMode="gray">
              <a:xfrm>
                <a:off x="5712513" y="1771204"/>
                <a:ext cx="2059165" cy="5399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noProof="1" smtClean="0"/>
                  <a:t>Sales volume or sales of a provider / company</a:t>
                </a:r>
                <a:endParaRPr lang="en-US" sz="1050" noProof="1"/>
              </a:p>
            </p:txBody>
          </p:sp>
          <p:cxnSp>
            <p:nvCxnSpPr>
              <p:cNvPr id="31" name="Gerade Verbindung 30"/>
              <p:cNvCxnSpPr/>
              <p:nvPr/>
            </p:nvCxnSpPr>
            <p:spPr bwMode="gray">
              <a:xfrm flipV="1">
                <a:off x="3785905" y="3846525"/>
                <a:ext cx="0" cy="1754032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/>
            </p:nvCxnSpPr>
            <p:spPr bwMode="gray">
              <a:xfrm flipV="1">
                <a:off x="5692210" y="1841846"/>
                <a:ext cx="0" cy="1433016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Rechteck 49"/>
            <p:cNvSpPr/>
            <p:nvPr/>
          </p:nvSpPr>
          <p:spPr bwMode="gray">
            <a:xfrm>
              <a:off x="5304850" y="5302168"/>
              <a:ext cx="3515989" cy="714322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0" bIns="0" anchor="ctr"/>
            <a:lstStyle/>
            <a:p>
              <a:pPr defTabSz="801688" eaLnBrk="0" hangingPunct="0">
                <a:defRPr/>
              </a:pPr>
              <a:endParaRPr lang="en-US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3" name="Gruppieren 42"/>
            <p:cNvGrpSpPr/>
            <p:nvPr/>
          </p:nvGrpSpPr>
          <p:grpSpPr bwMode="gray">
            <a:xfrm>
              <a:off x="5508736" y="5353379"/>
              <a:ext cx="3246495" cy="616700"/>
              <a:chOff x="5432866" y="5317240"/>
              <a:chExt cx="3246495" cy="616700"/>
            </a:xfrm>
          </p:grpSpPr>
          <p:sp>
            <p:nvSpPr>
              <p:cNvPr id="42" name="Textfeld 41"/>
              <p:cNvSpPr txBox="1"/>
              <p:nvPr/>
            </p:nvSpPr>
            <p:spPr bwMode="gray">
              <a:xfrm>
                <a:off x="5432866" y="5461445"/>
                <a:ext cx="113114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noProof="1" smtClean="0">
                    <a:solidFill>
                      <a:srgbClr val="000000"/>
                    </a:solidFill>
                  </a:rPr>
                  <a:t>Saturation = </a:t>
                </a:r>
                <a:endParaRPr lang="en-US" sz="1400" b="1" noProof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cxnSp>
            <p:nvCxnSpPr>
              <p:cNvPr id="44" name="Gerade Verbindung 43"/>
              <p:cNvCxnSpPr/>
              <p:nvPr/>
            </p:nvCxnSpPr>
            <p:spPr bwMode="gray">
              <a:xfrm>
                <a:off x="6701514" y="5625017"/>
                <a:ext cx="1267335" cy="0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feld 44"/>
              <p:cNvSpPr txBox="1"/>
              <p:nvPr/>
            </p:nvSpPr>
            <p:spPr bwMode="gray">
              <a:xfrm>
                <a:off x="6701514" y="5317240"/>
                <a:ext cx="132299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noProof="1" smtClean="0">
                    <a:solidFill>
                      <a:srgbClr val="000000"/>
                    </a:solidFill>
                  </a:rPr>
                  <a:t>Market volume</a:t>
                </a:r>
                <a:endParaRPr lang="en-US" sz="14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Textfeld 45"/>
              <p:cNvSpPr txBox="1"/>
              <p:nvPr/>
            </p:nvSpPr>
            <p:spPr bwMode="gray">
              <a:xfrm>
                <a:off x="6655794" y="5626163"/>
                <a:ext cx="14442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noProof="1" smtClean="0">
                    <a:solidFill>
                      <a:srgbClr val="000000"/>
                    </a:solidFill>
                  </a:rPr>
                  <a:t>Market potential</a:t>
                </a:r>
                <a:endParaRPr lang="en-US" sz="14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Textfeld 47"/>
              <p:cNvSpPr txBox="1"/>
              <p:nvPr/>
            </p:nvSpPr>
            <p:spPr bwMode="gray">
              <a:xfrm>
                <a:off x="7973719" y="5453825"/>
                <a:ext cx="70564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noProof="1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x 100%</a:t>
                </a:r>
                <a:endParaRPr lang="en-US" sz="1400" b="1" noProof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189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haracterization of Markets </a:t>
            </a:r>
            <a:r>
              <a:rPr lang="en-US" b="0" noProof="1" smtClean="0"/>
              <a:t>- Size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Relationship between market potential, market volume and market share</a:t>
            </a:r>
            <a:br>
              <a:rPr lang="en-US" dirty="0" smtClean="0"/>
            </a:br>
            <a:r>
              <a:rPr lang="en-US" dirty="0" smtClean="0"/>
              <a:t>to assess the market attractiveness</a:t>
            </a:r>
            <a:endParaRPr lang="en-US" noProof="1"/>
          </a:p>
        </p:txBody>
      </p:sp>
      <p:grpSp>
        <p:nvGrpSpPr>
          <p:cNvPr id="32" name="Gruppieren 31"/>
          <p:cNvGrpSpPr/>
          <p:nvPr/>
        </p:nvGrpSpPr>
        <p:grpSpPr>
          <a:xfrm>
            <a:off x="323850" y="1376955"/>
            <a:ext cx="8499905" cy="4352112"/>
            <a:chOff x="323850" y="1376955"/>
            <a:chExt cx="8499905" cy="4352112"/>
          </a:xfrm>
        </p:grpSpPr>
        <p:sp>
          <p:nvSpPr>
            <p:cNvPr id="46" name="Textfeld 45"/>
            <p:cNvSpPr txBox="1"/>
            <p:nvPr/>
          </p:nvSpPr>
          <p:spPr bwMode="gray">
            <a:xfrm>
              <a:off x="1936434" y="5267402"/>
              <a:ext cx="4932516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lvl="0" algn="ctr"/>
              <a:r>
                <a:rPr lang="en-US" b="1" noProof="1" smtClean="0"/>
                <a:t>Market Potential</a:t>
              </a:r>
              <a:endParaRPr lang="en-US" sz="1200" noProof="1" smtClean="0"/>
            </a:p>
            <a:p>
              <a:pPr algn="ctr"/>
              <a:r>
                <a:rPr lang="en-US" sz="1200" noProof="1" smtClean="0"/>
                <a:t>Capacity of the market up to market saturation</a:t>
              </a:r>
              <a:endParaRPr lang="en-US" sz="1100" noProof="1"/>
            </a:p>
          </p:txBody>
        </p:sp>
        <p:sp>
          <p:nvSpPr>
            <p:cNvPr id="47" name="Textfeld 46"/>
            <p:cNvSpPr txBox="1"/>
            <p:nvPr/>
          </p:nvSpPr>
          <p:spPr bwMode="gray">
            <a:xfrm>
              <a:off x="323850" y="1918403"/>
              <a:ext cx="1899328" cy="921876"/>
            </a:xfrm>
            <a:prstGeom prst="rect">
              <a:avLst/>
            </a:prstGeom>
            <a:noFill/>
          </p:spPr>
          <p:txBody>
            <a:bodyPr wrap="square" lIns="0" tIns="90000" rIns="0" bIns="0" rtlCol="0" anchor="b" anchorCtr="0">
              <a:spAutoFit/>
            </a:bodyPr>
            <a:lstStyle/>
            <a:p>
              <a:r>
                <a:rPr lang="en-US" b="1" noProof="1" smtClean="0"/>
                <a:t>Market Volume</a:t>
              </a:r>
              <a:endParaRPr lang="en-US" sz="1200" noProof="1" smtClean="0"/>
            </a:p>
            <a:p>
              <a:r>
                <a:rPr lang="en-US" sz="1200" noProof="1" smtClean="0"/>
                <a:t>Total sales or a turnover </a:t>
              </a:r>
              <a:br>
                <a:rPr lang="en-US" sz="1200" noProof="1" smtClean="0"/>
              </a:br>
              <a:r>
                <a:rPr lang="en-US" sz="1200" noProof="1" smtClean="0"/>
                <a:t>of an industry  including </a:t>
              </a:r>
            </a:p>
            <a:p>
              <a:r>
                <a:rPr lang="en-US" sz="1200" noProof="1" smtClean="0"/>
                <a:t>all competitors</a:t>
              </a:r>
            </a:p>
          </p:txBody>
        </p:sp>
        <p:sp>
          <p:nvSpPr>
            <p:cNvPr id="49" name="Textfeld 48"/>
            <p:cNvSpPr txBox="1"/>
            <p:nvPr/>
          </p:nvSpPr>
          <p:spPr bwMode="gray">
            <a:xfrm>
              <a:off x="6186554" y="1928813"/>
              <a:ext cx="2637201" cy="921876"/>
            </a:xfrm>
            <a:prstGeom prst="rect">
              <a:avLst/>
            </a:prstGeom>
            <a:noFill/>
          </p:spPr>
          <p:txBody>
            <a:bodyPr wrap="square" lIns="0" tIns="90000" rIns="0" bIns="0" rtlCol="0">
              <a:spAutoFit/>
            </a:bodyPr>
            <a:lstStyle/>
            <a:p>
              <a:pPr lvl="0" algn="r"/>
              <a:r>
                <a:rPr lang="en-US" b="1" noProof="1" smtClean="0"/>
                <a:t>Market Share</a:t>
              </a:r>
              <a:endParaRPr lang="en-US" sz="1200" noProof="1" smtClean="0"/>
            </a:p>
            <a:p>
              <a:pPr algn="r"/>
              <a:r>
                <a:rPr lang="en-US" sz="1200" noProof="1" smtClean="0"/>
                <a:t>Market share of a company and the ratio of sales / turnover of the company to the market volume</a:t>
              </a:r>
            </a:p>
          </p:txBody>
        </p:sp>
        <p:grpSp>
          <p:nvGrpSpPr>
            <p:cNvPr id="5" name="Gruppieren 101"/>
            <p:cNvGrpSpPr/>
            <p:nvPr/>
          </p:nvGrpSpPr>
          <p:grpSpPr bwMode="gray">
            <a:xfrm>
              <a:off x="5294638" y="1919288"/>
              <a:ext cx="3525512" cy="685375"/>
              <a:chOff x="5294638" y="1753028"/>
              <a:chExt cx="3525512" cy="685375"/>
            </a:xfrm>
          </p:grpSpPr>
          <p:cxnSp>
            <p:nvCxnSpPr>
              <p:cNvPr id="16" name="Gerade Verbindung 15"/>
              <p:cNvCxnSpPr/>
              <p:nvPr/>
            </p:nvCxnSpPr>
            <p:spPr bwMode="gray">
              <a:xfrm>
                <a:off x="5891213" y="1753028"/>
                <a:ext cx="2928937" cy="0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/>
            </p:nvCxnSpPr>
            <p:spPr bwMode="gray">
              <a:xfrm rot="5400000">
                <a:off x="5251840" y="1795826"/>
                <a:ext cx="685375" cy="599779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Textfeld 57"/>
            <p:cNvSpPr txBox="1"/>
            <p:nvPr/>
          </p:nvSpPr>
          <p:spPr bwMode="gray">
            <a:xfrm>
              <a:off x="6571101" y="4205469"/>
              <a:ext cx="2252654" cy="1383540"/>
            </a:xfrm>
            <a:prstGeom prst="rect">
              <a:avLst/>
            </a:prstGeom>
            <a:noFill/>
          </p:spPr>
          <p:txBody>
            <a:bodyPr wrap="square" lIns="0" tIns="90000" rIns="0" bIns="0" rtlCol="0" anchor="b" anchorCtr="0">
              <a:spAutoFit/>
            </a:bodyPr>
            <a:lstStyle/>
            <a:p>
              <a:pPr lvl="0" algn="r"/>
              <a:r>
                <a:rPr lang="en-US" b="1" noProof="1" smtClean="0"/>
                <a:t>Relative</a:t>
              </a:r>
            </a:p>
            <a:p>
              <a:pPr lvl="0" algn="r"/>
              <a:r>
                <a:rPr lang="en-US" b="1" noProof="1" smtClean="0"/>
                <a:t>Market Share</a:t>
              </a:r>
            </a:p>
            <a:p>
              <a:pPr algn="r"/>
              <a:r>
                <a:rPr lang="en-US" sz="1200" noProof="1" smtClean="0"/>
                <a:t>Ratio of Market share of </a:t>
              </a:r>
              <a:br>
                <a:rPr lang="en-US" sz="1200" noProof="1" smtClean="0"/>
              </a:br>
              <a:r>
                <a:rPr lang="en-US" sz="1200" noProof="1" smtClean="0"/>
                <a:t>a company to the market</a:t>
              </a:r>
              <a:br>
                <a:rPr lang="en-US" sz="1200" noProof="1" smtClean="0"/>
              </a:br>
              <a:r>
                <a:rPr lang="en-US" sz="1200" noProof="1" smtClean="0"/>
                <a:t> share of the strongest </a:t>
              </a:r>
              <a:br>
                <a:rPr lang="en-US" sz="1200" noProof="1" smtClean="0"/>
              </a:br>
              <a:r>
                <a:rPr lang="en-US" sz="1200" noProof="1" smtClean="0"/>
                <a:t>competitor</a:t>
              </a:r>
            </a:p>
          </p:txBody>
        </p:sp>
        <p:grpSp>
          <p:nvGrpSpPr>
            <p:cNvPr id="6" name="Gruppieren 81"/>
            <p:cNvGrpSpPr/>
            <p:nvPr/>
          </p:nvGrpSpPr>
          <p:grpSpPr bwMode="gray">
            <a:xfrm>
              <a:off x="3077903" y="1674791"/>
              <a:ext cx="2519305" cy="646331"/>
              <a:chOff x="6230107" y="5446504"/>
              <a:chExt cx="2593649" cy="646331"/>
            </a:xfrm>
          </p:grpSpPr>
          <p:sp>
            <p:nvSpPr>
              <p:cNvPr id="59" name="Rechteck 58"/>
              <p:cNvSpPr/>
              <p:nvPr/>
            </p:nvSpPr>
            <p:spPr bwMode="gray">
              <a:xfrm>
                <a:off x="6230107" y="5446504"/>
                <a:ext cx="1053424" cy="646331"/>
              </a:xfrm>
              <a:prstGeom prst="rect">
                <a:avLst/>
              </a:prstGeom>
            </p:spPr>
            <p:txBody>
              <a:bodyPr wrap="none" anchor="ctr" anchorCtr="0">
                <a:spAutoFit/>
              </a:bodyPr>
              <a:lstStyle/>
              <a:p>
                <a:pPr algn="r"/>
                <a:r>
                  <a:rPr lang="en-US" sz="1200" noProof="1" smtClean="0"/>
                  <a:t>Relative</a:t>
                </a:r>
              </a:p>
              <a:p>
                <a:pPr algn="r"/>
                <a:r>
                  <a:rPr lang="en-US" sz="1200" noProof="1" smtClean="0"/>
                  <a:t>Market Share</a:t>
                </a:r>
              </a:p>
              <a:p>
                <a:pPr algn="r"/>
                <a:r>
                  <a:rPr lang="en-US" sz="1200" noProof="1" smtClean="0"/>
                  <a:t>Company A</a:t>
                </a:r>
              </a:p>
            </p:txBody>
          </p:sp>
          <p:sp>
            <p:nvSpPr>
              <p:cNvPr id="60" name="Rechteck 59"/>
              <p:cNvSpPr/>
              <p:nvPr/>
            </p:nvSpPr>
            <p:spPr bwMode="gray">
              <a:xfrm>
                <a:off x="7167631" y="5604374"/>
                <a:ext cx="323791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noProof="1" smtClean="0"/>
                  <a:t> =</a:t>
                </a:r>
                <a:endParaRPr lang="en-US" sz="1400" noProof="1"/>
              </a:p>
            </p:txBody>
          </p:sp>
          <p:cxnSp>
            <p:nvCxnSpPr>
              <p:cNvPr id="62" name="Gerade Verbindung 61"/>
              <p:cNvCxnSpPr/>
              <p:nvPr/>
            </p:nvCxnSpPr>
            <p:spPr bwMode="gray">
              <a:xfrm>
                <a:off x="7518735" y="5768120"/>
                <a:ext cx="118080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Rechteck 63"/>
              <p:cNvSpPr/>
              <p:nvPr/>
            </p:nvSpPr>
            <p:spPr bwMode="gray">
              <a:xfrm>
                <a:off x="7492936" y="5499398"/>
                <a:ext cx="133082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noProof="1" smtClean="0"/>
                  <a:t>Market Share A</a:t>
                </a:r>
              </a:p>
            </p:txBody>
          </p:sp>
          <p:sp>
            <p:nvSpPr>
              <p:cNvPr id="65" name="Rechteck 64"/>
              <p:cNvSpPr/>
              <p:nvPr/>
            </p:nvSpPr>
            <p:spPr bwMode="gray">
              <a:xfrm>
                <a:off x="7492936" y="5744304"/>
                <a:ext cx="133082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noProof="1" smtClean="0"/>
                  <a:t>Market Share B</a:t>
                </a:r>
              </a:p>
            </p:txBody>
          </p:sp>
        </p:grpSp>
        <p:grpSp>
          <p:nvGrpSpPr>
            <p:cNvPr id="8" name="Gruppieren 87"/>
            <p:cNvGrpSpPr/>
            <p:nvPr/>
          </p:nvGrpSpPr>
          <p:grpSpPr bwMode="gray">
            <a:xfrm>
              <a:off x="323850" y="1912246"/>
              <a:ext cx="2398394" cy="975783"/>
              <a:chOff x="323850" y="1745986"/>
              <a:chExt cx="2398394" cy="975783"/>
            </a:xfrm>
          </p:grpSpPr>
          <p:cxnSp>
            <p:nvCxnSpPr>
              <p:cNvPr id="42" name="Gerade Verbindung 41"/>
              <p:cNvCxnSpPr/>
              <p:nvPr/>
            </p:nvCxnSpPr>
            <p:spPr bwMode="gray">
              <a:xfrm rot="16200000" flipH="1">
                <a:off x="1956676" y="1956201"/>
                <a:ext cx="973928" cy="557208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82"/>
              <p:cNvCxnSpPr/>
              <p:nvPr/>
            </p:nvCxnSpPr>
            <p:spPr bwMode="gray">
              <a:xfrm>
                <a:off x="323850" y="1745986"/>
                <a:ext cx="1840706" cy="0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100"/>
            <p:cNvGrpSpPr/>
            <p:nvPr/>
          </p:nvGrpSpPr>
          <p:grpSpPr bwMode="gray">
            <a:xfrm>
              <a:off x="6667500" y="3495247"/>
              <a:ext cx="2152650" cy="700637"/>
              <a:chOff x="6667500" y="3328987"/>
              <a:chExt cx="2152650" cy="700637"/>
            </a:xfrm>
          </p:grpSpPr>
          <p:cxnSp>
            <p:nvCxnSpPr>
              <p:cNvPr id="56" name="Gerade Verbindung 55"/>
              <p:cNvCxnSpPr/>
              <p:nvPr/>
            </p:nvCxnSpPr>
            <p:spPr bwMode="gray">
              <a:xfrm rot="16200000" flipH="1">
                <a:off x="6500356" y="3496131"/>
                <a:ext cx="700635" cy="366347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 Verbindung 89"/>
              <p:cNvCxnSpPr/>
              <p:nvPr/>
            </p:nvCxnSpPr>
            <p:spPr bwMode="gray">
              <a:xfrm>
                <a:off x="7033846" y="4029624"/>
                <a:ext cx="1786304" cy="0"/>
              </a:xfrm>
              <a:prstGeom prst="line">
                <a:avLst/>
              </a:prstGeom>
              <a:ln w="19050">
                <a:solidFill>
                  <a:srgbClr val="96969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71"/>
            <p:cNvGrpSpPr/>
            <p:nvPr/>
          </p:nvGrpSpPr>
          <p:grpSpPr bwMode="gray">
            <a:xfrm>
              <a:off x="2331006" y="1376955"/>
              <a:ext cx="4141588" cy="4143474"/>
              <a:chOff x="-4064000" y="715963"/>
              <a:chExt cx="3490912" cy="3492501"/>
            </a:xfrm>
            <a:solidFill>
              <a:srgbClr val="C0C0C0"/>
            </a:solidFill>
            <a:effectLst>
              <a:outerShdw blurRad="101600" sx="102000" sy="102000" algn="ctr" rotWithShape="0">
                <a:prstClr val="black">
                  <a:alpha val="59000"/>
                </a:prstClr>
              </a:outerShdw>
            </a:effectLst>
            <a:scene3d>
              <a:camera prst="perspectiveRelaxedModerately" fov="6000000">
                <a:rot lat="18000000" lon="0" rev="0"/>
              </a:camera>
              <a:lightRig rig="balanced" dir="t"/>
            </a:scene3d>
          </p:grpSpPr>
          <p:sp>
            <p:nvSpPr>
              <p:cNvPr id="53" name="Freeform 6"/>
              <p:cNvSpPr>
                <a:spLocks/>
              </p:cNvSpPr>
              <p:nvPr/>
            </p:nvSpPr>
            <p:spPr bwMode="gray">
              <a:xfrm>
                <a:off x="-2320925" y="715963"/>
                <a:ext cx="1514475" cy="1744663"/>
              </a:xfrm>
              <a:custGeom>
                <a:avLst/>
                <a:gdLst/>
                <a:ahLst/>
                <a:cxnLst>
                  <a:cxn ang="0">
                    <a:pos x="0" y="465"/>
                  </a:cxn>
                  <a:cxn ang="0">
                    <a:pos x="404" y="232"/>
                  </a:cxn>
                  <a:cxn ang="0">
                    <a:pos x="0" y="0"/>
                  </a:cxn>
                  <a:cxn ang="0">
                    <a:pos x="0" y="465"/>
                  </a:cxn>
                </a:cxnLst>
                <a:rect l="0" t="0" r="r" b="b"/>
                <a:pathLst>
                  <a:path w="404" h="465">
                    <a:moveTo>
                      <a:pt x="0" y="465"/>
                    </a:moveTo>
                    <a:cubicBezTo>
                      <a:pt x="404" y="232"/>
                      <a:pt x="404" y="232"/>
                      <a:pt x="404" y="232"/>
                    </a:cubicBezTo>
                    <a:cubicBezTo>
                      <a:pt x="323" y="93"/>
                      <a:pt x="173" y="0"/>
                      <a:pt x="0" y="0"/>
                    </a:cubicBezTo>
                    <a:cubicBezTo>
                      <a:pt x="0" y="465"/>
                      <a:pt x="0" y="465"/>
                      <a:pt x="0" y="46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91440" tIns="45720" rIns="468000" bIns="18000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000000"/>
                    </a:solidFill>
                  </a:rPr>
                  <a:t>A</a:t>
                </a:r>
                <a:endParaRPr lang="en-US" sz="32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7"/>
              <p:cNvSpPr>
                <a:spLocks noChangeArrowheads="1"/>
              </p:cNvSpPr>
              <p:nvPr/>
            </p:nvSpPr>
            <p:spPr bwMode="gray">
              <a:xfrm>
                <a:off x="-2320925" y="2460626"/>
                <a:ext cx="1587" cy="15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sp3d z="381000" extrusionH="381000"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3200" b="1" noProof="1"/>
              </a:p>
            </p:txBody>
          </p:sp>
          <p:sp>
            <p:nvSpPr>
              <p:cNvPr id="57" name="Freeform 8"/>
              <p:cNvSpPr>
                <a:spLocks/>
              </p:cNvSpPr>
              <p:nvPr/>
            </p:nvSpPr>
            <p:spPr bwMode="gray">
              <a:xfrm>
                <a:off x="-3832225" y="715963"/>
                <a:ext cx="1511300" cy="1744663"/>
              </a:xfrm>
              <a:custGeom>
                <a:avLst/>
                <a:gdLst/>
                <a:ahLst/>
                <a:cxnLst>
                  <a:cxn ang="0">
                    <a:pos x="403" y="0"/>
                  </a:cxn>
                  <a:cxn ang="0">
                    <a:pos x="0" y="232"/>
                  </a:cxn>
                  <a:cxn ang="0">
                    <a:pos x="403" y="465"/>
                  </a:cxn>
                  <a:cxn ang="0">
                    <a:pos x="403" y="0"/>
                  </a:cxn>
                </a:cxnLst>
                <a:rect l="0" t="0" r="r" b="b"/>
                <a:pathLst>
                  <a:path w="403" h="465">
                    <a:moveTo>
                      <a:pt x="403" y="0"/>
                    </a:moveTo>
                    <a:cubicBezTo>
                      <a:pt x="231" y="0"/>
                      <a:pt x="81" y="93"/>
                      <a:pt x="0" y="232"/>
                    </a:cubicBezTo>
                    <a:cubicBezTo>
                      <a:pt x="403" y="465"/>
                      <a:pt x="403" y="465"/>
                      <a:pt x="403" y="465"/>
                    </a:cubicBezTo>
                    <a:lnTo>
                      <a:pt x="403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468000" tIns="45720" rIns="90000" bIns="18000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000000"/>
                    </a:solidFill>
                  </a:rPr>
                  <a:t>F</a:t>
                </a:r>
                <a:endParaRPr lang="en-US" sz="32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9"/>
              <p:cNvSpPr>
                <a:spLocks/>
              </p:cNvSpPr>
              <p:nvPr/>
            </p:nvSpPr>
            <p:spPr bwMode="gray">
              <a:xfrm>
                <a:off x="-2320925" y="2460626"/>
                <a:ext cx="1514475" cy="17478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66"/>
                  </a:cxn>
                  <a:cxn ang="0">
                    <a:pos x="404" y="233"/>
                  </a:cxn>
                  <a:cxn ang="0">
                    <a:pos x="0" y="0"/>
                  </a:cxn>
                </a:cxnLst>
                <a:rect l="0" t="0" r="r" b="b"/>
                <a:pathLst>
                  <a:path w="404" h="466">
                    <a:moveTo>
                      <a:pt x="0" y="0"/>
                    </a:moveTo>
                    <a:cubicBezTo>
                      <a:pt x="0" y="466"/>
                      <a:pt x="0" y="466"/>
                      <a:pt x="0" y="466"/>
                    </a:cubicBezTo>
                    <a:cubicBezTo>
                      <a:pt x="173" y="466"/>
                      <a:pt x="323" y="372"/>
                      <a:pt x="404" y="23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7D7D7D"/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91440" tIns="288000" rIns="54000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FFFFFF"/>
                    </a:solidFill>
                  </a:rPr>
                  <a:t>C</a:t>
                </a:r>
                <a:endParaRPr lang="en-US" sz="32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Freeform 10"/>
              <p:cNvSpPr>
                <a:spLocks/>
              </p:cNvSpPr>
              <p:nvPr/>
            </p:nvSpPr>
            <p:spPr bwMode="gray">
              <a:xfrm>
                <a:off x="-2320925" y="1585913"/>
                <a:ext cx="1747837" cy="1747838"/>
              </a:xfrm>
              <a:custGeom>
                <a:avLst/>
                <a:gdLst/>
                <a:ahLst/>
                <a:cxnLst>
                  <a:cxn ang="0">
                    <a:pos x="404" y="0"/>
                  </a:cxn>
                  <a:cxn ang="0">
                    <a:pos x="0" y="233"/>
                  </a:cxn>
                  <a:cxn ang="0">
                    <a:pos x="404" y="466"/>
                  </a:cxn>
                  <a:cxn ang="0">
                    <a:pos x="466" y="233"/>
                  </a:cxn>
                  <a:cxn ang="0">
                    <a:pos x="404" y="0"/>
                  </a:cxn>
                </a:cxnLst>
                <a:rect l="0" t="0" r="r" b="b"/>
                <a:pathLst>
                  <a:path w="466" h="466">
                    <a:moveTo>
                      <a:pt x="404" y="0"/>
                    </a:moveTo>
                    <a:cubicBezTo>
                      <a:pt x="0" y="233"/>
                      <a:pt x="0" y="233"/>
                      <a:pt x="0" y="233"/>
                    </a:cubicBezTo>
                    <a:cubicBezTo>
                      <a:pt x="404" y="466"/>
                      <a:pt x="404" y="466"/>
                      <a:pt x="404" y="466"/>
                    </a:cubicBezTo>
                    <a:cubicBezTo>
                      <a:pt x="443" y="397"/>
                      <a:pt x="466" y="318"/>
                      <a:pt x="466" y="233"/>
                    </a:cubicBezTo>
                    <a:cubicBezTo>
                      <a:pt x="466" y="148"/>
                      <a:pt x="443" y="69"/>
                      <a:pt x="40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54000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FFFFFF"/>
                    </a:solidFill>
                  </a:rPr>
                  <a:t>B</a:t>
                </a:r>
                <a:endParaRPr lang="en-US" sz="32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Freeform 11"/>
              <p:cNvSpPr>
                <a:spLocks/>
              </p:cNvSpPr>
              <p:nvPr/>
            </p:nvSpPr>
            <p:spPr bwMode="gray">
              <a:xfrm>
                <a:off x="-3832225" y="2460626"/>
                <a:ext cx="1511300" cy="1747838"/>
              </a:xfrm>
              <a:custGeom>
                <a:avLst/>
                <a:gdLst/>
                <a:ahLst/>
                <a:cxnLst>
                  <a:cxn ang="0">
                    <a:pos x="0" y="233"/>
                  </a:cxn>
                  <a:cxn ang="0">
                    <a:pos x="403" y="466"/>
                  </a:cxn>
                  <a:cxn ang="0">
                    <a:pos x="403" y="0"/>
                  </a:cxn>
                  <a:cxn ang="0">
                    <a:pos x="0" y="233"/>
                  </a:cxn>
                </a:cxnLst>
                <a:rect l="0" t="0" r="r" b="b"/>
                <a:pathLst>
                  <a:path w="403" h="466">
                    <a:moveTo>
                      <a:pt x="0" y="233"/>
                    </a:moveTo>
                    <a:cubicBezTo>
                      <a:pt x="81" y="372"/>
                      <a:pt x="231" y="466"/>
                      <a:pt x="403" y="466"/>
                    </a:cubicBezTo>
                    <a:cubicBezTo>
                      <a:pt x="403" y="0"/>
                      <a:pt x="403" y="0"/>
                      <a:pt x="403" y="0"/>
                    </a:cubicBezTo>
                    <a:lnTo>
                      <a:pt x="0" y="233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540000" tIns="28800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000000"/>
                    </a:solidFill>
                  </a:rPr>
                  <a:t>D</a:t>
                </a:r>
                <a:endParaRPr lang="en-US" sz="3200" b="1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gray">
              <a:xfrm>
                <a:off x="-4064000" y="1585913"/>
                <a:ext cx="1743075" cy="1747838"/>
              </a:xfrm>
              <a:custGeom>
                <a:avLst/>
                <a:gdLst/>
                <a:ahLst/>
                <a:cxnLst>
                  <a:cxn ang="0">
                    <a:pos x="465" y="233"/>
                  </a:cxn>
                  <a:cxn ang="0">
                    <a:pos x="62" y="0"/>
                  </a:cxn>
                  <a:cxn ang="0">
                    <a:pos x="0" y="233"/>
                  </a:cxn>
                  <a:cxn ang="0">
                    <a:pos x="62" y="466"/>
                  </a:cxn>
                  <a:cxn ang="0">
                    <a:pos x="465" y="233"/>
                  </a:cxn>
                </a:cxnLst>
                <a:rect l="0" t="0" r="r" b="b"/>
                <a:pathLst>
                  <a:path w="465" h="466">
                    <a:moveTo>
                      <a:pt x="465" y="233"/>
                    </a:moveTo>
                    <a:cubicBezTo>
                      <a:pt x="62" y="0"/>
                      <a:pt x="62" y="0"/>
                      <a:pt x="62" y="0"/>
                    </a:cubicBezTo>
                    <a:cubicBezTo>
                      <a:pt x="23" y="69"/>
                      <a:pt x="0" y="148"/>
                      <a:pt x="0" y="233"/>
                    </a:cubicBezTo>
                    <a:cubicBezTo>
                      <a:pt x="0" y="318"/>
                      <a:pt x="23" y="397"/>
                      <a:pt x="62" y="466"/>
                    </a:cubicBezTo>
                    <a:cubicBezTo>
                      <a:pt x="465" y="233"/>
                      <a:pt x="465" y="233"/>
                      <a:pt x="465" y="23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  <a:sp3d z="381000" extrusionH="381000"/>
            </p:spPr>
            <p:txBody>
              <a:bodyPr vert="horz" wrap="square" lIns="91440" tIns="45720" rIns="54000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3200" b="1" noProof="1" smtClean="0">
                    <a:solidFill>
                      <a:srgbClr val="000000"/>
                    </a:solidFill>
                  </a:rPr>
                  <a:t>E</a:t>
                </a:r>
                <a:endParaRPr lang="en-US" sz="3200" b="1" noProof="1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3068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</a:t>
            </a:r>
            <a:r>
              <a:rPr lang="en-US" b="0" noProof="1" smtClean="0"/>
              <a:t>- Description/ Term Definition 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erms to describe markets</a:t>
            </a:r>
            <a:endParaRPr lang="en-US" noProof="1"/>
          </a:p>
        </p:txBody>
      </p:sp>
      <p:grpSp>
        <p:nvGrpSpPr>
          <p:cNvPr id="27" name="Gruppieren 26"/>
          <p:cNvGrpSpPr/>
          <p:nvPr/>
        </p:nvGrpSpPr>
        <p:grpSpPr>
          <a:xfrm>
            <a:off x="323850" y="1553594"/>
            <a:ext cx="8496300" cy="4248720"/>
            <a:chOff x="323850" y="1553594"/>
            <a:chExt cx="8496300" cy="4248720"/>
          </a:xfrm>
        </p:grpSpPr>
        <p:sp>
          <p:nvSpPr>
            <p:cNvPr id="9" name="Ellipse 8"/>
            <p:cNvSpPr/>
            <p:nvPr/>
          </p:nvSpPr>
          <p:spPr bwMode="gray">
            <a:xfrm>
              <a:off x="1579080" y="2654415"/>
              <a:ext cx="6011325" cy="2150101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08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0" rIns="144000" bIns="1656000" anchor="b" anchorCtr="0"/>
            <a:lstStyle/>
            <a:p>
              <a:pPr lvl="0" algn="ctr"/>
              <a:r>
                <a:rPr lang="en-US" sz="12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 potential</a:t>
              </a:r>
            </a:p>
          </p:txBody>
        </p:sp>
        <p:sp>
          <p:nvSpPr>
            <p:cNvPr id="8" name="Ellipse 7"/>
            <p:cNvSpPr/>
            <p:nvPr/>
          </p:nvSpPr>
          <p:spPr bwMode="gray">
            <a:xfrm>
              <a:off x="2813542" y="2994259"/>
              <a:ext cx="3515317" cy="1257342"/>
            </a:xfrm>
            <a:prstGeom prst="ellipse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lIns="72000" tIns="792000" rIns="72000" bIns="0" anchor="t" anchorCtr="0"/>
            <a:lstStyle/>
            <a:p>
              <a:pPr lvl="0" algn="ctr"/>
              <a:r>
                <a:rPr lang="en-US" sz="1200" b="1" noProof="1" smtClean="0">
                  <a:solidFill>
                    <a:srgbClr val="FFFFFF"/>
                  </a:solidFill>
                </a:rPr>
                <a:t>Market volume</a:t>
              </a:r>
            </a:p>
          </p:txBody>
        </p:sp>
        <p:sp>
          <p:nvSpPr>
            <p:cNvPr id="7" name="Ellipse 6"/>
            <p:cNvSpPr/>
            <p:nvPr/>
          </p:nvSpPr>
          <p:spPr bwMode="gray">
            <a:xfrm>
              <a:off x="3634860" y="3231460"/>
              <a:ext cx="1867010" cy="667782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lIns="72000" tIns="0" rIns="72000" bIns="36000" anchor="ctr"/>
            <a:lstStyle/>
            <a:p>
              <a:pPr lvl="0" algn="ctr"/>
              <a:r>
                <a:rPr lang="en-US" sz="1100" b="1" noProof="1" smtClean="0">
                  <a:solidFill>
                    <a:srgbClr val="FFFFFF"/>
                  </a:solidFill>
                </a:rPr>
                <a:t>Sales / Revenue</a:t>
              </a:r>
              <a:br>
                <a:rPr lang="en-US" sz="1100" b="1" noProof="1" smtClean="0">
                  <a:solidFill>
                    <a:srgbClr val="FFFFFF"/>
                  </a:solidFill>
                </a:rPr>
              </a:br>
              <a:r>
                <a:rPr lang="en-US" sz="1100" b="1" noProof="1" smtClean="0">
                  <a:solidFill>
                    <a:srgbClr val="FFFFFF"/>
                  </a:solidFill>
                </a:rPr>
                <a:t>volume of the company</a:t>
              </a:r>
            </a:p>
          </p:txBody>
        </p:sp>
        <p:cxnSp>
          <p:nvCxnSpPr>
            <p:cNvPr id="24" name="Gerade Verbindung 23"/>
            <p:cNvCxnSpPr/>
            <p:nvPr/>
          </p:nvCxnSpPr>
          <p:spPr bwMode="gray">
            <a:xfrm flipV="1">
              <a:off x="5557427" y="1553594"/>
              <a:ext cx="0" cy="1677866"/>
            </a:xfrm>
            <a:prstGeom prst="line">
              <a:avLst/>
            </a:prstGeom>
            <a:ln w="19050">
              <a:solidFill>
                <a:srgbClr val="64646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Ellipse 30"/>
            <p:cNvSpPr/>
            <p:nvPr/>
          </p:nvSpPr>
          <p:spPr bwMode="gray">
            <a:xfrm>
              <a:off x="1926454" y="3325654"/>
              <a:ext cx="1305017" cy="479395"/>
            </a:xfrm>
            <a:prstGeom prst="ellipse">
              <a:avLst/>
            </a:prstGeom>
            <a:solidFill>
              <a:schemeClr val="accent4">
                <a:alpha val="18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bIns="72000" rtlCol="0" anchor="ctr"/>
            <a:lstStyle/>
            <a:p>
              <a:pPr lvl="0" algn="ctr"/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-</a:t>
              </a:r>
              <a:b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haustion</a:t>
              </a:r>
            </a:p>
          </p:txBody>
        </p:sp>
        <p:cxnSp>
          <p:nvCxnSpPr>
            <p:cNvPr id="37" name="Gerade Verbindung 36"/>
            <p:cNvCxnSpPr/>
            <p:nvPr/>
          </p:nvCxnSpPr>
          <p:spPr bwMode="gray">
            <a:xfrm flipV="1">
              <a:off x="3696069" y="1553594"/>
              <a:ext cx="0" cy="1316606"/>
            </a:xfrm>
            <a:prstGeom prst="line">
              <a:avLst/>
            </a:prstGeom>
            <a:ln w="19050">
              <a:solidFill>
                <a:srgbClr val="64646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Ellipse 41"/>
            <p:cNvSpPr/>
            <p:nvPr/>
          </p:nvSpPr>
          <p:spPr bwMode="gray">
            <a:xfrm>
              <a:off x="5388750" y="3325654"/>
              <a:ext cx="1305017" cy="479395"/>
            </a:xfrm>
            <a:prstGeom prst="ellipse">
              <a:avLst/>
            </a:prstGeom>
            <a:solidFill>
              <a:schemeClr val="accent4">
                <a:alpha val="18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bIns="72000" rtlCol="0" anchor="ctr"/>
            <a:lstStyle/>
            <a:p>
              <a:pPr lvl="0" algn="ctr"/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bsolute </a:t>
              </a:r>
              <a:b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 share</a:t>
              </a:r>
            </a:p>
          </p:txBody>
        </p:sp>
        <p:cxnSp>
          <p:nvCxnSpPr>
            <p:cNvPr id="46" name="Gerade Verbindung 45"/>
            <p:cNvCxnSpPr/>
            <p:nvPr/>
          </p:nvCxnSpPr>
          <p:spPr bwMode="gray">
            <a:xfrm flipV="1">
              <a:off x="5734980" y="3779649"/>
              <a:ext cx="0" cy="2000947"/>
            </a:xfrm>
            <a:prstGeom prst="line">
              <a:avLst/>
            </a:prstGeom>
            <a:ln w="19050">
              <a:solidFill>
                <a:srgbClr val="64646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Ellipse 47"/>
            <p:cNvSpPr/>
            <p:nvPr/>
          </p:nvSpPr>
          <p:spPr bwMode="gray">
            <a:xfrm>
              <a:off x="6444208" y="3325654"/>
              <a:ext cx="1305017" cy="479395"/>
            </a:xfrm>
            <a:prstGeom prst="ellipse">
              <a:avLst/>
            </a:prstGeom>
            <a:solidFill>
              <a:schemeClr val="accent4">
                <a:alpha val="18000"/>
              </a:schemeClr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bIns="72000" rtlCol="0" anchor="ctr"/>
            <a:lstStyle/>
            <a:p>
              <a:pPr lvl="0" algn="ctr"/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lative</a:t>
              </a:r>
              <a:b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1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 share</a:t>
              </a:r>
            </a:p>
          </p:txBody>
        </p:sp>
        <p:cxnSp>
          <p:nvCxnSpPr>
            <p:cNvPr id="50" name="Gerade Verbindung 49"/>
            <p:cNvCxnSpPr>
              <a:endCxn id="48" idx="3"/>
            </p:cNvCxnSpPr>
            <p:nvPr/>
          </p:nvCxnSpPr>
          <p:spPr bwMode="gray">
            <a:xfrm flipH="1" flipV="1">
              <a:off x="6635323" y="3734843"/>
              <a:ext cx="0" cy="2045753"/>
            </a:xfrm>
            <a:prstGeom prst="line">
              <a:avLst/>
            </a:prstGeom>
            <a:ln w="19050">
              <a:solidFill>
                <a:srgbClr val="64646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 flipV="1">
              <a:off x="3030231" y="3732444"/>
              <a:ext cx="0" cy="2048152"/>
            </a:xfrm>
            <a:prstGeom prst="line">
              <a:avLst/>
            </a:prstGeom>
            <a:ln w="19050">
              <a:solidFill>
                <a:srgbClr val="64646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/>
            <p:nvPr/>
          </p:nvSpPr>
          <p:spPr bwMode="gray">
            <a:xfrm>
              <a:off x="5557427" y="1570115"/>
              <a:ext cx="2743200" cy="892552"/>
            </a:xfrm>
            <a:prstGeom prst="rect">
              <a:avLst/>
            </a:prstGeom>
            <a:noFill/>
          </p:spPr>
          <p:txBody>
            <a:bodyPr wrap="square" tIns="0" rIns="0" bIns="0" rtlCol="0">
              <a:spAutoFit/>
            </a:bodyPr>
            <a:lstStyle/>
            <a:p>
              <a:r>
                <a:rPr lang="en-US" sz="1400" b="1" noProof="1" smtClean="0"/>
                <a:t>Market volume: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realized / scheduled sales or revenue for a similar product for example for one year. Clearly more specific than the market potential. </a:t>
              </a:r>
              <a:endParaRPr lang="en-US" sz="1100" noProof="1"/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952868" y="1570115"/>
              <a:ext cx="2743200" cy="892552"/>
            </a:xfrm>
            <a:prstGeom prst="rect">
              <a:avLst/>
            </a:prstGeom>
            <a:noFill/>
          </p:spPr>
          <p:txBody>
            <a:bodyPr wrap="square" lIns="0" tIns="0" bIns="0" rtlCol="0">
              <a:spAutoFit/>
            </a:bodyPr>
            <a:lstStyle/>
            <a:p>
              <a:pPr algn="r"/>
              <a:r>
                <a:rPr lang="en-US" sz="1400" b="1" noProof="1" smtClean="0"/>
                <a:t>Market potential: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equates to the absorption capacity of the market (market capacity) or the volume</a:t>
              </a:r>
            </a:p>
            <a:p>
              <a:pPr algn="r"/>
              <a:r>
                <a:rPr lang="en-US" sz="1100" noProof="1"/>
                <a:t>o</a:t>
              </a:r>
              <a:r>
                <a:rPr lang="en-US" sz="1100" noProof="1" smtClean="0"/>
                <a:t>f the possible deductable amounts of one product at a certain market.</a:t>
              </a:r>
              <a:endParaRPr lang="en-US" sz="1100" noProof="1"/>
            </a:p>
          </p:txBody>
        </p:sp>
        <p:sp>
          <p:nvSpPr>
            <p:cNvPr id="23" name="Textfeld 22"/>
            <p:cNvSpPr txBox="1"/>
            <p:nvPr/>
          </p:nvSpPr>
          <p:spPr bwMode="gray">
            <a:xfrm>
              <a:off x="3266982" y="5057321"/>
              <a:ext cx="2467998" cy="723275"/>
            </a:xfrm>
            <a:prstGeom prst="rect">
              <a:avLst/>
            </a:prstGeom>
            <a:noFill/>
          </p:spPr>
          <p:txBody>
            <a:bodyPr wrap="square" lIns="0" tIns="0" bIns="0" rtlCol="0" anchor="b" anchorCtr="0">
              <a:spAutoFit/>
            </a:bodyPr>
            <a:lstStyle/>
            <a:p>
              <a:pPr algn="r"/>
              <a:r>
                <a:rPr lang="en-US" sz="1400" b="1" noProof="1" smtClean="0"/>
                <a:t>Absolute market share: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market share, that the company has </a:t>
              </a:r>
              <a:br>
                <a:rPr lang="en-US" sz="1100" noProof="1" smtClean="0"/>
              </a:br>
              <a:r>
                <a:rPr lang="en-US" sz="1100" noProof="1" smtClean="0"/>
                <a:t>realized on a certain market</a:t>
              </a:r>
            </a:p>
            <a:p>
              <a:pPr algn="r"/>
              <a:r>
                <a:rPr lang="en-US" sz="1100" noProof="1" smtClean="0"/>
                <a:t>(sales or revenue)</a:t>
              </a:r>
              <a:endParaRPr lang="en-US" sz="1100" noProof="1"/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6660232" y="4888044"/>
              <a:ext cx="2159918" cy="892552"/>
            </a:xfrm>
            <a:prstGeom prst="rect">
              <a:avLst/>
            </a:prstGeom>
            <a:noFill/>
          </p:spPr>
          <p:txBody>
            <a:bodyPr wrap="square" tIns="0" rIns="0" bIns="0" rtlCol="0" anchor="b" anchorCtr="0">
              <a:spAutoFit/>
            </a:bodyPr>
            <a:lstStyle/>
            <a:p>
              <a:r>
                <a:rPr lang="en-US" sz="1400" b="1" noProof="1" smtClean="0"/>
                <a:t>Relative market share: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indicator of market position by relating their own sales to the sales of its largest competitor in the industry.</a:t>
              </a:r>
              <a:endParaRPr lang="en-US" sz="1100" noProof="1"/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323850" y="4909762"/>
              <a:ext cx="2706382" cy="892552"/>
            </a:xfrm>
            <a:prstGeom prst="rect">
              <a:avLst/>
            </a:prstGeom>
            <a:noFill/>
          </p:spPr>
          <p:txBody>
            <a:bodyPr wrap="square" lIns="0" tIns="0" bIns="0" rtlCol="0" anchor="b" anchorCtr="0">
              <a:spAutoFit/>
            </a:bodyPr>
            <a:lstStyle/>
            <a:p>
              <a:pPr algn="r"/>
              <a:r>
                <a:rPr lang="en-US" sz="1400" b="1" noProof="1" smtClean="0"/>
                <a:t>Market exhaustion: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r>
                <a:rPr lang="en-US" sz="1100" noProof="1" smtClean="0"/>
                <a:t>percentage value that indicates to what degree the possible customer of a product would consume it.  (Market limit used as a gauge for future market growth)</a:t>
              </a:r>
              <a:endParaRPr lang="en-US" sz="11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71346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Analysis</a:t>
            </a:r>
            <a:r>
              <a:rPr lang="en-US" noProof="1" smtClean="0"/>
              <a:t> </a:t>
            </a:r>
            <a:r>
              <a:rPr lang="en-US" b="0" dirty="0" smtClean="0"/>
              <a:t>- </a:t>
            </a:r>
            <a:r>
              <a:rPr lang="en-US" b="0" noProof="1" smtClean="0"/>
              <a:t>Environment Analysi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Placeholder for your own Subheadline</a:t>
            </a:r>
          </a:p>
          <a:p>
            <a:endParaRPr lang="en-US" dirty="0"/>
          </a:p>
        </p:txBody>
      </p:sp>
      <p:grpSp>
        <p:nvGrpSpPr>
          <p:cNvPr id="66" name="Gruppieren 65"/>
          <p:cNvGrpSpPr/>
          <p:nvPr/>
        </p:nvGrpSpPr>
        <p:grpSpPr>
          <a:xfrm>
            <a:off x="250371" y="1434729"/>
            <a:ext cx="8769804" cy="4554993"/>
            <a:chOff x="250371" y="1434729"/>
            <a:chExt cx="8769804" cy="4554993"/>
          </a:xfrm>
        </p:grpSpPr>
        <p:sp>
          <p:nvSpPr>
            <p:cNvPr id="322" name="Textfeld 321"/>
            <p:cNvSpPr txBox="1"/>
            <p:nvPr/>
          </p:nvSpPr>
          <p:spPr>
            <a:xfrm>
              <a:off x="7210275" y="4358506"/>
              <a:ext cx="1809900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Quality of connection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+</a:t>
              </a:r>
              <a:r>
                <a:rPr lang="en-US" sz="1000" dirty="0" smtClean="0"/>
                <a:t>     perfect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o</a:t>
              </a:r>
              <a:r>
                <a:rPr lang="en-US" sz="1000" dirty="0" smtClean="0">
                  <a:solidFill>
                    <a:srgbClr val="C00000"/>
                  </a:solidFill>
                </a:rPr>
                <a:t>  </a:t>
              </a:r>
              <a:r>
                <a:rPr lang="en-US" sz="1000" dirty="0" smtClean="0"/>
                <a:t>   normal</a:t>
              </a:r>
            </a:p>
            <a:p>
              <a:r>
                <a:rPr lang="en-US" sz="1000" dirty="0" smtClean="0">
                  <a:solidFill>
                    <a:schemeClr val="accent1"/>
                  </a:solidFill>
                </a:rPr>
                <a:t>K</a:t>
              </a:r>
              <a:r>
                <a:rPr lang="en-US" sz="1000" dirty="0" smtClean="0"/>
                <a:t>     critical</a:t>
              </a:r>
              <a:br>
                <a:rPr lang="en-US" sz="1000" dirty="0" smtClean="0"/>
              </a:br>
              <a:r>
                <a:rPr lang="en-US" sz="1000" dirty="0" smtClean="0"/>
                <a:t/>
              </a:r>
              <a:br>
                <a:rPr lang="en-US" sz="1000" dirty="0" smtClean="0"/>
              </a:br>
              <a:r>
                <a:rPr lang="en-US" sz="1000" dirty="0" smtClean="0"/>
                <a:t>Frequency of connection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3</a:t>
              </a:r>
              <a:r>
                <a:rPr lang="en-US" sz="1000" dirty="0" smtClean="0"/>
                <a:t>     intensive	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2</a:t>
              </a:r>
              <a:r>
                <a:rPr lang="en-US" sz="1000" dirty="0" smtClean="0"/>
                <a:t>     medium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1</a:t>
              </a:r>
              <a:r>
                <a:rPr lang="en-US" sz="1000" dirty="0" smtClean="0"/>
                <a:t>     low</a:t>
              </a:r>
              <a:br>
                <a:rPr lang="en-US" sz="1000" dirty="0" smtClean="0"/>
              </a:br>
              <a:r>
                <a:rPr lang="en-US" sz="1000" dirty="0" smtClean="0">
                  <a:solidFill>
                    <a:schemeClr val="accent1"/>
                  </a:solidFill>
                </a:rPr>
                <a:t>0</a:t>
              </a:r>
              <a:r>
                <a:rPr lang="en-US" sz="1000" dirty="0" smtClean="0"/>
                <a:t>     nonexistent</a:t>
              </a:r>
              <a:endParaRPr lang="en-US" sz="1000" dirty="0"/>
            </a:p>
          </p:txBody>
        </p:sp>
        <p:grpSp>
          <p:nvGrpSpPr>
            <p:cNvPr id="4" name="Gruppieren 296"/>
            <p:cNvGrpSpPr/>
            <p:nvPr/>
          </p:nvGrpSpPr>
          <p:grpSpPr>
            <a:xfrm>
              <a:off x="2207533" y="1434729"/>
              <a:ext cx="4665600" cy="4428000"/>
              <a:chOff x="-7847736" y="945901"/>
              <a:chExt cx="5024538" cy="4788497"/>
            </a:xfrm>
          </p:grpSpPr>
          <p:grpSp>
            <p:nvGrpSpPr>
              <p:cNvPr id="5" name="Gruppieren 68"/>
              <p:cNvGrpSpPr/>
              <p:nvPr/>
            </p:nvGrpSpPr>
            <p:grpSpPr>
              <a:xfrm>
                <a:off x="-7847736" y="945901"/>
                <a:ext cx="4788504" cy="4788497"/>
                <a:chOff x="-5725144" y="945901"/>
                <a:chExt cx="4788504" cy="4788497"/>
              </a:xfrm>
            </p:grpSpPr>
            <p:sp>
              <p:nvSpPr>
                <p:cNvPr id="241" name="Ellipse 240"/>
                <p:cNvSpPr/>
                <p:nvPr/>
              </p:nvSpPr>
              <p:spPr bwMode="auto">
                <a:xfrm>
                  <a:off x="-5725144" y="945901"/>
                  <a:ext cx="4788504" cy="4788497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1270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perspectiveRelaxedModerately">
                    <a:rot lat="0" lon="0" rev="0"/>
                  </a:camera>
                  <a:lightRig rig="threePt" dir="t"/>
                </a:scene3d>
                <a:sp3d prstMaterial="matte"/>
              </p:spPr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2" name="Ellipse 241"/>
                <p:cNvSpPr/>
                <p:nvPr/>
              </p:nvSpPr>
              <p:spPr bwMode="auto">
                <a:xfrm>
                  <a:off x="-5183940" y="1487102"/>
                  <a:ext cx="3706096" cy="3706094"/>
                </a:xfrm>
                <a:prstGeom prst="ellipse">
                  <a:avLst/>
                </a:prstGeom>
                <a:solidFill>
                  <a:srgbClr val="EAEAEA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1270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perspectiveRelaxedModerately">
                    <a:rot lat="0" lon="0" rev="0"/>
                  </a:camera>
                  <a:lightRig rig="threePt" dir="t"/>
                </a:scene3d>
                <a:sp3d prstMaterial="matte"/>
              </p:spPr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3" name="Ellipse 242"/>
                <p:cNvSpPr/>
                <p:nvPr/>
              </p:nvSpPr>
              <p:spPr bwMode="auto">
                <a:xfrm>
                  <a:off x="-4499864" y="2171178"/>
                  <a:ext cx="2337944" cy="2337942"/>
                </a:xfrm>
                <a:prstGeom prst="ellipse">
                  <a:avLst/>
                </a:prstGeom>
                <a:solidFill>
                  <a:srgbClr val="F8F8F8"/>
                </a:solidFill>
                <a:ln w="3175">
                  <a:solidFill>
                    <a:schemeClr val="bg1">
                      <a:lumMod val="85000"/>
                    </a:schemeClr>
                  </a:solidFill>
                  <a:round/>
                  <a:headEnd/>
                  <a:tailEnd/>
                </a:ln>
                <a:effectLst/>
                <a:scene3d>
                  <a:camera prst="perspectiveRelaxedModerately">
                    <a:rot lat="0" lon="0" rev="0"/>
                  </a:camera>
                  <a:lightRig rig="threePt" dir="t"/>
                </a:scene3d>
                <a:sp3d prstMaterial="matte"/>
              </p:spPr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" name="Gruppieren 295"/>
              <p:cNvGrpSpPr/>
              <p:nvPr/>
            </p:nvGrpSpPr>
            <p:grpSpPr>
              <a:xfrm>
                <a:off x="-7331420" y="1574351"/>
                <a:ext cx="4265223" cy="3575452"/>
                <a:chOff x="-7331420" y="1574351"/>
                <a:chExt cx="4265223" cy="3575452"/>
              </a:xfrm>
            </p:grpSpPr>
            <p:cxnSp>
              <p:nvCxnSpPr>
                <p:cNvPr id="225" name="Gerade Verbindung 224"/>
                <p:cNvCxnSpPr/>
                <p:nvPr/>
              </p:nvCxnSpPr>
              <p:spPr>
                <a:xfrm rot="5400000">
                  <a:off x="-5903726" y="2674323"/>
                  <a:ext cx="1116068" cy="215584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 Verbindung 225"/>
                <p:cNvCxnSpPr/>
                <p:nvPr/>
              </p:nvCxnSpPr>
              <p:spPr>
                <a:xfrm rot="5400000">
                  <a:off x="-5579039" y="2056542"/>
                  <a:ext cx="1409164" cy="1158051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" name="Gerade Verbindung 226"/>
                <p:cNvCxnSpPr/>
                <p:nvPr/>
              </p:nvCxnSpPr>
              <p:spPr>
                <a:xfrm rot="16200000" flipH="1">
                  <a:off x="-6623044" y="2170590"/>
                  <a:ext cx="1765800" cy="573321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Gerade Verbindung 227"/>
                <p:cNvCxnSpPr/>
                <p:nvPr/>
              </p:nvCxnSpPr>
              <p:spPr>
                <a:xfrm rot="10800000" flipV="1">
                  <a:off x="-5453484" y="2493591"/>
                  <a:ext cx="1612818" cy="846555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" name="Gerade Verbindung 228"/>
                <p:cNvCxnSpPr/>
                <p:nvPr/>
              </p:nvCxnSpPr>
              <p:spPr>
                <a:xfrm>
                  <a:off x="-6340916" y="2596782"/>
                  <a:ext cx="887434" cy="743370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" name="Gerade Verbindung 229"/>
                <p:cNvCxnSpPr/>
                <p:nvPr/>
              </p:nvCxnSpPr>
              <p:spPr>
                <a:xfrm>
                  <a:off x="-7331420" y="3028587"/>
                  <a:ext cx="1877938" cy="311565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" name="Gerade Verbindung 230"/>
                <p:cNvCxnSpPr/>
                <p:nvPr/>
              </p:nvCxnSpPr>
              <p:spPr>
                <a:xfrm flipV="1">
                  <a:off x="-6573818" y="3340145"/>
                  <a:ext cx="1120331" cy="353073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Gerade Verbindung 231"/>
                <p:cNvCxnSpPr/>
                <p:nvPr/>
              </p:nvCxnSpPr>
              <p:spPr>
                <a:xfrm flipV="1">
                  <a:off x="-6755149" y="3340152"/>
                  <a:ext cx="1301662" cy="1296651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" name="Gerade Verbindung 232"/>
                <p:cNvCxnSpPr/>
                <p:nvPr/>
              </p:nvCxnSpPr>
              <p:spPr>
                <a:xfrm rot="5400000" flipH="1" flipV="1">
                  <a:off x="-6146160" y="3718105"/>
                  <a:ext cx="1070625" cy="314722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4" name="Gerade Verbindung 233"/>
                <p:cNvCxnSpPr/>
                <p:nvPr/>
              </p:nvCxnSpPr>
              <p:spPr>
                <a:xfrm rot="16200000" flipV="1">
                  <a:off x="-6289045" y="4175705"/>
                  <a:ext cx="1809656" cy="138539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" name="Gerade Verbindung 234"/>
                <p:cNvCxnSpPr/>
                <p:nvPr/>
              </p:nvCxnSpPr>
              <p:spPr>
                <a:xfrm rot="16200000" flipV="1">
                  <a:off x="-5746494" y="3633165"/>
                  <a:ext cx="1556787" cy="970761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" name="Gerade Verbindung 235"/>
                <p:cNvCxnSpPr/>
                <p:nvPr/>
              </p:nvCxnSpPr>
              <p:spPr>
                <a:xfrm rot="10800000">
                  <a:off x="-5453482" y="3340146"/>
                  <a:ext cx="891190" cy="749680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Gerade Verbindung 236"/>
                <p:cNvCxnSpPr/>
                <p:nvPr/>
              </p:nvCxnSpPr>
              <p:spPr>
                <a:xfrm rot="10800000">
                  <a:off x="-5453484" y="3340149"/>
                  <a:ext cx="1697208" cy="716779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" name="Gerade Verbindung 237"/>
                <p:cNvCxnSpPr/>
                <p:nvPr/>
              </p:nvCxnSpPr>
              <p:spPr>
                <a:xfrm rot="10800000" flipV="1">
                  <a:off x="-5453484" y="2796624"/>
                  <a:ext cx="2283400" cy="543522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Gerade Verbindung 238"/>
                <p:cNvCxnSpPr/>
                <p:nvPr/>
              </p:nvCxnSpPr>
              <p:spPr>
                <a:xfrm rot="10800000" flipV="1">
                  <a:off x="-5453480" y="3294812"/>
                  <a:ext cx="2387283" cy="45333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 Verbindung 239"/>
                <p:cNvCxnSpPr/>
                <p:nvPr/>
              </p:nvCxnSpPr>
              <p:spPr>
                <a:xfrm rot="10800000">
                  <a:off x="-5453481" y="3340148"/>
                  <a:ext cx="2343781" cy="479304"/>
                </a:xfrm>
                <a:prstGeom prst="line">
                  <a:avLst/>
                </a:prstGeom>
                <a:ln w="6350">
                  <a:solidFill>
                    <a:srgbClr val="96969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Gruppieren 294"/>
              <p:cNvGrpSpPr/>
              <p:nvPr/>
            </p:nvGrpSpPr>
            <p:grpSpPr>
              <a:xfrm>
                <a:off x="-7659713" y="1295351"/>
                <a:ext cx="4836515" cy="4133452"/>
                <a:chOff x="-7659713" y="1295351"/>
                <a:chExt cx="4836515" cy="4133452"/>
              </a:xfrm>
            </p:grpSpPr>
            <p:sp>
              <p:nvSpPr>
                <p:cNvPr id="208" name="Ellipse 207"/>
                <p:cNvSpPr/>
                <p:nvPr/>
              </p:nvSpPr>
              <p:spPr bwMode="auto">
                <a:xfrm>
                  <a:off x="-5921536" y="2872097"/>
                  <a:ext cx="936104" cy="936104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1100" b="1" dirty="0" smtClean="0"/>
                    <a:t>Design </a:t>
                  </a:r>
                  <a:br>
                    <a:rPr lang="en-US" sz="1100" b="1" dirty="0" smtClean="0"/>
                  </a:br>
                  <a:r>
                    <a:rPr lang="en-US" sz="1100" b="1" dirty="0" smtClean="0"/>
                    <a:t>engineer</a:t>
                  </a:r>
                  <a:br>
                    <a:rPr lang="en-US" sz="1100" b="1" dirty="0" smtClean="0"/>
                  </a:br>
                  <a:r>
                    <a:rPr lang="en-US" sz="1100" b="1" dirty="0" smtClean="0"/>
                    <a:t>Dep. 4</a:t>
                  </a:r>
                  <a:endParaRPr lang="en-US" sz="1100" b="1" dirty="0"/>
                </a:p>
              </p:txBody>
            </p:sp>
            <p:sp>
              <p:nvSpPr>
                <p:cNvPr id="209" name="Ellipse 208"/>
                <p:cNvSpPr/>
                <p:nvPr/>
              </p:nvSpPr>
              <p:spPr bwMode="auto">
                <a:xfrm>
                  <a:off x="-7659713" y="2700294"/>
                  <a:ext cx="656586" cy="656586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Construction</a:t>
                  </a:r>
                </a:p>
              </p:txBody>
            </p:sp>
            <p:sp>
              <p:nvSpPr>
                <p:cNvPr id="210" name="Ellipse 209"/>
                <p:cNvSpPr/>
                <p:nvPr/>
              </p:nvSpPr>
              <p:spPr bwMode="auto">
                <a:xfrm>
                  <a:off x="-6305802" y="1295351"/>
                  <a:ext cx="558000" cy="55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Calculation</a:t>
                  </a:r>
                  <a:endParaRPr lang="en-US" sz="800" b="1" dirty="0"/>
                </a:p>
              </p:txBody>
            </p:sp>
            <p:sp>
              <p:nvSpPr>
                <p:cNvPr id="211" name="Ellipse 210"/>
                <p:cNvSpPr/>
                <p:nvPr/>
              </p:nvSpPr>
              <p:spPr bwMode="auto">
                <a:xfrm>
                  <a:off x="-4623030" y="1603385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Colleague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gen.</a:t>
                  </a:r>
                  <a:endParaRPr lang="en-US" sz="800" b="1" dirty="0"/>
                </a:p>
              </p:txBody>
            </p:sp>
            <p:sp>
              <p:nvSpPr>
                <p:cNvPr id="212" name="Ellipse 211"/>
                <p:cNvSpPr/>
                <p:nvPr/>
              </p:nvSpPr>
              <p:spPr bwMode="auto">
                <a:xfrm>
                  <a:off x="-4119666" y="2214592"/>
                  <a:ext cx="558000" cy="55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Customer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gen.</a:t>
                  </a:r>
                  <a:endParaRPr lang="en-US" sz="800" b="1" dirty="0"/>
                </a:p>
              </p:txBody>
            </p:sp>
            <p:sp>
              <p:nvSpPr>
                <p:cNvPr id="213" name="Ellipse 212"/>
                <p:cNvSpPr/>
                <p:nvPr/>
              </p:nvSpPr>
              <p:spPr bwMode="auto">
                <a:xfrm>
                  <a:off x="-3990276" y="3822927"/>
                  <a:ext cx="468000" cy="46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Supplier</a:t>
                  </a:r>
                </a:p>
              </p:txBody>
            </p:sp>
            <p:sp>
              <p:nvSpPr>
                <p:cNvPr id="214" name="Ellipse 213"/>
                <p:cNvSpPr/>
                <p:nvPr/>
              </p:nvSpPr>
              <p:spPr bwMode="auto">
                <a:xfrm>
                  <a:off x="-4810322" y="4576795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Customer</a:t>
                  </a:r>
                </a:p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Reference</a:t>
                  </a:r>
                </a:p>
              </p:txBody>
            </p:sp>
            <p:sp>
              <p:nvSpPr>
                <p:cNvPr id="215" name="Ellipse 214"/>
                <p:cNvSpPr/>
                <p:nvPr/>
              </p:nvSpPr>
              <p:spPr bwMode="auto">
                <a:xfrm>
                  <a:off x="-5593948" y="4870803"/>
                  <a:ext cx="558000" cy="55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Calculation</a:t>
                  </a:r>
                </a:p>
              </p:txBody>
            </p:sp>
            <p:sp>
              <p:nvSpPr>
                <p:cNvPr id="216" name="Ellipse 215"/>
                <p:cNvSpPr/>
                <p:nvPr/>
              </p:nvSpPr>
              <p:spPr bwMode="auto">
                <a:xfrm>
                  <a:off x="-6989150" y="4402803"/>
                  <a:ext cx="468000" cy="46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Attempt</a:t>
                  </a:r>
                </a:p>
              </p:txBody>
            </p:sp>
            <p:sp>
              <p:nvSpPr>
                <p:cNvPr id="217" name="Ellipse 216"/>
                <p:cNvSpPr/>
                <p:nvPr/>
              </p:nvSpPr>
              <p:spPr bwMode="auto">
                <a:xfrm>
                  <a:off x="-6668516" y="2269182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Lead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Engineer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Dep. 1</a:t>
                  </a:r>
                  <a:endParaRPr lang="en-US" sz="800" b="1" dirty="0"/>
                </a:p>
              </p:txBody>
            </p:sp>
            <p:sp>
              <p:nvSpPr>
                <p:cNvPr id="218" name="Ellipse 217"/>
                <p:cNvSpPr/>
                <p:nvPr/>
              </p:nvSpPr>
              <p:spPr bwMode="auto">
                <a:xfrm>
                  <a:off x="-6901418" y="3365618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Design 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engineer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Dep. 4</a:t>
                  </a:r>
                  <a:endParaRPr lang="en-US" sz="800" b="1" dirty="0"/>
                </a:p>
              </p:txBody>
            </p:sp>
            <p:sp>
              <p:nvSpPr>
                <p:cNvPr id="219" name="Ellipse 218"/>
                <p:cNvSpPr/>
                <p:nvPr/>
              </p:nvSpPr>
              <p:spPr bwMode="auto">
                <a:xfrm>
                  <a:off x="-6095810" y="4083179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Design 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engineer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Dep. 4</a:t>
                  </a:r>
                  <a:endParaRPr lang="en-US" sz="800" b="1" dirty="0"/>
                </a:p>
              </p:txBody>
            </p:sp>
            <p:sp>
              <p:nvSpPr>
                <p:cNvPr id="220" name="Ellipse 219"/>
                <p:cNvSpPr/>
                <p:nvPr/>
              </p:nvSpPr>
              <p:spPr bwMode="auto">
                <a:xfrm>
                  <a:off x="-4841292" y="3810826"/>
                  <a:ext cx="558000" cy="55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/>
                    <a:t>Customer</a:t>
                  </a:r>
                  <a:br>
                    <a:rPr lang="en-US" sz="800" b="1" dirty="0"/>
                  </a:br>
                  <a:r>
                    <a:rPr lang="en-US" sz="800" b="1" dirty="0"/>
                    <a:t>gen.</a:t>
                  </a:r>
                </a:p>
              </p:txBody>
            </p:sp>
            <p:sp>
              <p:nvSpPr>
                <p:cNvPr id="221" name="Ellipse 220"/>
                <p:cNvSpPr/>
                <p:nvPr/>
              </p:nvSpPr>
              <p:spPr bwMode="auto">
                <a:xfrm>
                  <a:off x="-3404084" y="2562624"/>
                  <a:ext cx="468000" cy="46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smtClean="0"/>
                    <a:t>DB</a:t>
                  </a:r>
                  <a:endParaRPr lang="en-US" sz="800" b="1"/>
                </a:p>
              </p:txBody>
            </p:sp>
            <p:sp>
              <p:nvSpPr>
                <p:cNvPr id="222" name="Ellipse 221"/>
                <p:cNvSpPr/>
                <p:nvPr/>
              </p:nvSpPr>
              <p:spPr bwMode="auto">
                <a:xfrm>
                  <a:off x="-3309198" y="3060813"/>
                  <a:ext cx="486000" cy="46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smtClean="0"/>
                    <a:t>Intranet</a:t>
                  </a:r>
                  <a:endParaRPr lang="en-US" sz="800" b="1"/>
                </a:p>
              </p:txBody>
            </p:sp>
            <p:sp>
              <p:nvSpPr>
                <p:cNvPr id="223" name="Ellipse 222"/>
                <p:cNvSpPr/>
                <p:nvPr/>
              </p:nvSpPr>
              <p:spPr bwMode="auto">
                <a:xfrm>
                  <a:off x="-3343702" y="3585452"/>
                  <a:ext cx="468000" cy="4680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smtClean="0"/>
                    <a:t>Internet</a:t>
                  </a:r>
                  <a:endParaRPr lang="en-US" sz="800" b="1"/>
                </a:p>
              </p:txBody>
            </p:sp>
            <p:sp>
              <p:nvSpPr>
                <p:cNvPr id="224" name="Ellipse 223"/>
                <p:cNvSpPr/>
                <p:nvPr/>
              </p:nvSpPr>
              <p:spPr bwMode="auto">
                <a:xfrm>
                  <a:off x="-5565500" y="1896481"/>
                  <a:ext cx="655200" cy="655200"/>
                </a:xfrm>
                <a:prstGeom prst="ellipse">
                  <a:avLst/>
                </a:prstGeom>
                <a:solidFill>
                  <a:srgbClr val="DDDDDD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wrap="none" lIns="0" rIns="0" rtlCol="0" anchor="ctr"/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800" b="1" dirty="0" smtClean="0"/>
                    <a:t>FTL</a:t>
                  </a:r>
                  <a:br>
                    <a:rPr lang="en-US" sz="800" b="1" dirty="0" smtClean="0"/>
                  </a:br>
                  <a:r>
                    <a:rPr lang="en-US" sz="800" b="1" dirty="0" smtClean="0"/>
                    <a:t>Dep. 4</a:t>
                  </a:r>
                  <a:endParaRPr lang="en-US" sz="800" b="1" dirty="0"/>
                </a:p>
              </p:txBody>
            </p:sp>
          </p:grpSp>
          <p:grpSp>
            <p:nvGrpSpPr>
              <p:cNvPr id="8" name="Gruppieren 292"/>
              <p:cNvGrpSpPr/>
              <p:nvPr/>
            </p:nvGrpSpPr>
            <p:grpSpPr>
              <a:xfrm>
                <a:off x="-7177617" y="2250132"/>
                <a:ext cx="3363834" cy="2751949"/>
                <a:chOff x="-7177617" y="2250132"/>
                <a:chExt cx="3363834" cy="2751949"/>
              </a:xfrm>
            </p:grpSpPr>
            <p:sp>
              <p:nvSpPr>
                <p:cNvPr id="191" name="Textfeld 190"/>
                <p:cNvSpPr txBox="1"/>
                <p:nvPr/>
              </p:nvSpPr>
              <p:spPr>
                <a:xfrm>
                  <a:off x="-4102342" y="2918652"/>
                  <a:ext cx="246865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o/0.5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2" name="Textfeld 191"/>
                <p:cNvSpPr txBox="1"/>
                <p:nvPr/>
              </p:nvSpPr>
              <p:spPr>
                <a:xfrm>
                  <a:off x="-4055468" y="3255207"/>
                  <a:ext cx="241685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k/0.5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3" name="Textfeld 192"/>
                <p:cNvSpPr txBox="1"/>
                <p:nvPr/>
              </p:nvSpPr>
              <p:spPr>
                <a:xfrm>
                  <a:off x="-4055468" y="3573016"/>
                  <a:ext cx="162274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o/1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4" name="Textfeld 193"/>
                <p:cNvSpPr txBox="1"/>
                <p:nvPr/>
              </p:nvSpPr>
              <p:spPr>
                <a:xfrm>
                  <a:off x="-4498455" y="3685089"/>
                  <a:ext cx="162274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o/1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5" name="Textfeld 194"/>
                <p:cNvSpPr txBox="1"/>
                <p:nvPr/>
              </p:nvSpPr>
              <p:spPr>
                <a:xfrm>
                  <a:off x="-4540480" y="2773926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2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-4835722" y="2462968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2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7" name="Textfeld 196"/>
                <p:cNvSpPr txBox="1"/>
                <p:nvPr/>
              </p:nvSpPr>
              <p:spPr>
                <a:xfrm>
                  <a:off x="-5002906" y="3723190"/>
                  <a:ext cx="162274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o/1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8" name="Textfeld 197"/>
                <p:cNvSpPr txBox="1"/>
                <p:nvPr/>
              </p:nvSpPr>
              <p:spPr>
                <a:xfrm>
                  <a:off x="-4925019" y="4198507"/>
                  <a:ext cx="103579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/0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199" name="Textfeld 198"/>
                <p:cNvSpPr txBox="1"/>
                <p:nvPr/>
              </p:nvSpPr>
              <p:spPr>
                <a:xfrm>
                  <a:off x="-5424381" y="4336264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1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0" name="Textfeld 199"/>
                <p:cNvSpPr txBox="1"/>
                <p:nvPr/>
              </p:nvSpPr>
              <p:spPr>
                <a:xfrm>
                  <a:off x="-5398982" y="2645088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3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1" name="Textfeld 200"/>
                <p:cNvSpPr txBox="1"/>
                <p:nvPr/>
              </p:nvSpPr>
              <p:spPr>
                <a:xfrm>
                  <a:off x="-5857236" y="2250132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2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-6024620" y="2852587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2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3" name="Textfeld 202"/>
                <p:cNvSpPr txBox="1"/>
                <p:nvPr/>
              </p:nvSpPr>
              <p:spPr>
                <a:xfrm>
                  <a:off x="-6541287" y="3104812"/>
                  <a:ext cx="182990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2 </a:t>
                  </a:r>
                  <a:endParaRPr lang="en-US" sz="800" b="1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4" name="Textfeld 203"/>
                <p:cNvSpPr txBox="1"/>
                <p:nvPr/>
              </p:nvSpPr>
              <p:spPr>
                <a:xfrm>
                  <a:off x="-6148939" y="3473360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3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5" name="Textfeld 204"/>
                <p:cNvSpPr txBox="1"/>
                <p:nvPr/>
              </p:nvSpPr>
              <p:spPr>
                <a:xfrm>
                  <a:off x="-6283774" y="4036268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1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6" name="Textfeld 205"/>
                <p:cNvSpPr txBox="1"/>
                <p:nvPr/>
              </p:nvSpPr>
              <p:spPr>
                <a:xfrm>
                  <a:off x="-5697431" y="3869556"/>
                  <a:ext cx="158822" cy="133134"/>
                </a:xfrm>
                <a:prstGeom prst="rect">
                  <a:avLst/>
                </a:prstGeom>
                <a:solidFill>
                  <a:schemeClr val="bg1">
                    <a:alpha val="60000"/>
                  </a:schemeClr>
                </a:solidFill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r>
                    <a:rPr lang="en-US" sz="800" b="1" smtClean="0">
                      <a:solidFill>
                        <a:schemeClr val="accent1"/>
                      </a:solidFill>
                    </a:rPr>
                    <a:t>+/3</a:t>
                  </a:r>
                  <a:endParaRPr lang="en-US" sz="800" b="1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07" name="Rechteck 206"/>
                <p:cNvSpPr/>
                <p:nvPr/>
              </p:nvSpPr>
              <p:spPr bwMode="auto">
                <a:xfrm>
                  <a:off x="-7177617" y="4790325"/>
                  <a:ext cx="552179" cy="211756"/>
                </a:xfrm>
                <a:prstGeom prst="rect">
                  <a:avLst/>
                </a:prstGeom>
                <a:solidFill>
                  <a:srgbClr val="F8F8F8"/>
                </a:solidFill>
                <a:ln w="12700">
                  <a:noFill/>
                  <a:round/>
                  <a:headEnd/>
                  <a:tailEnd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36000" tIns="36000" rIns="36000" bIns="36000" rtlCol="0" anchor="ctr">
                  <a:spAutoFit/>
                </a:bodyPr>
                <a:lstStyle/>
                <a:p>
                  <a:pPr algn="ctr"/>
                  <a:r>
                    <a:rPr lang="en-US" sz="800" smtClean="0"/>
                    <a:t>Feedback</a:t>
                  </a:r>
                  <a:endParaRPr lang="en-US" sz="800" b="1"/>
                </a:p>
              </p:txBody>
            </p:sp>
          </p:grpSp>
        </p:grpSp>
        <p:sp>
          <p:nvSpPr>
            <p:cNvPr id="64" name="Textfeld 63"/>
            <p:cNvSpPr txBox="1"/>
            <p:nvPr/>
          </p:nvSpPr>
          <p:spPr>
            <a:xfrm>
              <a:off x="250371" y="5035573"/>
              <a:ext cx="250621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>
                  <a:solidFill>
                    <a:srgbClr val="848484"/>
                  </a:solidFill>
                </a:rPr>
                <a:t>The text demonstrates how your own text will look when you replace the placeholder with your own text.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Opportunities </a:t>
            </a:r>
            <a:r>
              <a:rPr lang="en-US" b="0" noProof="1" smtClean="0"/>
              <a:t>- Threats-Analysis</a:t>
            </a:r>
            <a:endParaRPr lang="en-US" b="0" noProof="1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nalysis about the company’s opinion on environmental changes and where adjustments need to be done</a:t>
            </a:r>
            <a:endParaRPr lang="en-US" dirty="0"/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917583"/>
              </p:ext>
            </p:extLst>
          </p:nvPr>
        </p:nvGraphicFramePr>
        <p:xfrm>
          <a:off x="324643" y="1554948"/>
          <a:ext cx="8496301" cy="424735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867162"/>
                <a:gridCol w="2163320"/>
                <a:gridCol w="2465819"/>
              </a:tblGrid>
              <a:tr h="360797">
                <a:tc>
                  <a:txBody>
                    <a:bodyPr/>
                    <a:lstStyle/>
                    <a:p>
                      <a:r>
                        <a:rPr lang="en-US" sz="1600" b="1" noProof="0" dirty="0" smtClean="0"/>
                        <a:t>Criteria</a:t>
                      </a:r>
                      <a:endParaRPr lang="en-US" sz="1600" b="1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 dirty="0" smtClean="0">
                          <a:solidFill>
                            <a:srgbClr val="FFFFFF"/>
                          </a:solidFill>
                        </a:rPr>
                        <a:t>Opportunities</a:t>
                      </a:r>
                      <a:endParaRPr lang="en-US" sz="1600" b="1" noProof="0" dirty="0">
                        <a:solidFill>
                          <a:srgbClr val="FFFFFF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 dirty="0" smtClean="0">
                          <a:solidFill>
                            <a:srgbClr val="FFFFFF"/>
                          </a:solidFill>
                        </a:rPr>
                        <a:t>Threats</a:t>
                      </a:r>
                      <a:endParaRPr lang="en-US" sz="1600" b="1" noProof="0" dirty="0">
                        <a:solidFill>
                          <a:srgbClr val="FFFFFF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3B3B"/>
                        </a:gs>
                        <a:gs pos="100000">
                          <a:srgbClr val="C00000"/>
                        </a:gs>
                      </a:gsLst>
                      <a:lin ang="5400000" scaled="0"/>
                    </a:gra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r>
                        <a:rPr lang="en-US" sz="1200" b="1" noProof="0" dirty="0" smtClean="0"/>
                        <a:t>Market Situation</a:t>
                      </a:r>
                      <a:endParaRPr lang="en-US" sz="1200" b="1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Market structure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 smtClean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Market potential/ market volume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dirty="0" smtClean="0"/>
                        <a:t>Customer structure</a:t>
                      </a:r>
                      <a:endParaRPr lang="en-US" sz="1200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dirty="0" smtClean="0"/>
                        <a:t>Competitor </a:t>
                      </a:r>
                      <a:endParaRPr lang="en-US" sz="1200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r>
                        <a:rPr lang="en-US" sz="1200" b="1" noProof="0" smtClean="0"/>
                        <a:t>Environment / Frame conditions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Laws / Taxes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Society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Ecology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Technological Development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r>
                        <a:rPr lang="en-US" sz="1200" b="1" noProof="0" smtClean="0"/>
                        <a:t>Strength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dirty="0" smtClean="0"/>
                        <a:t>Product range</a:t>
                      </a:r>
                      <a:endParaRPr lang="en-US" sz="1200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Prices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Organization</a:t>
                      </a:r>
                      <a:r>
                        <a:rPr lang="en-US" sz="1200" baseline="0" noProof="0" smtClean="0"/>
                        <a:t> / Management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Cash Flow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r>
                        <a:rPr lang="en-US" sz="1200" b="1" noProof="0" smtClean="0"/>
                        <a:t>Weaknesses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Locations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dirty="0" smtClean="0"/>
                        <a:t>Marketing performance</a:t>
                      </a:r>
                      <a:endParaRPr lang="en-US" sz="1200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Innovation ability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smtClean="0"/>
                        <a:t>x</a:t>
                      </a:r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4328">
                <a:tc>
                  <a:txBody>
                    <a:bodyPr/>
                    <a:lstStyle/>
                    <a:p>
                      <a:pPr marL="0" indent="90488"/>
                      <a:r>
                        <a:rPr lang="en-US" sz="1200" noProof="0" smtClean="0"/>
                        <a:t>Financial</a:t>
                      </a:r>
                      <a:r>
                        <a:rPr lang="en-US" sz="1200" baseline="0" noProof="0" smtClean="0"/>
                        <a:t> resources</a:t>
                      </a:r>
                      <a:endParaRPr lang="en-US" sz="1200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noProof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noProof="0" dirty="0" smtClean="0"/>
                        <a:t>x</a:t>
                      </a:r>
                      <a:endParaRPr lang="en-US" sz="1200" b="1" noProof="0" dirty="0"/>
                    </a:p>
                  </a:txBody>
                  <a:tcPr marL="90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191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pieren 53"/>
          <p:cNvGrpSpPr/>
          <p:nvPr/>
        </p:nvGrpSpPr>
        <p:grpSpPr bwMode="gray">
          <a:xfrm>
            <a:off x="0" y="4823679"/>
            <a:ext cx="9144000" cy="1341120"/>
            <a:chOff x="0" y="4236720"/>
            <a:chExt cx="9144000" cy="1341120"/>
          </a:xfrm>
        </p:grpSpPr>
        <p:sp>
          <p:nvSpPr>
            <p:cNvPr id="29" name="Rechteck 28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5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0" name="Rechteck 29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15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ing Triang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Company, employees and customer</a:t>
            </a:r>
          </a:p>
        </p:txBody>
      </p:sp>
      <p:grpSp>
        <p:nvGrpSpPr>
          <p:cNvPr id="21" name="Gruppieren 20"/>
          <p:cNvGrpSpPr/>
          <p:nvPr/>
        </p:nvGrpSpPr>
        <p:grpSpPr bwMode="gray">
          <a:xfrm rot="7200000">
            <a:off x="2603663" y="2057669"/>
            <a:ext cx="4089782" cy="4066200"/>
            <a:chOff x="2359823" y="2088149"/>
            <a:chExt cx="4089782" cy="4066200"/>
          </a:xfrm>
        </p:grpSpPr>
        <p:grpSp>
          <p:nvGrpSpPr>
            <p:cNvPr id="20" name="Gruppieren 19"/>
            <p:cNvGrpSpPr/>
            <p:nvPr/>
          </p:nvGrpSpPr>
          <p:grpSpPr bwMode="gray">
            <a:xfrm rot="7200000">
              <a:off x="2248314" y="2199658"/>
              <a:ext cx="4066200" cy="3843182"/>
              <a:chOff x="2575973" y="2421283"/>
              <a:chExt cx="4066200" cy="3843182"/>
            </a:xfrm>
          </p:grpSpPr>
          <p:grpSp>
            <p:nvGrpSpPr>
              <p:cNvPr id="18" name="Gruppieren 17"/>
              <p:cNvGrpSpPr/>
              <p:nvPr/>
            </p:nvGrpSpPr>
            <p:grpSpPr bwMode="gray">
              <a:xfrm rot="7200000">
                <a:off x="2957663" y="2579954"/>
                <a:ext cx="3843182" cy="3525839"/>
                <a:chOff x="2650805" y="1916112"/>
                <a:chExt cx="3843182" cy="3525839"/>
              </a:xfrm>
            </p:grpSpPr>
            <p:sp>
              <p:nvSpPr>
                <p:cNvPr id="14" name="Gleichschenkliges Dreieck 13"/>
                <p:cNvSpPr/>
                <p:nvPr/>
              </p:nvSpPr>
              <p:spPr bwMode="gray">
                <a:xfrm>
                  <a:off x="2650805" y="1916112"/>
                  <a:ext cx="3843182" cy="3313088"/>
                </a:xfrm>
                <a:prstGeom prst="triangle">
                  <a:avLst/>
                </a:pr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  <a:effectLst>
                  <a:reflection blurRad="6350" stA="52000" endA="300" endPos="35000" dir="5400000" sy="-100000" algn="bl" rotWithShape="0"/>
                </a:effectLst>
                <a:scene3d>
                  <a:camera prst="orthographicFront"/>
                  <a:lightRig rig="threePt" dir="t"/>
                </a:scene3d>
                <a:sp3d>
                  <a:bevelT prst="convex"/>
                </a:sp3d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16" name="Gerade Verbindung mit Pfeil 15"/>
                <p:cNvCxnSpPr/>
                <p:nvPr/>
              </p:nvCxnSpPr>
              <p:spPr bwMode="gray">
                <a:xfrm>
                  <a:off x="2650805" y="5441951"/>
                  <a:ext cx="3843182" cy="0"/>
                </a:xfrm>
                <a:prstGeom prst="straightConnector1">
                  <a:avLst/>
                </a:prstGeom>
                <a:ln w="12700">
                  <a:solidFill>
                    <a:srgbClr val="646464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7" name="Gerade Verbindung mit Pfeil 16"/>
              <p:cNvCxnSpPr/>
              <p:nvPr/>
            </p:nvCxnSpPr>
            <p:spPr bwMode="gray">
              <a:xfrm flipH="1">
                <a:off x="2575973" y="5441950"/>
                <a:ext cx="3843182" cy="0"/>
              </a:xfrm>
              <a:prstGeom prst="straightConnector1">
                <a:avLst/>
              </a:prstGeom>
              <a:ln w="12700">
                <a:solidFill>
                  <a:srgbClr val="646464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" name="Gerade Verbindung mit Pfeil 18"/>
            <p:cNvCxnSpPr/>
            <p:nvPr/>
          </p:nvCxnSpPr>
          <p:spPr bwMode="gray">
            <a:xfrm>
              <a:off x="2606423" y="5441950"/>
              <a:ext cx="3843182" cy="0"/>
            </a:xfrm>
            <a:prstGeom prst="straightConnector1">
              <a:avLst/>
            </a:prstGeom>
            <a:ln w="12700">
              <a:solidFill>
                <a:srgbClr val="6464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uppieren 30"/>
          <p:cNvGrpSpPr/>
          <p:nvPr/>
        </p:nvGrpSpPr>
        <p:grpSpPr>
          <a:xfrm>
            <a:off x="816501" y="1457776"/>
            <a:ext cx="7550787" cy="4344240"/>
            <a:chOff x="816501" y="1457776"/>
            <a:chExt cx="7550787" cy="4344240"/>
          </a:xfrm>
        </p:grpSpPr>
        <p:sp>
          <p:nvSpPr>
            <p:cNvPr id="22" name="Textfeld 21"/>
            <p:cNvSpPr txBox="1"/>
            <p:nvPr/>
          </p:nvSpPr>
          <p:spPr bwMode="gray">
            <a:xfrm>
              <a:off x="3716910" y="1457776"/>
              <a:ext cx="17191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/>
                <a:t>Company </a:t>
              </a:r>
              <a:endParaRPr lang="en-US" b="1" dirty="0"/>
            </a:p>
          </p:txBody>
        </p:sp>
        <p:sp>
          <p:nvSpPr>
            <p:cNvPr id="23" name="Textfeld 22"/>
            <p:cNvSpPr txBox="1"/>
            <p:nvPr/>
          </p:nvSpPr>
          <p:spPr bwMode="gray">
            <a:xfrm>
              <a:off x="3314621" y="5494239"/>
              <a:ext cx="25154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i</a:t>
              </a:r>
              <a:r>
                <a:rPr lang="en-US" sz="1400" dirty="0" smtClean="0"/>
                <a:t>nteractive marketing</a:t>
              </a:r>
              <a:endParaRPr lang="en-US" sz="1400" dirty="0"/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6648102" y="5272673"/>
              <a:ext cx="17191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Customer</a:t>
              </a:r>
              <a:endParaRPr lang="en-US" b="1" dirty="0"/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816501" y="5272673"/>
              <a:ext cx="17191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 dirty="0" smtClean="0"/>
                <a:t>Employee </a:t>
              </a:r>
              <a:endParaRPr lang="en-US" b="1" dirty="0"/>
            </a:p>
          </p:txBody>
        </p:sp>
        <p:sp>
          <p:nvSpPr>
            <p:cNvPr id="26" name="Textfeld 25"/>
            <p:cNvSpPr txBox="1"/>
            <p:nvPr/>
          </p:nvSpPr>
          <p:spPr bwMode="gray">
            <a:xfrm rot="3600000">
              <a:off x="4598753" y="3299458"/>
              <a:ext cx="25154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external marketing </a:t>
              </a:r>
              <a:endParaRPr lang="en-US" sz="1400" dirty="0"/>
            </a:p>
          </p:txBody>
        </p:sp>
        <p:sp>
          <p:nvSpPr>
            <p:cNvPr id="27" name="Textfeld 26"/>
            <p:cNvSpPr txBox="1"/>
            <p:nvPr/>
          </p:nvSpPr>
          <p:spPr bwMode="gray">
            <a:xfrm rot="18000000">
              <a:off x="2055332" y="3299458"/>
              <a:ext cx="25154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i</a:t>
              </a:r>
              <a:r>
                <a:rPr lang="en-US" sz="1400" dirty="0" smtClean="0"/>
                <a:t>nternal marketing </a:t>
              </a:r>
              <a:endParaRPr lang="en-US" sz="1400" dirty="0"/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3821282" y="3675017"/>
              <a:ext cx="1501437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</a:rPr>
                <a:t>Marketing</a:t>
              </a:r>
              <a:br>
                <a:rPr lang="en-US" sz="2400" b="1" dirty="0" smtClean="0">
                  <a:solidFill>
                    <a:srgbClr val="FFFFFF"/>
                  </a:solidFill>
                </a:rPr>
              </a:br>
              <a:r>
                <a:rPr lang="en-US" sz="2400" b="1" dirty="0" smtClean="0">
                  <a:solidFill>
                    <a:srgbClr val="FFFFFF"/>
                  </a:solidFill>
                </a:rPr>
                <a:t>Triangle</a:t>
              </a:r>
              <a:endParaRPr lang="en-US" sz="24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4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Chance-Risk-Analysi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hances and Risks with possible development outside the company and their influence on marketing strategy and business planning </a:t>
            </a:r>
            <a:endParaRPr lang="en-US" dirty="0"/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672368"/>
              </p:ext>
            </p:extLst>
          </p:nvPr>
        </p:nvGraphicFramePr>
        <p:xfrm>
          <a:off x="324643" y="1555750"/>
          <a:ext cx="8495507" cy="424656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4215242"/>
                <a:gridCol w="4280265"/>
              </a:tblGrid>
              <a:tr h="360491">
                <a:tc>
                  <a:txBody>
                    <a:bodyPr/>
                    <a:lstStyle/>
                    <a:p>
                      <a:pPr algn="l"/>
                      <a:r>
                        <a:rPr lang="en-US" sz="1600" b="1" noProof="0" dirty="0" smtClean="0">
                          <a:solidFill>
                            <a:srgbClr val="FFFFFF"/>
                          </a:solidFill>
                        </a:rPr>
                        <a:t>Opportunities</a:t>
                      </a:r>
                      <a:endParaRPr lang="en-US" sz="1600" b="1" noProof="0" dirty="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accent1">
                            <a:lumMod val="60000"/>
                            <a:lumOff val="40000"/>
                          </a:schemeClr>
                        </a:gs>
                        <a:gs pos="100000">
                          <a:schemeClr val="accent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noProof="0" dirty="0" smtClean="0">
                          <a:solidFill>
                            <a:srgbClr val="FFFFFF"/>
                          </a:solidFill>
                        </a:rPr>
                        <a:t>Threats</a:t>
                      </a:r>
                      <a:endParaRPr lang="en-US" sz="1600" b="1" noProof="0" dirty="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3B3B"/>
                        </a:gs>
                        <a:gs pos="100000">
                          <a:srgbClr val="C00000"/>
                        </a:gs>
                      </a:gsLst>
                      <a:lin ang="5400000" scaled="0"/>
                    </a:gradFill>
                  </a:tcPr>
                </a:tc>
              </a:tr>
              <a:tr h="482598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new product development in own company 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development of a new product by the competitor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5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own innovation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innovations of the competitor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136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new target groups and buyer levels</a:t>
                      </a:r>
                      <a:endParaRPr lang="en-US" sz="1200" b="0" noProof="0" dirty="0" smtClean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development of new competitor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1136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opening new markets in other countrie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development of new competitive suppliers in other countries 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136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increasing demand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development of over-production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1136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recovery of the overall economy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weakening of the overall economy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1136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loosening or changing of relevant law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limited measures and legislative processe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598"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currency exchange revenues on foreign markets through </a:t>
                      </a:r>
                      <a:br>
                        <a:rPr lang="en-US" sz="1200" noProof="0" dirty="0" smtClean="0"/>
                      </a:br>
                      <a:r>
                        <a:rPr lang="en-US" sz="1200" noProof="0" dirty="0" smtClean="0"/>
                        <a:t>positive change of exchange rate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exchange rate losses on foreign markets through negative changes of the exchange rate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2598">
                <a:tc>
                  <a:txBody>
                    <a:bodyPr/>
                    <a:lstStyle/>
                    <a:p>
                      <a:pPr algn="l"/>
                      <a:endParaRPr lang="en-US" sz="1200" b="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noProof="0" dirty="0" smtClean="0"/>
                        <a:t>technological development / change of base technologies</a:t>
                      </a:r>
                      <a:endParaRPr lang="en-US" sz="1200" b="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079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9" name="Rectangle 3"/>
          <p:cNvSpPr>
            <a:spLocks noGrp="1" noChangeArrowheads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Analysis of internal Company Resources</a:t>
            </a:r>
          </a:p>
        </p:txBody>
      </p:sp>
      <p:sp>
        <p:nvSpPr>
          <p:cNvPr id="37" name="Titel 3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Strength and Weaknesses Analysis</a:t>
            </a:r>
            <a:endParaRPr lang="en-US" dirty="0"/>
          </a:p>
        </p:txBody>
      </p:sp>
      <p:grpSp>
        <p:nvGrpSpPr>
          <p:cNvPr id="2" name="Gruppieren 34"/>
          <p:cNvGrpSpPr/>
          <p:nvPr/>
        </p:nvGrpSpPr>
        <p:grpSpPr>
          <a:xfrm>
            <a:off x="323850" y="1619435"/>
            <a:ext cx="8496300" cy="4182878"/>
            <a:chOff x="323850" y="1619435"/>
            <a:chExt cx="8496300" cy="4182878"/>
          </a:xfrm>
        </p:grpSpPr>
        <p:grpSp>
          <p:nvGrpSpPr>
            <p:cNvPr id="3" name="Gruppieren 29"/>
            <p:cNvGrpSpPr/>
            <p:nvPr/>
          </p:nvGrpSpPr>
          <p:grpSpPr bwMode="gray">
            <a:xfrm>
              <a:off x="323850" y="1619435"/>
              <a:ext cx="2115635" cy="4182878"/>
              <a:chOff x="323850" y="1619435"/>
              <a:chExt cx="2115635" cy="4182878"/>
            </a:xfrm>
          </p:grpSpPr>
          <p:sp>
            <p:nvSpPr>
              <p:cNvPr id="132122" name="AutoShape 7"/>
              <p:cNvSpPr>
                <a:spLocks noChangeArrowheads="1"/>
              </p:cNvSpPr>
              <p:nvPr/>
            </p:nvSpPr>
            <p:spPr bwMode="gray">
              <a:xfrm>
                <a:off x="323850" y="2111029"/>
                <a:ext cx="2115635" cy="741907"/>
              </a:xfrm>
              <a:prstGeom prst="homePlate">
                <a:avLst>
                  <a:gd name="adj" fmla="val 17533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dirty="0" smtClean="0">
                    <a:solidFill>
                      <a:srgbClr val="000000"/>
                    </a:solidFill>
                    <a:cs typeface="Arial" charset="0"/>
                  </a:rPr>
                  <a:t>Evaluation Criteria</a:t>
                </a:r>
              </a:p>
            </p:txBody>
          </p:sp>
          <p:sp>
            <p:nvSpPr>
              <p:cNvPr id="132129" name="Rectangle 14"/>
              <p:cNvSpPr>
                <a:spLocks noChangeArrowheads="1"/>
              </p:cNvSpPr>
              <p:nvPr/>
            </p:nvSpPr>
            <p:spPr bwMode="gray">
              <a:xfrm>
                <a:off x="323850" y="2852936"/>
                <a:ext cx="1991905" cy="294937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216000" rIns="0" bIns="0" anchor="t" anchorCtr="0"/>
              <a:lstStyle/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 smtClean="0"/>
                  <a:t>Identification of companies specific success factors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 smtClean="0"/>
                  <a:t>Derivation of evaluation criteria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endParaRPr lang="en-US" sz="1050" dirty="0" smtClean="0"/>
              </a:p>
            </p:txBody>
          </p:sp>
          <p:grpSp>
            <p:nvGrpSpPr>
              <p:cNvPr id="4" name="Gruppieren 54"/>
              <p:cNvGrpSpPr/>
              <p:nvPr/>
            </p:nvGrpSpPr>
            <p:grpSpPr bwMode="gray">
              <a:xfrm>
                <a:off x="371919" y="1619435"/>
                <a:ext cx="606054" cy="606054"/>
                <a:chOff x="371919" y="1619435"/>
                <a:chExt cx="606054" cy="606054"/>
              </a:xfrm>
            </p:grpSpPr>
            <p:sp>
              <p:nvSpPr>
                <p:cNvPr id="27" name="Ellipse 26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1" name="Ellipse 20"/>
                <p:cNvSpPr/>
                <p:nvPr/>
              </p:nvSpPr>
              <p:spPr bwMode="gray">
                <a:xfrm>
                  <a:off x="43194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2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en-US" sz="3200" b="1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1</a:t>
                  </a:r>
                  <a:endParaRPr lang="en-US" sz="3200" b="1" dirty="0" smtClean="0">
                    <a:solidFill>
                      <a:schemeClr val="bg1">
                        <a:lumMod val="65000"/>
                      </a:schemeClr>
                    </a:solidFill>
                    <a:effectLst>
                      <a:innerShdw blurRad="63500" dist="50800" dir="16200000">
                        <a:prstClr val="black">
                          <a:alpha val="50000"/>
                        </a:prstClr>
                      </a:innerShdw>
                    </a:effectLst>
                  </a:endParaRPr>
                </a:p>
              </p:txBody>
            </p:sp>
            <p:sp>
              <p:nvSpPr>
                <p:cNvPr id="31" name="Halbbogen 30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grpSp>
          <p:nvGrpSpPr>
            <p:cNvPr id="5" name="Gruppieren 31"/>
            <p:cNvGrpSpPr/>
            <p:nvPr/>
          </p:nvGrpSpPr>
          <p:grpSpPr bwMode="gray">
            <a:xfrm>
              <a:off x="2450738" y="1619435"/>
              <a:ext cx="2115635" cy="4182878"/>
              <a:chOff x="2450738" y="1619435"/>
              <a:chExt cx="2115635" cy="4182878"/>
            </a:xfrm>
          </p:grpSpPr>
          <p:sp>
            <p:nvSpPr>
              <p:cNvPr id="132121" name="AutoShape 6"/>
              <p:cNvSpPr>
                <a:spLocks noChangeArrowheads="1"/>
              </p:cNvSpPr>
              <p:nvPr/>
            </p:nvSpPr>
            <p:spPr bwMode="gray">
              <a:xfrm>
                <a:off x="2450738" y="2111029"/>
                <a:ext cx="2115635" cy="741907"/>
              </a:xfrm>
              <a:prstGeom prst="chevron">
                <a:avLst>
                  <a:gd name="adj" fmla="val 17533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dirty="0" smtClean="0">
                    <a:solidFill>
                      <a:srgbClr val="000000"/>
                    </a:solidFill>
                    <a:cs typeface="Arial" charset="0"/>
                  </a:rPr>
                  <a:t>Evaluation Process</a:t>
                </a:r>
              </a:p>
            </p:txBody>
          </p:sp>
          <p:sp>
            <p:nvSpPr>
              <p:cNvPr id="132130" name="Rectangle 15"/>
              <p:cNvSpPr>
                <a:spLocks noChangeArrowheads="1"/>
              </p:cNvSpPr>
              <p:nvPr/>
            </p:nvSpPr>
            <p:spPr bwMode="gray">
              <a:xfrm>
                <a:off x="2450981" y="2852936"/>
                <a:ext cx="1991905" cy="294937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216000" rIns="0" bIns="0" anchor="t" anchorCtr="0"/>
              <a:lstStyle/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/>
                  <a:t>Weighting of </a:t>
                </a:r>
                <a:r>
                  <a:rPr lang="en-US" sz="1050" dirty="0" smtClean="0"/>
                  <a:t>evaluation criteria (optional)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 smtClean="0"/>
                  <a:t>Determination of evaluation scale</a:t>
                </a:r>
              </a:p>
            </p:txBody>
          </p:sp>
          <p:grpSp>
            <p:nvGrpSpPr>
              <p:cNvPr id="6" name="Gruppieren 55"/>
              <p:cNvGrpSpPr/>
              <p:nvPr/>
            </p:nvGrpSpPr>
            <p:grpSpPr bwMode="gray">
              <a:xfrm>
                <a:off x="2514238" y="1619435"/>
                <a:ext cx="606054" cy="606054"/>
                <a:chOff x="371919" y="1619435"/>
                <a:chExt cx="606054" cy="606054"/>
              </a:xfrm>
            </p:grpSpPr>
            <p:sp>
              <p:nvSpPr>
                <p:cNvPr id="57" name="Ellipse 56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8" name="Ellipse 57"/>
                <p:cNvSpPr/>
                <p:nvPr/>
              </p:nvSpPr>
              <p:spPr bwMode="gray">
                <a:xfrm>
                  <a:off x="43194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2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en-US" sz="3200" b="1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2</a:t>
                  </a:r>
                  <a:endParaRPr lang="en-US" sz="3200" b="1" dirty="0" smtClean="0">
                    <a:solidFill>
                      <a:schemeClr val="bg1">
                        <a:lumMod val="65000"/>
                      </a:schemeClr>
                    </a:solidFill>
                    <a:effectLst>
                      <a:innerShdw blurRad="63500" dist="50800" dir="16200000">
                        <a:prstClr val="black">
                          <a:alpha val="50000"/>
                        </a:prstClr>
                      </a:innerShdw>
                    </a:effectLst>
                  </a:endParaRPr>
                </a:p>
              </p:txBody>
            </p:sp>
            <p:sp>
              <p:nvSpPr>
                <p:cNvPr id="59" name="Halbbogen 58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grpSp>
          <p:nvGrpSpPr>
            <p:cNvPr id="7" name="Gruppieren 32"/>
            <p:cNvGrpSpPr/>
            <p:nvPr/>
          </p:nvGrpSpPr>
          <p:grpSpPr bwMode="gray">
            <a:xfrm>
              <a:off x="4577627" y="1619435"/>
              <a:ext cx="2115635" cy="4182878"/>
              <a:chOff x="4577627" y="1619435"/>
              <a:chExt cx="2115635" cy="4182878"/>
            </a:xfrm>
          </p:grpSpPr>
          <p:sp>
            <p:nvSpPr>
              <p:cNvPr id="132124" name="AutoShape 9"/>
              <p:cNvSpPr>
                <a:spLocks noChangeArrowheads="1"/>
              </p:cNvSpPr>
              <p:nvPr/>
            </p:nvSpPr>
            <p:spPr bwMode="gray">
              <a:xfrm>
                <a:off x="4577627" y="2111029"/>
                <a:ext cx="2115635" cy="741907"/>
              </a:xfrm>
              <a:prstGeom prst="chevron">
                <a:avLst>
                  <a:gd name="adj" fmla="val 17533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dirty="0" smtClean="0">
                    <a:solidFill>
                      <a:srgbClr val="000000"/>
                    </a:solidFill>
                    <a:cs typeface="Arial" charset="0"/>
                  </a:rPr>
                  <a:t>Rating</a:t>
                </a:r>
              </a:p>
            </p:txBody>
          </p:sp>
          <p:sp>
            <p:nvSpPr>
              <p:cNvPr id="132131" name="Rectangle 16"/>
              <p:cNvSpPr>
                <a:spLocks noChangeArrowheads="1"/>
              </p:cNvSpPr>
              <p:nvPr/>
            </p:nvSpPr>
            <p:spPr bwMode="gray">
              <a:xfrm>
                <a:off x="4578112" y="2852936"/>
                <a:ext cx="1991905" cy="294937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216000" rIns="0" bIns="0" anchor="t" anchorCtr="0"/>
              <a:lstStyle/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 smtClean="0"/>
                  <a:t>Identification of all </a:t>
                </a:r>
                <a:br>
                  <a:rPr lang="en-US" sz="1050" dirty="0" smtClean="0"/>
                </a:br>
                <a:r>
                  <a:rPr lang="en-US" sz="1050" dirty="0" smtClean="0"/>
                  <a:t>participants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defRPr/>
                </a:pPr>
                <a:r>
                  <a:rPr lang="en-US" sz="1050" dirty="0" smtClean="0"/>
                  <a:t>Evaluation of criteria</a:t>
                </a:r>
                <a:br>
                  <a:rPr lang="en-US" sz="1050" dirty="0" smtClean="0"/>
                </a:br>
                <a:r>
                  <a:rPr lang="en-US" sz="1050" dirty="0" smtClean="0"/>
                  <a:t>in relation to competitors</a:t>
                </a:r>
              </a:p>
            </p:txBody>
          </p:sp>
          <p:grpSp>
            <p:nvGrpSpPr>
              <p:cNvPr id="8" name="Gruppieren 59"/>
              <p:cNvGrpSpPr/>
              <p:nvPr/>
            </p:nvGrpSpPr>
            <p:grpSpPr bwMode="gray">
              <a:xfrm>
                <a:off x="4641127" y="1619435"/>
                <a:ext cx="606054" cy="606054"/>
                <a:chOff x="371919" y="1619435"/>
                <a:chExt cx="606054" cy="606054"/>
              </a:xfrm>
            </p:grpSpPr>
            <p:sp>
              <p:nvSpPr>
                <p:cNvPr id="61" name="Ellipse 60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2" name="Ellipse 61"/>
                <p:cNvSpPr/>
                <p:nvPr/>
              </p:nvSpPr>
              <p:spPr bwMode="gray">
                <a:xfrm>
                  <a:off x="43194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2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en-US" sz="3200" b="1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3</a:t>
                  </a:r>
                  <a:endParaRPr lang="en-US" sz="3200" b="1" dirty="0" smtClean="0">
                    <a:solidFill>
                      <a:schemeClr val="bg1">
                        <a:lumMod val="65000"/>
                      </a:schemeClr>
                    </a:solidFill>
                    <a:effectLst>
                      <a:innerShdw blurRad="63500" dist="50800" dir="16200000">
                        <a:prstClr val="black">
                          <a:alpha val="50000"/>
                        </a:prstClr>
                      </a:innerShdw>
                    </a:effectLst>
                  </a:endParaRPr>
                </a:p>
              </p:txBody>
            </p:sp>
            <p:sp>
              <p:nvSpPr>
                <p:cNvPr id="63" name="Halbbogen 62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grpSp>
          <p:nvGrpSpPr>
            <p:cNvPr id="9" name="Gruppieren 33"/>
            <p:cNvGrpSpPr/>
            <p:nvPr/>
          </p:nvGrpSpPr>
          <p:grpSpPr bwMode="gray">
            <a:xfrm>
              <a:off x="6703662" y="1619435"/>
              <a:ext cx="2116488" cy="4182878"/>
              <a:chOff x="6703662" y="1619435"/>
              <a:chExt cx="2116488" cy="4182878"/>
            </a:xfrm>
          </p:grpSpPr>
          <p:sp>
            <p:nvSpPr>
              <p:cNvPr id="132123" name="AutoShape 8"/>
              <p:cNvSpPr>
                <a:spLocks noChangeArrowheads="1"/>
              </p:cNvSpPr>
              <p:nvPr/>
            </p:nvSpPr>
            <p:spPr bwMode="gray">
              <a:xfrm>
                <a:off x="6704515" y="2111029"/>
                <a:ext cx="2115635" cy="741907"/>
              </a:xfrm>
              <a:prstGeom prst="chevron">
                <a:avLst>
                  <a:gd name="adj" fmla="val 17533"/>
                </a:avLst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dirty="0" smtClean="0">
                    <a:solidFill>
                      <a:srgbClr val="000000"/>
                    </a:solidFill>
                    <a:cs typeface="Arial" charset="0"/>
                  </a:rPr>
                  <a:t>Evaluation</a:t>
                </a:r>
              </a:p>
            </p:txBody>
          </p:sp>
          <p:sp>
            <p:nvSpPr>
              <p:cNvPr id="132132" name="Rectangle 17"/>
              <p:cNvSpPr>
                <a:spLocks noChangeArrowheads="1"/>
              </p:cNvSpPr>
              <p:nvPr/>
            </p:nvSpPr>
            <p:spPr bwMode="gray">
              <a:xfrm>
                <a:off x="6703662" y="2852936"/>
                <a:ext cx="1993487" cy="294937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216000" rIns="0" bIns="0" anchor="t" anchorCtr="0"/>
              <a:lstStyle/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tabLst>
                    <a:tab pos="180975" algn="l"/>
                  </a:tabLst>
                  <a:defRPr/>
                </a:pPr>
                <a:r>
                  <a:rPr lang="en-US" sz="1050" dirty="0" smtClean="0"/>
                  <a:t>Discussion about positive </a:t>
                </a:r>
                <a:br>
                  <a:rPr lang="en-US" sz="1050" dirty="0" smtClean="0"/>
                </a:br>
                <a:r>
                  <a:rPr lang="en-US" sz="1050" dirty="0" smtClean="0"/>
                  <a:t>and negative </a:t>
                </a:r>
                <a:br>
                  <a:rPr lang="en-US" sz="1050" dirty="0" smtClean="0"/>
                </a:br>
                <a:r>
                  <a:rPr lang="en-US" sz="1050" dirty="0" smtClean="0"/>
                  <a:t>outlier values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tabLst>
                    <a:tab pos="180975" algn="l"/>
                  </a:tabLst>
                  <a:defRPr/>
                </a:pPr>
                <a:r>
                  <a:rPr lang="en-US" sz="1050" dirty="0" smtClean="0"/>
                  <a:t>Derivation of significant </a:t>
                </a:r>
                <a:br>
                  <a:rPr lang="en-US" sz="1050" dirty="0" smtClean="0"/>
                </a:br>
                <a:r>
                  <a:rPr lang="en-US" sz="1050" dirty="0" smtClean="0"/>
                  <a:t>strength and weaknesses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tabLst>
                    <a:tab pos="180975" algn="l"/>
                  </a:tabLst>
                  <a:defRPr/>
                </a:pPr>
                <a:r>
                  <a:rPr lang="en-US" sz="1050" dirty="0" smtClean="0"/>
                  <a:t>Creating improvement suggestions</a:t>
                </a:r>
              </a:p>
              <a:p>
                <a:pPr marL="180975" indent="-180975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buFont typeface="Wingdings" pitchFamily="2" charset="2"/>
                  <a:buChar char="§"/>
                  <a:tabLst>
                    <a:tab pos="180975" algn="l"/>
                  </a:tabLst>
                  <a:defRPr/>
                </a:pPr>
                <a:r>
                  <a:rPr lang="en-US" sz="1050" dirty="0" smtClean="0"/>
                  <a:t>Creating measures </a:t>
                </a:r>
                <a:br>
                  <a:rPr lang="en-US" sz="1050" dirty="0" smtClean="0"/>
                </a:br>
                <a:r>
                  <a:rPr lang="en-US" sz="1050" dirty="0" smtClean="0"/>
                  <a:t>catalogue</a:t>
                </a:r>
              </a:p>
            </p:txBody>
          </p:sp>
          <p:grpSp>
            <p:nvGrpSpPr>
              <p:cNvPr id="10" name="Gruppieren 63"/>
              <p:cNvGrpSpPr/>
              <p:nvPr/>
            </p:nvGrpSpPr>
            <p:grpSpPr bwMode="gray">
              <a:xfrm>
                <a:off x="6768015" y="1619435"/>
                <a:ext cx="606054" cy="606054"/>
                <a:chOff x="371919" y="1619435"/>
                <a:chExt cx="606054" cy="606054"/>
              </a:xfrm>
            </p:grpSpPr>
            <p:sp>
              <p:nvSpPr>
                <p:cNvPr id="65" name="Ellipse 64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6" name="Ellipse 65"/>
                <p:cNvSpPr/>
                <p:nvPr/>
              </p:nvSpPr>
              <p:spPr bwMode="gray">
                <a:xfrm>
                  <a:off x="43194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2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rtlCol="0" anchor="ctr"/>
                <a:lstStyle/>
                <a:p>
                  <a:pPr algn="ctr"/>
                  <a:r>
                    <a:rPr lang="en-US" sz="3200" b="1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4</a:t>
                  </a:r>
                  <a:endParaRPr lang="en-US" sz="3200" b="1" dirty="0" smtClean="0">
                    <a:solidFill>
                      <a:schemeClr val="bg1">
                        <a:lumMod val="65000"/>
                      </a:schemeClr>
                    </a:solidFill>
                    <a:effectLst>
                      <a:innerShdw blurRad="63500" dist="50800" dir="16200000">
                        <a:prstClr val="black">
                          <a:alpha val="50000"/>
                        </a:prstClr>
                      </a:innerShdw>
                    </a:effectLst>
                  </a:endParaRPr>
                </a:p>
              </p:txBody>
            </p:sp>
            <p:sp>
              <p:nvSpPr>
                <p:cNvPr id="67" name="Halbbogen 66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Tabel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373263"/>
              </p:ext>
            </p:extLst>
          </p:nvPr>
        </p:nvGraphicFramePr>
        <p:xfrm>
          <a:off x="323848" y="1555742"/>
          <a:ext cx="8497095" cy="4246570"/>
        </p:xfrm>
        <a:graphic>
          <a:graphicData uri="http://schemas.openxmlformats.org/drawingml/2006/table">
            <a:tbl>
              <a:tblPr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229181"/>
                <a:gridCol w="3009640"/>
                <a:gridCol w="460680"/>
                <a:gridCol w="460680"/>
                <a:gridCol w="460680"/>
                <a:gridCol w="460680"/>
                <a:gridCol w="460680"/>
                <a:gridCol w="1954874"/>
              </a:tblGrid>
              <a:tr h="282095">
                <a:tc rowSpan="2">
                  <a:txBody>
                    <a:bodyPr/>
                    <a:lstStyle/>
                    <a:p>
                      <a:r>
                        <a:rPr lang="en-US" sz="1100" b="1" noProof="0" dirty="0" smtClean="0"/>
                        <a:t>Sector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sz="1100" b="1" noProof="0" dirty="0" smtClean="0"/>
                        <a:t>Success Factor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Relevance</a:t>
                      </a:r>
                      <a:endParaRPr lang="en-US" sz="1100" b="1" noProof="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sz="1100" b="1" noProof="0" dirty="0" smtClean="0"/>
                        <a:t>Notes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</a:tr>
              <a:tr h="282095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1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2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3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4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5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84119">
                <a:tc rowSpan="20">
                  <a:txBody>
                    <a:bodyPr/>
                    <a:lstStyle/>
                    <a:p>
                      <a:r>
                        <a:rPr lang="en-US" sz="1100" b="1" noProof="0" dirty="0" smtClean="0"/>
                        <a:t>Marketing and Sales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Range of service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Pricing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Image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Market share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Market growth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Sales development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Distribution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Sales network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Advertising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Complaint management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Adherence to schedules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Customer structure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Order processing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619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900" u="none" strike="noStrike" cap="none" normalizeH="0" baseline="0" noProof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Sensitivity to economic situations</a:t>
                      </a:r>
                      <a:endParaRPr kumimoji="0" lang="en-U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Customer service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Market cultivation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Sales representatives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Market research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Sales planning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4119">
                <a:tc vMerge="1"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36000" marB="3600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noProof="0" dirty="0" smtClean="0"/>
                        <a:t>Customer loyalty</a:t>
                      </a:r>
                      <a:endParaRPr lang="en-US" sz="900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900" b="1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9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mtClean="0"/>
              <a:t>Strength and Weaknesses Analysis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alysis of internal Company Resources</a:t>
            </a:r>
          </a:p>
        </p:txBody>
      </p:sp>
      <p:grpSp>
        <p:nvGrpSpPr>
          <p:cNvPr id="2" name="Gruppieren 170"/>
          <p:cNvGrpSpPr/>
          <p:nvPr/>
        </p:nvGrpSpPr>
        <p:grpSpPr>
          <a:xfrm>
            <a:off x="5195320" y="215791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3" name="Ellipse 122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4" name="Ellipse 123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" name="Gruppieren 173"/>
          <p:cNvGrpSpPr/>
          <p:nvPr/>
        </p:nvGrpSpPr>
        <p:grpSpPr>
          <a:xfrm>
            <a:off x="6112870" y="289598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6" name="Ellipse 125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Ellipse 126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" name="Gruppieren 167"/>
          <p:cNvGrpSpPr/>
          <p:nvPr/>
        </p:nvGrpSpPr>
        <p:grpSpPr>
          <a:xfrm>
            <a:off x="5664645" y="252453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9" name="Ellipse 128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Ellipse 129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" name="Gruppieren 167"/>
          <p:cNvGrpSpPr/>
          <p:nvPr/>
        </p:nvGrpSpPr>
        <p:grpSpPr>
          <a:xfrm>
            <a:off x="5193539" y="2344370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2" name="Ellipse 131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3" name="Ellipse 132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" name="Gruppieren 173"/>
          <p:cNvGrpSpPr/>
          <p:nvPr/>
        </p:nvGrpSpPr>
        <p:grpSpPr>
          <a:xfrm>
            <a:off x="6112870" y="3082440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5" name="Ellipse 134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6" name="Ellipse 135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" name="Gruppieren 176"/>
          <p:cNvGrpSpPr/>
          <p:nvPr/>
        </p:nvGrpSpPr>
        <p:grpSpPr>
          <a:xfrm>
            <a:off x="4734342" y="2709528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8" name="Ellipse 137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9" name="Ellipse 138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uppieren 176"/>
          <p:cNvGrpSpPr/>
          <p:nvPr/>
        </p:nvGrpSpPr>
        <p:grpSpPr>
          <a:xfrm>
            <a:off x="4734342" y="326428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1" name="Ellipse 140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2" name="Ellipse 141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Gruppieren 176"/>
          <p:cNvGrpSpPr/>
          <p:nvPr/>
        </p:nvGrpSpPr>
        <p:grpSpPr>
          <a:xfrm>
            <a:off x="4734342" y="345181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4" name="Ellipse 143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5" name="Ellipse 144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uppieren 176"/>
          <p:cNvGrpSpPr/>
          <p:nvPr/>
        </p:nvGrpSpPr>
        <p:grpSpPr>
          <a:xfrm>
            <a:off x="4734342" y="4180857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7" name="Ellipse 146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Ellipse 14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uppieren 167"/>
          <p:cNvGrpSpPr/>
          <p:nvPr/>
        </p:nvGrpSpPr>
        <p:grpSpPr>
          <a:xfrm>
            <a:off x="5193539" y="363258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0" name="Ellipse 149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1" name="Ellipse 150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" name="Gruppieren 167"/>
          <p:cNvGrpSpPr/>
          <p:nvPr/>
        </p:nvGrpSpPr>
        <p:grpSpPr>
          <a:xfrm>
            <a:off x="5193539" y="4369184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3" name="Ellipse 152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4" name="Ellipse 153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" name="Gruppieren 167"/>
          <p:cNvGrpSpPr/>
          <p:nvPr/>
        </p:nvGrpSpPr>
        <p:grpSpPr>
          <a:xfrm>
            <a:off x="5193539" y="4917457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6" name="Ellipse 155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7" name="Ellipse 156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uppieren 167"/>
          <p:cNvGrpSpPr/>
          <p:nvPr/>
        </p:nvGrpSpPr>
        <p:grpSpPr>
          <a:xfrm>
            <a:off x="5193539" y="5654060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9" name="Ellipse 158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0" name="Ellipse 159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uppieren 167"/>
          <p:cNvGrpSpPr/>
          <p:nvPr/>
        </p:nvGrpSpPr>
        <p:grpSpPr>
          <a:xfrm>
            <a:off x="5664645" y="3816298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2" name="Ellipse 161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3" name="Ellipse 162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uppieren 167"/>
          <p:cNvGrpSpPr/>
          <p:nvPr/>
        </p:nvGrpSpPr>
        <p:grpSpPr>
          <a:xfrm>
            <a:off x="5664645" y="3995197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Ellipse 164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6" name="Ellipse 165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uppieren 167"/>
          <p:cNvGrpSpPr/>
          <p:nvPr/>
        </p:nvGrpSpPr>
        <p:grpSpPr>
          <a:xfrm>
            <a:off x="5664645" y="4730697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8" name="Ellipse 167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9" name="Ellipse 168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0" name="Gruppieren 173"/>
          <p:cNvGrpSpPr/>
          <p:nvPr/>
        </p:nvGrpSpPr>
        <p:grpSpPr>
          <a:xfrm>
            <a:off x="6112870" y="4550900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1" name="Ellipse 170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2" name="Ellipse 171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1" name="Gruppieren 173"/>
          <p:cNvGrpSpPr/>
          <p:nvPr/>
        </p:nvGrpSpPr>
        <p:grpSpPr>
          <a:xfrm>
            <a:off x="6577081" y="5103913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4" name="Ellipse 173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5" name="Ellipse 174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2" name="Gruppieren 173"/>
          <p:cNvGrpSpPr/>
          <p:nvPr/>
        </p:nvGrpSpPr>
        <p:grpSpPr>
          <a:xfrm>
            <a:off x="6577081" y="5282812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7" name="Ellipse 176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8" name="Ellipse 17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3" name="Gruppieren 173"/>
          <p:cNvGrpSpPr/>
          <p:nvPr/>
        </p:nvGrpSpPr>
        <p:grpSpPr>
          <a:xfrm>
            <a:off x="6577081" y="5464622"/>
            <a:ext cx="126000" cy="126000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0" name="Ellipse 179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1" name="Ellipse 180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" name="Tabelle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293659"/>
              </p:ext>
            </p:extLst>
          </p:nvPr>
        </p:nvGraphicFramePr>
        <p:xfrm>
          <a:off x="323856" y="1555744"/>
          <a:ext cx="8555844" cy="4245540"/>
        </p:xfrm>
        <a:graphic>
          <a:graphicData uri="http://schemas.openxmlformats.org/drawingml/2006/table">
            <a:tbl>
              <a:tblPr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476369"/>
                <a:gridCol w="672749"/>
                <a:gridCol w="672749"/>
                <a:gridCol w="672749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217552"/>
                <a:gridCol w="927740"/>
              </a:tblGrid>
              <a:tr h="180270">
                <a:tc rowSpan="3">
                  <a:txBody>
                    <a:bodyPr/>
                    <a:lstStyle/>
                    <a:p>
                      <a:r>
                        <a:rPr lang="en-US" sz="1100" b="1" noProof="0" dirty="0" smtClean="0"/>
                        <a:t>Success Factors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Weighting 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 gridSpan="19">
                  <a:txBody>
                    <a:bodyPr/>
                    <a:lstStyle/>
                    <a:p>
                      <a:pPr algn="ctr"/>
                      <a:r>
                        <a:rPr lang="en-US" sz="1100" b="1" noProof="0" dirty="0" smtClean="0"/>
                        <a:t>Evaluation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100" b="1" noProof="0" dirty="0" smtClean="0"/>
                        <a:t>Notes</a:t>
                      </a:r>
                      <a:endParaRPr lang="en-US" sz="11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FFFF"/>
                        </a:gs>
                        <a:gs pos="100000">
                          <a:srgbClr val="D7D7D7"/>
                        </a:gs>
                      </a:gsLst>
                      <a:lin ang="5400000" scaled="1"/>
                    </a:gradFill>
                  </a:tcPr>
                </a:tc>
              </a:tr>
              <a:tr h="180270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low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medium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high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poor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neutral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US" sz="1000" b="1" noProof="0" dirty="0" smtClean="0"/>
                        <a:t>good</a:t>
                      </a:r>
                      <a:endParaRPr lang="en-US" sz="1000" b="1" noProof="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80270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9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8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7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6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5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4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3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2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1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0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1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2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3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4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5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6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7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8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 smtClean="0"/>
                        <a:t>9</a:t>
                      </a:r>
                      <a:endParaRPr lang="de-DE" sz="10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70473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…</a:t>
                      </a:r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dirty="0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77827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alysis of internal Company Resources</a:t>
            </a:r>
          </a:p>
        </p:txBody>
      </p:sp>
      <p:cxnSp>
        <p:nvCxnSpPr>
          <p:cNvPr id="121" name="Gerade Verbindung 120"/>
          <p:cNvCxnSpPr>
            <a:stCxn id="131" idx="1"/>
            <a:endCxn id="128" idx="1"/>
          </p:cNvCxnSpPr>
          <p:nvPr/>
        </p:nvCxnSpPr>
        <p:spPr>
          <a:xfrm rot="16200000" flipH="1">
            <a:off x="5923943" y="2264403"/>
            <a:ext cx="368300" cy="43556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stCxn id="134" idx="0"/>
            <a:endCxn id="137" idx="1"/>
          </p:cNvCxnSpPr>
          <p:nvPr/>
        </p:nvCxnSpPr>
        <p:spPr>
          <a:xfrm rot="16200000" flipH="1" flipV="1">
            <a:off x="4955422" y="2466656"/>
            <a:ext cx="368876" cy="150368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122"/>
          <p:cNvCxnSpPr>
            <a:stCxn id="137" idx="1"/>
            <a:endCxn id="140" idx="2"/>
          </p:cNvCxnSpPr>
          <p:nvPr/>
        </p:nvCxnSpPr>
        <p:spPr>
          <a:xfrm rot="16200000" flipH="1">
            <a:off x="4954032" y="2836922"/>
            <a:ext cx="369690" cy="150171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123"/>
          <p:cNvCxnSpPr>
            <a:stCxn id="140" idx="1"/>
            <a:endCxn id="143" idx="2"/>
          </p:cNvCxnSpPr>
          <p:nvPr/>
        </p:nvCxnSpPr>
        <p:spPr>
          <a:xfrm rot="16200000" flipH="1" flipV="1">
            <a:off x="5705178" y="3955792"/>
            <a:ext cx="369690" cy="57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124"/>
          <p:cNvCxnSpPr>
            <a:stCxn id="143" idx="2"/>
            <a:endCxn id="150" idx="1"/>
          </p:cNvCxnSpPr>
          <p:nvPr/>
        </p:nvCxnSpPr>
        <p:spPr>
          <a:xfrm rot="10800000" flipH="1" flipV="1">
            <a:off x="5889735" y="4140925"/>
            <a:ext cx="516492" cy="36691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70"/>
          <p:cNvGrpSpPr/>
          <p:nvPr/>
        </p:nvGrpSpPr>
        <p:grpSpPr>
          <a:xfrm>
            <a:off x="5813316" y="22209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0" name="Ellipse 129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1" name="Ellipse 130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82" name="Gerade Verbindung 181"/>
          <p:cNvCxnSpPr>
            <a:stCxn id="128" idx="0"/>
            <a:endCxn id="134" idx="0"/>
          </p:cNvCxnSpPr>
          <p:nvPr/>
        </p:nvCxnSpPr>
        <p:spPr>
          <a:xfrm rot="16200000" flipH="1" flipV="1">
            <a:off x="5925334" y="2632126"/>
            <a:ext cx="368300" cy="43556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173"/>
          <p:cNvGrpSpPr/>
          <p:nvPr/>
        </p:nvGrpSpPr>
        <p:grpSpPr>
          <a:xfrm>
            <a:off x="5813316" y="29575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3" name="Ellipse 132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4" name="Ellipse 133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" name="Gruppieren 176"/>
          <p:cNvGrpSpPr/>
          <p:nvPr/>
        </p:nvGrpSpPr>
        <p:grpSpPr>
          <a:xfrm>
            <a:off x="4311024" y="33258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6" name="Ellipse 135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7" name="Ellipse 136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5" name="Gruppieren 179"/>
          <p:cNvGrpSpPr/>
          <p:nvPr/>
        </p:nvGrpSpPr>
        <p:grpSpPr>
          <a:xfrm>
            <a:off x="5813316" y="36941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9" name="Ellipse 138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0" name="Ellipse 139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6" name="Gruppieren 182"/>
          <p:cNvGrpSpPr/>
          <p:nvPr/>
        </p:nvGrpSpPr>
        <p:grpSpPr>
          <a:xfrm>
            <a:off x="5813316" y="40624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2" name="Ellipse 141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3" name="Ellipse 142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57" name="Gerade Verbindung 156"/>
          <p:cNvCxnSpPr>
            <a:stCxn id="150" idx="1"/>
            <a:endCxn id="153" idx="0"/>
          </p:cNvCxnSpPr>
          <p:nvPr/>
        </p:nvCxnSpPr>
        <p:spPr>
          <a:xfrm rot="16200000" flipH="1">
            <a:off x="6923343" y="3990719"/>
            <a:ext cx="367724" cy="140195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>
            <a:stCxn id="153" idx="1"/>
            <a:endCxn id="156" idx="1"/>
          </p:cNvCxnSpPr>
          <p:nvPr/>
        </p:nvCxnSpPr>
        <p:spPr>
          <a:xfrm rot="16200000" flipH="1" flipV="1">
            <a:off x="7344038" y="4781679"/>
            <a:ext cx="368300" cy="55721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58"/>
          <p:cNvCxnSpPr>
            <a:stCxn id="156" idx="2"/>
            <a:endCxn id="147" idx="1"/>
          </p:cNvCxnSpPr>
          <p:nvPr/>
        </p:nvCxnSpPr>
        <p:spPr>
          <a:xfrm rot="10800000" flipV="1">
            <a:off x="5890312" y="5245824"/>
            <a:ext cx="1358695" cy="36691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167"/>
          <p:cNvGrpSpPr/>
          <p:nvPr/>
        </p:nvGrpSpPr>
        <p:grpSpPr>
          <a:xfrm>
            <a:off x="6248881" y="25892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7" name="Ellipse 126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8" name="Ellipse 12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8" name="Gruppieren 182"/>
          <p:cNvGrpSpPr/>
          <p:nvPr/>
        </p:nvGrpSpPr>
        <p:grpSpPr>
          <a:xfrm>
            <a:off x="5813316" y="5535617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6" name="Ellipse 145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7" name="Ellipse 146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9" name="Gruppieren 182"/>
          <p:cNvGrpSpPr/>
          <p:nvPr/>
        </p:nvGrpSpPr>
        <p:grpSpPr>
          <a:xfrm>
            <a:off x="7172587" y="51673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5" name="Ellipse 154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6" name="Ellipse 155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0" name="Gruppieren 182"/>
          <p:cNvGrpSpPr/>
          <p:nvPr/>
        </p:nvGrpSpPr>
        <p:grpSpPr>
          <a:xfrm>
            <a:off x="7729799" y="47990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2" name="Ellipse 151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3" name="Ellipse 152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1" name="Gruppieren 182"/>
          <p:cNvGrpSpPr/>
          <p:nvPr/>
        </p:nvGrpSpPr>
        <p:grpSpPr>
          <a:xfrm>
            <a:off x="6329232" y="4430714"/>
            <a:ext cx="157284" cy="157284"/>
            <a:chOff x="5609085" y="2826444"/>
            <a:chExt cx="144006" cy="1440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9" name="Ellipse 148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0" name="Ellipse 149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85" name="Richtungspfeil 184"/>
          <p:cNvSpPr/>
          <p:nvPr/>
        </p:nvSpPr>
        <p:spPr bwMode="auto">
          <a:xfrm rot="16200000">
            <a:off x="5581649" y="5372099"/>
            <a:ext cx="609601" cy="1524000"/>
          </a:xfrm>
          <a:prstGeom prst="homePlate">
            <a:avLst>
              <a:gd name="adj" fmla="val 23077"/>
            </a:avLst>
          </a:prstGeom>
          <a:gradFill flip="none" rotWithShape="0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" lIns="0" tIns="36000" rIns="72000" bIns="36000" anchor="ctr" anchorCtr="0"/>
          <a:lstStyle/>
          <a:p>
            <a:pPr algn="ctr">
              <a:spcBef>
                <a:spcPct val="5000"/>
              </a:spcBef>
              <a:tabLst>
                <a:tab pos="1168400" algn="l"/>
              </a:tabLst>
            </a:pPr>
            <a:r>
              <a:rPr lang="en-US" sz="1000" dirty="0"/>
              <a:t>Just move spheres </a:t>
            </a:r>
            <a:r>
              <a:rPr lang="en-US" sz="1000" dirty="0" smtClean="0"/>
              <a:t>depending on </a:t>
            </a:r>
            <a:r>
              <a:rPr lang="en-US" sz="1000" dirty="0"/>
              <a:t>characteristics to left/right</a:t>
            </a:r>
          </a:p>
        </p:txBody>
      </p:sp>
      <p:sp>
        <p:nvSpPr>
          <p:cNvPr id="78" name="Titel 7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ength and Weaknesses Analysis</a:t>
            </a:r>
            <a:endParaRPr lang="en-US" dirty="0"/>
          </a:p>
        </p:txBody>
      </p:sp>
      <p:cxnSp>
        <p:nvCxnSpPr>
          <p:cNvPr id="81" name="Gerade Verbindung 80"/>
          <p:cNvCxnSpPr>
            <a:stCxn id="88" idx="1"/>
            <a:endCxn id="141" idx="1"/>
          </p:cNvCxnSpPr>
          <p:nvPr/>
        </p:nvCxnSpPr>
        <p:spPr>
          <a:xfrm rot="16200000" flipH="1" flipV="1">
            <a:off x="2280811" y="2141360"/>
            <a:ext cx="368300" cy="68165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>
            <a:stCxn id="92" idx="0"/>
            <a:endCxn id="95" idx="1"/>
          </p:cNvCxnSpPr>
          <p:nvPr/>
        </p:nvCxnSpPr>
        <p:spPr>
          <a:xfrm rot="16200000" flipH="1" flipV="1">
            <a:off x="2280107" y="2875865"/>
            <a:ext cx="368876" cy="68526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/>
          <p:cNvCxnSpPr>
            <a:stCxn id="95" idx="1"/>
            <a:endCxn id="98" idx="2"/>
          </p:cNvCxnSpPr>
          <p:nvPr/>
        </p:nvCxnSpPr>
        <p:spPr>
          <a:xfrm rot="16200000" flipH="1">
            <a:off x="2278716" y="3246132"/>
            <a:ext cx="369690" cy="68329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83"/>
          <p:cNvCxnSpPr>
            <a:stCxn id="98" idx="1"/>
            <a:endCxn id="111" idx="2"/>
          </p:cNvCxnSpPr>
          <p:nvPr/>
        </p:nvCxnSpPr>
        <p:spPr>
          <a:xfrm rot="16200000" flipH="1">
            <a:off x="2963186" y="3613835"/>
            <a:ext cx="369690" cy="6844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84"/>
          <p:cNvCxnSpPr>
            <a:stCxn id="111" idx="2"/>
            <a:endCxn id="166" idx="1"/>
          </p:cNvCxnSpPr>
          <p:nvPr/>
        </p:nvCxnSpPr>
        <p:spPr>
          <a:xfrm rot="10800000" flipH="1" flipV="1">
            <a:off x="3490276" y="4140925"/>
            <a:ext cx="2285" cy="36691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70"/>
          <p:cNvGrpSpPr/>
          <p:nvPr/>
        </p:nvGrpSpPr>
        <p:grpSpPr>
          <a:xfrm>
            <a:off x="2728791" y="22209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7" name="Ellipse 86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8" name="Ellipse 8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89" name="Gerade Verbindung 88"/>
          <p:cNvCxnSpPr>
            <a:stCxn id="141" idx="0"/>
            <a:endCxn id="92" idx="0"/>
          </p:cNvCxnSpPr>
          <p:nvPr/>
        </p:nvCxnSpPr>
        <p:spPr>
          <a:xfrm rot="16200000" flipH="1">
            <a:off x="2282201" y="2509084"/>
            <a:ext cx="368300" cy="68165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73"/>
          <p:cNvGrpSpPr/>
          <p:nvPr/>
        </p:nvGrpSpPr>
        <p:grpSpPr>
          <a:xfrm>
            <a:off x="2728791" y="29575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1" name="Ellipse 90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2" name="Ellipse 91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4" name="Gruppieren 176"/>
          <p:cNvGrpSpPr/>
          <p:nvPr/>
        </p:nvGrpSpPr>
        <p:grpSpPr>
          <a:xfrm>
            <a:off x="2044918" y="33258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4" name="Ellipse 93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5" name="Ellipse 94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5" name="Gruppieren 179"/>
          <p:cNvGrpSpPr/>
          <p:nvPr/>
        </p:nvGrpSpPr>
        <p:grpSpPr>
          <a:xfrm>
            <a:off x="2728791" y="36941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7" name="Ellipse 96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8" name="Ellipse 9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6" name="Gruppieren 182"/>
          <p:cNvGrpSpPr/>
          <p:nvPr/>
        </p:nvGrpSpPr>
        <p:grpSpPr>
          <a:xfrm>
            <a:off x="3413858" y="40624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Ellipse 100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11" name="Ellipse 110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26" name="Gerade Verbindung 125"/>
          <p:cNvCxnSpPr>
            <a:stCxn id="166" idx="1"/>
            <a:endCxn id="163" idx="0"/>
          </p:cNvCxnSpPr>
          <p:nvPr/>
        </p:nvCxnSpPr>
        <p:spPr>
          <a:xfrm rot="16200000" flipH="1" flipV="1">
            <a:off x="2964896" y="4347892"/>
            <a:ext cx="367724" cy="68760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128"/>
          <p:cNvCxnSpPr>
            <a:stCxn id="163" idx="1"/>
            <a:endCxn id="160" idx="1"/>
          </p:cNvCxnSpPr>
          <p:nvPr/>
        </p:nvCxnSpPr>
        <p:spPr>
          <a:xfrm rot="16200000" flipH="1">
            <a:off x="2960835" y="4718863"/>
            <a:ext cx="368300" cy="682844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131"/>
          <p:cNvCxnSpPr>
            <a:stCxn id="160" idx="2"/>
            <a:endCxn id="148" idx="1"/>
          </p:cNvCxnSpPr>
          <p:nvPr/>
        </p:nvCxnSpPr>
        <p:spPr>
          <a:xfrm rot="10800000" flipV="1">
            <a:off x="2805787" y="5245824"/>
            <a:ext cx="680045" cy="36691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ieren 167"/>
          <p:cNvGrpSpPr/>
          <p:nvPr/>
        </p:nvGrpSpPr>
        <p:grpSpPr>
          <a:xfrm>
            <a:off x="2047141" y="25892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8" name="Ellipse 137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1" name="Ellipse 140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8" name="Gruppieren 182"/>
          <p:cNvGrpSpPr/>
          <p:nvPr/>
        </p:nvGrpSpPr>
        <p:grpSpPr>
          <a:xfrm>
            <a:off x="2728791" y="5535617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5" name="Ellipse 144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48" name="Ellipse 147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2"/>
          <p:cNvGrpSpPr/>
          <p:nvPr/>
        </p:nvGrpSpPr>
        <p:grpSpPr>
          <a:xfrm>
            <a:off x="3409412" y="51673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4" name="Ellipse 153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0" name="Ellipse 159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0" name="Gruppieren 182"/>
          <p:cNvGrpSpPr/>
          <p:nvPr/>
        </p:nvGrpSpPr>
        <p:grpSpPr>
          <a:xfrm>
            <a:off x="2726568" y="47990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2" name="Ellipse 161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3" name="Ellipse 162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1" name="Gruppieren 182"/>
          <p:cNvGrpSpPr/>
          <p:nvPr/>
        </p:nvGrpSpPr>
        <p:grpSpPr>
          <a:xfrm>
            <a:off x="3415567" y="4430714"/>
            <a:ext cx="157284" cy="157284"/>
            <a:chOff x="5609085" y="2826444"/>
            <a:chExt cx="144006" cy="144006"/>
          </a:xfrm>
          <a:solidFill>
            <a:schemeClr val="bg1">
              <a:lumMod val="6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Ellipse 164"/>
            <p:cNvSpPr/>
            <p:nvPr/>
          </p:nvSpPr>
          <p:spPr bwMode="auto">
            <a:xfrm>
              <a:off x="5609085" y="2826444"/>
              <a:ext cx="144006" cy="144006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6" name="Ellipse 165"/>
            <p:cNvSpPr/>
            <p:nvPr/>
          </p:nvSpPr>
          <p:spPr bwMode="auto">
            <a:xfrm>
              <a:off x="5679053" y="2896527"/>
              <a:ext cx="3600" cy="3600"/>
            </a:xfrm>
            <a:prstGeom prst="ellipse">
              <a:avLst/>
            </a:prstGeom>
            <a:grpFill/>
            <a:ln w="12700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82550" h="82550"/>
            </a:sp3d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67" name="Richtungspfeil 166"/>
          <p:cNvSpPr/>
          <p:nvPr/>
        </p:nvSpPr>
        <p:spPr bwMode="auto">
          <a:xfrm rot="16200000">
            <a:off x="2504341" y="5372099"/>
            <a:ext cx="609601" cy="1524000"/>
          </a:xfrm>
          <a:prstGeom prst="homePlate">
            <a:avLst>
              <a:gd name="adj" fmla="val 23077"/>
            </a:avLst>
          </a:prstGeom>
          <a:gradFill flip="none" rotWithShape="0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" lIns="0" tIns="36000" rIns="72000" bIns="36000" anchor="ctr" anchorCtr="0"/>
          <a:lstStyle/>
          <a:p>
            <a:pPr algn="ctr">
              <a:spcBef>
                <a:spcPct val="5000"/>
              </a:spcBef>
              <a:tabLst>
                <a:tab pos="1168400" algn="l"/>
              </a:tabLst>
            </a:pPr>
            <a:r>
              <a:rPr lang="en-US" sz="1000" dirty="0"/>
              <a:t>Just move spheres </a:t>
            </a:r>
            <a:r>
              <a:rPr lang="en-US" sz="1000" dirty="0" smtClean="0"/>
              <a:t>depending </a:t>
            </a:r>
            <a:r>
              <a:rPr lang="en-US" sz="1000" dirty="0"/>
              <a:t>on characteristics to left/right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4" name="Rectangle 10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en-US" noProof="1" smtClean="0"/>
              <a:t>SWOT-Analysis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grpSp>
        <p:nvGrpSpPr>
          <p:cNvPr id="2" name="Gruppieren 47"/>
          <p:cNvGrpSpPr/>
          <p:nvPr/>
        </p:nvGrpSpPr>
        <p:grpSpPr bwMode="gray">
          <a:xfrm>
            <a:off x="323850" y="1562574"/>
            <a:ext cx="8496300" cy="4247359"/>
            <a:chOff x="323850" y="1562574"/>
            <a:chExt cx="8496300" cy="4247359"/>
          </a:xfrm>
        </p:grpSpPr>
        <p:grpSp>
          <p:nvGrpSpPr>
            <p:cNvPr id="3" name="Gruppieren 43"/>
            <p:cNvGrpSpPr/>
            <p:nvPr/>
          </p:nvGrpSpPr>
          <p:grpSpPr bwMode="gray">
            <a:xfrm>
              <a:off x="828377" y="1562574"/>
              <a:ext cx="7488040" cy="4247359"/>
              <a:chOff x="1127760" y="1554954"/>
              <a:chExt cx="5189220" cy="3923435"/>
            </a:xfrm>
            <a:solidFill>
              <a:schemeClr val="accent2"/>
            </a:solidFill>
            <a:scene3d>
              <a:camera prst="perspectiveHeroicExtremeRightFacing">
                <a:rot lat="0" lon="0" rev="0"/>
              </a:camera>
              <a:lightRig rig="balanced" dir="t">
                <a:rot lat="0" lon="0" rev="7200000"/>
              </a:lightRig>
            </a:scene3d>
          </p:grpSpPr>
          <p:sp>
            <p:nvSpPr>
              <p:cNvPr id="40" name="Rechteck 39"/>
              <p:cNvSpPr/>
              <p:nvPr/>
            </p:nvSpPr>
            <p:spPr bwMode="gray">
              <a:xfrm>
                <a:off x="1127760" y="1554954"/>
                <a:ext cx="2400300" cy="1660686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rgbClr val="BFBFBF"/>
                  </a:gs>
                </a:gsLst>
                <a:lin ang="5400000" scaled="0"/>
              </a:gradFill>
              <a:ln w="12700">
                <a:noFill/>
                <a:round/>
                <a:headEnd/>
                <a:tailEnd/>
              </a:ln>
              <a:effectLst>
                <a:outerShdw blurRad="228600" sx="103000" sy="103000" algn="ctr" rotWithShape="0">
                  <a:prstClr val="black">
                    <a:alpha val="66000"/>
                  </a:prstClr>
                </a:outerShdw>
              </a:effectLst>
              <a:sp3d extrusionH="3175000"/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Rechteck 40"/>
              <p:cNvSpPr/>
              <p:nvPr/>
            </p:nvSpPr>
            <p:spPr bwMode="gray">
              <a:xfrm>
                <a:off x="3916680" y="1554954"/>
                <a:ext cx="2400300" cy="1660686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rgbClr val="BFBFBF"/>
                  </a:gs>
                </a:gsLst>
                <a:lin ang="5400000" scaled="0"/>
              </a:gradFill>
              <a:ln w="12700">
                <a:noFill/>
                <a:round/>
                <a:headEnd/>
                <a:tailEnd/>
              </a:ln>
              <a:effectLst>
                <a:outerShdw blurRad="228600" sx="103000" sy="103000" algn="ctr" rotWithShape="0">
                  <a:prstClr val="black">
                    <a:alpha val="66000"/>
                  </a:prstClr>
                </a:outerShdw>
              </a:effectLst>
              <a:sp3d extrusionH="3175000"/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Rechteck 41"/>
              <p:cNvSpPr/>
              <p:nvPr/>
            </p:nvSpPr>
            <p:spPr bwMode="gray">
              <a:xfrm>
                <a:off x="1127760" y="3817705"/>
                <a:ext cx="2400300" cy="1660684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rgbClr val="BFBFBF"/>
                  </a:gs>
                </a:gsLst>
                <a:lin ang="5400000" scaled="0"/>
              </a:gradFill>
              <a:ln w="12700">
                <a:noFill/>
                <a:round/>
                <a:headEnd/>
                <a:tailEnd/>
              </a:ln>
              <a:effectLst>
                <a:outerShdw blurRad="228600" sx="103000" sy="103000" algn="ctr" rotWithShape="0">
                  <a:prstClr val="black">
                    <a:alpha val="66000"/>
                  </a:prstClr>
                </a:outerShdw>
              </a:effectLst>
              <a:sp3d extrusionH="3175000"/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3" name="Rechteck 42"/>
              <p:cNvSpPr/>
              <p:nvPr/>
            </p:nvSpPr>
            <p:spPr bwMode="gray">
              <a:xfrm>
                <a:off x="3916680" y="3817705"/>
                <a:ext cx="2400300" cy="1660684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rgbClr val="BFBFBF"/>
                  </a:gs>
                </a:gsLst>
                <a:lin ang="5400000" scaled="0"/>
              </a:gradFill>
              <a:ln w="12700">
                <a:noFill/>
                <a:round/>
                <a:headEnd/>
                <a:tailEnd/>
              </a:ln>
              <a:effectLst>
                <a:outerShdw blurRad="228600" sx="103000" sy="103000" algn="ctr" rotWithShape="0">
                  <a:prstClr val="black">
                    <a:alpha val="66000"/>
                  </a:prstClr>
                </a:outerShdw>
              </a:effectLst>
              <a:sp3d extrusionH="3175000"/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5" name="Textfeld 44"/>
            <p:cNvSpPr txBox="1"/>
            <p:nvPr/>
          </p:nvSpPr>
          <p:spPr bwMode="gray">
            <a:xfrm>
              <a:off x="4031006" y="3411514"/>
              <a:ext cx="1085105" cy="52322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perspectiveContrastingRightFacing">
                  <a:rot lat="0" lon="0" rev="0"/>
                </a:camera>
                <a:lightRig rig="threePt" dir="t"/>
              </a:scene3d>
              <a:sp3d extrusionH="635000">
                <a:extrusionClr>
                  <a:schemeClr val="tx1">
                    <a:lumMod val="50000"/>
                    <a:lumOff val="50000"/>
                  </a:schemeClr>
                </a:extrusionClr>
              </a:sp3d>
            </a:bodyPr>
            <a:lstStyle/>
            <a:p>
              <a:pPr algn="ctr"/>
              <a:r>
                <a:rPr lang="en-US" sz="2800" b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101600" sx="102000" sy="102000" algn="ctr" rotWithShape="0">
                      <a:prstClr val="black">
                        <a:alpha val="60000"/>
                      </a:prstClr>
                    </a:outerShdw>
                  </a:effectLst>
                </a:rPr>
                <a:t>SWOT</a:t>
              </a:r>
              <a:endPara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101600" sx="102000" sy="102000" algn="ctr" rotWithShape="0">
                    <a:prstClr val="black">
                      <a:alpha val="60000"/>
                    </a:prstClr>
                  </a:outerShdw>
                </a:effectLst>
              </a:endParaRP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1445450" y="1740230"/>
              <a:ext cx="222948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0800000">
                      <a:prstClr val="black">
                        <a:alpha val="50000"/>
                      </a:prstClr>
                    </a:innerShdw>
                  </a:effectLst>
                </a:rPr>
                <a:t>Strength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5294728" y="1740230"/>
              <a:ext cx="257974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>
                      <a:prstClr val="black">
                        <a:alpha val="50000"/>
                      </a:prstClr>
                    </a:innerShdw>
                  </a:effectLst>
                </a:rPr>
                <a:t>Weaknesse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1196574" y="4216894"/>
              <a:ext cx="272723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 dir="10800000">
                      <a:prstClr val="black">
                        <a:alpha val="50000"/>
                      </a:prstClr>
                    </a:innerShdw>
                  </a:effectLst>
                </a:rPr>
                <a:t>Opportunitie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53" name="Rechteck 52"/>
            <p:cNvSpPr/>
            <p:nvPr/>
          </p:nvSpPr>
          <p:spPr bwMode="gray">
            <a:xfrm>
              <a:off x="5364088" y="4216894"/>
              <a:ext cx="244102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innerShdw blurRad="63500" dist="50800">
                      <a:prstClr val="black">
                        <a:alpha val="50000"/>
                      </a:prstClr>
                    </a:innerShdw>
                  </a:effectLst>
                </a:rPr>
                <a:t>Threats</a:t>
              </a:r>
              <a:endPara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55" name="Rechteck 54"/>
            <p:cNvSpPr/>
            <p:nvPr/>
          </p:nvSpPr>
          <p:spPr bwMode="gray">
            <a:xfrm rot="16200000">
              <a:off x="-390382" y="2276806"/>
              <a:ext cx="1797796" cy="369332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extrusionH="63500"/>
            </a:bodyPr>
            <a:lstStyle/>
            <a:p>
              <a:pPr algn="ctr"/>
              <a:r>
                <a:rPr lang="en-US" b="1" noProof="1" smtClean="0">
                  <a:solidFill>
                    <a:srgbClr val="A6A6A6"/>
                  </a:solidFill>
                </a:rPr>
                <a:t>Internal Analysis</a:t>
              </a:r>
              <a:endParaRPr lang="en-US" sz="1200" b="1" dirty="0">
                <a:solidFill>
                  <a:srgbClr val="A6A6A6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 bwMode="gray">
            <a:xfrm rot="5400000">
              <a:off x="7736586" y="4717954"/>
              <a:ext cx="179779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noProof="1" smtClean="0">
                  <a:solidFill>
                    <a:srgbClr val="A6A6A6"/>
                  </a:solidFill>
                </a:rPr>
                <a:t>External Analysis</a:t>
              </a:r>
              <a:endParaRPr lang="en-US" sz="1200" b="1" dirty="0">
                <a:solidFill>
                  <a:srgbClr val="A6A6A6"/>
                </a:solidFill>
              </a:endParaRPr>
            </a:p>
          </p:txBody>
        </p:sp>
        <p:grpSp>
          <p:nvGrpSpPr>
            <p:cNvPr id="4" name="Gruppieren 25"/>
            <p:cNvGrpSpPr/>
            <p:nvPr/>
          </p:nvGrpSpPr>
          <p:grpSpPr bwMode="gray">
            <a:xfrm>
              <a:off x="2082394" y="2211222"/>
              <a:ext cx="955597" cy="955597"/>
              <a:chOff x="5353763" y="1554163"/>
              <a:chExt cx="2870890" cy="2870889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7" name="Freeform 17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353763" y="1554163"/>
                <a:ext cx="2870890" cy="2870889"/>
              </a:xfrm>
              <a:custGeom>
                <a:avLst/>
                <a:gdLst/>
                <a:ahLst/>
                <a:cxnLst>
                  <a:cxn ang="0">
                    <a:pos x="1253" y="2421"/>
                  </a:cxn>
                  <a:cxn ang="0">
                    <a:pos x="1187" y="2421"/>
                  </a:cxn>
                  <a:cxn ang="0">
                    <a:pos x="19" y="1253"/>
                  </a:cxn>
                  <a:cxn ang="0">
                    <a:pos x="19" y="1187"/>
                  </a:cxn>
                  <a:cxn ang="0">
                    <a:pos x="1187" y="19"/>
                  </a:cxn>
                  <a:cxn ang="0">
                    <a:pos x="1253" y="19"/>
                  </a:cxn>
                  <a:cxn ang="0">
                    <a:pos x="2421" y="1187"/>
                  </a:cxn>
                  <a:cxn ang="0">
                    <a:pos x="2421" y="1253"/>
                  </a:cxn>
                  <a:cxn ang="0">
                    <a:pos x="1253" y="2421"/>
                  </a:cxn>
                </a:cxnLst>
                <a:rect l="0" t="0" r="r" b="b"/>
                <a:pathLst>
                  <a:path w="2440" h="2440">
                    <a:moveTo>
                      <a:pt x="1253" y="2421"/>
                    </a:moveTo>
                    <a:cubicBezTo>
                      <a:pt x="1235" y="2440"/>
                      <a:pt x="1205" y="2440"/>
                      <a:pt x="1187" y="2421"/>
                    </a:cubicBezTo>
                    <a:cubicBezTo>
                      <a:pt x="19" y="1253"/>
                      <a:pt x="19" y="1253"/>
                      <a:pt x="19" y="1253"/>
                    </a:cubicBezTo>
                    <a:cubicBezTo>
                      <a:pt x="0" y="1235"/>
                      <a:pt x="0" y="1205"/>
                      <a:pt x="19" y="1187"/>
                    </a:cubicBezTo>
                    <a:cubicBezTo>
                      <a:pt x="1187" y="19"/>
                      <a:pt x="1187" y="19"/>
                      <a:pt x="1187" y="19"/>
                    </a:cubicBezTo>
                    <a:cubicBezTo>
                      <a:pt x="1205" y="0"/>
                      <a:pt x="1235" y="0"/>
                      <a:pt x="1253" y="19"/>
                    </a:cubicBezTo>
                    <a:cubicBezTo>
                      <a:pt x="2421" y="1187"/>
                      <a:pt x="2421" y="1187"/>
                      <a:pt x="2421" y="1187"/>
                    </a:cubicBezTo>
                    <a:cubicBezTo>
                      <a:pt x="2440" y="1205"/>
                      <a:pt x="2440" y="1235"/>
                      <a:pt x="2421" y="1253"/>
                    </a:cubicBezTo>
                    <a:lnTo>
                      <a:pt x="1253" y="242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50000">
                    <a:srgbClr val="FFFFFF"/>
                  </a:gs>
                  <a:gs pos="100000">
                    <a:srgbClr val="E6E6E6"/>
                  </a:gs>
                </a:gsLst>
                <a:lin ang="5400000" scaled="1"/>
              </a:gradFill>
              <a:ln w="9525" cap="flat" cmpd="sng">
                <a:solidFill>
                  <a:srgbClr val="DDDDD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Freeform 18" descr="© INSCALE GmbH, 26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5419206" y="1617884"/>
                <a:ext cx="2740004" cy="2740003"/>
              </a:xfrm>
              <a:custGeom>
                <a:avLst/>
                <a:gdLst/>
                <a:ahLst/>
                <a:cxnLst>
                  <a:cxn ang="0">
                    <a:pos x="2311" y="1133"/>
                  </a:cxn>
                  <a:cxn ang="0">
                    <a:pos x="1196" y="18"/>
                  </a:cxn>
                  <a:cxn ang="0">
                    <a:pos x="1132" y="18"/>
                  </a:cxn>
                  <a:cxn ang="0">
                    <a:pos x="17" y="1133"/>
                  </a:cxn>
                  <a:cxn ang="0">
                    <a:pos x="17" y="1197"/>
                  </a:cxn>
                  <a:cxn ang="0">
                    <a:pos x="1132" y="2312"/>
                  </a:cxn>
                  <a:cxn ang="0">
                    <a:pos x="1196" y="2312"/>
                  </a:cxn>
                  <a:cxn ang="0">
                    <a:pos x="2311" y="1197"/>
                  </a:cxn>
                  <a:cxn ang="0">
                    <a:pos x="2311" y="1133"/>
                  </a:cxn>
                  <a:cxn ang="0">
                    <a:pos x="2249" y="1195"/>
                  </a:cxn>
                  <a:cxn ang="0">
                    <a:pos x="1194" y="2249"/>
                  </a:cxn>
                  <a:cxn ang="0">
                    <a:pos x="1134" y="2249"/>
                  </a:cxn>
                  <a:cxn ang="0">
                    <a:pos x="79" y="1195"/>
                  </a:cxn>
                  <a:cxn ang="0">
                    <a:pos x="79" y="1135"/>
                  </a:cxn>
                  <a:cxn ang="0">
                    <a:pos x="1134" y="80"/>
                  </a:cxn>
                  <a:cxn ang="0">
                    <a:pos x="1194" y="80"/>
                  </a:cxn>
                  <a:cxn ang="0">
                    <a:pos x="2249" y="1135"/>
                  </a:cxn>
                  <a:cxn ang="0">
                    <a:pos x="2249" y="1195"/>
                  </a:cxn>
                </a:cxnLst>
                <a:rect l="0" t="0" r="r" b="b"/>
                <a:pathLst>
                  <a:path w="2328" h="2329">
                    <a:moveTo>
                      <a:pt x="2311" y="1133"/>
                    </a:moveTo>
                    <a:cubicBezTo>
                      <a:pt x="1196" y="18"/>
                      <a:pt x="1196" y="18"/>
                      <a:pt x="1196" y="18"/>
                    </a:cubicBezTo>
                    <a:cubicBezTo>
                      <a:pt x="1178" y="0"/>
                      <a:pt x="1150" y="0"/>
                      <a:pt x="1132" y="18"/>
                    </a:cubicBezTo>
                    <a:cubicBezTo>
                      <a:pt x="17" y="1133"/>
                      <a:pt x="17" y="1133"/>
                      <a:pt x="17" y="1133"/>
                    </a:cubicBezTo>
                    <a:cubicBezTo>
                      <a:pt x="0" y="1151"/>
                      <a:pt x="0" y="1179"/>
                      <a:pt x="17" y="1197"/>
                    </a:cubicBezTo>
                    <a:cubicBezTo>
                      <a:pt x="1132" y="2312"/>
                      <a:pt x="1132" y="2312"/>
                      <a:pt x="1132" y="2312"/>
                    </a:cubicBezTo>
                    <a:cubicBezTo>
                      <a:pt x="1150" y="2329"/>
                      <a:pt x="1178" y="2329"/>
                      <a:pt x="1196" y="2312"/>
                    </a:cubicBezTo>
                    <a:cubicBezTo>
                      <a:pt x="2311" y="1197"/>
                      <a:pt x="2311" y="1197"/>
                      <a:pt x="2311" y="1197"/>
                    </a:cubicBezTo>
                    <a:cubicBezTo>
                      <a:pt x="2328" y="1179"/>
                      <a:pt x="2328" y="1151"/>
                      <a:pt x="2311" y="1133"/>
                    </a:cubicBezTo>
                    <a:close/>
                    <a:moveTo>
                      <a:pt x="2249" y="1195"/>
                    </a:moveTo>
                    <a:cubicBezTo>
                      <a:pt x="1194" y="2249"/>
                      <a:pt x="1194" y="2249"/>
                      <a:pt x="1194" y="2249"/>
                    </a:cubicBezTo>
                    <a:cubicBezTo>
                      <a:pt x="1177" y="2266"/>
                      <a:pt x="1151" y="2266"/>
                      <a:pt x="1134" y="2249"/>
                    </a:cubicBezTo>
                    <a:cubicBezTo>
                      <a:pt x="79" y="1195"/>
                      <a:pt x="79" y="1195"/>
                      <a:pt x="79" y="1195"/>
                    </a:cubicBezTo>
                    <a:cubicBezTo>
                      <a:pt x="63" y="1178"/>
                      <a:pt x="63" y="1151"/>
                      <a:pt x="79" y="1135"/>
                    </a:cubicBezTo>
                    <a:cubicBezTo>
                      <a:pt x="1134" y="80"/>
                      <a:pt x="1134" y="80"/>
                      <a:pt x="1134" y="80"/>
                    </a:cubicBezTo>
                    <a:cubicBezTo>
                      <a:pt x="1151" y="64"/>
                      <a:pt x="1177" y="64"/>
                      <a:pt x="1194" y="80"/>
                    </a:cubicBezTo>
                    <a:cubicBezTo>
                      <a:pt x="2249" y="1135"/>
                      <a:pt x="2249" y="1135"/>
                      <a:pt x="2249" y="1135"/>
                    </a:cubicBezTo>
                    <a:cubicBezTo>
                      <a:pt x="2265" y="1151"/>
                      <a:pt x="2265" y="1178"/>
                      <a:pt x="2249" y="119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 19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941030" y="2141429"/>
                <a:ext cx="1696357" cy="1696356"/>
              </a:xfrm>
              <a:custGeom>
                <a:avLst/>
                <a:gdLst/>
                <a:ahLst/>
                <a:cxnLst>
                  <a:cxn ang="0">
                    <a:pos x="493" y="985"/>
                  </a:cxn>
                  <a:cxn ang="0">
                    <a:pos x="0" y="492"/>
                  </a:cxn>
                  <a:cxn ang="0">
                    <a:pos x="493" y="0"/>
                  </a:cxn>
                  <a:cxn ang="0">
                    <a:pos x="985" y="492"/>
                  </a:cxn>
                  <a:cxn ang="0">
                    <a:pos x="493" y="985"/>
                  </a:cxn>
                </a:cxnLst>
                <a:rect l="0" t="0" r="r" b="b"/>
                <a:pathLst>
                  <a:path w="985" h="985">
                    <a:moveTo>
                      <a:pt x="493" y="985"/>
                    </a:moveTo>
                    <a:lnTo>
                      <a:pt x="0" y="492"/>
                    </a:lnTo>
                    <a:lnTo>
                      <a:pt x="493" y="0"/>
                    </a:lnTo>
                    <a:lnTo>
                      <a:pt x="985" y="492"/>
                    </a:lnTo>
                    <a:lnTo>
                      <a:pt x="493" y="98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20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5990973" y="2189651"/>
                <a:ext cx="1598192" cy="1598191"/>
              </a:xfrm>
              <a:custGeom>
                <a:avLst/>
                <a:gdLst/>
                <a:ahLst/>
                <a:cxnLst>
                  <a:cxn ang="0">
                    <a:pos x="464" y="928"/>
                  </a:cxn>
                  <a:cxn ang="0">
                    <a:pos x="0" y="464"/>
                  </a:cxn>
                  <a:cxn ang="0">
                    <a:pos x="464" y="0"/>
                  </a:cxn>
                  <a:cxn ang="0">
                    <a:pos x="928" y="464"/>
                  </a:cxn>
                  <a:cxn ang="0">
                    <a:pos x="464" y="928"/>
                  </a:cxn>
                </a:cxnLst>
                <a:rect l="0" t="0" r="r" b="b"/>
                <a:pathLst>
                  <a:path w="928" h="928">
                    <a:moveTo>
                      <a:pt x="464" y="928"/>
                    </a:moveTo>
                    <a:lnTo>
                      <a:pt x="0" y="464"/>
                    </a:lnTo>
                    <a:lnTo>
                      <a:pt x="464" y="0"/>
                    </a:lnTo>
                    <a:lnTo>
                      <a:pt x="928" y="464"/>
                    </a:lnTo>
                    <a:lnTo>
                      <a:pt x="464" y="92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DCD03"/>
                  </a:gs>
                  <a:gs pos="100000">
                    <a:srgbClr val="FDCD03">
                      <a:gamma/>
                      <a:shade val="84706"/>
                      <a:invGamma/>
                    </a:srgbClr>
                  </a:gs>
                </a:gsLst>
                <a:lin ang="5400000" scaled="1"/>
              </a:gradFill>
              <a:ln w="9525" cap="flat" cmpd="sng">
                <a:solidFill>
                  <a:srgbClr val="C0C0C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pic>
            <p:nvPicPr>
              <p:cNvPr id="46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5550693" y="1598128"/>
                <a:ext cx="1974057" cy="1185553"/>
              </a:xfrm>
              <a:prstGeom prst="rect">
                <a:avLst/>
              </a:prstGeom>
              <a:noFill/>
              <a:ln w="11176">
                <a:miter lim="800000"/>
                <a:headEnd/>
                <a:tailEnd/>
              </a:ln>
              <a:effectLst/>
            </p:spPr>
          </p:pic>
        </p:grpSp>
        <p:grpSp>
          <p:nvGrpSpPr>
            <p:cNvPr id="5" name="Gruppieren 49"/>
            <p:cNvGrpSpPr/>
            <p:nvPr/>
          </p:nvGrpSpPr>
          <p:grpSpPr bwMode="gray">
            <a:xfrm rot="10800000">
              <a:off x="6076922" y="2264748"/>
              <a:ext cx="1015358" cy="879930"/>
              <a:chOff x="2768929" y="2173879"/>
              <a:chExt cx="3376444" cy="292609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52" name="Freeform 20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2768929" y="2173879"/>
                <a:ext cx="3376444" cy="2926092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356" y="30"/>
                  </a:cxn>
                  <a:cxn ang="0">
                    <a:pos x="200" y="301"/>
                  </a:cxn>
                  <a:cxn ang="0">
                    <a:pos x="166" y="301"/>
                  </a:cxn>
                  <a:cxn ang="0">
                    <a:pos x="9" y="30"/>
                  </a:cxn>
                  <a:cxn ang="0">
                    <a:pos x="26" y="0"/>
                  </a:cxn>
                  <a:cxn ang="0">
                    <a:pos x="339" y="0"/>
                  </a:cxn>
                </a:cxnLst>
                <a:rect l="0" t="0" r="r" b="b"/>
                <a:pathLst>
                  <a:path w="366" h="317">
                    <a:moveTo>
                      <a:pt x="339" y="0"/>
                    </a:moveTo>
                    <a:cubicBezTo>
                      <a:pt x="358" y="0"/>
                      <a:pt x="366" y="14"/>
                      <a:pt x="356" y="30"/>
                    </a:cubicBezTo>
                    <a:cubicBezTo>
                      <a:pt x="200" y="301"/>
                      <a:pt x="200" y="301"/>
                      <a:pt x="200" y="301"/>
                    </a:cubicBezTo>
                    <a:cubicBezTo>
                      <a:pt x="190" y="317"/>
                      <a:pt x="175" y="317"/>
                      <a:pt x="166" y="30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0" y="14"/>
                      <a:pt x="8" y="0"/>
                      <a:pt x="26" y="0"/>
                    </a:cubicBez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54" name="Freeform 2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2768929" y="2173879"/>
                <a:ext cx="3376444" cy="2926092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356" y="30"/>
                  </a:cxn>
                  <a:cxn ang="0">
                    <a:pos x="200" y="301"/>
                  </a:cxn>
                  <a:cxn ang="0">
                    <a:pos x="166" y="301"/>
                  </a:cxn>
                  <a:cxn ang="0">
                    <a:pos x="9" y="30"/>
                  </a:cxn>
                  <a:cxn ang="0">
                    <a:pos x="26" y="0"/>
                  </a:cxn>
                  <a:cxn ang="0">
                    <a:pos x="339" y="0"/>
                  </a:cxn>
                </a:cxnLst>
                <a:rect l="0" t="0" r="r" b="b"/>
                <a:pathLst>
                  <a:path w="366" h="317">
                    <a:moveTo>
                      <a:pt x="339" y="0"/>
                    </a:moveTo>
                    <a:cubicBezTo>
                      <a:pt x="358" y="0"/>
                      <a:pt x="366" y="14"/>
                      <a:pt x="356" y="30"/>
                    </a:cubicBezTo>
                    <a:cubicBezTo>
                      <a:pt x="200" y="301"/>
                      <a:pt x="200" y="301"/>
                      <a:pt x="200" y="301"/>
                    </a:cubicBezTo>
                    <a:cubicBezTo>
                      <a:pt x="190" y="317"/>
                      <a:pt x="175" y="317"/>
                      <a:pt x="166" y="30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0" y="14"/>
                      <a:pt x="8" y="0"/>
                      <a:pt x="26" y="0"/>
                    </a:cubicBezTo>
                    <a:lnTo>
                      <a:pt x="339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60000">
                      <a:gamma/>
                      <a:shade val="64706"/>
                      <a:invGamma/>
                    </a:srgbClr>
                  </a:gs>
                  <a:gs pos="100000">
                    <a:srgbClr val="D60000"/>
                  </a:gs>
                </a:gsLst>
                <a:lin ang="5400000" scaled="1"/>
              </a:gradFill>
              <a:ln w="9525" cap="flat" cmpd="sng">
                <a:solidFill>
                  <a:srgbClr val="C0C0C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57" name="Freeform 2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3141107" y="2572973"/>
                <a:ext cx="2637455" cy="2285394"/>
              </a:xfrm>
              <a:custGeom>
                <a:avLst/>
                <a:gdLst/>
                <a:ahLst/>
                <a:cxnLst>
                  <a:cxn ang="0">
                    <a:pos x="277" y="0"/>
                  </a:cxn>
                  <a:cxn ang="0">
                    <a:pos x="283" y="10"/>
                  </a:cxn>
                  <a:cxn ang="0">
                    <a:pos x="149" y="242"/>
                  </a:cxn>
                  <a:cxn ang="0">
                    <a:pos x="137" y="242"/>
                  </a:cxn>
                  <a:cxn ang="0">
                    <a:pos x="3" y="10"/>
                  </a:cxn>
                  <a:cxn ang="0">
                    <a:pos x="9" y="0"/>
                  </a:cxn>
                  <a:cxn ang="0">
                    <a:pos x="277" y="0"/>
                  </a:cxn>
                </a:cxnLst>
                <a:rect l="0" t="0" r="r" b="b"/>
                <a:pathLst>
                  <a:path w="286" h="248">
                    <a:moveTo>
                      <a:pt x="277" y="0"/>
                    </a:moveTo>
                    <a:cubicBezTo>
                      <a:pt x="283" y="0"/>
                      <a:pt x="286" y="5"/>
                      <a:pt x="283" y="10"/>
                    </a:cubicBezTo>
                    <a:cubicBezTo>
                      <a:pt x="149" y="242"/>
                      <a:pt x="149" y="242"/>
                      <a:pt x="149" y="242"/>
                    </a:cubicBezTo>
                    <a:cubicBezTo>
                      <a:pt x="145" y="248"/>
                      <a:pt x="140" y="248"/>
                      <a:pt x="137" y="24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5"/>
                      <a:pt x="2" y="0"/>
                      <a:pt x="9" y="0"/>
                    </a:cubicBezTo>
                    <a:lnTo>
                      <a:pt x="27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58" name="Freeform 23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3141107" y="2572973"/>
                <a:ext cx="2637455" cy="2285394"/>
              </a:xfrm>
              <a:custGeom>
                <a:avLst/>
                <a:gdLst/>
                <a:ahLst/>
                <a:cxnLst>
                  <a:cxn ang="0">
                    <a:pos x="277" y="0"/>
                  </a:cxn>
                  <a:cxn ang="0">
                    <a:pos x="283" y="10"/>
                  </a:cxn>
                  <a:cxn ang="0">
                    <a:pos x="149" y="242"/>
                  </a:cxn>
                  <a:cxn ang="0">
                    <a:pos x="137" y="242"/>
                  </a:cxn>
                  <a:cxn ang="0">
                    <a:pos x="3" y="10"/>
                  </a:cxn>
                  <a:cxn ang="0">
                    <a:pos x="9" y="0"/>
                  </a:cxn>
                  <a:cxn ang="0">
                    <a:pos x="277" y="0"/>
                  </a:cxn>
                </a:cxnLst>
                <a:rect l="0" t="0" r="r" b="b"/>
                <a:pathLst>
                  <a:path w="286" h="248">
                    <a:moveTo>
                      <a:pt x="277" y="0"/>
                    </a:moveTo>
                    <a:cubicBezTo>
                      <a:pt x="283" y="0"/>
                      <a:pt x="286" y="5"/>
                      <a:pt x="283" y="10"/>
                    </a:cubicBezTo>
                    <a:cubicBezTo>
                      <a:pt x="149" y="242"/>
                      <a:pt x="149" y="242"/>
                      <a:pt x="149" y="242"/>
                    </a:cubicBezTo>
                    <a:cubicBezTo>
                      <a:pt x="145" y="248"/>
                      <a:pt x="140" y="248"/>
                      <a:pt x="137" y="24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5"/>
                      <a:pt x="2" y="0"/>
                      <a:pt x="9" y="0"/>
                    </a:cubicBezTo>
                    <a:lnTo>
                      <a:pt x="277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50000">
                    <a:srgbClr val="FFFFFF"/>
                  </a:gs>
                  <a:gs pos="100000">
                    <a:srgbClr val="E6E6E6"/>
                  </a:gs>
                </a:gsLst>
                <a:lin ang="5400000" scaled="1"/>
              </a:gradFill>
              <a:ln w="9525" cap="flat" cmpd="sng">
                <a:solidFill>
                  <a:srgbClr val="C0C0C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noProof="1"/>
              </a:p>
            </p:txBody>
          </p:sp>
          <p:pic>
            <p:nvPicPr>
              <p:cNvPr id="59" name="Picture 9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2887633" y="2202647"/>
                <a:ext cx="2511249" cy="2576730"/>
              </a:xfrm>
              <a:prstGeom prst="rect">
                <a:avLst/>
              </a:prstGeom>
              <a:noFill/>
              <a:ln w="11176">
                <a:miter lim="800000"/>
                <a:headEnd/>
                <a:tailEnd/>
              </a:ln>
              <a:effectLst/>
            </p:spPr>
          </p:pic>
        </p:grpSp>
        <p:grpSp>
          <p:nvGrpSpPr>
            <p:cNvPr id="6" name="Gruppieren 62"/>
            <p:cNvGrpSpPr/>
            <p:nvPr/>
          </p:nvGrpSpPr>
          <p:grpSpPr bwMode="gray">
            <a:xfrm>
              <a:off x="2038859" y="4662724"/>
              <a:ext cx="1042667" cy="903595"/>
              <a:chOff x="2768929" y="2173879"/>
              <a:chExt cx="3376444" cy="292609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" name="Group 19"/>
              <p:cNvGrpSpPr>
                <a:grpSpLocks/>
              </p:cNvGrpSpPr>
              <p:nvPr/>
            </p:nvGrpSpPr>
            <p:grpSpPr bwMode="gray">
              <a:xfrm rot="10800000">
                <a:off x="2768929" y="2173879"/>
                <a:ext cx="3376444" cy="2926092"/>
                <a:chOff x="1940" y="1577"/>
                <a:chExt cx="1887" cy="1635"/>
              </a:xfrm>
            </p:grpSpPr>
            <p:sp>
              <p:nvSpPr>
                <p:cNvPr id="68" name="Freeform 20" descr="© INSCALE GmbH, 26.05.2010&#10;http://www.presentationload.com/"/>
                <p:cNvSpPr>
                  <a:spLocks noChangeAspect="1"/>
                </p:cNvSpPr>
                <p:nvPr/>
              </p:nvSpPr>
              <p:spPr bwMode="gray">
                <a:xfrm>
                  <a:off x="1940" y="1577"/>
                  <a:ext cx="1887" cy="1635"/>
                </a:xfrm>
                <a:custGeom>
                  <a:avLst/>
                  <a:gdLst/>
                  <a:ahLst/>
                  <a:cxnLst>
                    <a:cxn ang="0">
                      <a:pos x="339" y="0"/>
                    </a:cxn>
                    <a:cxn ang="0">
                      <a:pos x="356" y="30"/>
                    </a:cxn>
                    <a:cxn ang="0">
                      <a:pos x="200" y="301"/>
                    </a:cxn>
                    <a:cxn ang="0">
                      <a:pos x="166" y="301"/>
                    </a:cxn>
                    <a:cxn ang="0">
                      <a:pos x="9" y="30"/>
                    </a:cxn>
                    <a:cxn ang="0">
                      <a:pos x="26" y="0"/>
                    </a:cxn>
                    <a:cxn ang="0">
                      <a:pos x="339" y="0"/>
                    </a:cxn>
                  </a:cxnLst>
                  <a:rect l="0" t="0" r="r" b="b"/>
                  <a:pathLst>
                    <a:path w="366" h="317">
                      <a:moveTo>
                        <a:pt x="339" y="0"/>
                      </a:moveTo>
                      <a:cubicBezTo>
                        <a:pt x="358" y="0"/>
                        <a:pt x="366" y="14"/>
                        <a:pt x="356" y="30"/>
                      </a:cubicBezTo>
                      <a:cubicBezTo>
                        <a:pt x="200" y="301"/>
                        <a:pt x="200" y="301"/>
                        <a:pt x="200" y="301"/>
                      </a:cubicBezTo>
                      <a:cubicBezTo>
                        <a:pt x="190" y="317"/>
                        <a:pt x="175" y="317"/>
                        <a:pt x="166" y="301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0" y="14"/>
                        <a:pt x="8" y="0"/>
                        <a:pt x="26" y="0"/>
                      </a:cubicBezTo>
                      <a:lnTo>
                        <a:pt x="3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9" name="Freeform 21" descr="© INSCALE GmbH, 26.05.2010&#10;http://www.presentationload.com/"/>
                <p:cNvSpPr>
                  <a:spLocks noChangeAspect="1"/>
                </p:cNvSpPr>
                <p:nvPr/>
              </p:nvSpPr>
              <p:spPr bwMode="gray">
                <a:xfrm>
                  <a:off x="1940" y="1577"/>
                  <a:ext cx="1887" cy="1635"/>
                </a:xfrm>
                <a:custGeom>
                  <a:avLst/>
                  <a:gdLst/>
                  <a:ahLst/>
                  <a:cxnLst>
                    <a:cxn ang="0">
                      <a:pos x="339" y="0"/>
                    </a:cxn>
                    <a:cxn ang="0">
                      <a:pos x="356" y="30"/>
                    </a:cxn>
                    <a:cxn ang="0">
                      <a:pos x="200" y="301"/>
                    </a:cxn>
                    <a:cxn ang="0">
                      <a:pos x="166" y="301"/>
                    </a:cxn>
                    <a:cxn ang="0">
                      <a:pos x="9" y="30"/>
                    </a:cxn>
                    <a:cxn ang="0">
                      <a:pos x="26" y="0"/>
                    </a:cxn>
                    <a:cxn ang="0">
                      <a:pos x="339" y="0"/>
                    </a:cxn>
                  </a:cxnLst>
                  <a:rect l="0" t="0" r="r" b="b"/>
                  <a:pathLst>
                    <a:path w="366" h="317">
                      <a:moveTo>
                        <a:pt x="339" y="0"/>
                      </a:moveTo>
                      <a:cubicBezTo>
                        <a:pt x="358" y="0"/>
                        <a:pt x="366" y="14"/>
                        <a:pt x="356" y="30"/>
                      </a:cubicBezTo>
                      <a:cubicBezTo>
                        <a:pt x="200" y="301"/>
                        <a:pt x="200" y="301"/>
                        <a:pt x="200" y="301"/>
                      </a:cubicBezTo>
                      <a:cubicBezTo>
                        <a:pt x="190" y="317"/>
                        <a:pt x="175" y="317"/>
                        <a:pt x="166" y="301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0" y="14"/>
                        <a:pt x="8" y="0"/>
                        <a:pt x="26" y="0"/>
                      </a:cubicBezTo>
                      <a:lnTo>
                        <a:pt x="339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D60000">
                        <a:gamma/>
                        <a:shade val="64706"/>
                        <a:invGamma/>
                      </a:srgbClr>
                    </a:gs>
                    <a:gs pos="100000">
                      <a:srgbClr val="D60000"/>
                    </a:gs>
                  </a:gsLst>
                  <a:lin ang="5400000" scaled="1"/>
                </a:gradFill>
                <a:ln w="9525" cap="flat" cmpd="sng">
                  <a:solidFill>
                    <a:srgbClr val="C0C0C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0" name="Freeform 22" descr="© INSCALE GmbH, 26.05.2010&#10;http://www.presentationload.com/"/>
                <p:cNvSpPr>
                  <a:spLocks noChangeAspect="1"/>
                </p:cNvSpPr>
                <p:nvPr/>
              </p:nvSpPr>
              <p:spPr bwMode="gray">
                <a:xfrm>
                  <a:off x="2145" y="1712"/>
                  <a:ext cx="1474" cy="1277"/>
                </a:xfrm>
                <a:custGeom>
                  <a:avLst/>
                  <a:gdLst/>
                  <a:ahLst/>
                  <a:cxnLst>
                    <a:cxn ang="0">
                      <a:pos x="277" y="0"/>
                    </a:cxn>
                    <a:cxn ang="0">
                      <a:pos x="283" y="10"/>
                    </a:cxn>
                    <a:cxn ang="0">
                      <a:pos x="149" y="242"/>
                    </a:cxn>
                    <a:cxn ang="0">
                      <a:pos x="137" y="242"/>
                    </a:cxn>
                    <a:cxn ang="0">
                      <a:pos x="3" y="10"/>
                    </a:cxn>
                    <a:cxn ang="0">
                      <a:pos x="9" y="0"/>
                    </a:cxn>
                    <a:cxn ang="0">
                      <a:pos x="277" y="0"/>
                    </a:cxn>
                  </a:cxnLst>
                  <a:rect l="0" t="0" r="r" b="b"/>
                  <a:pathLst>
                    <a:path w="286" h="248">
                      <a:moveTo>
                        <a:pt x="277" y="0"/>
                      </a:moveTo>
                      <a:cubicBezTo>
                        <a:pt x="283" y="0"/>
                        <a:pt x="286" y="5"/>
                        <a:pt x="283" y="10"/>
                      </a:cubicBezTo>
                      <a:cubicBezTo>
                        <a:pt x="149" y="242"/>
                        <a:pt x="149" y="242"/>
                        <a:pt x="149" y="242"/>
                      </a:cubicBezTo>
                      <a:cubicBezTo>
                        <a:pt x="145" y="248"/>
                        <a:pt x="140" y="248"/>
                        <a:pt x="137" y="242"/>
                      </a:cubicBez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0" y="5"/>
                        <a:pt x="2" y="0"/>
                        <a:pt x="9" y="0"/>
                      </a:cubicBezTo>
                      <a:lnTo>
                        <a:pt x="27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1" name="Freeform 23" descr="© INSCALE GmbH, 26.05.2010&#10;http://www.presentationload.com/"/>
                <p:cNvSpPr>
                  <a:spLocks noChangeAspect="1"/>
                </p:cNvSpPr>
                <p:nvPr/>
              </p:nvSpPr>
              <p:spPr bwMode="gray">
                <a:xfrm>
                  <a:off x="2145" y="1712"/>
                  <a:ext cx="1474" cy="1277"/>
                </a:xfrm>
                <a:custGeom>
                  <a:avLst/>
                  <a:gdLst/>
                  <a:ahLst/>
                  <a:cxnLst>
                    <a:cxn ang="0">
                      <a:pos x="277" y="0"/>
                    </a:cxn>
                    <a:cxn ang="0">
                      <a:pos x="283" y="10"/>
                    </a:cxn>
                    <a:cxn ang="0">
                      <a:pos x="149" y="242"/>
                    </a:cxn>
                    <a:cxn ang="0">
                      <a:pos x="137" y="242"/>
                    </a:cxn>
                    <a:cxn ang="0">
                      <a:pos x="3" y="10"/>
                    </a:cxn>
                    <a:cxn ang="0">
                      <a:pos x="9" y="0"/>
                    </a:cxn>
                    <a:cxn ang="0">
                      <a:pos x="277" y="0"/>
                    </a:cxn>
                  </a:cxnLst>
                  <a:rect l="0" t="0" r="r" b="b"/>
                  <a:pathLst>
                    <a:path w="286" h="248">
                      <a:moveTo>
                        <a:pt x="277" y="0"/>
                      </a:moveTo>
                      <a:cubicBezTo>
                        <a:pt x="283" y="0"/>
                        <a:pt x="286" y="5"/>
                        <a:pt x="283" y="10"/>
                      </a:cubicBezTo>
                      <a:cubicBezTo>
                        <a:pt x="149" y="242"/>
                        <a:pt x="149" y="242"/>
                        <a:pt x="149" y="242"/>
                      </a:cubicBezTo>
                      <a:cubicBezTo>
                        <a:pt x="145" y="248"/>
                        <a:pt x="140" y="248"/>
                        <a:pt x="137" y="242"/>
                      </a:cubicBez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0" y="5"/>
                        <a:pt x="2" y="0"/>
                        <a:pt x="9" y="0"/>
                      </a:cubicBezTo>
                      <a:lnTo>
                        <a:pt x="277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E6E6E6"/>
                    </a:gs>
                    <a:gs pos="50000">
                      <a:srgbClr val="FFFFFF"/>
                    </a:gs>
                    <a:gs pos="100000">
                      <a:srgbClr val="E6E6E6"/>
                    </a:gs>
                  </a:gsLst>
                  <a:lin ang="5400000" scaled="1"/>
                </a:gradFill>
                <a:ln w="9525" cap="flat" cmpd="sng">
                  <a:solidFill>
                    <a:srgbClr val="C0C0C0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65" name="Eingekerbter Richtungspfeil 64"/>
              <p:cNvSpPr/>
              <p:nvPr/>
            </p:nvSpPr>
            <p:spPr bwMode="gray">
              <a:xfrm rot="16200000">
                <a:off x="3705227" y="3657598"/>
                <a:ext cx="1501774" cy="625475"/>
              </a:xfrm>
              <a:prstGeom prst="chevron">
                <a:avLst>
                  <a:gd name="adj" fmla="val 42893"/>
                </a:avLst>
              </a:prstGeom>
              <a:solidFill>
                <a:srgbClr val="00000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6" name="Rechteck 65"/>
              <p:cNvSpPr/>
              <p:nvPr/>
            </p:nvSpPr>
            <p:spPr bwMode="gray">
              <a:xfrm>
                <a:off x="3810000" y="3892550"/>
                <a:ext cx="1289050" cy="200025"/>
              </a:xfrm>
              <a:prstGeom prst="rect">
                <a:avLst/>
              </a:prstGeom>
              <a:solidFill>
                <a:srgbClr val="00000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67" name="Picture 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gray">
              <a:xfrm>
                <a:off x="2887633" y="2202647"/>
                <a:ext cx="2511249" cy="2576730"/>
              </a:xfrm>
              <a:prstGeom prst="rect">
                <a:avLst/>
              </a:prstGeom>
              <a:noFill/>
              <a:ln w="11176">
                <a:miter lim="800000"/>
                <a:headEnd/>
                <a:tailEnd/>
              </a:ln>
              <a:effectLst/>
            </p:spPr>
          </p:pic>
        </p:grpSp>
        <p:grpSp>
          <p:nvGrpSpPr>
            <p:cNvPr id="8" name="Gruppieren 71"/>
            <p:cNvGrpSpPr/>
            <p:nvPr/>
          </p:nvGrpSpPr>
          <p:grpSpPr bwMode="gray">
            <a:xfrm>
              <a:off x="6060176" y="4657364"/>
              <a:ext cx="1048851" cy="908955"/>
              <a:chOff x="2768929" y="2173879"/>
              <a:chExt cx="3376444" cy="292609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73" name="Freeform 20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2768929" y="2173879"/>
                <a:ext cx="3376444" cy="2926092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356" y="30"/>
                  </a:cxn>
                  <a:cxn ang="0">
                    <a:pos x="200" y="301"/>
                  </a:cxn>
                  <a:cxn ang="0">
                    <a:pos x="166" y="301"/>
                  </a:cxn>
                  <a:cxn ang="0">
                    <a:pos x="9" y="30"/>
                  </a:cxn>
                  <a:cxn ang="0">
                    <a:pos x="26" y="0"/>
                  </a:cxn>
                  <a:cxn ang="0">
                    <a:pos x="339" y="0"/>
                  </a:cxn>
                </a:cxnLst>
                <a:rect l="0" t="0" r="r" b="b"/>
                <a:pathLst>
                  <a:path w="366" h="317">
                    <a:moveTo>
                      <a:pt x="339" y="0"/>
                    </a:moveTo>
                    <a:cubicBezTo>
                      <a:pt x="358" y="0"/>
                      <a:pt x="366" y="14"/>
                      <a:pt x="356" y="30"/>
                    </a:cubicBezTo>
                    <a:cubicBezTo>
                      <a:pt x="200" y="301"/>
                      <a:pt x="200" y="301"/>
                      <a:pt x="200" y="301"/>
                    </a:cubicBezTo>
                    <a:cubicBezTo>
                      <a:pt x="190" y="317"/>
                      <a:pt x="175" y="317"/>
                      <a:pt x="166" y="30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0" y="14"/>
                      <a:pt x="8" y="0"/>
                      <a:pt x="26" y="0"/>
                    </a:cubicBez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4" name="Freeform 21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2768929" y="2173879"/>
                <a:ext cx="3376444" cy="2926092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356" y="30"/>
                  </a:cxn>
                  <a:cxn ang="0">
                    <a:pos x="200" y="301"/>
                  </a:cxn>
                  <a:cxn ang="0">
                    <a:pos x="166" y="301"/>
                  </a:cxn>
                  <a:cxn ang="0">
                    <a:pos x="9" y="30"/>
                  </a:cxn>
                  <a:cxn ang="0">
                    <a:pos x="26" y="0"/>
                  </a:cxn>
                  <a:cxn ang="0">
                    <a:pos x="339" y="0"/>
                  </a:cxn>
                </a:cxnLst>
                <a:rect l="0" t="0" r="r" b="b"/>
                <a:pathLst>
                  <a:path w="366" h="317">
                    <a:moveTo>
                      <a:pt x="339" y="0"/>
                    </a:moveTo>
                    <a:cubicBezTo>
                      <a:pt x="358" y="0"/>
                      <a:pt x="366" y="14"/>
                      <a:pt x="356" y="30"/>
                    </a:cubicBezTo>
                    <a:cubicBezTo>
                      <a:pt x="200" y="301"/>
                      <a:pt x="200" y="301"/>
                      <a:pt x="200" y="301"/>
                    </a:cubicBezTo>
                    <a:cubicBezTo>
                      <a:pt x="190" y="317"/>
                      <a:pt x="175" y="317"/>
                      <a:pt x="166" y="301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0" y="14"/>
                      <a:pt x="8" y="0"/>
                      <a:pt x="26" y="0"/>
                    </a:cubicBezTo>
                    <a:lnTo>
                      <a:pt x="339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60000">
                      <a:gamma/>
                      <a:shade val="64706"/>
                      <a:invGamma/>
                    </a:srgbClr>
                  </a:gs>
                  <a:gs pos="100000">
                    <a:srgbClr val="D60000"/>
                  </a:gs>
                </a:gsLst>
                <a:lin ang="5400000" scaled="1"/>
              </a:gradFill>
              <a:ln w="9525" cap="flat" cmpd="sng">
                <a:solidFill>
                  <a:srgbClr val="C0C0C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5" name="Freeform 2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3141107" y="2572973"/>
                <a:ext cx="2637455" cy="2285394"/>
              </a:xfrm>
              <a:custGeom>
                <a:avLst/>
                <a:gdLst/>
                <a:ahLst/>
                <a:cxnLst>
                  <a:cxn ang="0">
                    <a:pos x="277" y="0"/>
                  </a:cxn>
                  <a:cxn ang="0">
                    <a:pos x="283" y="10"/>
                  </a:cxn>
                  <a:cxn ang="0">
                    <a:pos x="149" y="242"/>
                  </a:cxn>
                  <a:cxn ang="0">
                    <a:pos x="137" y="242"/>
                  </a:cxn>
                  <a:cxn ang="0">
                    <a:pos x="3" y="10"/>
                  </a:cxn>
                  <a:cxn ang="0">
                    <a:pos x="9" y="0"/>
                  </a:cxn>
                  <a:cxn ang="0">
                    <a:pos x="277" y="0"/>
                  </a:cxn>
                </a:cxnLst>
                <a:rect l="0" t="0" r="r" b="b"/>
                <a:pathLst>
                  <a:path w="286" h="248">
                    <a:moveTo>
                      <a:pt x="277" y="0"/>
                    </a:moveTo>
                    <a:cubicBezTo>
                      <a:pt x="283" y="0"/>
                      <a:pt x="286" y="5"/>
                      <a:pt x="283" y="10"/>
                    </a:cubicBezTo>
                    <a:cubicBezTo>
                      <a:pt x="149" y="242"/>
                      <a:pt x="149" y="242"/>
                      <a:pt x="149" y="242"/>
                    </a:cubicBezTo>
                    <a:cubicBezTo>
                      <a:pt x="145" y="248"/>
                      <a:pt x="140" y="248"/>
                      <a:pt x="137" y="24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5"/>
                      <a:pt x="2" y="0"/>
                      <a:pt x="9" y="0"/>
                    </a:cubicBezTo>
                    <a:lnTo>
                      <a:pt x="27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/>
              </a:p>
            </p:txBody>
          </p:sp>
          <p:sp>
            <p:nvSpPr>
              <p:cNvPr id="76" name="Freeform 23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 rot="10800000">
                <a:off x="3141107" y="2572973"/>
                <a:ext cx="2637455" cy="2285394"/>
              </a:xfrm>
              <a:custGeom>
                <a:avLst/>
                <a:gdLst/>
                <a:ahLst/>
                <a:cxnLst>
                  <a:cxn ang="0">
                    <a:pos x="277" y="0"/>
                  </a:cxn>
                  <a:cxn ang="0">
                    <a:pos x="283" y="10"/>
                  </a:cxn>
                  <a:cxn ang="0">
                    <a:pos x="149" y="242"/>
                  </a:cxn>
                  <a:cxn ang="0">
                    <a:pos x="137" y="242"/>
                  </a:cxn>
                  <a:cxn ang="0">
                    <a:pos x="3" y="10"/>
                  </a:cxn>
                  <a:cxn ang="0">
                    <a:pos x="9" y="0"/>
                  </a:cxn>
                  <a:cxn ang="0">
                    <a:pos x="277" y="0"/>
                  </a:cxn>
                </a:cxnLst>
                <a:rect l="0" t="0" r="r" b="b"/>
                <a:pathLst>
                  <a:path w="286" h="248">
                    <a:moveTo>
                      <a:pt x="277" y="0"/>
                    </a:moveTo>
                    <a:cubicBezTo>
                      <a:pt x="283" y="0"/>
                      <a:pt x="286" y="5"/>
                      <a:pt x="283" y="10"/>
                    </a:cubicBezTo>
                    <a:cubicBezTo>
                      <a:pt x="149" y="242"/>
                      <a:pt x="149" y="242"/>
                      <a:pt x="149" y="242"/>
                    </a:cubicBezTo>
                    <a:cubicBezTo>
                      <a:pt x="145" y="248"/>
                      <a:pt x="140" y="248"/>
                      <a:pt x="137" y="24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5"/>
                      <a:pt x="2" y="0"/>
                      <a:pt x="9" y="0"/>
                    </a:cubicBezTo>
                    <a:lnTo>
                      <a:pt x="277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50000">
                    <a:srgbClr val="FFFFFF"/>
                  </a:gs>
                  <a:gs pos="100000">
                    <a:srgbClr val="E6E6E6"/>
                  </a:gs>
                </a:gsLst>
                <a:lin ang="5400000" scaled="1"/>
              </a:gradFill>
              <a:ln w="9525" cap="flat" cmpd="sng">
                <a:solidFill>
                  <a:srgbClr val="C0C0C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noProof="1"/>
              </a:p>
            </p:txBody>
          </p:sp>
          <p:grpSp>
            <p:nvGrpSpPr>
              <p:cNvPr id="9" name="Gruppieren 21"/>
              <p:cNvGrpSpPr/>
              <p:nvPr/>
            </p:nvGrpSpPr>
            <p:grpSpPr bwMode="gray">
              <a:xfrm>
                <a:off x="4287839" y="3078481"/>
                <a:ext cx="334293" cy="1645920"/>
                <a:chOff x="4097338" y="1006476"/>
                <a:chExt cx="955675" cy="4705349"/>
              </a:xfrm>
            </p:grpSpPr>
            <p:sp>
              <p:nvSpPr>
                <p:cNvPr id="79" name="Freeform 7"/>
                <p:cNvSpPr>
                  <a:spLocks/>
                </p:cNvSpPr>
                <p:nvPr/>
              </p:nvSpPr>
              <p:spPr bwMode="gray">
                <a:xfrm>
                  <a:off x="4097338" y="1006476"/>
                  <a:ext cx="955675" cy="3636962"/>
                </a:xfrm>
                <a:custGeom>
                  <a:avLst/>
                  <a:gdLst/>
                  <a:ahLst/>
                  <a:cxnLst>
                    <a:cxn ang="0">
                      <a:pos x="0" y="145"/>
                    </a:cxn>
                    <a:cxn ang="0">
                      <a:pos x="255" y="145"/>
                    </a:cxn>
                    <a:cxn ang="0">
                      <a:pos x="188" y="910"/>
                    </a:cxn>
                    <a:cxn ang="0">
                      <a:pos x="69" y="910"/>
                    </a:cxn>
                    <a:cxn ang="0">
                      <a:pos x="0" y="145"/>
                    </a:cxn>
                  </a:cxnLst>
                  <a:rect l="0" t="0" r="r" b="b"/>
                  <a:pathLst>
                    <a:path w="255" h="970">
                      <a:moveTo>
                        <a:pt x="0" y="145"/>
                      </a:moveTo>
                      <a:cubicBezTo>
                        <a:pt x="0" y="0"/>
                        <a:pt x="255" y="0"/>
                        <a:pt x="255" y="145"/>
                      </a:cubicBezTo>
                      <a:cubicBezTo>
                        <a:pt x="188" y="910"/>
                        <a:pt x="188" y="910"/>
                        <a:pt x="188" y="910"/>
                      </a:cubicBezTo>
                      <a:cubicBezTo>
                        <a:pt x="188" y="970"/>
                        <a:pt x="69" y="970"/>
                        <a:pt x="69" y="910"/>
                      </a:cubicBezTo>
                      <a:lnTo>
                        <a:pt x="0" y="14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" name="Oval 8"/>
                <p:cNvSpPr>
                  <a:spLocks noChangeArrowheads="1"/>
                </p:cNvSpPr>
                <p:nvPr/>
              </p:nvSpPr>
              <p:spPr bwMode="gray">
                <a:xfrm>
                  <a:off x="4102101" y="4762500"/>
                  <a:ext cx="947738" cy="949325"/>
                </a:xfrm>
                <a:prstGeom prst="ellipse">
                  <a:avLst/>
                </a:pr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78" name="Picture 9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gray">
              <a:xfrm>
                <a:off x="2887633" y="2202647"/>
                <a:ext cx="2511249" cy="2576730"/>
              </a:xfrm>
              <a:prstGeom prst="rect">
                <a:avLst/>
              </a:prstGeom>
              <a:noFill/>
              <a:ln w="11176">
                <a:miter lim="800000"/>
                <a:headEnd/>
                <a:tailEnd/>
              </a:ln>
              <a:effectLst/>
            </p:spPr>
          </p:pic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3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WOT Analysis</a:t>
            </a:r>
            <a:endParaRPr lang="en-US" dirty="0"/>
          </a:p>
        </p:txBody>
      </p: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Aggregation to SWOT-Portfolio</a:t>
            </a:r>
          </a:p>
        </p:txBody>
      </p:sp>
      <p:grpSp>
        <p:nvGrpSpPr>
          <p:cNvPr id="3" name="Gruppieren 30"/>
          <p:cNvGrpSpPr/>
          <p:nvPr/>
        </p:nvGrpSpPr>
        <p:grpSpPr bwMode="gray">
          <a:xfrm>
            <a:off x="282245" y="1572853"/>
            <a:ext cx="8537905" cy="4229459"/>
            <a:chOff x="282245" y="1572853"/>
            <a:chExt cx="8537905" cy="4229459"/>
          </a:xfrm>
        </p:grpSpPr>
        <p:grpSp>
          <p:nvGrpSpPr>
            <p:cNvPr id="4" name="Gruppieren 27"/>
            <p:cNvGrpSpPr/>
            <p:nvPr/>
          </p:nvGrpSpPr>
          <p:grpSpPr bwMode="gray">
            <a:xfrm>
              <a:off x="282245" y="1572853"/>
              <a:ext cx="6709780" cy="1100589"/>
              <a:chOff x="282245" y="1572853"/>
              <a:chExt cx="6709780" cy="1100589"/>
            </a:xfrm>
          </p:grpSpPr>
          <p:sp>
            <p:nvSpPr>
              <p:cNvPr id="56" name="AutoShape 26"/>
              <p:cNvSpPr>
                <a:spLocks noChangeArrowheads="1"/>
              </p:cNvSpPr>
              <p:nvPr/>
            </p:nvSpPr>
            <p:spPr bwMode="gray">
              <a:xfrm flipV="1">
                <a:off x="1063924" y="2471957"/>
                <a:ext cx="472678" cy="201485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" name="AutoShape 12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683568" y="1572853"/>
                <a:ext cx="6308457" cy="899105"/>
              </a:xfrm>
              <a:prstGeom prst="homePlate">
                <a:avLst>
                  <a:gd name="adj" fmla="val 48981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0" rIns="144000" bIns="0" anchor="ctr" anchorCtr="0"/>
              <a:lstStyle/>
              <a:p>
                <a:pPr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7D7D7D"/>
                  </a:buClr>
                  <a:defRPr/>
                </a:pPr>
                <a:r>
                  <a:rPr lang="en-US" sz="1600" b="1" dirty="0" smtClean="0">
                    <a:solidFill>
                      <a:srgbClr val="FFFFFF"/>
                    </a:solidFill>
                  </a:rPr>
                  <a:t>Corporate identification? Strengths and weaknesses</a:t>
                </a:r>
              </a:p>
            </p:txBody>
          </p:sp>
          <p:grpSp>
            <p:nvGrpSpPr>
              <p:cNvPr id="5" name="Gruppieren 54"/>
              <p:cNvGrpSpPr/>
              <p:nvPr/>
            </p:nvGrpSpPr>
            <p:grpSpPr bwMode="gray">
              <a:xfrm rot="16200000">
                <a:off x="282245" y="1776432"/>
                <a:ext cx="491946" cy="491946"/>
                <a:chOff x="371919" y="1619435"/>
                <a:chExt cx="606054" cy="606054"/>
              </a:xfrm>
            </p:grpSpPr>
            <p:sp>
              <p:nvSpPr>
                <p:cNvPr id="41" name="Ellipse 40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42" name="Ellipse 41"/>
                <p:cNvSpPr/>
                <p:nvPr/>
              </p:nvSpPr>
              <p:spPr bwMode="gray">
                <a:xfrm>
                  <a:off x="45261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3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vert" lIns="0" tIns="0" rIns="0" bIns="0" rtlCol="0" anchor="ctr"/>
                <a:lstStyle/>
                <a:p>
                  <a:pPr algn="ctr"/>
                  <a:r>
                    <a:rPr lang="en-US" b="1" dirty="0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1</a:t>
                  </a:r>
                </a:p>
              </p:txBody>
            </p:sp>
            <p:sp>
              <p:nvSpPr>
                <p:cNvPr id="43" name="Halbbogen 42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</p:grpSp>
        <p:grpSp>
          <p:nvGrpSpPr>
            <p:cNvPr id="6" name="Gruppieren 29"/>
            <p:cNvGrpSpPr/>
            <p:nvPr/>
          </p:nvGrpSpPr>
          <p:grpSpPr bwMode="gray">
            <a:xfrm>
              <a:off x="890062" y="2682970"/>
              <a:ext cx="6711338" cy="1100591"/>
              <a:chOff x="890062" y="2682970"/>
              <a:chExt cx="6711338" cy="1100591"/>
            </a:xfrm>
          </p:grpSpPr>
          <p:sp>
            <p:nvSpPr>
              <p:cNvPr id="57" name="AutoShape 26"/>
              <p:cNvSpPr>
                <a:spLocks noChangeArrowheads="1"/>
              </p:cNvSpPr>
              <p:nvPr/>
            </p:nvSpPr>
            <p:spPr bwMode="gray">
              <a:xfrm flipV="1">
                <a:off x="1672479" y="3582076"/>
                <a:ext cx="472678" cy="201485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5" name="AutoShape 13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1294200" y="2682970"/>
                <a:ext cx="6307200" cy="899106"/>
              </a:xfrm>
              <a:prstGeom prst="homePlate">
                <a:avLst>
                  <a:gd name="adj" fmla="val 48981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0" rIns="144000" bIns="0" anchor="ctr" anchorCtr="0"/>
              <a:lstStyle/>
              <a:p>
                <a:pPr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7D7D7D"/>
                  </a:buClr>
                  <a:defRPr/>
                </a:pPr>
                <a:r>
                  <a:rPr lang="en-US" sz="1600" b="1" dirty="0" smtClean="0">
                    <a:solidFill>
                      <a:srgbClr val="FFFFFF"/>
                    </a:solidFill>
                  </a:rPr>
                  <a:t>Corporate external identify opportunities and risks</a:t>
                </a:r>
              </a:p>
            </p:txBody>
          </p:sp>
          <p:grpSp>
            <p:nvGrpSpPr>
              <p:cNvPr id="7" name="Gruppieren 54"/>
              <p:cNvGrpSpPr/>
              <p:nvPr/>
            </p:nvGrpSpPr>
            <p:grpSpPr bwMode="gray">
              <a:xfrm rot="16200000">
                <a:off x="890062" y="2886551"/>
                <a:ext cx="491946" cy="491946"/>
                <a:chOff x="371919" y="1619435"/>
                <a:chExt cx="606054" cy="606054"/>
              </a:xfrm>
            </p:grpSpPr>
            <p:sp>
              <p:nvSpPr>
                <p:cNvPr id="45" name="Ellipse 44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46" name="Ellipse 45"/>
                <p:cNvSpPr/>
                <p:nvPr/>
              </p:nvSpPr>
              <p:spPr bwMode="gray">
                <a:xfrm>
                  <a:off x="45261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3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vert" lIns="0" tIns="0" rIns="0" bIns="0" rtlCol="0" anchor="ctr"/>
                <a:lstStyle/>
                <a:p>
                  <a:pPr algn="ctr"/>
                  <a:r>
                    <a:rPr lang="en-US" b="1" dirty="0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2</a:t>
                  </a:r>
                </a:p>
              </p:txBody>
            </p:sp>
            <p:sp>
              <p:nvSpPr>
                <p:cNvPr id="47" name="Halbbogen 46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</p:grpSp>
        <p:grpSp>
          <p:nvGrpSpPr>
            <p:cNvPr id="8" name="Gruppieren 30"/>
            <p:cNvGrpSpPr/>
            <p:nvPr/>
          </p:nvGrpSpPr>
          <p:grpSpPr bwMode="gray">
            <a:xfrm>
              <a:off x="1501587" y="3793088"/>
              <a:ext cx="6709188" cy="1100591"/>
              <a:chOff x="1501587" y="3793088"/>
              <a:chExt cx="6709188" cy="1100591"/>
            </a:xfrm>
          </p:grpSpPr>
          <p:sp>
            <p:nvSpPr>
              <p:cNvPr id="58" name="AutoShape 26"/>
              <p:cNvSpPr>
                <a:spLocks noChangeArrowheads="1"/>
              </p:cNvSpPr>
              <p:nvPr/>
            </p:nvSpPr>
            <p:spPr bwMode="gray">
              <a:xfrm flipV="1">
                <a:off x="2281374" y="4692194"/>
                <a:ext cx="472678" cy="201485"/>
              </a:xfrm>
              <a:prstGeom prst="triangle">
                <a:avLst>
                  <a:gd name="adj" fmla="val 50000"/>
                </a:avLst>
              </a:prstGeom>
              <a:solidFill>
                <a:srgbClr val="808080"/>
              </a:soli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2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" name="AutoShape 14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1903575" y="3793088"/>
                <a:ext cx="6307200" cy="899106"/>
              </a:xfrm>
              <a:prstGeom prst="homePlate">
                <a:avLst>
                  <a:gd name="adj" fmla="val 48981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0" rIns="144000" bIns="0" anchor="ctr" anchorCtr="0"/>
              <a:lstStyle/>
              <a:p>
                <a:pPr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7D7D7D"/>
                  </a:buClr>
                  <a:defRPr/>
                </a:pPr>
                <a:r>
                  <a:rPr lang="en-US" sz="1600" b="1" dirty="0" smtClean="0">
                    <a:solidFill>
                      <a:srgbClr val="FFFFFF"/>
                    </a:solidFill>
                  </a:rPr>
                  <a:t>Figure of a combined portfolio</a:t>
                </a:r>
              </a:p>
            </p:txBody>
          </p:sp>
          <p:grpSp>
            <p:nvGrpSpPr>
              <p:cNvPr id="9" name="Gruppieren 54"/>
              <p:cNvGrpSpPr/>
              <p:nvPr/>
            </p:nvGrpSpPr>
            <p:grpSpPr bwMode="gray">
              <a:xfrm rot="16200000">
                <a:off x="1501587" y="3996668"/>
                <a:ext cx="491946" cy="491946"/>
                <a:chOff x="371919" y="1619435"/>
                <a:chExt cx="606054" cy="606054"/>
              </a:xfrm>
            </p:grpSpPr>
            <p:sp>
              <p:nvSpPr>
                <p:cNvPr id="49" name="Ellipse 48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50" name="Ellipse 49"/>
                <p:cNvSpPr/>
                <p:nvPr/>
              </p:nvSpPr>
              <p:spPr bwMode="gray">
                <a:xfrm>
                  <a:off x="45261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3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vert" lIns="0" tIns="0" rIns="0" bIns="0" rtlCol="0" anchor="ctr"/>
                <a:lstStyle/>
                <a:p>
                  <a:pPr algn="ctr"/>
                  <a:r>
                    <a:rPr lang="en-US" b="1" dirty="0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3</a:t>
                  </a:r>
                </a:p>
              </p:txBody>
            </p:sp>
            <p:sp>
              <p:nvSpPr>
                <p:cNvPr id="51" name="Halbbogen 50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</p:grpSp>
        <p:grpSp>
          <p:nvGrpSpPr>
            <p:cNvPr id="10" name="Gruppieren 31"/>
            <p:cNvGrpSpPr/>
            <p:nvPr/>
          </p:nvGrpSpPr>
          <p:grpSpPr bwMode="gray">
            <a:xfrm>
              <a:off x="2110722" y="4903206"/>
              <a:ext cx="6709428" cy="899106"/>
              <a:chOff x="2110722" y="4903206"/>
              <a:chExt cx="6709428" cy="899106"/>
            </a:xfrm>
          </p:grpSpPr>
          <p:sp>
            <p:nvSpPr>
              <p:cNvPr id="17" name="AutoShape 15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512950" y="4903206"/>
                <a:ext cx="6307200" cy="899106"/>
              </a:xfrm>
              <a:prstGeom prst="homePlate">
                <a:avLst>
                  <a:gd name="adj" fmla="val 48981"/>
                </a:avLst>
              </a:prstGeom>
              <a:gradFill flip="none" rotWithShape="1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216000" tIns="0" rIns="144000" bIns="0" anchor="ctr" anchorCtr="0"/>
              <a:lstStyle/>
              <a:p>
                <a:pPr indent="-190500">
                  <a:lnSpc>
                    <a:spcPct val="95000"/>
                  </a:lnSpc>
                  <a:spcAft>
                    <a:spcPts val="800"/>
                  </a:spcAft>
                  <a:buClr>
                    <a:srgbClr val="7D7D7D"/>
                  </a:buClr>
                  <a:defRPr/>
                </a:pPr>
                <a:r>
                  <a:rPr lang="en-US" sz="1600" b="1" dirty="0" smtClean="0">
                    <a:solidFill>
                      <a:srgbClr val="FFFFFF"/>
                    </a:solidFill>
                  </a:rPr>
                  <a:t>Derivation of standard strategies</a:t>
                </a:r>
              </a:p>
            </p:txBody>
          </p:sp>
          <p:grpSp>
            <p:nvGrpSpPr>
              <p:cNvPr id="11" name="Gruppieren 54"/>
              <p:cNvGrpSpPr/>
              <p:nvPr/>
            </p:nvGrpSpPr>
            <p:grpSpPr bwMode="gray">
              <a:xfrm rot="16200000">
                <a:off x="2110722" y="5106786"/>
                <a:ext cx="491946" cy="491946"/>
                <a:chOff x="371919" y="1619435"/>
                <a:chExt cx="606054" cy="606054"/>
              </a:xfrm>
            </p:grpSpPr>
            <p:sp>
              <p:nvSpPr>
                <p:cNvPr id="53" name="Ellipse 52"/>
                <p:cNvSpPr/>
                <p:nvPr/>
              </p:nvSpPr>
              <p:spPr bwMode="gray">
                <a:xfrm>
                  <a:off x="371919" y="1619435"/>
                  <a:ext cx="606054" cy="606054"/>
                </a:xfrm>
                <a:prstGeom prst="ellipse">
                  <a:avLst/>
                </a:prstGeom>
                <a:solidFill>
                  <a:srgbClr val="FFFFFF"/>
                </a:soli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54" name="Ellipse 53"/>
                <p:cNvSpPr/>
                <p:nvPr/>
              </p:nvSpPr>
              <p:spPr bwMode="gray">
                <a:xfrm>
                  <a:off x="452616" y="1679462"/>
                  <a:ext cx="486000" cy="486000"/>
                </a:xfrm>
                <a:prstGeom prst="ellipse">
                  <a:avLst/>
                </a:prstGeom>
                <a:blipFill dpi="0" rotWithShape="1">
                  <a:blip r:embed="rId3" cstate="print"/>
                  <a:srcRect/>
                  <a:stretch>
                    <a:fillRect l="-1000" t="-1000" r="-1000" b="-1000"/>
                  </a:stretch>
                </a:blipFill>
                <a:ln w="1270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vert" lIns="0" tIns="0" rIns="0" bIns="0" rtlCol="0" anchor="ctr"/>
                <a:lstStyle/>
                <a:p>
                  <a:pPr algn="ctr"/>
                  <a:r>
                    <a:rPr lang="en-US" b="1" dirty="0" smtClean="0">
                      <a:solidFill>
                        <a:schemeClr val="bg1">
                          <a:lumMod val="65000"/>
                        </a:schemeClr>
                      </a:solidFill>
                      <a:effectLst>
                        <a:innerShdw blurRad="63500" dist="50800" dir="16200000">
                          <a:prstClr val="black">
                            <a:alpha val="50000"/>
                          </a:prstClr>
                        </a:innerShdw>
                      </a:effectLst>
                    </a:rPr>
                    <a:t>4</a:t>
                  </a:r>
                </a:p>
              </p:txBody>
            </p:sp>
            <p:sp>
              <p:nvSpPr>
                <p:cNvPr id="55" name="Halbbogen 54"/>
                <p:cNvSpPr/>
                <p:nvPr/>
              </p:nvSpPr>
              <p:spPr bwMode="gray">
                <a:xfrm rot="10800000">
                  <a:off x="372546" y="1620062"/>
                  <a:ext cx="604800" cy="604800"/>
                </a:xfrm>
                <a:prstGeom prst="blockArc">
                  <a:avLst>
                    <a:gd name="adj1" fmla="val 13136594"/>
                    <a:gd name="adj2" fmla="val 19272566"/>
                    <a:gd name="adj3" fmla="val 19"/>
                  </a:avLst>
                </a:prstGeom>
                <a:no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54" name="Rectangle 2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 smtClean="0"/>
              <a:t>SWOT Analysis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801688" eaLnBrk="0" hangingPunct="0"/>
            <a:r>
              <a:rPr lang="en-US" noProof="1" smtClean="0">
                <a:cs typeface="Arial" charset="0"/>
              </a:rPr>
              <a:t>Placeholder for your own sub headline</a:t>
            </a:r>
            <a:endParaRPr lang="en-US" noProof="1">
              <a:cs typeface="Arial" charset="0"/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324641" y="1555744"/>
          <a:ext cx="8495509" cy="4246568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57802"/>
                <a:gridCol w="1281071"/>
                <a:gridCol w="3428318"/>
                <a:gridCol w="3428318"/>
              </a:tblGrid>
              <a:tr h="360541"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FF"/>
                          </a:solidFill>
                        </a:rPr>
                        <a:t>SWOT -</a:t>
                      </a:r>
                      <a:br>
                        <a:rPr lang="en-US" sz="1800" b="1" dirty="0" smtClean="0">
                          <a:solidFill>
                            <a:srgbClr val="FFFFFF"/>
                          </a:solidFill>
                        </a:rPr>
                      </a:br>
                      <a:r>
                        <a:rPr lang="en-US" sz="1800" b="1" dirty="0" smtClean="0">
                          <a:solidFill>
                            <a:srgbClr val="FFFFFF"/>
                          </a:solidFill>
                        </a:rPr>
                        <a:t>Analysi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1">
                            <a:lumMod val="65000"/>
                            <a:lumOff val="35000"/>
                          </a:schemeClr>
                        </a:gs>
                        <a:gs pos="100000">
                          <a:schemeClr val="bg1">
                            <a:lumMod val="6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Internal analysi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6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0541">
                <a:tc gridSpan="2"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-190500" algn="ctr">
                        <a:lnSpc>
                          <a:spcPct val="95000"/>
                        </a:lnSpc>
                        <a:spcAft>
                          <a:spcPts val="800"/>
                        </a:spcAft>
                        <a:buClr>
                          <a:srgbClr val="7D7D7D"/>
                        </a:buClr>
                        <a:defRPr/>
                      </a:pPr>
                      <a:r>
                        <a:rPr lang="en-US" sz="1400" b="1" noProof="1" smtClean="0"/>
                        <a:t>Strenght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noProof="1" smtClean="0"/>
                        <a:t>Weakness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762743">
                <a:tc rowSpan="2">
                  <a:txBody>
                    <a:bodyPr/>
                    <a:lstStyle/>
                    <a:p>
                      <a:r>
                        <a:rPr lang="en-US" sz="1600" b="1" dirty="0" smtClean="0"/>
                        <a:t>External analysis</a:t>
                      </a:r>
                      <a:endParaRPr lang="en-US" sz="1600" b="1" dirty="0"/>
                    </a:p>
                  </a:txBody>
                  <a:tcPr vert="vert270" anchor="ctr" anchorCtr="1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noProof="1" smtClean="0">
                          <a:cs typeface="Arial" charset="0"/>
                        </a:rPr>
                        <a:t>Opportuniti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trategic Objective for S-O:</a:t>
                      </a:r>
                      <a:br>
                        <a:rPr lang="en-US" sz="1400" dirty="0" smtClean="0"/>
                      </a:br>
                      <a:r>
                        <a:rPr lang="en-US" sz="1400" b="1" dirty="0" smtClean="0"/>
                        <a:t>Pursuit of new opportunities that </a:t>
                      </a:r>
                      <a:br>
                        <a:rPr lang="en-US" sz="1400" b="1" dirty="0" smtClean="0"/>
                      </a:br>
                      <a:r>
                        <a:rPr lang="en-US" sz="1400" b="1" dirty="0" smtClean="0"/>
                        <a:t>fit well the strength the compan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trategic Objective for W-O:</a:t>
                      </a:r>
                      <a:br>
                        <a:rPr lang="en-US" sz="1400" dirty="0" smtClean="0"/>
                      </a:br>
                      <a:r>
                        <a:rPr lang="en-US" sz="1400" b="1" dirty="0" smtClean="0"/>
                        <a:t>Eliminate weaknesses to exploit </a:t>
                      </a:r>
                      <a:br>
                        <a:rPr lang="en-US" sz="1400" b="1" dirty="0" smtClean="0"/>
                      </a:br>
                      <a:r>
                        <a:rPr lang="en-US" sz="1400" b="1" dirty="0" smtClean="0"/>
                        <a:t>new opportunitie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762743">
                <a:tc v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noProof="1" smtClean="0">
                          <a:cs typeface="Arial" charset="0"/>
                        </a:rPr>
                        <a:t>Threats</a:t>
                      </a:r>
                      <a:endParaRPr lang="en-US" sz="1400" b="1" noProof="1"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trategic Objective for S-T:</a:t>
                      </a:r>
                      <a:br>
                        <a:rPr lang="en-US" sz="1400" dirty="0" smtClean="0"/>
                      </a:br>
                      <a:r>
                        <a:rPr lang="en-US" sz="1400" b="1" dirty="0" smtClean="0"/>
                        <a:t>Strengths are used to ward off threat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trategic Objective for W-T:</a:t>
                      </a:r>
                      <a:br>
                        <a:rPr lang="en-US" sz="1400" dirty="0" smtClean="0"/>
                      </a:br>
                      <a:r>
                        <a:rPr lang="en-US" sz="1400" b="1" dirty="0" smtClean="0"/>
                        <a:t>Defense strategies in order to keep existing weaknesses, become targets of threat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3" name="Rectangle 57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WOT Analysis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defTabSz="801688" eaLnBrk="0" hangingPunct="0"/>
            <a:r>
              <a:rPr lang="en-US" noProof="1" smtClean="0">
                <a:cs typeface="Arial" charset="0"/>
              </a:rPr>
              <a:t>Placeholder for your own sub headline</a:t>
            </a:r>
            <a:endParaRPr lang="en-US" noProof="1">
              <a:cs typeface="Arial" charset="0"/>
            </a:endParaRPr>
          </a:p>
        </p:txBody>
      </p:sp>
      <p:grpSp>
        <p:nvGrpSpPr>
          <p:cNvPr id="2" name="Gruppieren 9"/>
          <p:cNvGrpSpPr/>
          <p:nvPr/>
        </p:nvGrpSpPr>
        <p:grpSpPr>
          <a:xfrm>
            <a:off x="323850" y="1554954"/>
            <a:ext cx="8497093" cy="4247359"/>
            <a:chOff x="323850" y="1554954"/>
            <a:chExt cx="8497093" cy="4247359"/>
          </a:xfrm>
        </p:grpSpPr>
        <p:sp>
          <p:nvSpPr>
            <p:cNvPr id="226342" name="Rectangle 3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1554954"/>
              <a:ext cx="1519237" cy="2046475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800"/>
                </a:spcAft>
                <a:buClr>
                  <a:srgbClr val="7D7D7D"/>
                </a:buClr>
                <a:defRPr/>
              </a:pPr>
              <a:r>
                <a:rPr lang="en-US" b="1" smtClean="0"/>
                <a:t>Internal</a:t>
              </a:r>
              <a:br>
                <a:rPr lang="en-US" b="1" smtClean="0"/>
              </a:br>
              <a:r>
                <a:rPr lang="en-US" b="1" smtClean="0"/>
                <a:t>Factors</a:t>
              </a:r>
              <a:endParaRPr lang="en-US" b="1" dirty="0" smtClean="0"/>
            </a:p>
          </p:txBody>
        </p:sp>
        <p:sp>
          <p:nvSpPr>
            <p:cNvPr id="226348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755043"/>
              <a:ext cx="1519238" cy="20464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800"/>
                </a:spcAft>
                <a:buClr>
                  <a:srgbClr val="7D7D7D"/>
                </a:buClr>
                <a:defRPr/>
              </a:pPr>
              <a:r>
                <a:rPr lang="en-US" b="1" smtClean="0"/>
                <a:t>External</a:t>
              </a:r>
              <a:br>
                <a:rPr lang="en-US" b="1" smtClean="0"/>
              </a:br>
              <a:r>
                <a:rPr lang="en-US" b="1" smtClean="0"/>
                <a:t>Factors</a:t>
              </a:r>
              <a:endParaRPr lang="en-US" b="1" dirty="0" smtClean="0"/>
            </a:p>
          </p:txBody>
        </p:sp>
        <p:sp>
          <p:nvSpPr>
            <p:cNvPr id="21" name="Rectangle 3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12165" y="1554954"/>
              <a:ext cx="3323819" cy="2046475"/>
            </a:xfrm>
            <a:prstGeom prst="rect">
              <a:avLst/>
            </a:prstGeom>
            <a:gradFill flip="none" rotWithShape="1">
              <a:gsLst>
                <a:gs pos="0">
                  <a:srgbClr val="E5EFFF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108000" bIns="0" anchor="t" anchorCtr="0"/>
            <a:lstStyle/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Strength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do you do particularly well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do you do that is unique in the “marketplace?”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do your customers/clients/patrons ask for you to do over and over again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do you have the right tools/resources to accomplish?</a:t>
              </a:r>
            </a:p>
          </p:txBody>
        </p:sp>
        <p:sp>
          <p:nvSpPr>
            <p:cNvPr id="22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2008195" y="3755043"/>
              <a:ext cx="3323821" cy="2046474"/>
            </a:xfrm>
            <a:prstGeom prst="rect">
              <a:avLst/>
            </a:prstGeom>
            <a:gradFill flip="none" rotWithShape="1">
              <a:gsLst>
                <a:gs pos="0">
                  <a:srgbClr val="E5EFFF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108000" bIns="0" anchor="t" anchorCtr="0"/>
            <a:lstStyle/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Opportunities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re there new situations coming down the road that you can take advantage of (new programs being offered, new faculty joining the department, new tools available to you)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re there gaps in the “market”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that you can fill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re there partnerships that might be fruitful?</a:t>
              </a:r>
            </a:p>
          </p:txBody>
        </p:sp>
        <p:sp>
          <p:nvSpPr>
            <p:cNvPr id="23" name="Rectangle 38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97123" y="1554954"/>
              <a:ext cx="3323819" cy="2046475"/>
            </a:xfrm>
            <a:prstGeom prst="rect">
              <a:avLst/>
            </a:prstGeom>
            <a:gradFill flip="none" rotWithShape="1">
              <a:gsLst>
                <a:gs pos="0">
                  <a:srgbClr val="E5EFFF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108000" bIns="0" anchor="t" anchorCtr="0"/>
            <a:lstStyle/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Weaknesses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do you not feel as comfortable doing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needed resources, staff, </a:t>
              </a:r>
              <a:b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or skills do you lack?</a:t>
              </a:r>
            </a:p>
          </p:txBody>
        </p:sp>
        <p:sp>
          <p:nvSpPr>
            <p:cNvPr id="24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97122" y="3755839"/>
              <a:ext cx="3323821" cy="2046474"/>
            </a:xfrm>
            <a:prstGeom prst="rect">
              <a:avLst/>
            </a:prstGeom>
            <a:gradFill flip="none" rotWithShape="1">
              <a:gsLst>
                <a:gs pos="0">
                  <a:srgbClr val="E5EFFF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144000" rIns="108000" bIns="0" anchor="t" anchorCtr="0"/>
            <a:lstStyle/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Threats 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o is your competition and what do they offer that you can’t do as well or at all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re there “environmental” changes or situations that could cause problems for you and your programs?</a:t>
              </a:r>
            </a:p>
            <a:p>
              <a:pPr marL="190500" indent="-190500">
                <a:lnSpc>
                  <a:spcPct val="95000"/>
                </a:lnSpc>
                <a:spcBef>
                  <a:spcPct val="20000"/>
                </a:spcBef>
                <a:spcAft>
                  <a:spcPts val="6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What other roadblocks are being thrown in your path?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6"/>
          <p:cNvSpPr>
            <a:spLocks/>
          </p:cNvSpPr>
          <p:nvPr/>
        </p:nvSpPr>
        <p:spPr bwMode="gray">
          <a:xfrm flipH="1">
            <a:off x="5685314" y="1555751"/>
            <a:ext cx="3130903" cy="4245771"/>
          </a:xfrm>
          <a:custGeom>
            <a:avLst/>
            <a:gdLst/>
            <a:ahLst/>
            <a:cxnLst>
              <a:cxn ang="0">
                <a:pos x="707" y="0"/>
              </a:cxn>
              <a:cxn ang="0">
                <a:pos x="42" y="0"/>
              </a:cxn>
              <a:cxn ang="0">
                <a:pos x="42" y="0"/>
              </a:cxn>
              <a:cxn ang="0">
                <a:pos x="0" y="42"/>
              </a:cxn>
              <a:cxn ang="0">
                <a:pos x="0" y="42"/>
              </a:cxn>
              <a:cxn ang="0">
                <a:pos x="0" y="1741"/>
              </a:cxn>
              <a:cxn ang="0">
                <a:pos x="0" y="1741"/>
              </a:cxn>
              <a:cxn ang="0">
                <a:pos x="42" y="1783"/>
              </a:cxn>
              <a:cxn ang="0">
                <a:pos x="42" y="1783"/>
              </a:cxn>
              <a:cxn ang="0">
                <a:pos x="707" y="1783"/>
              </a:cxn>
              <a:cxn ang="0">
                <a:pos x="1315" y="1174"/>
              </a:cxn>
              <a:cxn ang="0">
                <a:pos x="1315" y="609"/>
              </a:cxn>
              <a:cxn ang="0">
                <a:pos x="707" y="0"/>
              </a:cxn>
            </a:cxnLst>
            <a:rect l="0" t="0" r="r" b="b"/>
            <a:pathLst>
              <a:path w="1315" h="1783">
                <a:moveTo>
                  <a:pt x="707" y="0"/>
                </a:moveTo>
                <a:cubicBezTo>
                  <a:pt x="42" y="0"/>
                  <a:pt x="42" y="0"/>
                  <a:pt x="42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19"/>
                  <a:pt x="0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41"/>
                  <a:pt x="0" y="1741"/>
                  <a:pt x="0" y="1741"/>
                </a:cubicBezTo>
                <a:cubicBezTo>
                  <a:pt x="0" y="1741"/>
                  <a:pt x="0" y="1741"/>
                  <a:pt x="0" y="1741"/>
                </a:cubicBezTo>
                <a:cubicBezTo>
                  <a:pt x="1" y="1764"/>
                  <a:pt x="19" y="1782"/>
                  <a:pt x="42" y="1783"/>
                </a:cubicBezTo>
                <a:cubicBezTo>
                  <a:pt x="42" y="1783"/>
                  <a:pt x="42" y="1783"/>
                  <a:pt x="42" y="1783"/>
                </a:cubicBezTo>
                <a:cubicBezTo>
                  <a:pt x="707" y="1783"/>
                  <a:pt x="707" y="1783"/>
                  <a:pt x="707" y="1783"/>
                </a:cubicBezTo>
                <a:cubicBezTo>
                  <a:pt x="1315" y="1174"/>
                  <a:pt x="1315" y="1174"/>
                  <a:pt x="1315" y="1174"/>
                </a:cubicBezTo>
                <a:cubicBezTo>
                  <a:pt x="1315" y="609"/>
                  <a:pt x="1315" y="609"/>
                  <a:pt x="1315" y="609"/>
                </a:cubicBezTo>
                <a:lnTo>
                  <a:pt x="707" y="0"/>
                </a:lnTo>
                <a:close/>
              </a:path>
            </a:pathLst>
          </a:cu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108000" tIns="108000" rIns="144000" bIns="108000" anchor="ctr" anchorCtr="0"/>
          <a:lstStyle/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sz="1100" noProof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Freeform 6"/>
          <p:cNvSpPr>
            <a:spLocks/>
          </p:cNvSpPr>
          <p:nvPr/>
        </p:nvSpPr>
        <p:spPr bwMode="gray">
          <a:xfrm>
            <a:off x="324641" y="1555750"/>
            <a:ext cx="3130903" cy="4245771"/>
          </a:xfrm>
          <a:custGeom>
            <a:avLst/>
            <a:gdLst/>
            <a:ahLst/>
            <a:cxnLst>
              <a:cxn ang="0">
                <a:pos x="707" y="0"/>
              </a:cxn>
              <a:cxn ang="0">
                <a:pos x="42" y="0"/>
              </a:cxn>
              <a:cxn ang="0">
                <a:pos x="42" y="0"/>
              </a:cxn>
              <a:cxn ang="0">
                <a:pos x="0" y="42"/>
              </a:cxn>
              <a:cxn ang="0">
                <a:pos x="0" y="42"/>
              </a:cxn>
              <a:cxn ang="0">
                <a:pos x="0" y="1741"/>
              </a:cxn>
              <a:cxn ang="0">
                <a:pos x="0" y="1741"/>
              </a:cxn>
              <a:cxn ang="0">
                <a:pos x="42" y="1783"/>
              </a:cxn>
              <a:cxn ang="0">
                <a:pos x="42" y="1783"/>
              </a:cxn>
              <a:cxn ang="0">
                <a:pos x="707" y="1783"/>
              </a:cxn>
              <a:cxn ang="0">
                <a:pos x="1315" y="1174"/>
              </a:cxn>
              <a:cxn ang="0">
                <a:pos x="1315" y="609"/>
              </a:cxn>
              <a:cxn ang="0">
                <a:pos x="707" y="0"/>
              </a:cxn>
            </a:cxnLst>
            <a:rect l="0" t="0" r="r" b="b"/>
            <a:pathLst>
              <a:path w="1315" h="1783">
                <a:moveTo>
                  <a:pt x="707" y="0"/>
                </a:moveTo>
                <a:cubicBezTo>
                  <a:pt x="42" y="0"/>
                  <a:pt x="42" y="0"/>
                  <a:pt x="42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19"/>
                  <a:pt x="0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741"/>
                  <a:pt x="0" y="1741"/>
                  <a:pt x="0" y="1741"/>
                </a:cubicBezTo>
                <a:cubicBezTo>
                  <a:pt x="0" y="1741"/>
                  <a:pt x="0" y="1741"/>
                  <a:pt x="0" y="1741"/>
                </a:cubicBezTo>
                <a:cubicBezTo>
                  <a:pt x="1" y="1764"/>
                  <a:pt x="19" y="1782"/>
                  <a:pt x="42" y="1783"/>
                </a:cubicBezTo>
                <a:cubicBezTo>
                  <a:pt x="42" y="1783"/>
                  <a:pt x="42" y="1783"/>
                  <a:pt x="42" y="1783"/>
                </a:cubicBezTo>
                <a:cubicBezTo>
                  <a:pt x="707" y="1783"/>
                  <a:pt x="707" y="1783"/>
                  <a:pt x="707" y="1783"/>
                </a:cubicBezTo>
                <a:cubicBezTo>
                  <a:pt x="1315" y="1174"/>
                  <a:pt x="1315" y="1174"/>
                  <a:pt x="1315" y="1174"/>
                </a:cubicBezTo>
                <a:cubicBezTo>
                  <a:pt x="1315" y="609"/>
                  <a:pt x="1315" y="609"/>
                  <a:pt x="1315" y="609"/>
                </a:cubicBezTo>
                <a:lnTo>
                  <a:pt x="707" y="0"/>
                </a:lnTo>
                <a:close/>
              </a:path>
            </a:pathLst>
          </a:cu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108000" tIns="108000" rIns="144000" bIns="108000" anchor="ctr" anchorCtr="0"/>
          <a:lstStyle/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sz="1100" noProof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74" name="Rectangle 10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WOT Analysis</a:t>
            </a:r>
            <a:endParaRPr lang="en-GB" noProof="1" smtClean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ossible input sources</a:t>
            </a:r>
          </a:p>
        </p:txBody>
      </p:sp>
      <p:grpSp>
        <p:nvGrpSpPr>
          <p:cNvPr id="3" name="Gruppieren 81"/>
          <p:cNvGrpSpPr/>
          <p:nvPr/>
        </p:nvGrpSpPr>
        <p:grpSpPr bwMode="gray">
          <a:xfrm>
            <a:off x="3549069" y="2918460"/>
            <a:ext cx="2046654" cy="1520348"/>
            <a:chOff x="3549069" y="2918460"/>
            <a:chExt cx="2046654" cy="1520348"/>
          </a:xfrm>
        </p:grpSpPr>
        <p:sp>
          <p:nvSpPr>
            <p:cNvPr id="60" name="Abgerundetes Rechteck 59"/>
            <p:cNvSpPr/>
            <p:nvPr/>
          </p:nvSpPr>
          <p:spPr bwMode="gray">
            <a:xfrm>
              <a:off x="3549069" y="2918460"/>
              <a:ext cx="976923" cy="707268"/>
            </a:xfrm>
            <a:prstGeom prst="round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800"/>
                </a:spcAft>
                <a:buClr>
                  <a:srgbClr val="7D7D7D"/>
                </a:buClr>
                <a:defRPr/>
              </a:pPr>
              <a:r>
                <a:rPr lang="de-DE" sz="1600" b="1" dirty="0" smtClean="0"/>
                <a:t>S</a:t>
              </a:r>
              <a:endParaRPr lang="de-DE" sz="1600" b="1" dirty="0"/>
            </a:p>
          </p:txBody>
        </p:sp>
        <p:sp>
          <p:nvSpPr>
            <p:cNvPr id="61" name="Abgerundetes Rechteck 60"/>
            <p:cNvSpPr/>
            <p:nvPr/>
          </p:nvSpPr>
          <p:spPr bwMode="gray">
            <a:xfrm>
              <a:off x="4618800" y="2918460"/>
              <a:ext cx="976923" cy="707268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defRPr/>
              </a:pPr>
              <a:r>
                <a:rPr lang="de-DE" b="1" noProof="1" smtClean="0">
                  <a:solidFill>
                    <a:srgbClr val="FFFFFF"/>
                  </a:solidFill>
                  <a:cs typeface="Arial" charset="0"/>
                </a:rPr>
                <a:t>O</a:t>
              </a:r>
              <a:endParaRPr lang="de-DE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2" name="Abgerundetes Rechteck 61"/>
            <p:cNvSpPr/>
            <p:nvPr/>
          </p:nvSpPr>
          <p:spPr bwMode="gray">
            <a:xfrm>
              <a:off x="3549069" y="3731540"/>
              <a:ext cx="976923" cy="707268"/>
            </a:xfrm>
            <a:prstGeom prst="round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indent="-190500" algn="ctr">
                <a:lnSpc>
                  <a:spcPct val="95000"/>
                </a:lnSpc>
                <a:spcAft>
                  <a:spcPts val="800"/>
                </a:spcAft>
                <a:buClr>
                  <a:srgbClr val="7D7D7D"/>
                </a:buClr>
                <a:defRPr/>
              </a:pPr>
              <a:r>
                <a:rPr lang="de-DE" sz="1600" b="1" dirty="0" smtClean="0"/>
                <a:t>W</a:t>
              </a:r>
              <a:endParaRPr lang="de-DE" sz="1600" b="1" dirty="0"/>
            </a:p>
          </p:txBody>
        </p:sp>
        <p:sp>
          <p:nvSpPr>
            <p:cNvPr id="63" name="Abgerundetes Rechteck 62"/>
            <p:cNvSpPr/>
            <p:nvPr/>
          </p:nvSpPr>
          <p:spPr bwMode="gray">
            <a:xfrm>
              <a:off x="4618800" y="3731540"/>
              <a:ext cx="976923" cy="707268"/>
            </a:xfrm>
            <a:prstGeom prst="round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defRPr/>
              </a:pPr>
              <a:r>
                <a:rPr lang="de-DE" b="1" noProof="1" smtClean="0">
                  <a:solidFill>
                    <a:srgbClr val="FFFFFF"/>
                  </a:solidFill>
                  <a:cs typeface="Arial" charset="0"/>
                </a:rPr>
                <a:t>T</a:t>
              </a:r>
              <a:endParaRPr lang="de-DE" b="1" noProof="1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21" name="Rechteck 20"/>
          <p:cNvSpPr/>
          <p:nvPr/>
        </p:nvSpPr>
        <p:spPr bwMode="gray">
          <a:xfrm>
            <a:off x="324641" y="1555751"/>
            <a:ext cx="3130903" cy="4245771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ABC-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Life cycle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Experience curve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Cost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Satisfaction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Corporate Culture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Core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7-S model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Value Chain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Market growth / market share </a:t>
            </a:r>
            <a:br>
              <a:rPr lang="en-US" sz="110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portfolio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Industries attractiveness - / </a:t>
            </a:r>
            <a:br>
              <a:rPr lang="en-US" sz="110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Competition strenght – </a:t>
            </a:r>
            <a:br>
              <a:rPr lang="en-US" sz="110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Portfolio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Other Portfolio Analytic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b="1" noProof="1" smtClean="0">
                <a:solidFill>
                  <a:srgbClr val="000000"/>
                </a:solidFill>
                <a:cs typeface="Arial" charset="0"/>
              </a:rPr>
              <a:t>Strengths and weaknesses </a:t>
            </a:r>
            <a:br>
              <a:rPr lang="en-US" sz="1100" b="1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100" b="1" noProof="1" smtClean="0">
                <a:solidFill>
                  <a:srgbClr val="000000"/>
                </a:solidFill>
                <a:cs typeface="Arial" charset="0"/>
              </a:rPr>
              <a:t>analysis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6861779" y="1555751"/>
            <a:ext cx="1959163" cy="4245771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b="1" noProof="1" smtClean="0">
                <a:solidFill>
                  <a:srgbClr val="000000"/>
                </a:solidFill>
                <a:cs typeface="Arial" charset="0"/>
              </a:rPr>
              <a:t>Environmental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Audience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Competitor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Substitution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Stakeholder Analysis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Benchmarking</a:t>
            </a:r>
          </a:p>
          <a:p>
            <a:pPr marL="190500" indent="-19050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r>
              <a:rPr lang="en-US" sz="1100" noProof="1" smtClean="0">
                <a:solidFill>
                  <a:srgbClr val="000000"/>
                </a:solidFill>
                <a:cs typeface="Arial" charset="0"/>
              </a:rPr>
              <a:t>Industry Structure Analysis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Gap Analysis</a:t>
            </a:r>
            <a:endParaRPr lang="en-US" noProof="1"/>
          </a:p>
        </p:txBody>
      </p:sp>
      <p:grpSp>
        <p:nvGrpSpPr>
          <p:cNvPr id="23" name="Gruppieren 22"/>
          <p:cNvGrpSpPr/>
          <p:nvPr/>
        </p:nvGrpSpPr>
        <p:grpSpPr>
          <a:xfrm>
            <a:off x="333374" y="1495126"/>
            <a:ext cx="8494714" cy="4305601"/>
            <a:chOff x="333374" y="1495126"/>
            <a:chExt cx="8494714" cy="4305601"/>
          </a:xfrm>
        </p:grpSpPr>
        <p:cxnSp>
          <p:nvCxnSpPr>
            <p:cNvPr id="9" name="Gerade Verbindung mit Pfeil 8"/>
            <p:cNvCxnSpPr/>
            <p:nvPr/>
          </p:nvCxnSpPr>
          <p:spPr bwMode="gray">
            <a:xfrm rot="5400000" flipH="1" flipV="1">
              <a:off x="-1251312" y="3497264"/>
              <a:ext cx="3886199" cy="1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 bwMode="gray">
            <a:xfrm>
              <a:off x="693374" y="5438774"/>
              <a:ext cx="8134714" cy="0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/>
            <p:cNvSpPr txBox="1"/>
            <p:nvPr/>
          </p:nvSpPr>
          <p:spPr bwMode="gray">
            <a:xfrm rot="16200000">
              <a:off x="-491789" y="2320289"/>
              <a:ext cx="2008738" cy="3584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Target value i.e. revenue</a:t>
              </a:r>
              <a:endParaRPr lang="en-US" sz="1400" b="1" noProof="1"/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7640840" y="5454015"/>
              <a:ext cx="1187248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time</a:t>
              </a:r>
              <a:endParaRPr lang="en-US" sz="1400" b="1" noProof="1"/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2294683" y="5454015"/>
              <a:ext cx="1187248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b="1" noProof="1" smtClean="0"/>
                <a:t>Present</a:t>
              </a:r>
              <a:endParaRPr lang="en-US" sz="1600" b="1" noProof="1"/>
            </a:p>
          </p:txBody>
        </p:sp>
        <p:sp>
          <p:nvSpPr>
            <p:cNvPr id="50" name="Textfeld 49"/>
            <p:cNvSpPr txBox="1"/>
            <p:nvPr/>
          </p:nvSpPr>
          <p:spPr bwMode="gray">
            <a:xfrm>
              <a:off x="5054526" y="5454015"/>
              <a:ext cx="1751074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600" b="1" noProof="1" smtClean="0"/>
                <a:t>Planning horizon</a:t>
              </a:r>
              <a:endParaRPr lang="en-US" sz="1600" b="1" noProof="1"/>
            </a:p>
          </p:txBody>
        </p:sp>
        <p:cxnSp>
          <p:nvCxnSpPr>
            <p:cNvPr id="47" name="Gerade Verbindung 46"/>
            <p:cNvCxnSpPr>
              <a:stCxn id="44" idx="0"/>
            </p:cNvCxnSpPr>
            <p:nvPr/>
          </p:nvCxnSpPr>
          <p:spPr bwMode="gray">
            <a:xfrm>
              <a:off x="2880769" y="4109594"/>
              <a:ext cx="0" cy="1329180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>
              <a:stCxn id="43" idx="2"/>
            </p:cNvCxnSpPr>
            <p:nvPr/>
          </p:nvCxnSpPr>
          <p:spPr bwMode="gray">
            <a:xfrm>
              <a:off x="5922506" y="2433998"/>
              <a:ext cx="0" cy="3020017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/>
          </p:nvGrpSpPr>
          <p:grpSpPr bwMode="gray">
            <a:xfrm>
              <a:off x="691926" y="1769798"/>
              <a:ext cx="7872287" cy="3388942"/>
              <a:chOff x="373380" y="1737351"/>
              <a:chExt cx="7947660" cy="342138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Freihandform 42"/>
              <p:cNvSpPr/>
              <p:nvPr/>
            </p:nvSpPr>
            <p:spPr bwMode="gray">
              <a:xfrm>
                <a:off x="2598420" y="1737351"/>
                <a:ext cx="3939540" cy="2362200"/>
              </a:xfrm>
              <a:custGeom>
                <a:avLst/>
                <a:gdLst>
                  <a:gd name="connsiteX0" fmla="*/ 0 w 3939540"/>
                  <a:gd name="connsiteY0" fmla="*/ 2362200 h 2362200"/>
                  <a:gd name="connsiteX1" fmla="*/ 1844040 w 3939540"/>
                  <a:gd name="connsiteY1" fmla="*/ 1386840 h 2362200"/>
                  <a:gd name="connsiteX2" fmla="*/ 3055620 w 3939540"/>
                  <a:gd name="connsiteY2" fmla="*/ 670560 h 2362200"/>
                  <a:gd name="connsiteX3" fmla="*/ 3939540 w 3939540"/>
                  <a:gd name="connsiteY3" fmla="*/ 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39540" h="2362200">
                    <a:moveTo>
                      <a:pt x="0" y="2362200"/>
                    </a:moveTo>
                    <a:lnTo>
                      <a:pt x="1844040" y="1386840"/>
                    </a:lnTo>
                    <a:cubicBezTo>
                      <a:pt x="2353310" y="1104900"/>
                      <a:pt x="2706370" y="901700"/>
                      <a:pt x="3055620" y="670560"/>
                    </a:cubicBezTo>
                    <a:cubicBezTo>
                      <a:pt x="3404870" y="439420"/>
                      <a:pt x="3613150" y="290830"/>
                      <a:pt x="3939540" y="0"/>
                    </a:cubicBezTo>
                  </a:path>
                </a:pathLst>
              </a:custGeom>
              <a:ln w="38100"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Freihandform 43"/>
              <p:cNvSpPr/>
              <p:nvPr/>
            </p:nvSpPr>
            <p:spPr bwMode="gray">
              <a:xfrm>
                <a:off x="2583180" y="2933690"/>
                <a:ext cx="5737860" cy="1165860"/>
              </a:xfrm>
              <a:custGeom>
                <a:avLst/>
                <a:gdLst>
                  <a:gd name="connsiteX0" fmla="*/ 0 w 5737860"/>
                  <a:gd name="connsiteY0" fmla="*/ 1165860 h 1165860"/>
                  <a:gd name="connsiteX1" fmla="*/ 5737860 w 5737860"/>
                  <a:gd name="connsiteY1" fmla="*/ 0 h 116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37860" h="1165860">
                    <a:moveTo>
                      <a:pt x="0" y="1165860"/>
                    </a:moveTo>
                    <a:lnTo>
                      <a:pt x="5737860" y="0"/>
                    </a:lnTo>
                  </a:path>
                </a:pathLst>
              </a:custGeom>
              <a:ln w="381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Freihandform 41"/>
              <p:cNvSpPr/>
              <p:nvPr/>
            </p:nvSpPr>
            <p:spPr bwMode="gray">
              <a:xfrm>
                <a:off x="373380" y="4083049"/>
                <a:ext cx="7703819" cy="1075691"/>
              </a:xfrm>
              <a:custGeom>
                <a:avLst/>
                <a:gdLst>
                  <a:gd name="connsiteX0" fmla="*/ 0 w 7703820"/>
                  <a:gd name="connsiteY0" fmla="*/ 308610 h 1070610"/>
                  <a:gd name="connsiteX1" fmla="*/ 693420 w 7703820"/>
                  <a:gd name="connsiteY1" fmla="*/ 125730 h 1070610"/>
                  <a:gd name="connsiteX2" fmla="*/ 1318260 w 7703820"/>
                  <a:gd name="connsiteY2" fmla="*/ 19050 h 1070610"/>
                  <a:gd name="connsiteX3" fmla="*/ 1905000 w 7703820"/>
                  <a:gd name="connsiteY3" fmla="*/ 11430 h 1070610"/>
                  <a:gd name="connsiteX4" fmla="*/ 2537460 w 7703820"/>
                  <a:gd name="connsiteY4" fmla="*/ 49530 h 1070610"/>
                  <a:gd name="connsiteX5" fmla="*/ 4114800 w 7703820"/>
                  <a:gd name="connsiteY5" fmla="*/ 293370 h 1070610"/>
                  <a:gd name="connsiteX6" fmla="*/ 5707380 w 7703820"/>
                  <a:gd name="connsiteY6" fmla="*/ 590550 h 1070610"/>
                  <a:gd name="connsiteX7" fmla="*/ 6987540 w 7703820"/>
                  <a:gd name="connsiteY7" fmla="*/ 872490 h 1070610"/>
                  <a:gd name="connsiteX8" fmla="*/ 7703820 w 7703820"/>
                  <a:gd name="connsiteY8" fmla="*/ 1070610 h 1070610"/>
                  <a:gd name="connsiteX0" fmla="*/ 0 w 7703820"/>
                  <a:gd name="connsiteY0" fmla="*/ 313690 h 1075690"/>
                  <a:gd name="connsiteX1" fmla="*/ 693420 w 7703820"/>
                  <a:gd name="connsiteY1" fmla="*/ 130810 h 1075690"/>
                  <a:gd name="connsiteX2" fmla="*/ 1318260 w 7703820"/>
                  <a:gd name="connsiteY2" fmla="*/ 24130 h 1075690"/>
                  <a:gd name="connsiteX3" fmla="*/ 1914617 w 7703820"/>
                  <a:gd name="connsiteY3" fmla="*/ 5080 h 1075690"/>
                  <a:gd name="connsiteX4" fmla="*/ 2537460 w 7703820"/>
                  <a:gd name="connsiteY4" fmla="*/ 54610 h 1075690"/>
                  <a:gd name="connsiteX5" fmla="*/ 4114800 w 7703820"/>
                  <a:gd name="connsiteY5" fmla="*/ 298450 h 1075690"/>
                  <a:gd name="connsiteX6" fmla="*/ 5707380 w 7703820"/>
                  <a:gd name="connsiteY6" fmla="*/ 595630 h 1075690"/>
                  <a:gd name="connsiteX7" fmla="*/ 6987540 w 7703820"/>
                  <a:gd name="connsiteY7" fmla="*/ 877570 h 1075690"/>
                  <a:gd name="connsiteX8" fmla="*/ 7703820 w 7703820"/>
                  <a:gd name="connsiteY8" fmla="*/ 1075690 h 1075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03820" h="1075690">
                    <a:moveTo>
                      <a:pt x="0" y="313690"/>
                    </a:moveTo>
                    <a:cubicBezTo>
                      <a:pt x="236855" y="246380"/>
                      <a:pt x="473710" y="179070"/>
                      <a:pt x="693420" y="130810"/>
                    </a:cubicBezTo>
                    <a:cubicBezTo>
                      <a:pt x="913130" y="82550"/>
                      <a:pt x="1114727" y="45085"/>
                      <a:pt x="1318260" y="24130"/>
                    </a:cubicBezTo>
                    <a:cubicBezTo>
                      <a:pt x="1521793" y="3175"/>
                      <a:pt x="1711417" y="0"/>
                      <a:pt x="1914617" y="5080"/>
                    </a:cubicBezTo>
                    <a:cubicBezTo>
                      <a:pt x="2117817" y="10160"/>
                      <a:pt x="2170763" y="5715"/>
                      <a:pt x="2537460" y="54610"/>
                    </a:cubicBezTo>
                    <a:cubicBezTo>
                      <a:pt x="2904157" y="103505"/>
                      <a:pt x="3586480" y="208280"/>
                      <a:pt x="4114800" y="298450"/>
                    </a:cubicBezTo>
                    <a:cubicBezTo>
                      <a:pt x="4643120" y="388620"/>
                      <a:pt x="5228590" y="499110"/>
                      <a:pt x="5707380" y="595630"/>
                    </a:cubicBezTo>
                    <a:cubicBezTo>
                      <a:pt x="6186170" y="692150"/>
                      <a:pt x="6654800" y="797560"/>
                      <a:pt x="6987540" y="877570"/>
                    </a:cubicBezTo>
                    <a:cubicBezTo>
                      <a:pt x="7320280" y="957580"/>
                      <a:pt x="7512050" y="1016635"/>
                      <a:pt x="7703820" y="1075690"/>
                    </a:cubicBezTo>
                  </a:path>
                </a:pathLst>
              </a:cu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3" name="Textfeld 52"/>
            <p:cNvSpPr txBox="1"/>
            <p:nvPr/>
          </p:nvSpPr>
          <p:spPr bwMode="gray">
            <a:xfrm>
              <a:off x="2632669" y="2781435"/>
              <a:ext cx="1962002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400" smtClean="0"/>
                <a:t>Development limit</a:t>
              </a:r>
              <a:endParaRPr lang="en-US" sz="1400" noProof="1"/>
            </a:p>
          </p:txBody>
        </p:sp>
        <p:sp>
          <p:nvSpPr>
            <p:cNvPr id="54" name="Textfeld 53"/>
            <p:cNvSpPr txBox="1"/>
            <p:nvPr/>
          </p:nvSpPr>
          <p:spPr bwMode="gray">
            <a:xfrm>
              <a:off x="4513910" y="3127225"/>
              <a:ext cx="152917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1400" smtClean="0"/>
                <a:t>New business</a:t>
              </a:r>
              <a:endParaRPr lang="en-US" sz="1400" noProof="1"/>
            </a:p>
          </p:txBody>
        </p:sp>
        <p:sp>
          <p:nvSpPr>
            <p:cNvPr id="55" name="Textfeld 54"/>
            <p:cNvSpPr txBox="1"/>
            <p:nvPr/>
          </p:nvSpPr>
          <p:spPr bwMode="gray">
            <a:xfrm>
              <a:off x="4312950" y="3862799"/>
              <a:ext cx="152917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smtClean="0"/>
                <a:t>Potential </a:t>
              </a:r>
              <a:br>
                <a:rPr lang="en-US" sz="1400" smtClean="0"/>
              </a:br>
              <a:r>
                <a:rPr lang="en-US" sz="1400" smtClean="0"/>
                <a:t>core business</a:t>
              </a:r>
              <a:endParaRPr lang="en-US" sz="1400" noProof="1"/>
            </a:p>
          </p:txBody>
        </p:sp>
        <p:sp>
          <p:nvSpPr>
            <p:cNvPr id="56" name="Textfeld 55"/>
            <p:cNvSpPr txBox="1"/>
            <p:nvPr/>
          </p:nvSpPr>
          <p:spPr bwMode="gray">
            <a:xfrm>
              <a:off x="1271212" y="4594671"/>
              <a:ext cx="152917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noProof="1" smtClean="0"/>
                <a:t>Core business</a:t>
              </a:r>
              <a:endParaRPr lang="en-US" sz="1400" noProof="1"/>
            </a:p>
          </p:txBody>
        </p:sp>
        <p:sp>
          <p:nvSpPr>
            <p:cNvPr id="57" name="Textfeld 56"/>
            <p:cNvSpPr txBox="1"/>
            <p:nvPr/>
          </p:nvSpPr>
          <p:spPr bwMode="gray">
            <a:xfrm>
              <a:off x="6043081" y="2572750"/>
              <a:ext cx="1764487" cy="34671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r>
                <a:rPr lang="en-US" sz="1600" b="1" noProof="1" smtClean="0"/>
                <a:t>Strategic gap</a:t>
              </a:r>
              <a:endParaRPr lang="en-US" sz="1600" b="1" noProof="1"/>
            </a:p>
          </p:txBody>
        </p:sp>
        <p:sp>
          <p:nvSpPr>
            <p:cNvPr id="58" name="Textfeld 57"/>
            <p:cNvSpPr txBox="1"/>
            <p:nvPr/>
          </p:nvSpPr>
          <p:spPr bwMode="gray">
            <a:xfrm>
              <a:off x="6043081" y="3856947"/>
              <a:ext cx="1764487" cy="34671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 anchorCtr="0">
              <a:noAutofit/>
            </a:bodyPr>
            <a:lstStyle/>
            <a:p>
              <a:r>
                <a:rPr lang="en-US" sz="1600" b="1" noProof="1" smtClean="0"/>
                <a:t>Operative gap</a:t>
              </a:r>
              <a:endParaRPr lang="en-US" sz="1600" b="1" noProof="1"/>
            </a:p>
          </p:txBody>
        </p:sp>
      </p:grpSp>
      <p:sp>
        <p:nvSpPr>
          <p:cNvPr id="22" name="Textplatzhalter 2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Revenue targets and their development in the course of 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9155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 bwMode="gray">
          <a:ln/>
        </p:spPr>
        <p:txBody>
          <a:bodyPr tIns="35203"/>
          <a:lstStyle/>
          <a:p>
            <a:pPr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</a:pPr>
            <a:r>
              <a:rPr lang="en-US" dirty="0" smtClean="0"/>
              <a:t>Marketing </a:t>
            </a:r>
            <a:r>
              <a:rPr lang="en-US" b="0" dirty="0" smtClean="0"/>
              <a:t>–</a:t>
            </a:r>
            <a:r>
              <a:rPr lang="en-US" dirty="0" smtClean="0"/>
              <a:t> Need </a:t>
            </a:r>
            <a:r>
              <a:rPr lang="en-US" smtClean="0"/>
              <a:t>and Produc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Interaction of need, demand, requirement, offer and products on the market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323850" y="2347463"/>
            <a:ext cx="8496299" cy="2839702"/>
            <a:chOff x="323850" y="2347463"/>
            <a:chExt cx="8496299" cy="2839702"/>
          </a:xfrm>
        </p:grpSpPr>
        <p:sp>
          <p:nvSpPr>
            <p:cNvPr id="5123" name="Oval 3"/>
            <p:cNvSpPr>
              <a:spLocks/>
            </p:cNvSpPr>
            <p:nvPr/>
          </p:nvSpPr>
          <p:spPr bwMode="gray">
            <a:xfrm>
              <a:off x="1694880" y="2347463"/>
              <a:ext cx="5760000" cy="2819104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216000" rIns="144000" bIns="7200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24" name="Text Box 4"/>
            <p:cNvSpPr txBox="1">
              <a:spLocks noChangeArrowheads="1"/>
            </p:cNvSpPr>
            <p:nvPr/>
          </p:nvSpPr>
          <p:spPr bwMode="gray">
            <a:xfrm>
              <a:off x="323850" y="3613358"/>
              <a:ext cx="1104356" cy="28731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/>
            <a:lstStyle/>
            <a:p>
              <a:pPr algn="r">
                <a:tabLst>
                  <a:tab pos="656650" algn="l"/>
                  <a:tab pos="1313299" algn="l"/>
                </a:tabLst>
              </a:pPr>
              <a:r>
                <a:rPr lang="en-US" b="1" smtClean="0"/>
                <a:t>Needs</a:t>
              </a:r>
              <a:endParaRPr lang="en-US" b="1" dirty="0" smtClean="0"/>
            </a:p>
          </p:txBody>
        </p:sp>
        <p:sp>
          <p:nvSpPr>
            <p:cNvPr id="5125" name="Text Box 5"/>
            <p:cNvSpPr txBox="1">
              <a:spLocks noChangeArrowheads="1"/>
            </p:cNvSpPr>
            <p:nvPr/>
          </p:nvSpPr>
          <p:spPr bwMode="gray">
            <a:xfrm>
              <a:off x="7698376" y="3613358"/>
              <a:ext cx="1121773" cy="28731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 anchor="ctr" anchorCtr="0"/>
            <a:lstStyle/>
            <a:p>
              <a:pPr>
                <a:tabLst>
                  <a:tab pos="656650" algn="l"/>
                  <a:tab pos="1313299" algn="l"/>
                </a:tabLst>
              </a:pPr>
              <a:r>
                <a:rPr lang="en-US" b="1" smtClean="0"/>
                <a:t>Product</a:t>
              </a:r>
              <a:endParaRPr lang="en-US" b="1" dirty="0" smtClean="0"/>
            </a:p>
          </p:txBody>
        </p:sp>
        <p:sp>
          <p:nvSpPr>
            <p:cNvPr id="5126" name="Text Box 6"/>
            <p:cNvSpPr txBox="1">
              <a:spLocks noChangeArrowheads="1"/>
            </p:cNvSpPr>
            <p:nvPr/>
          </p:nvSpPr>
          <p:spPr bwMode="gray">
            <a:xfrm>
              <a:off x="5942160" y="3613358"/>
              <a:ext cx="1154849" cy="287314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>
                  <a:solidFill>
                    <a:srgbClr val="000000"/>
                  </a:solidFill>
                </a:rPr>
                <a:t>Offer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127" name="Text Box 7"/>
            <p:cNvSpPr txBox="1">
              <a:spLocks noChangeArrowheads="1"/>
            </p:cNvSpPr>
            <p:nvPr/>
          </p:nvSpPr>
          <p:spPr bwMode="gray">
            <a:xfrm>
              <a:off x="1995840" y="3506604"/>
              <a:ext cx="1211760" cy="50082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5221" rIns="81639" bIns="40820" anchor="ctr" anchorCtr="0"/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>
                  <a:solidFill>
                    <a:srgbClr val="000000"/>
                  </a:solidFill>
                </a:rPr>
                <a:t>Demand</a:t>
              </a:r>
              <a:br>
                <a:rPr lang="en-US" dirty="0" smtClean="0">
                  <a:solidFill>
                    <a:srgbClr val="000000"/>
                  </a:solidFill>
                </a:rPr>
              </a:br>
              <a:r>
                <a:rPr lang="en-US" dirty="0" smtClean="0">
                  <a:solidFill>
                    <a:srgbClr val="000000"/>
                  </a:solidFill>
                </a:rPr>
                <a:t>Require-</a:t>
              </a:r>
              <a:r>
                <a:rPr lang="en-US" noProof="1" smtClean="0">
                  <a:solidFill>
                    <a:srgbClr val="000000"/>
                  </a:solidFill>
                </a:rPr>
                <a:t>ment</a:t>
              </a:r>
              <a:endParaRPr lang="en-US" noProof="1">
                <a:solidFill>
                  <a:srgbClr val="000000"/>
                </a:solidFill>
              </a:endParaRPr>
            </a:p>
          </p:txBody>
        </p:sp>
        <p:sp>
          <p:nvSpPr>
            <p:cNvPr id="5128" name="AutoShape 8"/>
            <p:cNvSpPr>
              <a:spLocks/>
            </p:cNvSpPr>
            <p:nvPr/>
          </p:nvSpPr>
          <p:spPr bwMode="gray">
            <a:xfrm>
              <a:off x="1539360" y="3519124"/>
              <a:ext cx="476640" cy="475782"/>
            </a:xfrm>
            <a:prstGeom prst="rightArrow">
              <a:avLst>
                <a:gd name="adj1" fmla="val 49917"/>
                <a:gd name="adj2" fmla="val 3895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28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122" name="Oval 2"/>
            <p:cNvSpPr>
              <a:spLocks/>
            </p:cNvSpPr>
            <p:nvPr/>
          </p:nvSpPr>
          <p:spPr bwMode="gray">
            <a:xfrm>
              <a:off x="3781056" y="2957509"/>
              <a:ext cx="1597728" cy="1599012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cs typeface="Arial" charset="0"/>
                </a:rPr>
                <a:t>Market</a:t>
              </a:r>
            </a:p>
          </p:txBody>
        </p:sp>
        <p:sp>
          <p:nvSpPr>
            <p:cNvPr id="5129" name="AutoShape 9"/>
            <p:cNvSpPr>
              <a:spLocks/>
            </p:cNvSpPr>
            <p:nvPr/>
          </p:nvSpPr>
          <p:spPr bwMode="gray">
            <a:xfrm>
              <a:off x="3207600" y="3519124"/>
              <a:ext cx="476640" cy="475782"/>
            </a:xfrm>
            <a:prstGeom prst="rightArrow">
              <a:avLst>
                <a:gd name="adj1" fmla="val 49917"/>
                <a:gd name="adj2" fmla="val 3895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28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130" name="AutoShape 10"/>
            <p:cNvSpPr>
              <a:spLocks/>
            </p:cNvSpPr>
            <p:nvPr/>
          </p:nvSpPr>
          <p:spPr bwMode="gray">
            <a:xfrm flipH="1">
              <a:off x="5482801" y="3519124"/>
              <a:ext cx="459360" cy="475782"/>
            </a:xfrm>
            <a:prstGeom prst="rightArrow">
              <a:avLst>
                <a:gd name="adj1" fmla="val 49917"/>
                <a:gd name="adj2" fmla="val 3895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28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131" name="AutoShape 11"/>
            <p:cNvSpPr>
              <a:spLocks/>
            </p:cNvSpPr>
            <p:nvPr/>
          </p:nvSpPr>
          <p:spPr bwMode="gray">
            <a:xfrm flipH="1">
              <a:off x="7097010" y="3519124"/>
              <a:ext cx="459360" cy="475782"/>
            </a:xfrm>
            <a:prstGeom prst="rightArrow">
              <a:avLst>
                <a:gd name="adj1" fmla="val 49917"/>
                <a:gd name="adj2" fmla="val 38954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endParaRPr lang="en-US" sz="28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132" name="Text Box 12"/>
            <p:cNvSpPr txBox="1">
              <a:spLocks noChangeArrowheads="1"/>
            </p:cNvSpPr>
            <p:nvPr/>
          </p:nvSpPr>
          <p:spPr bwMode="gray">
            <a:xfrm rot="1200000">
              <a:off x="2253364" y="4820193"/>
              <a:ext cx="1296712" cy="34970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72000" rIns="0" bIns="0" anchor="t" anchorCtr="0">
              <a:prstTxWarp prst="textArchDown">
                <a:avLst/>
              </a:prstTxWarp>
              <a:spAutoFit/>
            </a:bodyPr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/>
                <a:t>Usage</a:t>
              </a:r>
              <a:endParaRPr lang="en-US" dirty="0"/>
            </a:p>
          </p:txBody>
        </p:sp>
        <p:sp>
          <p:nvSpPr>
            <p:cNvPr id="5133" name="Text Box 13"/>
            <p:cNvSpPr txBox="1">
              <a:spLocks noChangeArrowheads="1"/>
            </p:cNvSpPr>
            <p:nvPr/>
          </p:nvSpPr>
          <p:spPr bwMode="gray">
            <a:xfrm rot="20439857">
              <a:off x="2090790" y="2368889"/>
              <a:ext cx="1814896" cy="34970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0" rIns="0" bIns="72000" anchor="ctr" anchorCtr="0">
              <a:prstTxWarp prst="textArchUp">
                <a:avLst/>
              </a:prstTxWarp>
              <a:spAutoFit/>
            </a:bodyPr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/>
                <a:t>Transactions</a:t>
              </a:r>
              <a:endParaRPr lang="en-US" dirty="0"/>
            </a:p>
          </p:txBody>
        </p:sp>
        <p:sp>
          <p:nvSpPr>
            <p:cNvPr id="5134" name="Text Box 14"/>
            <p:cNvSpPr txBox="1">
              <a:spLocks noChangeArrowheads="1"/>
            </p:cNvSpPr>
            <p:nvPr/>
          </p:nvSpPr>
          <p:spPr bwMode="gray">
            <a:xfrm rot="20540651">
              <a:off x="5068244" y="4837463"/>
              <a:ext cx="2335220" cy="34970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72000" rIns="0" bIns="0" anchor="t" anchorCtr="0">
              <a:prstTxWarp prst="textArchDown">
                <a:avLst/>
              </a:prstTxWarp>
              <a:spAutoFit/>
            </a:bodyPr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/>
                <a:t>Customer Satisfaction</a:t>
              </a:r>
              <a:endParaRPr lang="en-US" dirty="0"/>
            </a:p>
          </p:txBody>
        </p:sp>
        <p:sp>
          <p:nvSpPr>
            <p:cNvPr id="5135" name="Text Box 15"/>
            <p:cNvSpPr txBox="1">
              <a:spLocks noChangeArrowheads="1"/>
            </p:cNvSpPr>
            <p:nvPr/>
          </p:nvSpPr>
          <p:spPr bwMode="gray">
            <a:xfrm rot="1005697">
              <a:off x="5152936" y="2377771"/>
              <a:ext cx="1976318" cy="34970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none" lIns="0" tIns="0" rIns="0" bIns="72000" anchor="ctr" anchorCtr="0">
              <a:prstTxWarp prst="textArchUp">
                <a:avLst/>
              </a:prstTxWarp>
              <a:spAutoFit/>
            </a:bodyPr>
            <a:lstStyle/>
            <a:p>
              <a:pPr algn="ctr">
                <a:tabLst>
                  <a:tab pos="656650" algn="l"/>
                  <a:tab pos="1313299" algn="l"/>
                </a:tabLst>
              </a:pPr>
              <a:r>
                <a:rPr lang="en-US" dirty="0" smtClean="0"/>
                <a:t>Positioning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1648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ABC-Analysis</a:t>
            </a:r>
            <a:endParaRPr lang="en-US" noProof="1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ABC Analysis is methodology that gives a quickly and simple review of assortments of products in retail, wholesale or manufacturing businesses</a:t>
            </a:r>
          </a:p>
          <a:p>
            <a:endParaRPr lang="en-US" dirty="0"/>
          </a:p>
        </p:txBody>
      </p:sp>
      <p:grpSp>
        <p:nvGrpSpPr>
          <p:cNvPr id="47" name="Gruppieren 46"/>
          <p:cNvGrpSpPr/>
          <p:nvPr/>
        </p:nvGrpSpPr>
        <p:grpSpPr>
          <a:xfrm>
            <a:off x="191313" y="1495126"/>
            <a:ext cx="8636776" cy="4259864"/>
            <a:chOff x="191313" y="1495126"/>
            <a:chExt cx="8636776" cy="4259864"/>
          </a:xfrm>
        </p:grpSpPr>
        <p:cxnSp>
          <p:nvCxnSpPr>
            <p:cNvPr id="9" name="Gerade Verbindung mit Pfeil 8"/>
            <p:cNvCxnSpPr/>
            <p:nvPr/>
          </p:nvCxnSpPr>
          <p:spPr bwMode="gray">
            <a:xfrm rot="5400000" flipH="1" flipV="1">
              <a:off x="-1251312" y="3497264"/>
              <a:ext cx="3886199" cy="1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 bwMode="gray">
            <a:xfrm>
              <a:off x="693374" y="5438774"/>
              <a:ext cx="8134714" cy="0"/>
            </a:xfrm>
            <a:prstGeom prst="straightConnector1">
              <a:avLst/>
            </a:prstGeom>
            <a:ln w="1905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/>
            <p:cNvSpPr txBox="1"/>
            <p:nvPr/>
          </p:nvSpPr>
          <p:spPr bwMode="gray">
            <a:xfrm rot="16200000">
              <a:off x="-131789" y="2320289"/>
              <a:ext cx="2008738" cy="3584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Turnover / Value in %</a:t>
              </a:r>
            </a:p>
          </p:txBody>
        </p:sp>
        <p:sp>
          <p:nvSpPr>
            <p:cNvPr id="16" name="Textfeld 15"/>
            <p:cNvSpPr txBox="1"/>
            <p:nvPr/>
          </p:nvSpPr>
          <p:spPr bwMode="gray">
            <a:xfrm>
              <a:off x="6096000" y="5107303"/>
              <a:ext cx="2732089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r"/>
              <a:r>
                <a:rPr lang="en-US" sz="1400" b="1" noProof="1" smtClean="0"/>
                <a:t>Range of Products / Quantity in %</a:t>
              </a:r>
            </a:p>
          </p:txBody>
        </p:sp>
        <p:cxnSp>
          <p:nvCxnSpPr>
            <p:cNvPr id="49" name="Gerade Verbindung 48"/>
            <p:cNvCxnSpPr/>
            <p:nvPr/>
          </p:nvCxnSpPr>
          <p:spPr bwMode="gray">
            <a:xfrm>
              <a:off x="4518471" y="1628800"/>
              <a:ext cx="0" cy="3825215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/>
            <p:nvPr/>
          </p:nvSpPr>
          <p:spPr bwMode="gray">
            <a:xfrm>
              <a:off x="1422110" y="2925435"/>
              <a:ext cx="63123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3200" b="1" noProof="1" smtClean="0"/>
                <a:t>A</a:t>
              </a:r>
              <a:endParaRPr lang="en-US" sz="3200" b="1" noProof="1"/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191313" y="1554165"/>
              <a:ext cx="5020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100%</a:t>
              </a:r>
              <a:endParaRPr lang="en-US" sz="1100" dirty="0"/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335584" y="5315590"/>
              <a:ext cx="35779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0%</a:t>
              </a:r>
              <a:endParaRPr lang="en-US" sz="1100" dirty="0"/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263448" y="230645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80%</a:t>
              </a:r>
              <a:endParaRPr lang="en-US" sz="1100" dirty="0"/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263448" y="3058735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60%</a:t>
              </a:r>
              <a:endParaRPr lang="en-US" sz="1100" dirty="0"/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263448" y="381102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40%</a:t>
              </a:r>
              <a:endParaRPr lang="en-US" sz="1100" dirty="0"/>
            </a:p>
          </p:txBody>
        </p:sp>
        <p:sp>
          <p:nvSpPr>
            <p:cNvPr id="31" name="Textfeld 30"/>
            <p:cNvSpPr txBox="1"/>
            <p:nvPr/>
          </p:nvSpPr>
          <p:spPr bwMode="gray">
            <a:xfrm>
              <a:off x="263448" y="4563305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20%</a:t>
              </a:r>
              <a:endParaRPr lang="en-US" sz="1100" dirty="0"/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514479" y="5493380"/>
              <a:ext cx="35779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0%</a:t>
              </a:r>
              <a:endParaRPr lang="en-US" sz="1100" dirty="0"/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2008891" y="549338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20%</a:t>
              </a:r>
              <a:endParaRPr lang="en-US" sz="1100" dirty="0"/>
            </a:p>
          </p:txBody>
        </p:sp>
        <p:sp>
          <p:nvSpPr>
            <p:cNvPr id="33" name="Textfeld 32"/>
            <p:cNvSpPr txBox="1"/>
            <p:nvPr/>
          </p:nvSpPr>
          <p:spPr bwMode="gray">
            <a:xfrm>
              <a:off x="3575439" y="549338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40%</a:t>
              </a:r>
              <a:endParaRPr lang="en-US" sz="1100" dirty="0"/>
            </a:p>
          </p:txBody>
        </p:sp>
        <p:sp>
          <p:nvSpPr>
            <p:cNvPr id="34" name="Textfeld 33"/>
            <p:cNvSpPr txBox="1"/>
            <p:nvPr/>
          </p:nvSpPr>
          <p:spPr bwMode="gray">
            <a:xfrm>
              <a:off x="5141987" y="549338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60%</a:t>
              </a:r>
              <a:endParaRPr lang="en-US" sz="1100" dirty="0"/>
            </a:p>
          </p:txBody>
        </p:sp>
        <p:sp>
          <p:nvSpPr>
            <p:cNvPr id="35" name="Textfeld 34"/>
            <p:cNvSpPr txBox="1"/>
            <p:nvPr/>
          </p:nvSpPr>
          <p:spPr bwMode="gray">
            <a:xfrm>
              <a:off x="6708535" y="5493380"/>
              <a:ext cx="42992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80%</a:t>
              </a:r>
              <a:endParaRPr lang="en-US" sz="1100" dirty="0"/>
            </a:p>
          </p:txBody>
        </p:sp>
        <p:sp>
          <p:nvSpPr>
            <p:cNvPr id="36" name="Textfeld 35"/>
            <p:cNvSpPr txBox="1"/>
            <p:nvPr/>
          </p:nvSpPr>
          <p:spPr bwMode="gray">
            <a:xfrm>
              <a:off x="8275082" y="5493380"/>
              <a:ext cx="5020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100" smtClean="0"/>
                <a:t>100%</a:t>
              </a:r>
              <a:endParaRPr lang="en-US" sz="1100" dirty="0"/>
            </a:p>
          </p:txBody>
        </p:sp>
        <p:sp>
          <p:nvSpPr>
            <p:cNvPr id="40" name="Raute 39"/>
            <p:cNvSpPr/>
            <p:nvPr/>
          </p:nvSpPr>
          <p:spPr bwMode="auto">
            <a:xfrm>
              <a:off x="994636" y="4793165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Raute 40"/>
            <p:cNvSpPr/>
            <p:nvPr/>
          </p:nvSpPr>
          <p:spPr bwMode="auto">
            <a:xfrm>
              <a:off x="1381986" y="4240715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Raute 44"/>
            <p:cNvSpPr/>
            <p:nvPr/>
          </p:nvSpPr>
          <p:spPr bwMode="auto">
            <a:xfrm>
              <a:off x="1765300" y="371997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6" name="Raute 45"/>
            <p:cNvSpPr/>
            <p:nvPr/>
          </p:nvSpPr>
          <p:spPr bwMode="auto">
            <a:xfrm>
              <a:off x="2180100" y="3195395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8" name="Raute 47"/>
            <p:cNvSpPr/>
            <p:nvPr/>
          </p:nvSpPr>
          <p:spPr bwMode="auto">
            <a:xfrm>
              <a:off x="2579719" y="2781435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Raute 49"/>
            <p:cNvSpPr/>
            <p:nvPr/>
          </p:nvSpPr>
          <p:spPr bwMode="auto">
            <a:xfrm>
              <a:off x="2982350" y="2433998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Raute 50"/>
            <p:cNvSpPr/>
            <p:nvPr/>
          </p:nvSpPr>
          <p:spPr bwMode="auto">
            <a:xfrm>
              <a:off x="3412389" y="21624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Raute 51"/>
            <p:cNvSpPr/>
            <p:nvPr/>
          </p:nvSpPr>
          <p:spPr bwMode="auto">
            <a:xfrm>
              <a:off x="3812050" y="19803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Raute 58"/>
            <p:cNvSpPr/>
            <p:nvPr/>
          </p:nvSpPr>
          <p:spPr bwMode="auto">
            <a:xfrm>
              <a:off x="4231150" y="19020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Raute 59"/>
            <p:cNvSpPr/>
            <p:nvPr/>
          </p:nvSpPr>
          <p:spPr bwMode="auto">
            <a:xfrm>
              <a:off x="4648200" y="18478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Raute 60"/>
            <p:cNvSpPr/>
            <p:nvPr/>
          </p:nvSpPr>
          <p:spPr bwMode="auto">
            <a:xfrm>
              <a:off x="5050937" y="18109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Raute 61"/>
            <p:cNvSpPr/>
            <p:nvPr/>
          </p:nvSpPr>
          <p:spPr bwMode="auto">
            <a:xfrm>
              <a:off x="5472363" y="17949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Raute 62"/>
            <p:cNvSpPr/>
            <p:nvPr/>
          </p:nvSpPr>
          <p:spPr bwMode="auto">
            <a:xfrm>
              <a:off x="5869556" y="17822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Raute 63"/>
            <p:cNvSpPr/>
            <p:nvPr/>
          </p:nvSpPr>
          <p:spPr bwMode="auto">
            <a:xfrm>
              <a:off x="6290700" y="17822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5" name="Raute 64"/>
            <p:cNvSpPr/>
            <p:nvPr/>
          </p:nvSpPr>
          <p:spPr bwMode="auto">
            <a:xfrm>
              <a:off x="6687335" y="17822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Raute 65"/>
            <p:cNvSpPr/>
            <p:nvPr/>
          </p:nvSpPr>
          <p:spPr bwMode="auto">
            <a:xfrm>
              <a:off x="7066461" y="17758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Raute 66"/>
            <p:cNvSpPr/>
            <p:nvPr/>
          </p:nvSpPr>
          <p:spPr bwMode="auto">
            <a:xfrm>
              <a:off x="7480300" y="17758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Raute 67"/>
            <p:cNvSpPr/>
            <p:nvPr/>
          </p:nvSpPr>
          <p:spPr bwMode="auto">
            <a:xfrm>
              <a:off x="7861300" y="17822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9" name="Raute 68"/>
            <p:cNvSpPr/>
            <p:nvPr/>
          </p:nvSpPr>
          <p:spPr bwMode="auto">
            <a:xfrm>
              <a:off x="8253882" y="179190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Raute 69"/>
            <p:cNvSpPr/>
            <p:nvPr/>
          </p:nvSpPr>
          <p:spPr bwMode="auto">
            <a:xfrm>
              <a:off x="8626793" y="1798250"/>
              <a:ext cx="144000" cy="144000"/>
            </a:xfrm>
            <a:prstGeom prst="diamond">
              <a:avLst/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6" name="Gerade Verbindung 75"/>
            <p:cNvCxnSpPr/>
            <p:nvPr/>
          </p:nvCxnSpPr>
          <p:spPr bwMode="gray">
            <a:xfrm>
              <a:off x="2825750" y="1628800"/>
              <a:ext cx="0" cy="3825215"/>
            </a:xfrm>
            <a:prstGeom prst="line">
              <a:avLst/>
            </a:prstGeom>
            <a:ln w="12700">
              <a:solidFill>
                <a:srgbClr val="96969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reihandform 37"/>
            <p:cNvSpPr/>
            <p:nvPr/>
          </p:nvSpPr>
          <p:spPr>
            <a:xfrm>
              <a:off x="1066800" y="1841500"/>
              <a:ext cx="7642860" cy="3035300"/>
            </a:xfrm>
            <a:custGeom>
              <a:avLst/>
              <a:gdLst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3253740 w 7642860"/>
                <a:gd name="connsiteY8" fmla="*/ 132080 h 3035300"/>
                <a:gd name="connsiteX9" fmla="*/ 3657600 w 7642860"/>
                <a:gd name="connsiteY9" fmla="*/ 101600 h 3035300"/>
                <a:gd name="connsiteX10" fmla="*/ 4069080 w 7642860"/>
                <a:gd name="connsiteY10" fmla="*/ 40640 h 3035300"/>
                <a:gd name="connsiteX11" fmla="*/ 4488180 w 7642860"/>
                <a:gd name="connsiteY11" fmla="*/ 17780 h 3035300"/>
                <a:gd name="connsiteX12" fmla="*/ 4892040 w 7642860"/>
                <a:gd name="connsiteY12" fmla="*/ 2540 h 3035300"/>
                <a:gd name="connsiteX13" fmla="*/ 5303520 w 7642860"/>
                <a:gd name="connsiteY13" fmla="*/ 2540 h 3035300"/>
                <a:gd name="connsiteX14" fmla="*/ 7642860 w 7642860"/>
                <a:gd name="connsiteY14" fmla="*/ 17780 h 3035300"/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3253740 w 7642860"/>
                <a:gd name="connsiteY8" fmla="*/ 132080 h 3035300"/>
                <a:gd name="connsiteX9" fmla="*/ 3642360 w 7642860"/>
                <a:gd name="connsiteY9" fmla="*/ 104140 h 3035300"/>
                <a:gd name="connsiteX10" fmla="*/ 4069080 w 7642860"/>
                <a:gd name="connsiteY10" fmla="*/ 40640 h 3035300"/>
                <a:gd name="connsiteX11" fmla="*/ 4488180 w 7642860"/>
                <a:gd name="connsiteY11" fmla="*/ 17780 h 3035300"/>
                <a:gd name="connsiteX12" fmla="*/ 4892040 w 7642860"/>
                <a:gd name="connsiteY12" fmla="*/ 2540 h 3035300"/>
                <a:gd name="connsiteX13" fmla="*/ 5303520 w 7642860"/>
                <a:gd name="connsiteY13" fmla="*/ 2540 h 3035300"/>
                <a:gd name="connsiteX14" fmla="*/ 7642860 w 7642860"/>
                <a:gd name="connsiteY14" fmla="*/ 17780 h 3035300"/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3253740 w 7642860"/>
                <a:gd name="connsiteY8" fmla="*/ 132080 h 3035300"/>
                <a:gd name="connsiteX9" fmla="*/ 4069080 w 7642860"/>
                <a:gd name="connsiteY9" fmla="*/ 40640 h 3035300"/>
                <a:gd name="connsiteX10" fmla="*/ 4488180 w 7642860"/>
                <a:gd name="connsiteY10" fmla="*/ 17780 h 3035300"/>
                <a:gd name="connsiteX11" fmla="*/ 4892040 w 7642860"/>
                <a:gd name="connsiteY11" fmla="*/ 2540 h 3035300"/>
                <a:gd name="connsiteX12" fmla="*/ 5303520 w 7642860"/>
                <a:gd name="connsiteY12" fmla="*/ 2540 h 3035300"/>
                <a:gd name="connsiteX13" fmla="*/ 7642860 w 7642860"/>
                <a:gd name="connsiteY13" fmla="*/ 17780 h 3035300"/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4069080 w 7642860"/>
                <a:gd name="connsiteY8" fmla="*/ 40640 h 3035300"/>
                <a:gd name="connsiteX9" fmla="*/ 4488180 w 7642860"/>
                <a:gd name="connsiteY9" fmla="*/ 17780 h 3035300"/>
                <a:gd name="connsiteX10" fmla="*/ 4892040 w 7642860"/>
                <a:gd name="connsiteY10" fmla="*/ 2540 h 3035300"/>
                <a:gd name="connsiteX11" fmla="*/ 5303520 w 7642860"/>
                <a:gd name="connsiteY11" fmla="*/ 2540 h 3035300"/>
                <a:gd name="connsiteX12" fmla="*/ 7642860 w 7642860"/>
                <a:gd name="connsiteY12" fmla="*/ 17780 h 3035300"/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4069080 w 7642860"/>
                <a:gd name="connsiteY8" fmla="*/ 40640 h 3035300"/>
                <a:gd name="connsiteX9" fmla="*/ 4488180 w 7642860"/>
                <a:gd name="connsiteY9" fmla="*/ 17780 h 3035300"/>
                <a:gd name="connsiteX10" fmla="*/ 4892040 w 7642860"/>
                <a:gd name="connsiteY10" fmla="*/ 2540 h 3035300"/>
                <a:gd name="connsiteX11" fmla="*/ 5303520 w 7642860"/>
                <a:gd name="connsiteY11" fmla="*/ 2540 h 3035300"/>
                <a:gd name="connsiteX12" fmla="*/ 7642860 w 7642860"/>
                <a:gd name="connsiteY12" fmla="*/ 17780 h 3035300"/>
                <a:gd name="connsiteX0" fmla="*/ 0 w 7642860"/>
                <a:gd name="connsiteY0" fmla="*/ 3035300 h 3035300"/>
                <a:gd name="connsiteX1" fmla="*/ 396240 w 7642860"/>
                <a:gd name="connsiteY1" fmla="*/ 2463800 h 3035300"/>
                <a:gd name="connsiteX2" fmla="*/ 777240 w 7642860"/>
                <a:gd name="connsiteY2" fmla="*/ 1938020 h 3035300"/>
                <a:gd name="connsiteX3" fmla="*/ 1188720 w 7642860"/>
                <a:gd name="connsiteY3" fmla="*/ 1419860 h 3035300"/>
                <a:gd name="connsiteX4" fmla="*/ 1600200 w 7642860"/>
                <a:gd name="connsiteY4" fmla="*/ 1000760 h 3035300"/>
                <a:gd name="connsiteX5" fmla="*/ 1988820 w 7642860"/>
                <a:gd name="connsiteY5" fmla="*/ 657860 h 3035300"/>
                <a:gd name="connsiteX6" fmla="*/ 2407920 w 7642860"/>
                <a:gd name="connsiteY6" fmla="*/ 383540 h 3035300"/>
                <a:gd name="connsiteX7" fmla="*/ 2819400 w 7642860"/>
                <a:gd name="connsiteY7" fmla="*/ 200660 h 3035300"/>
                <a:gd name="connsiteX8" fmla="*/ 4069080 w 7642860"/>
                <a:gd name="connsiteY8" fmla="*/ 40640 h 3035300"/>
                <a:gd name="connsiteX9" fmla="*/ 4488180 w 7642860"/>
                <a:gd name="connsiteY9" fmla="*/ 17780 h 3035300"/>
                <a:gd name="connsiteX10" fmla="*/ 4892040 w 7642860"/>
                <a:gd name="connsiteY10" fmla="*/ 2540 h 3035300"/>
                <a:gd name="connsiteX11" fmla="*/ 5303520 w 7642860"/>
                <a:gd name="connsiteY11" fmla="*/ 2540 h 3035300"/>
                <a:gd name="connsiteX12" fmla="*/ 7642860 w 7642860"/>
                <a:gd name="connsiteY12" fmla="*/ 17780 h 303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42860" h="3035300">
                  <a:moveTo>
                    <a:pt x="0" y="3035300"/>
                  </a:moveTo>
                  <a:cubicBezTo>
                    <a:pt x="133350" y="2840990"/>
                    <a:pt x="266700" y="2646680"/>
                    <a:pt x="396240" y="2463800"/>
                  </a:cubicBezTo>
                  <a:cubicBezTo>
                    <a:pt x="525780" y="2280920"/>
                    <a:pt x="645160" y="2112010"/>
                    <a:pt x="777240" y="1938020"/>
                  </a:cubicBezTo>
                  <a:cubicBezTo>
                    <a:pt x="909320" y="1764030"/>
                    <a:pt x="1051560" y="1576070"/>
                    <a:pt x="1188720" y="1419860"/>
                  </a:cubicBezTo>
                  <a:cubicBezTo>
                    <a:pt x="1325880" y="1263650"/>
                    <a:pt x="1466850" y="1127760"/>
                    <a:pt x="1600200" y="1000760"/>
                  </a:cubicBezTo>
                  <a:cubicBezTo>
                    <a:pt x="1733550" y="873760"/>
                    <a:pt x="1854200" y="760730"/>
                    <a:pt x="1988820" y="657860"/>
                  </a:cubicBezTo>
                  <a:cubicBezTo>
                    <a:pt x="2123440" y="554990"/>
                    <a:pt x="2269490" y="459740"/>
                    <a:pt x="2407920" y="383540"/>
                  </a:cubicBezTo>
                  <a:cubicBezTo>
                    <a:pt x="2546350" y="307340"/>
                    <a:pt x="2624701" y="270510"/>
                    <a:pt x="2819400" y="200660"/>
                  </a:cubicBezTo>
                  <a:cubicBezTo>
                    <a:pt x="3286760" y="67310"/>
                    <a:pt x="3790950" y="71120"/>
                    <a:pt x="4069080" y="40640"/>
                  </a:cubicBezTo>
                  <a:cubicBezTo>
                    <a:pt x="4210050" y="26247"/>
                    <a:pt x="4488180" y="17780"/>
                    <a:pt x="4488180" y="17780"/>
                  </a:cubicBezTo>
                  <a:lnTo>
                    <a:pt x="4892040" y="2540"/>
                  </a:lnTo>
                  <a:cubicBezTo>
                    <a:pt x="5027930" y="0"/>
                    <a:pt x="5303520" y="2540"/>
                    <a:pt x="5303520" y="2540"/>
                  </a:cubicBezTo>
                  <a:lnTo>
                    <a:pt x="7642860" y="17780"/>
                  </a:lnTo>
                </a:path>
              </a:pathLst>
            </a:cu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Textfeld 76"/>
            <p:cNvSpPr txBox="1"/>
            <p:nvPr/>
          </p:nvSpPr>
          <p:spPr bwMode="gray">
            <a:xfrm>
              <a:off x="3356495" y="2925435"/>
              <a:ext cx="63123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3200" b="1" noProof="1" smtClean="0"/>
                <a:t>B</a:t>
              </a:r>
              <a:endParaRPr lang="en-US" sz="3200" b="1" noProof="1"/>
            </a:p>
          </p:txBody>
        </p:sp>
        <p:sp>
          <p:nvSpPr>
            <p:cNvPr id="78" name="Textfeld 77"/>
            <p:cNvSpPr txBox="1"/>
            <p:nvPr/>
          </p:nvSpPr>
          <p:spPr bwMode="gray">
            <a:xfrm>
              <a:off x="6392919" y="2925435"/>
              <a:ext cx="631231" cy="34671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3200" b="1" noProof="1" smtClean="0"/>
                <a:t>C</a:t>
              </a:r>
              <a:endParaRPr lang="en-US" sz="32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31209155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C-Analysi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laceholder </a:t>
            </a:r>
            <a:r>
              <a:rPr lang="en-US" noProof="1"/>
              <a:t>for your own subheadline</a:t>
            </a:r>
            <a:endParaRPr lang="en-US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3940825"/>
              </p:ext>
            </p:extLst>
          </p:nvPr>
        </p:nvGraphicFramePr>
        <p:xfrm>
          <a:off x="323850" y="1554948"/>
          <a:ext cx="8496300" cy="4248979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643890"/>
                <a:gridCol w="1112520"/>
                <a:gridCol w="3284220"/>
                <a:gridCol w="1756410"/>
                <a:gridCol w="1699260"/>
              </a:tblGrid>
              <a:tr h="637669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No.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noProof="0" smtClean="0"/>
                        <a:t>Percent</a:t>
                      </a:r>
                      <a:br>
                        <a:rPr lang="en-US" b="1" noProof="0" smtClean="0"/>
                      </a:br>
                      <a:r>
                        <a:rPr lang="en-US" b="1" noProof="0" smtClean="0"/>
                        <a:t>Customer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smtClean="0"/>
                        <a:t>Customer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noProof="0" smtClean="0"/>
                        <a:t>Sales 2010</a:t>
                      </a:r>
                      <a:br>
                        <a:rPr lang="en-US" b="1" noProof="0" smtClean="0"/>
                      </a:br>
                      <a:r>
                        <a:rPr lang="en-US" b="1" noProof="0" smtClean="0"/>
                        <a:t>(in Dollar)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noProof="0" smtClean="0"/>
                        <a:t>Commulated</a:t>
                      </a:r>
                      <a:br>
                        <a:rPr lang="en-US" b="1" noProof="0" smtClean="0"/>
                      </a:br>
                      <a:r>
                        <a:rPr lang="en-US" b="1" noProof="0" smtClean="0"/>
                        <a:t>Sales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1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5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00,0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6,4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2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0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95,0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31,9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3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5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90,0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46,7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4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20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85,0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60,6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5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50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30,0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82,3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pPr algn="ctr"/>
                      <a:r>
                        <a:rPr lang="en-US" b="1" noProof="0" smtClean="0"/>
                        <a:t>6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00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smtClean="0"/>
                        <a:t>Placeholder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300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noProof="0" smtClean="0"/>
                        <a:t>100%</a:t>
                      </a:r>
                      <a:endParaRPr lang="en-US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5557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noProof="0" smtClean="0"/>
                        <a:t>610,400</a:t>
                      </a:r>
                      <a:endParaRPr lang="en-US" b="1" noProof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979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Quality and Price Positioning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Relative positioning of different product categories</a:t>
            </a:r>
            <a:endParaRPr lang="en-US" dirty="0"/>
          </a:p>
        </p:txBody>
      </p:sp>
      <p:grpSp>
        <p:nvGrpSpPr>
          <p:cNvPr id="34" name="Gruppieren 33"/>
          <p:cNvGrpSpPr/>
          <p:nvPr/>
        </p:nvGrpSpPr>
        <p:grpSpPr>
          <a:xfrm>
            <a:off x="324643" y="1555748"/>
            <a:ext cx="8496300" cy="4246565"/>
            <a:chOff x="324643" y="1555748"/>
            <a:chExt cx="8496300" cy="4246565"/>
          </a:xfrm>
        </p:grpSpPr>
        <p:grpSp>
          <p:nvGrpSpPr>
            <p:cNvPr id="29" name="Gruppieren 28"/>
            <p:cNvGrpSpPr/>
            <p:nvPr/>
          </p:nvGrpSpPr>
          <p:grpSpPr bwMode="gray">
            <a:xfrm>
              <a:off x="822037" y="5432569"/>
              <a:ext cx="7998113" cy="369744"/>
              <a:chOff x="2811213" y="5432569"/>
              <a:chExt cx="3521574" cy="369744"/>
            </a:xfrm>
          </p:grpSpPr>
          <p:sp>
            <p:nvSpPr>
              <p:cNvPr id="19" name="Textfeld 18"/>
              <p:cNvSpPr txBox="1"/>
              <p:nvPr/>
            </p:nvSpPr>
            <p:spPr bwMode="gray">
              <a:xfrm>
                <a:off x="2816970" y="5432569"/>
                <a:ext cx="19680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smtClean="0"/>
                  <a:t>low </a:t>
                </a:r>
                <a:endParaRPr lang="en-US" sz="1200" dirty="0"/>
              </a:p>
            </p:txBody>
          </p:sp>
          <p:sp>
            <p:nvSpPr>
              <p:cNvPr id="20" name="Textfeld 19"/>
              <p:cNvSpPr txBox="1"/>
              <p:nvPr/>
            </p:nvSpPr>
            <p:spPr bwMode="gray">
              <a:xfrm>
                <a:off x="6101726" y="5441805"/>
                <a:ext cx="19917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1200" smtClean="0"/>
                  <a:t>high</a:t>
                </a:r>
                <a:endParaRPr lang="en-US" sz="1200" dirty="0"/>
              </a:p>
            </p:txBody>
          </p:sp>
          <p:sp>
            <p:nvSpPr>
              <p:cNvPr id="23" name="Line 47"/>
              <p:cNvSpPr>
                <a:spLocks noChangeShapeType="1"/>
              </p:cNvSpPr>
              <p:nvPr/>
            </p:nvSpPr>
            <p:spPr bwMode="gray">
              <a:xfrm>
                <a:off x="2811213" y="5441949"/>
                <a:ext cx="3521574" cy="1"/>
              </a:xfrm>
              <a:prstGeom prst="line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round/>
                <a:headEnd/>
                <a:tailEnd type="triangle" w="med" len="med"/>
              </a:ln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25" name="Textfeld 24"/>
              <p:cNvSpPr txBox="1"/>
              <p:nvPr/>
            </p:nvSpPr>
            <p:spPr bwMode="gray">
              <a:xfrm>
                <a:off x="3059833" y="5441949"/>
                <a:ext cx="3024336" cy="3603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 algn="ctr"/>
                <a:r>
                  <a:rPr lang="en-US" sz="1400" b="1" smtClean="0"/>
                  <a:t>Relative price</a:t>
                </a:r>
                <a:endParaRPr lang="en-US" sz="1400" b="1" dirty="0" smtClean="0"/>
              </a:p>
            </p:txBody>
          </p:sp>
        </p:grpSp>
        <p:grpSp>
          <p:nvGrpSpPr>
            <p:cNvPr id="27" name="Gruppieren 26"/>
            <p:cNvGrpSpPr/>
            <p:nvPr/>
          </p:nvGrpSpPr>
          <p:grpSpPr bwMode="gray">
            <a:xfrm>
              <a:off x="324643" y="1556542"/>
              <a:ext cx="366134" cy="3740418"/>
              <a:chOff x="2084863" y="1556542"/>
              <a:chExt cx="366134" cy="3526336"/>
            </a:xfrm>
          </p:grpSpPr>
          <p:sp>
            <p:nvSpPr>
              <p:cNvPr id="21" name="Textfeld 20"/>
              <p:cNvSpPr txBox="1"/>
              <p:nvPr/>
            </p:nvSpPr>
            <p:spPr bwMode="gray">
              <a:xfrm rot="16200000">
                <a:off x="2099260" y="1735414"/>
                <a:ext cx="42647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1200" smtClean="0"/>
                  <a:t>high</a:t>
                </a:r>
                <a:endParaRPr lang="en-US" sz="1200" dirty="0"/>
              </a:p>
            </p:txBody>
          </p:sp>
          <p:sp>
            <p:nvSpPr>
              <p:cNvPr id="22" name="Textfeld 21"/>
              <p:cNvSpPr txBox="1"/>
              <p:nvPr/>
            </p:nvSpPr>
            <p:spPr bwMode="gray">
              <a:xfrm rot="16200000">
                <a:off x="2101797" y="4662365"/>
                <a:ext cx="42139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smtClean="0"/>
                  <a:t>low </a:t>
                </a:r>
                <a:endParaRPr lang="en-US" sz="1200" dirty="0"/>
              </a:p>
            </p:txBody>
          </p:sp>
          <p:cxnSp>
            <p:nvCxnSpPr>
              <p:cNvPr id="24" name="Gerade Verbindung mit Pfeil 23"/>
              <p:cNvCxnSpPr/>
              <p:nvPr/>
            </p:nvCxnSpPr>
            <p:spPr bwMode="gray">
              <a:xfrm rot="5400000" flipH="1" flipV="1">
                <a:off x="686889" y="3318916"/>
                <a:ext cx="3526336" cy="1588"/>
              </a:xfrm>
              <a:prstGeom prst="straightConnector1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26" name="Textfeld 25"/>
              <p:cNvSpPr txBox="1"/>
              <p:nvPr/>
            </p:nvSpPr>
            <p:spPr bwMode="gray">
              <a:xfrm rot="16200000">
                <a:off x="1189782" y="3139529"/>
                <a:ext cx="2150525" cy="360364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 algn="ctr"/>
                <a:r>
                  <a:rPr lang="en-US" sz="1400" b="1" smtClean="0"/>
                  <a:t>Relative quality</a:t>
                </a:r>
                <a:endParaRPr lang="en-US" sz="1400" b="1" dirty="0" smtClean="0"/>
              </a:p>
            </p:txBody>
          </p:sp>
        </p:grpSp>
        <p:grpSp>
          <p:nvGrpSpPr>
            <p:cNvPr id="35" name="Gruppieren 34"/>
            <p:cNvGrpSpPr/>
            <p:nvPr/>
          </p:nvGrpSpPr>
          <p:grpSpPr bwMode="gray">
            <a:xfrm>
              <a:off x="822037" y="1555748"/>
              <a:ext cx="7998906" cy="3745926"/>
              <a:chOff x="1043437" y="1555748"/>
              <a:chExt cx="7777505" cy="3526336"/>
            </a:xfrm>
          </p:grpSpPr>
          <p:sp>
            <p:nvSpPr>
              <p:cNvPr id="28" name="Rechteck 27"/>
              <p:cNvSpPr/>
              <p:nvPr/>
            </p:nvSpPr>
            <p:spPr bwMode="gray">
              <a:xfrm>
                <a:off x="1043437" y="1555748"/>
                <a:ext cx="7777505" cy="352633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lvl="0"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" name="Freihandform 29"/>
              <p:cNvSpPr/>
              <p:nvPr/>
            </p:nvSpPr>
            <p:spPr bwMode="gray">
              <a:xfrm>
                <a:off x="1254466" y="1717360"/>
                <a:ext cx="1330036" cy="3249520"/>
              </a:xfrm>
              <a:custGeom>
                <a:avLst/>
                <a:gdLst>
                  <a:gd name="connsiteX0" fmla="*/ 0 w 1330036"/>
                  <a:gd name="connsiteY0" fmla="*/ 0 h 3249520"/>
                  <a:gd name="connsiteX1" fmla="*/ 1330036 w 1330036"/>
                  <a:gd name="connsiteY1" fmla="*/ 1715444 h 3249520"/>
                  <a:gd name="connsiteX2" fmla="*/ 838830 w 1330036"/>
                  <a:gd name="connsiteY2" fmla="*/ 3249520 h 3249520"/>
                  <a:gd name="connsiteX3" fmla="*/ 143583 w 1330036"/>
                  <a:gd name="connsiteY3" fmla="*/ 3234406 h 3249520"/>
                  <a:gd name="connsiteX4" fmla="*/ 0 w 1330036"/>
                  <a:gd name="connsiteY4" fmla="*/ 0 h 3249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0036" h="3249520">
                    <a:moveTo>
                      <a:pt x="0" y="0"/>
                    </a:moveTo>
                    <a:lnTo>
                      <a:pt x="1330036" y="1715444"/>
                    </a:lnTo>
                    <a:lnTo>
                      <a:pt x="838830" y="3249520"/>
                    </a:lnTo>
                    <a:lnTo>
                      <a:pt x="143583" y="323440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rgbClr val="7D7D7D"/>
                </a:solidFill>
                <a:prstDash val="sysDot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r>
                  <a:rPr lang="en-US" sz="1400" b="1" noProof="1" smtClean="0"/>
                  <a:t>No-names</a:t>
                </a:r>
                <a:endParaRPr lang="en-US" sz="1400" b="1" noProof="1"/>
              </a:p>
            </p:txBody>
          </p:sp>
          <p:sp>
            <p:nvSpPr>
              <p:cNvPr id="31" name="Freihandform 30"/>
              <p:cNvSpPr/>
              <p:nvPr/>
            </p:nvSpPr>
            <p:spPr bwMode="gray">
              <a:xfrm>
                <a:off x="1398049" y="1747588"/>
                <a:ext cx="4783597" cy="3219292"/>
              </a:xfrm>
              <a:custGeom>
                <a:avLst/>
                <a:gdLst>
                  <a:gd name="connsiteX0" fmla="*/ 0 w 4783597"/>
                  <a:gd name="connsiteY0" fmla="*/ 3219292 h 3219292"/>
                  <a:gd name="connsiteX1" fmla="*/ 3045481 w 4783597"/>
                  <a:gd name="connsiteY1" fmla="*/ 0 h 3219292"/>
                  <a:gd name="connsiteX2" fmla="*/ 4783597 w 4783597"/>
                  <a:gd name="connsiteY2" fmla="*/ 1896813 h 3219292"/>
                  <a:gd name="connsiteX3" fmla="*/ 3944767 w 4783597"/>
                  <a:gd name="connsiteY3" fmla="*/ 3219292 h 3219292"/>
                  <a:gd name="connsiteX4" fmla="*/ 0 w 4783597"/>
                  <a:gd name="connsiteY4" fmla="*/ 3219292 h 3219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83597" h="3219292">
                    <a:moveTo>
                      <a:pt x="0" y="3219292"/>
                    </a:moveTo>
                    <a:lnTo>
                      <a:pt x="3045481" y="0"/>
                    </a:lnTo>
                    <a:lnTo>
                      <a:pt x="4783597" y="1896813"/>
                    </a:lnTo>
                    <a:lnTo>
                      <a:pt x="3944767" y="3219292"/>
                    </a:lnTo>
                    <a:lnTo>
                      <a:pt x="0" y="321929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74000"/>
                </a:schemeClr>
              </a:solidFill>
              <a:ln w="12700">
                <a:solidFill>
                  <a:srgbClr val="7D7D7D"/>
                </a:solidFill>
                <a:prstDash val="sysDot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296000" tIns="180000" rtlCol="0" anchor="ctr"/>
              <a:lstStyle/>
              <a:p>
                <a:pPr algn="ctr"/>
                <a:r>
                  <a:rPr lang="en-US" sz="1400" b="1" smtClean="0"/>
                  <a:t>Trademarks</a:t>
                </a:r>
                <a:endParaRPr lang="en-US" sz="1400" b="1" dirty="0"/>
              </a:p>
            </p:txBody>
          </p:sp>
          <p:sp>
            <p:nvSpPr>
              <p:cNvPr id="32" name="Gleichschenkliges Dreieck 31"/>
              <p:cNvSpPr/>
              <p:nvPr/>
            </p:nvSpPr>
            <p:spPr bwMode="gray">
              <a:xfrm flipV="1">
                <a:off x="6546866" y="1740031"/>
                <a:ext cx="1911929" cy="3143722"/>
              </a:xfrm>
              <a:prstGeom prst="triangl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rgbClr val="7D7D7D"/>
                </a:solidFill>
                <a:prstDash val="sysDot"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hteck 32"/>
              <p:cNvSpPr/>
              <p:nvPr/>
            </p:nvSpPr>
            <p:spPr bwMode="gray">
              <a:xfrm>
                <a:off x="6950003" y="2286054"/>
                <a:ext cx="1104635" cy="28973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400" b="1" smtClean="0"/>
                  <a:t>Brand article</a:t>
                </a:r>
                <a:endParaRPr lang="en-US" sz="1400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388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Seller / Buyer's </a:t>
            </a:r>
            <a:r>
              <a:rPr lang="en-US" noProof="1" smtClean="0"/>
              <a:t>Market </a:t>
            </a:r>
            <a:r>
              <a:rPr lang="en-US" b="0" noProof="1" smtClean="0"/>
              <a:t>- Feature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Comparison and limits of the characteristics of the seller and buyer's market</a:t>
            </a:r>
            <a:endParaRPr lang="en-US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324642" y="1494087"/>
            <a:ext cx="8496300" cy="4308227"/>
            <a:chOff x="324642" y="1494087"/>
            <a:chExt cx="8496300" cy="4308227"/>
          </a:xfrm>
        </p:grpSpPr>
        <p:sp>
          <p:nvSpPr>
            <p:cNvPr id="6" name="Rechteck 5"/>
            <p:cNvSpPr/>
            <p:nvPr/>
          </p:nvSpPr>
          <p:spPr bwMode="gray">
            <a:xfrm>
              <a:off x="3156743" y="1494087"/>
              <a:ext cx="2832100" cy="360000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sz="1600" noProof="1" smtClean="0"/>
                <a:t>Activities of supplier</a:t>
              </a:r>
              <a:endParaRPr lang="en-US" sz="1600" noProof="1"/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5988842" y="1494087"/>
              <a:ext cx="2831308" cy="360000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algn="ctr"/>
              <a:r>
                <a:rPr lang="en-US" sz="1600" noProof="1" smtClean="0"/>
                <a:t>Activities of demander</a:t>
              </a:r>
              <a:endParaRPr lang="en-US" sz="1600" noProof="1"/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4642" y="1892187"/>
              <a:ext cx="2832100" cy="35999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Features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156742" y="1892187"/>
              <a:ext cx="2832100" cy="35999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Seller‘s Market</a:t>
              </a: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5988842" y="1892187"/>
              <a:ext cx="2832100" cy="359999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Buyer‘s Market</a:t>
              </a:r>
            </a:p>
          </p:txBody>
        </p:sp>
        <p:grpSp>
          <p:nvGrpSpPr>
            <p:cNvPr id="4" name="Gruppieren 3"/>
            <p:cNvGrpSpPr/>
            <p:nvPr/>
          </p:nvGrpSpPr>
          <p:grpSpPr bwMode="gray">
            <a:xfrm>
              <a:off x="324642" y="2362200"/>
              <a:ext cx="8496300" cy="3440114"/>
              <a:chOff x="324642" y="2271238"/>
              <a:chExt cx="8496300" cy="3531076"/>
            </a:xfrm>
          </p:grpSpPr>
          <p:sp>
            <p:nvSpPr>
              <p:cNvPr id="22" name="Rechteck 21"/>
              <p:cNvSpPr/>
              <p:nvPr/>
            </p:nvSpPr>
            <p:spPr bwMode="gray">
              <a:xfrm>
                <a:off x="324642" y="2271238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Economic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development stage</a:t>
                </a:r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3156742" y="2271238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caricity economy</a:t>
                </a: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5988842" y="2271238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</a:pPr>
                <a:r>
                  <a:rPr lang="en-US" sz="1400" dirty="0" smtClean="0">
                    <a:solidFill>
                      <a:srgbClr val="000000"/>
                    </a:solidFill>
                    <a:cs typeface="Arial" charset="0"/>
                  </a:rPr>
                  <a:t>Affluent societie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324642" y="2859750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Ratio of supply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and demand</a:t>
                </a:r>
              </a:p>
            </p:txBody>
          </p:sp>
          <p:sp>
            <p:nvSpPr>
              <p:cNvPr id="27" name="Rechteck 26"/>
              <p:cNvSpPr/>
              <p:nvPr/>
            </p:nvSpPr>
            <p:spPr bwMode="gray">
              <a:xfrm>
                <a:off x="3156742" y="2859750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Demand&gt; Supply</a:t>
                </a:r>
              </a:p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(Excess demand)</a:t>
                </a:r>
              </a:p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mand more active than provider</a:t>
                </a:r>
              </a:p>
            </p:txBody>
          </p:sp>
          <p:sp>
            <p:nvSpPr>
              <p:cNvPr id="28" name="Rechteck 27"/>
              <p:cNvSpPr/>
              <p:nvPr/>
            </p:nvSpPr>
            <p:spPr bwMode="gray">
              <a:xfrm>
                <a:off x="5988842" y="2859750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Supply&gt; Demand</a:t>
                </a:r>
              </a:p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(Surplus)</a:t>
                </a:r>
              </a:p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viders more active than buyers</a:t>
                </a:r>
              </a:p>
            </p:txBody>
          </p:sp>
          <p:sp>
            <p:nvSpPr>
              <p:cNvPr id="31" name="Rechteck 30"/>
              <p:cNvSpPr/>
              <p:nvPr/>
            </p:nvSpPr>
            <p:spPr bwMode="gray">
              <a:xfrm>
                <a:off x="324642" y="4036776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Bottleneck area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of company</a:t>
                </a:r>
              </a:p>
            </p:txBody>
          </p:sp>
          <p:sp>
            <p:nvSpPr>
              <p:cNvPr id="32" name="Rechteck 31"/>
              <p:cNvSpPr/>
              <p:nvPr/>
            </p:nvSpPr>
            <p:spPr bwMode="gray">
              <a:xfrm>
                <a:off x="3156742" y="4036776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rocurement and / or production</a:t>
                </a:r>
              </a:p>
            </p:txBody>
          </p:sp>
          <p:sp>
            <p:nvSpPr>
              <p:cNvPr id="33" name="Rechteck 32"/>
              <p:cNvSpPr/>
              <p:nvPr/>
            </p:nvSpPr>
            <p:spPr bwMode="gray">
              <a:xfrm>
                <a:off x="5988842" y="4036776"/>
                <a:ext cx="2832100" cy="58851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400" dirty="0" smtClean="0"/>
                  <a:t>Turn over</a:t>
                </a:r>
                <a:endParaRPr lang="en-US" sz="1400" dirty="0"/>
              </a:p>
            </p:txBody>
          </p:sp>
          <p:sp>
            <p:nvSpPr>
              <p:cNvPr id="35" name="Rechteck 34"/>
              <p:cNvSpPr/>
              <p:nvPr/>
            </p:nvSpPr>
            <p:spPr bwMode="gray">
              <a:xfrm>
                <a:off x="324642" y="4625288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Primary efforts </a:t>
                </a:r>
                <a:b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600" b="1" noProof="1" smtClean="0">
                    <a:solidFill>
                      <a:srgbClr val="000000"/>
                    </a:solidFill>
                    <a:cs typeface="Arial" charset="0"/>
                  </a:rPr>
                  <a:t>of company</a:t>
                </a:r>
              </a:p>
            </p:txBody>
          </p:sp>
          <p:sp>
            <p:nvSpPr>
              <p:cNvPr id="36" name="Rechteck 35"/>
              <p:cNvSpPr/>
              <p:nvPr/>
            </p:nvSpPr>
            <p:spPr bwMode="gray">
              <a:xfrm>
                <a:off x="3156742" y="4625288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ational extension of procurement and production capacity</a:t>
                </a:r>
              </a:p>
            </p:txBody>
          </p:sp>
          <p:sp>
            <p:nvSpPr>
              <p:cNvPr id="37" name="Rechteck 36"/>
              <p:cNvSpPr/>
              <p:nvPr/>
            </p:nvSpPr>
            <p:spPr bwMode="gray">
              <a:xfrm>
                <a:off x="5988842" y="4625288"/>
                <a:ext cx="2832100" cy="1177026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 algn="ctr">
                  <a:lnSpc>
                    <a:spcPct val="90000"/>
                  </a:lnSpc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Awakening of demand and creation of preferences for their ow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078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005862"/>
              </p:ext>
            </p:extLst>
          </p:nvPr>
        </p:nvGraphicFramePr>
        <p:xfrm>
          <a:off x="323850" y="1916110"/>
          <a:ext cx="4087336" cy="418355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05000"/>
                <a:gridCol w="556683"/>
                <a:gridCol w="1122734"/>
                <a:gridCol w="502919"/>
              </a:tblGrid>
              <a:tr h="454918">
                <a:tc>
                  <a:txBody>
                    <a:bodyPr/>
                    <a:lstStyle/>
                    <a:p>
                      <a:r>
                        <a:rPr lang="en-US" sz="1000" b="1" dirty="0" smtClean="0"/>
                        <a:t>Criteria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1" smtClean="0"/>
                        <a:t>Weigh.</a:t>
                      </a:r>
                      <a:endParaRPr lang="en-US" sz="1000" b="1" noProof="1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oefficients</a:t>
                      </a:r>
                      <a:br>
                        <a:rPr lang="en-US" sz="1000" b="1" dirty="0" smtClean="0"/>
                      </a:br>
                      <a:r>
                        <a:rPr lang="en-US" sz="1000" b="1" dirty="0" smtClean="0"/>
                        <a:t>0 0,1 0,2…0,8 0,9 1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mtClean="0"/>
                        <a:t>Index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 marL="168275" indent="-168275">
                        <a:buNone/>
                      </a:pPr>
                      <a:r>
                        <a:rPr lang="en-US" sz="1050" b="1" baseline="0" smtClean="0"/>
                        <a:t>1. Market growth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1050" b="1" smtClean="0"/>
                        <a:t>2. Market quality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Profitability of the branch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Tolerance for price polic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Technological level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</a:t>
                      </a:r>
                      <a:r>
                        <a:rPr lang="en-US" sz="900" noProof="1" smtClean="0"/>
                        <a:t>Protectability</a:t>
                      </a:r>
                      <a:r>
                        <a:rPr lang="en-US" sz="900" dirty="0" smtClean="0"/>
                        <a:t> of know how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Intensity of investment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Intensity / structure of competition </a:t>
                      </a:r>
                      <a:endParaRPr lang="en-US" sz="900" noProof="1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Number / structure of potential consumer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Entry barrier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Distribution requirement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Variability of competition conditions</a:t>
                      </a:r>
                      <a:endParaRPr lang="en-US" sz="900" noProof="1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3945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Substitution possibilitie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035463"/>
              </p:ext>
            </p:extLst>
          </p:nvPr>
        </p:nvGraphicFramePr>
        <p:xfrm>
          <a:off x="4733607" y="1916104"/>
          <a:ext cx="4087336" cy="418356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00397"/>
                <a:gridCol w="604996"/>
                <a:gridCol w="1079024"/>
                <a:gridCol w="502919"/>
              </a:tblGrid>
              <a:tr h="550847">
                <a:tc>
                  <a:txBody>
                    <a:bodyPr/>
                    <a:lstStyle/>
                    <a:p>
                      <a:r>
                        <a:rPr lang="en-US" sz="1000" b="1" dirty="0" smtClean="0"/>
                        <a:t>Criteria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1" smtClean="0"/>
                        <a:t>Weigh.</a:t>
                      </a:r>
                      <a:endParaRPr lang="en-US" sz="1000" b="1" noProof="1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oefficients</a:t>
                      </a:r>
                      <a:br>
                        <a:rPr lang="en-US" sz="1000" b="1" dirty="0" smtClean="0"/>
                      </a:br>
                      <a:r>
                        <a:rPr lang="en-US" sz="1000" b="1" dirty="0" smtClean="0"/>
                        <a:t>0 0,1 0,2…0,8 0,9 1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mtClean="0"/>
                        <a:t>Index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pPr marL="168275" indent="-168275">
                        <a:buNone/>
                      </a:pPr>
                      <a:r>
                        <a:rPr lang="en-US" sz="1050" b="1" baseline="0" smtClean="0"/>
                        <a:t>3. Energy / Accommodation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900" b="0" smtClean="0"/>
                        <a:t>-</a:t>
                      </a:r>
                      <a:r>
                        <a:rPr lang="en-US" sz="900" b="0" baseline="0" smtClean="0"/>
                        <a:t> interference of accommodation</a:t>
                      </a:r>
                      <a:endParaRPr lang="en-US" sz="900" b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0568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influence of profitability through    price incensement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existence of alternative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pPr marL="168275" indent="-168275">
                        <a:buNone/>
                      </a:pPr>
                      <a:r>
                        <a:rPr lang="en-US" sz="1050" b="1" baseline="0" dirty="0" smtClean="0"/>
                        <a:t>4. Environment situation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baseline="0" dirty="0" smtClean="0"/>
                        <a:t> Economic dependenc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Inflation effect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Dependency on legislation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900" dirty="0" smtClean="0"/>
                        <a:t>-</a:t>
                      </a:r>
                      <a:r>
                        <a:rPr lang="en-US" sz="900" baseline="0" dirty="0" smtClean="0"/>
                        <a:t> Dependency on public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</a:t>
                      </a:r>
                      <a:r>
                        <a:rPr lang="en-US" sz="900" baseline="0" dirty="0" smtClean="0"/>
                        <a:t> Risk of public interference 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Pollution of nature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5650">
                <a:tc>
                  <a:txBody>
                    <a:bodyPr/>
                    <a:lstStyle/>
                    <a:p>
                      <a:r>
                        <a:rPr lang="en-US" sz="1050" b="1" dirty="0" smtClean="0"/>
                        <a:t>TOTAL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 smtClean="0"/>
                        <a:t>1,0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324643" y="1562100"/>
            <a:ext cx="3705490" cy="323165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r>
              <a:rPr lang="en-US" b="1" smtClean="0"/>
              <a:t>Evaluation of market attractiveness</a:t>
            </a:r>
            <a:endParaRPr lang="en-US" b="1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</p:spPr>
        <p:txBody>
          <a:bodyPr/>
          <a:lstStyle/>
          <a:p>
            <a:r>
              <a:rPr lang="en-US" dirty="0" smtClean="0"/>
              <a:t>Market Attractiveness </a:t>
            </a:r>
            <a:r>
              <a:rPr lang="en-US" b="0" dirty="0" smtClean="0"/>
              <a:t>- Competition Advantage </a:t>
            </a:r>
            <a:br>
              <a:rPr lang="en-US" b="0" dirty="0" smtClean="0"/>
            </a:br>
            <a:r>
              <a:rPr lang="en-US" b="0" dirty="0" smtClean="0"/>
              <a:t>Portfolio 1/3</a:t>
            </a:r>
            <a:endParaRPr lang="en-US" b="0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3850" y="981999"/>
            <a:ext cx="8496300" cy="336244"/>
          </a:xfrm>
        </p:spPr>
        <p:txBody>
          <a:bodyPr/>
          <a:lstStyle/>
          <a:p>
            <a:r>
              <a:rPr lang="en-US" dirty="0"/>
              <a:t>Analysis of portfolio categories according to the criteria lists</a:t>
            </a:r>
          </a:p>
        </p:txBody>
      </p:sp>
    </p:spTree>
    <p:extLst>
      <p:ext uri="{BB962C8B-B14F-4D97-AF65-F5344CB8AC3E}">
        <p14:creationId xmlns:p14="http://schemas.microsoft.com/office/powerpoint/2010/main" val="115667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Attractiveness </a:t>
            </a:r>
            <a:r>
              <a:rPr lang="en-US" b="0" dirty="0" smtClean="0"/>
              <a:t>- Competition Advantage </a:t>
            </a:r>
            <a:br>
              <a:rPr lang="en-US" b="0" dirty="0" smtClean="0"/>
            </a:br>
            <a:r>
              <a:rPr lang="en-US" b="0" dirty="0" smtClean="0"/>
              <a:t>Portfolio 2/3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323850" y="981999"/>
            <a:ext cx="8496300" cy="336244"/>
          </a:xfrm>
        </p:spPr>
        <p:txBody>
          <a:bodyPr/>
          <a:lstStyle/>
          <a:p>
            <a:r>
              <a:rPr lang="en-US" dirty="0"/>
              <a:t>Analysis of portfolio categories according to the criteria lists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426195"/>
              </p:ext>
            </p:extLst>
          </p:nvPr>
        </p:nvGraphicFramePr>
        <p:xfrm>
          <a:off x="323850" y="1916111"/>
          <a:ext cx="4087336" cy="40233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895475"/>
                <a:gridCol w="557742"/>
                <a:gridCol w="1131200"/>
                <a:gridCol w="502919"/>
              </a:tblGrid>
              <a:tr h="453709">
                <a:tc>
                  <a:txBody>
                    <a:bodyPr/>
                    <a:lstStyle/>
                    <a:p>
                      <a:r>
                        <a:rPr lang="en-US" sz="1000" b="1" dirty="0" smtClean="0"/>
                        <a:t>Criteria 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1" smtClean="0"/>
                        <a:t>Weigh.</a:t>
                      </a:r>
                      <a:endParaRPr lang="en-US" sz="1000" b="1" noProof="1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/>
                        <a:t>Coefficients</a:t>
                      </a:r>
                      <a:br>
                        <a:rPr lang="en-US" sz="1000" b="1" dirty="0" smtClean="0"/>
                      </a:br>
                      <a:r>
                        <a:rPr lang="en-US" sz="1000" b="1" dirty="0" smtClean="0"/>
                        <a:t>0 0,1 0,2…0,8 0,9 1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mtClean="0"/>
                        <a:t>Index</a:t>
                      </a:r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 marL="168275" indent="-168275">
                        <a:buNone/>
                      </a:pPr>
                      <a:r>
                        <a:rPr lang="en-US" sz="1050" b="1" dirty="0" smtClean="0"/>
                        <a:t>1.</a:t>
                      </a:r>
                      <a:r>
                        <a:rPr lang="en-US" sz="1050" b="1" baseline="0" dirty="0" smtClean="0"/>
                        <a:t> Rel. market position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b="0" dirty="0" smtClean="0"/>
                        <a:t> Market share</a:t>
                      </a:r>
                      <a:endParaRPr lang="en-US" sz="900" b="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Size and financial power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Growth rate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Profitabilit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Risk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Market potential 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r>
                        <a:rPr lang="en-US" sz="1050" b="1" dirty="0" smtClean="0"/>
                        <a:t>2. Rel.</a:t>
                      </a:r>
                      <a:r>
                        <a:rPr lang="en-US" sz="1050" b="1" baseline="0" dirty="0" smtClean="0"/>
                        <a:t> product potential</a:t>
                      </a:r>
                      <a:endParaRPr lang="en-US" sz="1050" b="1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Process efficienc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Cost advantage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Innovation abilit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License relation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Adaptabilit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900" dirty="0" smtClean="0"/>
                        <a:t>-</a:t>
                      </a:r>
                      <a:r>
                        <a:rPr lang="en-US" sz="900" baseline="0" dirty="0" smtClean="0"/>
                        <a:t> Sustain market share with capacity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8381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baseline="0" dirty="0" smtClean="0"/>
                        <a:t> Location advantage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068680"/>
              </p:ext>
            </p:extLst>
          </p:nvPr>
        </p:nvGraphicFramePr>
        <p:xfrm>
          <a:off x="4733607" y="1916111"/>
          <a:ext cx="4087336" cy="415290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00397"/>
                <a:gridCol w="579596"/>
                <a:gridCol w="1104424"/>
                <a:gridCol w="502919"/>
              </a:tblGrid>
              <a:tr h="554898">
                <a:tc>
                  <a:txBody>
                    <a:bodyPr/>
                    <a:lstStyle/>
                    <a:p>
                      <a:r>
                        <a:rPr lang="en-US" sz="1000" b="1" dirty="0" smtClean="0"/>
                        <a:t>Criteria </a:t>
                      </a:r>
                      <a:endParaRPr lang="en-US" sz="10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1" smtClean="0"/>
                        <a:t>Weigh.</a:t>
                      </a:r>
                      <a:endParaRPr lang="en-US" sz="1000" b="1" noProof="1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mtClean="0"/>
                        <a:t>Coefficients</a:t>
                      </a:r>
                      <a:br>
                        <a:rPr lang="en-US" sz="1000" b="1" smtClean="0"/>
                      </a:br>
                      <a:r>
                        <a:rPr lang="en-US" sz="1000" b="1" smtClean="0"/>
                        <a:t>0 0,1 0,2…0,8 0,9 1</a:t>
                      </a:r>
                      <a:endParaRPr lang="en-US" sz="10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smtClean="0"/>
                        <a:t>Index</a:t>
                      </a:r>
                      <a:endParaRPr lang="en-US" sz="10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 marL="168275" indent="-168275">
                        <a:buNone/>
                      </a:pPr>
                      <a:r>
                        <a:rPr lang="en-US" sz="900" b="0" dirty="0" smtClean="0"/>
                        <a:t>- Pot. increase of productivity</a:t>
                      </a:r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r>
                        <a:rPr lang="en-US" sz="900" b="0" dirty="0" smtClean="0"/>
                        <a:t>- Environmental friendly production</a:t>
                      </a:r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Delivery conditions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355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Sustain market share with given supply conditions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4355">
                <a:tc>
                  <a:txBody>
                    <a:bodyPr/>
                    <a:lstStyle/>
                    <a:p>
                      <a:pPr marL="53975" indent="-53975">
                        <a:buNone/>
                      </a:pPr>
                      <a:r>
                        <a:rPr lang="en-US" sz="900" b="1" dirty="0" smtClean="0"/>
                        <a:t>- </a:t>
                      </a:r>
                      <a:r>
                        <a:rPr lang="en-US" sz="900" b="0" dirty="0" smtClean="0"/>
                        <a:t>Cost situation with energy and raw material supply</a:t>
                      </a:r>
                      <a:endParaRPr lang="en-US" sz="900" b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050" b="1" dirty="0" smtClean="0"/>
                        <a:t>3. Relative R&amp;D potential</a:t>
                      </a:r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Status of research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4355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baseline="0" dirty="0" smtClean="0"/>
                        <a:t> Development compared to market position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Innovation potential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050" b="1" dirty="0" smtClean="0"/>
                        <a:t>4. Rel. employee qualification</a:t>
                      </a:r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- Professionalism and culture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dirty="0" smtClean="0"/>
                        <a:t> Innovation climate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900" baseline="0" dirty="0" smtClean="0"/>
                        <a:t> Quality of management systems</a:t>
                      </a:r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7722">
                <a:tc>
                  <a:txBody>
                    <a:bodyPr/>
                    <a:lstStyle/>
                    <a:p>
                      <a:r>
                        <a:rPr lang="en-US" sz="1050" b="1" dirty="0" smtClean="0"/>
                        <a:t>TOTAL</a:t>
                      </a:r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smtClean="0"/>
                        <a:t>1,0</a:t>
                      </a:r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324643" y="1562100"/>
            <a:ext cx="3824024" cy="323165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r>
              <a:rPr lang="en-US" b="1" smtClean="0"/>
              <a:t>Evaluation of market attractiveness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65031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Market Attractiveness </a:t>
            </a:r>
            <a:r>
              <a:rPr lang="en-US" b="0" dirty="0" smtClean="0"/>
              <a:t>- Competition Advantage </a:t>
            </a:r>
            <a:br>
              <a:rPr lang="en-US" b="0" dirty="0" smtClean="0"/>
            </a:br>
            <a:r>
              <a:rPr lang="en-US" b="0" dirty="0" smtClean="0"/>
              <a:t>Portfolio 3/3</a:t>
            </a:r>
            <a:endParaRPr lang="en-US" b="0" dirty="0"/>
          </a:p>
        </p:txBody>
      </p:sp>
      <p:grpSp>
        <p:nvGrpSpPr>
          <p:cNvPr id="53" name="Gruppieren 52"/>
          <p:cNvGrpSpPr/>
          <p:nvPr/>
        </p:nvGrpSpPr>
        <p:grpSpPr bwMode="gray">
          <a:xfrm>
            <a:off x="324643" y="1708149"/>
            <a:ext cx="7546993" cy="4246565"/>
            <a:chOff x="324643" y="1555749"/>
            <a:chExt cx="7546993" cy="4246565"/>
          </a:xfrm>
        </p:grpSpPr>
        <p:sp>
          <p:nvSpPr>
            <p:cNvPr id="35" name="Rectangle 18"/>
            <p:cNvSpPr>
              <a:spLocks noChangeArrowheads="1"/>
            </p:cNvSpPr>
            <p:nvPr/>
          </p:nvSpPr>
          <p:spPr bwMode="gray">
            <a:xfrm>
              <a:off x="662750" y="3089203"/>
              <a:ext cx="1230889" cy="117309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8" name="Rectangle 21"/>
            <p:cNvSpPr>
              <a:spLocks noChangeArrowheads="1"/>
            </p:cNvSpPr>
            <p:nvPr/>
          </p:nvSpPr>
          <p:spPr bwMode="gray">
            <a:xfrm>
              <a:off x="662750" y="4262292"/>
              <a:ext cx="1230889" cy="117309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9" name="Rectangle 22"/>
            <p:cNvSpPr>
              <a:spLocks noChangeArrowheads="1"/>
            </p:cNvSpPr>
            <p:nvPr/>
          </p:nvSpPr>
          <p:spPr bwMode="gray">
            <a:xfrm>
              <a:off x="1893639" y="4262292"/>
              <a:ext cx="1230889" cy="117309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3" name="Rectangle 16"/>
            <p:cNvSpPr>
              <a:spLocks noChangeArrowheads="1"/>
            </p:cNvSpPr>
            <p:nvPr/>
          </p:nvSpPr>
          <p:spPr bwMode="gray">
            <a:xfrm>
              <a:off x="1893639" y="1916113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gray">
            <a:xfrm>
              <a:off x="3124527" y="1916113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7" name="Rectangle 20"/>
            <p:cNvSpPr>
              <a:spLocks noChangeArrowheads="1"/>
            </p:cNvSpPr>
            <p:nvPr/>
          </p:nvSpPr>
          <p:spPr bwMode="gray">
            <a:xfrm>
              <a:off x="3124527" y="3089203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2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/>
          </p:nvSpPr>
          <p:spPr bwMode="gray">
            <a:xfrm>
              <a:off x="662750" y="1916113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r>
                <a:rPr lang="en-US" sz="2400" b="1" smtClean="0">
                  <a:solidFill>
                    <a:srgbClr val="000000"/>
                  </a:solidFill>
                  <a:cs typeface="Arial" charset="0"/>
                </a:rPr>
                <a:t>A</a:t>
              </a:r>
              <a:endParaRPr lang="en-US" sz="24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gray">
            <a:xfrm>
              <a:off x="1893639" y="3089203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r>
                <a:rPr lang="en-US" sz="2400" b="1" smtClean="0">
                  <a:solidFill>
                    <a:srgbClr val="000000"/>
                  </a:solidFill>
                  <a:cs typeface="Arial" charset="0"/>
                </a:rPr>
                <a:t>B</a:t>
              </a:r>
              <a:endParaRPr lang="en-US" sz="24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Text Box 26"/>
            <p:cNvSpPr txBox="1">
              <a:spLocks noChangeArrowheads="1"/>
            </p:cNvSpPr>
            <p:nvPr/>
          </p:nvSpPr>
          <p:spPr bwMode="gray">
            <a:xfrm>
              <a:off x="662750" y="1555750"/>
              <a:ext cx="1224205" cy="3603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low</a:t>
              </a:r>
              <a:endParaRPr lang="en-US" sz="1200"/>
            </a:p>
          </p:txBody>
        </p:sp>
        <p:sp>
          <p:nvSpPr>
            <p:cNvPr id="44" name="Text Box 27"/>
            <p:cNvSpPr txBox="1">
              <a:spLocks noChangeArrowheads="1"/>
            </p:cNvSpPr>
            <p:nvPr/>
          </p:nvSpPr>
          <p:spPr bwMode="gray">
            <a:xfrm>
              <a:off x="1888305" y="1555750"/>
              <a:ext cx="1224205" cy="3603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medium</a:t>
              </a:r>
              <a:endParaRPr lang="en-US" sz="1200"/>
            </a:p>
          </p:txBody>
        </p:sp>
        <p:sp>
          <p:nvSpPr>
            <p:cNvPr id="45" name="Text Box 28"/>
            <p:cNvSpPr txBox="1">
              <a:spLocks noChangeArrowheads="1"/>
            </p:cNvSpPr>
            <p:nvPr/>
          </p:nvSpPr>
          <p:spPr bwMode="gray">
            <a:xfrm>
              <a:off x="3111160" y="1555750"/>
              <a:ext cx="1224205" cy="3603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high</a:t>
              </a:r>
              <a:endParaRPr lang="en-US" sz="1200"/>
            </a:p>
          </p:txBody>
        </p:sp>
        <p:sp>
          <p:nvSpPr>
            <p:cNvPr id="46" name="Text Box 29"/>
            <p:cNvSpPr txBox="1">
              <a:spLocks noChangeArrowheads="1"/>
            </p:cNvSpPr>
            <p:nvPr/>
          </p:nvSpPr>
          <p:spPr bwMode="gray">
            <a:xfrm rot="16200000">
              <a:off x="3982667" y="4652937"/>
              <a:ext cx="1166720" cy="398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low</a:t>
              </a:r>
              <a:endParaRPr lang="en-US" sz="1200"/>
            </a:p>
          </p:txBody>
        </p:sp>
        <p:sp>
          <p:nvSpPr>
            <p:cNvPr id="47" name="Text Box 30"/>
            <p:cNvSpPr txBox="1">
              <a:spLocks noChangeArrowheads="1"/>
            </p:cNvSpPr>
            <p:nvPr/>
          </p:nvSpPr>
          <p:spPr bwMode="gray">
            <a:xfrm rot="16200000">
              <a:off x="3982667" y="3486217"/>
              <a:ext cx="1166720" cy="398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medium</a:t>
              </a:r>
              <a:endParaRPr lang="en-US" sz="1200"/>
            </a:p>
          </p:txBody>
        </p:sp>
        <p:sp>
          <p:nvSpPr>
            <p:cNvPr id="48" name="Text Box 31"/>
            <p:cNvSpPr txBox="1">
              <a:spLocks noChangeArrowheads="1"/>
            </p:cNvSpPr>
            <p:nvPr/>
          </p:nvSpPr>
          <p:spPr bwMode="gray">
            <a:xfrm rot="16200000">
              <a:off x="3981317" y="2319497"/>
              <a:ext cx="1166720" cy="398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high</a:t>
              </a:r>
              <a:endParaRPr lang="en-US" sz="1200"/>
            </a:p>
          </p:txBody>
        </p:sp>
        <p:sp>
          <p:nvSpPr>
            <p:cNvPr id="49" name="Text Box 32"/>
            <p:cNvSpPr txBox="1">
              <a:spLocks noChangeArrowheads="1"/>
            </p:cNvSpPr>
            <p:nvPr/>
          </p:nvSpPr>
          <p:spPr bwMode="gray">
            <a:xfrm>
              <a:off x="662750" y="5435382"/>
              <a:ext cx="3672614" cy="3669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en-US" sz="1200" smtClean="0"/>
                <a:t>Relative competition advantage</a:t>
              </a:r>
              <a:endParaRPr lang="en-US" sz="1200"/>
            </a:p>
          </p:txBody>
        </p:sp>
        <p:sp>
          <p:nvSpPr>
            <p:cNvPr id="50" name="Text Box 33"/>
            <p:cNvSpPr txBox="1">
              <a:spLocks noChangeArrowheads="1"/>
            </p:cNvSpPr>
            <p:nvPr/>
          </p:nvSpPr>
          <p:spPr bwMode="gray">
            <a:xfrm rot="16200000">
              <a:off x="-1266597" y="3507353"/>
              <a:ext cx="3519912" cy="337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tabLst>
                  <a:tab pos="3227388" algn="l"/>
                </a:tabLst>
              </a:pPr>
              <a:r>
                <a:rPr lang="en-US" sz="1400" smtClean="0"/>
                <a:t>Market attractiveness</a:t>
              </a:r>
              <a:endParaRPr lang="en-US" sz="1200"/>
            </a:p>
          </p:txBody>
        </p:sp>
        <p:sp>
          <p:nvSpPr>
            <p:cNvPr id="52" name="Rectangle 19"/>
            <p:cNvSpPr>
              <a:spLocks noChangeArrowheads="1"/>
            </p:cNvSpPr>
            <p:nvPr/>
          </p:nvSpPr>
          <p:spPr bwMode="gray">
            <a:xfrm>
              <a:off x="1893639" y="3089202"/>
              <a:ext cx="1230889" cy="1173090"/>
            </a:xfrm>
            <a:prstGeom prst="rect">
              <a:avLst/>
            </a:prstGeom>
            <a:noFill/>
            <a:ln w="28575" algn="ctr">
              <a:solidFill>
                <a:srgbClr val="C00000"/>
              </a:solidFill>
              <a:prstDash val="sysDot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2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1" name="Line 24"/>
            <p:cNvSpPr>
              <a:spLocks noChangeShapeType="1"/>
            </p:cNvSpPr>
            <p:nvPr/>
          </p:nvSpPr>
          <p:spPr bwMode="gray">
            <a:xfrm>
              <a:off x="662750" y="1555749"/>
              <a:ext cx="0" cy="3879633"/>
            </a:xfrm>
            <a:prstGeom prst="line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 type="triangle" w="med" len="med"/>
              <a:tailEnd/>
            </a:ln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sp>
          <p:nvSpPr>
            <p:cNvPr id="42" name="Line 25"/>
            <p:cNvSpPr>
              <a:spLocks noChangeShapeType="1"/>
            </p:cNvSpPr>
            <p:nvPr/>
          </p:nvSpPr>
          <p:spPr bwMode="gray">
            <a:xfrm rot="5400000">
              <a:off x="2698142" y="3399990"/>
              <a:ext cx="0" cy="4070784"/>
            </a:xfrm>
            <a:prstGeom prst="line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 type="triangle" w="med" len="med"/>
              <a:tailEnd/>
            </a:ln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cxnSp>
          <p:nvCxnSpPr>
            <p:cNvPr id="55" name="Gerade Verbindung 54"/>
            <p:cNvCxnSpPr/>
            <p:nvPr/>
          </p:nvCxnSpPr>
          <p:spPr bwMode="gray">
            <a:xfrm>
              <a:off x="4168140" y="2103120"/>
              <a:ext cx="1965960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2910840" y="3261360"/>
              <a:ext cx="3223260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2910840" y="4465320"/>
              <a:ext cx="3223260" cy="0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/>
            <p:cNvSpPr txBox="1"/>
            <p:nvPr/>
          </p:nvSpPr>
          <p:spPr bwMode="gray">
            <a:xfrm>
              <a:off x="6172200" y="1943100"/>
              <a:ext cx="1470719" cy="523220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en-US" sz="1400" dirty="0"/>
                <a:t>Investment and </a:t>
              </a:r>
              <a:r>
                <a:rPr lang="en-US" sz="1400" dirty="0" smtClean="0"/>
                <a:t/>
              </a:r>
              <a:br>
                <a:rPr lang="en-US" sz="1400" dirty="0" smtClean="0"/>
              </a:br>
              <a:r>
                <a:rPr lang="en-US" sz="1400" dirty="0" smtClean="0"/>
                <a:t>growths </a:t>
              </a:r>
              <a:r>
                <a:rPr lang="en-US" sz="1400" dirty="0"/>
                <a:t>strategies</a:t>
              </a:r>
            </a:p>
          </p:txBody>
        </p:sp>
        <p:sp>
          <p:nvSpPr>
            <p:cNvPr id="60" name="Textfeld 59"/>
            <p:cNvSpPr txBox="1"/>
            <p:nvPr/>
          </p:nvSpPr>
          <p:spPr bwMode="gray">
            <a:xfrm>
              <a:off x="6172200" y="3101942"/>
              <a:ext cx="1571131" cy="307777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en-US" sz="1400" dirty="0"/>
                <a:t>Selective strategies</a:t>
              </a:r>
            </a:p>
          </p:txBody>
        </p:sp>
        <p:sp>
          <p:nvSpPr>
            <p:cNvPr id="61" name="Textfeld 60"/>
            <p:cNvSpPr txBox="1"/>
            <p:nvPr/>
          </p:nvSpPr>
          <p:spPr bwMode="gray">
            <a:xfrm>
              <a:off x="6172200" y="4306762"/>
              <a:ext cx="1699436" cy="523220"/>
            </a:xfrm>
            <a:prstGeom prst="rect">
              <a:avLst/>
            </a:prstGeom>
            <a:noFill/>
          </p:spPr>
          <p:txBody>
            <a:bodyPr wrap="none" lIns="36000" rtlCol="0">
              <a:spAutoFit/>
            </a:bodyPr>
            <a:lstStyle/>
            <a:p>
              <a:r>
                <a:rPr lang="en-US" sz="1400" dirty="0"/>
                <a:t>Absorption and </a:t>
              </a:r>
              <a:r>
                <a:rPr lang="en-US" sz="1400" dirty="0" smtClean="0"/>
                <a:t/>
              </a:r>
              <a:br>
                <a:rPr lang="en-US" sz="1400" dirty="0" smtClean="0"/>
              </a:br>
              <a:r>
                <a:rPr lang="en-US" sz="1400" dirty="0" smtClean="0"/>
                <a:t>divestment </a:t>
              </a:r>
              <a:r>
                <a:rPr lang="en-US" sz="1400" dirty="0"/>
                <a:t>strategies</a:t>
              </a:r>
            </a:p>
          </p:txBody>
        </p:sp>
        <p:sp>
          <p:nvSpPr>
            <p:cNvPr id="4" name="Ellipse 3"/>
            <p:cNvSpPr/>
            <p:nvPr/>
          </p:nvSpPr>
          <p:spPr bwMode="gray">
            <a:xfrm>
              <a:off x="1007991" y="2233028"/>
              <a:ext cx="539261" cy="539261"/>
            </a:xfrm>
            <a:prstGeom prst="ellips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Ellipse 63"/>
            <p:cNvSpPr/>
            <p:nvPr/>
          </p:nvSpPr>
          <p:spPr bwMode="gray">
            <a:xfrm>
              <a:off x="2244104" y="3406118"/>
              <a:ext cx="539261" cy="539261"/>
            </a:xfrm>
            <a:prstGeom prst="ellips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Ellipse 65"/>
            <p:cNvSpPr/>
            <p:nvPr/>
          </p:nvSpPr>
          <p:spPr bwMode="gray">
            <a:xfrm>
              <a:off x="2236484" y="2233028"/>
              <a:ext cx="539261" cy="539261"/>
            </a:xfrm>
            <a:prstGeom prst="ellipse">
              <a:avLst/>
            </a:prstGeom>
            <a:noFill/>
            <a:ln w="28575">
              <a:solidFill>
                <a:srgbClr val="C0C0C0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Ellipse 67"/>
            <p:cNvSpPr/>
            <p:nvPr/>
          </p:nvSpPr>
          <p:spPr bwMode="gray">
            <a:xfrm>
              <a:off x="3472377" y="2233028"/>
              <a:ext cx="539261" cy="539261"/>
            </a:xfrm>
            <a:prstGeom prst="ellipse">
              <a:avLst/>
            </a:prstGeom>
            <a:noFill/>
            <a:ln w="28575">
              <a:solidFill>
                <a:srgbClr val="C0C0C0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Ellipse 68"/>
            <p:cNvSpPr/>
            <p:nvPr/>
          </p:nvSpPr>
          <p:spPr bwMode="gray">
            <a:xfrm>
              <a:off x="3472377" y="3406118"/>
              <a:ext cx="539261" cy="539261"/>
            </a:xfrm>
            <a:prstGeom prst="ellipse">
              <a:avLst/>
            </a:prstGeom>
            <a:noFill/>
            <a:ln w="28575">
              <a:solidFill>
                <a:srgbClr val="C0C0C0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Ellipse 69"/>
            <p:cNvSpPr/>
            <p:nvPr/>
          </p:nvSpPr>
          <p:spPr bwMode="gray">
            <a:xfrm>
              <a:off x="1000371" y="3406118"/>
              <a:ext cx="539261" cy="539261"/>
            </a:xfrm>
            <a:prstGeom prst="ellipse">
              <a:avLst/>
            </a:prstGeom>
            <a:noFill/>
            <a:ln w="28575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Ellipse 70"/>
            <p:cNvSpPr/>
            <p:nvPr/>
          </p:nvSpPr>
          <p:spPr bwMode="gray">
            <a:xfrm>
              <a:off x="1000371" y="4579207"/>
              <a:ext cx="539261" cy="539261"/>
            </a:xfrm>
            <a:prstGeom prst="ellipse">
              <a:avLst/>
            </a:prstGeom>
            <a:noFill/>
            <a:ln w="28575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Ellipse 72"/>
            <p:cNvSpPr/>
            <p:nvPr/>
          </p:nvSpPr>
          <p:spPr bwMode="gray">
            <a:xfrm>
              <a:off x="2236484" y="4581128"/>
              <a:ext cx="539261" cy="539261"/>
            </a:xfrm>
            <a:prstGeom prst="ellipse">
              <a:avLst/>
            </a:prstGeom>
            <a:noFill/>
            <a:ln w="28575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15"/>
            <p:cNvSpPr>
              <a:spLocks noChangeArrowheads="1"/>
            </p:cNvSpPr>
            <p:nvPr/>
          </p:nvSpPr>
          <p:spPr bwMode="gray">
            <a:xfrm>
              <a:off x="662750" y="1916112"/>
              <a:ext cx="1230889" cy="1173090"/>
            </a:xfrm>
            <a:prstGeom prst="rect">
              <a:avLst/>
            </a:prstGeom>
            <a:noFill/>
            <a:ln w="28575" algn="ctr">
              <a:solidFill>
                <a:srgbClr val="C00000"/>
              </a:solidFill>
              <a:prstDash val="sysDot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6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4" name="Rectangle 23"/>
            <p:cNvSpPr>
              <a:spLocks noChangeArrowheads="1"/>
            </p:cNvSpPr>
            <p:nvPr/>
          </p:nvSpPr>
          <p:spPr bwMode="gray">
            <a:xfrm>
              <a:off x="3124527" y="4262292"/>
              <a:ext cx="1230889" cy="117309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38100" algn="ctr">
              <a:noFill/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r>
                <a:rPr lang="en-US" sz="2400" b="1" smtClean="0">
                  <a:solidFill>
                    <a:srgbClr val="000000"/>
                  </a:solidFill>
                  <a:cs typeface="Arial" charset="0"/>
                </a:rPr>
                <a:t>C</a:t>
              </a:r>
              <a:endParaRPr lang="en-US" sz="24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5" name="Rectangle 23"/>
            <p:cNvSpPr>
              <a:spLocks noChangeArrowheads="1"/>
            </p:cNvSpPr>
            <p:nvPr/>
          </p:nvSpPr>
          <p:spPr bwMode="gray">
            <a:xfrm>
              <a:off x="3124527" y="4262291"/>
              <a:ext cx="1230889" cy="1173090"/>
            </a:xfrm>
            <a:prstGeom prst="rect">
              <a:avLst/>
            </a:prstGeom>
            <a:noFill/>
            <a:ln w="28575" algn="ctr">
              <a:solidFill>
                <a:srgbClr val="C00000"/>
              </a:solidFill>
              <a:prstDash val="sysDot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indent="-190500" algn="ctr" defTabSz="801688" eaLnBrk="0" hangingPunct="0">
                <a:spcBef>
                  <a:spcPct val="5000"/>
                </a:spcBef>
                <a:tabLst>
                  <a:tab pos="1168400" algn="l"/>
                </a:tabLst>
                <a:defRPr/>
              </a:pPr>
              <a:endParaRPr lang="en-US" sz="120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6" name="Ellipse 75"/>
            <p:cNvSpPr/>
            <p:nvPr/>
          </p:nvSpPr>
          <p:spPr bwMode="gray">
            <a:xfrm>
              <a:off x="3479997" y="4579207"/>
              <a:ext cx="539261" cy="539261"/>
            </a:xfrm>
            <a:prstGeom prst="ellips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981999"/>
            <a:ext cx="8496300" cy="336244"/>
          </a:xfrm>
        </p:spPr>
        <p:txBody>
          <a:bodyPr/>
          <a:lstStyle/>
          <a:p>
            <a:r>
              <a:rPr lang="en-US" smtClean="0"/>
              <a:t>Display of portfolio graphic according to results of prior criteria lis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85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 Segmentation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Different types and levels of market segmentation</a:t>
            </a:r>
            <a:endParaRPr lang="en-US" noProof="1"/>
          </a:p>
        </p:txBody>
      </p:sp>
      <p:grpSp>
        <p:nvGrpSpPr>
          <p:cNvPr id="24" name="Gruppieren 23"/>
          <p:cNvGrpSpPr/>
          <p:nvPr/>
        </p:nvGrpSpPr>
        <p:grpSpPr>
          <a:xfrm>
            <a:off x="323850" y="1197385"/>
            <a:ext cx="8564575" cy="5070824"/>
            <a:chOff x="323850" y="1197385"/>
            <a:chExt cx="8564575" cy="5070824"/>
          </a:xfrm>
        </p:grpSpPr>
        <p:sp>
          <p:nvSpPr>
            <p:cNvPr id="14" name="Rechteck 13"/>
            <p:cNvSpPr/>
            <p:nvPr/>
          </p:nvSpPr>
          <p:spPr bwMode="gray">
            <a:xfrm>
              <a:off x="323850" y="1916112"/>
              <a:ext cx="1580121" cy="57785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Mass</a:t>
              </a:r>
              <a:b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  <a:endParaRPr lang="en-US" sz="12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2053092" y="1916112"/>
              <a:ext cx="1580121" cy="57785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Product variety</a:t>
              </a:r>
              <a:b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b="1" noProof="1" smtClean="0">
                  <a:solidFill>
                    <a:srgbClr val="000000"/>
                  </a:solidFill>
                  <a:cs typeface="Arial" charset="0"/>
                </a:rPr>
                <a:t>marketing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782335" y="1916112"/>
              <a:ext cx="1580121" cy="57785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Segment</a:t>
              </a:r>
            </a:p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marketing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5511577" y="1916112"/>
              <a:ext cx="1580121" cy="57785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Niche</a:t>
              </a:r>
              <a:b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marketing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7240821" y="1916112"/>
              <a:ext cx="1580121" cy="57785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Individual marketing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0" name="Rechteck 19"/>
            <p:cNvSpPr/>
            <p:nvPr/>
          </p:nvSpPr>
          <p:spPr bwMode="gray">
            <a:xfrm>
              <a:off x="3782335" y="2591249"/>
              <a:ext cx="1580121" cy="302106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t" anchorCtr="0"/>
            <a:lstStyle/>
            <a:p>
              <a:r>
                <a:rPr lang="en-US" sz="1100" dirty="0"/>
                <a:t>High degree of market coverage serves multiple or many different sub </a:t>
              </a:r>
              <a:r>
                <a:rPr lang="en-US" sz="1100" dirty="0" smtClean="0"/>
                <a:t>markets</a:t>
              </a:r>
              <a:r>
                <a:rPr lang="en-US" sz="1100" noProof="1" smtClean="0"/>
                <a:t>.</a:t>
              </a:r>
            </a:p>
            <a:p>
              <a:endParaRPr lang="en-US" sz="1100" noProof="1" smtClean="0"/>
            </a:p>
            <a:p>
              <a:r>
                <a:rPr lang="en-US" sz="1100" b="1" dirty="0"/>
                <a:t>Further sub divisions</a:t>
              </a:r>
              <a:r>
                <a:rPr lang="en-US" sz="1100" b="1" dirty="0" smtClean="0"/>
                <a:t>:</a:t>
              </a:r>
              <a:r>
                <a:rPr lang="en-US" sz="1100" dirty="0" smtClean="0"/>
                <a:t/>
              </a:r>
              <a:br>
                <a:rPr lang="en-US" sz="1100" dirty="0" smtClean="0"/>
              </a:br>
              <a:endParaRPr lang="en-US" sz="1100" noProof="1" smtClean="0"/>
            </a:p>
            <a:p>
              <a:pPr marL="0" lvl="1"/>
              <a:r>
                <a:rPr lang="en-US" sz="1100" noProof="1" smtClean="0"/>
                <a:t>1. Concentration </a:t>
              </a:r>
              <a:r>
                <a:rPr lang="en-US" sz="1100" noProof="1"/>
                <a:t>to only one </a:t>
              </a:r>
              <a:r>
                <a:rPr lang="en-US" sz="1100" noProof="1" smtClean="0"/>
                <a:t>segment</a:t>
              </a:r>
            </a:p>
            <a:p>
              <a:pPr marL="0" lvl="1"/>
              <a:r>
                <a:rPr lang="en-US" sz="1100" noProof="1" smtClean="0"/>
                <a:t>2. Selective specialization</a:t>
              </a:r>
            </a:p>
            <a:p>
              <a:pPr marL="0" lvl="1"/>
              <a:r>
                <a:rPr lang="en-US" sz="1100" noProof="1" smtClean="0"/>
                <a:t>3. </a:t>
              </a:r>
              <a:r>
                <a:rPr lang="en-US" sz="1100" dirty="0" smtClean="0"/>
                <a:t>Product specification</a:t>
              </a:r>
              <a:endParaRPr lang="en-US" sz="1100" noProof="1" smtClean="0"/>
            </a:p>
            <a:p>
              <a:pPr marL="119063" lvl="1" indent="-119063"/>
              <a:r>
                <a:rPr lang="en-US" sz="1100" noProof="1" smtClean="0"/>
                <a:t>4. </a:t>
              </a:r>
              <a:r>
                <a:rPr lang="en-US" sz="1100" dirty="0"/>
                <a:t>Market </a:t>
              </a:r>
              <a:r>
                <a:rPr lang="en-US" sz="1100" dirty="0" smtClean="0"/>
                <a:t>specialization</a:t>
              </a:r>
              <a:endParaRPr lang="en-US" sz="1100" noProof="1" smtClean="0"/>
            </a:p>
            <a:p>
              <a:pPr marL="119063" lvl="1" indent="-119063"/>
              <a:r>
                <a:rPr lang="en-US" sz="1100" noProof="1"/>
                <a:t>5. Complete segment coverage</a:t>
              </a:r>
            </a:p>
          </p:txBody>
        </p:sp>
        <p:sp>
          <p:nvSpPr>
            <p:cNvPr id="21" name="Rechteck 20"/>
            <p:cNvSpPr/>
            <p:nvPr/>
          </p:nvSpPr>
          <p:spPr bwMode="gray">
            <a:xfrm>
              <a:off x="5508104" y="2591249"/>
              <a:ext cx="1580121" cy="302106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t" anchorCtr="0"/>
            <a:lstStyle/>
            <a:p>
              <a:r>
                <a:rPr lang="en-US" sz="1100" dirty="0"/>
                <a:t>High specialization and concentration on special sub markets or clearly defined customer groups.</a:t>
              </a:r>
            </a:p>
            <a:p>
              <a:endParaRPr lang="en-US" sz="1100" noProof="1" smtClean="0"/>
            </a:p>
            <a:p>
              <a:r>
                <a:rPr lang="en-US" sz="1100" dirty="0"/>
                <a:t>Niche providers are highly specialized and pursuit a secure market position in procurement.</a:t>
              </a: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7308304" y="2591249"/>
              <a:ext cx="1580121" cy="302106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t" anchorCtr="0"/>
            <a:lstStyle/>
            <a:p>
              <a:r>
                <a:rPr lang="en-US" sz="1100" dirty="0" smtClean="0"/>
                <a:t>It’s the highest degree of segmentation and external opposite to mass marketing.</a:t>
              </a:r>
            </a:p>
            <a:p>
              <a:endParaRPr lang="en-US" sz="1100" noProof="1" smtClean="0"/>
            </a:p>
            <a:p>
              <a:r>
                <a:rPr lang="en-US" sz="1100" dirty="0" smtClean="0"/>
                <a:t>Segmentation of market down to the individual customer by increasing individualization tendency and technical progress.</a:t>
              </a:r>
            </a:p>
            <a:p>
              <a:endParaRPr lang="en-US" sz="1100" noProof="1" smtClean="0"/>
            </a:p>
            <a:p>
              <a:r>
                <a:rPr lang="en-US" sz="1100" dirty="0" smtClean="0"/>
                <a:t>Customized mass production</a:t>
              </a:r>
              <a:br>
                <a:rPr lang="en-US" sz="1100" dirty="0" smtClean="0"/>
              </a:br>
              <a:r>
                <a:rPr lang="en-US" sz="1100" noProof="1" smtClean="0"/>
                <a:t>(Mass customization / </a:t>
              </a:r>
              <a:br>
                <a:rPr lang="en-US" sz="1100" noProof="1" smtClean="0"/>
              </a:br>
              <a:r>
                <a:rPr lang="en-US" sz="1100" noProof="1" smtClean="0"/>
                <a:t>One-to-One-marketing)</a:t>
              </a: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323850" y="2591249"/>
              <a:ext cx="1580121" cy="302106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t" anchorCtr="0"/>
            <a:lstStyle/>
            <a:p>
              <a:r>
                <a:rPr lang="en-US" sz="1100" dirty="0"/>
                <a:t>Products, distribution and advertisements are designed the same for all </a:t>
              </a:r>
              <a:r>
                <a:rPr lang="en-US" sz="1100" dirty="0" smtClean="0"/>
                <a:t>customers.</a:t>
              </a:r>
              <a:r>
                <a:rPr lang="en-US" sz="1100" noProof="1" smtClean="0"/>
                <a:t/>
              </a:r>
              <a:br>
                <a:rPr lang="en-US" sz="1100" noProof="1" smtClean="0"/>
              </a:br>
              <a:endParaRPr lang="en-US" sz="1100" noProof="1" smtClean="0"/>
            </a:p>
            <a:p>
              <a:r>
                <a:rPr lang="en-US" sz="1100" dirty="0"/>
                <a:t>Difference between separate segments are being ignored and the market is served with one </a:t>
              </a:r>
              <a:r>
                <a:rPr lang="en-US" sz="1100" dirty="0" smtClean="0"/>
                <a:t>offer.</a:t>
              </a:r>
              <a:endParaRPr lang="en-US" sz="1100" noProof="1" smtClean="0"/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872212" y="1587990"/>
              <a:ext cx="221592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noProof="1" smtClean="0"/>
                <a:t>Undifferentiated marketing </a:t>
              </a:r>
              <a:endParaRPr lang="en-US" sz="1400" noProof="1"/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3684300" y="1587990"/>
              <a:ext cx="171713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noProof="1" smtClean="0"/>
                <a:t>Differentiated marketing</a:t>
              </a:r>
              <a:endParaRPr lang="en-US" sz="1200" noProof="1"/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5475751" y="1587990"/>
              <a:ext cx="167648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noProof="1" smtClean="0"/>
                <a:t>Concentrates marketing</a:t>
              </a:r>
              <a:endParaRPr lang="en-US" sz="1200" noProof="1"/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7441910" y="1587990"/>
              <a:ext cx="121514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noProof="1" smtClean="0"/>
                <a:t>Micro marketing</a:t>
              </a:r>
              <a:endParaRPr lang="en-US" sz="1200" noProof="1"/>
            </a:p>
          </p:txBody>
        </p:sp>
        <p:sp>
          <p:nvSpPr>
            <p:cNvPr id="30" name="Rechteck 29"/>
            <p:cNvSpPr/>
            <p:nvPr/>
          </p:nvSpPr>
          <p:spPr bwMode="gray">
            <a:xfrm>
              <a:off x="522374" y="5806544"/>
              <a:ext cx="136139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noProof="1" smtClean="0"/>
                <a:t>Broad target group</a:t>
              </a:r>
              <a:br>
                <a:rPr lang="en-US" sz="1200" noProof="1" smtClean="0"/>
              </a:br>
              <a:r>
                <a:rPr lang="en-US" sz="1200" noProof="1" smtClean="0"/>
                <a:t>approach</a:t>
              </a:r>
              <a:endParaRPr lang="en-US" sz="1200" noProof="1"/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6901177" y="5806544"/>
              <a:ext cx="146020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noProof="1" smtClean="0"/>
                <a:t>Narrow target </a:t>
              </a:r>
              <a:r>
                <a:rPr lang="en-US" sz="1200" noProof="1"/>
                <a:t>group</a:t>
              </a:r>
              <a:br>
                <a:rPr lang="en-US" sz="1200" noProof="1"/>
              </a:br>
              <a:r>
                <a:rPr lang="en-US" sz="1200" noProof="1"/>
                <a:t>approach</a:t>
              </a:r>
            </a:p>
          </p:txBody>
        </p:sp>
        <p:cxnSp>
          <p:nvCxnSpPr>
            <p:cNvPr id="33" name="Gerade Verbindung 32"/>
            <p:cNvCxnSpPr/>
            <p:nvPr/>
          </p:nvCxnSpPr>
          <p:spPr bwMode="gray">
            <a:xfrm>
              <a:off x="3782335" y="1555750"/>
              <a:ext cx="5037815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hteck 33"/>
            <p:cNvSpPr/>
            <p:nvPr/>
          </p:nvSpPr>
          <p:spPr bwMode="gray">
            <a:xfrm>
              <a:off x="5556446" y="1197385"/>
              <a:ext cx="15150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b="1" noProof="1" smtClean="0"/>
                <a:t>Segmentation</a:t>
              </a:r>
              <a:endParaRPr lang="en-US" b="1" noProof="1"/>
            </a:p>
          </p:txBody>
        </p:sp>
        <p:sp>
          <p:nvSpPr>
            <p:cNvPr id="35" name="Rechteck 34"/>
            <p:cNvSpPr/>
            <p:nvPr/>
          </p:nvSpPr>
          <p:spPr bwMode="gray">
            <a:xfrm>
              <a:off x="2051643" y="2591249"/>
              <a:ext cx="1580121" cy="302106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lIns="0" tIns="0" rIns="0" bIns="0" rtlCol="0" anchor="t" anchorCtr="0"/>
            <a:lstStyle/>
            <a:p>
              <a:r>
                <a:rPr lang="en-US" sz="1100" dirty="0"/>
                <a:t>Prices, distribution and advertisement measures are developed for different target groups</a:t>
              </a:r>
              <a:r>
                <a:rPr lang="en-US" sz="1100" dirty="0" smtClean="0"/>
                <a:t>.</a:t>
              </a:r>
            </a:p>
            <a:p>
              <a:endParaRPr lang="en-US" sz="1100" noProof="1" smtClean="0"/>
            </a:p>
            <a:p>
              <a:r>
                <a:rPr lang="en-US" sz="1100" dirty="0"/>
                <a:t>Orientation according to target groups creates better approaches for the determination of market chances.</a:t>
              </a:r>
              <a:endParaRPr lang="en-US" sz="1100" noProof="1" smtClean="0"/>
            </a:p>
          </p:txBody>
        </p:sp>
        <p:sp>
          <p:nvSpPr>
            <p:cNvPr id="37" name="Pfeil nach rechts 36"/>
            <p:cNvSpPr/>
            <p:nvPr/>
          </p:nvSpPr>
          <p:spPr bwMode="gray">
            <a:xfrm>
              <a:off x="323851" y="5441951"/>
              <a:ext cx="8496299" cy="360364"/>
            </a:xfrm>
            <a:prstGeom prst="rightArrow">
              <a:avLst>
                <a:gd name="adj1" fmla="val 50000"/>
                <a:gd name="adj2" fmla="val 85242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sz="1600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297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egmenting-Targeting-Positioning </a:t>
            </a:r>
            <a:r>
              <a:rPr lang="en-US" b="0" noProof="1" smtClean="0"/>
              <a:t>(STP-Model)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ree steps to target group oriented marketing</a:t>
            </a:r>
            <a:endParaRPr lang="en-US" noProof="1"/>
          </a:p>
        </p:txBody>
      </p:sp>
      <p:grpSp>
        <p:nvGrpSpPr>
          <p:cNvPr id="30" name="Gruppieren 29"/>
          <p:cNvGrpSpPr/>
          <p:nvPr/>
        </p:nvGrpSpPr>
        <p:grpSpPr>
          <a:xfrm>
            <a:off x="307914" y="1555750"/>
            <a:ext cx="8513028" cy="4615895"/>
            <a:chOff x="307914" y="1555750"/>
            <a:chExt cx="8513028" cy="4615895"/>
          </a:xfrm>
        </p:grpSpPr>
        <p:grpSp>
          <p:nvGrpSpPr>
            <p:cNvPr id="4" name="Gruppieren 28"/>
            <p:cNvGrpSpPr/>
            <p:nvPr/>
          </p:nvGrpSpPr>
          <p:grpSpPr>
            <a:xfrm>
              <a:off x="307914" y="1555750"/>
              <a:ext cx="8513028" cy="4246563"/>
              <a:chOff x="307914" y="1555750"/>
              <a:chExt cx="8513028" cy="4246563"/>
            </a:xfrm>
          </p:grpSpPr>
          <p:grpSp>
            <p:nvGrpSpPr>
              <p:cNvPr id="5" name="Gruppieren 38"/>
              <p:cNvGrpSpPr/>
              <p:nvPr/>
            </p:nvGrpSpPr>
            <p:grpSpPr bwMode="gray">
              <a:xfrm>
                <a:off x="323850" y="1555750"/>
                <a:ext cx="8496300" cy="360363"/>
                <a:chOff x="323850" y="1555750"/>
                <a:chExt cx="8614764" cy="360363"/>
              </a:xfrm>
              <a:solidFill>
                <a:srgbClr val="FFFFFF"/>
              </a:solidFill>
            </p:grpSpPr>
            <p:sp>
              <p:nvSpPr>
                <p:cNvPr id="38" name="Rechteck 37"/>
                <p:cNvSpPr/>
                <p:nvPr/>
              </p:nvSpPr>
              <p:spPr bwMode="gray">
                <a:xfrm>
                  <a:off x="323850" y="1555750"/>
                  <a:ext cx="2871588" cy="360363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2000" b="1" noProof="1" smtClean="0"/>
                    <a:t>Market segmentation</a:t>
                  </a:r>
                </a:p>
              </p:txBody>
            </p:sp>
            <p:sp>
              <p:nvSpPr>
                <p:cNvPr id="45" name="Rechteck 44"/>
                <p:cNvSpPr/>
                <p:nvPr/>
              </p:nvSpPr>
              <p:spPr bwMode="gray">
                <a:xfrm>
                  <a:off x="3131668" y="1555750"/>
                  <a:ext cx="3071687" cy="360363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1600" b="1" noProof="1" smtClean="0"/>
                    <a:t>Target market determination</a:t>
                  </a:r>
                </a:p>
              </p:txBody>
            </p:sp>
            <p:sp>
              <p:nvSpPr>
                <p:cNvPr id="46" name="Rechteck 45"/>
                <p:cNvSpPr/>
                <p:nvPr/>
              </p:nvSpPr>
              <p:spPr bwMode="gray">
                <a:xfrm>
                  <a:off x="6067026" y="1555750"/>
                  <a:ext cx="2871588" cy="360363"/>
                </a:xfrm>
                <a:prstGeom prst="rect">
                  <a:avLst/>
                </a:prstGeom>
                <a:noFill/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r>
                    <a:rPr lang="en-US" sz="2000" b="1" noProof="1" smtClean="0"/>
                    <a:t>Positioning</a:t>
                  </a:r>
                </a:p>
              </p:txBody>
            </p:sp>
          </p:grpSp>
          <p:sp>
            <p:nvSpPr>
              <p:cNvPr id="41" name="Richtungspfeil 40"/>
              <p:cNvSpPr/>
              <p:nvPr/>
            </p:nvSpPr>
            <p:spPr bwMode="gray">
              <a:xfrm>
                <a:off x="609600" y="2035629"/>
                <a:ext cx="1905000" cy="527670"/>
              </a:xfrm>
              <a:prstGeom prst="homePlat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Determination of </a:t>
                </a:r>
              </a:p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segmentation variables/ segmentation of Market </a:t>
                </a:r>
              </a:p>
            </p:txBody>
          </p:sp>
          <p:sp>
            <p:nvSpPr>
              <p:cNvPr id="50" name="Richtungspfeil 49"/>
              <p:cNvSpPr/>
              <p:nvPr/>
            </p:nvSpPr>
            <p:spPr bwMode="gray">
              <a:xfrm>
                <a:off x="1468664" y="2655219"/>
                <a:ext cx="1687286" cy="527670"/>
              </a:xfrm>
              <a:prstGeom prst="homePlat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Development of </a:t>
                </a:r>
                <a:b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resulted</a:t>
                </a:r>
                <a:b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segment profile</a:t>
                </a:r>
              </a:p>
            </p:txBody>
          </p:sp>
          <p:sp>
            <p:nvSpPr>
              <p:cNvPr id="51" name="Richtungspfeil 50"/>
              <p:cNvSpPr/>
              <p:nvPr/>
            </p:nvSpPr>
            <p:spPr bwMode="gray">
              <a:xfrm>
                <a:off x="3155950" y="3274809"/>
                <a:ext cx="1687286" cy="527670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Estimation of attractiveness of each Segment</a:t>
                </a:r>
              </a:p>
            </p:txBody>
          </p:sp>
          <p:sp>
            <p:nvSpPr>
              <p:cNvPr id="52" name="Richtungspfeil 51"/>
              <p:cNvSpPr/>
              <p:nvPr/>
            </p:nvSpPr>
            <p:spPr bwMode="gray">
              <a:xfrm>
                <a:off x="4300764" y="3894399"/>
                <a:ext cx="1687286" cy="527670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000000"/>
                    </a:solidFill>
                    <a:cs typeface="Arial" charset="0"/>
                  </a:rPr>
                  <a:t>Selection of target segments</a:t>
                </a:r>
              </a:p>
            </p:txBody>
          </p:sp>
          <p:sp>
            <p:nvSpPr>
              <p:cNvPr id="53" name="Richtungspfeil 52"/>
              <p:cNvSpPr/>
              <p:nvPr/>
            </p:nvSpPr>
            <p:spPr bwMode="gray">
              <a:xfrm>
                <a:off x="5988050" y="4513989"/>
                <a:ext cx="1687286" cy="527670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FFFFFF"/>
                    </a:solidFill>
                    <a:cs typeface="Arial" charset="0"/>
                  </a:rPr>
                  <a:t>Development of possible positioning concepts</a:t>
                </a:r>
              </a:p>
            </p:txBody>
          </p:sp>
          <p:sp>
            <p:nvSpPr>
              <p:cNvPr id="54" name="Richtungspfeil 53"/>
              <p:cNvSpPr/>
              <p:nvPr/>
            </p:nvSpPr>
            <p:spPr bwMode="gray">
              <a:xfrm>
                <a:off x="7133656" y="5133578"/>
                <a:ext cx="1687286" cy="527670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0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r>
                  <a:rPr lang="en-US" sz="1050" noProof="1" smtClean="0">
                    <a:solidFill>
                      <a:srgbClr val="FFFFFF"/>
                    </a:solidFill>
                    <a:cs typeface="Arial" charset="0"/>
                  </a:rPr>
                  <a:t>Selection and Communication of positioning concept</a:t>
                </a:r>
              </a:p>
            </p:txBody>
          </p:sp>
          <p:grpSp>
            <p:nvGrpSpPr>
              <p:cNvPr id="6" name="Gruppieren 46"/>
              <p:cNvGrpSpPr/>
              <p:nvPr/>
            </p:nvGrpSpPr>
            <p:grpSpPr bwMode="gray">
              <a:xfrm>
                <a:off x="3155950" y="1555751"/>
                <a:ext cx="2832100" cy="4105498"/>
                <a:chOff x="3155950" y="1555750"/>
                <a:chExt cx="2832100" cy="4246563"/>
              </a:xfrm>
            </p:grpSpPr>
            <p:cxnSp>
              <p:nvCxnSpPr>
                <p:cNvPr id="56" name="Gerade Verbindung 55"/>
                <p:cNvCxnSpPr/>
                <p:nvPr/>
              </p:nvCxnSpPr>
              <p:spPr bwMode="gray">
                <a:xfrm>
                  <a:off x="5988050" y="1555750"/>
                  <a:ext cx="0" cy="4246563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  <p:cxnSp>
              <p:nvCxnSpPr>
                <p:cNvPr id="57" name="Gerade Verbindung 56"/>
                <p:cNvCxnSpPr/>
                <p:nvPr/>
              </p:nvCxnSpPr>
              <p:spPr bwMode="gray">
                <a:xfrm>
                  <a:off x="3155950" y="1555750"/>
                  <a:ext cx="0" cy="4246563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cxnSp>
            <p:nvCxnSpPr>
              <p:cNvPr id="58" name="Gerade Verbindung mit Pfeil 57"/>
              <p:cNvCxnSpPr/>
              <p:nvPr/>
            </p:nvCxnSpPr>
            <p:spPr bwMode="gray">
              <a:xfrm>
                <a:off x="323851" y="5802313"/>
                <a:ext cx="8496300" cy="0"/>
              </a:xfrm>
              <a:prstGeom prst="straightConnector1">
                <a:avLst/>
              </a:prstGeom>
              <a:ln w="1905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feld 48"/>
              <p:cNvSpPr txBox="1"/>
              <p:nvPr/>
            </p:nvSpPr>
            <p:spPr bwMode="gray">
              <a:xfrm>
                <a:off x="307914" y="203562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1</a:t>
                </a:r>
                <a:endParaRPr lang="en-US" sz="2800" b="1" noProof="1"/>
              </a:p>
            </p:txBody>
          </p:sp>
          <p:sp>
            <p:nvSpPr>
              <p:cNvPr id="63" name="Textfeld 62"/>
              <p:cNvSpPr txBox="1"/>
              <p:nvPr/>
            </p:nvSpPr>
            <p:spPr bwMode="gray">
              <a:xfrm>
                <a:off x="1166978" y="265521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2</a:t>
                </a:r>
                <a:endParaRPr lang="en-US" sz="2800" b="1" noProof="1"/>
              </a:p>
            </p:txBody>
          </p:sp>
          <p:sp>
            <p:nvSpPr>
              <p:cNvPr id="64" name="Textfeld 63"/>
              <p:cNvSpPr txBox="1"/>
              <p:nvPr/>
            </p:nvSpPr>
            <p:spPr bwMode="gray">
              <a:xfrm>
                <a:off x="2854264" y="327480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3</a:t>
                </a:r>
                <a:endParaRPr lang="en-US" sz="2800" b="1" noProof="1"/>
              </a:p>
            </p:txBody>
          </p:sp>
          <p:sp>
            <p:nvSpPr>
              <p:cNvPr id="65" name="Textfeld 64"/>
              <p:cNvSpPr txBox="1"/>
              <p:nvPr/>
            </p:nvSpPr>
            <p:spPr bwMode="gray">
              <a:xfrm>
                <a:off x="3999078" y="389439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4</a:t>
                </a:r>
                <a:endParaRPr lang="en-US" sz="2800" b="1" noProof="1"/>
              </a:p>
            </p:txBody>
          </p:sp>
          <p:sp>
            <p:nvSpPr>
              <p:cNvPr id="66" name="Textfeld 65"/>
              <p:cNvSpPr txBox="1"/>
              <p:nvPr/>
            </p:nvSpPr>
            <p:spPr bwMode="gray">
              <a:xfrm>
                <a:off x="5708535" y="451398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5</a:t>
                </a:r>
                <a:endParaRPr lang="en-US" sz="2800" b="1" noProof="1"/>
              </a:p>
            </p:txBody>
          </p:sp>
          <p:sp>
            <p:nvSpPr>
              <p:cNvPr id="67" name="Textfeld 66"/>
              <p:cNvSpPr txBox="1"/>
              <p:nvPr/>
            </p:nvSpPr>
            <p:spPr bwMode="gray">
              <a:xfrm>
                <a:off x="6831970" y="5133579"/>
                <a:ext cx="301686" cy="52767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Autofit/>
              </a:bodyPr>
              <a:lstStyle/>
              <a:p>
                <a:pPr algn="ctr"/>
                <a:r>
                  <a:rPr lang="en-US" sz="2800" b="1" noProof="1" smtClean="0"/>
                  <a:t>6</a:t>
                </a:r>
                <a:endParaRPr lang="en-US" sz="2800" b="1" noProof="1"/>
              </a:p>
            </p:txBody>
          </p:sp>
          <p:sp>
            <p:nvSpPr>
              <p:cNvPr id="55" name="Textfeld 54"/>
              <p:cNvSpPr txBox="1"/>
              <p:nvPr/>
            </p:nvSpPr>
            <p:spPr bwMode="gray">
              <a:xfrm>
                <a:off x="609600" y="4342702"/>
                <a:ext cx="219075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 smtClean="0"/>
                  <a:t>Zoning of market in clear </a:t>
                </a:r>
                <a:br>
                  <a:rPr lang="en-US" sz="1100" noProof="1" smtClean="0"/>
                </a:br>
                <a:r>
                  <a:rPr lang="en-US" sz="1100" noProof="1" smtClean="0"/>
                  <a:t>defined target groups / Customer groups with own products and marketing-mix.</a:t>
                </a:r>
              </a:p>
            </p:txBody>
          </p:sp>
          <p:sp>
            <p:nvSpPr>
              <p:cNvPr id="70" name="Textfeld 69"/>
              <p:cNvSpPr txBox="1"/>
              <p:nvPr/>
            </p:nvSpPr>
            <p:spPr bwMode="gray">
              <a:xfrm>
                <a:off x="3512405" y="2017341"/>
                <a:ext cx="2190750" cy="9387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 smtClean="0"/>
                  <a:t>Development of assesment guidelines for the determination of attractiveness. Finally the selection and concentration on one or more segments.</a:t>
                </a:r>
              </a:p>
            </p:txBody>
          </p:sp>
          <p:sp>
            <p:nvSpPr>
              <p:cNvPr id="71" name="Textfeld 70"/>
              <p:cNvSpPr txBox="1"/>
              <p:nvPr/>
            </p:nvSpPr>
            <p:spPr bwMode="gray">
              <a:xfrm>
                <a:off x="6308725" y="2017341"/>
                <a:ext cx="2190750" cy="9387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noProof="1" smtClean="0"/>
                  <a:t>Development of a lasting competition position and determination of tasks and performance program for selected target segments. </a:t>
                </a:r>
              </a:p>
            </p:txBody>
          </p:sp>
        </p:grpSp>
        <p:sp>
          <p:nvSpPr>
            <p:cNvPr id="29" name="Textfeld 28"/>
            <p:cNvSpPr txBox="1"/>
            <p:nvPr/>
          </p:nvSpPr>
          <p:spPr bwMode="gray">
            <a:xfrm>
              <a:off x="4305069" y="5802313"/>
              <a:ext cx="6575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noProof="1" smtClean="0"/>
                <a:t>Ti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41152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egmenting-Targeting-Positioning </a:t>
            </a:r>
            <a:r>
              <a:rPr lang="en-US" b="0" noProof="1" smtClean="0"/>
              <a:t>(STP-Model)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ree steps in the process of market segmentation</a:t>
            </a:r>
            <a:endParaRPr lang="en-US" noProof="1"/>
          </a:p>
        </p:txBody>
      </p:sp>
      <p:grpSp>
        <p:nvGrpSpPr>
          <p:cNvPr id="6" name="Gruppieren 32"/>
          <p:cNvGrpSpPr/>
          <p:nvPr/>
        </p:nvGrpSpPr>
        <p:grpSpPr bwMode="gray">
          <a:xfrm>
            <a:off x="323850" y="1928759"/>
            <a:ext cx="8496300" cy="3513192"/>
            <a:chOff x="462225" y="2029767"/>
            <a:chExt cx="8180934" cy="3275763"/>
          </a:xfrm>
        </p:grpSpPr>
        <p:sp>
          <p:nvSpPr>
            <p:cNvPr id="4" name="Richtungspfeil 3"/>
            <p:cNvSpPr/>
            <p:nvPr/>
          </p:nvSpPr>
          <p:spPr bwMode="gray">
            <a:xfrm>
              <a:off x="462225" y="2029767"/>
              <a:ext cx="3205424" cy="3275763"/>
            </a:xfrm>
            <a:prstGeom prst="homePlate">
              <a:avLst>
                <a:gd name="adj" fmla="val 28370"/>
              </a:avLst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sz="1050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7" name="Eingekerbter Richtungspfeil 36"/>
            <p:cNvSpPr/>
            <p:nvPr/>
          </p:nvSpPr>
          <p:spPr bwMode="gray">
            <a:xfrm>
              <a:off x="2949271" y="2029767"/>
              <a:ext cx="3205424" cy="3275763"/>
            </a:xfrm>
            <a:prstGeom prst="chevron">
              <a:avLst>
                <a:gd name="adj" fmla="val 27743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sz="105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0" name="Eingekerbter Richtungspfeil 39"/>
            <p:cNvSpPr/>
            <p:nvPr/>
          </p:nvSpPr>
          <p:spPr bwMode="gray">
            <a:xfrm>
              <a:off x="5437735" y="2029767"/>
              <a:ext cx="3205424" cy="3275763"/>
            </a:xfrm>
            <a:prstGeom prst="chevron">
              <a:avLst>
                <a:gd name="adj" fmla="val 27743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sz="105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3" name="Rechteck 42"/>
            <p:cNvSpPr/>
            <p:nvPr/>
          </p:nvSpPr>
          <p:spPr bwMode="gray">
            <a:xfrm>
              <a:off x="554954" y="2115669"/>
              <a:ext cx="2141066" cy="36036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r>
                <a:rPr lang="en-US" sz="2000" b="1" noProof="1" smtClean="0">
                  <a:solidFill>
                    <a:srgbClr val="FFFFFF"/>
                  </a:solidFill>
                </a:rPr>
                <a:t>Segmentation</a:t>
              </a: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3336814" y="2115669"/>
              <a:ext cx="1922080" cy="36036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r>
                <a:rPr lang="en-US" sz="2000" b="1" noProof="1" smtClean="0">
                  <a:solidFill>
                    <a:srgbClr val="000000"/>
                  </a:solidFill>
                </a:rPr>
                <a:t>Targeting</a:t>
              </a:r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5877512" y="2115669"/>
              <a:ext cx="1876017" cy="360363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r>
                <a:rPr lang="en-US" sz="2000" b="1" noProof="1" smtClean="0">
                  <a:solidFill>
                    <a:srgbClr val="000000"/>
                  </a:solidFill>
                </a:rPr>
                <a:t>Positioning</a:t>
              </a:r>
            </a:p>
          </p:txBody>
        </p:sp>
        <p:sp>
          <p:nvSpPr>
            <p:cNvPr id="5" name="Rechteck 4"/>
            <p:cNvSpPr/>
            <p:nvPr/>
          </p:nvSpPr>
          <p:spPr bwMode="gray">
            <a:xfrm>
              <a:off x="526775" y="2950208"/>
              <a:ext cx="2738940" cy="14348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indent="-180975"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FFFFFF"/>
                  </a:solidFill>
                </a:rPr>
                <a:t>Determination of segment variables</a:t>
              </a:r>
            </a:p>
            <a:p>
              <a:pPr marL="180975" indent="-180975"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FFFFFF"/>
                  </a:solidFill>
                </a:rPr>
                <a:t>Definition and segmentation of the market</a:t>
              </a:r>
            </a:p>
            <a:p>
              <a:pPr marL="180975" indent="-180975"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FFFFFF"/>
                  </a:solidFill>
                </a:rPr>
                <a:t>Development and description of resulting segment profiles</a:t>
              </a:r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3882064" y="3086522"/>
              <a:ext cx="1986172" cy="11622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indent="-180975">
                <a:spcAft>
                  <a:spcPts val="600"/>
                </a:spcAft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000000"/>
                  </a:solidFill>
                </a:rPr>
                <a:t>Analysis of estimation of attractiveness of each segment</a:t>
              </a:r>
            </a:p>
            <a:p>
              <a:pPr marL="180975" indent="-180975">
                <a:spcAft>
                  <a:spcPts val="600"/>
                </a:spcAft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000000"/>
                  </a:solidFill>
                </a:rPr>
                <a:t>Selection of target segments</a:t>
              </a:r>
            </a:p>
          </p:txBody>
        </p:sp>
        <p:sp>
          <p:nvSpPr>
            <p:cNvPr id="82" name="Rechteck 81"/>
            <p:cNvSpPr/>
            <p:nvPr/>
          </p:nvSpPr>
          <p:spPr bwMode="gray">
            <a:xfrm>
              <a:off x="6294438" y="3086522"/>
              <a:ext cx="1975358" cy="11622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indent="-180975">
                <a:spcAft>
                  <a:spcPts val="600"/>
                </a:spcAft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000000"/>
                  </a:solidFill>
                </a:rPr>
                <a:t>Designing of a possible positioning concept</a:t>
              </a:r>
            </a:p>
            <a:p>
              <a:pPr marL="180975" indent="-180975">
                <a:spcAft>
                  <a:spcPts val="600"/>
                </a:spcAft>
                <a:buClr>
                  <a:srgbClr val="7D7D7D"/>
                </a:buClr>
                <a:buFont typeface="Wingdings" pitchFamily="2" charset="2"/>
                <a:buChar char="§"/>
              </a:pPr>
              <a:r>
                <a:rPr lang="en-US" sz="1400" noProof="1" smtClean="0">
                  <a:solidFill>
                    <a:srgbClr val="000000"/>
                  </a:solidFill>
                </a:rPr>
                <a:t>Selection and communication of positioning concep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479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Simple Model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Model of a simplified marketing system and connection between provider </a:t>
            </a:r>
            <a:br>
              <a:rPr lang="en-US" dirty="0" smtClean="0"/>
            </a:br>
            <a:r>
              <a:rPr lang="en-US" dirty="0" smtClean="0"/>
              <a:t>and market</a:t>
            </a:r>
            <a:endParaRPr lang="en-US" noProof="1"/>
          </a:p>
        </p:txBody>
      </p:sp>
      <p:grpSp>
        <p:nvGrpSpPr>
          <p:cNvPr id="4" name="Gruppieren 28"/>
          <p:cNvGrpSpPr/>
          <p:nvPr/>
        </p:nvGrpSpPr>
        <p:grpSpPr>
          <a:xfrm>
            <a:off x="389165" y="1726611"/>
            <a:ext cx="8289117" cy="3877581"/>
            <a:chOff x="389165" y="1726611"/>
            <a:chExt cx="8289117" cy="3877581"/>
          </a:xfrm>
        </p:grpSpPr>
        <p:sp>
          <p:nvSpPr>
            <p:cNvPr id="42" name="Pfeil nach rechts 41"/>
            <p:cNvSpPr/>
            <p:nvPr/>
          </p:nvSpPr>
          <p:spPr bwMode="auto">
            <a:xfrm flipH="1">
              <a:off x="2600324" y="3981450"/>
              <a:ext cx="3876675" cy="161925"/>
            </a:xfrm>
            <a:prstGeom prst="rightArrow">
              <a:avLst>
                <a:gd name="adj1" fmla="val 50000"/>
                <a:gd name="adj2" fmla="val 170588"/>
              </a:avLst>
            </a:prstGeom>
            <a:solidFill>
              <a:srgbClr val="96969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6" name="Rechteck 5"/>
            <p:cNvSpPr/>
            <p:nvPr/>
          </p:nvSpPr>
          <p:spPr bwMode="gray">
            <a:xfrm>
              <a:off x="389165" y="3293111"/>
              <a:ext cx="2024743" cy="965382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Provider of the </a:t>
              </a:r>
              <a:b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product or service</a:t>
              </a: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389165" y="2899955"/>
              <a:ext cx="2024743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400" b="1" noProof="1" smtClean="0"/>
                <a:t>Provider</a:t>
              </a:r>
            </a:p>
          </p:txBody>
        </p:sp>
        <p:sp>
          <p:nvSpPr>
            <p:cNvPr id="8" name="Rechteck 7"/>
            <p:cNvSpPr/>
            <p:nvPr/>
          </p:nvSpPr>
          <p:spPr bwMode="gray">
            <a:xfrm>
              <a:off x="6653539" y="3293111"/>
              <a:ext cx="2024743" cy="965382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Overall market </a:t>
              </a:r>
              <a:b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of customers and interested parties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Rechteck 8"/>
            <p:cNvSpPr/>
            <p:nvPr/>
          </p:nvSpPr>
          <p:spPr bwMode="gray">
            <a:xfrm>
              <a:off x="6653539" y="2899955"/>
              <a:ext cx="2024743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400" b="1" noProof="1" smtClean="0"/>
                <a:t>Market</a:t>
              </a:r>
            </a:p>
          </p:txBody>
        </p:sp>
        <p:grpSp>
          <p:nvGrpSpPr>
            <p:cNvPr id="5" name="Gruppieren 36"/>
            <p:cNvGrpSpPr/>
            <p:nvPr/>
          </p:nvGrpSpPr>
          <p:grpSpPr bwMode="gray">
            <a:xfrm>
              <a:off x="1397726" y="2103122"/>
              <a:ext cx="6230983" cy="757646"/>
              <a:chOff x="1397726" y="2103122"/>
              <a:chExt cx="6230983" cy="757646"/>
            </a:xfrm>
          </p:grpSpPr>
          <p:cxnSp>
            <p:nvCxnSpPr>
              <p:cNvPr id="13" name="Gerade Verbindung 12"/>
              <p:cNvCxnSpPr/>
              <p:nvPr/>
            </p:nvCxnSpPr>
            <p:spPr bwMode="gray">
              <a:xfrm flipV="1">
                <a:off x="1397726" y="2103122"/>
                <a:ext cx="0" cy="653142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5" name="Gerade Verbindung 14"/>
              <p:cNvCxnSpPr/>
              <p:nvPr/>
            </p:nvCxnSpPr>
            <p:spPr bwMode="gray">
              <a:xfrm>
                <a:off x="1397726" y="2103122"/>
                <a:ext cx="6230983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8" name="Gerade Verbindung mit Pfeil 17"/>
              <p:cNvCxnSpPr/>
              <p:nvPr/>
            </p:nvCxnSpPr>
            <p:spPr bwMode="gray">
              <a:xfrm>
                <a:off x="7628709" y="2103122"/>
                <a:ext cx="0" cy="757646"/>
              </a:xfrm>
              <a:prstGeom prst="straightConnector1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 type="triangle"/>
              </a:ln>
            </p:spPr>
          </p:cxnSp>
        </p:grpSp>
        <p:grpSp>
          <p:nvGrpSpPr>
            <p:cNvPr id="10" name="Gruppieren 18"/>
            <p:cNvGrpSpPr/>
            <p:nvPr/>
          </p:nvGrpSpPr>
          <p:grpSpPr bwMode="gray">
            <a:xfrm flipH="1" flipV="1">
              <a:off x="1397726" y="4443805"/>
              <a:ext cx="6230983" cy="757646"/>
              <a:chOff x="1332411" y="4509120"/>
              <a:chExt cx="6230983" cy="757646"/>
            </a:xfrm>
          </p:grpSpPr>
          <p:cxnSp>
            <p:nvCxnSpPr>
              <p:cNvPr id="20" name="Gerade Verbindung 19"/>
              <p:cNvCxnSpPr/>
              <p:nvPr/>
            </p:nvCxnSpPr>
            <p:spPr bwMode="gray">
              <a:xfrm flipV="1">
                <a:off x="1332411" y="4509120"/>
                <a:ext cx="0" cy="653142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1" name="Gerade Verbindung 20"/>
              <p:cNvCxnSpPr/>
              <p:nvPr/>
            </p:nvCxnSpPr>
            <p:spPr bwMode="gray">
              <a:xfrm>
                <a:off x="1332411" y="4509120"/>
                <a:ext cx="6230983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22" name="Gerade Verbindung mit Pfeil 21"/>
              <p:cNvCxnSpPr/>
              <p:nvPr/>
            </p:nvCxnSpPr>
            <p:spPr bwMode="gray">
              <a:xfrm>
                <a:off x="7563394" y="4509120"/>
                <a:ext cx="0" cy="757646"/>
              </a:xfrm>
              <a:prstGeom prst="straightConnector1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 type="triangle"/>
              </a:ln>
            </p:spPr>
          </p:cxnSp>
        </p:grpSp>
        <p:sp>
          <p:nvSpPr>
            <p:cNvPr id="24" name="Rechteck 23"/>
            <p:cNvSpPr/>
            <p:nvPr/>
          </p:nvSpPr>
          <p:spPr bwMode="gray">
            <a:xfrm>
              <a:off x="2190223" y="3082837"/>
              <a:ext cx="4744010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noProof="1" smtClean="0"/>
                <a:t>Delivery of Product / service</a:t>
              </a: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3498125" y="3603333"/>
              <a:ext cx="2024743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sz="2400" b="1" noProof="1" smtClean="0"/>
                <a:t>Transaction</a:t>
              </a:r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3285358" y="4148757"/>
              <a:ext cx="2501488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noProof="1" smtClean="0"/>
                <a:t>Payments</a:t>
              </a: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2312122" y="5275604"/>
              <a:ext cx="4511230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b="1" noProof="1" smtClean="0"/>
                <a:t>Feedback to provider / information</a:t>
              </a: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2338248" y="1726611"/>
              <a:ext cx="4511230" cy="328588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en-US" b="1" noProof="1" smtClean="0"/>
                <a:t>Communication to Market / Information</a:t>
              </a:r>
            </a:p>
          </p:txBody>
        </p:sp>
        <p:sp>
          <p:nvSpPr>
            <p:cNvPr id="43" name="Pfeil nach rechts 42"/>
            <p:cNvSpPr/>
            <p:nvPr/>
          </p:nvSpPr>
          <p:spPr bwMode="auto">
            <a:xfrm>
              <a:off x="2600324" y="3419475"/>
              <a:ext cx="3876675" cy="161925"/>
            </a:xfrm>
            <a:prstGeom prst="rightArrow">
              <a:avLst>
                <a:gd name="adj1" fmla="val 50000"/>
                <a:gd name="adj2" fmla="val 170588"/>
              </a:avLst>
            </a:prstGeom>
            <a:solidFill>
              <a:srgbClr val="96969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8984427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Differentiation and description of target groups</a:t>
            </a:r>
            <a:endParaRPr lang="en-US" noProof="1" smtClean="0"/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ustomer Segmentation</a:t>
            </a:r>
            <a:endParaRPr lang="en-US" noProof="1" smtClean="0"/>
          </a:p>
        </p:txBody>
      </p:sp>
      <p:grpSp>
        <p:nvGrpSpPr>
          <p:cNvPr id="53" name="Gruppieren 52"/>
          <p:cNvGrpSpPr/>
          <p:nvPr/>
        </p:nvGrpSpPr>
        <p:grpSpPr>
          <a:xfrm>
            <a:off x="324641" y="1554952"/>
            <a:ext cx="8496301" cy="4246565"/>
            <a:chOff x="324641" y="1554952"/>
            <a:chExt cx="8496301" cy="4246565"/>
          </a:xfrm>
        </p:grpSpPr>
        <p:sp>
          <p:nvSpPr>
            <p:cNvPr id="7" name="Rechteck 6"/>
            <p:cNvSpPr/>
            <p:nvPr/>
          </p:nvSpPr>
          <p:spPr bwMode="gray">
            <a:xfrm>
              <a:off x="324641" y="1554953"/>
              <a:ext cx="2857500" cy="131892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Customer segment X</a:t>
              </a: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haracteristics: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ore motive: 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Ellipse 10"/>
            <p:cNvSpPr/>
            <p:nvPr/>
          </p:nvSpPr>
          <p:spPr bwMode="gray">
            <a:xfrm>
              <a:off x="4576602" y="1554952"/>
              <a:ext cx="4244340" cy="4244340"/>
            </a:xfrm>
            <a:prstGeom prst="ellipse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endParaRPr lang="en-US" sz="1000" b="1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8" name="Gruppieren 17"/>
            <p:cNvGrpSpPr/>
            <p:nvPr/>
          </p:nvGrpSpPr>
          <p:grpSpPr bwMode="gray">
            <a:xfrm>
              <a:off x="4794466" y="1772816"/>
              <a:ext cx="3808612" cy="3808612"/>
              <a:chOff x="4683046" y="1661396"/>
              <a:chExt cx="4031452" cy="4031452"/>
            </a:xfrm>
          </p:grpSpPr>
          <p:cxnSp>
            <p:nvCxnSpPr>
              <p:cNvPr id="13" name="Gerade Verbindung mit Pfeil 12"/>
              <p:cNvCxnSpPr/>
              <p:nvPr/>
            </p:nvCxnSpPr>
            <p:spPr bwMode="gray">
              <a:xfrm flipH="1" flipV="1">
                <a:off x="6697980" y="1661396"/>
                <a:ext cx="792" cy="4031452"/>
              </a:xfrm>
              <a:prstGeom prst="straightConnector1">
                <a:avLst/>
              </a:prstGeom>
              <a:ln w="19050">
                <a:solidFill>
                  <a:srgbClr val="969696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mit Pfeil 13"/>
              <p:cNvCxnSpPr/>
              <p:nvPr/>
            </p:nvCxnSpPr>
            <p:spPr bwMode="gray">
              <a:xfrm rot="5400000" flipH="1" flipV="1">
                <a:off x="6698376" y="1661396"/>
                <a:ext cx="792" cy="4031452"/>
              </a:xfrm>
              <a:prstGeom prst="straightConnector1">
                <a:avLst/>
              </a:prstGeom>
              <a:ln w="19050">
                <a:solidFill>
                  <a:srgbClr val="969696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Rechteck 14"/>
            <p:cNvSpPr/>
            <p:nvPr/>
          </p:nvSpPr>
          <p:spPr bwMode="gray">
            <a:xfrm>
              <a:off x="324641" y="3017263"/>
              <a:ext cx="2857500" cy="131892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Customer segment Y</a:t>
              </a: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haracteristics :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ore motive: 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4641" y="4482591"/>
              <a:ext cx="2857500" cy="1318926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Customer segment Z</a:t>
              </a:r>
              <a: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  <a:t/>
              </a:r>
              <a:br>
                <a:rPr lang="en-US" sz="1100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haracteristics :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 marL="182563" indent="-182563">
                <a:spcAft>
                  <a:spcPts val="300"/>
                </a:spcAft>
                <a:buClr>
                  <a:srgbClr val="969696"/>
                </a:buClr>
                <a:buFont typeface="Wingdings" pitchFamily="2" charset="2"/>
                <a:buChar char="§"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…</a:t>
              </a:r>
            </a:p>
            <a:p>
              <a:pPr>
                <a:spcAft>
                  <a:spcPts val="300"/>
                </a:spcAft>
                <a:buClr>
                  <a:srgbClr val="969696"/>
                </a:buClr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Core motive: 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Textfeld 18"/>
            <p:cNvSpPr txBox="1"/>
            <p:nvPr/>
          </p:nvSpPr>
          <p:spPr bwMode="gray">
            <a:xfrm>
              <a:off x="6729252" y="1772816"/>
              <a:ext cx="79803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/>
                <a:t>Feature A</a:t>
              </a:r>
              <a:endParaRPr lang="en-US" sz="1200" b="1" dirty="0"/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7811451" y="3707228"/>
              <a:ext cx="7916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 b="1" smtClean="0"/>
                <a:t>Feature B</a:t>
              </a:r>
              <a:endParaRPr lang="en-US" sz="1200" b="1" dirty="0"/>
            </a:p>
          </p:txBody>
        </p:sp>
        <p:sp>
          <p:nvSpPr>
            <p:cNvPr id="21" name="Freihandform 20"/>
            <p:cNvSpPr/>
            <p:nvPr/>
          </p:nvSpPr>
          <p:spPr bwMode="gray">
            <a:xfrm>
              <a:off x="5134769" y="2248694"/>
              <a:ext cx="1316832" cy="1213644"/>
            </a:xfrm>
            <a:custGeom>
              <a:avLst/>
              <a:gdLst>
                <a:gd name="connsiteX0" fmla="*/ 32544 w 1316832"/>
                <a:gd name="connsiteY0" fmla="*/ 937419 h 1213644"/>
                <a:gd name="connsiteX1" fmla="*/ 23019 w 1316832"/>
                <a:gd name="connsiteY1" fmla="*/ 775494 h 1213644"/>
                <a:gd name="connsiteX2" fmla="*/ 170657 w 1316832"/>
                <a:gd name="connsiteY2" fmla="*/ 480219 h 1213644"/>
                <a:gd name="connsiteX3" fmla="*/ 332582 w 1316832"/>
                <a:gd name="connsiteY3" fmla="*/ 123031 h 1213644"/>
                <a:gd name="connsiteX4" fmla="*/ 789782 w 1316832"/>
                <a:gd name="connsiteY4" fmla="*/ 99219 h 1213644"/>
                <a:gd name="connsiteX5" fmla="*/ 1108869 w 1316832"/>
                <a:gd name="connsiteY5" fmla="*/ 37306 h 1213644"/>
                <a:gd name="connsiteX6" fmla="*/ 1304132 w 1316832"/>
                <a:gd name="connsiteY6" fmla="*/ 323056 h 1213644"/>
                <a:gd name="connsiteX7" fmla="*/ 1185069 w 1316832"/>
                <a:gd name="connsiteY7" fmla="*/ 804069 h 1213644"/>
                <a:gd name="connsiteX8" fmla="*/ 570707 w 1316832"/>
                <a:gd name="connsiteY8" fmla="*/ 1166019 h 1213644"/>
                <a:gd name="connsiteX9" fmla="*/ 123032 w 1316832"/>
                <a:gd name="connsiteY9" fmla="*/ 1089819 h 1213644"/>
                <a:gd name="connsiteX10" fmla="*/ 32544 w 1316832"/>
                <a:gd name="connsiteY10" fmla="*/ 937419 h 1213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6832" h="1213644">
                  <a:moveTo>
                    <a:pt x="32544" y="937419"/>
                  </a:moveTo>
                  <a:cubicBezTo>
                    <a:pt x="15875" y="885032"/>
                    <a:pt x="0" y="851694"/>
                    <a:pt x="23019" y="775494"/>
                  </a:cubicBezTo>
                  <a:cubicBezTo>
                    <a:pt x="46038" y="699294"/>
                    <a:pt x="119063" y="588963"/>
                    <a:pt x="170657" y="480219"/>
                  </a:cubicBezTo>
                  <a:cubicBezTo>
                    <a:pt x="222251" y="371475"/>
                    <a:pt x="229395" y="186531"/>
                    <a:pt x="332582" y="123031"/>
                  </a:cubicBezTo>
                  <a:cubicBezTo>
                    <a:pt x="435769" y="59531"/>
                    <a:pt x="660401" y="113506"/>
                    <a:pt x="789782" y="99219"/>
                  </a:cubicBezTo>
                  <a:cubicBezTo>
                    <a:pt x="919163" y="84932"/>
                    <a:pt x="1023144" y="0"/>
                    <a:pt x="1108869" y="37306"/>
                  </a:cubicBezTo>
                  <a:cubicBezTo>
                    <a:pt x="1194594" y="74612"/>
                    <a:pt x="1291432" y="195262"/>
                    <a:pt x="1304132" y="323056"/>
                  </a:cubicBezTo>
                  <a:cubicBezTo>
                    <a:pt x="1316832" y="450850"/>
                    <a:pt x="1307306" y="663575"/>
                    <a:pt x="1185069" y="804069"/>
                  </a:cubicBezTo>
                  <a:cubicBezTo>
                    <a:pt x="1062832" y="944563"/>
                    <a:pt x="747713" y="1118394"/>
                    <a:pt x="570707" y="1166019"/>
                  </a:cubicBezTo>
                  <a:cubicBezTo>
                    <a:pt x="393701" y="1213644"/>
                    <a:pt x="213520" y="1129507"/>
                    <a:pt x="123032" y="1089819"/>
                  </a:cubicBezTo>
                  <a:cubicBezTo>
                    <a:pt x="32544" y="1050131"/>
                    <a:pt x="49213" y="989806"/>
                    <a:pt x="32544" y="937419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ts val="1200"/>
                </a:lnSpc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2" name="Freihandform 21"/>
            <p:cNvSpPr/>
            <p:nvPr/>
          </p:nvSpPr>
          <p:spPr bwMode="gray">
            <a:xfrm>
              <a:off x="7158038" y="2444751"/>
              <a:ext cx="1034256" cy="1018380"/>
            </a:xfrm>
            <a:custGeom>
              <a:avLst/>
              <a:gdLst>
                <a:gd name="connsiteX0" fmla="*/ 52387 w 1034256"/>
                <a:gd name="connsiteY0" fmla="*/ 517524 h 1018380"/>
                <a:gd name="connsiteX1" fmla="*/ 80962 w 1034256"/>
                <a:gd name="connsiteY1" fmla="*/ 198437 h 1018380"/>
                <a:gd name="connsiteX2" fmla="*/ 333375 w 1034256"/>
                <a:gd name="connsiteY2" fmla="*/ 17462 h 1018380"/>
                <a:gd name="connsiteX3" fmla="*/ 790575 w 1034256"/>
                <a:gd name="connsiteY3" fmla="*/ 303212 h 1018380"/>
                <a:gd name="connsiteX4" fmla="*/ 1009650 w 1034256"/>
                <a:gd name="connsiteY4" fmla="*/ 755649 h 1018380"/>
                <a:gd name="connsiteX5" fmla="*/ 642937 w 1034256"/>
                <a:gd name="connsiteY5" fmla="*/ 1003299 h 1018380"/>
                <a:gd name="connsiteX6" fmla="*/ 100012 w 1034256"/>
                <a:gd name="connsiteY6" fmla="*/ 846137 h 1018380"/>
                <a:gd name="connsiteX7" fmla="*/ 52387 w 1034256"/>
                <a:gd name="connsiteY7" fmla="*/ 517524 h 101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4256" h="1018380">
                  <a:moveTo>
                    <a:pt x="52387" y="517524"/>
                  </a:moveTo>
                  <a:cubicBezTo>
                    <a:pt x="49212" y="409574"/>
                    <a:pt x="34131" y="281781"/>
                    <a:pt x="80962" y="198437"/>
                  </a:cubicBezTo>
                  <a:cubicBezTo>
                    <a:pt x="127793" y="115093"/>
                    <a:pt x="215106" y="0"/>
                    <a:pt x="333375" y="17462"/>
                  </a:cubicBezTo>
                  <a:cubicBezTo>
                    <a:pt x="451644" y="34924"/>
                    <a:pt x="677862" y="180181"/>
                    <a:pt x="790575" y="303212"/>
                  </a:cubicBezTo>
                  <a:cubicBezTo>
                    <a:pt x="903288" y="426243"/>
                    <a:pt x="1034256" y="638968"/>
                    <a:pt x="1009650" y="755649"/>
                  </a:cubicBezTo>
                  <a:cubicBezTo>
                    <a:pt x="985044" y="872330"/>
                    <a:pt x="794543" y="988218"/>
                    <a:pt x="642937" y="1003299"/>
                  </a:cubicBezTo>
                  <a:cubicBezTo>
                    <a:pt x="491331" y="1018380"/>
                    <a:pt x="200025" y="928687"/>
                    <a:pt x="100012" y="846137"/>
                  </a:cubicBezTo>
                  <a:cubicBezTo>
                    <a:pt x="0" y="763587"/>
                    <a:pt x="55562" y="625474"/>
                    <a:pt x="52387" y="51752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lnSpc>
                  <a:spcPts val="1200"/>
                </a:lnSpc>
                <a:buClr>
                  <a:srgbClr val="969696"/>
                </a:buClr>
                <a:defRPr/>
              </a:pPr>
              <a:endParaRPr lang="en-US" b="1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4" name="Ellipse 23"/>
            <p:cNvSpPr/>
            <p:nvPr/>
          </p:nvSpPr>
          <p:spPr bwMode="gray">
            <a:xfrm>
              <a:off x="5577840" y="2727960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5" name="Ellipse 24"/>
            <p:cNvSpPr/>
            <p:nvPr/>
          </p:nvSpPr>
          <p:spPr bwMode="gray">
            <a:xfrm>
              <a:off x="5780246" y="2651760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6" name="Ellipse 25"/>
            <p:cNvSpPr/>
            <p:nvPr/>
          </p:nvSpPr>
          <p:spPr bwMode="gray">
            <a:xfrm>
              <a:off x="5469840" y="2963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7" name="Ellipse 26"/>
            <p:cNvSpPr/>
            <p:nvPr/>
          </p:nvSpPr>
          <p:spPr bwMode="gray">
            <a:xfrm>
              <a:off x="5631840" y="2963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 smtClean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8" name="Ellipse 27"/>
            <p:cNvSpPr/>
            <p:nvPr/>
          </p:nvSpPr>
          <p:spPr bwMode="gray">
            <a:xfrm>
              <a:off x="5980271" y="2759760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Ellipse 29"/>
            <p:cNvSpPr/>
            <p:nvPr/>
          </p:nvSpPr>
          <p:spPr bwMode="gray">
            <a:xfrm>
              <a:off x="5831865" y="3071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Ellipse 30"/>
            <p:cNvSpPr/>
            <p:nvPr/>
          </p:nvSpPr>
          <p:spPr bwMode="gray">
            <a:xfrm>
              <a:off x="5980271" y="2543760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Ellipse 31"/>
            <p:cNvSpPr/>
            <p:nvPr/>
          </p:nvSpPr>
          <p:spPr bwMode="gray">
            <a:xfrm>
              <a:off x="6197576" y="3341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3" name="Ellipse 32"/>
            <p:cNvSpPr/>
            <p:nvPr/>
          </p:nvSpPr>
          <p:spPr bwMode="gray">
            <a:xfrm>
              <a:off x="6451601" y="3395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Ellipse 33"/>
            <p:cNvSpPr/>
            <p:nvPr/>
          </p:nvSpPr>
          <p:spPr bwMode="gray">
            <a:xfrm>
              <a:off x="6397601" y="3125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2" name="Ellipse 41"/>
            <p:cNvSpPr/>
            <p:nvPr/>
          </p:nvSpPr>
          <p:spPr bwMode="gray">
            <a:xfrm>
              <a:off x="7566843" y="2896079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3" name="Ellipse 42"/>
            <p:cNvSpPr/>
            <p:nvPr/>
          </p:nvSpPr>
          <p:spPr bwMode="gray">
            <a:xfrm>
              <a:off x="7455081" y="2673960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4" name="Ellipse 43"/>
            <p:cNvSpPr/>
            <p:nvPr/>
          </p:nvSpPr>
          <p:spPr bwMode="gray">
            <a:xfrm>
              <a:off x="7309056" y="2950079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5" name="Ellipse 44"/>
            <p:cNvSpPr/>
            <p:nvPr/>
          </p:nvSpPr>
          <p:spPr bwMode="gray">
            <a:xfrm>
              <a:off x="7495487" y="3131382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6" name="Ellipse 45"/>
            <p:cNvSpPr/>
            <p:nvPr/>
          </p:nvSpPr>
          <p:spPr bwMode="gray">
            <a:xfrm>
              <a:off x="7803512" y="2873879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7" name="Ellipse 46"/>
            <p:cNvSpPr/>
            <p:nvPr/>
          </p:nvSpPr>
          <p:spPr bwMode="gray">
            <a:xfrm>
              <a:off x="7803512" y="3071263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8" name="Ellipse 47"/>
            <p:cNvSpPr/>
            <p:nvPr/>
          </p:nvSpPr>
          <p:spPr bwMode="gray">
            <a:xfrm>
              <a:off x="5939865" y="3876227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49" name="Ellipse 48"/>
            <p:cNvSpPr/>
            <p:nvPr/>
          </p:nvSpPr>
          <p:spPr bwMode="gray">
            <a:xfrm>
              <a:off x="6089576" y="3984227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0" name="Ellipse 49"/>
            <p:cNvSpPr/>
            <p:nvPr/>
          </p:nvSpPr>
          <p:spPr bwMode="gray">
            <a:xfrm>
              <a:off x="5739840" y="3984227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1" name="Ellipse 50"/>
            <p:cNvSpPr/>
            <p:nvPr/>
          </p:nvSpPr>
          <p:spPr bwMode="gray">
            <a:xfrm>
              <a:off x="6305576" y="5009586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2" name="Ellipse 51"/>
            <p:cNvSpPr/>
            <p:nvPr/>
          </p:nvSpPr>
          <p:spPr bwMode="gray">
            <a:xfrm>
              <a:off x="6451601" y="5214347"/>
              <a:ext cx="108000" cy="108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46800" rIns="90000" bIns="46800" anchor="ctr" anchorCtr="0"/>
            <a:lstStyle/>
            <a:p>
              <a:pPr>
                <a:buClr>
                  <a:srgbClr val="969696"/>
                </a:buClr>
                <a:defRPr/>
              </a:pPr>
              <a:endParaRPr lang="en-US" sz="1050" noProof="1">
                <a:solidFill>
                  <a:srgbClr val="FFFFFF"/>
                </a:solidFill>
                <a:cs typeface="Arial" charset="0"/>
              </a:endParaRPr>
            </a:p>
          </p:txBody>
        </p:sp>
        <p:cxnSp>
          <p:nvCxnSpPr>
            <p:cNvPr id="54" name="Gerade Verbindung 53"/>
            <p:cNvCxnSpPr/>
            <p:nvPr/>
          </p:nvCxnSpPr>
          <p:spPr bwMode="gray">
            <a:xfrm>
              <a:off x="3182141" y="1772816"/>
              <a:ext cx="3123435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6305576" y="1772816"/>
              <a:ext cx="1003480" cy="770944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>
              <a:endCxn id="21" idx="0"/>
            </p:cNvCxnSpPr>
            <p:nvPr/>
          </p:nvCxnSpPr>
          <p:spPr bwMode="gray">
            <a:xfrm flipV="1">
              <a:off x="3182141" y="3186113"/>
              <a:ext cx="1985172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3182141" y="4679492"/>
              <a:ext cx="3876120" cy="0"/>
            </a:xfrm>
            <a:prstGeom prst="line">
              <a:avLst/>
            </a:prstGeom>
            <a:ln w="19050">
              <a:solidFill>
                <a:srgbClr val="7D7D7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Gruppieren 60"/>
            <p:cNvGrpSpPr/>
            <p:nvPr/>
          </p:nvGrpSpPr>
          <p:grpSpPr bwMode="gray">
            <a:xfrm>
              <a:off x="6888955" y="3761861"/>
              <a:ext cx="1075531" cy="1355725"/>
              <a:chOff x="6888955" y="3761861"/>
              <a:chExt cx="1075531" cy="1355725"/>
            </a:xfrm>
          </p:grpSpPr>
          <p:sp>
            <p:nvSpPr>
              <p:cNvPr id="23" name="Freihandform 22"/>
              <p:cNvSpPr/>
              <p:nvPr/>
            </p:nvSpPr>
            <p:spPr bwMode="gray">
              <a:xfrm>
                <a:off x="6888955" y="3761861"/>
                <a:ext cx="1075531" cy="1355725"/>
              </a:xfrm>
              <a:custGeom>
                <a:avLst/>
                <a:gdLst>
                  <a:gd name="connsiteX0" fmla="*/ 64294 w 1075531"/>
                  <a:gd name="connsiteY0" fmla="*/ 523081 h 1355725"/>
                  <a:gd name="connsiteX1" fmla="*/ 150019 w 1075531"/>
                  <a:gd name="connsiteY1" fmla="*/ 223044 h 1355725"/>
                  <a:gd name="connsiteX2" fmla="*/ 378619 w 1075531"/>
                  <a:gd name="connsiteY2" fmla="*/ 18256 h 1355725"/>
                  <a:gd name="connsiteX3" fmla="*/ 850106 w 1075531"/>
                  <a:gd name="connsiteY3" fmla="*/ 332581 h 1355725"/>
                  <a:gd name="connsiteX4" fmla="*/ 1069181 w 1075531"/>
                  <a:gd name="connsiteY4" fmla="*/ 670719 h 1355725"/>
                  <a:gd name="connsiteX5" fmla="*/ 812006 w 1075531"/>
                  <a:gd name="connsiteY5" fmla="*/ 1146969 h 1355725"/>
                  <a:gd name="connsiteX6" fmla="*/ 445294 w 1075531"/>
                  <a:gd name="connsiteY6" fmla="*/ 1308894 h 1355725"/>
                  <a:gd name="connsiteX7" fmla="*/ 64294 w 1075531"/>
                  <a:gd name="connsiteY7" fmla="*/ 865981 h 1355725"/>
                  <a:gd name="connsiteX8" fmla="*/ 64294 w 1075531"/>
                  <a:gd name="connsiteY8" fmla="*/ 523081 h 135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531" h="1355725">
                    <a:moveTo>
                      <a:pt x="64294" y="523081"/>
                    </a:moveTo>
                    <a:cubicBezTo>
                      <a:pt x="78581" y="415925"/>
                      <a:pt x="97632" y="307182"/>
                      <a:pt x="150019" y="223044"/>
                    </a:cubicBezTo>
                    <a:cubicBezTo>
                      <a:pt x="202407" y="138907"/>
                      <a:pt x="261938" y="0"/>
                      <a:pt x="378619" y="18256"/>
                    </a:cubicBezTo>
                    <a:cubicBezTo>
                      <a:pt x="495300" y="36512"/>
                      <a:pt x="735012" y="223837"/>
                      <a:pt x="850106" y="332581"/>
                    </a:cubicBezTo>
                    <a:cubicBezTo>
                      <a:pt x="965200" y="441325"/>
                      <a:pt x="1075531" y="534988"/>
                      <a:pt x="1069181" y="670719"/>
                    </a:cubicBezTo>
                    <a:cubicBezTo>
                      <a:pt x="1062831" y="806450"/>
                      <a:pt x="915987" y="1040607"/>
                      <a:pt x="812006" y="1146969"/>
                    </a:cubicBezTo>
                    <a:cubicBezTo>
                      <a:pt x="708025" y="1253332"/>
                      <a:pt x="569913" y="1355725"/>
                      <a:pt x="445294" y="1308894"/>
                    </a:cubicBezTo>
                    <a:cubicBezTo>
                      <a:pt x="320675" y="1262063"/>
                      <a:pt x="128588" y="996950"/>
                      <a:pt x="64294" y="865981"/>
                    </a:cubicBezTo>
                    <a:cubicBezTo>
                      <a:pt x="0" y="735012"/>
                      <a:pt x="50007" y="630237"/>
                      <a:pt x="64294" y="52308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646464"/>
                  </a:gs>
                  <a:gs pos="100000">
                    <a:srgbClr val="969696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/>
              <a:lstStyle/>
              <a:p>
                <a:pPr algn="ctr" defTabSz="801688" eaLnBrk="0" hangingPunct="0">
                  <a:lnSpc>
                    <a:spcPts val="1200"/>
                  </a:lnSpc>
                  <a:buClr>
                    <a:srgbClr val="969696"/>
                  </a:buClr>
                  <a:defRPr/>
                </a:pPr>
                <a:endParaRPr lang="en-US" b="1" noProof="1" smtClean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5" name="Ellipse 34"/>
              <p:cNvSpPr/>
              <p:nvPr/>
            </p:nvSpPr>
            <p:spPr bwMode="gray">
              <a:xfrm>
                <a:off x="7309056" y="4282189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Ellipse 35"/>
              <p:cNvSpPr/>
              <p:nvPr/>
            </p:nvSpPr>
            <p:spPr bwMode="gray">
              <a:xfrm>
                <a:off x="7201056" y="4097989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7" name="Ellipse 36"/>
              <p:cNvSpPr/>
              <p:nvPr/>
            </p:nvSpPr>
            <p:spPr bwMode="gray">
              <a:xfrm>
                <a:off x="7201056" y="4517492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" name="Ellipse 37"/>
              <p:cNvSpPr/>
              <p:nvPr/>
            </p:nvSpPr>
            <p:spPr bwMode="gray">
              <a:xfrm>
                <a:off x="7347081" y="4787492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9" name="Ellipse 38"/>
              <p:cNvSpPr/>
              <p:nvPr/>
            </p:nvSpPr>
            <p:spPr bwMode="gray">
              <a:xfrm>
                <a:off x="7657487" y="4367989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" name="Ellipse 39"/>
              <p:cNvSpPr/>
              <p:nvPr/>
            </p:nvSpPr>
            <p:spPr bwMode="gray">
              <a:xfrm>
                <a:off x="7455081" y="4679492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41" name="Ellipse 40"/>
              <p:cNvSpPr/>
              <p:nvPr/>
            </p:nvSpPr>
            <p:spPr bwMode="gray">
              <a:xfrm>
                <a:off x="7458843" y="4043989"/>
                <a:ext cx="108000" cy="10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08000" tIns="46800" rIns="90000" bIns="46800" anchor="ctr" anchorCtr="0"/>
              <a:lstStyle/>
              <a:p>
                <a:pPr>
                  <a:buClr>
                    <a:srgbClr val="969696"/>
                  </a:buClr>
                  <a:defRPr/>
                </a:pPr>
                <a:endParaRPr lang="en-US" sz="1050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62" name="Textfeld 61"/>
            <p:cNvSpPr txBox="1"/>
            <p:nvPr/>
          </p:nvSpPr>
          <p:spPr bwMode="gray">
            <a:xfrm>
              <a:off x="5578413" y="4144432"/>
              <a:ext cx="8226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smtClean="0"/>
                <a:t>Individual</a:t>
              </a:r>
              <a:endParaRPr lang="en-US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06732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inus- Milieus </a:t>
            </a:r>
            <a:r>
              <a:rPr lang="en-US" b="0" noProof="1" smtClean="0"/>
              <a:t>(Example in Germany 2010)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Grouping of people who are similar in terms of lifestyle, views and </a:t>
            </a:r>
            <a:br>
              <a:rPr lang="en-US" dirty="0" smtClean="0"/>
            </a:br>
            <a:r>
              <a:rPr lang="en-US" dirty="0" smtClean="0"/>
              <a:t>conception of life</a:t>
            </a:r>
            <a:endParaRPr lang="en-US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323850" y="1601469"/>
            <a:ext cx="1203198" cy="100755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upper-class/ upper</a:t>
            </a:r>
            <a:br>
              <a:rPr lang="en-US" sz="105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middle class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323850" y="2609019"/>
            <a:ext cx="1203198" cy="126718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middle class</a:t>
            </a:r>
            <a:endParaRPr lang="en-US" sz="1050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" name="Rechteck 40"/>
          <p:cNvSpPr/>
          <p:nvPr/>
        </p:nvSpPr>
        <p:spPr bwMode="gray">
          <a:xfrm>
            <a:off x="323850" y="3876198"/>
            <a:ext cx="1203198" cy="1292065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lower middle class</a:t>
            </a:r>
          </a:p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/ lower class</a:t>
            </a:r>
          </a:p>
        </p:txBody>
      </p:sp>
      <p:cxnSp>
        <p:nvCxnSpPr>
          <p:cNvPr id="72" name="Gerade Verbindung 71"/>
          <p:cNvCxnSpPr/>
          <p:nvPr/>
        </p:nvCxnSpPr>
        <p:spPr bwMode="gray">
          <a:xfrm>
            <a:off x="1527048" y="2609019"/>
            <a:ext cx="7293102" cy="0"/>
          </a:xfrm>
          <a:prstGeom prst="line">
            <a:avLst/>
          </a:prstGeom>
          <a:ln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/>
        </p:nvCxnSpPr>
        <p:spPr bwMode="gray">
          <a:xfrm>
            <a:off x="1527048" y="3876199"/>
            <a:ext cx="7293102" cy="0"/>
          </a:xfrm>
          <a:prstGeom prst="line">
            <a:avLst/>
          </a:prstGeom>
          <a:ln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 bwMode="gray">
          <a:xfrm>
            <a:off x="1527048" y="1601469"/>
            <a:ext cx="7293102" cy="3565526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endParaRPr lang="en-US" sz="1050" noProof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" name="Rechteck 42"/>
          <p:cNvSpPr/>
          <p:nvPr/>
        </p:nvSpPr>
        <p:spPr bwMode="gray">
          <a:xfrm>
            <a:off x="1527048" y="5168265"/>
            <a:ext cx="1877948" cy="67977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Traditional values, fullfilment of duty, order</a:t>
            </a:r>
          </a:p>
        </p:txBody>
      </p:sp>
      <p:sp>
        <p:nvSpPr>
          <p:cNvPr id="44" name="Rechteck 43"/>
          <p:cNvSpPr/>
          <p:nvPr/>
        </p:nvSpPr>
        <p:spPr bwMode="gray">
          <a:xfrm>
            <a:off x="3404996" y="5168265"/>
            <a:ext cx="3536824" cy="67977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Modernization, individualization,</a:t>
            </a:r>
            <a:br>
              <a:rPr lang="en-US" sz="105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 self-realization, pleasure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941820" y="5168265"/>
            <a:ext cx="1879122" cy="67977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100000">
                <a:srgbClr val="FFFFFF"/>
              </a:gs>
            </a:gsLst>
            <a:lin ang="16200000" scaled="1"/>
            <a:tileRect/>
          </a:gradFill>
          <a:ln w="12700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/>
          <a:p>
            <a:pPr algn="ctr">
              <a:buClr>
                <a:srgbClr val="969696"/>
              </a:buClr>
              <a:defRPr/>
            </a:pP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New orientation, </a:t>
            </a:r>
            <a:br>
              <a:rPr lang="en-US" sz="105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multiple options, </a:t>
            </a:r>
            <a:br>
              <a:rPr lang="en-US" sz="105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experimentation, </a:t>
            </a:r>
            <a:br>
              <a:rPr lang="en-US" sz="1050" noProof="1" smtClean="0">
                <a:solidFill>
                  <a:srgbClr val="000000"/>
                </a:solidFill>
                <a:cs typeface="Arial" charset="0"/>
              </a:rPr>
            </a:br>
            <a:r>
              <a:rPr lang="en-US" sz="1050" noProof="1" smtClean="0">
                <a:solidFill>
                  <a:srgbClr val="000000"/>
                </a:solidFill>
                <a:cs typeface="Arial" charset="0"/>
              </a:rPr>
              <a:t>living in paradoxes</a:t>
            </a:r>
          </a:p>
        </p:txBody>
      </p:sp>
      <p:sp>
        <p:nvSpPr>
          <p:cNvPr id="74" name="Freihandform 73"/>
          <p:cNvSpPr/>
          <p:nvPr/>
        </p:nvSpPr>
        <p:spPr bwMode="gray">
          <a:xfrm>
            <a:off x="2299758" y="1827953"/>
            <a:ext cx="2141009" cy="1348317"/>
          </a:xfrm>
          <a:custGeom>
            <a:avLst/>
            <a:gdLst>
              <a:gd name="connsiteX0" fmla="*/ 111125 w 2164292"/>
              <a:gd name="connsiteY0" fmla="*/ 776817 h 1348317"/>
              <a:gd name="connsiteX1" fmla="*/ 682625 w 2164292"/>
              <a:gd name="connsiteY1" fmla="*/ 243417 h 1348317"/>
              <a:gd name="connsiteX2" fmla="*/ 1444625 w 2164292"/>
              <a:gd name="connsiteY2" fmla="*/ 27517 h 1348317"/>
              <a:gd name="connsiteX3" fmla="*/ 1939925 w 2164292"/>
              <a:gd name="connsiteY3" fmla="*/ 78317 h 1348317"/>
              <a:gd name="connsiteX4" fmla="*/ 2155825 w 2164292"/>
              <a:gd name="connsiteY4" fmla="*/ 364067 h 1348317"/>
              <a:gd name="connsiteX5" fmla="*/ 1889125 w 2164292"/>
              <a:gd name="connsiteY5" fmla="*/ 757767 h 1348317"/>
              <a:gd name="connsiteX6" fmla="*/ 1222375 w 2164292"/>
              <a:gd name="connsiteY6" fmla="*/ 1157817 h 1348317"/>
              <a:gd name="connsiteX7" fmla="*/ 593725 w 2164292"/>
              <a:gd name="connsiteY7" fmla="*/ 1341967 h 1348317"/>
              <a:gd name="connsiteX8" fmla="*/ 155575 w 2164292"/>
              <a:gd name="connsiteY8" fmla="*/ 1195917 h 1348317"/>
              <a:gd name="connsiteX9" fmla="*/ 15875 w 2164292"/>
              <a:gd name="connsiteY9" fmla="*/ 954617 h 1348317"/>
              <a:gd name="connsiteX10" fmla="*/ 111125 w 2164292"/>
              <a:gd name="connsiteY10" fmla="*/ 776817 h 1348317"/>
              <a:gd name="connsiteX0" fmla="*/ 87842 w 2141009"/>
              <a:gd name="connsiteY0" fmla="*/ 776817 h 1348317"/>
              <a:gd name="connsiteX1" fmla="*/ 659342 w 2141009"/>
              <a:gd name="connsiteY1" fmla="*/ 243417 h 1348317"/>
              <a:gd name="connsiteX2" fmla="*/ 1421342 w 2141009"/>
              <a:gd name="connsiteY2" fmla="*/ 27517 h 1348317"/>
              <a:gd name="connsiteX3" fmla="*/ 1916642 w 2141009"/>
              <a:gd name="connsiteY3" fmla="*/ 78317 h 1348317"/>
              <a:gd name="connsiteX4" fmla="*/ 2132542 w 2141009"/>
              <a:gd name="connsiteY4" fmla="*/ 364067 h 1348317"/>
              <a:gd name="connsiteX5" fmla="*/ 1865842 w 2141009"/>
              <a:gd name="connsiteY5" fmla="*/ 757767 h 1348317"/>
              <a:gd name="connsiteX6" fmla="*/ 1199092 w 2141009"/>
              <a:gd name="connsiteY6" fmla="*/ 1157817 h 1348317"/>
              <a:gd name="connsiteX7" fmla="*/ 570442 w 2141009"/>
              <a:gd name="connsiteY7" fmla="*/ 1341967 h 1348317"/>
              <a:gd name="connsiteX8" fmla="*/ 132292 w 2141009"/>
              <a:gd name="connsiteY8" fmla="*/ 1195917 h 1348317"/>
              <a:gd name="connsiteX9" fmla="*/ 87842 w 2141009"/>
              <a:gd name="connsiteY9" fmla="*/ 776817 h 1348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1009" h="1348317">
                <a:moveTo>
                  <a:pt x="87842" y="776817"/>
                </a:moveTo>
                <a:cubicBezTo>
                  <a:pt x="175684" y="618067"/>
                  <a:pt x="437092" y="368300"/>
                  <a:pt x="659342" y="243417"/>
                </a:cubicBezTo>
                <a:cubicBezTo>
                  <a:pt x="881592" y="118534"/>
                  <a:pt x="1211792" y="55034"/>
                  <a:pt x="1421342" y="27517"/>
                </a:cubicBezTo>
                <a:cubicBezTo>
                  <a:pt x="1630892" y="0"/>
                  <a:pt x="1798109" y="22225"/>
                  <a:pt x="1916642" y="78317"/>
                </a:cubicBezTo>
                <a:cubicBezTo>
                  <a:pt x="2035175" y="134409"/>
                  <a:pt x="2141009" y="250825"/>
                  <a:pt x="2132542" y="364067"/>
                </a:cubicBezTo>
                <a:cubicBezTo>
                  <a:pt x="2124075" y="477309"/>
                  <a:pt x="2021417" y="625475"/>
                  <a:pt x="1865842" y="757767"/>
                </a:cubicBezTo>
                <a:cubicBezTo>
                  <a:pt x="1710267" y="890059"/>
                  <a:pt x="1414992" y="1060450"/>
                  <a:pt x="1199092" y="1157817"/>
                </a:cubicBezTo>
                <a:cubicBezTo>
                  <a:pt x="983192" y="1255184"/>
                  <a:pt x="748242" y="1335617"/>
                  <a:pt x="570442" y="1341967"/>
                </a:cubicBezTo>
                <a:cubicBezTo>
                  <a:pt x="392642" y="1348317"/>
                  <a:pt x="212725" y="1290109"/>
                  <a:pt x="132292" y="1195917"/>
                </a:cubicBezTo>
                <a:cubicBezTo>
                  <a:pt x="51859" y="1101725"/>
                  <a:pt x="0" y="935567"/>
                  <a:pt x="87842" y="776817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0" name="Freihandform 99"/>
          <p:cNvSpPr/>
          <p:nvPr/>
        </p:nvSpPr>
        <p:spPr bwMode="gray">
          <a:xfrm>
            <a:off x="4198408" y="1696720"/>
            <a:ext cx="2024592" cy="898525"/>
          </a:xfrm>
          <a:custGeom>
            <a:avLst/>
            <a:gdLst>
              <a:gd name="connsiteX0" fmla="*/ 913342 w 2024592"/>
              <a:gd name="connsiteY0" fmla="*/ 838200 h 898525"/>
              <a:gd name="connsiteX1" fmla="*/ 411692 w 2024592"/>
              <a:gd name="connsiteY1" fmla="*/ 704850 h 898525"/>
              <a:gd name="connsiteX2" fmla="*/ 75142 w 2024592"/>
              <a:gd name="connsiteY2" fmla="*/ 552450 h 898525"/>
              <a:gd name="connsiteX3" fmla="*/ 56092 w 2024592"/>
              <a:gd name="connsiteY3" fmla="*/ 323850 h 898525"/>
              <a:gd name="connsiteX4" fmla="*/ 411692 w 2024592"/>
              <a:gd name="connsiteY4" fmla="*/ 152400 h 898525"/>
              <a:gd name="connsiteX5" fmla="*/ 989542 w 2024592"/>
              <a:gd name="connsiteY5" fmla="*/ 31750 h 898525"/>
              <a:gd name="connsiteX6" fmla="*/ 1618192 w 2024592"/>
              <a:gd name="connsiteY6" fmla="*/ 19050 h 898525"/>
              <a:gd name="connsiteX7" fmla="*/ 1967442 w 2024592"/>
              <a:gd name="connsiteY7" fmla="*/ 146050 h 898525"/>
              <a:gd name="connsiteX8" fmla="*/ 1961092 w 2024592"/>
              <a:gd name="connsiteY8" fmla="*/ 552450 h 898525"/>
              <a:gd name="connsiteX9" fmla="*/ 1815042 w 2024592"/>
              <a:gd name="connsiteY9" fmla="*/ 812800 h 898525"/>
              <a:gd name="connsiteX10" fmla="*/ 1440392 w 2024592"/>
              <a:gd name="connsiteY10" fmla="*/ 895350 h 898525"/>
              <a:gd name="connsiteX11" fmla="*/ 913342 w 2024592"/>
              <a:gd name="connsiteY11" fmla="*/ 838200 h 89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24592" h="898525">
                <a:moveTo>
                  <a:pt x="913342" y="838200"/>
                </a:moveTo>
                <a:cubicBezTo>
                  <a:pt x="741892" y="806450"/>
                  <a:pt x="551392" y="752475"/>
                  <a:pt x="411692" y="704850"/>
                </a:cubicBezTo>
                <a:cubicBezTo>
                  <a:pt x="271992" y="657225"/>
                  <a:pt x="134409" y="615950"/>
                  <a:pt x="75142" y="552450"/>
                </a:cubicBezTo>
                <a:cubicBezTo>
                  <a:pt x="15875" y="488950"/>
                  <a:pt x="0" y="390525"/>
                  <a:pt x="56092" y="323850"/>
                </a:cubicBezTo>
                <a:cubicBezTo>
                  <a:pt x="112184" y="257175"/>
                  <a:pt x="256117" y="201083"/>
                  <a:pt x="411692" y="152400"/>
                </a:cubicBezTo>
                <a:cubicBezTo>
                  <a:pt x="567267" y="103717"/>
                  <a:pt x="788459" y="53975"/>
                  <a:pt x="989542" y="31750"/>
                </a:cubicBezTo>
                <a:cubicBezTo>
                  <a:pt x="1190625" y="9525"/>
                  <a:pt x="1455209" y="0"/>
                  <a:pt x="1618192" y="19050"/>
                </a:cubicBezTo>
                <a:cubicBezTo>
                  <a:pt x="1781175" y="38100"/>
                  <a:pt x="1910292" y="57150"/>
                  <a:pt x="1967442" y="146050"/>
                </a:cubicBezTo>
                <a:cubicBezTo>
                  <a:pt x="2024592" y="234950"/>
                  <a:pt x="1986492" y="441325"/>
                  <a:pt x="1961092" y="552450"/>
                </a:cubicBezTo>
                <a:cubicBezTo>
                  <a:pt x="1935692" y="663575"/>
                  <a:pt x="1901825" y="755650"/>
                  <a:pt x="1815042" y="812800"/>
                </a:cubicBezTo>
                <a:cubicBezTo>
                  <a:pt x="1728259" y="869950"/>
                  <a:pt x="1592792" y="892175"/>
                  <a:pt x="1440392" y="895350"/>
                </a:cubicBezTo>
                <a:cubicBezTo>
                  <a:pt x="1287992" y="898525"/>
                  <a:pt x="1084792" y="869950"/>
                  <a:pt x="913342" y="838200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1" name="Freihandform 100"/>
          <p:cNvSpPr/>
          <p:nvPr/>
        </p:nvSpPr>
        <p:spPr bwMode="gray">
          <a:xfrm>
            <a:off x="5681133" y="1674495"/>
            <a:ext cx="1608667" cy="1087967"/>
          </a:xfrm>
          <a:custGeom>
            <a:avLst/>
            <a:gdLst>
              <a:gd name="connsiteX0" fmla="*/ 802217 w 1608667"/>
              <a:gd name="connsiteY0" fmla="*/ 1069975 h 1087967"/>
              <a:gd name="connsiteX1" fmla="*/ 395817 w 1608667"/>
              <a:gd name="connsiteY1" fmla="*/ 1012825 h 1087967"/>
              <a:gd name="connsiteX2" fmla="*/ 179917 w 1608667"/>
              <a:gd name="connsiteY2" fmla="*/ 904875 h 1087967"/>
              <a:gd name="connsiteX3" fmla="*/ 21167 w 1608667"/>
              <a:gd name="connsiteY3" fmla="*/ 581025 h 1087967"/>
              <a:gd name="connsiteX4" fmla="*/ 52917 w 1608667"/>
              <a:gd name="connsiteY4" fmla="*/ 314325 h 1087967"/>
              <a:gd name="connsiteX5" fmla="*/ 287867 w 1608667"/>
              <a:gd name="connsiteY5" fmla="*/ 130175 h 1087967"/>
              <a:gd name="connsiteX6" fmla="*/ 599017 w 1608667"/>
              <a:gd name="connsiteY6" fmla="*/ 15875 h 1087967"/>
              <a:gd name="connsiteX7" fmla="*/ 833967 w 1608667"/>
              <a:gd name="connsiteY7" fmla="*/ 34925 h 1087967"/>
              <a:gd name="connsiteX8" fmla="*/ 1265767 w 1608667"/>
              <a:gd name="connsiteY8" fmla="*/ 225425 h 1087967"/>
              <a:gd name="connsiteX9" fmla="*/ 1494367 w 1608667"/>
              <a:gd name="connsiteY9" fmla="*/ 479425 h 1087967"/>
              <a:gd name="connsiteX10" fmla="*/ 1602317 w 1608667"/>
              <a:gd name="connsiteY10" fmla="*/ 727075 h 1087967"/>
              <a:gd name="connsiteX11" fmla="*/ 1532467 w 1608667"/>
              <a:gd name="connsiteY11" fmla="*/ 911225 h 1087967"/>
              <a:gd name="connsiteX12" fmla="*/ 1246717 w 1608667"/>
              <a:gd name="connsiteY12" fmla="*/ 1063625 h 1087967"/>
              <a:gd name="connsiteX13" fmla="*/ 802217 w 1608667"/>
              <a:gd name="connsiteY13" fmla="*/ 1069975 h 1087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08667" h="1087967">
                <a:moveTo>
                  <a:pt x="802217" y="1069975"/>
                </a:moveTo>
                <a:cubicBezTo>
                  <a:pt x="660400" y="1061508"/>
                  <a:pt x="499534" y="1040342"/>
                  <a:pt x="395817" y="1012825"/>
                </a:cubicBezTo>
                <a:cubicBezTo>
                  <a:pt x="292100" y="985308"/>
                  <a:pt x="242359" y="976842"/>
                  <a:pt x="179917" y="904875"/>
                </a:cubicBezTo>
                <a:cubicBezTo>
                  <a:pt x="117475" y="832908"/>
                  <a:pt x="42334" y="679450"/>
                  <a:pt x="21167" y="581025"/>
                </a:cubicBezTo>
                <a:cubicBezTo>
                  <a:pt x="0" y="482600"/>
                  <a:pt x="8467" y="389467"/>
                  <a:pt x="52917" y="314325"/>
                </a:cubicBezTo>
                <a:cubicBezTo>
                  <a:pt x="97367" y="239183"/>
                  <a:pt x="196851" y="179917"/>
                  <a:pt x="287867" y="130175"/>
                </a:cubicBezTo>
                <a:cubicBezTo>
                  <a:pt x="378883" y="80433"/>
                  <a:pt x="508000" y="31750"/>
                  <a:pt x="599017" y="15875"/>
                </a:cubicBezTo>
                <a:cubicBezTo>
                  <a:pt x="690034" y="0"/>
                  <a:pt x="722842" y="0"/>
                  <a:pt x="833967" y="34925"/>
                </a:cubicBezTo>
                <a:cubicBezTo>
                  <a:pt x="945092" y="69850"/>
                  <a:pt x="1155700" y="151342"/>
                  <a:pt x="1265767" y="225425"/>
                </a:cubicBezTo>
                <a:cubicBezTo>
                  <a:pt x="1375834" y="299508"/>
                  <a:pt x="1438275" y="395817"/>
                  <a:pt x="1494367" y="479425"/>
                </a:cubicBezTo>
                <a:cubicBezTo>
                  <a:pt x="1550459" y="563033"/>
                  <a:pt x="1595967" y="655108"/>
                  <a:pt x="1602317" y="727075"/>
                </a:cubicBezTo>
                <a:cubicBezTo>
                  <a:pt x="1608667" y="799042"/>
                  <a:pt x="1591734" y="855133"/>
                  <a:pt x="1532467" y="911225"/>
                </a:cubicBezTo>
                <a:cubicBezTo>
                  <a:pt x="1473200" y="967317"/>
                  <a:pt x="1367367" y="1039283"/>
                  <a:pt x="1246717" y="1063625"/>
                </a:cubicBezTo>
                <a:cubicBezTo>
                  <a:pt x="1126067" y="1087967"/>
                  <a:pt x="944034" y="1078442"/>
                  <a:pt x="802217" y="1069975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2" name="Freihandform 101"/>
          <p:cNvSpPr/>
          <p:nvPr/>
        </p:nvSpPr>
        <p:spPr bwMode="gray">
          <a:xfrm>
            <a:off x="7071783" y="2097827"/>
            <a:ext cx="1320800" cy="1093259"/>
          </a:xfrm>
          <a:custGeom>
            <a:avLst/>
            <a:gdLst>
              <a:gd name="connsiteX0" fmla="*/ 472017 w 1320800"/>
              <a:gd name="connsiteY0" fmla="*/ 1046692 h 1098550"/>
              <a:gd name="connsiteX1" fmla="*/ 179917 w 1320800"/>
              <a:gd name="connsiteY1" fmla="*/ 881592 h 1098550"/>
              <a:gd name="connsiteX2" fmla="*/ 21167 w 1320800"/>
              <a:gd name="connsiteY2" fmla="*/ 627592 h 1098550"/>
              <a:gd name="connsiteX3" fmla="*/ 52917 w 1320800"/>
              <a:gd name="connsiteY3" fmla="*/ 291042 h 1098550"/>
              <a:gd name="connsiteX4" fmla="*/ 281517 w 1320800"/>
              <a:gd name="connsiteY4" fmla="*/ 62442 h 1098550"/>
              <a:gd name="connsiteX5" fmla="*/ 624417 w 1320800"/>
              <a:gd name="connsiteY5" fmla="*/ 5292 h 1098550"/>
              <a:gd name="connsiteX6" fmla="*/ 1037167 w 1320800"/>
              <a:gd name="connsiteY6" fmla="*/ 94192 h 1098550"/>
              <a:gd name="connsiteX7" fmla="*/ 1284817 w 1320800"/>
              <a:gd name="connsiteY7" fmla="*/ 411692 h 1098550"/>
              <a:gd name="connsiteX8" fmla="*/ 1253067 w 1320800"/>
              <a:gd name="connsiteY8" fmla="*/ 805392 h 1098550"/>
              <a:gd name="connsiteX9" fmla="*/ 897467 w 1320800"/>
              <a:gd name="connsiteY9" fmla="*/ 1053042 h 1098550"/>
              <a:gd name="connsiteX10" fmla="*/ 548217 w 1320800"/>
              <a:gd name="connsiteY10" fmla="*/ 1078442 h 1098550"/>
              <a:gd name="connsiteX11" fmla="*/ 472017 w 1320800"/>
              <a:gd name="connsiteY11" fmla="*/ 1046692 h 1098550"/>
              <a:gd name="connsiteX0" fmla="*/ 472017 w 1320800"/>
              <a:gd name="connsiteY0" fmla="*/ 1046692 h 1098550"/>
              <a:gd name="connsiteX1" fmla="*/ 179917 w 1320800"/>
              <a:gd name="connsiteY1" fmla="*/ 881592 h 1098550"/>
              <a:gd name="connsiteX2" fmla="*/ 21167 w 1320800"/>
              <a:gd name="connsiteY2" fmla="*/ 627592 h 1098550"/>
              <a:gd name="connsiteX3" fmla="*/ 52917 w 1320800"/>
              <a:gd name="connsiteY3" fmla="*/ 291042 h 1098550"/>
              <a:gd name="connsiteX4" fmla="*/ 281517 w 1320800"/>
              <a:gd name="connsiteY4" fmla="*/ 62442 h 1098550"/>
              <a:gd name="connsiteX5" fmla="*/ 624417 w 1320800"/>
              <a:gd name="connsiteY5" fmla="*/ 5292 h 1098550"/>
              <a:gd name="connsiteX6" fmla="*/ 1037167 w 1320800"/>
              <a:gd name="connsiteY6" fmla="*/ 94192 h 1098550"/>
              <a:gd name="connsiteX7" fmla="*/ 1284817 w 1320800"/>
              <a:gd name="connsiteY7" fmla="*/ 411692 h 1098550"/>
              <a:gd name="connsiteX8" fmla="*/ 1253067 w 1320800"/>
              <a:gd name="connsiteY8" fmla="*/ 805392 h 1098550"/>
              <a:gd name="connsiteX9" fmla="*/ 897467 w 1320800"/>
              <a:gd name="connsiteY9" fmla="*/ 1053042 h 1098550"/>
              <a:gd name="connsiteX10" fmla="*/ 586317 w 1320800"/>
              <a:gd name="connsiteY10" fmla="*/ 1078442 h 1098550"/>
              <a:gd name="connsiteX11" fmla="*/ 472017 w 1320800"/>
              <a:gd name="connsiteY11" fmla="*/ 1046692 h 1098550"/>
              <a:gd name="connsiteX0" fmla="*/ 472017 w 1320800"/>
              <a:gd name="connsiteY0" fmla="*/ 1046692 h 1093259"/>
              <a:gd name="connsiteX1" fmla="*/ 179917 w 1320800"/>
              <a:gd name="connsiteY1" fmla="*/ 881592 h 1093259"/>
              <a:gd name="connsiteX2" fmla="*/ 21167 w 1320800"/>
              <a:gd name="connsiteY2" fmla="*/ 627592 h 1093259"/>
              <a:gd name="connsiteX3" fmla="*/ 52917 w 1320800"/>
              <a:gd name="connsiteY3" fmla="*/ 291042 h 1093259"/>
              <a:gd name="connsiteX4" fmla="*/ 281517 w 1320800"/>
              <a:gd name="connsiteY4" fmla="*/ 62442 h 1093259"/>
              <a:gd name="connsiteX5" fmla="*/ 624417 w 1320800"/>
              <a:gd name="connsiteY5" fmla="*/ 5292 h 1093259"/>
              <a:gd name="connsiteX6" fmla="*/ 1037167 w 1320800"/>
              <a:gd name="connsiteY6" fmla="*/ 94192 h 1093259"/>
              <a:gd name="connsiteX7" fmla="*/ 1284817 w 1320800"/>
              <a:gd name="connsiteY7" fmla="*/ 411692 h 1093259"/>
              <a:gd name="connsiteX8" fmla="*/ 1253067 w 1320800"/>
              <a:gd name="connsiteY8" fmla="*/ 805392 h 1093259"/>
              <a:gd name="connsiteX9" fmla="*/ 897467 w 1320800"/>
              <a:gd name="connsiteY9" fmla="*/ 1053042 h 1093259"/>
              <a:gd name="connsiteX10" fmla="*/ 472017 w 1320800"/>
              <a:gd name="connsiteY10" fmla="*/ 1046692 h 1093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20800" h="1093259">
                <a:moveTo>
                  <a:pt x="472017" y="1046692"/>
                </a:moveTo>
                <a:cubicBezTo>
                  <a:pt x="352426" y="1018117"/>
                  <a:pt x="255059" y="951442"/>
                  <a:pt x="179917" y="881592"/>
                </a:cubicBezTo>
                <a:cubicBezTo>
                  <a:pt x="104775" y="811742"/>
                  <a:pt x="42334" y="726017"/>
                  <a:pt x="21167" y="627592"/>
                </a:cubicBezTo>
                <a:cubicBezTo>
                  <a:pt x="0" y="529167"/>
                  <a:pt x="9525" y="385234"/>
                  <a:pt x="52917" y="291042"/>
                </a:cubicBezTo>
                <a:cubicBezTo>
                  <a:pt x="96309" y="196850"/>
                  <a:pt x="186267" y="110067"/>
                  <a:pt x="281517" y="62442"/>
                </a:cubicBezTo>
                <a:cubicBezTo>
                  <a:pt x="376767" y="14817"/>
                  <a:pt x="498475" y="0"/>
                  <a:pt x="624417" y="5292"/>
                </a:cubicBezTo>
                <a:cubicBezTo>
                  <a:pt x="750359" y="10584"/>
                  <a:pt x="927100" y="26459"/>
                  <a:pt x="1037167" y="94192"/>
                </a:cubicBezTo>
                <a:cubicBezTo>
                  <a:pt x="1147234" y="161925"/>
                  <a:pt x="1248834" y="293159"/>
                  <a:pt x="1284817" y="411692"/>
                </a:cubicBezTo>
                <a:cubicBezTo>
                  <a:pt x="1320800" y="530225"/>
                  <a:pt x="1317625" y="698500"/>
                  <a:pt x="1253067" y="805392"/>
                </a:cubicBezTo>
                <a:cubicBezTo>
                  <a:pt x="1188509" y="912284"/>
                  <a:pt x="1027642" y="1012825"/>
                  <a:pt x="897467" y="1053042"/>
                </a:cubicBezTo>
                <a:cubicBezTo>
                  <a:pt x="767292" y="1093259"/>
                  <a:pt x="591608" y="1075267"/>
                  <a:pt x="472017" y="1046692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3" name="Freihandform 102"/>
          <p:cNvSpPr/>
          <p:nvPr/>
        </p:nvSpPr>
        <p:spPr bwMode="gray">
          <a:xfrm>
            <a:off x="5329767" y="2978362"/>
            <a:ext cx="2595033" cy="1855258"/>
          </a:xfrm>
          <a:custGeom>
            <a:avLst/>
            <a:gdLst>
              <a:gd name="connsiteX0" fmla="*/ 2214033 w 2595033"/>
              <a:gd name="connsiteY0" fmla="*/ 74083 h 1855258"/>
              <a:gd name="connsiteX1" fmla="*/ 1940983 w 2595033"/>
              <a:gd name="connsiteY1" fmla="*/ 245533 h 1855258"/>
              <a:gd name="connsiteX2" fmla="*/ 1559983 w 2595033"/>
              <a:gd name="connsiteY2" fmla="*/ 601133 h 1855258"/>
              <a:gd name="connsiteX3" fmla="*/ 1109133 w 2595033"/>
              <a:gd name="connsiteY3" fmla="*/ 772583 h 1855258"/>
              <a:gd name="connsiteX4" fmla="*/ 626533 w 2595033"/>
              <a:gd name="connsiteY4" fmla="*/ 886883 h 1855258"/>
              <a:gd name="connsiteX5" fmla="*/ 175683 w 2595033"/>
              <a:gd name="connsiteY5" fmla="*/ 1134533 h 1855258"/>
              <a:gd name="connsiteX6" fmla="*/ 16933 w 2595033"/>
              <a:gd name="connsiteY6" fmla="*/ 1305983 h 1855258"/>
              <a:gd name="connsiteX7" fmla="*/ 74083 w 2595033"/>
              <a:gd name="connsiteY7" fmla="*/ 1521883 h 1855258"/>
              <a:gd name="connsiteX8" fmla="*/ 321733 w 2595033"/>
              <a:gd name="connsiteY8" fmla="*/ 1718733 h 1855258"/>
              <a:gd name="connsiteX9" fmla="*/ 683683 w 2595033"/>
              <a:gd name="connsiteY9" fmla="*/ 1839383 h 1855258"/>
              <a:gd name="connsiteX10" fmla="*/ 1242483 w 2595033"/>
              <a:gd name="connsiteY10" fmla="*/ 1813983 h 1855258"/>
              <a:gd name="connsiteX11" fmla="*/ 1801283 w 2595033"/>
              <a:gd name="connsiteY11" fmla="*/ 1648883 h 1855258"/>
              <a:gd name="connsiteX12" fmla="*/ 2271183 w 2595033"/>
              <a:gd name="connsiteY12" fmla="*/ 1172633 h 1855258"/>
              <a:gd name="connsiteX13" fmla="*/ 2480733 w 2595033"/>
              <a:gd name="connsiteY13" fmla="*/ 836083 h 1855258"/>
              <a:gd name="connsiteX14" fmla="*/ 2588683 w 2595033"/>
              <a:gd name="connsiteY14" fmla="*/ 289983 h 1855258"/>
              <a:gd name="connsiteX15" fmla="*/ 2442633 w 2595033"/>
              <a:gd name="connsiteY15" fmla="*/ 35983 h 1855258"/>
              <a:gd name="connsiteX16" fmla="*/ 2214033 w 2595033"/>
              <a:gd name="connsiteY16" fmla="*/ 74083 h 185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595033" h="1855258">
                <a:moveTo>
                  <a:pt x="2214033" y="74083"/>
                </a:moveTo>
                <a:cubicBezTo>
                  <a:pt x="2130425" y="109008"/>
                  <a:pt x="2049991" y="157691"/>
                  <a:pt x="1940983" y="245533"/>
                </a:cubicBezTo>
                <a:cubicBezTo>
                  <a:pt x="1831975" y="333375"/>
                  <a:pt x="1698625" y="513291"/>
                  <a:pt x="1559983" y="601133"/>
                </a:cubicBezTo>
                <a:cubicBezTo>
                  <a:pt x="1421341" y="688975"/>
                  <a:pt x="1264708" y="724958"/>
                  <a:pt x="1109133" y="772583"/>
                </a:cubicBezTo>
                <a:cubicBezTo>
                  <a:pt x="953558" y="820208"/>
                  <a:pt x="782108" y="826558"/>
                  <a:pt x="626533" y="886883"/>
                </a:cubicBezTo>
                <a:cubicBezTo>
                  <a:pt x="470958" y="947208"/>
                  <a:pt x="277283" y="1064683"/>
                  <a:pt x="175683" y="1134533"/>
                </a:cubicBezTo>
                <a:cubicBezTo>
                  <a:pt x="74083" y="1204383"/>
                  <a:pt x="33866" y="1241425"/>
                  <a:pt x="16933" y="1305983"/>
                </a:cubicBezTo>
                <a:cubicBezTo>
                  <a:pt x="0" y="1370541"/>
                  <a:pt x="23283" y="1453091"/>
                  <a:pt x="74083" y="1521883"/>
                </a:cubicBezTo>
                <a:cubicBezTo>
                  <a:pt x="124883" y="1590675"/>
                  <a:pt x="220133" y="1665816"/>
                  <a:pt x="321733" y="1718733"/>
                </a:cubicBezTo>
                <a:cubicBezTo>
                  <a:pt x="423333" y="1771650"/>
                  <a:pt x="530225" y="1823508"/>
                  <a:pt x="683683" y="1839383"/>
                </a:cubicBezTo>
                <a:cubicBezTo>
                  <a:pt x="837141" y="1855258"/>
                  <a:pt x="1056216" y="1845733"/>
                  <a:pt x="1242483" y="1813983"/>
                </a:cubicBezTo>
                <a:cubicBezTo>
                  <a:pt x="1428750" y="1782233"/>
                  <a:pt x="1629833" y="1755775"/>
                  <a:pt x="1801283" y="1648883"/>
                </a:cubicBezTo>
                <a:cubicBezTo>
                  <a:pt x="1972733" y="1541991"/>
                  <a:pt x="2157941" y="1308100"/>
                  <a:pt x="2271183" y="1172633"/>
                </a:cubicBezTo>
                <a:cubicBezTo>
                  <a:pt x="2384425" y="1037166"/>
                  <a:pt x="2427816" y="983191"/>
                  <a:pt x="2480733" y="836083"/>
                </a:cubicBezTo>
                <a:cubicBezTo>
                  <a:pt x="2533650" y="688975"/>
                  <a:pt x="2595033" y="423333"/>
                  <a:pt x="2588683" y="289983"/>
                </a:cubicBezTo>
                <a:cubicBezTo>
                  <a:pt x="2582333" y="156633"/>
                  <a:pt x="2507191" y="71966"/>
                  <a:pt x="2442633" y="35983"/>
                </a:cubicBezTo>
                <a:cubicBezTo>
                  <a:pt x="2378075" y="0"/>
                  <a:pt x="2297641" y="39158"/>
                  <a:pt x="2214033" y="74083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4" name="Freihandform 103"/>
          <p:cNvSpPr/>
          <p:nvPr/>
        </p:nvSpPr>
        <p:spPr bwMode="gray">
          <a:xfrm>
            <a:off x="5632450" y="2575137"/>
            <a:ext cx="1857375" cy="1391708"/>
          </a:xfrm>
          <a:custGeom>
            <a:avLst/>
            <a:gdLst>
              <a:gd name="connsiteX0" fmla="*/ 685800 w 1857375"/>
              <a:gd name="connsiteY0" fmla="*/ 67733 h 1391708"/>
              <a:gd name="connsiteX1" fmla="*/ 387350 w 1857375"/>
              <a:gd name="connsiteY1" fmla="*/ 264583 h 1391708"/>
              <a:gd name="connsiteX2" fmla="*/ 82550 w 1857375"/>
              <a:gd name="connsiteY2" fmla="*/ 677333 h 1391708"/>
              <a:gd name="connsiteX3" fmla="*/ 19050 w 1857375"/>
              <a:gd name="connsiteY3" fmla="*/ 937683 h 1391708"/>
              <a:gd name="connsiteX4" fmla="*/ 196850 w 1857375"/>
              <a:gd name="connsiteY4" fmla="*/ 1204383 h 1391708"/>
              <a:gd name="connsiteX5" fmla="*/ 457200 w 1857375"/>
              <a:gd name="connsiteY5" fmla="*/ 1369483 h 1391708"/>
              <a:gd name="connsiteX6" fmla="*/ 920750 w 1857375"/>
              <a:gd name="connsiteY6" fmla="*/ 1337733 h 1391708"/>
              <a:gd name="connsiteX7" fmla="*/ 1409700 w 1857375"/>
              <a:gd name="connsiteY7" fmla="*/ 1102783 h 1391708"/>
              <a:gd name="connsiteX8" fmla="*/ 1809750 w 1857375"/>
              <a:gd name="connsiteY8" fmla="*/ 696383 h 1391708"/>
              <a:gd name="connsiteX9" fmla="*/ 1695450 w 1857375"/>
              <a:gd name="connsiteY9" fmla="*/ 258233 h 1391708"/>
              <a:gd name="connsiteX10" fmla="*/ 1371600 w 1857375"/>
              <a:gd name="connsiteY10" fmla="*/ 48683 h 1391708"/>
              <a:gd name="connsiteX11" fmla="*/ 939800 w 1857375"/>
              <a:gd name="connsiteY11" fmla="*/ 4233 h 1391708"/>
              <a:gd name="connsiteX12" fmla="*/ 685800 w 1857375"/>
              <a:gd name="connsiteY12" fmla="*/ 67733 h 1391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57375" h="1391708">
                <a:moveTo>
                  <a:pt x="685800" y="67733"/>
                </a:moveTo>
                <a:cubicBezTo>
                  <a:pt x="593725" y="111125"/>
                  <a:pt x="487892" y="162983"/>
                  <a:pt x="387350" y="264583"/>
                </a:cubicBezTo>
                <a:cubicBezTo>
                  <a:pt x="286808" y="366183"/>
                  <a:pt x="143933" y="565150"/>
                  <a:pt x="82550" y="677333"/>
                </a:cubicBezTo>
                <a:cubicBezTo>
                  <a:pt x="21167" y="789516"/>
                  <a:pt x="0" y="849841"/>
                  <a:pt x="19050" y="937683"/>
                </a:cubicBezTo>
                <a:cubicBezTo>
                  <a:pt x="38100" y="1025525"/>
                  <a:pt x="123825" y="1132416"/>
                  <a:pt x="196850" y="1204383"/>
                </a:cubicBezTo>
                <a:cubicBezTo>
                  <a:pt x="269875" y="1276350"/>
                  <a:pt x="336550" y="1347258"/>
                  <a:pt x="457200" y="1369483"/>
                </a:cubicBezTo>
                <a:cubicBezTo>
                  <a:pt x="577850" y="1391708"/>
                  <a:pt x="762000" y="1382183"/>
                  <a:pt x="920750" y="1337733"/>
                </a:cubicBezTo>
                <a:cubicBezTo>
                  <a:pt x="1079500" y="1293283"/>
                  <a:pt x="1261533" y="1209675"/>
                  <a:pt x="1409700" y="1102783"/>
                </a:cubicBezTo>
                <a:cubicBezTo>
                  <a:pt x="1557867" y="995891"/>
                  <a:pt x="1762125" y="837141"/>
                  <a:pt x="1809750" y="696383"/>
                </a:cubicBezTo>
                <a:cubicBezTo>
                  <a:pt x="1857375" y="555625"/>
                  <a:pt x="1768475" y="366183"/>
                  <a:pt x="1695450" y="258233"/>
                </a:cubicBezTo>
                <a:cubicBezTo>
                  <a:pt x="1622425" y="150283"/>
                  <a:pt x="1497542" y="91016"/>
                  <a:pt x="1371600" y="48683"/>
                </a:cubicBezTo>
                <a:cubicBezTo>
                  <a:pt x="1245658" y="6350"/>
                  <a:pt x="1059392" y="0"/>
                  <a:pt x="939800" y="4233"/>
                </a:cubicBezTo>
                <a:cubicBezTo>
                  <a:pt x="820208" y="8466"/>
                  <a:pt x="777875" y="24341"/>
                  <a:pt x="685800" y="67733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5" name="Freihandform 104"/>
          <p:cNvSpPr/>
          <p:nvPr/>
        </p:nvSpPr>
        <p:spPr bwMode="gray">
          <a:xfrm>
            <a:off x="4049183" y="2261870"/>
            <a:ext cx="2252134" cy="1038225"/>
          </a:xfrm>
          <a:custGeom>
            <a:avLst/>
            <a:gdLst>
              <a:gd name="connsiteX0" fmla="*/ 1621367 w 2252134"/>
              <a:gd name="connsiteY0" fmla="*/ 241300 h 1038225"/>
              <a:gd name="connsiteX1" fmla="*/ 649817 w 2252134"/>
              <a:gd name="connsiteY1" fmla="*/ 38100 h 1038225"/>
              <a:gd name="connsiteX2" fmla="*/ 237067 w 2252134"/>
              <a:gd name="connsiteY2" fmla="*/ 44450 h 1038225"/>
              <a:gd name="connsiteX3" fmla="*/ 2117 w 2252134"/>
              <a:gd name="connsiteY3" fmla="*/ 304800 h 1038225"/>
              <a:gd name="connsiteX4" fmla="*/ 224367 w 2252134"/>
              <a:gd name="connsiteY4" fmla="*/ 590550 h 1038225"/>
              <a:gd name="connsiteX5" fmla="*/ 567267 w 2252134"/>
              <a:gd name="connsiteY5" fmla="*/ 831850 h 1038225"/>
              <a:gd name="connsiteX6" fmla="*/ 1062567 w 2252134"/>
              <a:gd name="connsiteY6" fmla="*/ 996950 h 1038225"/>
              <a:gd name="connsiteX7" fmla="*/ 1411817 w 2252134"/>
              <a:gd name="connsiteY7" fmla="*/ 1028700 h 1038225"/>
              <a:gd name="connsiteX8" fmla="*/ 1754717 w 2252134"/>
              <a:gd name="connsiteY8" fmla="*/ 939800 h 1038225"/>
              <a:gd name="connsiteX9" fmla="*/ 2154767 w 2252134"/>
              <a:gd name="connsiteY9" fmla="*/ 622300 h 1038225"/>
              <a:gd name="connsiteX10" fmla="*/ 2199217 w 2252134"/>
              <a:gd name="connsiteY10" fmla="*/ 463550 h 1038225"/>
              <a:gd name="connsiteX11" fmla="*/ 1837267 w 2252134"/>
              <a:gd name="connsiteY11" fmla="*/ 292100 h 1038225"/>
              <a:gd name="connsiteX12" fmla="*/ 1621367 w 2252134"/>
              <a:gd name="connsiteY12" fmla="*/ 241300 h 103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52134" h="1038225">
                <a:moveTo>
                  <a:pt x="1621367" y="241300"/>
                </a:moveTo>
                <a:cubicBezTo>
                  <a:pt x="1423459" y="198967"/>
                  <a:pt x="880534" y="70908"/>
                  <a:pt x="649817" y="38100"/>
                </a:cubicBezTo>
                <a:cubicBezTo>
                  <a:pt x="419100" y="5292"/>
                  <a:pt x="345017" y="0"/>
                  <a:pt x="237067" y="44450"/>
                </a:cubicBezTo>
                <a:cubicBezTo>
                  <a:pt x="129117" y="88900"/>
                  <a:pt x="4234" y="213783"/>
                  <a:pt x="2117" y="304800"/>
                </a:cubicBezTo>
                <a:cubicBezTo>
                  <a:pt x="0" y="395817"/>
                  <a:pt x="130175" y="502708"/>
                  <a:pt x="224367" y="590550"/>
                </a:cubicBezTo>
                <a:cubicBezTo>
                  <a:pt x="318559" y="678392"/>
                  <a:pt x="427567" y="764117"/>
                  <a:pt x="567267" y="831850"/>
                </a:cubicBezTo>
                <a:cubicBezTo>
                  <a:pt x="706967" y="899583"/>
                  <a:pt x="921809" y="964142"/>
                  <a:pt x="1062567" y="996950"/>
                </a:cubicBezTo>
                <a:cubicBezTo>
                  <a:pt x="1203325" y="1029758"/>
                  <a:pt x="1296459" y="1038225"/>
                  <a:pt x="1411817" y="1028700"/>
                </a:cubicBezTo>
                <a:cubicBezTo>
                  <a:pt x="1527175" y="1019175"/>
                  <a:pt x="1630892" y="1007533"/>
                  <a:pt x="1754717" y="939800"/>
                </a:cubicBezTo>
                <a:cubicBezTo>
                  <a:pt x="1878542" y="872067"/>
                  <a:pt x="2080684" y="701675"/>
                  <a:pt x="2154767" y="622300"/>
                </a:cubicBezTo>
                <a:cubicBezTo>
                  <a:pt x="2228850" y="542925"/>
                  <a:pt x="2252134" y="518583"/>
                  <a:pt x="2199217" y="463550"/>
                </a:cubicBezTo>
                <a:cubicBezTo>
                  <a:pt x="2146300" y="408517"/>
                  <a:pt x="1935692" y="330200"/>
                  <a:pt x="1837267" y="292100"/>
                </a:cubicBezTo>
                <a:cubicBezTo>
                  <a:pt x="1738842" y="254000"/>
                  <a:pt x="1819275" y="283633"/>
                  <a:pt x="1621367" y="241300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6" name="Freihandform 105"/>
          <p:cNvSpPr/>
          <p:nvPr/>
        </p:nvSpPr>
        <p:spPr bwMode="gray">
          <a:xfrm>
            <a:off x="3429000" y="2624878"/>
            <a:ext cx="2636308" cy="1727200"/>
          </a:xfrm>
          <a:custGeom>
            <a:avLst/>
            <a:gdLst>
              <a:gd name="connsiteX0" fmla="*/ 361950 w 2636308"/>
              <a:gd name="connsiteY0" fmla="*/ 81492 h 1727200"/>
              <a:gd name="connsiteX1" fmla="*/ 50800 w 2636308"/>
              <a:gd name="connsiteY1" fmla="*/ 329142 h 1727200"/>
              <a:gd name="connsiteX2" fmla="*/ 57150 w 2636308"/>
              <a:gd name="connsiteY2" fmla="*/ 678392 h 1727200"/>
              <a:gd name="connsiteX3" fmla="*/ 368300 w 2636308"/>
              <a:gd name="connsiteY3" fmla="*/ 1300692 h 1727200"/>
              <a:gd name="connsiteX4" fmla="*/ 615950 w 2636308"/>
              <a:gd name="connsiteY4" fmla="*/ 1554692 h 1727200"/>
              <a:gd name="connsiteX5" fmla="*/ 1009650 w 2636308"/>
              <a:gd name="connsiteY5" fmla="*/ 1694392 h 1727200"/>
              <a:gd name="connsiteX6" fmla="*/ 1485900 w 2636308"/>
              <a:gd name="connsiteY6" fmla="*/ 1713442 h 1727200"/>
              <a:gd name="connsiteX7" fmla="*/ 2012950 w 2636308"/>
              <a:gd name="connsiteY7" fmla="*/ 1611842 h 1727200"/>
              <a:gd name="connsiteX8" fmla="*/ 2438400 w 2636308"/>
              <a:gd name="connsiteY8" fmla="*/ 1434042 h 1727200"/>
              <a:gd name="connsiteX9" fmla="*/ 2616200 w 2636308"/>
              <a:gd name="connsiteY9" fmla="*/ 1199092 h 1727200"/>
              <a:gd name="connsiteX10" fmla="*/ 2559050 w 2636308"/>
              <a:gd name="connsiteY10" fmla="*/ 786342 h 1727200"/>
              <a:gd name="connsiteX11" fmla="*/ 2355850 w 2636308"/>
              <a:gd name="connsiteY11" fmla="*/ 576792 h 1727200"/>
              <a:gd name="connsiteX12" fmla="*/ 1974850 w 2636308"/>
              <a:gd name="connsiteY12" fmla="*/ 557742 h 1727200"/>
              <a:gd name="connsiteX13" fmla="*/ 1530350 w 2636308"/>
              <a:gd name="connsiteY13" fmla="*/ 506942 h 1727200"/>
              <a:gd name="connsiteX14" fmla="*/ 1066800 w 2636308"/>
              <a:gd name="connsiteY14" fmla="*/ 189442 h 1727200"/>
              <a:gd name="connsiteX15" fmla="*/ 800100 w 2636308"/>
              <a:gd name="connsiteY15" fmla="*/ 17992 h 1727200"/>
              <a:gd name="connsiteX16" fmla="*/ 361950 w 2636308"/>
              <a:gd name="connsiteY16" fmla="*/ 81492 h 172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36308" h="1727200">
                <a:moveTo>
                  <a:pt x="361950" y="81492"/>
                </a:moveTo>
                <a:cubicBezTo>
                  <a:pt x="237067" y="133350"/>
                  <a:pt x="101600" y="229659"/>
                  <a:pt x="50800" y="329142"/>
                </a:cubicBezTo>
                <a:cubicBezTo>
                  <a:pt x="0" y="428625"/>
                  <a:pt x="4233" y="516467"/>
                  <a:pt x="57150" y="678392"/>
                </a:cubicBezTo>
                <a:cubicBezTo>
                  <a:pt x="110067" y="840317"/>
                  <a:pt x="275167" y="1154642"/>
                  <a:pt x="368300" y="1300692"/>
                </a:cubicBezTo>
                <a:cubicBezTo>
                  <a:pt x="461433" y="1446742"/>
                  <a:pt x="509058" y="1489075"/>
                  <a:pt x="615950" y="1554692"/>
                </a:cubicBezTo>
                <a:cubicBezTo>
                  <a:pt x="722842" y="1620309"/>
                  <a:pt x="864658" y="1667934"/>
                  <a:pt x="1009650" y="1694392"/>
                </a:cubicBezTo>
                <a:cubicBezTo>
                  <a:pt x="1154642" y="1720850"/>
                  <a:pt x="1318683" y="1727200"/>
                  <a:pt x="1485900" y="1713442"/>
                </a:cubicBezTo>
                <a:cubicBezTo>
                  <a:pt x="1653117" y="1699684"/>
                  <a:pt x="1854200" y="1658409"/>
                  <a:pt x="2012950" y="1611842"/>
                </a:cubicBezTo>
                <a:cubicBezTo>
                  <a:pt x="2171700" y="1565275"/>
                  <a:pt x="2337858" y="1502834"/>
                  <a:pt x="2438400" y="1434042"/>
                </a:cubicBezTo>
                <a:cubicBezTo>
                  <a:pt x="2538942" y="1365250"/>
                  <a:pt x="2596092" y="1307042"/>
                  <a:pt x="2616200" y="1199092"/>
                </a:cubicBezTo>
                <a:cubicBezTo>
                  <a:pt x="2636308" y="1091142"/>
                  <a:pt x="2602442" y="890059"/>
                  <a:pt x="2559050" y="786342"/>
                </a:cubicBezTo>
                <a:cubicBezTo>
                  <a:pt x="2515658" y="682625"/>
                  <a:pt x="2453217" y="614892"/>
                  <a:pt x="2355850" y="576792"/>
                </a:cubicBezTo>
                <a:cubicBezTo>
                  <a:pt x="2258483" y="538692"/>
                  <a:pt x="2112433" y="569384"/>
                  <a:pt x="1974850" y="557742"/>
                </a:cubicBezTo>
                <a:cubicBezTo>
                  <a:pt x="1837267" y="546100"/>
                  <a:pt x="1681692" y="568325"/>
                  <a:pt x="1530350" y="506942"/>
                </a:cubicBezTo>
                <a:cubicBezTo>
                  <a:pt x="1379008" y="445559"/>
                  <a:pt x="1188508" y="270934"/>
                  <a:pt x="1066800" y="189442"/>
                </a:cubicBezTo>
                <a:cubicBezTo>
                  <a:pt x="945092" y="107950"/>
                  <a:pt x="917575" y="35984"/>
                  <a:pt x="800100" y="17992"/>
                </a:cubicBezTo>
                <a:cubicBezTo>
                  <a:pt x="682625" y="0"/>
                  <a:pt x="486833" y="29634"/>
                  <a:pt x="361950" y="81492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7" name="Freihandform 106"/>
          <p:cNvSpPr/>
          <p:nvPr/>
        </p:nvSpPr>
        <p:spPr bwMode="gray">
          <a:xfrm>
            <a:off x="1783292" y="2859828"/>
            <a:ext cx="2300816" cy="1993900"/>
          </a:xfrm>
          <a:custGeom>
            <a:avLst/>
            <a:gdLst>
              <a:gd name="connsiteX0" fmla="*/ 705908 w 2300816"/>
              <a:gd name="connsiteY0" fmla="*/ 73025 h 1972733"/>
              <a:gd name="connsiteX1" fmla="*/ 420158 w 2300816"/>
              <a:gd name="connsiteY1" fmla="*/ 212725 h 1972733"/>
              <a:gd name="connsiteX2" fmla="*/ 140758 w 2300816"/>
              <a:gd name="connsiteY2" fmla="*/ 523875 h 1972733"/>
              <a:gd name="connsiteX3" fmla="*/ 13758 w 2300816"/>
              <a:gd name="connsiteY3" fmla="*/ 1101725 h 1972733"/>
              <a:gd name="connsiteX4" fmla="*/ 223308 w 2300816"/>
              <a:gd name="connsiteY4" fmla="*/ 1597025 h 1972733"/>
              <a:gd name="connsiteX5" fmla="*/ 744008 w 2300816"/>
              <a:gd name="connsiteY5" fmla="*/ 1920875 h 1972733"/>
              <a:gd name="connsiteX6" fmla="*/ 1448858 w 2300816"/>
              <a:gd name="connsiteY6" fmla="*/ 1908175 h 1972733"/>
              <a:gd name="connsiteX7" fmla="*/ 1925108 w 2300816"/>
              <a:gd name="connsiteY7" fmla="*/ 1704975 h 1972733"/>
              <a:gd name="connsiteX8" fmla="*/ 2261658 w 2300816"/>
              <a:gd name="connsiteY8" fmla="*/ 1266825 h 1972733"/>
              <a:gd name="connsiteX9" fmla="*/ 2160058 w 2300816"/>
              <a:gd name="connsiteY9" fmla="*/ 739775 h 1972733"/>
              <a:gd name="connsiteX10" fmla="*/ 1861608 w 2300816"/>
              <a:gd name="connsiteY10" fmla="*/ 276225 h 1972733"/>
              <a:gd name="connsiteX11" fmla="*/ 1486958 w 2300816"/>
              <a:gd name="connsiteY11" fmla="*/ 41275 h 1972733"/>
              <a:gd name="connsiteX12" fmla="*/ 832908 w 2300816"/>
              <a:gd name="connsiteY12" fmla="*/ 28575 h 1972733"/>
              <a:gd name="connsiteX13" fmla="*/ 705908 w 2300816"/>
              <a:gd name="connsiteY13" fmla="*/ 73025 h 1972733"/>
              <a:gd name="connsiteX0" fmla="*/ 705908 w 2300816"/>
              <a:gd name="connsiteY0" fmla="*/ 65617 h 1965325"/>
              <a:gd name="connsiteX1" fmla="*/ 420158 w 2300816"/>
              <a:gd name="connsiteY1" fmla="*/ 205317 h 1965325"/>
              <a:gd name="connsiteX2" fmla="*/ 140758 w 2300816"/>
              <a:gd name="connsiteY2" fmla="*/ 516467 h 1965325"/>
              <a:gd name="connsiteX3" fmla="*/ 13758 w 2300816"/>
              <a:gd name="connsiteY3" fmla="*/ 1094317 h 1965325"/>
              <a:gd name="connsiteX4" fmla="*/ 223308 w 2300816"/>
              <a:gd name="connsiteY4" fmla="*/ 1589617 h 1965325"/>
              <a:gd name="connsiteX5" fmla="*/ 744008 w 2300816"/>
              <a:gd name="connsiteY5" fmla="*/ 1913467 h 1965325"/>
              <a:gd name="connsiteX6" fmla="*/ 1448858 w 2300816"/>
              <a:gd name="connsiteY6" fmla="*/ 1900767 h 1965325"/>
              <a:gd name="connsiteX7" fmla="*/ 1925108 w 2300816"/>
              <a:gd name="connsiteY7" fmla="*/ 1697567 h 1965325"/>
              <a:gd name="connsiteX8" fmla="*/ 2261658 w 2300816"/>
              <a:gd name="connsiteY8" fmla="*/ 1259417 h 1965325"/>
              <a:gd name="connsiteX9" fmla="*/ 2160058 w 2300816"/>
              <a:gd name="connsiteY9" fmla="*/ 732367 h 1965325"/>
              <a:gd name="connsiteX10" fmla="*/ 1861608 w 2300816"/>
              <a:gd name="connsiteY10" fmla="*/ 268817 h 1965325"/>
              <a:gd name="connsiteX11" fmla="*/ 1486958 w 2300816"/>
              <a:gd name="connsiteY11" fmla="*/ 33867 h 1965325"/>
              <a:gd name="connsiteX12" fmla="*/ 705908 w 2300816"/>
              <a:gd name="connsiteY12" fmla="*/ 65617 h 1965325"/>
              <a:gd name="connsiteX0" fmla="*/ 890058 w 2300816"/>
              <a:gd name="connsiteY0" fmla="*/ 28575 h 1993900"/>
              <a:gd name="connsiteX1" fmla="*/ 420158 w 2300816"/>
              <a:gd name="connsiteY1" fmla="*/ 233892 h 1993900"/>
              <a:gd name="connsiteX2" fmla="*/ 140758 w 2300816"/>
              <a:gd name="connsiteY2" fmla="*/ 545042 h 1993900"/>
              <a:gd name="connsiteX3" fmla="*/ 13758 w 2300816"/>
              <a:gd name="connsiteY3" fmla="*/ 1122892 h 1993900"/>
              <a:gd name="connsiteX4" fmla="*/ 223308 w 2300816"/>
              <a:gd name="connsiteY4" fmla="*/ 1618192 h 1993900"/>
              <a:gd name="connsiteX5" fmla="*/ 744008 w 2300816"/>
              <a:gd name="connsiteY5" fmla="*/ 1942042 h 1993900"/>
              <a:gd name="connsiteX6" fmla="*/ 1448858 w 2300816"/>
              <a:gd name="connsiteY6" fmla="*/ 1929342 h 1993900"/>
              <a:gd name="connsiteX7" fmla="*/ 1925108 w 2300816"/>
              <a:gd name="connsiteY7" fmla="*/ 1726142 h 1993900"/>
              <a:gd name="connsiteX8" fmla="*/ 2261658 w 2300816"/>
              <a:gd name="connsiteY8" fmla="*/ 1287992 h 1993900"/>
              <a:gd name="connsiteX9" fmla="*/ 2160058 w 2300816"/>
              <a:gd name="connsiteY9" fmla="*/ 760942 h 1993900"/>
              <a:gd name="connsiteX10" fmla="*/ 1861608 w 2300816"/>
              <a:gd name="connsiteY10" fmla="*/ 297392 h 1993900"/>
              <a:gd name="connsiteX11" fmla="*/ 1486958 w 2300816"/>
              <a:gd name="connsiteY11" fmla="*/ 62442 h 1993900"/>
              <a:gd name="connsiteX12" fmla="*/ 890058 w 2300816"/>
              <a:gd name="connsiteY12" fmla="*/ 28575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00816" h="1993900">
                <a:moveTo>
                  <a:pt x="890058" y="28575"/>
                </a:moveTo>
                <a:cubicBezTo>
                  <a:pt x="712258" y="57150"/>
                  <a:pt x="545041" y="147814"/>
                  <a:pt x="420158" y="233892"/>
                </a:cubicBezTo>
                <a:cubicBezTo>
                  <a:pt x="295275" y="319970"/>
                  <a:pt x="208491" y="396875"/>
                  <a:pt x="140758" y="545042"/>
                </a:cubicBezTo>
                <a:cubicBezTo>
                  <a:pt x="73025" y="693209"/>
                  <a:pt x="0" y="944034"/>
                  <a:pt x="13758" y="1122892"/>
                </a:cubicBezTo>
                <a:cubicBezTo>
                  <a:pt x="27516" y="1301750"/>
                  <a:pt x="101600" y="1481667"/>
                  <a:pt x="223308" y="1618192"/>
                </a:cubicBezTo>
                <a:cubicBezTo>
                  <a:pt x="345016" y="1754717"/>
                  <a:pt x="539750" y="1890184"/>
                  <a:pt x="744008" y="1942042"/>
                </a:cubicBezTo>
                <a:cubicBezTo>
                  <a:pt x="948266" y="1993900"/>
                  <a:pt x="1252008" y="1965325"/>
                  <a:pt x="1448858" y="1929342"/>
                </a:cubicBezTo>
                <a:cubicBezTo>
                  <a:pt x="1645708" y="1893359"/>
                  <a:pt x="1789641" y="1833034"/>
                  <a:pt x="1925108" y="1726142"/>
                </a:cubicBezTo>
                <a:cubicBezTo>
                  <a:pt x="2060575" y="1619250"/>
                  <a:pt x="2222500" y="1448859"/>
                  <a:pt x="2261658" y="1287992"/>
                </a:cubicBezTo>
                <a:cubicBezTo>
                  <a:pt x="2300816" y="1127125"/>
                  <a:pt x="2226733" y="926042"/>
                  <a:pt x="2160058" y="760942"/>
                </a:cubicBezTo>
                <a:cubicBezTo>
                  <a:pt x="2093383" y="595842"/>
                  <a:pt x="1973791" y="413809"/>
                  <a:pt x="1861608" y="297392"/>
                </a:cubicBezTo>
                <a:cubicBezTo>
                  <a:pt x="1749425" y="180975"/>
                  <a:pt x="1648883" y="107245"/>
                  <a:pt x="1486958" y="62442"/>
                </a:cubicBezTo>
                <a:cubicBezTo>
                  <a:pt x="1325033" y="17639"/>
                  <a:pt x="1067858" y="0"/>
                  <a:pt x="890058" y="28575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09" name="Freihandform 108"/>
          <p:cNvSpPr/>
          <p:nvPr/>
        </p:nvSpPr>
        <p:spPr bwMode="gray">
          <a:xfrm>
            <a:off x="3510492" y="4020185"/>
            <a:ext cx="2250016" cy="1085850"/>
          </a:xfrm>
          <a:custGeom>
            <a:avLst/>
            <a:gdLst>
              <a:gd name="connsiteX0" fmla="*/ 1544108 w 2250016"/>
              <a:gd name="connsiteY0" fmla="*/ 60325 h 1085850"/>
              <a:gd name="connsiteX1" fmla="*/ 2001308 w 2250016"/>
              <a:gd name="connsiteY1" fmla="*/ 219075 h 1085850"/>
              <a:gd name="connsiteX2" fmla="*/ 2229908 w 2250016"/>
              <a:gd name="connsiteY2" fmla="*/ 415925 h 1085850"/>
              <a:gd name="connsiteX3" fmla="*/ 2121958 w 2250016"/>
              <a:gd name="connsiteY3" fmla="*/ 739775 h 1085850"/>
              <a:gd name="connsiteX4" fmla="*/ 1829858 w 2250016"/>
              <a:gd name="connsiteY4" fmla="*/ 942975 h 1085850"/>
              <a:gd name="connsiteX5" fmla="*/ 1048808 w 2250016"/>
              <a:gd name="connsiteY5" fmla="*/ 1063625 h 1085850"/>
              <a:gd name="connsiteX6" fmla="*/ 248708 w 2250016"/>
              <a:gd name="connsiteY6" fmla="*/ 809625 h 1085850"/>
              <a:gd name="connsiteX7" fmla="*/ 1058 w 2250016"/>
              <a:gd name="connsiteY7" fmla="*/ 441325 h 1085850"/>
              <a:gd name="connsiteX8" fmla="*/ 255058 w 2250016"/>
              <a:gd name="connsiteY8" fmla="*/ 142875 h 1085850"/>
              <a:gd name="connsiteX9" fmla="*/ 902758 w 2250016"/>
              <a:gd name="connsiteY9" fmla="*/ 15875 h 1085850"/>
              <a:gd name="connsiteX10" fmla="*/ 1544108 w 2250016"/>
              <a:gd name="connsiteY10" fmla="*/ 60325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50016" h="1085850">
                <a:moveTo>
                  <a:pt x="1544108" y="60325"/>
                </a:moveTo>
                <a:cubicBezTo>
                  <a:pt x="1727200" y="94192"/>
                  <a:pt x="1887008" y="159808"/>
                  <a:pt x="2001308" y="219075"/>
                </a:cubicBezTo>
                <a:cubicBezTo>
                  <a:pt x="2115608" y="278342"/>
                  <a:pt x="2209800" y="329142"/>
                  <a:pt x="2229908" y="415925"/>
                </a:cubicBezTo>
                <a:cubicBezTo>
                  <a:pt x="2250016" y="502708"/>
                  <a:pt x="2188633" y="651933"/>
                  <a:pt x="2121958" y="739775"/>
                </a:cubicBezTo>
                <a:cubicBezTo>
                  <a:pt x="2055283" y="827617"/>
                  <a:pt x="2008716" y="889000"/>
                  <a:pt x="1829858" y="942975"/>
                </a:cubicBezTo>
                <a:cubicBezTo>
                  <a:pt x="1651000" y="996950"/>
                  <a:pt x="1312333" y="1085850"/>
                  <a:pt x="1048808" y="1063625"/>
                </a:cubicBezTo>
                <a:cubicBezTo>
                  <a:pt x="785283" y="1041400"/>
                  <a:pt x="423333" y="913342"/>
                  <a:pt x="248708" y="809625"/>
                </a:cubicBezTo>
                <a:cubicBezTo>
                  <a:pt x="74083" y="705908"/>
                  <a:pt x="0" y="552450"/>
                  <a:pt x="1058" y="441325"/>
                </a:cubicBezTo>
                <a:cubicBezTo>
                  <a:pt x="2116" y="330200"/>
                  <a:pt x="104775" y="213783"/>
                  <a:pt x="255058" y="142875"/>
                </a:cubicBezTo>
                <a:cubicBezTo>
                  <a:pt x="405341" y="71967"/>
                  <a:pt x="687916" y="31750"/>
                  <a:pt x="902758" y="15875"/>
                </a:cubicBezTo>
                <a:cubicBezTo>
                  <a:pt x="1117600" y="0"/>
                  <a:pt x="1361016" y="26458"/>
                  <a:pt x="1544108" y="60325"/>
                </a:cubicBezTo>
                <a:close/>
              </a:path>
            </a:pathLst>
          </a:custGeom>
          <a:solidFill>
            <a:schemeClr val="accent1">
              <a:alpha val="49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 smtClean="0"/>
          </a:p>
        </p:txBody>
      </p:sp>
      <p:sp>
        <p:nvSpPr>
          <p:cNvPr id="110" name="Textfeld 109"/>
          <p:cNvSpPr txBox="1"/>
          <p:nvPr/>
        </p:nvSpPr>
        <p:spPr bwMode="gray">
          <a:xfrm>
            <a:off x="2671280" y="2189267"/>
            <a:ext cx="127169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established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conservatives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10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1" name="Textfeld 110"/>
          <p:cNvSpPr txBox="1"/>
          <p:nvPr/>
        </p:nvSpPr>
        <p:spPr bwMode="gray">
          <a:xfrm>
            <a:off x="4087437" y="3400322"/>
            <a:ext cx="111200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bourgeois middle class </a:t>
            </a:r>
            <a:br>
              <a:rPr lang="en-US" sz="1050" b="1" noProof="1" smtClean="0">
                <a:solidFill>
                  <a:srgbClr val="FFFFFF"/>
                </a:solidFill>
              </a:rPr>
            </a:br>
            <a:r>
              <a:rPr lang="en-US" sz="1050" b="1" noProof="1" smtClean="0">
                <a:solidFill>
                  <a:srgbClr val="FFFFFF"/>
                </a:solidFill>
              </a:rPr>
              <a:t>14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2" name="Textfeld 111"/>
          <p:cNvSpPr txBox="1"/>
          <p:nvPr/>
        </p:nvSpPr>
        <p:spPr bwMode="gray">
          <a:xfrm>
            <a:off x="6177798" y="4061975"/>
            <a:ext cx="11120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hedonistic 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15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3" name="Textfeld 112"/>
          <p:cNvSpPr txBox="1"/>
          <p:nvPr/>
        </p:nvSpPr>
        <p:spPr bwMode="gray">
          <a:xfrm>
            <a:off x="3942974" y="4428920"/>
            <a:ext cx="11120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precarious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9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4" name="Textfeld 113"/>
          <p:cNvSpPr txBox="1"/>
          <p:nvPr/>
        </p:nvSpPr>
        <p:spPr bwMode="gray">
          <a:xfrm>
            <a:off x="6065308" y="2983091"/>
            <a:ext cx="111200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adaptive pragmatically 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9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5" name="Textfeld 114"/>
          <p:cNvSpPr txBox="1"/>
          <p:nvPr/>
        </p:nvSpPr>
        <p:spPr bwMode="gray">
          <a:xfrm>
            <a:off x="2115279" y="3600377"/>
            <a:ext cx="12716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traditional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15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6" name="Textfeld 115"/>
          <p:cNvSpPr txBox="1"/>
          <p:nvPr/>
        </p:nvSpPr>
        <p:spPr bwMode="gray">
          <a:xfrm>
            <a:off x="6065308" y="1961832"/>
            <a:ext cx="11120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performer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7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7" name="Textfeld 116"/>
          <p:cNvSpPr txBox="1"/>
          <p:nvPr/>
        </p:nvSpPr>
        <p:spPr bwMode="gray">
          <a:xfrm>
            <a:off x="4643438" y="1807210"/>
            <a:ext cx="111200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liberal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intellectual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7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8" name="Textfeld 117"/>
          <p:cNvSpPr txBox="1"/>
          <p:nvPr/>
        </p:nvSpPr>
        <p:spPr bwMode="gray">
          <a:xfrm>
            <a:off x="4440767" y="2617383"/>
            <a:ext cx="131467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socioenvironmental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7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  <p:sp>
        <p:nvSpPr>
          <p:cNvPr id="119" name="Textfeld 118"/>
          <p:cNvSpPr txBox="1"/>
          <p:nvPr/>
        </p:nvSpPr>
        <p:spPr bwMode="gray">
          <a:xfrm>
            <a:off x="7177310" y="2361050"/>
            <a:ext cx="11120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Expeditiv</a:t>
            </a:r>
          </a:p>
          <a:p>
            <a:pPr algn="ctr"/>
            <a:r>
              <a:rPr lang="en-US" sz="1050" b="1" noProof="1" smtClean="0">
                <a:solidFill>
                  <a:srgbClr val="FFFFFF"/>
                </a:solidFill>
              </a:rPr>
              <a:t>6 %</a:t>
            </a:r>
            <a:endParaRPr lang="en-US" sz="1050" b="1" noProof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39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Groups according to </a:t>
            </a:r>
            <a:r>
              <a:rPr lang="en-US" smtClean="0"/>
              <a:t>EuroSocioStyles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Characterization according to GfK</a:t>
            </a:r>
            <a:endParaRPr lang="en-US"/>
          </a:p>
        </p:txBody>
      </p: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80920"/>
              </p:ext>
            </p:extLst>
          </p:nvPr>
        </p:nvGraphicFramePr>
        <p:xfrm>
          <a:off x="324641" y="1554952"/>
          <a:ext cx="8495508" cy="424656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528799"/>
                <a:gridCol w="2065020"/>
                <a:gridCol w="5901689"/>
              </a:tblGrid>
              <a:tr h="359270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dirty="0" smtClean="0"/>
                        <a:t>No: </a:t>
                      </a:r>
                      <a:endParaRPr lang="en-US" sz="1200" b="1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noProof="0" smtClean="0"/>
                        <a:t>Type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noProof="0" smtClean="0"/>
                        <a:t>Charakteristika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bg1">
                            <a:lumMod val="8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Go-Ahead-Fellow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ambitious, young, tolerant, crazy, success orient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2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Free-Thinke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in the 40’s, disappointed intellectuals, skeptics, family orient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3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Reforme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active families, pro-European, optimistic, progressive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4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Stabilize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in their 50s, longing back for traditional norm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5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Pilot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dynamic 40’s, economically and socially engag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6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Censo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career disappointed, question the materialism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7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Eldest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conservative notabilities, criticize too much individualism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8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Isolat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older, isolated city-dweller, puritan and passive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9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Guardian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country-folks without hope, conformist, prejudice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0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Preserve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reserved traditionalists, abstentious, anti- European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1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Gambler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young, single originated from common people, material hedonist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2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Bonvivant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modern young, boastful, hedonistic, materialistic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3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Easy-Going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young people, searching for money and succes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4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Safety-Orient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disappointed, from common people, suspicious, uninvolved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9153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smtClean="0"/>
                        <a:t>15</a:t>
                      </a:r>
                      <a:endParaRPr lang="en-US" sz="1200" b="1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smtClean="0"/>
                        <a:t>Unapproachables</a:t>
                      </a:r>
                      <a:endParaRPr lang="en-US" sz="1200" noProof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hardened </a:t>
                      </a:r>
                      <a:r>
                        <a:rPr lang="en-US" sz="1200" noProof="0" dirty="0" err="1" smtClean="0"/>
                        <a:t>cocooner´s</a:t>
                      </a:r>
                      <a:r>
                        <a:rPr lang="en-US" sz="1200" noProof="0" dirty="0" smtClean="0"/>
                        <a:t>, conservative till reactionary</a:t>
                      </a:r>
                      <a:endParaRPr lang="en-US" sz="1200" noProof="0" dirty="0"/>
                    </a:p>
                  </a:txBody>
                  <a:tcPr marT="0" marB="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897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Entry Barrier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Institutional and behavior dependent market entry barriers</a:t>
            </a:r>
            <a:endParaRPr lang="en-US" dirty="0"/>
          </a:p>
        </p:txBody>
      </p:sp>
      <p:grpSp>
        <p:nvGrpSpPr>
          <p:cNvPr id="63" name="Gruppieren 62"/>
          <p:cNvGrpSpPr/>
          <p:nvPr/>
        </p:nvGrpSpPr>
        <p:grpSpPr>
          <a:xfrm>
            <a:off x="558683" y="1554954"/>
            <a:ext cx="8262260" cy="4247359"/>
            <a:chOff x="558683" y="1554954"/>
            <a:chExt cx="8262260" cy="4247359"/>
          </a:xfrm>
        </p:grpSpPr>
        <p:sp>
          <p:nvSpPr>
            <p:cNvPr id="28" name="Rechteck 27"/>
            <p:cNvSpPr/>
            <p:nvPr/>
          </p:nvSpPr>
          <p:spPr bwMode="gray">
            <a:xfrm>
              <a:off x="3479578" y="1554954"/>
              <a:ext cx="2420471" cy="36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FFFFFF"/>
                  </a:solidFill>
                  <a:cs typeface="Arial" charset="0"/>
                </a:rPr>
                <a:t>Market entry barriers</a:t>
              </a:r>
              <a:endParaRPr lang="en-US" sz="1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28"/>
            <p:cNvSpPr/>
            <p:nvPr/>
          </p:nvSpPr>
          <p:spPr bwMode="gray">
            <a:xfrm>
              <a:off x="1307560" y="2086324"/>
              <a:ext cx="2420471" cy="36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1200"/>
                </a:lnSpc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Institutional market entry barriers</a:t>
              </a:r>
              <a:endParaRPr lang="en-US" sz="12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6" name="Rechteck 55"/>
            <p:cNvSpPr/>
            <p:nvPr/>
          </p:nvSpPr>
          <p:spPr bwMode="gray">
            <a:xfrm>
              <a:off x="5651596" y="2086324"/>
              <a:ext cx="2420471" cy="360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ts val="1200"/>
                </a:lnSpc>
                <a:buClr>
                  <a:srgbClr val="969696"/>
                </a:buClr>
                <a:defRPr/>
              </a:pP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Behavior dependent market </a:t>
              </a:r>
              <a:b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200" b="1" noProof="1" smtClean="0">
                  <a:solidFill>
                    <a:srgbClr val="FFFFFF"/>
                  </a:solidFill>
                  <a:cs typeface="Arial" charset="0"/>
                </a:rPr>
                <a:t>entry barriers</a:t>
              </a:r>
            </a:p>
          </p:txBody>
        </p:sp>
        <p:sp>
          <p:nvSpPr>
            <p:cNvPr id="57" name="Rechteck 56"/>
            <p:cNvSpPr/>
            <p:nvPr/>
          </p:nvSpPr>
          <p:spPr bwMode="gray">
            <a:xfrm>
              <a:off x="558683" y="2617695"/>
              <a:ext cx="1746206" cy="30724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b="1" noProof="1" smtClean="0">
                  <a:solidFill>
                    <a:srgbClr val="000000"/>
                  </a:solidFill>
                  <a:cs typeface="Arial" charset="0"/>
                </a:rPr>
                <a:t>Tariff barriers</a:t>
              </a:r>
              <a:endParaRPr lang="en-US" sz="10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2730701" y="2617695"/>
              <a:ext cx="1746206" cy="30724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b="1" noProof="1" smtClean="0">
                  <a:solidFill>
                    <a:srgbClr val="000000"/>
                  </a:solidFill>
                  <a:cs typeface="Arial" charset="0"/>
                </a:rPr>
                <a:t>Non-tariff barriers</a:t>
              </a:r>
            </a:p>
          </p:txBody>
        </p:sp>
        <p:sp>
          <p:nvSpPr>
            <p:cNvPr id="60" name="Rechteck 59"/>
            <p:cNvSpPr/>
            <p:nvPr/>
          </p:nvSpPr>
          <p:spPr bwMode="gray">
            <a:xfrm>
              <a:off x="4902719" y="2617695"/>
              <a:ext cx="1746206" cy="30724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b="1" noProof="1" smtClean="0">
                  <a:solidFill>
                    <a:srgbClr val="000000"/>
                  </a:solidFill>
                  <a:cs typeface="Arial" charset="0"/>
                </a:rPr>
                <a:t>Market side barriers</a:t>
              </a:r>
              <a:endParaRPr lang="en-US" sz="10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" name="Rechteck 60"/>
            <p:cNvSpPr/>
            <p:nvPr/>
          </p:nvSpPr>
          <p:spPr bwMode="gray">
            <a:xfrm>
              <a:off x="7074737" y="2617695"/>
              <a:ext cx="1746206" cy="30724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b="1" noProof="1" smtClean="0">
                  <a:solidFill>
                    <a:srgbClr val="000000"/>
                  </a:solidFill>
                  <a:cs typeface="Arial" charset="0"/>
                </a:rPr>
                <a:t>Company side barriers</a:t>
              </a:r>
              <a:endParaRPr lang="en-US" sz="1000" b="1" noProof="1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67" name="Gewinkelte Verbindung 66"/>
            <p:cNvCxnSpPr>
              <a:stCxn id="57" idx="1"/>
              <a:endCxn id="58" idx="1"/>
            </p:cNvCxnSpPr>
            <p:nvPr/>
          </p:nvCxnSpPr>
          <p:spPr bwMode="gray">
            <a:xfrm rot="10800000" flipH="1" flipV="1">
              <a:off x="558683" y="2771319"/>
              <a:ext cx="172184" cy="430135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winkelte Verbindung 68"/>
            <p:cNvCxnSpPr>
              <a:stCxn id="59" idx="1"/>
              <a:endCxn id="37" idx="1"/>
            </p:cNvCxnSpPr>
            <p:nvPr/>
          </p:nvCxnSpPr>
          <p:spPr bwMode="gray">
            <a:xfrm rot="10800000" flipH="1" flipV="1">
              <a:off x="2730701" y="2771319"/>
              <a:ext cx="172184" cy="430135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winkelte Verbindung 70"/>
            <p:cNvCxnSpPr>
              <a:stCxn id="59" idx="1"/>
              <a:endCxn id="38" idx="1"/>
            </p:cNvCxnSpPr>
            <p:nvPr/>
          </p:nvCxnSpPr>
          <p:spPr bwMode="gray">
            <a:xfrm rot="10800000" flipH="1" flipV="1">
              <a:off x="2730701" y="2771320"/>
              <a:ext cx="172184" cy="909696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winkelte Verbindung 72"/>
            <p:cNvCxnSpPr>
              <a:stCxn id="59" idx="1"/>
              <a:endCxn id="39" idx="1"/>
            </p:cNvCxnSpPr>
            <p:nvPr/>
          </p:nvCxnSpPr>
          <p:spPr bwMode="gray">
            <a:xfrm rot="10800000" flipH="1" flipV="1">
              <a:off x="2730701" y="2771319"/>
              <a:ext cx="172184" cy="1389257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winkelte Verbindung 74"/>
            <p:cNvCxnSpPr>
              <a:stCxn id="59" idx="1"/>
              <a:endCxn id="47" idx="1"/>
            </p:cNvCxnSpPr>
            <p:nvPr/>
          </p:nvCxnSpPr>
          <p:spPr bwMode="gray">
            <a:xfrm rot="10800000" flipH="1" flipV="1">
              <a:off x="2730701" y="2771320"/>
              <a:ext cx="172184" cy="1868818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winkelte Verbindung 76"/>
            <p:cNvCxnSpPr>
              <a:stCxn id="59" idx="1"/>
              <a:endCxn id="48" idx="1"/>
            </p:cNvCxnSpPr>
            <p:nvPr/>
          </p:nvCxnSpPr>
          <p:spPr bwMode="gray">
            <a:xfrm rot="10800000" flipH="1" flipV="1">
              <a:off x="2730701" y="2771319"/>
              <a:ext cx="172184" cy="2348379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winkelte Verbindung 78"/>
            <p:cNvCxnSpPr>
              <a:stCxn id="59" idx="1"/>
              <a:endCxn id="49" idx="1"/>
            </p:cNvCxnSpPr>
            <p:nvPr/>
          </p:nvCxnSpPr>
          <p:spPr bwMode="gray">
            <a:xfrm rot="10800000" flipH="1" flipV="1">
              <a:off x="2730701" y="2771319"/>
              <a:ext cx="172184" cy="2827943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winkelte Verbindung 80"/>
            <p:cNvCxnSpPr>
              <a:stCxn id="60" idx="1"/>
              <a:endCxn id="50" idx="1"/>
            </p:cNvCxnSpPr>
            <p:nvPr/>
          </p:nvCxnSpPr>
          <p:spPr bwMode="gray">
            <a:xfrm rot="10800000" flipH="1" flipV="1">
              <a:off x="4902719" y="2771319"/>
              <a:ext cx="172184" cy="430135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winkelte Verbindung 82"/>
            <p:cNvCxnSpPr>
              <a:stCxn id="60" idx="1"/>
              <a:endCxn id="51" idx="1"/>
            </p:cNvCxnSpPr>
            <p:nvPr/>
          </p:nvCxnSpPr>
          <p:spPr bwMode="gray">
            <a:xfrm rot="10800000" flipH="1" flipV="1">
              <a:off x="4902719" y="2771320"/>
              <a:ext cx="172184" cy="909696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winkelte Verbindung 84"/>
            <p:cNvCxnSpPr>
              <a:stCxn id="60" idx="1"/>
              <a:endCxn id="52" idx="1"/>
            </p:cNvCxnSpPr>
            <p:nvPr/>
          </p:nvCxnSpPr>
          <p:spPr bwMode="gray">
            <a:xfrm rot="10800000" flipH="1" flipV="1">
              <a:off x="4902719" y="2771319"/>
              <a:ext cx="172184" cy="1389257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winkelte Verbindung 86"/>
            <p:cNvCxnSpPr>
              <a:stCxn id="60" idx="1"/>
              <a:endCxn id="53" idx="1"/>
            </p:cNvCxnSpPr>
            <p:nvPr/>
          </p:nvCxnSpPr>
          <p:spPr bwMode="gray">
            <a:xfrm rot="10800000" flipH="1" flipV="1">
              <a:off x="4902719" y="2771320"/>
              <a:ext cx="172184" cy="1868818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winkelte Verbindung 88"/>
            <p:cNvCxnSpPr>
              <a:stCxn id="61" idx="1"/>
              <a:endCxn id="54" idx="1"/>
            </p:cNvCxnSpPr>
            <p:nvPr/>
          </p:nvCxnSpPr>
          <p:spPr bwMode="gray">
            <a:xfrm rot="10800000" flipH="1" flipV="1">
              <a:off x="7074737" y="2771319"/>
              <a:ext cx="172184" cy="430135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winkelte Verbindung 90"/>
            <p:cNvCxnSpPr>
              <a:stCxn id="61" idx="1"/>
              <a:endCxn id="55" idx="1"/>
            </p:cNvCxnSpPr>
            <p:nvPr/>
          </p:nvCxnSpPr>
          <p:spPr bwMode="gray">
            <a:xfrm rot="10800000" flipH="1" flipV="1">
              <a:off x="7074737" y="2771320"/>
              <a:ext cx="172184" cy="909696"/>
            </a:xfrm>
            <a:prstGeom prst="bentConnector3">
              <a:avLst>
                <a:gd name="adj1" fmla="val -132765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hteck 36"/>
            <p:cNvSpPr/>
            <p:nvPr/>
          </p:nvSpPr>
          <p:spPr bwMode="gray">
            <a:xfrm>
              <a:off x="2902885" y="2998404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Import quote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Rechteck 37"/>
            <p:cNvSpPr/>
            <p:nvPr/>
          </p:nvSpPr>
          <p:spPr bwMode="gray">
            <a:xfrm>
              <a:off x="2902885" y="3477965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Capital flows limitation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2902885" y="3957526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Minimum /maximum price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2902885" y="4437087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Local content regulation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" name="Rechteck 47"/>
            <p:cNvSpPr/>
            <p:nvPr/>
          </p:nvSpPr>
          <p:spPr bwMode="gray">
            <a:xfrm>
              <a:off x="2902885" y="4916648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Norms / standard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2902885" y="5396212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Self limitation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0" name="Rechteck 49"/>
            <p:cNvSpPr/>
            <p:nvPr/>
          </p:nvSpPr>
          <p:spPr bwMode="gray">
            <a:xfrm>
              <a:off x="5074903" y="2998404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Demand behavior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5074903" y="3477965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Language / culture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5074903" y="3957526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Distribution system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3" name="Rechteck 52"/>
            <p:cNvSpPr/>
            <p:nvPr/>
          </p:nvSpPr>
          <p:spPr bwMode="gray">
            <a:xfrm>
              <a:off x="5074903" y="4437087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Administrative </a:t>
              </a:r>
              <a:br>
                <a:rPr lang="en-US" sz="1000" smtClean="0"/>
              </a:br>
              <a:r>
                <a:rPr lang="en-US" sz="1000" smtClean="0"/>
                <a:t>constrain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7246921" y="2998404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Information availability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5" name="Rechteck 54"/>
            <p:cNvSpPr/>
            <p:nvPr/>
          </p:nvSpPr>
          <p:spPr bwMode="gray">
            <a:xfrm>
              <a:off x="7246921" y="3477965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Psychological distance </a:t>
              </a:r>
              <a:b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000" noProof="1" smtClean="0">
                  <a:solidFill>
                    <a:srgbClr val="000000"/>
                  </a:solidFill>
                  <a:cs typeface="Arial" charset="0"/>
                </a:rPr>
                <a:t>of management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8" name="Rechteck 57"/>
            <p:cNvSpPr/>
            <p:nvPr/>
          </p:nvSpPr>
          <p:spPr bwMode="gray">
            <a:xfrm>
              <a:off x="730867" y="2998404"/>
              <a:ext cx="1574022" cy="40610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72000" tIns="0" rIns="7200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</a:pPr>
              <a:r>
                <a:rPr lang="en-US" sz="1000" smtClean="0"/>
                <a:t>Tolls</a:t>
              </a:r>
              <a:endParaRPr lang="en-US" sz="1000" noProof="1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64" name="Gewinkelte Verbindung 63"/>
            <p:cNvCxnSpPr>
              <a:stCxn id="29" idx="2"/>
              <a:endCxn id="57" idx="0"/>
            </p:cNvCxnSpPr>
            <p:nvPr/>
          </p:nvCxnSpPr>
          <p:spPr bwMode="gray">
            <a:xfrm rot="5400000">
              <a:off x="1889106" y="1989004"/>
              <a:ext cx="171371" cy="10860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winkelte Verbindung 65"/>
            <p:cNvCxnSpPr>
              <a:stCxn id="29" idx="2"/>
              <a:endCxn id="59" idx="0"/>
            </p:cNvCxnSpPr>
            <p:nvPr/>
          </p:nvCxnSpPr>
          <p:spPr bwMode="gray">
            <a:xfrm rot="16200000" flipH="1">
              <a:off x="2975115" y="1989005"/>
              <a:ext cx="171371" cy="108600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winkelte Verbindung 69"/>
            <p:cNvCxnSpPr>
              <a:stCxn id="56" idx="2"/>
              <a:endCxn id="60" idx="0"/>
            </p:cNvCxnSpPr>
            <p:nvPr/>
          </p:nvCxnSpPr>
          <p:spPr bwMode="gray">
            <a:xfrm rot="5400000">
              <a:off x="6233142" y="1989004"/>
              <a:ext cx="171371" cy="108601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winkelte Verbindung 73"/>
            <p:cNvCxnSpPr>
              <a:stCxn id="56" idx="2"/>
              <a:endCxn id="61" idx="0"/>
            </p:cNvCxnSpPr>
            <p:nvPr/>
          </p:nvCxnSpPr>
          <p:spPr bwMode="gray">
            <a:xfrm rot="16200000" flipH="1">
              <a:off x="7319151" y="1989005"/>
              <a:ext cx="171371" cy="108600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winkelte Verbindung 77"/>
            <p:cNvCxnSpPr>
              <a:stCxn id="28" idx="2"/>
              <a:endCxn id="29" idx="0"/>
            </p:cNvCxnSpPr>
            <p:nvPr/>
          </p:nvCxnSpPr>
          <p:spPr bwMode="gray">
            <a:xfrm rot="5400000">
              <a:off x="3518120" y="914630"/>
              <a:ext cx="171370" cy="217201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winkelte Verbindung 81"/>
            <p:cNvCxnSpPr>
              <a:stCxn id="28" idx="2"/>
              <a:endCxn id="56" idx="0"/>
            </p:cNvCxnSpPr>
            <p:nvPr/>
          </p:nvCxnSpPr>
          <p:spPr bwMode="gray">
            <a:xfrm rot="16200000" flipH="1">
              <a:off x="5690138" y="914630"/>
              <a:ext cx="171370" cy="217201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96969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5770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Values and Lifestyles (VALS)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ystem of lifestyle-typology of consumer</a:t>
            </a:r>
            <a:endParaRPr lang="en-US" noProof="1"/>
          </a:p>
        </p:txBody>
      </p:sp>
      <p:grpSp>
        <p:nvGrpSpPr>
          <p:cNvPr id="4" name="Gruppieren 25"/>
          <p:cNvGrpSpPr/>
          <p:nvPr/>
        </p:nvGrpSpPr>
        <p:grpSpPr>
          <a:xfrm>
            <a:off x="323850" y="1555750"/>
            <a:ext cx="8497092" cy="2895736"/>
            <a:chOff x="323850" y="1555750"/>
            <a:chExt cx="8497092" cy="2895736"/>
          </a:xfrm>
        </p:grpSpPr>
        <p:sp>
          <p:nvSpPr>
            <p:cNvPr id="5" name="Rechteck 4"/>
            <p:cNvSpPr/>
            <p:nvPr/>
          </p:nvSpPr>
          <p:spPr bwMode="gray">
            <a:xfrm>
              <a:off x="2178756" y="1555750"/>
              <a:ext cx="4775200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VALS Typology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2178756" y="1916113"/>
              <a:ext cx="4775200" cy="3603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noProof="1" smtClean="0">
                  <a:solidFill>
                    <a:srgbClr val="000000"/>
                  </a:solidFill>
                  <a:cs typeface="Arial" charset="0"/>
                </a:rPr>
                <a:t>Values and Lifestyles (VALS)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323850" y="2967742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Extroverts</a:t>
              </a: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323850" y="3328105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Achievers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3279858" y="2967742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Notleidende</a:t>
              </a: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6235865" y="2967742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646464"/>
                </a:gs>
                <a:gs pos="100000">
                  <a:srgbClr val="969696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Introverts</a:t>
              </a: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323850" y="3688468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Emulators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hteck 28"/>
            <p:cNvSpPr/>
            <p:nvPr/>
          </p:nvSpPr>
          <p:spPr bwMode="gray">
            <a:xfrm>
              <a:off x="323850" y="4048831"/>
              <a:ext cx="2585077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Belongers</a:t>
              </a: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6" name="Gruppieren 23"/>
            <p:cNvGrpSpPr/>
            <p:nvPr/>
          </p:nvGrpSpPr>
          <p:grpSpPr>
            <a:xfrm>
              <a:off x="3279858" y="3328104"/>
              <a:ext cx="2585077" cy="748921"/>
              <a:chOff x="3279858" y="3328105"/>
              <a:chExt cx="2585077" cy="720726"/>
            </a:xfrm>
          </p:grpSpPr>
          <p:sp>
            <p:nvSpPr>
              <p:cNvPr id="30" name="Rechteck 29"/>
              <p:cNvSpPr/>
              <p:nvPr/>
            </p:nvSpPr>
            <p:spPr bwMode="gray">
              <a:xfrm>
                <a:off x="3279858" y="3328105"/>
                <a:ext cx="258507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Sustainers</a:t>
                </a: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 bwMode="gray">
              <a:xfrm>
                <a:off x="3279858" y="3688468"/>
                <a:ext cx="2585077" cy="360363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Survivors</a:t>
                </a: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7" name="Gruppieren 26"/>
            <p:cNvGrpSpPr/>
            <p:nvPr/>
          </p:nvGrpSpPr>
          <p:grpSpPr bwMode="gray">
            <a:xfrm>
              <a:off x="6235073" y="3328105"/>
              <a:ext cx="2585077" cy="1123381"/>
              <a:chOff x="6235073" y="3328105"/>
              <a:chExt cx="2585077" cy="1530351"/>
            </a:xfrm>
          </p:grpSpPr>
          <p:sp>
            <p:nvSpPr>
              <p:cNvPr id="33" name="Rechteck 32"/>
              <p:cNvSpPr/>
              <p:nvPr/>
            </p:nvSpPr>
            <p:spPr bwMode="gray">
              <a:xfrm>
                <a:off x="6235073" y="3328105"/>
                <a:ext cx="2585077" cy="51011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Socially-Conscious</a:t>
                </a: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6" name="Rechteck 35"/>
              <p:cNvSpPr/>
              <p:nvPr/>
            </p:nvSpPr>
            <p:spPr bwMode="gray">
              <a:xfrm>
                <a:off x="6235073" y="3838222"/>
                <a:ext cx="2585077" cy="51011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Experimentals</a:t>
                </a: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" name="Rechteck 36"/>
              <p:cNvSpPr/>
              <p:nvPr/>
            </p:nvSpPr>
            <p:spPr bwMode="gray">
              <a:xfrm>
                <a:off x="6235073" y="4348339"/>
                <a:ext cx="2585077" cy="510117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I-am-me´s</a:t>
                </a:r>
                <a:endParaRPr lang="en-US" sz="1400" noProof="1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cxnSp>
          <p:nvCxnSpPr>
            <p:cNvPr id="16385" name="Gewinkelte Verbindung 16384"/>
            <p:cNvCxnSpPr>
              <a:stCxn id="17" idx="2"/>
              <a:endCxn id="25" idx="0"/>
            </p:cNvCxnSpPr>
            <p:nvPr/>
          </p:nvCxnSpPr>
          <p:spPr bwMode="gray">
            <a:xfrm rot="16200000" flipH="1">
              <a:off x="5701747" y="1141085"/>
              <a:ext cx="691266" cy="2962048"/>
            </a:xfrm>
            <a:prstGeom prst="bentConnector3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93" name="Gewinkelte Verbindung 16392"/>
            <p:cNvCxnSpPr>
              <a:stCxn id="17" idx="2"/>
              <a:endCxn id="18" idx="0"/>
            </p:cNvCxnSpPr>
            <p:nvPr/>
          </p:nvCxnSpPr>
          <p:spPr bwMode="gray">
            <a:xfrm rot="5400000">
              <a:off x="2745740" y="1147126"/>
              <a:ext cx="691266" cy="2949967"/>
            </a:xfrm>
            <a:prstGeom prst="bentConnector3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95" name="Gerade Verbindung 16394"/>
            <p:cNvCxnSpPr/>
            <p:nvPr/>
          </p:nvCxnSpPr>
          <p:spPr bwMode="gray">
            <a:xfrm>
              <a:off x="4563975" y="2276476"/>
              <a:ext cx="6041" cy="691266"/>
            </a:xfrm>
            <a:prstGeom prst="line">
              <a:avLst/>
            </a:prstGeom>
            <a:ln w="12700">
              <a:solidFill>
                <a:srgbClr val="C0C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4157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/>
          <p:cNvGrpSpPr/>
          <p:nvPr/>
        </p:nvGrpSpPr>
        <p:grpSpPr bwMode="gray">
          <a:xfrm>
            <a:off x="0" y="4225280"/>
            <a:ext cx="9144000" cy="1341120"/>
            <a:chOff x="0" y="4236720"/>
            <a:chExt cx="9144000" cy="1341120"/>
          </a:xfrm>
        </p:grpSpPr>
        <p:sp>
          <p:nvSpPr>
            <p:cNvPr id="18" name="Rechteck 17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noProof="1"/>
            </a:p>
          </p:txBody>
        </p:sp>
        <p:sp>
          <p:nvSpPr>
            <p:cNvPr id="19" name="Rechteck 18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ve Advantage 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>
          <a:xfrm>
            <a:off x="323850" y="854994"/>
            <a:ext cx="8667750" cy="336244"/>
          </a:xfrm>
        </p:spPr>
        <p:txBody>
          <a:bodyPr/>
          <a:lstStyle/>
          <a:p>
            <a:r>
              <a:rPr lang="en-US" noProof="1" smtClean="0"/>
              <a:t>Representation of the thre influencial factors customers, organization </a:t>
            </a:r>
            <a:br>
              <a:rPr lang="en-US" noProof="1" smtClean="0"/>
            </a:br>
            <a:r>
              <a:rPr lang="en-US" noProof="1" smtClean="0"/>
              <a:t>and competition</a:t>
            </a:r>
            <a:endParaRPr lang="en-US" noProof="1"/>
          </a:p>
        </p:txBody>
      </p:sp>
      <p:grpSp>
        <p:nvGrpSpPr>
          <p:cNvPr id="28" name="Gruppieren 27"/>
          <p:cNvGrpSpPr/>
          <p:nvPr/>
        </p:nvGrpSpPr>
        <p:grpSpPr>
          <a:xfrm>
            <a:off x="2431695" y="1555749"/>
            <a:ext cx="4280611" cy="4280611"/>
            <a:chOff x="2431695" y="1555749"/>
            <a:chExt cx="4280611" cy="4280611"/>
          </a:xfrm>
          <a:effectLst>
            <a:outerShdw blurRad="4318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grpSpPr>
        <p:grpSp>
          <p:nvGrpSpPr>
            <p:cNvPr id="5" name="Gruppieren 21"/>
            <p:cNvGrpSpPr/>
            <p:nvPr/>
          </p:nvGrpSpPr>
          <p:grpSpPr bwMode="gray">
            <a:xfrm rot="1326254">
              <a:off x="2431695" y="1555749"/>
              <a:ext cx="4280611" cy="4280611"/>
              <a:chOff x="7937501" y="1987551"/>
              <a:chExt cx="5530850" cy="5530850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54" name="Freeform 6"/>
              <p:cNvSpPr>
                <a:spLocks/>
              </p:cNvSpPr>
              <p:nvPr/>
            </p:nvSpPr>
            <p:spPr bwMode="gray">
              <a:xfrm>
                <a:off x="8304213" y="1987551"/>
                <a:ext cx="4794250" cy="2981325"/>
              </a:xfrm>
              <a:custGeom>
                <a:avLst/>
                <a:gdLst/>
                <a:ahLst/>
                <a:cxnLst>
                  <a:cxn ang="0">
                    <a:pos x="639" y="0"/>
                  </a:cxn>
                  <a:cxn ang="0">
                    <a:pos x="0" y="368"/>
                  </a:cxn>
                  <a:cxn ang="0">
                    <a:pos x="204" y="486"/>
                  </a:cxn>
                  <a:cxn ang="0">
                    <a:pos x="204" y="486"/>
                  </a:cxn>
                  <a:cxn ang="0">
                    <a:pos x="204" y="486"/>
                  </a:cxn>
                  <a:cxn ang="0">
                    <a:pos x="210" y="490"/>
                  </a:cxn>
                  <a:cxn ang="0">
                    <a:pos x="221" y="548"/>
                  </a:cxn>
                  <a:cxn ang="0">
                    <a:pos x="193" y="569"/>
                  </a:cxn>
                  <a:cxn ang="0">
                    <a:pos x="149" y="612"/>
                  </a:cxn>
                  <a:cxn ang="0">
                    <a:pos x="190" y="765"/>
                  </a:cxn>
                  <a:cxn ang="0">
                    <a:pos x="343" y="724"/>
                  </a:cxn>
                  <a:cxn ang="0">
                    <a:pos x="357" y="661"/>
                  </a:cxn>
                  <a:cxn ang="0">
                    <a:pos x="363" y="630"/>
                  </a:cxn>
                  <a:cxn ang="0">
                    <a:pos x="416" y="610"/>
                  </a:cxn>
                  <a:cxn ang="0">
                    <a:pos x="418" y="610"/>
                  </a:cxn>
                  <a:cxn ang="0">
                    <a:pos x="425" y="613"/>
                  </a:cxn>
                  <a:cxn ang="0">
                    <a:pos x="639" y="737"/>
                  </a:cxn>
                  <a:cxn ang="0">
                    <a:pos x="854" y="613"/>
                  </a:cxn>
                  <a:cxn ang="0">
                    <a:pos x="854" y="613"/>
                  </a:cxn>
                  <a:cxn ang="0">
                    <a:pos x="854" y="613"/>
                  </a:cxn>
                  <a:cxn ang="0">
                    <a:pos x="860" y="609"/>
                  </a:cxn>
                  <a:cxn ang="0">
                    <a:pos x="871" y="551"/>
                  </a:cxn>
                  <a:cxn ang="0">
                    <a:pos x="843" y="530"/>
                  </a:cxn>
                  <a:cxn ang="0">
                    <a:pos x="799" y="487"/>
                  </a:cxn>
                  <a:cxn ang="0">
                    <a:pos x="840" y="334"/>
                  </a:cxn>
                  <a:cxn ang="0">
                    <a:pos x="993" y="375"/>
                  </a:cxn>
                  <a:cxn ang="0">
                    <a:pos x="1007" y="438"/>
                  </a:cxn>
                  <a:cxn ang="0">
                    <a:pos x="1013" y="469"/>
                  </a:cxn>
                  <a:cxn ang="0">
                    <a:pos x="1067" y="489"/>
                  </a:cxn>
                  <a:cxn ang="0">
                    <a:pos x="1068" y="489"/>
                  </a:cxn>
                  <a:cxn ang="0">
                    <a:pos x="1075" y="486"/>
                  </a:cxn>
                  <a:cxn ang="0">
                    <a:pos x="1278" y="368"/>
                  </a:cxn>
                  <a:cxn ang="0">
                    <a:pos x="639" y="0"/>
                  </a:cxn>
                </a:cxnLst>
                <a:rect l="0" t="0" r="r" b="b"/>
                <a:pathLst>
                  <a:path w="1278" h="795">
                    <a:moveTo>
                      <a:pt x="639" y="0"/>
                    </a:moveTo>
                    <a:cubicBezTo>
                      <a:pt x="366" y="0"/>
                      <a:pt x="128" y="148"/>
                      <a:pt x="0" y="368"/>
                    </a:cubicBezTo>
                    <a:cubicBezTo>
                      <a:pt x="204" y="486"/>
                      <a:pt x="204" y="486"/>
                      <a:pt x="204" y="486"/>
                    </a:cubicBezTo>
                    <a:cubicBezTo>
                      <a:pt x="204" y="486"/>
                      <a:pt x="204" y="486"/>
                      <a:pt x="204" y="486"/>
                    </a:cubicBezTo>
                    <a:cubicBezTo>
                      <a:pt x="204" y="486"/>
                      <a:pt x="204" y="486"/>
                      <a:pt x="204" y="486"/>
                    </a:cubicBezTo>
                    <a:cubicBezTo>
                      <a:pt x="206" y="487"/>
                      <a:pt x="208" y="489"/>
                      <a:pt x="210" y="490"/>
                    </a:cubicBezTo>
                    <a:cubicBezTo>
                      <a:pt x="227" y="504"/>
                      <a:pt x="232" y="528"/>
                      <a:pt x="221" y="548"/>
                    </a:cubicBezTo>
                    <a:cubicBezTo>
                      <a:pt x="214" y="559"/>
                      <a:pt x="204" y="566"/>
                      <a:pt x="193" y="569"/>
                    </a:cubicBezTo>
                    <a:cubicBezTo>
                      <a:pt x="175" y="579"/>
                      <a:pt x="160" y="593"/>
                      <a:pt x="149" y="612"/>
                    </a:cubicBezTo>
                    <a:cubicBezTo>
                      <a:pt x="118" y="665"/>
                      <a:pt x="136" y="734"/>
                      <a:pt x="190" y="765"/>
                    </a:cubicBezTo>
                    <a:cubicBezTo>
                      <a:pt x="243" y="795"/>
                      <a:pt x="312" y="777"/>
                      <a:pt x="343" y="724"/>
                    </a:cubicBezTo>
                    <a:cubicBezTo>
                      <a:pt x="354" y="704"/>
                      <a:pt x="359" y="682"/>
                      <a:pt x="357" y="661"/>
                    </a:cubicBezTo>
                    <a:cubicBezTo>
                      <a:pt x="355" y="651"/>
                      <a:pt x="357" y="640"/>
                      <a:pt x="363" y="630"/>
                    </a:cubicBezTo>
                    <a:cubicBezTo>
                      <a:pt x="374" y="611"/>
                      <a:pt x="396" y="603"/>
                      <a:pt x="416" y="610"/>
                    </a:cubicBezTo>
                    <a:cubicBezTo>
                      <a:pt x="417" y="610"/>
                      <a:pt x="418" y="610"/>
                      <a:pt x="418" y="610"/>
                    </a:cubicBezTo>
                    <a:cubicBezTo>
                      <a:pt x="420" y="611"/>
                      <a:pt x="423" y="612"/>
                      <a:pt x="425" y="613"/>
                    </a:cubicBezTo>
                    <a:cubicBezTo>
                      <a:pt x="639" y="737"/>
                      <a:pt x="639" y="737"/>
                      <a:pt x="639" y="737"/>
                    </a:cubicBezTo>
                    <a:cubicBezTo>
                      <a:pt x="854" y="613"/>
                      <a:pt x="854" y="613"/>
                      <a:pt x="854" y="613"/>
                    </a:cubicBezTo>
                    <a:cubicBezTo>
                      <a:pt x="854" y="613"/>
                      <a:pt x="854" y="613"/>
                      <a:pt x="854" y="613"/>
                    </a:cubicBezTo>
                    <a:cubicBezTo>
                      <a:pt x="854" y="613"/>
                      <a:pt x="854" y="613"/>
                      <a:pt x="854" y="613"/>
                    </a:cubicBezTo>
                    <a:cubicBezTo>
                      <a:pt x="856" y="612"/>
                      <a:pt x="858" y="610"/>
                      <a:pt x="860" y="609"/>
                    </a:cubicBezTo>
                    <a:cubicBezTo>
                      <a:pt x="877" y="595"/>
                      <a:pt x="882" y="570"/>
                      <a:pt x="871" y="551"/>
                    </a:cubicBezTo>
                    <a:cubicBezTo>
                      <a:pt x="865" y="540"/>
                      <a:pt x="854" y="533"/>
                      <a:pt x="843" y="530"/>
                    </a:cubicBezTo>
                    <a:cubicBezTo>
                      <a:pt x="825" y="520"/>
                      <a:pt x="810" y="506"/>
                      <a:pt x="799" y="487"/>
                    </a:cubicBezTo>
                    <a:cubicBezTo>
                      <a:pt x="768" y="433"/>
                      <a:pt x="787" y="365"/>
                      <a:pt x="840" y="334"/>
                    </a:cubicBezTo>
                    <a:cubicBezTo>
                      <a:pt x="893" y="303"/>
                      <a:pt x="962" y="322"/>
                      <a:pt x="993" y="375"/>
                    </a:cubicBezTo>
                    <a:cubicBezTo>
                      <a:pt x="1004" y="395"/>
                      <a:pt x="1009" y="417"/>
                      <a:pt x="1007" y="438"/>
                    </a:cubicBezTo>
                    <a:cubicBezTo>
                      <a:pt x="1005" y="448"/>
                      <a:pt x="1007" y="459"/>
                      <a:pt x="1013" y="469"/>
                    </a:cubicBezTo>
                    <a:cubicBezTo>
                      <a:pt x="1024" y="488"/>
                      <a:pt x="1046" y="496"/>
                      <a:pt x="1067" y="489"/>
                    </a:cubicBezTo>
                    <a:cubicBezTo>
                      <a:pt x="1067" y="489"/>
                      <a:pt x="1068" y="489"/>
                      <a:pt x="1068" y="489"/>
                    </a:cubicBezTo>
                    <a:cubicBezTo>
                      <a:pt x="1070" y="488"/>
                      <a:pt x="1073" y="487"/>
                      <a:pt x="1075" y="486"/>
                    </a:cubicBezTo>
                    <a:cubicBezTo>
                      <a:pt x="1278" y="368"/>
                      <a:pt x="1278" y="368"/>
                      <a:pt x="1278" y="368"/>
                    </a:cubicBezTo>
                    <a:cubicBezTo>
                      <a:pt x="1150" y="148"/>
                      <a:pt x="912" y="0"/>
                      <a:pt x="639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94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txBody>
              <a:bodyPr lIns="36000" tIns="36000" rIns="36000" bIns="36000" anchor="ctr" anchorCtr="0"/>
              <a:lstStyle/>
              <a:p>
                <a:pPr algn="ctr">
                  <a:defRPr/>
                </a:pPr>
                <a:endParaRPr lang="en-US" sz="1400" b="1" noProof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5" name="Freeform 7"/>
              <p:cNvSpPr>
                <a:spLocks/>
              </p:cNvSpPr>
              <p:nvPr/>
            </p:nvSpPr>
            <p:spPr bwMode="gray">
              <a:xfrm>
                <a:off x="7937501" y="3367088"/>
                <a:ext cx="3697288" cy="4151313"/>
              </a:xfrm>
              <a:custGeom>
                <a:avLst/>
                <a:gdLst/>
                <a:ahLst/>
                <a:cxnLst>
                  <a:cxn ang="0">
                    <a:pos x="738" y="865"/>
                  </a:cxn>
                  <a:cxn ang="0">
                    <a:pos x="738" y="863"/>
                  </a:cxn>
                  <a:cxn ang="0">
                    <a:pos x="783" y="827"/>
                  </a:cxn>
                  <a:cxn ang="0">
                    <a:pos x="812" y="838"/>
                  </a:cxn>
                  <a:cxn ang="0">
                    <a:pos x="874" y="856"/>
                  </a:cxn>
                  <a:cxn ang="0">
                    <a:pos x="986" y="744"/>
                  </a:cxn>
                  <a:cxn ang="0">
                    <a:pos x="874" y="633"/>
                  </a:cxn>
                  <a:cxn ang="0">
                    <a:pos x="815" y="650"/>
                  </a:cxn>
                  <a:cxn ang="0">
                    <a:pos x="783" y="663"/>
                  </a:cxn>
                  <a:cxn ang="0">
                    <a:pos x="738" y="625"/>
                  </a:cxn>
                  <a:cxn ang="0">
                    <a:pos x="737" y="617"/>
                  </a:cxn>
                  <a:cxn ang="0">
                    <a:pos x="737" y="617"/>
                  </a:cxn>
                  <a:cxn ang="0">
                    <a:pos x="737" y="617"/>
                  </a:cxn>
                  <a:cxn ang="0">
                    <a:pos x="737" y="369"/>
                  </a:cxn>
                  <a:cxn ang="0">
                    <a:pos x="523" y="245"/>
                  </a:cxn>
                  <a:cxn ang="0">
                    <a:pos x="516" y="242"/>
                  </a:cxn>
                  <a:cxn ang="0">
                    <a:pos x="514" y="242"/>
                  </a:cxn>
                  <a:cxn ang="0">
                    <a:pos x="461" y="262"/>
                  </a:cxn>
                  <a:cxn ang="0">
                    <a:pos x="455" y="293"/>
                  </a:cxn>
                  <a:cxn ang="0">
                    <a:pos x="441" y="356"/>
                  </a:cxn>
                  <a:cxn ang="0">
                    <a:pos x="288" y="397"/>
                  </a:cxn>
                  <a:cxn ang="0">
                    <a:pos x="247" y="244"/>
                  </a:cxn>
                  <a:cxn ang="0">
                    <a:pos x="291" y="201"/>
                  </a:cxn>
                  <a:cxn ang="0">
                    <a:pos x="319" y="180"/>
                  </a:cxn>
                  <a:cxn ang="0">
                    <a:pos x="308" y="122"/>
                  </a:cxn>
                  <a:cxn ang="0">
                    <a:pos x="302" y="118"/>
                  </a:cxn>
                  <a:cxn ang="0">
                    <a:pos x="302" y="118"/>
                  </a:cxn>
                  <a:cxn ang="0">
                    <a:pos x="302" y="118"/>
                  </a:cxn>
                  <a:cxn ang="0">
                    <a:pos x="98" y="0"/>
                  </a:cxn>
                  <a:cxn ang="0">
                    <a:pos x="0" y="369"/>
                  </a:cxn>
                  <a:cxn ang="0">
                    <a:pos x="737" y="1107"/>
                  </a:cxn>
                  <a:cxn ang="0">
                    <a:pos x="737" y="872"/>
                  </a:cxn>
                  <a:cxn ang="0">
                    <a:pos x="738" y="865"/>
                  </a:cxn>
                </a:cxnLst>
                <a:rect l="0" t="0" r="r" b="b"/>
                <a:pathLst>
                  <a:path w="986" h="1107">
                    <a:moveTo>
                      <a:pt x="738" y="865"/>
                    </a:moveTo>
                    <a:cubicBezTo>
                      <a:pt x="738" y="864"/>
                      <a:pt x="738" y="864"/>
                      <a:pt x="738" y="863"/>
                    </a:cubicBezTo>
                    <a:cubicBezTo>
                      <a:pt x="742" y="842"/>
                      <a:pt x="761" y="827"/>
                      <a:pt x="783" y="827"/>
                    </a:cubicBezTo>
                    <a:cubicBezTo>
                      <a:pt x="794" y="827"/>
                      <a:pt x="804" y="831"/>
                      <a:pt x="812" y="838"/>
                    </a:cubicBezTo>
                    <a:cubicBezTo>
                      <a:pt x="830" y="849"/>
                      <a:pt x="851" y="856"/>
                      <a:pt x="874" y="856"/>
                    </a:cubicBezTo>
                    <a:cubicBezTo>
                      <a:pt x="936" y="856"/>
                      <a:pt x="986" y="806"/>
                      <a:pt x="986" y="744"/>
                    </a:cubicBezTo>
                    <a:cubicBezTo>
                      <a:pt x="986" y="683"/>
                      <a:pt x="936" y="633"/>
                      <a:pt x="874" y="633"/>
                    </a:cubicBezTo>
                    <a:cubicBezTo>
                      <a:pt x="852" y="633"/>
                      <a:pt x="832" y="639"/>
                      <a:pt x="815" y="650"/>
                    </a:cubicBezTo>
                    <a:cubicBezTo>
                      <a:pt x="807" y="658"/>
                      <a:pt x="795" y="663"/>
                      <a:pt x="783" y="663"/>
                    </a:cubicBezTo>
                    <a:cubicBezTo>
                      <a:pt x="760" y="663"/>
                      <a:pt x="741" y="646"/>
                      <a:pt x="738" y="625"/>
                    </a:cubicBezTo>
                    <a:cubicBezTo>
                      <a:pt x="737" y="622"/>
                      <a:pt x="737" y="620"/>
                      <a:pt x="737" y="617"/>
                    </a:cubicBezTo>
                    <a:cubicBezTo>
                      <a:pt x="737" y="617"/>
                      <a:pt x="737" y="617"/>
                      <a:pt x="737" y="617"/>
                    </a:cubicBezTo>
                    <a:cubicBezTo>
                      <a:pt x="737" y="617"/>
                      <a:pt x="737" y="617"/>
                      <a:pt x="737" y="617"/>
                    </a:cubicBezTo>
                    <a:cubicBezTo>
                      <a:pt x="737" y="369"/>
                      <a:pt x="737" y="369"/>
                      <a:pt x="737" y="369"/>
                    </a:cubicBezTo>
                    <a:cubicBezTo>
                      <a:pt x="523" y="245"/>
                      <a:pt x="523" y="245"/>
                      <a:pt x="523" y="245"/>
                    </a:cubicBezTo>
                    <a:cubicBezTo>
                      <a:pt x="521" y="244"/>
                      <a:pt x="518" y="243"/>
                      <a:pt x="516" y="242"/>
                    </a:cubicBezTo>
                    <a:cubicBezTo>
                      <a:pt x="516" y="242"/>
                      <a:pt x="515" y="242"/>
                      <a:pt x="514" y="242"/>
                    </a:cubicBezTo>
                    <a:cubicBezTo>
                      <a:pt x="494" y="235"/>
                      <a:pt x="472" y="243"/>
                      <a:pt x="461" y="262"/>
                    </a:cubicBezTo>
                    <a:cubicBezTo>
                      <a:pt x="455" y="272"/>
                      <a:pt x="453" y="283"/>
                      <a:pt x="455" y="293"/>
                    </a:cubicBezTo>
                    <a:cubicBezTo>
                      <a:pt x="457" y="314"/>
                      <a:pt x="452" y="336"/>
                      <a:pt x="441" y="356"/>
                    </a:cubicBezTo>
                    <a:cubicBezTo>
                      <a:pt x="410" y="409"/>
                      <a:pt x="341" y="427"/>
                      <a:pt x="288" y="397"/>
                    </a:cubicBezTo>
                    <a:cubicBezTo>
                      <a:pt x="234" y="366"/>
                      <a:pt x="216" y="297"/>
                      <a:pt x="247" y="244"/>
                    </a:cubicBezTo>
                    <a:cubicBezTo>
                      <a:pt x="258" y="225"/>
                      <a:pt x="273" y="211"/>
                      <a:pt x="291" y="201"/>
                    </a:cubicBezTo>
                    <a:cubicBezTo>
                      <a:pt x="302" y="198"/>
                      <a:pt x="312" y="191"/>
                      <a:pt x="319" y="180"/>
                    </a:cubicBezTo>
                    <a:cubicBezTo>
                      <a:pt x="330" y="160"/>
                      <a:pt x="325" y="136"/>
                      <a:pt x="308" y="122"/>
                    </a:cubicBezTo>
                    <a:cubicBezTo>
                      <a:pt x="306" y="121"/>
                      <a:pt x="304" y="119"/>
                      <a:pt x="302" y="118"/>
                    </a:cubicBezTo>
                    <a:cubicBezTo>
                      <a:pt x="302" y="118"/>
                      <a:pt x="302" y="118"/>
                      <a:pt x="302" y="118"/>
                    </a:cubicBezTo>
                    <a:cubicBezTo>
                      <a:pt x="302" y="118"/>
                      <a:pt x="302" y="118"/>
                      <a:pt x="302" y="118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36" y="109"/>
                      <a:pt x="0" y="235"/>
                      <a:pt x="0" y="369"/>
                    </a:cubicBezTo>
                    <a:cubicBezTo>
                      <a:pt x="0" y="776"/>
                      <a:pt x="330" y="1107"/>
                      <a:pt x="737" y="1107"/>
                    </a:cubicBezTo>
                    <a:cubicBezTo>
                      <a:pt x="737" y="872"/>
                      <a:pt x="737" y="872"/>
                      <a:pt x="737" y="872"/>
                    </a:cubicBezTo>
                    <a:cubicBezTo>
                      <a:pt x="737" y="870"/>
                      <a:pt x="737" y="867"/>
                      <a:pt x="738" y="8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94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txBody>
              <a:bodyPr lIns="36000" tIns="36000" rIns="36000" bIns="36000" anchor="ctr" anchorCtr="0"/>
              <a:lstStyle/>
              <a:p>
                <a:pPr algn="ctr">
                  <a:defRPr/>
                </a:pPr>
                <a:endParaRPr lang="en-US" sz="1400" b="1" noProof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6" name="Freeform 8"/>
              <p:cNvSpPr>
                <a:spLocks/>
              </p:cNvSpPr>
              <p:nvPr/>
            </p:nvSpPr>
            <p:spPr bwMode="gray">
              <a:xfrm>
                <a:off x="10701338" y="3124201"/>
                <a:ext cx="2767013" cy="4394200"/>
              </a:xfrm>
              <a:custGeom>
                <a:avLst/>
                <a:gdLst/>
                <a:ahLst/>
                <a:cxnLst>
                  <a:cxn ang="0">
                    <a:pos x="429" y="186"/>
                  </a:cxn>
                  <a:cxn ang="0">
                    <a:pos x="428" y="186"/>
                  </a:cxn>
                  <a:cxn ang="0">
                    <a:pos x="374" y="166"/>
                  </a:cxn>
                  <a:cxn ang="0">
                    <a:pos x="368" y="135"/>
                  </a:cxn>
                  <a:cxn ang="0">
                    <a:pos x="354" y="72"/>
                  </a:cxn>
                  <a:cxn ang="0">
                    <a:pos x="201" y="31"/>
                  </a:cxn>
                  <a:cxn ang="0">
                    <a:pos x="160" y="184"/>
                  </a:cxn>
                  <a:cxn ang="0">
                    <a:pos x="204" y="227"/>
                  </a:cxn>
                  <a:cxn ang="0">
                    <a:pos x="232" y="248"/>
                  </a:cxn>
                  <a:cxn ang="0">
                    <a:pos x="221" y="306"/>
                  </a:cxn>
                  <a:cxn ang="0">
                    <a:pos x="215" y="310"/>
                  </a:cxn>
                  <a:cxn ang="0">
                    <a:pos x="215" y="310"/>
                  </a:cxn>
                  <a:cxn ang="0">
                    <a:pos x="215" y="310"/>
                  </a:cxn>
                  <a:cxn ang="0">
                    <a:pos x="0" y="434"/>
                  </a:cxn>
                  <a:cxn ang="0">
                    <a:pos x="0" y="682"/>
                  </a:cxn>
                  <a:cxn ang="0">
                    <a:pos x="0" y="682"/>
                  </a:cxn>
                  <a:cxn ang="0">
                    <a:pos x="0" y="682"/>
                  </a:cxn>
                  <a:cxn ang="0">
                    <a:pos x="1" y="690"/>
                  </a:cxn>
                  <a:cxn ang="0">
                    <a:pos x="46" y="728"/>
                  </a:cxn>
                  <a:cxn ang="0">
                    <a:pos x="78" y="715"/>
                  </a:cxn>
                  <a:cxn ang="0">
                    <a:pos x="137" y="698"/>
                  </a:cxn>
                  <a:cxn ang="0">
                    <a:pos x="249" y="809"/>
                  </a:cxn>
                  <a:cxn ang="0">
                    <a:pos x="137" y="921"/>
                  </a:cxn>
                  <a:cxn ang="0">
                    <a:pos x="75" y="903"/>
                  </a:cxn>
                  <a:cxn ang="0">
                    <a:pos x="46" y="892"/>
                  </a:cxn>
                  <a:cxn ang="0">
                    <a:pos x="1" y="928"/>
                  </a:cxn>
                  <a:cxn ang="0">
                    <a:pos x="1" y="930"/>
                  </a:cxn>
                  <a:cxn ang="0">
                    <a:pos x="0" y="937"/>
                  </a:cxn>
                  <a:cxn ang="0">
                    <a:pos x="0" y="1172"/>
                  </a:cxn>
                  <a:cxn ang="0">
                    <a:pos x="738" y="434"/>
                  </a:cxn>
                  <a:cxn ang="0">
                    <a:pos x="639" y="65"/>
                  </a:cxn>
                  <a:cxn ang="0">
                    <a:pos x="436" y="183"/>
                  </a:cxn>
                  <a:cxn ang="0">
                    <a:pos x="429" y="186"/>
                  </a:cxn>
                </a:cxnLst>
                <a:rect l="0" t="0" r="r" b="b"/>
                <a:pathLst>
                  <a:path w="738" h="1172">
                    <a:moveTo>
                      <a:pt x="429" y="186"/>
                    </a:moveTo>
                    <a:cubicBezTo>
                      <a:pt x="429" y="186"/>
                      <a:pt x="428" y="186"/>
                      <a:pt x="428" y="186"/>
                    </a:cubicBezTo>
                    <a:cubicBezTo>
                      <a:pt x="407" y="193"/>
                      <a:pt x="385" y="185"/>
                      <a:pt x="374" y="166"/>
                    </a:cubicBezTo>
                    <a:cubicBezTo>
                      <a:pt x="368" y="156"/>
                      <a:pt x="366" y="145"/>
                      <a:pt x="368" y="135"/>
                    </a:cubicBezTo>
                    <a:cubicBezTo>
                      <a:pt x="370" y="114"/>
                      <a:pt x="365" y="92"/>
                      <a:pt x="354" y="72"/>
                    </a:cubicBezTo>
                    <a:cubicBezTo>
                      <a:pt x="323" y="19"/>
                      <a:pt x="254" y="0"/>
                      <a:pt x="201" y="31"/>
                    </a:cubicBezTo>
                    <a:cubicBezTo>
                      <a:pt x="148" y="62"/>
                      <a:pt x="129" y="130"/>
                      <a:pt x="160" y="184"/>
                    </a:cubicBezTo>
                    <a:cubicBezTo>
                      <a:pt x="171" y="203"/>
                      <a:pt x="186" y="217"/>
                      <a:pt x="204" y="227"/>
                    </a:cubicBezTo>
                    <a:cubicBezTo>
                      <a:pt x="215" y="230"/>
                      <a:pt x="226" y="237"/>
                      <a:pt x="232" y="248"/>
                    </a:cubicBezTo>
                    <a:cubicBezTo>
                      <a:pt x="243" y="267"/>
                      <a:pt x="238" y="292"/>
                      <a:pt x="221" y="306"/>
                    </a:cubicBezTo>
                    <a:cubicBezTo>
                      <a:pt x="219" y="307"/>
                      <a:pt x="217" y="309"/>
                      <a:pt x="215" y="310"/>
                    </a:cubicBezTo>
                    <a:cubicBezTo>
                      <a:pt x="215" y="310"/>
                      <a:pt x="215" y="310"/>
                      <a:pt x="215" y="310"/>
                    </a:cubicBezTo>
                    <a:cubicBezTo>
                      <a:pt x="215" y="310"/>
                      <a:pt x="215" y="310"/>
                      <a:pt x="215" y="310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0" y="682"/>
                      <a:pt x="0" y="682"/>
                      <a:pt x="0" y="682"/>
                    </a:cubicBezTo>
                    <a:cubicBezTo>
                      <a:pt x="0" y="682"/>
                      <a:pt x="0" y="682"/>
                      <a:pt x="0" y="682"/>
                    </a:cubicBezTo>
                    <a:cubicBezTo>
                      <a:pt x="0" y="682"/>
                      <a:pt x="0" y="682"/>
                      <a:pt x="0" y="682"/>
                    </a:cubicBezTo>
                    <a:cubicBezTo>
                      <a:pt x="0" y="685"/>
                      <a:pt x="0" y="687"/>
                      <a:pt x="1" y="690"/>
                    </a:cubicBezTo>
                    <a:cubicBezTo>
                      <a:pt x="4" y="711"/>
                      <a:pt x="23" y="728"/>
                      <a:pt x="46" y="728"/>
                    </a:cubicBezTo>
                    <a:cubicBezTo>
                      <a:pt x="58" y="728"/>
                      <a:pt x="70" y="723"/>
                      <a:pt x="78" y="715"/>
                    </a:cubicBezTo>
                    <a:cubicBezTo>
                      <a:pt x="95" y="704"/>
                      <a:pt x="115" y="698"/>
                      <a:pt x="137" y="698"/>
                    </a:cubicBezTo>
                    <a:cubicBezTo>
                      <a:pt x="199" y="698"/>
                      <a:pt x="249" y="748"/>
                      <a:pt x="249" y="809"/>
                    </a:cubicBezTo>
                    <a:cubicBezTo>
                      <a:pt x="249" y="871"/>
                      <a:pt x="199" y="921"/>
                      <a:pt x="137" y="921"/>
                    </a:cubicBezTo>
                    <a:cubicBezTo>
                      <a:pt x="114" y="921"/>
                      <a:pt x="93" y="914"/>
                      <a:pt x="75" y="903"/>
                    </a:cubicBezTo>
                    <a:cubicBezTo>
                      <a:pt x="67" y="896"/>
                      <a:pt x="57" y="892"/>
                      <a:pt x="46" y="892"/>
                    </a:cubicBezTo>
                    <a:cubicBezTo>
                      <a:pt x="24" y="892"/>
                      <a:pt x="5" y="907"/>
                      <a:pt x="1" y="928"/>
                    </a:cubicBezTo>
                    <a:cubicBezTo>
                      <a:pt x="1" y="929"/>
                      <a:pt x="1" y="929"/>
                      <a:pt x="1" y="930"/>
                    </a:cubicBezTo>
                    <a:cubicBezTo>
                      <a:pt x="0" y="932"/>
                      <a:pt x="0" y="935"/>
                      <a:pt x="0" y="937"/>
                    </a:cubicBezTo>
                    <a:cubicBezTo>
                      <a:pt x="0" y="1172"/>
                      <a:pt x="0" y="1172"/>
                      <a:pt x="0" y="1172"/>
                    </a:cubicBezTo>
                    <a:cubicBezTo>
                      <a:pt x="408" y="1172"/>
                      <a:pt x="738" y="841"/>
                      <a:pt x="738" y="434"/>
                    </a:cubicBezTo>
                    <a:cubicBezTo>
                      <a:pt x="738" y="300"/>
                      <a:pt x="702" y="174"/>
                      <a:pt x="639" y="65"/>
                    </a:cubicBezTo>
                    <a:cubicBezTo>
                      <a:pt x="436" y="183"/>
                      <a:pt x="436" y="183"/>
                      <a:pt x="436" y="183"/>
                    </a:cubicBezTo>
                    <a:cubicBezTo>
                      <a:pt x="434" y="184"/>
                      <a:pt x="431" y="185"/>
                      <a:pt x="429" y="18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94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txBody>
              <a:bodyPr lIns="36000" tIns="36000" rIns="36000" bIns="36000" anchor="ctr" anchorCtr="0"/>
              <a:lstStyle/>
              <a:p>
                <a:pPr algn="ctr">
                  <a:defRPr/>
                </a:pPr>
                <a:endParaRPr lang="en-US" sz="1400" b="1" noProof="1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Ellipse 20"/>
            <p:cNvSpPr/>
            <p:nvPr/>
          </p:nvSpPr>
          <p:spPr bwMode="gray">
            <a:xfrm>
              <a:off x="3923928" y="3030960"/>
              <a:ext cx="1296144" cy="1296142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2286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wrap="none" lIns="0" tIns="0" rIns="0" bIns="0" rtlCol="0" anchor="ctr"/>
            <a:lstStyle/>
            <a:p>
              <a:pPr algn="ctr"/>
              <a:r>
                <a:rPr lang="en-US" b="1" noProof="1" smtClean="0">
                  <a:solidFill>
                    <a:srgbClr val="FFFFFF"/>
                  </a:solidFill>
                </a:rPr>
                <a:t>Competitive </a:t>
              </a:r>
              <a:br>
                <a:rPr lang="en-US" b="1" noProof="1" smtClean="0">
                  <a:solidFill>
                    <a:srgbClr val="FFFFFF"/>
                  </a:solidFill>
                </a:rPr>
              </a:br>
              <a:r>
                <a:rPr lang="en-US" b="1" noProof="1" smtClean="0">
                  <a:solidFill>
                    <a:srgbClr val="FFFFFF"/>
                  </a:solidFill>
                </a:rPr>
                <a:t>advantage </a:t>
              </a:r>
            </a:p>
          </p:txBody>
        </p:sp>
        <p:sp>
          <p:nvSpPr>
            <p:cNvPr id="22" name="Textfeld 21"/>
            <p:cNvSpPr txBox="1"/>
            <p:nvPr/>
          </p:nvSpPr>
          <p:spPr bwMode="gray">
            <a:xfrm>
              <a:off x="3511303" y="1837121"/>
              <a:ext cx="2121394" cy="857945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sz="2400" b="1" noProof="1" smtClean="0">
                  <a:solidFill>
                    <a:srgbClr val="000000"/>
                  </a:solidFill>
                </a:rPr>
                <a:t>Customer</a:t>
              </a:r>
              <a:endParaRPr lang="en-US" sz="2400" b="1" noProof="1">
                <a:solidFill>
                  <a:srgbClr val="000000"/>
                </a:solidFill>
              </a:endParaRPr>
            </a:p>
          </p:txBody>
        </p:sp>
        <p:sp>
          <p:nvSpPr>
            <p:cNvPr id="23" name="Textfeld 22"/>
            <p:cNvSpPr txBox="1"/>
            <p:nvPr/>
          </p:nvSpPr>
          <p:spPr bwMode="gray">
            <a:xfrm rot="3720000">
              <a:off x="2346800" y="3843931"/>
              <a:ext cx="2121394" cy="1069675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2400" b="1" noProof="1" smtClean="0">
                  <a:solidFill>
                    <a:srgbClr val="000000"/>
                  </a:solidFill>
                </a:rPr>
                <a:t>Organization</a:t>
              </a:r>
              <a:endParaRPr lang="en-US" sz="2400" b="1" noProof="1">
                <a:solidFill>
                  <a:srgbClr val="000000"/>
                </a:solidFill>
              </a:endParaRPr>
            </a:p>
          </p:txBody>
        </p:sp>
        <p:sp>
          <p:nvSpPr>
            <p:cNvPr id="24" name="Textfeld 23"/>
            <p:cNvSpPr txBox="1"/>
            <p:nvPr/>
          </p:nvSpPr>
          <p:spPr bwMode="gray">
            <a:xfrm rot="18430265">
              <a:off x="4690379" y="4063217"/>
              <a:ext cx="2121394" cy="92108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>
                  <a:gd name="adj" fmla="val 21593456"/>
                </a:avLst>
              </a:prstTxWarp>
              <a:spAutoFit/>
            </a:bodyPr>
            <a:lstStyle/>
            <a:p>
              <a:pPr algn="ctr"/>
              <a:r>
                <a:rPr lang="en-US" sz="2400" b="1" noProof="1" smtClean="0">
                  <a:solidFill>
                    <a:srgbClr val="000000"/>
                  </a:solidFill>
                </a:rPr>
                <a:t>Competitor</a:t>
              </a:r>
              <a:endParaRPr lang="en-US" sz="2400" b="1" noProof="1">
                <a:solidFill>
                  <a:srgbClr val="000000"/>
                </a:solidFill>
              </a:endParaRPr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3584222" y="1984011"/>
              <a:ext cx="19755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Expectation on the </a:t>
              </a:r>
              <a:br>
                <a:rPr lang="en-US" sz="1200" noProof="1" smtClean="0">
                  <a:solidFill>
                    <a:srgbClr val="000000"/>
                  </a:solidFill>
                </a:rPr>
              </a:br>
              <a:r>
                <a:rPr lang="en-US" sz="1200" noProof="1" smtClean="0">
                  <a:solidFill>
                    <a:srgbClr val="000000"/>
                  </a:solidFill>
                </a:rPr>
                <a:t>product and benefit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26" name="Textfeld 25"/>
            <p:cNvSpPr txBox="1"/>
            <p:nvPr/>
          </p:nvSpPr>
          <p:spPr bwMode="gray">
            <a:xfrm rot="3720000">
              <a:off x="2319832" y="4152114"/>
              <a:ext cx="19755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Core competences </a:t>
              </a:r>
              <a:br>
                <a:rPr lang="en-US" sz="1200" noProof="1" smtClean="0">
                  <a:solidFill>
                    <a:srgbClr val="000000"/>
                  </a:solidFill>
                </a:rPr>
              </a:br>
              <a:r>
                <a:rPr lang="en-US" sz="1200" noProof="1" smtClean="0">
                  <a:solidFill>
                    <a:srgbClr val="000000"/>
                  </a:solidFill>
                </a:rPr>
                <a:t>range of service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  <p:sp>
          <p:nvSpPr>
            <p:cNvPr id="27" name="Textfeld 26"/>
            <p:cNvSpPr txBox="1"/>
            <p:nvPr/>
          </p:nvSpPr>
          <p:spPr bwMode="gray">
            <a:xfrm rot="18542959">
              <a:off x="4674314" y="4275026"/>
              <a:ext cx="19755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</a:rPr>
                <a:t>Competition field and</a:t>
              </a:r>
              <a:br>
                <a:rPr lang="en-US" sz="1200" noProof="1" smtClean="0">
                  <a:solidFill>
                    <a:srgbClr val="000000"/>
                  </a:solidFill>
                </a:rPr>
              </a:br>
              <a:r>
                <a:rPr lang="en-US" sz="1200" noProof="1" smtClean="0">
                  <a:solidFill>
                    <a:srgbClr val="000000"/>
                  </a:solidFill>
                </a:rPr>
                <a:t> its range of service </a:t>
              </a:r>
              <a:endParaRPr lang="en-US" sz="1200" noProof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7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eparation of market research process in five phases</a:t>
            </a:r>
            <a:endParaRPr lang="en-US" noProof="1"/>
          </a:p>
        </p:txBody>
      </p:sp>
      <p:grpSp>
        <p:nvGrpSpPr>
          <p:cNvPr id="36" name="Gruppieren 35"/>
          <p:cNvGrpSpPr/>
          <p:nvPr/>
        </p:nvGrpSpPr>
        <p:grpSpPr bwMode="gray">
          <a:xfrm>
            <a:off x="395288" y="1855144"/>
            <a:ext cx="8371144" cy="3886201"/>
            <a:chOff x="278920" y="1800172"/>
            <a:chExt cx="8538181" cy="3963745"/>
          </a:xfrm>
        </p:grpSpPr>
        <p:sp>
          <p:nvSpPr>
            <p:cNvPr id="9218" name="AutoShape 2"/>
            <p:cNvSpPr>
              <a:spLocks noChangeArrowheads="1"/>
            </p:cNvSpPr>
            <p:nvPr/>
          </p:nvSpPr>
          <p:spPr bwMode="gray">
            <a:xfrm>
              <a:off x="278920" y="3011357"/>
              <a:ext cx="1794271" cy="1156441"/>
            </a:xfrm>
            <a:prstGeom prst="homePlate">
              <a:avLst>
                <a:gd name="adj" fmla="val 41389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D1</a:t>
              </a:r>
              <a:endParaRPr lang="en-US" sz="2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219" name="AutoShape 3"/>
            <p:cNvSpPr>
              <a:spLocks noChangeArrowheads="1"/>
            </p:cNvSpPr>
            <p:nvPr/>
          </p:nvSpPr>
          <p:spPr bwMode="gray">
            <a:xfrm>
              <a:off x="1803439" y="3011357"/>
              <a:ext cx="1794271" cy="1156441"/>
            </a:xfrm>
            <a:prstGeom prst="chevron">
              <a:avLst>
                <a:gd name="adj" fmla="val 41158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5200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D2</a:t>
              </a:r>
              <a:endParaRPr lang="en-US" sz="2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220" name="AutoShape 4"/>
            <p:cNvSpPr>
              <a:spLocks noChangeArrowheads="1"/>
            </p:cNvSpPr>
            <p:nvPr/>
          </p:nvSpPr>
          <p:spPr bwMode="gray">
            <a:xfrm>
              <a:off x="3327958" y="3012797"/>
              <a:ext cx="1794271" cy="1156442"/>
            </a:xfrm>
            <a:prstGeom prst="chevron">
              <a:avLst>
                <a:gd name="adj" fmla="val 41158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5200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D3</a:t>
              </a:r>
              <a:endParaRPr lang="en-US" sz="2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221" name="AutoShape 5"/>
            <p:cNvSpPr>
              <a:spLocks noChangeArrowheads="1"/>
            </p:cNvSpPr>
            <p:nvPr/>
          </p:nvSpPr>
          <p:spPr bwMode="gray">
            <a:xfrm>
              <a:off x="4852477" y="3012797"/>
              <a:ext cx="1794271" cy="1156442"/>
            </a:xfrm>
            <a:prstGeom prst="chevron">
              <a:avLst>
                <a:gd name="adj" fmla="val 41158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5200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D4</a:t>
              </a:r>
              <a:endParaRPr lang="en-US" sz="2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222" name="AutoShape 6"/>
            <p:cNvSpPr>
              <a:spLocks noChangeArrowheads="1"/>
            </p:cNvSpPr>
            <p:nvPr/>
          </p:nvSpPr>
          <p:spPr bwMode="gray">
            <a:xfrm>
              <a:off x="6376996" y="3012797"/>
              <a:ext cx="1794271" cy="1156442"/>
            </a:xfrm>
            <a:prstGeom prst="chevron">
              <a:avLst>
                <a:gd name="adj" fmla="val 41158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52000" tIns="0" rIns="0" bIns="0" anchor="ctr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cs typeface="Arial" charset="0"/>
                </a:rPr>
                <a:t>D5</a:t>
              </a:r>
              <a:endParaRPr lang="en-US" sz="24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223" name="Text Box 7"/>
            <p:cNvSpPr txBox="1">
              <a:spLocks noChangeArrowheads="1"/>
            </p:cNvSpPr>
            <p:nvPr/>
          </p:nvSpPr>
          <p:spPr bwMode="gray">
            <a:xfrm>
              <a:off x="280276" y="1800172"/>
              <a:ext cx="1950353" cy="112445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t" anchorCtr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Definition Phase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Problem definition and development of survey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targets Topic of research</a:t>
              </a:r>
            </a:p>
          </p:txBody>
        </p:sp>
        <p:sp>
          <p:nvSpPr>
            <p:cNvPr id="9224" name="Text Box 8"/>
            <p:cNvSpPr txBox="1">
              <a:spLocks noChangeArrowheads="1"/>
            </p:cNvSpPr>
            <p:nvPr/>
          </p:nvSpPr>
          <p:spPr bwMode="gray">
            <a:xfrm>
              <a:off x="1778667" y="4301485"/>
              <a:ext cx="2264837" cy="146243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Designphase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Fixation of target groups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Selection of research methods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and instruments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Organization (time/cost)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Sources for data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endParaRPr lang="en-US" b="1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9225" name="Text Box 9"/>
            <p:cNvSpPr txBox="1">
              <a:spLocks noChangeArrowheads="1"/>
            </p:cNvSpPr>
            <p:nvPr/>
          </p:nvSpPr>
          <p:spPr bwMode="gray">
            <a:xfrm>
              <a:off x="3310993" y="1800172"/>
              <a:ext cx="2289707" cy="313953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t" anchorCtr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Data Collection Phase</a:t>
              </a:r>
            </a:p>
          </p:txBody>
        </p:sp>
        <p:sp>
          <p:nvSpPr>
            <p:cNvPr id="9226" name="Text Box 10"/>
            <p:cNvSpPr txBox="1">
              <a:spLocks noChangeArrowheads="1"/>
            </p:cNvSpPr>
            <p:nvPr/>
          </p:nvSpPr>
          <p:spPr bwMode="gray">
            <a:xfrm>
              <a:off x="4855530" y="4301485"/>
              <a:ext cx="2140355" cy="1462431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Data analysis phase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Evaluation of data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Interpretation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Prognosis</a:t>
              </a:r>
            </a:p>
          </p:txBody>
        </p:sp>
        <p:sp>
          <p:nvSpPr>
            <p:cNvPr id="9227" name="Text Box 11"/>
            <p:cNvSpPr txBox="1">
              <a:spLocks noChangeArrowheads="1"/>
            </p:cNvSpPr>
            <p:nvPr/>
          </p:nvSpPr>
          <p:spPr bwMode="gray">
            <a:xfrm>
              <a:off x="6376996" y="1800172"/>
              <a:ext cx="2096577" cy="859870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t" anchorCtr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FFFFFF"/>
                  </a:solidFill>
                </a:rPr>
                <a:t>Dokumentations-</a:t>
              </a:r>
              <a:br>
                <a:rPr lang="en-US" b="1" noProof="1" smtClean="0">
                  <a:solidFill>
                    <a:srgbClr val="FFFFFF"/>
                  </a:solidFill>
                </a:rPr>
              </a:br>
              <a:r>
                <a:rPr lang="en-US" b="1" noProof="1" smtClean="0">
                  <a:solidFill>
                    <a:srgbClr val="FFFFFF"/>
                  </a:solidFill>
                </a:rPr>
                <a:t>phase </a:t>
              </a:r>
            </a:p>
            <a:p>
              <a:pPr lvl="0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FFFFFF"/>
                  </a:solidFill>
                </a:rPr>
                <a:t>Präsentation der Ergebnisse</a:t>
              </a:r>
            </a:p>
            <a:p>
              <a:pPr lvl="0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FFFFFF"/>
                  </a:solidFill>
                </a:rPr>
                <a:t>Forschungsbericht Verteiler</a:t>
              </a:r>
            </a:p>
          </p:txBody>
        </p:sp>
        <p:sp>
          <p:nvSpPr>
            <p:cNvPr id="22" name="Ellipse 21"/>
            <p:cNvSpPr/>
            <p:nvPr/>
          </p:nvSpPr>
          <p:spPr bwMode="gray">
            <a:xfrm>
              <a:off x="8214356" y="3309259"/>
              <a:ext cx="566057" cy="566057"/>
            </a:xfrm>
            <a:prstGeom prst="ellipse">
              <a:avLst/>
            </a:prstGeom>
            <a:gradFill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3500000" scaled="1"/>
            </a:gradFill>
            <a:ln w="9525">
              <a:solidFill>
                <a:srgbClr val="C0C0C0"/>
              </a:solidFill>
              <a:round/>
              <a:headEnd type="triangle" w="med" len="med"/>
              <a:tailEnd type="triangle" w="med" len="med"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82945" tIns="41473" rIns="82945" bIns="41473" anchor="ctr"/>
            <a:lstStyle/>
            <a:p>
              <a:endParaRPr lang="en-US" noProof="1" smtClean="0"/>
            </a:p>
          </p:txBody>
        </p:sp>
        <p:sp>
          <p:nvSpPr>
            <p:cNvPr id="23" name="Text Box 10"/>
            <p:cNvSpPr txBox="1">
              <a:spLocks noChangeArrowheads="1"/>
            </p:cNvSpPr>
            <p:nvPr/>
          </p:nvSpPr>
          <p:spPr bwMode="gray">
            <a:xfrm>
              <a:off x="6974063" y="4301485"/>
              <a:ext cx="1843038" cy="1224280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lvl="0"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Marketing </a:t>
              </a:r>
              <a:br>
                <a:rPr lang="en-US" b="1" noProof="1" smtClean="0">
                  <a:solidFill>
                    <a:srgbClr val="000000"/>
                  </a:solidFill>
                </a:rPr>
              </a:br>
              <a:r>
                <a:rPr lang="en-US" b="1" noProof="1" smtClean="0">
                  <a:solidFill>
                    <a:srgbClr val="000000"/>
                  </a:solidFill>
                </a:rPr>
                <a:t>decision </a:t>
              </a:r>
              <a:br>
                <a:rPr lang="en-US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Recommendations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that influence </a:t>
              </a:r>
              <a:br>
                <a:rPr lang="en-US" sz="1400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decisions</a:t>
              </a:r>
            </a:p>
          </p:txBody>
        </p:sp>
        <p:sp>
          <p:nvSpPr>
            <p:cNvPr id="19" name="Text Box 7"/>
            <p:cNvSpPr txBox="1">
              <a:spLocks noChangeArrowheads="1"/>
            </p:cNvSpPr>
            <p:nvPr/>
          </p:nvSpPr>
          <p:spPr bwMode="gray">
            <a:xfrm>
              <a:off x="6376996" y="1800172"/>
              <a:ext cx="2403417" cy="112445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 anchor="t" anchorCtr="0"/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b="1" noProof="1" smtClean="0">
                  <a:solidFill>
                    <a:srgbClr val="000000"/>
                  </a:solidFill>
                </a:rPr>
                <a:t>Documentation Phase 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Presentation of results</a:t>
              </a:r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>
                  <a:solidFill>
                    <a:srgbClr val="000000"/>
                  </a:solidFill>
                </a:rPr>
                <a:t>Research report distributer</a:t>
              </a:r>
            </a:p>
          </p:txBody>
        </p:sp>
      </p:grpSp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Market Research </a:t>
            </a:r>
            <a:r>
              <a:rPr lang="en-US" b="0" smtClean="0"/>
              <a:t>- Process Sche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5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Sales Orientation vs. Marketing Orientatio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Comparison</a:t>
            </a:r>
            <a:endParaRPr lang="en-US" dirty="0"/>
          </a:p>
        </p:txBody>
      </p:sp>
      <p:grpSp>
        <p:nvGrpSpPr>
          <p:cNvPr id="50" name="Gruppieren 49"/>
          <p:cNvGrpSpPr/>
          <p:nvPr/>
        </p:nvGrpSpPr>
        <p:grpSpPr>
          <a:xfrm>
            <a:off x="323850" y="1554163"/>
            <a:ext cx="8496300" cy="4247355"/>
            <a:chOff x="323850" y="1554163"/>
            <a:chExt cx="8496300" cy="4247355"/>
          </a:xfrm>
        </p:grpSpPr>
        <p:sp>
          <p:nvSpPr>
            <p:cNvPr id="18" name="_text"/>
            <p:cNvSpPr txBox="1">
              <a:spLocks/>
            </p:cNvSpPr>
            <p:nvPr/>
          </p:nvSpPr>
          <p:spPr bwMode="gray">
            <a:xfrm>
              <a:off x="323850" y="1554163"/>
              <a:ext cx="4175125" cy="36195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80000" lvl="0" indent="-18000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b="1" noProof="1" smtClean="0"/>
                <a:t>The sales orientation</a:t>
              </a:r>
              <a:endParaRPr kumimoji="0" lang="en-US" sz="1800" b="1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20" name="Textfeld 19"/>
            <p:cNvSpPr txBox="1"/>
            <p:nvPr/>
          </p:nvSpPr>
          <p:spPr bwMode="gray">
            <a:xfrm>
              <a:off x="762054" y="1935561"/>
              <a:ext cx="10886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smtClean="0"/>
                <a:t>Initial point </a:t>
              </a:r>
              <a:endParaRPr lang="en-US" sz="1400" b="1" dirty="0"/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2633096" y="1935561"/>
              <a:ext cx="12768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Main focus on </a:t>
              </a:r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4796613" y="1935561"/>
              <a:ext cx="87998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Measure </a:t>
              </a: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6859916" y="1935561"/>
              <a:ext cx="68358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Target </a:t>
              </a:r>
            </a:p>
          </p:txBody>
        </p:sp>
        <p:grpSp>
          <p:nvGrpSpPr>
            <p:cNvPr id="40" name="Gruppieren 39"/>
            <p:cNvGrpSpPr/>
            <p:nvPr/>
          </p:nvGrpSpPr>
          <p:grpSpPr bwMode="gray">
            <a:xfrm>
              <a:off x="324643" y="2244437"/>
              <a:ext cx="8495507" cy="1254466"/>
              <a:chOff x="324643" y="2244437"/>
              <a:chExt cx="8495507" cy="1254466"/>
            </a:xfrm>
          </p:grpSpPr>
          <p:sp>
            <p:nvSpPr>
              <p:cNvPr id="15" name="Richtungspfeil 14"/>
              <p:cNvSpPr/>
              <p:nvPr/>
            </p:nvSpPr>
            <p:spPr bwMode="gray">
              <a:xfrm>
                <a:off x="324643" y="2244437"/>
                <a:ext cx="8495507" cy="1254466"/>
              </a:xfrm>
              <a:prstGeom prst="homePlat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>
                <a:off x="426774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 smtClean="0"/>
                  <a:t>existing </a:t>
                </a:r>
                <a:br>
                  <a:rPr lang="en-US" sz="1400" dirty="0" smtClean="0"/>
                </a:br>
                <a:r>
                  <a:rPr lang="en-US" sz="1400" dirty="0" smtClean="0"/>
                  <a:t>production</a:t>
                </a:r>
                <a:endParaRPr lang="en-US" sz="1400" dirty="0"/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2391876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existing </a:t>
                </a:r>
                <a:r>
                  <a:rPr lang="en-US" sz="1400" dirty="0" smtClean="0"/>
                  <a:t/>
                </a:r>
                <a:br>
                  <a:rPr lang="en-US" sz="1400" dirty="0" smtClean="0"/>
                </a:br>
                <a:r>
                  <a:rPr lang="en-US" sz="1400" dirty="0" smtClean="0"/>
                  <a:t>products</a:t>
                </a:r>
                <a:endParaRPr lang="en-US" sz="1400" dirty="0"/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4356978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advertisement, </a:t>
                </a:r>
                <a:r>
                  <a:rPr lang="en-US" sz="1400" dirty="0" smtClean="0"/>
                  <a:t/>
                </a:r>
                <a:br>
                  <a:rPr lang="en-US" sz="1400" dirty="0" smtClean="0"/>
                </a:br>
                <a:r>
                  <a:rPr lang="en-US" sz="1400" dirty="0" smtClean="0"/>
                  <a:t>sales </a:t>
                </a:r>
                <a:r>
                  <a:rPr lang="en-US" sz="1400" dirty="0"/>
                  <a:t>promotions</a:t>
                </a:r>
              </a:p>
            </p:txBody>
          </p:sp>
          <p:sp>
            <p:nvSpPr>
              <p:cNvPr id="24" name="Rechteck 23"/>
              <p:cNvSpPr/>
              <p:nvPr/>
            </p:nvSpPr>
            <p:spPr bwMode="gray">
              <a:xfrm>
                <a:off x="6322080" y="2244437"/>
                <a:ext cx="195514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profit through </a:t>
                </a:r>
                <a:r>
                  <a:rPr lang="en-US" sz="1400" dirty="0" smtClean="0"/>
                  <a:t/>
                </a:r>
                <a:br>
                  <a:rPr lang="en-US" sz="1400" dirty="0" smtClean="0"/>
                </a:br>
                <a:r>
                  <a:rPr lang="en-US" sz="1400" dirty="0" smtClean="0"/>
                  <a:t>high </a:t>
                </a:r>
                <a:r>
                  <a:rPr lang="en-US" sz="1400" dirty="0"/>
                  <a:t>revenue</a:t>
                </a:r>
              </a:p>
            </p:txBody>
          </p:sp>
          <p:cxnSp>
            <p:nvCxnSpPr>
              <p:cNvPr id="32" name="Gerade Verbindung 31"/>
              <p:cNvCxnSpPr/>
              <p:nvPr/>
            </p:nvCxnSpPr>
            <p:spPr bwMode="gray">
              <a:xfrm flipV="1">
                <a:off x="2288952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/>
            </p:nvCxnSpPr>
            <p:spPr bwMode="gray">
              <a:xfrm flipV="1">
                <a:off x="4254054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/>
            </p:nvCxnSpPr>
            <p:spPr bwMode="gray">
              <a:xfrm flipV="1">
                <a:off x="6219156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_text"/>
            <p:cNvSpPr txBox="1">
              <a:spLocks/>
            </p:cNvSpPr>
            <p:nvPr/>
          </p:nvSpPr>
          <p:spPr bwMode="gray">
            <a:xfrm>
              <a:off x="323850" y="3858672"/>
              <a:ext cx="4175125" cy="36195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180000" lvl="0" indent="-18000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b="1" noProof="1"/>
                <a:t>The marketing orientation</a:t>
              </a:r>
              <a:endParaRPr kumimoji="0" lang="en-US" sz="1800" b="1" i="0" u="none" strike="noStrike" kern="1200" cap="none" spc="0" normalizeH="0" baseline="0" noProof="1" smtClean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36" name="Textfeld 35"/>
            <p:cNvSpPr txBox="1"/>
            <p:nvPr/>
          </p:nvSpPr>
          <p:spPr bwMode="gray">
            <a:xfrm>
              <a:off x="762054" y="4240070"/>
              <a:ext cx="10886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Initial point </a:t>
              </a:r>
            </a:p>
          </p:txBody>
        </p:sp>
        <p:sp>
          <p:nvSpPr>
            <p:cNvPr id="37" name="Textfeld 36"/>
            <p:cNvSpPr txBox="1"/>
            <p:nvPr/>
          </p:nvSpPr>
          <p:spPr bwMode="gray">
            <a:xfrm>
              <a:off x="2633096" y="4240070"/>
              <a:ext cx="12768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Main focus on </a:t>
              </a:r>
            </a:p>
          </p:txBody>
        </p:sp>
        <p:sp>
          <p:nvSpPr>
            <p:cNvPr id="38" name="Textfeld 37"/>
            <p:cNvSpPr txBox="1"/>
            <p:nvPr/>
          </p:nvSpPr>
          <p:spPr bwMode="gray">
            <a:xfrm>
              <a:off x="4816651" y="4240070"/>
              <a:ext cx="83991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Measure</a:t>
              </a:r>
            </a:p>
          </p:txBody>
        </p:sp>
        <p:sp>
          <p:nvSpPr>
            <p:cNvPr id="39" name="Textfeld 38"/>
            <p:cNvSpPr txBox="1"/>
            <p:nvPr/>
          </p:nvSpPr>
          <p:spPr bwMode="gray">
            <a:xfrm>
              <a:off x="6859916" y="4240070"/>
              <a:ext cx="68358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/>
                <a:t>Target </a:t>
              </a:r>
            </a:p>
          </p:txBody>
        </p:sp>
        <p:grpSp>
          <p:nvGrpSpPr>
            <p:cNvPr id="41" name="Gruppieren 40"/>
            <p:cNvGrpSpPr/>
            <p:nvPr/>
          </p:nvGrpSpPr>
          <p:grpSpPr bwMode="gray">
            <a:xfrm>
              <a:off x="324643" y="4547052"/>
              <a:ext cx="8495507" cy="1254466"/>
              <a:chOff x="324643" y="2244437"/>
              <a:chExt cx="8495507" cy="1254466"/>
            </a:xfrm>
          </p:grpSpPr>
          <p:sp>
            <p:nvSpPr>
              <p:cNvPr id="42" name="Richtungspfeil 41"/>
              <p:cNvSpPr/>
              <p:nvPr/>
            </p:nvSpPr>
            <p:spPr bwMode="gray">
              <a:xfrm>
                <a:off x="324643" y="2244437"/>
                <a:ext cx="8495507" cy="1254466"/>
              </a:xfrm>
              <a:prstGeom prst="homePlat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Rechteck 42"/>
              <p:cNvSpPr/>
              <p:nvPr/>
            </p:nvSpPr>
            <p:spPr bwMode="gray">
              <a:xfrm>
                <a:off x="426774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the markets</a:t>
                </a:r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2391876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actual customer requirements</a:t>
                </a:r>
              </a:p>
            </p:txBody>
          </p:sp>
          <p:sp>
            <p:nvSpPr>
              <p:cNvPr id="45" name="Rechteck 44"/>
              <p:cNvSpPr/>
              <p:nvPr/>
            </p:nvSpPr>
            <p:spPr bwMode="gray">
              <a:xfrm>
                <a:off x="4356978" y="2244437"/>
                <a:ext cx="1759254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integrated </a:t>
                </a:r>
                <a:r>
                  <a:rPr lang="en-US" sz="1400" dirty="0" smtClean="0"/>
                  <a:t/>
                </a:r>
                <a:br>
                  <a:rPr lang="en-US" sz="1400" dirty="0" smtClean="0"/>
                </a:br>
                <a:r>
                  <a:rPr lang="en-US" sz="1400" dirty="0" smtClean="0"/>
                  <a:t>marketing </a:t>
                </a:r>
                <a:r>
                  <a:rPr lang="en-US" sz="1400" dirty="0"/>
                  <a:t>approach</a:t>
                </a:r>
              </a:p>
            </p:txBody>
          </p:sp>
          <p:sp>
            <p:nvSpPr>
              <p:cNvPr id="46" name="Rechteck 45"/>
              <p:cNvSpPr/>
              <p:nvPr/>
            </p:nvSpPr>
            <p:spPr bwMode="gray">
              <a:xfrm>
                <a:off x="6322079" y="2244437"/>
                <a:ext cx="1955145" cy="1254466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r>
                  <a:rPr lang="en-US" sz="1400" dirty="0"/>
                  <a:t>long term profit expectation through sustainable satisfaction of customers</a:t>
                </a:r>
              </a:p>
            </p:txBody>
          </p:sp>
          <p:cxnSp>
            <p:nvCxnSpPr>
              <p:cNvPr id="47" name="Gerade Verbindung 46"/>
              <p:cNvCxnSpPr/>
              <p:nvPr/>
            </p:nvCxnSpPr>
            <p:spPr bwMode="gray">
              <a:xfrm flipV="1">
                <a:off x="2288952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/>
            </p:nvCxnSpPr>
            <p:spPr bwMode="gray">
              <a:xfrm flipV="1">
                <a:off x="4254054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/>
            </p:nvCxnSpPr>
            <p:spPr bwMode="gray">
              <a:xfrm flipV="1">
                <a:off x="6219156" y="2244437"/>
                <a:ext cx="0" cy="1254466"/>
              </a:xfrm>
              <a:prstGeom prst="line">
                <a:avLst/>
              </a:prstGeom>
              <a:ln w="12700">
                <a:solidFill>
                  <a:srgbClr val="C0C0C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2468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ompetition Strategies</a:t>
            </a:r>
            <a:endParaRPr lang="en-US" noProof="1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Differentiation between cost leadership, time leadership and quality leadership</a:t>
            </a:r>
            <a:endParaRPr lang="en-US" noProof="1"/>
          </a:p>
        </p:txBody>
      </p:sp>
      <p:grpSp>
        <p:nvGrpSpPr>
          <p:cNvPr id="17" name="Gruppieren 16"/>
          <p:cNvGrpSpPr/>
          <p:nvPr/>
        </p:nvGrpSpPr>
        <p:grpSpPr>
          <a:xfrm>
            <a:off x="323850" y="1563106"/>
            <a:ext cx="8497093" cy="4247833"/>
            <a:chOff x="323850" y="1554480"/>
            <a:chExt cx="8497093" cy="4247833"/>
          </a:xfrm>
        </p:grpSpPr>
        <p:grpSp>
          <p:nvGrpSpPr>
            <p:cNvPr id="34" name="Gruppieren 33"/>
            <p:cNvGrpSpPr/>
            <p:nvPr/>
          </p:nvGrpSpPr>
          <p:grpSpPr bwMode="gray">
            <a:xfrm>
              <a:off x="323851" y="1554480"/>
              <a:ext cx="2745070" cy="1968364"/>
              <a:chOff x="323851" y="1554480"/>
              <a:chExt cx="2745070" cy="1968364"/>
            </a:xfrm>
          </p:grpSpPr>
          <p:sp>
            <p:nvSpPr>
              <p:cNvPr id="18" name="Rechteck 17"/>
              <p:cNvSpPr/>
              <p:nvPr/>
            </p:nvSpPr>
            <p:spPr bwMode="gray">
              <a:xfrm>
                <a:off x="323851" y="1554480"/>
                <a:ext cx="2745070" cy="1606731"/>
              </a:xfrm>
              <a:prstGeom prst="rect">
                <a:avLst/>
              </a:prstGeom>
              <a:blipFill>
                <a:blip r:embed="rId2" cstate="print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rightnessContrast contrast="-40000"/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a:blip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08000" tIns="108000" rIns="144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 bwMode="gray">
              <a:xfrm>
                <a:off x="323851" y="3162481"/>
                <a:ext cx="2745070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72000" bIns="0" anchor="ctr"/>
              <a:lstStyle/>
              <a:p>
                <a:pPr algn="ctr" defTabSz="801688" eaLnBrk="0" hangingPunct="0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tabLst>
                    <a:tab pos="656650" algn="l"/>
                    <a:tab pos="1313299" algn="l"/>
                  </a:tabLst>
                  <a:defRPr/>
                </a:pPr>
                <a:r>
                  <a:rPr lang="en-US" b="1" noProof="1" smtClean="0">
                    <a:solidFill>
                      <a:srgbClr val="FFFFFF"/>
                    </a:solidFill>
                    <a:cs typeface="Arial" charset="0"/>
                  </a:rPr>
                  <a:t>Cost leadership</a:t>
                </a:r>
                <a:endParaRPr lang="en-US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sp>
          <p:nvSpPr>
            <p:cNvPr id="22" name="Rechteck 21"/>
            <p:cNvSpPr/>
            <p:nvPr/>
          </p:nvSpPr>
          <p:spPr bwMode="gray">
            <a:xfrm>
              <a:off x="3199709" y="1554480"/>
              <a:ext cx="2745070" cy="1606731"/>
            </a:xfrm>
            <a:prstGeom prst="rect">
              <a:avLst/>
            </a:prstGeom>
            <a:blipFill dpi="0" rotWithShape="1">
              <a:blip r:embed="rId4" cstate="print"/>
              <a:srcRect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3199709" y="3162481"/>
              <a:ext cx="2745070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Time leadership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6075080" y="1555750"/>
              <a:ext cx="2745070" cy="1606731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 l="-1000" t="-1000" r="-1000" b="-1000"/>
              </a:stretch>
            </a:blip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6075873" y="3162481"/>
              <a:ext cx="2745070" cy="360363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b="1" noProof="1" smtClean="0">
                  <a:solidFill>
                    <a:srgbClr val="FFFFFF"/>
                  </a:solidFill>
                  <a:cs typeface="Arial" charset="0"/>
                </a:rPr>
                <a:t>Quality leadership </a:t>
              </a:r>
              <a:endParaRPr lang="en-US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3203848" y="3522844"/>
              <a:ext cx="2740931" cy="22786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0" anchor="t" anchorCtr="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600" dirty="0" smtClean="0"/>
                <a:t>Choice of time of market </a:t>
              </a:r>
              <a:r>
                <a:rPr lang="en-US" sz="1600" dirty="0" smtClean="0"/>
                <a:t>entry. Previous </a:t>
              </a:r>
              <a:r>
                <a:rPr lang="en-US" sz="1600" dirty="0" smtClean="0"/>
                <a:t>development time, handling time and production time are important here.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6075873" y="3522844"/>
              <a:ext cx="2744278" cy="2279469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0" anchor="t" anchorCtr="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600" smtClean="0"/>
                <a:t>Determination and implementation of technical improvements and product improvements with the target to always provide the best quality on the market.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323850" y="3522844"/>
              <a:ext cx="2745071" cy="227867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08000" bIns="0" anchor="t" anchorCtr="0"/>
            <a:lstStyle/>
            <a:p>
              <a:pPr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defRPr/>
              </a:pPr>
              <a:r>
                <a:rPr lang="en-US" sz="1600" smtClean="0"/>
                <a:t>Causing lower costs than competitor i.e. though production of large amounts and low priced procurements. Mostly this doesn’t require a large market share.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56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ompetitive Advantage </a:t>
            </a:r>
            <a:r>
              <a:rPr lang="en-US" b="0" smtClean="0"/>
              <a:t>- 5 Principle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 smtClean="0"/>
              <a:t>A competitive advantage over the competition is a superior performance</a:t>
            </a:r>
            <a:br>
              <a:rPr lang="en-US" dirty="0" smtClean="0"/>
            </a:br>
            <a:r>
              <a:rPr lang="en-US" dirty="0" smtClean="0"/>
              <a:t>or property</a:t>
            </a:r>
            <a:endParaRPr lang="en-US" noProof="1"/>
          </a:p>
        </p:txBody>
      </p:sp>
      <p:grpSp>
        <p:nvGrpSpPr>
          <p:cNvPr id="16" name="Gruppieren 15"/>
          <p:cNvGrpSpPr/>
          <p:nvPr/>
        </p:nvGrpSpPr>
        <p:grpSpPr>
          <a:xfrm>
            <a:off x="323850" y="2020815"/>
            <a:ext cx="8496300" cy="2796059"/>
            <a:chOff x="323850" y="2020815"/>
            <a:chExt cx="8496300" cy="2796059"/>
          </a:xfrm>
        </p:grpSpPr>
        <p:sp>
          <p:nvSpPr>
            <p:cNvPr id="7" name="AutoShape 2"/>
            <p:cNvSpPr>
              <a:spLocks noChangeArrowheads="1"/>
            </p:cNvSpPr>
            <p:nvPr/>
          </p:nvSpPr>
          <p:spPr bwMode="gray">
            <a:xfrm>
              <a:off x="332700" y="2529868"/>
              <a:ext cx="1615680" cy="61828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Principle of survival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8" name="AutoShape 3"/>
            <p:cNvSpPr>
              <a:spLocks noChangeArrowheads="1"/>
            </p:cNvSpPr>
            <p:nvPr/>
          </p:nvSpPr>
          <p:spPr bwMode="gray">
            <a:xfrm>
              <a:off x="2057820" y="2529868"/>
              <a:ext cx="1615680" cy="61828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Opportunity</a:t>
              </a:r>
              <a:b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principle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AutoShape 4"/>
            <p:cNvSpPr>
              <a:spLocks noChangeArrowheads="1"/>
            </p:cNvSpPr>
            <p:nvPr/>
          </p:nvSpPr>
          <p:spPr bwMode="gray">
            <a:xfrm>
              <a:off x="3782940" y="2529868"/>
              <a:ext cx="1615680" cy="61828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Perceptual principle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0" name="AutoShape 5"/>
            <p:cNvSpPr>
              <a:spLocks noChangeArrowheads="1"/>
            </p:cNvSpPr>
            <p:nvPr/>
          </p:nvSpPr>
          <p:spPr bwMode="gray">
            <a:xfrm>
              <a:off x="5490780" y="2529868"/>
              <a:ext cx="1615680" cy="61828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Concentration principle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/>
          </p:nvSpPr>
          <p:spPr bwMode="gray">
            <a:xfrm>
              <a:off x="7204380" y="2529868"/>
              <a:ext cx="1615680" cy="61828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0" rIns="7200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Consistency principle</a:t>
              </a:r>
              <a:endParaRPr lang="en-US" sz="16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gray">
            <a:xfrm>
              <a:off x="323850" y="2020815"/>
              <a:ext cx="8496300" cy="418927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81639" tIns="53620" rIns="81639" bIns="40820"/>
            <a:lstStyle/>
            <a:p>
              <a:pPr algn="ctr">
                <a:tabLst>
                  <a:tab pos="656650" algn="l"/>
                  <a:tab pos="1313299" algn="l"/>
                  <a:tab pos="1969949" algn="l"/>
                  <a:tab pos="2626599" algn="l"/>
                  <a:tab pos="3283248" algn="l"/>
                  <a:tab pos="3939898" algn="l"/>
                  <a:tab pos="4596548" algn="l"/>
                  <a:tab pos="5253198" algn="l"/>
                  <a:tab pos="5909847" algn="l"/>
                  <a:tab pos="6566497" algn="l"/>
                  <a:tab pos="7223147" algn="l"/>
                  <a:tab pos="7879796" algn="l"/>
                </a:tabLst>
              </a:pPr>
              <a:r>
                <a:rPr lang="en-US" sz="2000" b="1" noProof="1" smtClean="0"/>
                <a:t>A distinction is made between five principles:</a:t>
              </a:r>
              <a:endParaRPr lang="en-US" sz="2000" b="1" noProof="1"/>
            </a:p>
          </p:txBody>
        </p:sp>
        <p:sp>
          <p:nvSpPr>
            <p:cNvPr id="27" name="Textfeld 26"/>
            <p:cNvSpPr txBox="1"/>
            <p:nvPr/>
          </p:nvSpPr>
          <p:spPr bwMode="gray">
            <a:xfrm>
              <a:off x="332700" y="3148148"/>
              <a:ext cx="1615679" cy="166872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At least one strategic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competition advantage must be present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long term).</a:t>
              </a:r>
            </a:p>
          </p:txBody>
        </p:sp>
        <p:sp>
          <p:nvSpPr>
            <p:cNvPr id="28" name="Textfeld 27"/>
            <p:cNvSpPr txBox="1"/>
            <p:nvPr/>
          </p:nvSpPr>
          <p:spPr bwMode="gray">
            <a:xfrm>
              <a:off x="2057820" y="3148149"/>
              <a:ext cx="1615680" cy="166872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Creating competitive advantages through important competitive parameters.</a:t>
              </a:r>
            </a:p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the more the greater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e chance)</a:t>
              </a:r>
            </a:p>
          </p:txBody>
        </p:sp>
        <p:sp>
          <p:nvSpPr>
            <p:cNvPr id="29" name="Textfeld 28"/>
            <p:cNvSpPr txBox="1"/>
            <p:nvPr/>
          </p:nvSpPr>
          <p:spPr bwMode="gray">
            <a:xfrm>
              <a:off x="3782940" y="3148148"/>
              <a:ext cx="1615680" cy="166872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Only competitive advantages that the customer subjectively perceives count (not technical advantages).</a:t>
              </a:r>
            </a:p>
          </p:txBody>
        </p:sp>
        <p:sp>
          <p:nvSpPr>
            <p:cNvPr id="30" name="Textfeld 29"/>
            <p:cNvSpPr txBox="1"/>
            <p:nvPr/>
          </p:nvSpPr>
          <p:spPr bwMode="gray">
            <a:xfrm>
              <a:off x="5490780" y="3148149"/>
              <a:ext cx="1615680" cy="166872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At least one strategic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competitive advantage must be present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(long term).</a:t>
              </a:r>
            </a:p>
          </p:txBody>
        </p:sp>
        <p:sp>
          <p:nvSpPr>
            <p:cNvPr id="32" name="Textfeld 31"/>
            <p:cNvSpPr txBox="1"/>
            <p:nvPr/>
          </p:nvSpPr>
          <p:spPr bwMode="gray">
            <a:xfrm>
              <a:off x="7204380" y="3148148"/>
              <a:ext cx="1615770" cy="166872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144000" rIns="0" bIns="0" anchor="t" anchorCtr="0"/>
            <a:lstStyle/>
            <a:p>
              <a:pPr algn="ctr" defTabSz="801688" eaLnBrk="0" hangingPunct="0">
                <a:lnSpc>
                  <a:spcPct val="95000"/>
                </a:lnSpc>
                <a:spcAft>
                  <a:spcPct val="40000"/>
                </a:spcAft>
                <a:buClr>
                  <a:srgbClr val="808080"/>
                </a:buClr>
                <a:defRPr/>
              </a:pP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Focus on strategic competitive benefits which are most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important for </a:t>
              </a:r>
              <a:b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200" noProof="1" smtClean="0">
                  <a:solidFill>
                    <a:srgbClr val="000000"/>
                  </a:solidFill>
                  <a:cs typeface="Arial" charset="0"/>
                </a:rPr>
                <a:t>the custom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5958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Marketing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72326" y="2567131"/>
            <a:ext cx="6799349" cy="2323808"/>
            <a:chOff x="1172326" y="2567131"/>
            <a:chExt cx="6799349" cy="23238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785747"/>
              <a:ext cx="6799349" cy="21051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>
                  <a:latin typeface="+mj-lt"/>
                </a:rPr>
                <a:t>All activities and processes for the creation, implementation and maintenance of transactional relationships to exchange products in terms of satisfaction of needs (or corporate objectives) to the most favorable conditions.</a:t>
              </a:r>
              <a:br>
                <a:rPr lang="en-US" sz="2400" i="1" noProof="1" smtClean="0">
                  <a:latin typeface="+mj-lt"/>
                </a:rPr>
              </a:br>
              <a:endParaRPr lang="en-US" sz="2400" i="1" noProof="1" smtClean="0">
                <a:latin typeface="+mj-lt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209650" y="256713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6323034" y="428874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ompetitive Advantage </a:t>
            </a:r>
            <a:r>
              <a:rPr lang="en-US" b="0" smtClean="0"/>
              <a:t>- Advantage Matrix</a:t>
            </a:r>
            <a:endParaRPr lang="en-US" b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smtClean="0"/>
              <a:t>Representation of the relationship of competitive advantages and quantities</a:t>
            </a:r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23850" y="1555751"/>
            <a:ext cx="8496300" cy="4246563"/>
            <a:chOff x="323850" y="1555751"/>
            <a:chExt cx="8496300" cy="4246563"/>
          </a:xfrm>
        </p:grpSpPr>
        <p:grpSp>
          <p:nvGrpSpPr>
            <p:cNvPr id="4" name="Gruppieren 26"/>
            <p:cNvGrpSpPr/>
            <p:nvPr/>
          </p:nvGrpSpPr>
          <p:grpSpPr bwMode="gray">
            <a:xfrm>
              <a:off x="1743075" y="1555751"/>
              <a:ext cx="7077075" cy="712820"/>
              <a:chOff x="3155950" y="1555751"/>
              <a:chExt cx="5664200" cy="1415522"/>
            </a:xfrm>
          </p:grpSpPr>
          <p:sp>
            <p:nvSpPr>
              <p:cNvPr id="13" name="Rectangle 5"/>
              <p:cNvSpPr>
                <a:spLocks noChangeArrowheads="1"/>
              </p:cNvSpPr>
              <p:nvPr/>
            </p:nvSpPr>
            <p:spPr bwMode="gray">
              <a:xfrm>
                <a:off x="3155950" y="1555751"/>
                <a:ext cx="2832100" cy="141552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Volume has no /or</a:t>
                </a:r>
                <a:br>
                  <a:rPr lang="en-US" sz="1600" b="1" noProof="1" smtClean="0">
                    <a:cs typeface="Arial" charset="0"/>
                  </a:rPr>
                </a:br>
                <a:r>
                  <a:rPr lang="en-US" sz="1600" b="1" noProof="1" smtClean="0">
                    <a:cs typeface="Arial" charset="0"/>
                  </a:rPr>
                  <a:t>small advantages</a:t>
                </a:r>
                <a:endParaRPr lang="en-US" sz="1600" b="1" noProof="1">
                  <a:cs typeface="Arial" charset="0"/>
                </a:endParaRPr>
              </a:p>
            </p:txBody>
          </p:sp>
          <p:sp>
            <p:nvSpPr>
              <p:cNvPr id="14" name="Rectangle 5"/>
              <p:cNvSpPr>
                <a:spLocks noChangeArrowheads="1"/>
              </p:cNvSpPr>
              <p:nvPr/>
            </p:nvSpPr>
            <p:spPr bwMode="gray">
              <a:xfrm>
                <a:off x="5988050" y="1555751"/>
                <a:ext cx="2832100" cy="141552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Volume has great advantages</a:t>
                </a:r>
              </a:p>
            </p:txBody>
          </p:sp>
        </p:grpSp>
        <p:grpSp>
          <p:nvGrpSpPr>
            <p:cNvPr id="5" name="Gruppieren 25"/>
            <p:cNvGrpSpPr/>
            <p:nvPr/>
          </p:nvGrpSpPr>
          <p:grpSpPr bwMode="gray">
            <a:xfrm>
              <a:off x="323850" y="2268571"/>
              <a:ext cx="1419225" cy="3533743"/>
              <a:chOff x="323850" y="2971273"/>
              <a:chExt cx="2832100" cy="2831041"/>
            </a:xfrm>
          </p:grpSpPr>
          <p:sp>
            <p:nvSpPr>
              <p:cNvPr id="17" name="Rectangle 5"/>
              <p:cNvSpPr>
                <a:spLocks noChangeArrowheads="1"/>
              </p:cNvSpPr>
              <p:nvPr/>
            </p:nvSpPr>
            <p:spPr bwMode="gray">
              <a:xfrm>
                <a:off x="323850" y="2971273"/>
                <a:ext cx="2832100" cy="141552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Many competitive advantages</a:t>
                </a:r>
                <a:endParaRPr lang="en-US" sz="1600" b="1" noProof="1">
                  <a:cs typeface="Arial" charset="0"/>
                </a:endParaRPr>
              </a:p>
            </p:txBody>
          </p:sp>
          <p:sp>
            <p:nvSpPr>
              <p:cNvPr id="22" name="Rectangle 5"/>
              <p:cNvSpPr>
                <a:spLocks noChangeArrowheads="1"/>
              </p:cNvSpPr>
              <p:nvPr/>
            </p:nvSpPr>
            <p:spPr bwMode="gray">
              <a:xfrm>
                <a:off x="323850" y="4386792"/>
                <a:ext cx="2832100" cy="141552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b="1" noProof="1" smtClean="0">
                    <a:cs typeface="Arial" charset="0"/>
                  </a:rPr>
                  <a:t>Only a few competitive advantages possible</a:t>
                </a:r>
                <a:endParaRPr lang="en-US" sz="1600" b="1" noProof="1">
                  <a:cs typeface="Arial" charset="0"/>
                </a:endParaRPr>
              </a:p>
            </p:txBody>
          </p:sp>
        </p:grpSp>
        <p:grpSp>
          <p:nvGrpSpPr>
            <p:cNvPr id="6" name="Gruppieren 24"/>
            <p:cNvGrpSpPr/>
            <p:nvPr/>
          </p:nvGrpSpPr>
          <p:grpSpPr bwMode="gray">
            <a:xfrm>
              <a:off x="1743076" y="2268571"/>
              <a:ext cx="7077074" cy="3533743"/>
              <a:chOff x="3155950" y="2971273"/>
              <a:chExt cx="5664199" cy="2831041"/>
            </a:xfrm>
          </p:grpSpPr>
          <p:sp>
            <p:nvSpPr>
              <p:cNvPr id="18" name="Rectangle 5"/>
              <p:cNvSpPr>
                <a:spLocks noChangeArrowheads="1"/>
              </p:cNvSpPr>
              <p:nvPr/>
            </p:nvSpPr>
            <p:spPr bwMode="gray">
              <a:xfrm>
                <a:off x="3155950" y="2971273"/>
                <a:ext cx="2832100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Niche business</a:t>
                </a:r>
              </a:p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(Restaurants, consultants)</a:t>
                </a: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" name="Rectangle 5"/>
              <p:cNvSpPr>
                <a:spLocks noChangeArrowheads="1"/>
              </p:cNvSpPr>
              <p:nvPr/>
            </p:nvSpPr>
            <p:spPr bwMode="gray">
              <a:xfrm>
                <a:off x="5988049" y="2971273"/>
                <a:ext cx="2832100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Special business</a:t>
                </a:r>
              </a:p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(Journals, instruments)</a:t>
                </a: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Rectangle 5"/>
              <p:cNvSpPr>
                <a:spLocks noChangeArrowheads="1"/>
              </p:cNvSpPr>
              <p:nvPr/>
            </p:nvSpPr>
            <p:spPr bwMode="gray">
              <a:xfrm>
                <a:off x="3155950" y="4386792"/>
                <a:ext cx="2832100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>
                    <a:solidFill>
                      <a:srgbClr val="000000"/>
                    </a:solidFill>
                    <a:cs typeface="Arial" charset="0"/>
                  </a:rPr>
                  <a:t>Patt-business</a:t>
                </a:r>
              </a:p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>
                    <a:solidFill>
                      <a:srgbClr val="000000"/>
                    </a:solidFill>
                    <a:cs typeface="Arial" charset="0"/>
                  </a:rPr>
                  <a:t>(Basic materials chemistry, standard paper)</a:t>
                </a:r>
              </a:p>
            </p:txBody>
          </p:sp>
          <p:sp>
            <p:nvSpPr>
              <p:cNvPr id="24" name="Rectangle 5"/>
              <p:cNvSpPr>
                <a:spLocks noChangeArrowheads="1"/>
              </p:cNvSpPr>
              <p:nvPr/>
            </p:nvSpPr>
            <p:spPr bwMode="gray">
              <a:xfrm>
                <a:off x="5988049" y="4386792"/>
                <a:ext cx="2832100" cy="1415522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Volume business</a:t>
                </a:r>
              </a:p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600" noProof="1" smtClean="0">
                    <a:solidFill>
                      <a:srgbClr val="000000"/>
                    </a:solidFill>
                    <a:cs typeface="Arial" charset="0"/>
                  </a:rPr>
                  <a:t>(PC's, IC's)</a:t>
                </a:r>
                <a:endParaRPr lang="en-US" sz="16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Strategies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dirty="0"/>
              <a:t>Representation of coherences between competitive advantages and amounts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323850" y="1727960"/>
            <a:ext cx="8496300" cy="4074353"/>
            <a:chOff x="323850" y="1727960"/>
            <a:chExt cx="8496300" cy="4074353"/>
          </a:xfrm>
        </p:grpSpPr>
        <p:sp>
          <p:nvSpPr>
            <p:cNvPr id="16" name="Rechteck 15"/>
            <p:cNvSpPr/>
            <p:nvPr/>
          </p:nvSpPr>
          <p:spPr bwMode="gray">
            <a:xfrm>
              <a:off x="323850" y="5237922"/>
              <a:ext cx="8496300" cy="56439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Cost leader and benefit leader require singularity characteristics </a:t>
              </a:r>
              <a:b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sz="1600" noProof="1" smtClean="0">
                  <a:solidFill>
                    <a:srgbClr val="000000"/>
                  </a:solidFill>
                  <a:cs typeface="Arial" charset="0"/>
                </a:rPr>
                <a:t>otherwise they lose their leading positions.</a:t>
              </a: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" name="Gruppieren 31"/>
            <p:cNvGrpSpPr/>
            <p:nvPr/>
          </p:nvGrpSpPr>
          <p:grpSpPr bwMode="gray">
            <a:xfrm>
              <a:off x="864383" y="1727960"/>
              <a:ext cx="7092168" cy="3509962"/>
              <a:chOff x="762783" y="1727960"/>
              <a:chExt cx="7092168" cy="3509962"/>
            </a:xfrm>
          </p:grpSpPr>
          <p:sp>
            <p:nvSpPr>
              <p:cNvPr id="1031" name="Line 7"/>
              <p:cNvSpPr>
                <a:spLocks noChangeShapeType="1"/>
              </p:cNvSpPr>
              <p:nvPr/>
            </p:nvSpPr>
            <p:spPr bwMode="gray">
              <a:xfrm flipV="1">
                <a:off x="1303338" y="1727960"/>
                <a:ext cx="1588" cy="3509962"/>
              </a:xfrm>
              <a:prstGeom prst="line">
                <a:avLst/>
              </a:prstGeom>
              <a:noFill/>
              <a:ln w="12700" cap="flat">
                <a:solidFill>
                  <a:srgbClr val="7D7D7D"/>
                </a:solidFill>
                <a:prstDash val="solid"/>
                <a:miter lim="800000"/>
                <a:headEnd/>
                <a:tailEnd type="triangle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2" name="Line 8"/>
              <p:cNvSpPr>
                <a:spLocks noChangeShapeType="1"/>
              </p:cNvSpPr>
              <p:nvPr/>
            </p:nvSpPr>
            <p:spPr bwMode="gray">
              <a:xfrm flipV="1">
                <a:off x="1303338" y="4255259"/>
                <a:ext cx="6551613" cy="0"/>
              </a:xfrm>
              <a:prstGeom prst="line">
                <a:avLst/>
              </a:prstGeom>
              <a:noFill/>
              <a:ln w="12700" cap="flat">
                <a:solidFill>
                  <a:srgbClr val="7D7D7D"/>
                </a:solidFill>
                <a:prstDash val="solid"/>
                <a:miter lim="800000"/>
                <a:headEnd/>
                <a:tailEnd type="triangle"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0" name="Freeform 6"/>
              <p:cNvSpPr>
                <a:spLocks/>
              </p:cNvSpPr>
              <p:nvPr/>
            </p:nvSpPr>
            <p:spPr bwMode="gray">
              <a:xfrm>
                <a:off x="2489200" y="2778885"/>
                <a:ext cx="4271963" cy="1919287"/>
              </a:xfrm>
              <a:custGeom>
                <a:avLst/>
                <a:gdLst/>
                <a:ahLst/>
                <a:cxnLst>
                  <a:cxn ang="0">
                    <a:pos x="1139" y="0"/>
                  </a:cxn>
                  <a:cxn ang="0">
                    <a:pos x="569" y="512"/>
                  </a:cxn>
                  <a:cxn ang="0">
                    <a:pos x="0" y="0"/>
                  </a:cxn>
                </a:cxnLst>
                <a:rect l="0" t="0" r="r" b="b"/>
                <a:pathLst>
                  <a:path w="1139" h="512">
                    <a:moveTo>
                      <a:pt x="1139" y="0"/>
                    </a:moveTo>
                    <a:cubicBezTo>
                      <a:pt x="1139" y="283"/>
                      <a:pt x="884" y="512"/>
                      <a:pt x="569" y="512"/>
                    </a:cubicBezTo>
                    <a:cubicBezTo>
                      <a:pt x="255" y="512"/>
                      <a:pt x="0" y="283"/>
                      <a:pt x="0" y="0"/>
                    </a:cubicBezTo>
                  </a:path>
                </a:pathLst>
              </a:custGeom>
              <a:noFill/>
              <a:ln w="38100" cap="flat">
                <a:solidFill>
                  <a:schemeClr val="accent1"/>
                </a:solidFill>
                <a:prstDash val="solid"/>
                <a:miter lim="800000"/>
                <a:headEnd/>
                <a:tailEnd type="none"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5000"/>
                  </a:lnSpc>
                  <a:spcAft>
                    <a:spcPts val="800"/>
                  </a:spcAft>
                </a:pPr>
                <a:endParaRPr lang="en-US" noProof="1"/>
              </a:p>
            </p:txBody>
          </p:sp>
          <p:sp>
            <p:nvSpPr>
              <p:cNvPr id="21" name="Rechteck 20"/>
              <p:cNvSpPr/>
              <p:nvPr/>
            </p:nvSpPr>
            <p:spPr bwMode="gray">
              <a:xfrm rot="16200000">
                <a:off x="311762" y="3298275"/>
                <a:ext cx="127137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mtClean="0"/>
                  <a:t>Profitability</a:t>
                </a:r>
                <a:endParaRPr lang="en-US" dirty="0"/>
              </a:p>
            </p:txBody>
          </p:sp>
          <p:sp>
            <p:nvSpPr>
              <p:cNvPr id="22" name="Rechteck 21"/>
              <p:cNvSpPr/>
              <p:nvPr/>
            </p:nvSpPr>
            <p:spPr bwMode="gray">
              <a:xfrm>
                <a:off x="1867557" y="2203102"/>
                <a:ext cx="124328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mtClean="0"/>
                  <a:t>Cost leader</a:t>
                </a:r>
                <a:endParaRPr lang="en-US" dirty="0"/>
              </a:p>
            </p:txBody>
          </p:sp>
          <p:sp>
            <p:nvSpPr>
              <p:cNvPr id="23" name="Rechteck 22"/>
              <p:cNvSpPr/>
              <p:nvPr/>
            </p:nvSpPr>
            <p:spPr bwMode="gray">
              <a:xfrm>
                <a:off x="6006215" y="2203102"/>
                <a:ext cx="150990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mtClean="0"/>
                  <a:t>Benefit leader</a:t>
                </a:r>
                <a:endParaRPr lang="en-US" dirty="0"/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4479147" y="4256847"/>
                <a:ext cx="29206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smtClean="0"/>
                  <a:t>?</a:t>
                </a:r>
                <a:endParaRPr lang="en-US" b="1" dirty="0"/>
              </a:p>
            </p:txBody>
          </p:sp>
          <p:sp>
            <p:nvSpPr>
              <p:cNvPr id="28" name="Rechteck 27"/>
              <p:cNvSpPr/>
              <p:nvPr/>
            </p:nvSpPr>
            <p:spPr bwMode="gray">
              <a:xfrm>
                <a:off x="7477898" y="4256847"/>
                <a:ext cx="3000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smtClean="0"/>
                  <a:t>+</a:t>
                </a:r>
                <a:endParaRPr lang="en-US" b="1" dirty="0"/>
              </a:p>
            </p:txBody>
          </p:sp>
          <p:sp>
            <p:nvSpPr>
              <p:cNvPr id="29" name="Rechteck 28"/>
              <p:cNvSpPr/>
              <p:nvPr/>
            </p:nvSpPr>
            <p:spPr bwMode="gray">
              <a:xfrm>
                <a:off x="1443480" y="4256847"/>
                <a:ext cx="25519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smtClean="0"/>
                  <a:t>-</a:t>
                </a:r>
                <a:endParaRPr lang="en-US" b="1" dirty="0"/>
              </a:p>
            </p:txBody>
          </p:sp>
          <p:sp>
            <p:nvSpPr>
              <p:cNvPr id="30" name="Rechteck 29"/>
              <p:cNvSpPr/>
              <p:nvPr/>
            </p:nvSpPr>
            <p:spPr bwMode="gray">
              <a:xfrm>
                <a:off x="1004514" y="4868590"/>
                <a:ext cx="25519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smtClean="0"/>
                  <a:t>-</a:t>
                </a:r>
                <a:endParaRPr lang="en-US" b="1" dirty="0"/>
              </a:p>
            </p:txBody>
          </p:sp>
          <p:sp>
            <p:nvSpPr>
              <p:cNvPr id="31" name="Rechteck 30"/>
              <p:cNvSpPr/>
              <p:nvPr/>
            </p:nvSpPr>
            <p:spPr bwMode="gray">
              <a:xfrm>
                <a:off x="1004844" y="1833770"/>
                <a:ext cx="3000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smtClean="0"/>
                  <a:t>+</a:t>
                </a:r>
                <a:endParaRPr lang="en-US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05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 flipH="1">
            <a:off x="-1" y="-1"/>
            <a:ext cx="9144001" cy="6858001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4800" dirty="0">
              <a:solidFill>
                <a:srgbClr val="F8F8F8"/>
              </a:solidFill>
            </a:endParaRPr>
          </a:p>
        </p:txBody>
      </p:sp>
      <p:pic>
        <p:nvPicPr>
          <p:cNvPr id="7" name="Picture 4" descr="\\NAS\CH_Produktion\05_Vorlagen_und_Designs\zur_Veröffentlichung\Nach Thema\Strategie - Ziele\T042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-1" y="1104454"/>
            <a:ext cx="9144001" cy="227965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 txBox="1">
            <a:spLocks/>
          </p:cNvSpPr>
          <p:nvPr/>
        </p:nvSpPr>
        <p:spPr bwMode="gray">
          <a:xfrm>
            <a:off x="647702" y="3608702"/>
            <a:ext cx="7856218" cy="67710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ts val="6500"/>
              </a:lnSpc>
              <a:spcBef>
                <a:spcPct val="0"/>
              </a:spcBef>
              <a:defRPr/>
            </a:pPr>
            <a:r>
              <a:rPr lang="en-US" sz="6600" b="1" noProof="1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+mj-lt"/>
                <a:ea typeface="+mj-ea"/>
                <a:cs typeface="+mj-cs"/>
              </a:rPr>
              <a:t>Marketing Models</a:t>
            </a:r>
            <a:endParaRPr lang="en-US" sz="66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1" name="Untertitel 2"/>
          <p:cNvSpPr txBox="1">
            <a:spLocks/>
          </p:cNvSpPr>
          <p:nvPr/>
        </p:nvSpPr>
        <p:spPr bwMode="gray">
          <a:xfrm>
            <a:off x="647702" y="4326978"/>
            <a:ext cx="7856218" cy="938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sz="2800" noProof="1">
                <a:solidFill>
                  <a:schemeClr val="bg1"/>
                </a:solidFill>
              </a:rPr>
              <a:t>Established models</a:t>
            </a:r>
            <a:endParaRPr kumimoji="0" lang="en-US" sz="2800" b="0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6995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Competition </a:t>
            </a:r>
            <a:r>
              <a:rPr lang="en-US" b="0" noProof="1" smtClean="0"/>
              <a:t>- Driving Force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five driving forces of sector competition (according to Porter)</a:t>
            </a:r>
            <a:endParaRPr lang="en-US" noProof="1"/>
          </a:p>
        </p:txBody>
      </p:sp>
      <p:grpSp>
        <p:nvGrpSpPr>
          <p:cNvPr id="4" name="Gruppieren 21"/>
          <p:cNvGrpSpPr/>
          <p:nvPr/>
        </p:nvGrpSpPr>
        <p:grpSpPr>
          <a:xfrm>
            <a:off x="323850" y="1555749"/>
            <a:ext cx="8497092" cy="4246565"/>
            <a:chOff x="323850" y="1555749"/>
            <a:chExt cx="8497092" cy="4246565"/>
          </a:xfrm>
        </p:grpSpPr>
        <p:sp>
          <p:nvSpPr>
            <p:cNvPr id="6" name="Rechteck 5"/>
            <p:cNvSpPr/>
            <p:nvPr/>
          </p:nvSpPr>
          <p:spPr bwMode="gray">
            <a:xfrm>
              <a:off x="3881324" y="1555749"/>
              <a:ext cx="1381353" cy="80255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Potentially new competitors</a:t>
              </a:r>
            </a:p>
          </p:txBody>
        </p:sp>
        <p:sp>
          <p:nvSpPr>
            <p:cNvPr id="14" name="Rechteck 13"/>
            <p:cNvSpPr/>
            <p:nvPr/>
          </p:nvSpPr>
          <p:spPr bwMode="gray">
            <a:xfrm>
              <a:off x="3881719" y="4999763"/>
              <a:ext cx="1381353" cy="80255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/>
                <a:t>Substitution products</a:t>
              </a:r>
              <a:endParaRPr lang="en-US" sz="1400" b="1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Rechteck 14"/>
            <p:cNvSpPr/>
            <p:nvPr/>
          </p:nvSpPr>
          <p:spPr bwMode="gray">
            <a:xfrm>
              <a:off x="7439589" y="3277756"/>
              <a:ext cx="1381353" cy="80255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Buyer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23850" y="3277756"/>
              <a:ext cx="1381353" cy="80255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 smtClean="0">
                  <a:solidFill>
                    <a:srgbClr val="000000"/>
                  </a:solidFill>
                  <a:cs typeface="Arial" charset="0"/>
                </a:rPr>
                <a:t>Suppliers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563992" y="3022436"/>
              <a:ext cx="2016807" cy="131319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94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noProof="1">
                  <a:solidFill>
                    <a:srgbClr val="FFFFFF"/>
                  </a:solidFill>
                </a:rPr>
                <a:t>Competitors in the industry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400" b="1" noProof="1">
                  <a:solidFill>
                    <a:srgbClr val="FFFFFF"/>
                  </a:solidFill>
                </a:rPr>
                <a:t>Rivalry among existing companies</a:t>
              </a:r>
            </a:p>
          </p:txBody>
        </p:sp>
        <p:sp>
          <p:nvSpPr>
            <p:cNvPr id="18" name="Pfeil nach rechts 17"/>
            <p:cNvSpPr/>
            <p:nvPr/>
          </p:nvSpPr>
          <p:spPr bwMode="gray">
            <a:xfrm>
              <a:off x="2062029" y="3491024"/>
              <a:ext cx="1145137" cy="376015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Pfeil nach links 18"/>
            <p:cNvSpPr/>
            <p:nvPr/>
          </p:nvSpPr>
          <p:spPr bwMode="gray">
            <a:xfrm>
              <a:off x="5937625" y="3491024"/>
              <a:ext cx="1145137" cy="376015"/>
            </a:xfrm>
            <a:prstGeom prst="lef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Pfeil nach oben 19"/>
            <p:cNvSpPr/>
            <p:nvPr/>
          </p:nvSpPr>
          <p:spPr bwMode="gray">
            <a:xfrm>
              <a:off x="4384387" y="4392126"/>
              <a:ext cx="376016" cy="551137"/>
            </a:xfrm>
            <a:prstGeom prst="up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Pfeil nach unten 20"/>
            <p:cNvSpPr/>
            <p:nvPr/>
          </p:nvSpPr>
          <p:spPr bwMode="gray">
            <a:xfrm>
              <a:off x="4384387" y="2414800"/>
              <a:ext cx="376016" cy="551137"/>
            </a:xfrm>
            <a:prstGeom prst="down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2000" tIns="108000" rIns="72000" bIns="7200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endParaRPr lang="en-US" sz="1400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Textfeld 22"/>
            <p:cNvSpPr txBox="1"/>
            <p:nvPr/>
          </p:nvSpPr>
          <p:spPr bwMode="gray">
            <a:xfrm>
              <a:off x="4742038" y="2413369"/>
              <a:ext cx="110414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noProof="1" smtClean="0"/>
                <a:t>Threat of new competitors</a:t>
              </a:r>
              <a:endParaRPr lang="en-US" sz="1000" noProof="1"/>
            </a:p>
          </p:txBody>
        </p:sp>
        <p:sp>
          <p:nvSpPr>
            <p:cNvPr id="24" name="Textfeld 23"/>
            <p:cNvSpPr txBox="1"/>
            <p:nvPr/>
          </p:nvSpPr>
          <p:spPr bwMode="gray">
            <a:xfrm>
              <a:off x="2984269" y="4515390"/>
              <a:ext cx="140011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noProof="1" smtClean="0"/>
                <a:t>Threat of substitution products or services</a:t>
              </a:r>
              <a:endParaRPr lang="en-US" sz="1000" noProof="1"/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6045694" y="3895614"/>
              <a:ext cx="110414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noProof="1" smtClean="0"/>
                <a:t>Bargaining power of buyers</a:t>
              </a:r>
              <a:endParaRPr lang="en-US" sz="1000" noProof="1"/>
            </a:p>
          </p:txBody>
        </p:sp>
        <p:sp>
          <p:nvSpPr>
            <p:cNvPr id="26" name="Textfeld 25"/>
            <p:cNvSpPr txBox="1"/>
            <p:nvPr/>
          </p:nvSpPr>
          <p:spPr bwMode="gray">
            <a:xfrm>
              <a:off x="1987212" y="3070034"/>
              <a:ext cx="110414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noProof="1" smtClean="0"/>
                <a:t>Bargaining power of suppliers</a:t>
              </a:r>
              <a:endParaRPr lang="en-US" sz="10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8717847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53"/>
          <p:cNvGrpSpPr/>
          <p:nvPr/>
        </p:nvGrpSpPr>
        <p:grpSpPr bwMode="gray">
          <a:xfrm>
            <a:off x="0" y="4685056"/>
            <a:ext cx="9144000" cy="1341120"/>
            <a:chOff x="0" y="4236720"/>
            <a:chExt cx="9144000" cy="1341120"/>
          </a:xfrm>
        </p:grpSpPr>
        <p:sp>
          <p:nvSpPr>
            <p:cNvPr id="55" name="Rechteck 54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noProof="1"/>
            </a:p>
          </p:txBody>
        </p:sp>
      </p:grpSp>
      <p:sp>
        <p:nvSpPr>
          <p:cNvPr id="256011" name="Rectangle 1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Marketing </a:t>
            </a:r>
            <a:r>
              <a:rPr lang="de-DE" b="0" dirty="0" smtClean="0"/>
              <a:t>- 4P-Model</a:t>
            </a:r>
            <a:endParaRPr lang="de-DE" noProof="1"/>
          </a:p>
        </p:txBody>
      </p:sp>
      <p:sp>
        <p:nvSpPr>
          <p:cNvPr id="57" name="Textplatzhalter 5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smtClean="0"/>
              <a:t>Product, Price, Place, Promotion</a:t>
            </a:r>
            <a:endParaRPr lang="de-DE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44842" y="1513389"/>
            <a:ext cx="9057626" cy="4528027"/>
            <a:chOff x="44842" y="1513389"/>
            <a:chExt cx="9057626" cy="4528027"/>
          </a:xfrm>
        </p:grpSpPr>
        <p:sp>
          <p:nvSpPr>
            <p:cNvPr id="84" name="Ellipse 83"/>
            <p:cNvSpPr/>
            <p:nvPr/>
          </p:nvSpPr>
          <p:spPr bwMode="gray">
            <a:xfrm>
              <a:off x="5512953" y="5471533"/>
              <a:ext cx="3589515" cy="32601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7000"/>
                  </a:srgbClr>
                </a:gs>
                <a:gs pos="100000">
                  <a:srgbClr val="7F7F7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20" name="Gruppieren 19"/>
            <p:cNvGrpSpPr/>
            <p:nvPr/>
          </p:nvGrpSpPr>
          <p:grpSpPr>
            <a:xfrm>
              <a:off x="44842" y="1513389"/>
              <a:ext cx="8775308" cy="4528027"/>
              <a:chOff x="44842" y="1513389"/>
              <a:chExt cx="8775308" cy="4528027"/>
            </a:xfrm>
          </p:grpSpPr>
          <p:sp>
            <p:nvSpPr>
              <p:cNvPr id="82" name="Ellipse 81"/>
              <p:cNvSpPr/>
              <p:nvPr/>
            </p:nvSpPr>
            <p:spPr bwMode="gray">
              <a:xfrm>
                <a:off x="1271882" y="5441950"/>
                <a:ext cx="6600237" cy="59946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52000"/>
                    </a:srgbClr>
                  </a:gs>
                  <a:gs pos="100000">
                    <a:srgbClr val="7F7F7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83" name="Ellipse 82"/>
              <p:cNvSpPr/>
              <p:nvPr/>
            </p:nvSpPr>
            <p:spPr bwMode="gray">
              <a:xfrm>
                <a:off x="44842" y="5471533"/>
                <a:ext cx="3589515" cy="326017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7000"/>
                    </a:srgbClr>
                  </a:gs>
                  <a:gs pos="100000">
                    <a:srgbClr val="7F7F7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grpSp>
            <p:nvGrpSpPr>
              <p:cNvPr id="73" name="Gruppieren 72"/>
              <p:cNvGrpSpPr/>
              <p:nvPr/>
            </p:nvGrpSpPr>
            <p:grpSpPr bwMode="gray">
              <a:xfrm>
                <a:off x="323850" y="1513389"/>
                <a:ext cx="8496300" cy="4325727"/>
                <a:chOff x="323850" y="1513389"/>
                <a:chExt cx="8496300" cy="4325727"/>
              </a:xfrm>
            </p:grpSpPr>
            <p:sp>
              <p:nvSpPr>
                <p:cNvPr id="63" name="Rechteckiger Pfeil 3"/>
                <p:cNvSpPr/>
                <p:nvPr/>
              </p:nvSpPr>
              <p:spPr bwMode="gray">
                <a:xfrm>
                  <a:off x="2155012" y="2193068"/>
                  <a:ext cx="727371" cy="7314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7371" h="731407">
                      <a:moveTo>
                        <a:pt x="565353" y="0"/>
                      </a:moveTo>
                      <a:lnTo>
                        <a:pt x="727371" y="162018"/>
                      </a:lnTo>
                      <a:lnTo>
                        <a:pt x="565353" y="324036"/>
                      </a:lnTo>
                      <a:lnTo>
                        <a:pt x="565353" y="243027"/>
                      </a:lnTo>
                      <a:lnTo>
                        <a:pt x="362831" y="243027"/>
                      </a:lnTo>
                      <a:cubicBezTo>
                        <a:pt x="295721" y="243027"/>
                        <a:pt x="241317" y="297431"/>
                        <a:pt x="241317" y="364541"/>
                      </a:cubicBezTo>
                      <a:lnTo>
                        <a:pt x="241317" y="573105"/>
                      </a:lnTo>
                      <a:lnTo>
                        <a:pt x="324894" y="573105"/>
                      </a:lnTo>
                      <a:lnTo>
                        <a:pt x="162447" y="731407"/>
                      </a:lnTo>
                      <a:lnTo>
                        <a:pt x="0" y="573105"/>
                      </a:lnTo>
                      <a:lnTo>
                        <a:pt x="79299" y="573105"/>
                      </a:lnTo>
                      <a:lnTo>
                        <a:pt x="79299" y="364541"/>
                      </a:lnTo>
                      <a:cubicBezTo>
                        <a:pt x="79299" y="207951"/>
                        <a:pt x="206241" y="81009"/>
                        <a:pt x="362831" y="81009"/>
                      </a:cubicBezTo>
                      <a:lnTo>
                        <a:pt x="565353" y="8100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90500" indent="-19050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buFont typeface="Wingdings" pitchFamily="2" charset="2"/>
                    <a:buChar char="§"/>
                    <a:defRPr/>
                  </a:pPr>
                  <a:endParaRPr lang="de-DE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5" name="Rechteckiger Pfeil 3"/>
                <p:cNvSpPr/>
                <p:nvPr/>
              </p:nvSpPr>
              <p:spPr bwMode="gray">
                <a:xfrm flipH="1">
                  <a:off x="6328058" y="2193068"/>
                  <a:ext cx="727371" cy="7314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7371" h="731407">
                      <a:moveTo>
                        <a:pt x="565353" y="0"/>
                      </a:moveTo>
                      <a:lnTo>
                        <a:pt x="727371" y="162018"/>
                      </a:lnTo>
                      <a:lnTo>
                        <a:pt x="565353" y="324036"/>
                      </a:lnTo>
                      <a:lnTo>
                        <a:pt x="565353" y="243027"/>
                      </a:lnTo>
                      <a:lnTo>
                        <a:pt x="362831" y="243027"/>
                      </a:lnTo>
                      <a:cubicBezTo>
                        <a:pt x="295721" y="243027"/>
                        <a:pt x="241317" y="297431"/>
                        <a:pt x="241317" y="364541"/>
                      </a:cubicBezTo>
                      <a:lnTo>
                        <a:pt x="241317" y="573105"/>
                      </a:lnTo>
                      <a:lnTo>
                        <a:pt x="324894" y="573105"/>
                      </a:lnTo>
                      <a:lnTo>
                        <a:pt x="162447" y="731407"/>
                      </a:lnTo>
                      <a:lnTo>
                        <a:pt x="0" y="573105"/>
                      </a:lnTo>
                      <a:lnTo>
                        <a:pt x="79299" y="573105"/>
                      </a:lnTo>
                      <a:lnTo>
                        <a:pt x="79299" y="364541"/>
                      </a:lnTo>
                      <a:cubicBezTo>
                        <a:pt x="79299" y="207951"/>
                        <a:pt x="206241" y="81009"/>
                        <a:pt x="362831" y="81009"/>
                      </a:cubicBezTo>
                      <a:lnTo>
                        <a:pt x="565353" y="8100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90500" indent="-19050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buFont typeface="Wingdings" pitchFamily="2" charset="2"/>
                    <a:buChar char="§"/>
                    <a:defRPr/>
                  </a:pPr>
                  <a:endParaRPr lang="de-DE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0" name="Rechteckiger Pfeil 3"/>
                <p:cNvSpPr/>
                <p:nvPr/>
              </p:nvSpPr>
              <p:spPr bwMode="gray">
                <a:xfrm flipV="1">
                  <a:off x="2155012" y="4470195"/>
                  <a:ext cx="727371" cy="7314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7371" h="731407">
                      <a:moveTo>
                        <a:pt x="565353" y="0"/>
                      </a:moveTo>
                      <a:lnTo>
                        <a:pt x="727371" y="162018"/>
                      </a:lnTo>
                      <a:lnTo>
                        <a:pt x="565353" y="324036"/>
                      </a:lnTo>
                      <a:lnTo>
                        <a:pt x="565353" y="243027"/>
                      </a:lnTo>
                      <a:lnTo>
                        <a:pt x="362831" y="243027"/>
                      </a:lnTo>
                      <a:cubicBezTo>
                        <a:pt x="295721" y="243027"/>
                        <a:pt x="241317" y="297431"/>
                        <a:pt x="241317" y="364541"/>
                      </a:cubicBezTo>
                      <a:lnTo>
                        <a:pt x="241317" y="573105"/>
                      </a:lnTo>
                      <a:lnTo>
                        <a:pt x="324894" y="573105"/>
                      </a:lnTo>
                      <a:lnTo>
                        <a:pt x="162447" y="731407"/>
                      </a:lnTo>
                      <a:lnTo>
                        <a:pt x="0" y="573105"/>
                      </a:lnTo>
                      <a:lnTo>
                        <a:pt x="79299" y="573105"/>
                      </a:lnTo>
                      <a:lnTo>
                        <a:pt x="79299" y="364541"/>
                      </a:lnTo>
                      <a:cubicBezTo>
                        <a:pt x="79299" y="207951"/>
                        <a:pt x="206241" y="81009"/>
                        <a:pt x="362831" y="81009"/>
                      </a:cubicBezTo>
                      <a:lnTo>
                        <a:pt x="565353" y="8100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90500" indent="-19050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buFont typeface="Wingdings" pitchFamily="2" charset="2"/>
                    <a:buChar char="§"/>
                    <a:defRPr/>
                  </a:pPr>
                  <a:endParaRPr lang="de-DE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2" name="Rechteckiger Pfeil 3"/>
                <p:cNvSpPr/>
                <p:nvPr/>
              </p:nvSpPr>
              <p:spPr bwMode="gray">
                <a:xfrm flipH="1" flipV="1">
                  <a:off x="6328058" y="4470195"/>
                  <a:ext cx="727371" cy="7314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7371" h="731407">
                      <a:moveTo>
                        <a:pt x="565353" y="0"/>
                      </a:moveTo>
                      <a:lnTo>
                        <a:pt x="727371" y="162018"/>
                      </a:lnTo>
                      <a:lnTo>
                        <a:pt x="565353" y="324036"/>
                      </a:lnTo>
                      <a:lnTo>
                        <a:pt x="565353" y="243027"/>
                      </a:lnTo>
                      <a:lnTo>
                        <a:pt x="362831" y="243027"/>
                      </a:lnTo>
                      <a:cubicBezTo>
                        <a:pt x="295721" y="243027"/>
                        <a:pt x="241317" y="297431"/>
                        <a:pt x="241317" y="364541"/>
                      </a:cubicBezTo>
                      <a:lnTo>
                        <a:pt x="241317" y="573105"/>
                      </a:lnTo>
                      <a:lnTo>
                        <a:pt x="324894" y="573105"/>
                      </a:lnTo>
                      <a:lnTo>
                        <a:pt x="162447" y="731407"/>
                      </a:lnTo>
                      <a:lnTo>
                        <a:pt x="0" y="573105"/>
                      </a:lnTo>
                      <a:lnTo>
                        <a:pt x="79299" y="573105"/>
                      </a:lnTo>
                      <a:lnTo>
                        <a:pt x="79299" y="364541"/>
                      </a:lnTo>
                      <a:cubicBezTo>
                        <a:pt x="79299" y="207951"/>
                        <a:pt x="206241" y="81009"/>
                        <a:pt x="362831" y="81009"/>
                      </a:cubicBezTo>
                      <a:lnTo>
                        <a:pt x="565353" y="8100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190500" indent="-19050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buFont typeface="Wingdings" pitchFamily="2" charset="2"/>
                    <a:buChar char="§"/>
                    <a:defRPr/>
                  </a:pPr>
                  <a:endParaRPr lang="de-DE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72" name="Pfeil in vier Richtungen 71"/>
                <p:cNvSpPr/>
                <p:nvPr/>
              </p:nvSpPr>
              <p:spPr bwMode="gray">
                <a:xfrm>
                  <a:off x="3372618" y="2791221"/>
                  <a:ext cx="2398764" cy="1770063"/>
                </a:xfrm>
                <a:prstGeom prst="quadArrow">
                  <a:avLst>
                    <a:gd name="adj1" fmla="val 8724"/>
                    <a:gd name="adj2" fmla="val 10016"/>
                    <a:gd name="adj3" fmla="val 10446"/>
                  </a:avLst>
                </a:prstGeom>
                <a:gradFill flip="none" rotWithShape="1">
                  <a:gsLst>
                    <a:gs pos="0">
                      <a:srgbClr val="D7D7D7"/>
                    </a:gs>
                    <a:gs pos="100000">
                      <a:srgbClr val="FFFFFF"/>
                    </a:gs>
                  </a:gsLst>
                  <a:lin ang="16200000" scaled="1"/>
                  <a:tileRect/>
                </a:gradFill>
                <a:ln w="12700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08000" tIns="108000" rIns="144000" bIns="72000"/>
                <a:lstStyle/>
                <a:p>
                  <a:pPr marL="190500" indent="-190500">
                    <a:lnSpc>
                      <a:spcPct val="95000"/>
                    </a:lnSpc>
                    <a:spcAft>
                      <a:spcPts val="800"/>
                    </a:spcAft>
                    <a:buClr>
                      <a:srgbClr val="969696"/>
                    </a:buClr>
                    <a:buFont typeface="Wingdings" pitchFamily="2" charset="2"/>
                    <a:buChar char="§"/>
                    <a:defRPr/>
                  </a:pPr>
                  <a:endParaRPr lang="de-DE" sz="1600" noProof="1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68" name="Rectangle 17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323850" y="3061040"/>
                  <a:ext cx="3048768" cy="1277832"/>
                </a:xfrm>
                <a:prstGeom prst="roundRect">
                  <a:avLst>
                    <a:gd name="adj" fmla="val 5337"/>
                  </a:avLst>
                </a:prstGeom>
                <a:gradFill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defRPr/>
                  </a:pPr>
                  <a:r>
                    <a:rPr lang="de-DE" sz="2000" b="1" noProof="1" smtClean="0"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cs typeface="Arial" charset="0"/>
                    </a:rPr>
                    <a:t>PRICE</a:t>
                  </a:r>
                </a:p>
              </p:txBody>
            </p:sp>
            <p:sp>
              <p:nvSpPr>
                <p:cNvPr id="69" name="Rectangle 17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3048715" y="1513389"/>
                  <a:ext cx="3048768" cy="1277832"/>
                </a:xfrm>
                <a:prstGeom prst="roundRect">
                  <a:avLst>
                    <a:gd name="adj" fmla="val 5337"/>
                  </a:avLst>
                </a:prstGeom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defRPr/>
                  </a:pPr>
                  <a:r>
                    <a:rPr lang="de-DE" sz="2000" b="1" noProof="1" smtClean="0"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cs typeface="Arial" charset="0"/>
                    </a:rPr>
                    <a:t>PRODUCT</a:t>
                  </a:r>
                </a:p>
              </p:txBody>
            </p:sp>
            <p:sp>
              <p:nvSpPr>
                <p:cNvPr id="70" name="Rectangle 17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3048715" y="4561284"/>
                  <a:ext cx="3048768" cy="1277832"/>
                </a:xfrm>
                <a:prstGeom prst="roundRect">
                  <a:avLst>
                    <a:gd name="adj" fmla="val 5337"/>
                  </a:avLst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defRPr/>
                  </a:pPr>
                  <a:r>
                    <a:rPr lang="de-DE" sz="2000" b="1" noProof="1" smtClean="0"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cs typeface="Arial" charset="0"/>
                    </a:rPr>
                    <a:t>PROMOTION</a:t>
                  </a:r>
                </a:p>
              </p:txBody>
            </p:sp>
            <p:sp>
              <p:nvSpPr>
                <p:cNvPr id="71" name="Rectangle 17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5771382" y="3061040"/>
                  <a:ext cx="3048768" cy="1277832"/>
                </a:xfrm>
                <a:prstGeom prst="roundRect">
                  <a:avLst>
                    <a:gd name="adj" fmla="val 5337"/>
                  </a:avLst>
                </a:prstGeom>
                <a:gradFill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12700" algn="ctr">
                  <a:solidFill>
                    <a:srgbClr val="C0C0C0"/>
                  </a:solidFill>
                  <a:miter lim="800000"/>
                  <a:headEnd/>
                  <a:tailEnd/>
                </a:ln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0" tIns="0" rIns="0" bIns="0" anchor="ctr"/>
                <a:lstStyle/>
                <a:p>
                  <a:pPr algn="ctr" defTabSz="801688" eaLnBrk="0" hangingPunct="0">
                    <a:defRPr/>
                  </a:pPr>
                  <a:r>
                    <a:rPr lang="de-DE" sz="2000" b="1" noProof="1" smtClean="0"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cs typeface="Arial" charset="0"/>
                    </a:rPr>
                    <a:t>PLAC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515653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53"/>
          <p:cNvGrpSpPr/>
          <p:nvPr/>
        </p:nvGrpSpPr>
        <p:grpSpPr bwMode="gray">
          <a:xfrm>
            <a:off x="0" y="2113306"/>
            <a:ext cx="9144000" cy="1341120"/>
            <a:chOff x="0" y="4236720"/>
            <a:chExt cx="9144000" cy="1341120"/>
          </a:xfrm>
        </p:grpSpPr>
        <p:sp>
          <p:nvSpPr>
            <p:cNvPr id="55" name="Rechteck 54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56011" name="Rectangle 1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</a:t>
            </a:r>
            <a:r>
              <a:rPr lang="en-US" b="0" noProof="1" smtClean="0"/>
              <a:t>- 4P-Model</a:t>
            </a:r>
            <a:endParaRPr lang="en-US" noProof="1"/>
          </a:p>
        </p:txBody>
      </p:sp>
      <p:sp>
        <p:nvSpPr>
          <p:cNvPr id="57" name="Textplatzhalter 5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Product, Price, Place, Promotion</a:t>
            </a:r>
            <a:endParaRPr lang="en-US" noProof="1"/>
          </a:p>
        </p:txBody>
      </p:sp>
      <p:grpSp>
        <p:nvGrpSpPr>
          <p:cNvPr id="3" name="Gruppieren 19"/>
          <p:cNvGrpSpPr/>
          <p:nvPr/>
        </p:nvGrpSpPr>
        <p:grpSpPr bwMode="gray">
          <a:xfrm>
            <a:off x="323850" y="1715689"/>
            <a:ext cx="8496300" cy="4325727"/>
            <a:chOff x="323850" y="1715689"/>
            <a:chExt cx="8496300" cy="4325727"/>
          </a:xfrm>
          <a:scene3d>
            <a:camera prst="perspectiveRelaxed"/>
            <a:lightRig rig="balanced" dir="t"/>
          </a:scene3d>
        </p:grpSpPr>
        <p:sp>
          <p:nvSpPr>
            <p:cNvPr id="63" name="Rechteckiger Pfeil 3"/>
            <p:cNvSpPr/>
            <p:nvPr/>
          </p:nvSpPr>
          <p:spPr bwMode="gray">
            <a:xfrm>
              <a:off x="2155012" y="2395368"/>
              <a:ext cx="727371" cy="731407"/>
            </a:xfrm>
            <a:custGeom>
              <a:avLst/>
              <a:gdLst/>
              <a:ahLst/>
              <a:cxnLst/>
              <a:rect l="l" t="t" r="r" b="b"/>
              <a:pathLst>
                <a:path w="727371" h="731407">
                  <a:moveTo>
                    <a:pt x="565353" y="0"/>
                  </a:moveTo>
                  <a:lnTo>
                    <a:pt x="727371" y="162018"/>
                  </a:lnTo>
                  <a:lnTo>
                    <a:pt x="565353" y="324036"/>
                  </a:lnTo>
                  <a:lnTo>
                    <a:pt x="565353" y="243027"/>
                  </a:lnTo>
                  <a:lnTo>
                    <a:pt x="362831" y="243027"/>
                  </a:lnTo>
                  <a:cubicBezTo>
                    <a:pt x="295721" y="243027"/>
                    <a:pt x="241317" y="297431"/>
                    <a:pt x="241317" y="364541"/>
                  </a:cubicBezTo>
                  <a:lnTo>
                    <a:pt x="241317" y="573105"/>
                  </a:lnTo>
                  <a:lnTo>
                    <a:pt x="324894" y="573105"/>
                  </a:lnTo>
                  <a:lnTo>
                    <a:pt x="162447" y="731407"/>
                  </a:lnTo>
                  <a:lnTo>
                    <a:pt x="0" y="573105"/>
                  </a:lnTo>
                  <a:lnTo>
                    <a:pt x="79299" y="573105"/>
                  </a:lnTo>
                  <a:lnTo>
                    <a:pt x="79299" y="364541"/>
                  </a:lnTo>
                  <a:cubicBezTo>
                    <a:pt x="79299" y="207951"/>
                    <a:pt x="206241" y="81009"/>
                    <a:pt x="362831" y="81009"/>
                  </a:cubicBezTo>
                  <a:lnTo>
                    <a:pt x="565353" y="81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01600" dist="25400" dir="5400000" sx="104000" sy="104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" name="Rechteckiger Pfeil 3"/>
            <p:cNvSpPr/>
            <p:nvPr/>
          </p:nvSpPr>
          <p:spPr bwMode="gray">
            <a:xfrm flipH="1">
              <a:off x="6328058" y="2395368"/>
              <a:ext cx="727371" cy="731407"/>
            </a:xfrm>
            <a:custGeom>
              <a:avLst/>
              <a:gdLst/>
              <a:ahLst/>
              <a:cxnLst/>
              <a:rect l="l" t="t" r="r" b="b"/>
              <a:pathLst>
                <a:path w="727371" h="731407">
                  <a:moveTo>
                    <a:pt x="565353" y="0"/>
                  </a:moveTo>
                  <a:lnTo>
                    <a:pt x="727371" y="162018"/>
                  </a:lnTo>
                  <a:lnTo>
                    <a:pt x="565353" y="324036"/>
                  </a:lnTo>
                  <a:lnTo>
                    <a:pt x="565353" y="243027"/>
                  </a:lnTo>
                  <a:lnTo>
                    <a:pt x="362831" y="243027"/>
                  </a:lnTo>
                  <a:cubicBezTo>
                    <a:pt x="295721" y="243027"/>
                    <a:pt x="241317" y="297431"/>
                    <a:pt x="241317" y="364541"/>
                  </a:cubicBezTo>
                  <a:lnTo>
                    <a:pt x="241317" y="573105"/>
                  </a:lnTo>
                  <a:lnTo>
                    <a:pt x="324894" y="573105"/>
                  </a:lnTo>
                  <a:lnTo>
                    <a:pt x="162447" y="731407"/>
                  </a:lnTo>
                  <a:lnTo>
                    <a:pt x="0" y="573105"/>
                  </a:lnTo>
                  <a:lnTo>
                    <a:pt x="79299" y="573105"/>
                  </a:lnTo>
                  <a:lnTo>
                    <a:pt x="79299" y="364541"/>
                  </a:lnTo>
                  <a:cubicBezTo>
                    <a:pt x="79299" y="207951"/>
                    <a:pt x="206241" y="81009"/>
                    <a:pt x="362831" y="81009"/>
                  </a:cubicBezTo>
                  <a:lnTo>
                    <a:pt x="565353" y="81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01600" dist="25400" dir="5400000" sx="104000" sy="104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0" name="Rechteckiger Pfeil 3"/>
            <p:cNvSpPr/>
            <p:nvPr/>
          </p:nvSpPr>
          <p:spPr bwMode="gray">
            <a:xfrm flipV="1">
              <a:off x="2155012" y="4672495"/>
              <a:ext cx="727371" cy="731407"/>
            </a:xfrm>
            <a:custGeom>
              <a:avLst/>
              <a:gdLst/>
              <a:ahLst/>
              <a:cxnLst/>
              <a:rect l="l" t="t" r="r" b="b"/>
              <a:pathLst>
                <a:path w="727371" h="731407">
                  <a:moveTo>
                    <a:pt x="565353" y="0"/>
                  </a:moveTo>
                  <a:lnTo>
                    <a:pt x="727371" y="162018"/>
                  </a:lnTo>
                  <a:lnTo>
                    <a:pt x="565353" y="324036"/>
                  </a:lnTo>
                  <a:lnTo>
                    <a:pt x="565353" y="243027"/>
                  </a:lnTo>
                  <a:lnTo>
                    <a:pt x="362831" y="243027"/>
                  </a:lnTo>
                  <a:cubicBezTo>
                    <a:pt x="295721" y="243027"/>
                    <a:pt x="241317" y="297431"/>
                    <a:pt x="241317" y="364541"/>
                  </a:cubicBezTo>
                  <a:lnTo>
                    <a:pt x="241317" y="573105"/>
                  </a:lnTo>
                  <a:lnTo>
                    <a:pt x="324894" y="573105"/>
                  </a:lnTo>
                  <a:lnTo>
                    <a:pt x="162447" y="731407"/>
                  </a:lnTo>
                  <a:lnTo>
                    <a:pt x="0" y="573105"/>
                  </a:lnTo>
                  <a:lnTo>
                    <a:pt x="79299" y="573105"/>
                  </a:lnTo>
                  <a:lnTo>
                    <a:pt x="79299" y="364541"/>
                  </a:lnTo>
                  <a:cubicBezTo>
                    <a:pt x="79299" y="207951"/>
                    <a:pt x="206241" y="81009"/>
                    <a:pt x="362831" y="81009"/>
                  </a:cubicBezTo>
                  <a:lnTo>
                    <a:pt x="565353" y="81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01600" dist="25400" dir="5400000" sx="104000" sy="104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2" name="Rechteckiger Pfeil 3"/>
            <p:cNvSpPr/>
            <p:nvPr/>
          </p:nvSpPr>
          <p:spPr bwMode="gray">
            <a:xfrm flipH="1" flipV="1">
              <a:off x="6328058" y="4672495"/>
              <a:ext cx="727371" cy="731407"/>
            </a:xfrm>
            <a:custGeom>
              <a:avLst/>
              <a:gdLst/>
              <a:ahLst/>
              <a:cxnLst/>
              <a:rect l="l" t="t" r="r" b="b"/>
              <a:pathLst>
                <a:path w="727371" h="731407">
                  <a:moveTo>
                    <a:pt x="565353" y="0"/>
                  </a:moveTo>
                  <a:lnTo>
                    <a:pt x="727371" y="162018"/>
                  </a:lnTo>
                  <a:lnTo>
                    <a:pt x="565353" y="324036"/>
                  </a:lnTo>
                  <a:lnTo>
                    <a:pt x="565353" y="243027"/>
                  </a:lnTo>
                  <a:lnTo>
                    <a:pt x="362831" y="243027"/>
                  </a:lnTo>
                  <a:cubicBezTo>
                    <a:pt x="295721" y="243027"/>
                    <a:pt x="241317" y="297431"/>
                    <a:pt x="241317" y="364541"/>
                  </a:cubicBezTo>
                  <a:lnTo>
                    <a:pt x="241317" y="573105"/>
                  </a:lnTo>
                  <a:lnTo>
                    <a:pt x="324894" y="573105"/>
                  </a:lnTo>
                  <a:lnTo>
                    <a:pt x="162447" y="731407"/>
                  </a:lnTo>
                  <a:lnTo>
                    <a:pt x="0" y="573105"/>
                  </a:lnTo>
                  <a:lnTo>
                    <a:pt x="79299" y="573105"/>
                  </a:lnTo>
                  <a:lnTo>
                    <a:pt x="79299" y="364541"/>
                  </a:lnTo>
                  <a:cubicBezTo>
                    <a:pt x="79299" y="207951"/>
                    <a:pt x="206241" y="81009"/>
                    <a:pt x="362831" y="81009"/>
                  </a:cubicBezTo>
                  <a:lnTo>
                    <a:pt x="565353" y="810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01600" dist="25400" dir="5400000" sx="104000" sy="104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2" name="Pfeil in vier Richtungen 71"/>
            <p:cNvSpPr/>
            <p:nvPr/>
          </p:nvSpPr>
          <p:spPr bwMode="gray">
            <a:xfrm>
              <a:off x="3491880" y="3081526"/>
              <a:ext cx="2160240" cy="1594054"/>
            </a:xfrm>
            <a:prstGeom prst="quadArrow">
              <a:avLst>
                <a:gd name="adj1" fmla="val 8724"/>
                <a:gd name="adj2" fmla="val 10016"/>
                <a:gd name="adj3" fmla="val 1044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01600" dist="25400" dir="5400000" sx="104000" sy="104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3850" y="3263340"/>
              <a:ext cx="3048768" cy="1277832"/>
            </a:xfrm>
            <a:prstGeom prst="roundRect">
              <a:avLst>
                <a:gd name="adj" fmla="val 5337"/>
              </a:avLst>
            </a:pr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88900" dist="38100" dir="5400000" sx="103000" sy="103000" algn="t" rotWithShape="0">
                <a:prstClr val="black">
                  <a:alpha val="45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ICE</a:t>
              </a:r>
            </a:p>
          </p:txBody>
        </p:sp>
        <p:sp>
          <p:nvSpPr>
            <p:cNvPr id="69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048715" y="1715689"/>
              <a:ext cx="3048768" cy="127783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88900" dist="38100" dir="5400000" sx="103000" sy="103000" algn="t" rotWithShape="0">
                <a:prstClr val="black">
                  <a:alpha val="45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DUCT</a:t>
              </a:r>
            </a:p>
          </p:txBody>
        </p:sp>
        <p:sp>
          <p:nvSpPr>
            <p:cNvPr id="70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048715" y="4763584"/>
              <a:ext cx="3048768" cy="127783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88900" dist="38100" dir="5400000" sx="103000" sy="103000" algn="t" rotWithShape="0">
                <a:prstClr val="black">
                  <a:alpha val="45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MOTION</a:t>
              </a:r>
            </a:p>
          </p:txBody>
        </p:sp>
        <p:sp>
          <p:nvSpPr>
            <p:cNvPr id="71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771382" y="3263340"/>
              <a:ext cx="3048768" cy="127783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88900" dist="38100" dir="5400000" sx="103000" sy="103000" algn="t" rotWithShape="0">
                <a:prstClr val="black">
                  <a:alpha val="45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8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LA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37340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53"/>
          <p:cNvGrpSpPr/>
          <p:nvPr/>
        </p:nvGrpSpPr>
        <p:grpSpPr bwMode="gray">
          <a:xfrm>
            <a:off x="0" y="4685056"/>
            <a:ext cx="9144000" cy="1341120"/>
            <a:chOff x="0" y="4236720"/>
            <a:chExt cx="9144000" cy="1341120"/>
          </a:xfrm>
        </p:grpSpPr>
        <p:sp>
          <p:nvSpPr>
            <p:cNvPr id="55" name="Rechteck 54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56011" name="Rectangle 1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5P-Model</a:t>
            </a:r>
            <a:endParaRPr lang="en-US" noProof="1"/>
          </a:p>
        </p:txBody>
      </p:sp>
      <p:sp>
        <p:nvSpPr>
          <p:cNvPr id="57" name="Textplatzhalter 5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xpansion of the 4P model with the aspect of “Personnel”</a:t>
            </a:r>
            <a:endParaRPr lang="en-US" noProof="1"/>
          </a:p>
        </p:txBody>
      </p:sp>
      <p:grpSp>
        <p:nvGrpSpPr>
          <p:cNvPr id="21" name="Gruppieren 20"/>
          <p:cNvGrpSpPr/>
          <p:nvPr/>
        </p:nvGrpSpPr>
        <p:grpSpPr>
          <a:xfrm>
            <a:off x="540756" y="1554954"/>
            <a:ext cx="8561712" cy="4520894"/>
            <a:chOff x="540756" y="1554954"/>
            <a:chExt cx="8561712" cy="4520894"/>
          </a:xfrm>
        </p:grpSpPr>
        <p:sp>
          <p:nvSpPr>
            <p:cNvPr id="84" name="Ellipse 83"/>
            <p:cNvSpPr/>
            <p:nvPr/>
          </p:nvSpPr>
          <p:spPr bwMode="gray">
            <a:xfrm>
              <a:off x="5512953" y="5471533"/>
              <a:ext cx="3589515" cy="32601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7000"/>
                  </a:srgbClr>
                </a:gs>
                <a:gs pos="100000">
                  <a:srgbClr val="7F7F7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82" name="Ellipse 81"/>
            <p:cNvSpPr/>
            <p:nvPr/>
          </p:nvSpPr>
          <p:spPr bwMode="gray">
            <a:xfrm>
              <a:off x="633557" y="5450628"/>
              <a:ext cx="4434988" cy="62522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2000"/>
                  </a:srgbClr>
                </a:gs>
                <a:gs pos="100000">
                  <a:srgbClr val="7F7F7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6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0756" y="2956608"/>
              <a:ext cx="2579607" cy="1081192"/>
            </a:xfrm>
            <a:prstGeom prst="roundRect">
              <a:avLst>
                <a:gd name="adj" fmla="val 5337"/>
              </a:avLst>
            </a:pr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ICE</a:t>
              </a:r>
            </a:p>
          </p:txBody>
        </p:sp>
        <p:sp>
          <p:nvSpPr>
            <p:cNvPr id="69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83343" y="1554954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DUCT</a:t>
              </a:r>
            </a:p>
          </p:txBody>
        </p:sp>
        <p:sp>
          <p:nvSpPr>
            <p:cNvPr id="71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23637" y="2956608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LACE</a:t>
              </a:r>
            </a:p>
          </p:txBody>
        </p:sp>
        <p:sp>
          <p:nvSpPr>
            <p:cNvPr id="32" name="Rechteckiger Pfeil 3"/>
            <p:cNvSpPr/>
            <p:nvPr/>
          </p:nvSpPr>
          <p:spPr bwMode="gray">
            <a:xfrm rot="15300000">
              <a:off x="2356532" y="4225450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Rechteckiger Pfeil 3"/>
            <p:cNvSpPr/>
            <p:nvPr/>
          </p:nvSpPr>
          <p:spPr bwMode="gray">
            <a:xfrm rot="17100000">
              <a:off x="6149644" y="4225450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Rechteckiger Pfeil 3"/>
            <p:cNvSpPr/>
            <p:nvPr/>
          </p:nvSpPr>
          <p:spPr bwMode="gray">
            <a:xfrm>
              <a:off x="4280252" y="5105082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Ellipse 34"/>
            <p:cNvSpPr/>
            <p:nvPr/>
          </p:nvSpPr>
          <p:spPr bwMode="gray">
            <a:xfrm>
              <a:off x="4102198" y="5450628"/>
              <a:ext cx="4434988" cy="62522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2000"/>
                  </a:srgbClr>
                </a:gs>
                <a:gs pos="100000">
                  <a:srgbClr val="7F7F7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70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56631" y="4733791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MOTION</a:t>
              </a:r>
            </a:p>
          </p:txBody>
        </p:sp>
        <p:sp>
          <p:nvSpPr>
            <p:cNvPr id="2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007763" y="4733791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ERSONNEL</a:t>
              </a:r>
            </a:p>
          </p:txBody>
        </p:sp>
        <p:sp>
          <p:nvSpPr>
            <p:cNvPr id="36" name="Rechteckiger Pfeil 3"/>
            <p:cNvSpPr/>
            <p:nvPr/>
          </p:nvSpPr>
          <p:spPr bwMode="gray">
            <a:xfrm rot="18900000">
              <a:off x="2642868" y="2428425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Rechteckiger Pfeil 3"/>
            <p:cNvSpPr/>
            <p:nvPr/>
          </p:nvSpPr>
          <p:spPr bwMode="gray">
            <a:xfrm rot="13500000">
              <a:off x="5928957" y="2428425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0" name="Freeform 6"/>
            <p:cNvSpPr>
              <a:spLocks/>
            </p:cNvSpPr>
            <p:nvPr/>
          </p:nvSpPr>
          <p:spPr bwMode="gray">
            <a:xfrm>
              <a:off x="3443668" y="2784476"/>
              <a:ext cx="2244725" cy="1778000"/>
            </a:xfrm>
            <a:custGeom>
              <a:avLst/>
              <a:gdLst/>
              <a:ahLst/>
              <a:cxnLst>
                <a:cxn ang="0">
                  <a:pos x="1281" y="384"/>
                </a:cxn>
                <a:cxn ang="0">
                  <a:pos x="1289" y="447"/>
                </a:cxn>
                <a:cxn ang="0">
                  <a:pos x="756" y="520"/>
                </a:cxn>
                <a:cxn ang="0">
                  <a:pos x="756" y="118"/>
                </a:cxn>
                <a:cxn ang="0">
                  <a:pos x="820" y="118"/>
                </a:cxn>
                <a:cxn ang="0">
                  <a:pos x="706" y="0"/>
                </a:cxn>
                <a:cxn ang="0">
                  <a:pos x="594" y="118"/>
                </a:cxn>
                <a:cxn ang="0">
                  <a:pos x="657" y="118"/>
                </a:cxn>
                <a:cxn ang="0">
                  <a:pos x="657" y="520"/>
                </a:cxn>
                <a:cxn ang="0">
                  <a:pos x="123" y="447"/>
                </a:cxn>
                <a:cxn ang="0">
                  <a:pos x="132" y="384"/>
                </a:cxn>
                <a:cxn ang="0">
                  <a:pos x="0" y="481"/>
                </a:cxn>
                <a:cxn ang="0">
                  <a:pos x="102" y="608"/>
                </a:cxn>
                <a:cxn ang="0">
                  <a:pos x="109" y="544"/>
                </a:cxn>
                <a:cxn ang="0">
                  <a:pos x="618" y="614"/>
                </a:cxn>
                <a:cxn ang="0">
                  <a:pos x="278" y="998"/>
                </a:cxn>
                <a:cxn ang="0">
                  <a:pos x="231" y="956"/>
                </a:cxn>
                <a:cxn ang="0">
                  <a:pos x="237" y="1120"/>
                </a:cxn>
                <a:cxn ang="0">
                  <a:pos x="399" y="1106"/>
                </a:cxn>
                <a:cxn ang="0">
                  <a:pos x="352" y="1063"/>
                </a:cxn>
                <a:cxn ang="0">
                  <a:pos x="706" y="663"/>
                </a:cxn>
                <a:cxn ang="0">
                  <a:pos x="1061" y="1063"/>
                </a:cxn>
                <a:cxn ang="0">
                  <a:pos x="1013" y="1106"/>
                </a:cxn>
                <a:cxn ang="0">
                  <a:pos x="1177" y="1120"/>
                </a:cxn>
                <a:cxn ang="0">
                  <a:pos x="1183" y="956"/>
                </a:cxn>
                <a:cxn ang="0">
                  <a:pos x="1134" y="998"/>
                </a:cxn>
                <a:cxn ang="0">
                  <a:pos x="794" y="614"/>
                </a:cxn>
                <a:cxn ang="0">
                  <a:pos x="1303" y="544"/>
                </a:cxn>
                <a:cxn ang="0">
                  <a:pos x="1312" y="608"/>
                </a:cxn>
                <a:cxn ang="0">
                  <a:pos x="1414" y="481"/>
                </a:cxn>
                <a:cxn ang="0">
                  <a:pos x="1281" y="384"/>
                </a:cxn>
              </a:cxnLst>
              <a:rect l="0" t="0" r="r" b="b"/>
              <a:pathLst>
                <a:path w="1414" h="1120">
                  <a:moveTo>
                    <a:pt x="1281" y="384"/>
                  </a:moveTo>
                  <a:lnTo>
                    <a:pt x="1289" y="447"/>
                  </a:lnTo>
                  <a:lnTo>
                    <a:pt x="756" y="520"/>
                  </a:lnTo>
                  <a:lnTo>
                    <a:pt x="756" y="118"/>
                  </a:lnTo>
                  <a:lnTo>
                    <a:pt x="820" y="118"/>
                  </a:lnTo>
                  <a:lnTo>
                    <a:pt x="706" y="0"/>
                  </a:lnTo>
                  <a:lnTo>
                    <a:pt x="594" y="118"/>
                  </a:lnTo>
                  <a:lnTo>
                    <a:pt x="657" y="118"/>
                  </a:lnTo>
                  <a:lnTo>
                    <a:pt x="657" y="520"/>
                  </a:lnTo>
                  <a:lnTo>
                    <a:pt x="123" y="447"/>
                  </a:lnTo>
                  <a:lnTo>
                    <a:pt x="132" y="384"/>
                  </a:lnTo>
                  <a:lnTo>
                    <a:pt x="0" y="481"/>
                  </a:lnTo>
                  <a:lnTo>
                    <a:pt x="102" y="608"/>
                  </a:lnTo>
                  <a:lnTo>
                    <a:pt x="109" y="544"/>
                  </a:lnTo>
                  <a:lnTo>
                    <a:pt x="618" y="614"/>
                  </a:lnTo>
                  <a:lnTo>
                    <a:pt x="278" y="998"/>
                  </a:lnTo>
                  <a:lnTo>
                    <a:pt x="231" y="956"/>
                  </a:lnTo>
                  <a:lnTo>
                    <a:pt x="237" y="1120"/>
                  </a:lnTo>
                  <a:lnTo>
                    <a:pt x="399" y="1106"/>
                  </a:lnTo>
                  <a:lnTo>
                    <a:pt x="352" y="1063"/>
                  </a:lnTo>
                  <a:lnTo>
                    <a:pt x="706" y="663"/>
                  </a:lnTo>
                  <a:lnTo>
                    <a:pt x="1061" y="1063"/>
                  </a:lnTo>
                  <a:lnTo>
                    <a:pt x="1013" y="1106"/>
                  </a:lnTo>
                  <a:lnTo>
                    <a:pt x="1177" y="1120"/>
                  </a:lnTo>
                  <a:lnTo>
                    <a:pt x="1183" y="956"/>
                  </a:lnTo>
                  <a:lnTo>
                    <a:pt x="1134" y="998"/>
                  </a:lnTo>
                  <a:lnTo>
                    <a:pt x="794" y="614"/>
                  </a:lnTo>
                  <a:lnTo>
                    <a:pt x="1303" y="544"/>
                  </a:lnTo>
                  <a:lnTo>
                    <a:pt x="1312" y="608"/>
                  </a:lnTo>
                  <a:lnTo>
                    <a:pt x="1414" y="481"/>
                  </a:lnTo>
                  <a:lnTo>
                    <a:pt x="1281" y="38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67812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53"/>
          <p:cNvGrpSpPr/>
          <p:nvPr/>
        </p:nvGrpSpPr>
        <p:grpSpPr bwMode="gray">
          <a:xfrm>
            <a:off x="0" y="2113306"/>
            <a:ext cx="9144000" cy="1341120"/>
            <a:chOff x="0" y="4236720"/>
            <a:chExt cx="9144000" cy="1341120"/>
          </a:xfrm>
        </p:grpSpPr>
        <p:sp>
          <p:nvSpPr>
            <p:cNvPr id="31" name="Rechteck 30"/>
            <p:cNvSpPr/>
            <p:nvPr/>
          </p:nvSpPr>
          <p:spPr bwMode="gray">
            <a:xfrm>
              <a:off x="0" y="4389120"/>
              <a:ext cx="9144000" cy="118872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38" name="Rechteck 37"/>
            <p:cNvSpPr/>
            <p:nvPr/>
          </p:nvSpPr>
          <p:spPr bwMode="gray">
            <a:xfrm flipV="1">
              <a:off x="0" y="4236720"/>
              <a:ext cx="9144000" cy="152400"/>
            </a:xfrm>
            <a:prstGeom prst="rect">
              <a:avLst/>
            </a:prstGeom>
            <a:gradFill flip="none" rotWithShape="1">
              <a:gsLst>
                <a:gs pos="98000">
                  <a:srgbClr val="FFFFFF">
                    <a:alpha val="0"/>
                  </a:srgbClr>
                </a:gs>
                <a:gs pos="0">
                  <a:schemeClr val="tx1">
                    <a:alpha val="26000"/>
                  </a:schemeClr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56011" name="Rectangle 11" descr="© INSCALE GmbH, 26.05.2010&#10;http://www.presentationload.com/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5P- Model</a:t>
            </a:r>
            <a:endParaRPr lang="en-US" noProof="1"/>
          </a:p>
        </p:txBody>
      </p:sp>
      <p:sp>
        <p:nvSpPr>
          <p:cNvPr id="57" name="Textplatzhalter 5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xpansion of the 4P model with the aspect of “Personnel”</a:t>
            </a:r>
            <a:endParaRPr lang="en-US" noProof="1"/>
          </a:p>
        </p:txBody>
      </p:sp>
      <p:sp>
        <p:nvSpPr>
          <p:cNvPr id="84" name="Ellipse 83"/>
          <p:cNvSpPr/>
          <p:nvPr/>
        </p:nvSpPr>
        <p:spPr bwMode="gray">
          <a:xfrm>
            <a:off x="5512953" y="5471533"/>
            <a:ext cx="3589515" cy="326017"/>
          </a:xfrm>
          <a:prstGeom prst="ellipse">
            <a:avLst/>
          </a:prstGeom>
          <a:gradFill flip="none" rotWithShape="1">
            <a:gsLst>
              <a:gs pos="0">
                <a:srgbClr val="000000">
                  <a:alpha val="7000"/>
                </a:srgbClr>
              </a:gs>
              <a:gs pos="100000">
                <a:srgbClr val="7F7F7F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noProof="1"/>
          </a:p>
        </p:txBody>
      </p:sp>
      <p:grpSp>
        <p:nvGrpSpPr>
          <p:cNvPr id="3" name="Gruppieren 28"/>
          <p:cNvGrpSpPr/>
          <p:nvPr/>
        </p:nvGrpSpPr>
        <p:grpSpPr bwMode="gray">
          <a:xfrm>
            <a:off x="540756" y="1554954"/>
            <a:ext cx="8062488" cy="4260029"/>
            <a:chOff x="540756" y="1554954"/>
            <a:chExt cx="8062488" cy="4260029"/>
          </a:xfrm>
          <a:scene3d>
            <a:camera prst="perspectiveRelaxed"/>
            <a:lightRig rig="balanced" dir="t"/>
          </a:scene3d>
        </p:grpSpPr>
        <p:sp>
          <p:nvSpPr>
            <p:cNvPr id="6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40756" y="2956608"/>
              <a:ext cx="2579607" cy="1081192"/>
            </a:xfrm>
            <a:prstGeom prst="roundRect">
              <a:avLst>
                <a:gd name="adj" fmla="val 5337"/>
              </a:avLst>
            </a:prstGeom>
            <a:gradFill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101600" dist="38100" dir="5400000" sx="103000" sy="103000" algn="t" rotWithShape="0">
                <a:prstClr val="black">
                  <a:alpha val="40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ICE</a:t>
              </a:r>
            </a:p>
          </p:txBody>
        </p:sp>
        <p:sp>
          <p:nvSpPr>
            <p:cNvPr id="69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283343" y="1554954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101600" dist="38100" dir="5400000" sx="103000" sy="103000" algn="t" rotWithShape="0">
                <a:prstClr val="black">
                  <a:alpha val="40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DUCT</a:t>
              </a:r>
            </a:p>
          </p:txBody>
        </p:sp>
        <p:sp>
          <p:nvSpPr>
            <p:cNvPr id="71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023637" y="2956608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101600" dist="38100" dir="5400000" sx="103000" sy="103000" algn="t" rotWithShape="0">
                <a:prstClr val="black">
                  <a:alpha val="40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LACE</a:t>
              </a:r>
            </a:p>
          </p:txBody>
        </p:sp>
        <p:sp>
          <p:nvSpPr>
            <p:cNvPr id="32" name="Rechteckiger Pfeil 3"/>
            <p:cNvSpPr/>
            <p:nvPr/>
          </p:nvSpPr>
          <p:spPr bwMode="gray">
            <a:xfrm rot="15300000">
              <a:off x="2356532" y="4225450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Rechteckiger Pfeil 3"/>
            <p:cNvSpPr/>
            <p:nvPr/>
          </p:nvSpPr>
          <p:spPr bwMode="gray">
            <a:xfrm rot="17100000">
              <a:off x="6149644" y="4225450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Rechteckiger Pfeil 3"/>
            <p:cNvSpPr/>
            <p:nvPr/>
          </p:nvSpPr>
          <p:spPr bwMode="gray">
            <a:xfrm>
              <a:off x="4280252" y="5105082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0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1556631" y="4733791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101600" dist="38100" dir="5400000" sx="103000" sy="103000" algn="t" rotWithShape="0">
                <a:prstClr val="black">
                  <a:alpha val="40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ROMOTION</a:t>
              </a:r>
            </a:p>
          </p:txBody>
        </p:sp>
        <p:sp>
          <p:nvSpPr>
            <p:cNvPr id="28" name="Rectangle 17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5007763" y="4733791"/>
              <a:ext cx="2579607" cy="1081192"/>
            </a:xfrm>
            <a:prstGeom prst="roundRect">
              <a:avLst>
                <a:gd name="adj" fmla="val 5337"/>
              </a:avLst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12700" algn="ctr">
              <a:noFill/>
              <a:miter lim="800000"/>
              <a:headEnd/>
              <a:tailEnd/>
            </a:ln>
            <a:effectLst>
              <a:outerShdw blurRad="101600" dist="38100" dir="5400000" sx="103000" sy="103000" algn="t" rotWithShape="0">
                <a:prstClr val="black">
                  <a:alpha val="40000"/>
                </a:prstClr>
              </a:outerShdw>
            </a:effectLst>
            <a:sp3d z="25400" extrusionH="114300">
              <a:bevelT w="25400" h="25400"/>
            </a:sp3d>
          </p:spPr>
          <p:txBody>
            <a:bodyPr lIns="0" tIns="0" rIns="0" bIns="0" anchor="ctr"/>
            <a:lstStyle/>
            <a:p>
              <a:pPr algn="ctr" defTabSz="801688" eaLnBrk="0" hangingPunct="0">
                <a:defRPr/>
              </a:pPr>
              <a:r>
                <a:rPr lang="en-US" sz="2400" b="1" noProof="1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Arial" charset="0"/>
                </a:rPr>
                <a:t>PERSONNEL</a:t>
              </a:r>
            </a:p>
          </p:txBody>
        </p:sp>
        <p:sp>
          <p:nvSpPr>
            <p:cNvPr id="36" name="Rechteckiger Pfeil 3"/>
            <p:cNvSpPr/>
            <p:nvPr/>
          </p:nvSpPr>
          <p:spPr bwMode="gray">
            <a:xfrm rot="18900000">
              <a:off x="2642868" y="2428425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Rechteckiger Pfeil 3"/>
            <p:cNvSpPr/>
            <p:nvPr/>
          </p:nvSpPr>
          <p:spPr bwMode="gray">
            <a:xfrm rot="13500000">
              <a:off x="5928957" y="2428425"/>
              <a:ext cx="583495" cy="338611"/>
            </a:xfrm>
            <a:prstGeom prst="leftRightArrow">
              <a:avLst>
                <a:gd name="adj1" fmla="val 48339"/>
                <a:gd name="adj2" fmla="val 44596"/>
              </a:avLst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0" name="Freeform 6"/>
            <p:cNvSpPr>
              <a:spLocks/>
            </p:cNvSpPr>
            <p:nvPr/>
          </p:nvSpPr>
          <p:spPr bwMode="gray">
            <a:xfrm>
              <a:off x="3443668" y="2784476"/>
              <a:ext cx="2244725" cy="1778000"/>
            </a:xfrm>
            <a:custGeom>
              <a:avLst/>
              <a:gdLst/>
              <a:ahLst/>
              <a:cxnLst>
                <a:cxn ang="0">
                  <a:pos x="1281" y="384"/>
                </a:cxn>
                <a:cxn ang="0">
                  <a:pos x="1289" y="447"/>
                </a:cxn>
                <a:cxn ang="0">
                  <a:pos x="756" y="520"/>
                </a:cxn>
                <a:cxn ang="0">
                  <a:pos x="756" y="118"/>
                </a:cxn>
                <a:cxn ang="0">
                  <a:pos x="820" y="118"/>
                </a:cxn>
                <a:cxn ang="0">
                  <a:pos x="706" y="0"/>
                </a:cxn>
                <a:cxn ang="0">
                  <a:pos x="594" y="118"/>
                </a:cxn>
                <a:cxn ang="0">
                  <a:pos x="657" y="118"/>
                </a:cxn>
                <a:cxn ang="0">
                  <a:pos x="657" y="520"/>
                </a:cxn>
                <a:cxn ang="0">
                  <a:pos x="123" y="447"/>
                </a:cxn>
                <a:cxn ang="0">
                  <a:pos x="132" y="384"/>
                </a:cxn>
                <a:cxn ang="0">
                  <a:pos x="0" y="481"/>
                </a:cxn>
                <a:cxn ang="0">
                  <a:pos x="102" y="608"/>
                </a:cxn>
                <a:cxn ang="0">
                  <a:pos x="109" y="544"/>
                </a:cxn>
                <a:cxn ang="0">
                  <a:pos x="618" y="614"/>
                </a:cxn>
                <a:cxn ang="0">
                  <a:pos x="278" y="998"/>
                </a:cxn>
                <a:cxn ang="0">
                  <a:pos x="231" y="956"/>
                </a:cxn>
                <a:cxn ang="0">
                  <a:pos x="237" y="1120"/>
                </a:cxn>
                <a:cxn ang="0">
                  <a:pos x="399" y="1106"/>
                </a:cxn>
                <a:cxn ang="0">
                  <a:pos x="352" y="1063"/>
                </a:cxn>
                <a:cxn ang="0">
                  <a:pos x="706" y="663"/>
                </a:cxn>
                <a:cxn ang="0">
                  <a:pos x="1061" y="1063"/>
                </a:cxn>
                <a:cxn ang="0">
                  <a:pos x="1013" y="1106"/>
                </a:cxn>
                <a:cxn ang="0">
                  <a:pos x="1177" y="1120"/>
                </a:cxn>
                <a:cxn ang="0">
                  <a:pos x="1183" y="956"/>
                </a:cxn>
                <a:cxn ang="0">
                  <a:pos x="1134" y="998"/>
                </a:cxn>
                <a:cxn ang="0">
                  <a:pos x="794" y="614"/>
                </a:cxn>
                <a:cxn ang="0">
                  <a:pos x="1303" y="544"/>
                </a:cxn>
                <a:cxn ang="0">
                  <a:pos x="1312" y="608"/>
                </a:cxn>
                <a:cxn ang="0">
                  <a:pos x="1414" y="481"/>
                </a:cxn>
                <a:cxn ang="0">
                  <a:pos x="1281" y="384"/>
                </a:cxn>
              </a:cxnLst>
              <a:rect l="0" t="0" r="r" b="b"/>
              <a:pathLst>
                <a:path w="1414" h="1120">
                  <a:moveTo>
                    <a:pt x="1281" y="384"/>
                  </a:moveTo>
                  <a:lnTo>
                    <a:pt x="1289" y="447"/>
                  </a:lnTo>
                  <a:lnTo>
                    <a:pt x="756" y="520"/>
                  </a:lnTo>
                  <a:lnTo>
                    <a:pt x="756" y="118"/>
                  </a:lnTo>
                  <a:lnTo>
                    <a:pt x="820" y="118"/>
                  </a:lnTo>
                  <a:lnTo>
                    <a:pt x="706" y="0"/>
                  </a:lnTo>
                  <a:lnTo>
                    <a:pt x="594" y="118"/>
                  </a:lnTo>
                  <a:lnTo>
                    <a:pt x="657" y="118"/>
                  </a:lnTo>
                  <a:lnTo>
                    <a:pt x="657" y="520"/>
                  </a:lnTo>
                  <a:lnTo>
                    <a:pt x="123" y="447"/>
                  </a:lnTo>
                  <a:lnTo>
                    <a:pt x="132" y="384"/>
                  </a:lnTo>
                  <a:lnTo>
                    <a:pt x="0" y="481"/>
                  </a:lnTo>
                  <a:lnTo>
                    <a:pt x="102" y="608"/>
                  </a:lnTo>
                  <a:lnTo>
                    <a:pt x="109" y="544"/>
                  </a:lnTo>
                  <a:lnTo>
                    <a:pt x="618" y="614"/>
                  </a:lnTo>
                  <a:lnTo>
                    <a:pt x="278" y="998"/>
                  </a:lnTo>
                  <a:lnTo>
                    <a:pt x="231" y="956"/>
                  </a:lnTo>
                  <a:lnTo>
                    <a:pt x="237" y="1120"/>
                  </a:lnTo>
                  <a:lnTo>
                    <a:pt x="399" y="1106"/>
                  </a:lnTo>
                  <a:lnTo>
                    <a:pt x="352" y="1063"/>
                  </a:lnTo>
                  <a:lnTo>
                    <a:pt x="706" y="663"/>
                  </a:lnTo>
                  <a:lnTo>
                    <a:pt x="1061" y="1063"/>
                  </a:lnTo>
                  <a:lnTo>
                    <a:pt x="1013" y="1106"/>
                  </a:lnTo>
                  <a:lnTo>
                    <a:pt x="1177" y="1120"/>
                  </a:lnTo>
                  <a:lnTo>
                    <a:pt x="1183" y="956"/>
                  </a:lnTo>
                  <a:lnTo>
                    <a:pt x="1134" y="998"/>
                  </a:lnTo>
                  <a:lnTo>
                    <a:pt x="794" y="614"/>
                  </a:lnTo>
                  <a:lnTo>
                    <a:pt x="1303" y="544"/>
                  </a:lnTo>
                  <a:lnTo>
                    <a:pt x="1312" y="608"/>
                  </a:lnTo>
                  <a:lnTo>
                    <a:pt x="1414" y="481"/>
                  </a:lnTo>
                  <a:lnTo>
                    <a:pt x="1281" y="38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  <a:sp3d extrusionH="1143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sz="16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86144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2"/>
          <p:cNvGrpSpPr/>
          <p:nvPr/>
        </p:nvGrpSpPr>
        <p:grpSpPr>
          <a:xfrm>
            <a:off x="0" y="4976984"/>
            <a:ext cx="9144000" cy="1163782"/>
            <a:chOff x="0" y="4534215"/>
            <a:chExt cx="9144000" cy="1163782"/>
          </a:xfrm>
        </p:grpSpPr>
        <p:sp>
          <p:nvSpPr>
            <p:cNvPr id="35" name="Rechteck 34"/>
            <p:cNvSpPr/>
            <p:nvPr/>
          </p:nvSpPr>
          <p:spPr bwMode="auto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6" name="Rechteck 35"/>
            <p:cNvSpPr/>
            <p:nvPr/>
          </p:nvSpPr>
          <p:spPr bwMode="auto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20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33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111328" y="5593067"/>
            <a:ext cx="2922932" cy="340702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ing Mix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grpSp>
        <p:nvGrpSpPr>
          <p:cNvPr id="3" name="Gruppieren 31"/>
          <p:cNvGrpSpPr/>
          <p:nvPr/>
        </p:nvGrpSpPr>
        <p:grpSpPr>
          <a:xfrm>
            <a:off x="2461181" y="1555750"/>
            <a:ext cx="4245768" cy="4245768"/>
            <a:chOff x="2461181" y="1555750"/>
            <a:chExt cx="4245768" cy="4245768"/>
          </a:xfrm>
        </p:grpSpPr>
        <p:sp>
          <p:nvSpPr>
            <p:cNvPr id="24" name="Ellipse 23"/>
            <p:cNvSpPr/>
            <p:nvPr/>
          </p:nvSpPr>
          <p:spPr bwMode="auto">
            <a:xfrm>
              <a:off x="3468370" y="1555750"/>
              <a:ext cx="2231390" cy="223139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65000"/>
              </a:schemeClr>
            </a:solidFill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tIns="180000" rtlCol="0" anchor="t" anchorCtr="0"/>
            <a:lstStyle/>
            <a:p>
              <a:pPr algn="ctr"/>
              <a:r>
                <a:rPr lang="de-D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duct</a:t>
              </a:r>
              <a:endPara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3468370" y="3570128"/>
              <a:ext cx="2231390" cy="2231390"/>
            </a:xfrm>
            <a:prstGeom prst="ellipse">
              <a:avLst/>
            </a:prstGeom>
            <a:solidFill>
              <a:schemeClr val="bg1">
                <a:lumMod val="85000"/>
                <a:alpha val="65000"/>
              </a:schemeClr>
            </a:solidFill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bIns="180000" rtlCol="0" anchor="b" anchorCtr="0"/>
            <a:lstStyle/>
            <a:p>
              <a:pPr algn="ctr"/>
              <a:r>
                <a:rPr lang="de-D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</a:t>
              </a:r>
              <a:endPara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 bwMode="auto">
            <a:xfrm>
              <a:off x="4475559" y="2562939"/>
              <a:ext cx="2231390" cy="2231390"/>
            </a:xfrm>
            <a:prstGeom prst="ellipse">
              <a:avLst/>
            </a:prstGeom>
            <a:solidFill>
              <a:schemeClr val="bg1">
                <a:lumMod val="65000"/>
                <a:alpha val="65000"/>
              </a:schemeClr>
            </a:solidFill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r"/>
              <a:r>
                <a:rPr lang="de-D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ice</a:t>
              </a:r>
              <a:endPara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8" name="Ellipse 27"/>
            <p:cNvSpPr/>
            <p:nvPr/>
          </p:nvSpPr>
          <p:spPr bwMode="auto">
            <a:xfrm>
              <a:off x="2461181" y="2562939"/>
              <a:ext cx="2231390" cy="2231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65000"/>
              </a:schemeClr>
            </a:solidFill>
            <a:ln w="127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wrap="none" lIns="0" rtlCol="0" anchor="ctr"/>
            <a:lstStyle/>
            <a:p>
              <a:r>
                <a:rPr lang="de-DE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motion</a:t>
              </a:r>
              <a:endParaRPr lang="de-DE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9" name="Ellipse 28"/>
            <p:cNvSpPr/>
            <p:nvPr/>
          </p:nvSpPr>
          <p:spPr bwMode="auto">
            <a:xfrm>
              <a:off x="3631565" y="2726134"/>
              <a:ext cx="1905000" cy="1905000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27000" h="69850"/>
            </a:sp3d>
          </p:spPr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rgbClr val="FFFFFF"/>
                  </a:solidFill>
                </a:rPr>
                <a:t>Target</a:t>
              </a:r>
              <a:br>
                <a:rPr lang="de-DE" b="1" dirty="0" smtClean="0">
                  <a:solidFill>
                    <a:srgbClr val="FFFFFF"/>
                  </a:solidFill>
                </a:rPr>
              </a:br>
              <a:r>
                <a:rPr lang="de-DE" b="1" dirty="0" smtClean="0">
                  <a:solidFill>
                    <a:srgbClr val="FFFFFF"/>
                  </a:solidFill>
                </a:rPr>
                <a:t>Market</a:t>
              </a:r>
              <a:endParaRPr lang="de-DE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655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Marketing 4P‘s</a:t>
            </a:r>
          </a:p>
        </p:txBody>
      </p:sp>
      <p:grpSp>
        <p:nvGrpSpPr>
          <p:cNvPr id="61" name="Gruppieren 60"/>
          <p:cNvGrpSpPr/>
          <p:nvPr/>
        </p:nvGrpSpPr>
        <p:grpSpPr>
          <a:xfrm>
            <a:off x="325039" y="1555749"/>
            <a:ext cx="8495903" cy="4246564"/>
            <a:chOff x="325039" y="1555749"/>
            <a:chExt cx="8495903" cy="4246564"/>
          </a:xfrm>
        </p:grpSpPr>
        <p:sp>
          <p:nvSpPr>
            <p:cNvPr id="15" name="Rechteck 14"/>
            <p:cNvSpPr/>
            <p:nvPr/>
          </p:nvSpPr>
          <p:spPr bwMode="gray">
            <a:xfrm>
              <a:off x="3091679" y="1555749"/>
              <a:ext cx="2686324" cy="432000"/>
            </a:xfrm>
            <a:prstGeom prst="rect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 defTabSz="801688" eaLnBrk="0" hangingPunct="0">
                <a:defRPr/>
              </a:pPr>
              <a:r>
                <a:rPr lang="en-US" sz="2000" b="1" noProof="1" smtClean="0">
                  <a:solidFill>
                    <a:srgbClr val="FFFFFF"/>
                  </a:solidFill>
                  <a:cs typeface="Arial" charset="0"/>
                </a:rPr>
                <a:t>4Ps</a:t>
              </a:r>
              <a:endParaRPr lang="en-US" sz="2000" b="1" noProof="1">
                <a:solidFill>
                  <a:srgbClr val="FFFFFF"/>
                </a:solidFill>
                <a:cs typeface="Arial" charset="0"/>
              </a:endParaRPr>
            </a:p>
          </p:txBody>
        </p:sp>
        <p:grpSp>
          <p:nvGrpSpPr>
            <p:cNvPr id="2" name="Gruppieren 65"/>
            <p:cNvGrpSpPr/>
            <p:nvPr/>
          </p:nvGrpSpPr>
          <p:grpSpPr bwMode="gray">
            <a:xfrm>
              <a:off x="1001077" y="1987749"/>
              <a:ext cx="6897189" cy="355900"/>
              <a:chOff x="1001077" y="1929363"/>
              <a:chExt cx="6897189" cy="347513"/>
            </a:xfrm>
          </p:grpSpPr>
          <p:cxnSp>
            <p:nvCxnSpPr>
              <p:cNvPr id="17" name="Gerade Verbindung 16"/>
              <p:cNvCxnSpPr/>
              <p:nvPr/>
            </p:nvCxnSpPr>
            <p:spPr bwMode="gray">
              <a:xfrm>
                <a:off x="1001077" y="2103120"/>
                <a:ext cx="6897189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17"/>
              <p:cNvCxnSpPr/>
              <p:nvPr/>
            </p:nvCxnSpPr>
            <p:spPr bwMode="gray">
              <a:xfrm rot="5400000">
                <a:off x="918963" y="2189996"/>
                <a:ext cx="173755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 bwMode="gray">
              <a:xfrm rot="5400000">
                <a:off x="7797491" y="2189997"/>
                <a:ext cx="173755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21"/>
              <p:cNvCxnSpPr/>
              <p:nvPr/>
            </p:nvCxnSpPr>
            <p:spPr bwMode="gray">
              <a:xfrm rot="5400000">
                <a:off x="4773154" y="2189998"/>
                <a:ext cx="173755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 bwMode="gray">
              <a:xfrm rot="5400000">
                <a:off x="2972954" y="2189999"/>
                <a:ext cx="173755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 bwMode="gray">
              <a:xfrm rot="5400000">
                <a:off x="4315306" y="2016241"/>
                <a:ext cx="173755" cy="0"/>
              </a:xfrm>
              <a:prstGeom prst="line">
                <a:avLst/>
              </a:prstGeom>
              <a:ln w="28575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" name="Gruppieren 64"/>
            <p:cNvGrpSpPr/>
            <p:nvPr/>
          </p:nvGrpSpPr>
          <p:grpSpPr bwMode="gray">
            <a:xfrm>
              <a:off x="325039" y="2343648"/>
              <a:ext cx="8495903" cy="3458665"/>
              <a:chOff x="325039" y="2343649"/>
              <a:chExt cx="8495903" cy="2880363"/>
            </a:xfrm>
          </p:grpSpPr>
          <p:sp>
            <p:nvSpPr>
              <p:cNvPr id="33" name="Rectangle 19"/>
              <p:cNvSpPr>
                <a:spLocks noChangeArrowheads="1"/>
              </p:cNvSpPr>
              <p:nvPr/>
            </p:nvSpPr>
            <p:spPr bwMode="gray">
              <a:xfrm>
                <a:off x="325039" y="2343649"/>
                <a:ext cx="2123673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Product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4" name="Rectangle 19"/>
              <p:cNvSpPr>
                <a:spLocks noChangeArrowheads="1"/>
              </p:cNvSpPr>
              <p:nvPr/>
            </p:nvSpPr>
            <p:spPr bwMode="gray">
              <a:xfrm>
                <a:off x="2448712" y="2343649"/>
                <a:ext cx="2123673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Price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5" name="Rectangle 19"/>
              <p:cNvSpPr>
                <a:spLocks noChangeArrowheads="1"/>
              </p:cNvSpPr>
              <p:nvPr/>
            </p:nvSpPr>
            <p:spPr bwMode="gray">
              <a:xfrm>
                <a:off x="4572385" y="2343649"/>
                <a:ext cx="2123673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Promotion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36" name="Rectangle 19"/>
              <p:cNvSpPr>
                <a:spLocks noChangeArrowheads="1"/>
              </p:cNvSpPr>
              <p:nvPr/>
            </p:nvSpPr>
            <p:spPr bwMode="gray">
              <a:xfrm>
                <a:off x="6696058" y="2343649"/>
                <a:ext cx="2123673" cy="360363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 defTabSz="801688" eaLnBrk="0" hangingPunct="0">
                  <a:defRPr/>
                </a:pPr>
                <a:r>
                  <a:rPr lang="en-US" sz="2000" b="1" noProof="1" smtClean="0">
                    <a:solidFill>
                      <a:srgbClr val="FFFFFF"/>
                    </a:solidFill>
                    <a:cs typeface="Arial" charset="0"/>
                  </a:rPr>
                  <a:t>Place</a:t>
                </a:r>
                <a:endParaRPr lang="en-US" sz="2000" b="1" noProof="1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27" name="Rectangle 5"/>
              <p:cNvSpPr>
                <a:spLocks noChangeArrowheads="1"/>
              </p:cNvSpPr>
              <p:nvPr/>
            </p:nvSpPr>
            <p:spPr bwMode="gray">
              <a:xfrm>
                <a:off x="325039" y="27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Main usage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3" name="Rectangle 5"/>
              <p:cNvSpPr>
                <a:spLocks noChangeArrowheads="1"/>
              </p:cNvSpPr>
              <p:nvPr/>
            </p:nvSpPr>
            <p:spPr bwMode="gray">
              <a:xfrm>
                <a:off x="2448712" y="27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ndition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4573596" y="27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Advertisement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" name="Rectangle 5"/>
              <p:cNvSpPr>
                <a:spLocks noChangeArrowheads="1"/>
              </p:cNvSpPr>
              <p:nvPr/>
            </p:nvSpPr>
            <p:spPr bwMode="gray">
              <a:xfrm>
                <a:off x="6697269" y="27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trategic distribution/ sale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7" name="Rectangle 5"/>
              <p:cNvSpPr>
                <a:spLocks noChangeArrowheads="1"/>
              </p:cNvSpPr>
              <p:nvPr/>
            </p:nvSpPr>
            <p:spPr bwMode="gray">
              <a:xfrm>
                <a:off x="325039" y="30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ide usage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2448712" y="30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ebate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9" name="Rectangle 5"/>
              <p:cNvSpPr>
                <a:spLocks noChangeArrowheads="1"/>
              </p:cNvSpPr>
              <p:nvPr/>
            </p:nvSpPr>
            <p:spPr bwMode="gray">
              <a:xfrm>
                <a:off x="4573596" y="30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ale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0" name="Rectangle 5"/>
              <p:cNvSpPr>
                <a:spLocks noChangeArrowheads="1"/>
              </p:cNvSpPr>
              <p:nvPr/>
            </p:nvSpPr>
            <p:spPr bwMode="gray">
              <a:xfrm>
                <a:off x="6697269" y="30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hysical</a:t>
                </a:r>
                <a:b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</a:b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istribution/logistics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1" name="Rectangle 5"/>
              <p:cNvSpPr>
                <a:spLocks noChangeArrowheads="1"/>
              </p:cNvSpPr>
              <p:nvPr/>
            </p:nvSpPr>
            <p:spPr bwMode="gray">
              <a:xfrm>
                <a:off x="325039" y="342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Additional usage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2" name="Rectangle 5"/>
              <p:cNvSpPr>
                <a:spLocks noChangeArrowheads="1"/>
              </p:cNvSpPr>
              <p:nvPr/>
            </p:nvSpPr>
            <p:spPr bwMode="gray">
              <a:xfrm>
                <a:off x="2448712" y="342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iscount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3" name="Rectangle 5"/>
              <p:cNvSpPr>
                <a:spLocks noChangeArrowheads="1"/>
              </p:cNvSpPr>
              <p:nvPr/>
            </p:nvSpPr>
            <p:spPr bwMode="gray">
              <a:xfrm>
                <a:off x="4573596" y="342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ponsoring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4" name="Rectangle 5"/>
              <p:cNvSpPr>
                <a:spLocks noChangeArrowheads="1"/>
              </p:cNvSpPr>
              <p:nvPr/>
            </p:nvSpPr>
            <p:spPr bwMode="gray">
              <a:xfrm>
                <a:off x="6697269" y="342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Location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5" name="Rectangle 5"/>
              <p:cNvSpPr>
                <a:spLocks noChangeArrowheads="1"/>
              </p:cNvSpPr>
              <p:nvPr/>
            </p:nvSpPr>
            <p:spPr bwMode="gray">
              <a:xfrm>
                <a:off x="325039" y="378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Brand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Rectangle 5"/>
              <p:cNvSpPr>
                <a:spLocks noChangeArrowheads="1"/>
              </p:cNvSpPr>
              <p:nvPr/>
            </p:nvSpPr>
            <p:spPr bwMode="gray">
              <a:xfrm>
                <a:off x="2448712" y="378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Leasing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7" name="Rectangle 5"/>
              <p:cNvSpPr>
                <a:spLocks noChangeArrowheads="1"/>
              </p:cNvSpPr>
              <p:nvPr/>
            </p:nvSpPr>
            <p:spPr bwMode="gray">
              <a:xfrm>
                <a:off x="4573596" y="378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ales promotion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/>
            </p:nvSpPr>
            <p:spPr bwMode="gray">
              <a:xfrm>
                <a:off x="6697269" y="378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/>
            </p:nvSpPr>
            <p:spPr bwMode="gray">
              <a:xfrm>
                <a:off x="325039" y="414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ntent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2448712" y="414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1" name="Rectangle 5"/>
              <p:cNvSpPr>
                <a:spLocks noChangeArrowheads="1"/>
              </p:cNvSpPr>
              <p:nvPr/>
            </p:nvSpPr>
            <p:spPr bwMode="gray">
              <a:xfrm>
                <a:off x="4573596" y="414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Event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Rectangle 5"/>
              <p:cNvSpPr>
                <a:spLocks noChangeArrowheads="1"/>
              </p:cNvSpPr>
              <p:nvPr/>
            </p:nvSpPr>
            <p:spPr bwMode="gray">
              <a:xfrm>
                <a:off x="6697269" y="414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" name="Rectangle 5"/>
              <p:cNvSpPr>
                <a:spLocks noChangeArrowheads="1"/>
              </p:cNvSpPr>
              <p:nvPr/>
            </p:nvSpPr>
            <p:spPr bwMode="gray">
              <a:xfrm>
                <a:off x="325039" y="45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Quality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Rectangle 5"/>
              <p:cNvSpPr>
                <a:spLocks noChangeArrowheads="1"/>
              </p:cNvSpPr>
              <p:nvPr/>
            </p:nvSpPr>
            <p:spPr bwMode="gray">
              <a:xfrm>
                <a:off x="2448712" y="45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573596" y="45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PR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Rectangle 5"/>
              <p:cNvSpPr>
                <a:spLocks noChangeArrowheads="1"/>
              </p:cNvSpPr>
              <p:nvPr/>
            </p:nvSpPr>
            <p:spPr bwMode="gray">
              <a:xfrm>
                <a:off x="6697269" y="450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Rectangle 5"/>
              <p:cNvSpPr>
                <a:spLocks noChangeArrowheads="1"/>
              </p:cNvSpPr>
              <p:nvPr/>
            </p:nvSpPr>
            <p:spPr bwMode="gray">
              <a:xfrm>
                <a:off x="325039" y="48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Packaging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Rectangle 5"/>
              <p:cNvSpPr>
                <a:spLocks noChangeArrowheads="1"/>
              </p:cNvSpPr>
              <p:nvPr/>
            </p:nvSpPr>
            <p:spPr bwMode="gray">
              <a:xfrm>
                <a:off x="2448712" y="48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Rectangle 5"/>
              <p:cNvSpPr>
                <a:spLocks noChangeArrowheads="1"/>
              </p:cNvSpPr>
              <p:nvPr/>
            </p:nvSpPr>
            <p:spPr bwMode="gray">
              <a:xfrm>
                <a:off x="4573596" y="48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Rectangle 5"/>
              <p:cNvSpPr>
                <a:spLocks noChangeArrowheads="1"/>
              </p:cNvSpPr>
              <p:nvPr/>
            </p:nvSpPr>
            <p:spPr bwMode="gray">
              <a:xfrm>
                <a:off x="6697269" y="4864012"/>
                <a:ext cx="2123673" cy="360000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r>
              <a:rPr lang="en-US" noProof="1" smtClean="0"/>
              <a:t>Definition Customer Satisfaction </a:t>
            </a:r>
          </a:p>
        </p:txBody>
      </p:sp>
      <p:grpSp>
        <p:nvGrpSpPr>
          <p:cNvPr id="2" name="Gruppieren 4"/>
          <p:cNvGrpSpPr/>
          <p:nvPr/>
        </p:nvGrpSpPr>
        <p:grpSpPr>
          <a:xfrm>
            <a:off x="1172326" y="2567131"/>
            <a:ext cx="6799349" cy="1866108"/>
            <a:chOff x="1172326" y="2567131"/>
            <a:chExt cx="6799349" cy="1866108"/>
          </a:xfrm>
        </p:grpSpPr>
        <p:sp>
          <p:nvSpPr>
            <p:cNvPr id="7" name="Text Box 18"/>
            <p:cNvSpPr txBox="1">
              <a:spLocks noChangeArrowheads="1"/>
            </p:cNvSpPr>
            <p:nvPr/>
          </p:nvSpPr>
          <p:spPr bwMode="gray">
            <a:xfrm>
              <a:off x="1172326" y="2785749"/>
              <a:ext cx="6799349" cy="14034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 defTabSz="801688">
                <a:lnSpc>
                  <a:spcPct val="95000"/>
                </a:lnSpc>
                <a:spcAft>
                  <a:spcPts val="800"/>
                </a:spcAft>
              </a:pPr>
              <a:r>
                <a:rPr lang="en-US" sz="2400" i="1" noProof="1" smtClean="0"/>
                <a:t>Customer satisfaction is the feeling </a:t>
              </a:r>
              <a:br>
                <a:rPr lang="en-US" sz="2400" i="1" noProof="1" smtClean="0"/>
              </a:br>
              <a:r>
                <a:rPr lang="en-US" sz="2400" i="1" noProof="1" smtClean="0"/>
                <a:t>resulting from the comparison of actual </a:t>
              </a:r>
              <a:br>
                <a:rPr lang="en-US" sz="2400" i="1" noProof="1" smtClean="0"/>
              </a:br>
              <a:r>
                <a:rPr lang="en-US" sz="2400" i="1" noProof="1" smtClean="0"/>
                <a:t>benefit of the purchase to the anticipated benefit </a:t>
              </a:r>
              <a:br>
                <a:rPr lang="en-US" sz="2400" i="1" noProof="1" smtClean="0"/>
              </a:br>
              <a:r>
                <a:rPr lang="en-US" sz="2400" i="1" noProof="1" smtClean="0"/>
                <a:t>prior to the purchase.</a:t>
              </a:r>
              <a:endParaRPr lang="en-US" sz="2400" i="1" noProof="1" smtClean="0">
                <a:latin typeface="+mj-lt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/>
          </p:nvSpPr>
          <p:spPr bwMode="gray">
            <a:xfrm>
              <a:off x="1751034" y="256713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gray">
            <a:xfrm rot="10800000">
              <a:off x="5990393" y="3945841"/>
              <a:ext cx="561416" cy="487398"/>
            </a:xfrm>
            <a:custGeom>
              <a:avLst/>
              <a:gdLst/>
              <a:ahLst/>
              <a:cxnLst>
                <a:cxn ang="0">
                  <a:pos x="122" y="230"/>
                </a:cxn>
                <a:cxn ang="0">
                  <a:pos x="0" y="230"/>
                </a:cxn>
                <a:cxn ang="0">
                  <a:pos x="0" y="136"/>
                </a:cxn>
                <a:cxn ang="0">
                  <a:pos x="21" y="54"/>
                </a:cxn>
                <a:cxn ang="0">
                  <a:pos x="96" y="0"/>
                </a:cxn>
                <a:cxn ang="0">
                  <a:pos x="122" y="50"/>
                </a:cxn>
                <a:cxn ang="0">
                  <a:pos x="77" y="81"/>
                </a:cxn>
                <a:cxn ang="0">
                  <a:pos x="64" y="116"/>
                </a:cxn>
                <a:cxn ang="0">
                  <a:pos x="122" y="116"/>
                </a:cxn>
                <a:cxn ang="0">
                  <a:pos x="122" y="230"/>
                </a:cxn>
                <a:cxn ang="0">
                  <a:pos x="265" y="230"/>
                </a:cxn>
                <a:cxn ang="0">
                  <a:pos x="142" y="230"/>
                </a:cxn>
                <a:cxn ang="0">
                  <a:pos x="142" y="136"/>
                </a:cxn>
                <a:cxn ang="0">
                  <a:pos x="164" y="54"/>
                </a:cxn>
                <a:cxn ang="0">
                  <a:pos x="239" y="0"/>
                </a:cxn>
                <a:cxn ang="0">
                  <a:pos x="265" y="50"/>
                </a:cxn>
                <a:cxn ang="0">
                  <a:pos x="220" y="81"/>
                </a:cxn>
                <a:cxn ang="0">
                  <a:pos x="206" y="116"/>
                </a:cxn>
                <a:cxn ang="0">
                  <a:pos x="265" y="116"/>
                </a:cxn>
                <a:cxn ang="0">
                  <a:pos x="265" y="230"/>
                </a:cxn>
              </a:cxnLst>
              <a:rect l="0" t="0" r="r" b="b"/>
              <a:pathLst>
                <a:path w="265" h="230">
                  <a:moveTo>
                    <a:pt x="122" y="230"/>
                  </a:moveTo>
                  <a:cubicBezTo>
                    <a:pt x="0" y="230"/>
                    <a:pt x="0" y="230"/>
                    <a:pt x="0" y="2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01"/>
                    <a:pt x="7" y="74"/>
                    <a:pt x="21" y="54"/>
                  </a:cubicBezTo>
                  <a:cubicBezTo>
                    <a:pt x="36" y="33"/>
                    <a:pt x="61" y="16"/>
                    <a:pt x="96" y="0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01" y="61"/>
                    <a:pt x="86" y="71"/>
                    <a:pt x="77" y="81"/>
                  </a:cubicBezTo>
                  <a:cubicBezTo>
                    <a:pt x="69" y="91"/>
                    <a:pt x="65" y="103"/>
                    <a:pt x="64" y="116"/>
                  </a:cubicBezTo>
                  <a:cubicBezTo>
                    <a:pt x="122" y="116"/>
                    <a:pt x="122" y="116"/>
                    <a:pt x="122" y="116"/>
                  </a:cubicBezTo>
                  <a:lnTo>
                    <a:pt x="122" y="230"/>
                  </a:lnTo>
                  <a:close/>
                  <a:moveTo>
                    <a:pt x="265" y="230"/>
                  </a:moveTo>
                  <a:cubicBezTo>
                    <a:pt x="142" y="230"/>
                    <a:pt x="142" y="230"/>
                    <a:pt x="142" y="230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01"/>
                    <a:pt x="150" y="74"/>
                    <a:pt x="164" y="54"/>
                  </a:cubicBezTo>
                  <a:cubicBezTo>
                    <a:pt x="179" y="33"/>
                    <a:pt x="203" y="16"/>
                    <a:pt x="239" y="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43" y="61"/>
                    <a:pt x="228" y="71"/>
                    <a:pt x="220" y="81"/>
                  </a:cubicBezTo>
                  <a:cubicBezTo>
                    <a:pt x="212" y="91"/>
                    <a:pt x="207" y="103"/>
                    <a:pt x="206" y="116"/>
                  </a:cubicBezTo>
                  <a:cubicBezTo>
                    <a:pt x="265" y="116"/>
                    <a:pt x="265" y="116"/>
                    <a:pt x="265" y="116"/>
                  </a:cubicBezTo>
                  <a:lnTo>
                    <a:pt x="265" y="23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noProof="1"/>
            </a:p>
          </p:txBody>
        </p:sp>
      </p:grpSp>
    </p:spTree>
    <p:extLst>
      <p:ext uri="{BB962C8B-B14F-4D97-AF65-F5344CB8AC3E}">
        <p14:creationId xmlns:p14="http://schemas.microsoft.com/office/powerpoint/2010/main" val="144260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ix </a:t>
            </a:r>
            <a:r>
              <a:rPr lang="en-US" b="0" noProof="1" smtClean="0"/>
              <a:t>- 7P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lassical and new instruments</a:t>
            </a:r>
            <a:endParaRPr lang="en-US" noProof="1"/>
          </a:p>
        </p:txBody>
      </p:sp>
      <p:grpSp>
        <p:nvGrpSpPr>
          <p:cNvPr id="23" name="Gruppieren 22"/>
          <p:cNvGrpSpPr/>
          <p:nvPr/>
        </p:nvGrpSpPr>
        <p:grpSpPr>
          <a:xfrm>
            <a:off x="324643" y="595022"/>
            <a:ext cx="8495507" cy="5207291"/>
            <a:chOff x="324643" y="595022"/>
            <a:chExt cx="8495507" cy="5207291"/>
          </a:xfrm>
        </p:grpSpPr>
        <p:graphicFrame>
          <p:nvGraphicFramePr>
            <p:cNvPr id="27" name="Diagramm 26"/>
            <p:cNvGraphicFramePr/>
            <p:nvPr>
              <p:extLst>
                <p:ext uri="{D42A27DB-BD31-4B8C-83A1-F6EECF244321}">
                  <p14:modId xmlns:p14="http://schemas.microsoft.com/office/powerpoint/2010/main" val="52157797"/>
                </p:ext>
              </p:extLst>
            </p:nvPr>
          </p:nvGraphicFramePr>
          <p:xfrm>
            <a:off x="2494373" y="2671252"/>
            <a:ext cx="4156046" cy="27706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47" name="Gerade Verbindung mit Pfeil 46"/>
            <p:cNvCxnSpPr/>
            <p:nvPr/>
          </p:nvCxnSpPr>
          <p:spPr bwMode="gray">
            <a:xfrm>
              <a:off x="2794673" y="2786016"/>
              <a:ext cx="481183" cy="42696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/>
          </p:nvCxnSpPr>
          <p:spPr bwMode="gray">
            <a:xfrm flipH="1">
              <a:off x="5852148" y="2786016"/>
              <a:ext cx="481183" cy="42696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>
              <a:stCxn id="36" idx="2"/>
            </p:cNvCxnSpPr>
            <p:nvPr/>
          </p:nvCxnSpPr>
          <p:spPr bwMode="gray">
            <a:xfrm flipH="1">
              <a:off x="4564443" y="2094954"/>
              <a:ext cx="7953" cy="867400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mit Pfeil 56"/>
            <p:cNvCxnSpPr>
              <a:stCxn id="38" idx="1"/>
            </p:cNvCxnSpPr>
            <p:nvPr/>
          </p:nvCxnSpPr>
          <p:spPr bwMode="gray">
            <a:xfrm flipH="1" flipV="1">
              <a:off x="6431028" y="3891868"/>
              <a:ext cx="492000" cy="127996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mit Pfeil 57"/>
            <p:cNvCxnSpPr>
              <a:stCxn id="42" idx="3"/>
            </p:cNvCxnSpPr>
            <p:nvPr/>
          </p:nvCxnSpPr>
          <p:spPr bwMode="gray">
            <a:xfrm flipV="1">
              <a:off x="2221765" y="3949889"/>
              <a:ext cx="441922" cy="69975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mit Pfeil 60"/>
            <p:cNvCxnSpPr/>
            <p:nvPr/>
          </p:nvCxnSpPr>
          <p:spPr bwMode="gray">
            <a:xfrm flipV="1">
              <a:off x="2924569" y="4964965"/>
              <a:ext cx="481430" cy="297348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mit Pfeil 62"/>
            <p:cNvCxnSpPr/>
            <p:nvPr/>
          </p:nvCxnSpPr>
          <p:spPr bwMode="gray">
            <a:xfrm flipH="1" flipV="1">
              <a:off x="5731236" y="4964965"/>
              <a:ext cx="481430" cy="297348"/>
            </a:xfrm>
            <a:prstGeom prst="straightConnector1">
              <a:avLst/>
            </a:prstGeom>
            <a:ln w="12700">
              <a:solidFill>
                <a:srgbClr val="7D7D7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hteck 35"/>
            <p:cNvSpPr/>
            <p:nvPr/>
          </p:nvSpPr>
          <p:spPr bwMode="gray">
            <a:xfrm>
              <a:off x="3623835" y="1554954"/>
              <a:ext cx="1897122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Product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roduct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38" name="Abgerundetes Rechteck 37"/>
            <p:cNvSpPr/>
            <p:nvPr/>
          </p:nvSpPr>
          <p:spPr bwMode="gray">
            <a:xfrm>
              <a:off x="6923028" y="3749864"/>
              <a:ext cx="1897122" cy="540000"/>
            </a:xfrm>
            <a:prstGeom prst="roundRect">
              <a:avLst>
                <a:gd name="adj" fmla="val 32061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Equipment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hysical facilities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 bwMode="gray">
            <a:xfrm>
              <a:off x="5562348" y="5262313"/>
              <a:ext cx="2250012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Communication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romotion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40" name="Abgerundetes Rechteck 39"/>
            <p:cNvSpPr/>
            <p:nvPr/>
          </p:nvSpPr>
          <p:spPr bwMode="gray">
            <a:xfrm>
              <a:off x="1508877" y="5262313"/>
              <a:ext cx="1897122" cy="540000"/>
            </a:xfrm>
            <a:prstGeom prst="roundRect">
              <a:avLst>
                <a:gd name="adj" fmla="val 30662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Personnel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ersonnel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324643" y="3749864"/>
              <a:ext cx="1897122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Distribution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lace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 bwMode="gray">
            <a:xfrm>
              <a:off x="6312334" y="2283801"/>
              <a:ext cx="1897122" cy="54000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Price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rice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43" name="Abgerundetes Rechteck 42"/>
            <p:cNvSpPr/>
            <p:nvPr/>
          </p:nvSpPr>
          <p:spPr bwMode="gray">
            <a:xfrm>
              <a:off x="935336" y="2283801"/>
              <a:ext cx="1897122" cy="540000"/>
            </a:xfrm>
            <a:prstGeom prst="roundRect">
              <a:avLst>
                <a:gd name="adj" fmla="val 27863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US" sz="1400" b="1" noProof="1" smtClean="0">
                  <a:solidFill>
                    <a:srgbClr val="000000"/>
                  </a:solidFill>
                </a:rPr>
                <a:t>Process policy </a:t>
              </a:r>
              <a:br>
                <a:rPr lang="en-US" sz="1400" b="1" noProof="1" smtClean="0">
                  <a:solidFill>
                    <a:srgbClr val="000000"/>
                  </a:solidFill>
                </a:rPr>
              </a:br>
              <a:r>
                <a:rPr lang="en-US" sz="1400" noProof="1" smtClean="0">
                  <a:solidFill>
                    <a:srgbClr val="000000"/>
                  </a:solidFill>
                </a:rPr>
                <a:t>„process“</a:t>
              </a: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6250095" y="692696"/>
              <a:ext cx="218362" cy="162298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4" name="Textfeld 3"/>
            <p:cNvSpPr txBox="1"/>
            <p:nvPr/>
          </p:nvSpPr>
          <p:spPr bwMode="gray">
            <a:xfrm>
              <a:off x="6526463" y="595022"/>
              <a:ext cx="21433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noProof="1" smtClean="0"/>
                <a:t>Classical instruments</a:t>
              </a:r>
              <a:endParaRPr lang="en-US" noProof="1"/>
            </a:p>
          </p:txBody>
        </p:sp>
        <p:sp>
          <p:nvSpPr>
            <p:cNvPr id="24" name="Abgerundetes Rechteck 23"/>
            <p:cNvSpPr/>
            <p:nvPr/>
          </p:nvSpPr>
          <p:spPr bwMode="gray">
            <a:xfrm>
              <a:off x="6250095" y="1023307"/>
              <a:ext cx="218362" cy="160998"/>
            </a:xfrm>
            <a:prstGeom prst="roundRect">
              <a:avLst>
                <a:gd name="adj" fmla="val 32061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44000" tIns="0" rIns="144000" bIns="0" anchor="ctr" anchorCtr="0"/>
            <a:lstStyle/>
            <a:p>
              <a:pPr algn="ctr">
                <a:spcAft>
                  <a:spcPts val="600"/>
                </a:spcAft>
              </a:pPr>
              <a:endParaRPr lang="en-US" sz="1400" noProof="1">
                <a:solidFill>
                  <a:srgbClr val="000000"/>
                </a:solidFill>
              </a:endParaRPr>
            </a:p>
          </p:txBody>
        </p:sp>
        <p:sp>
          <p:nvSpPr>
            <p:cNvPr id="25" name="Textfeld 24"/>
            <p:cNvSpPr txBox="1"/>
            <p:nvPr/>
          </p:nvSpPr>
          <p:spPr bwMode="gray">
            <a:xfrm>
              <a:off x="6526463" y="919552"/>
              <a:ext cx="179305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noProof="1" smtClean="0"/>
                <a:t>New instruments</a:t>
              </a:r>
              <a:endParaRPr lang="en-US" noProof="1"/>
            </a:p>
          </p:txBody>
        </p:sp>
      </p:grpSp>
    </p:spTree>
    <p:extLst>
      <p:ext uri="{BB962C8B-B14F-4D97-AF65-F5344CB8AC3E}">
        <p14:creationId xmlns:p14="http://schemas.microsoft.com/office/powerpoint/2010/main" val="79521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xample with individual factors</a:t>
            </a:r>
            <a:endParaRPr lang="en-US" noProof="1"/>
          </a:p>
        </p:txBody>
      </p:sp>
      <p:sp>
        <p:nvSpPr>
          <p:cNvPr id="6146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Autofit/>
          </a:bodyPr>
          <a:lstStyle/>
          <a:p>
            <a:pPr>
              <a:defRPr/>
            </a:pPr>
            <a:r>
              <a:rPr lang="en-US" noProof="1" smtClean="0"/>
              <a:t>Marketing Mix</a:t>
            </a:r>
            <a:endParaRPr lang="en-US" b="0" noProof="1"/>
          </a:p>
        </p:txBody>
      </p:sp>
      <p:grpSp>
        <p:nvGrpSpPr>
          <p:cNvPr id="27" name="Gruppieren 26"/>
          <p:cNvGrpSpPr/>
          <p:nvPr/>
        </p:nvGrpSpPr>
        <p:grpSpPr>
          <a:xfrm>
            <a:off x="-69155" y="1446084"/>
            <a:ext cx="9213155" cy="4296986"/>
            <a:chOff x="-69155" y="1446084"/>
            <a:chExt cx="9213155" cy="4296986"/>
          </a:xfrm>
        </p:grpSpPr>
        <p:sp>
          <p:nvSpPr>
            <p:cNvPr id="3" name="Ellipse 2"/>
            <p:cNvSpPr/>
            <p:nvPr/>
          </p:nvSpPr>
          <p:spPr bwMode="gray">
            <a:xfrm>
              <a:off x="540056" y="2424182"/>
              <a:ext cx="8064392" cy="3318888"/>
            </a:xfrm>
            <a:prstGeom prst="ellipse">
              <a:avLst/>
            </a:prstGeom>
            <a:solidFill>
              <a:srgbClr val="E6E6E6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sp>
          <p:nvSpPr>
            <p:cNvPr id="71" name="Ellipse 70"/>
            <p:cNvSpPr/>
            <p:nvPr/>
          </p:nvSpPr>
          <p:spPr bwMode="gray">
            <a:xfrm>
              <a:off x="1456771" y="2618636"/>
              <a:ext cx="6230962" cy="2564342"/>
            </a:xfrm>
            <a:prstGeom prst="ellipse">
              <a:avLst/>
            </a:prstGeom>
            <a:solidFill>
              <a:srgbClr val="FFFFFF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 smtClean="0"/>
            </a:p>
          </p:txBody>
        </p:sp>
        <p:grpSp>
          <p:nvGrpSpPr>
            <p:cNvPr id="5" name="Gruppieren 1"/>
            <p:cNvGrpSpPr/>
            <p:nvPr/>
          </p:nvGrpSpPr>
          <p:grpSpPr bwMode="gray">
            <a:xfrm>
              <a:off x="2644421" y="1446084"/>
              <a:ext cx="3855661" cy="3855661"/>
              <a:chOff x="2099733" y="987324"/>
              <a:chExt cx="4944534" cy="4944534"/>
            </a:xfrm>
          </p:grpSpPr>
          <p:sp>
            <p:nvSpPr>
              <p:cNvPr id="13" name="Ellipse 12" descr="© INSCALE GmbH, 26.05.2010&#10;http://www.presentationload.com/"/>
              <p:cNvSpPr>
                <a:spLocks noChangeAspect="1"/>
              </p:cNvSpPr>
              <p:nvPr/>
            </p:nvSpPr>
            <p:spPr bwMode="gray">
              <a:xfrm>
                <a:off x="2099733" y="987324"/>
                <a:ext cx="4944534" cy="4944534"/>
              </a:xfrm>
              <a:prstGeom prst="ellipse">
                <a:avLst/>
              </a:prstGeom>
              <a:solidFill>
                <a:srgbClr val="AFAFAF"/>
              </a:solidFill>
              <a:ln w="34925">
                <a:noFill/>
              </a:ln>
              <a:effectLst>
                <a:outerShdw blurRad="317500" dir="2700000" algn="ctr">
                  <a:srgbClr val="000000">
                    <a:alpha val="90000"/>
                  </a:srgbClr>
                </a:outerShdw>
              </a:effectLst>
              <a:scene3d>
                <a:camera prst="perspectiveFront" fov="4800000">
                  <a:rot lat="18647210" lon="18492508" rev="3509972"/>
                </a:camera>
                <a:lightRig rig="threePt" dir="t"/>
              </a:scene3d>
              <a:sp3d extrusionH="127000">
                <a:bevelT w="241300" h="152400" prst="artDeco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US" noProof="1"/>
              </a:p>
            </p:txBody>
          </p:sp>
          <p:sp>
            <p:nvSpPr>
              <p:cNvPr id="14" name="Ellipse 13" descr="© INSCALE GmbH, 26.05.2010&#10;http://www.presentationload.com/"/>
              <p:cNvSpPr/>
              <p:nvPr/>
            </p:nvSpPr>
            <p:spPr bwMode="gray">
              <a:xfrm>
                <a:off x="2515272" y="1173608"/>
                <a:ext cx="4090878" cy="4088977"/>
              </a:xfrm>
              <a:prstGeom prst="ellipse">
                <a:avLst/>
              </a:prstGeom>
              <a:gradFill flip="none" rotWithShape="1">
                <a:gsLst>
                  <a:gs pos="73000">
                    <a:schemeClr val="accent1">
                      <a:lumMod val="40000"/>
                      <a:lumOff val="60000"/>
                    </a:schemeClr>
                  </a:gs>
                  <a:gs pos="45000">
                    <a:schemeClr val="accent1">
                      <a:lumMod val="75000"/>
                    </a:schemeClr>
                  </a:gs>
                  <a:gs pos="100000">
                    <a:schemeClr val="accent1"/>
                  </a:gs>
                </a:gsLst>
                <a:lin ang="13500000" scaled="1"/>
                <a:tileRect/>
              </a:gradFill>
              <a:ln w="34925">
                <a:noFill/>
              </a:ln>
              <a:effectLst>
                <a:outerShdw blurRad="330200" dist="38100" dir="5400000" algn="t" rotWithShape="0">
                  <a:prstClr val="black">
                    <a:alpha val="61000"/>
                  </a:prstClr>
                </a:outerShdw>
              </a:effectLst>
              <a:scene3d>
                <a:camera prst="perspectiveFront" fov="4800000">
                  <a:rot lat="18647210" lon="18492508" rev="3509972"/>
                </a:camera>
                <a:lightRig rig="threePt" dir="t"/>
              </a:scene3d>
              <a:sp3d extrusionH="127000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lIns="0" tIns="0" rIns="0" bIns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US" sz="4800" b="1" noProof="1"/>
              </a:p>
            </p:txBody>
          </p:sp>
          <p:sp>
            <p:nvSpPr>
              <p:cNvPr id="15" name="Textfeld 14"/>
              <p:cNvSpPr txBox="1"/>
              <p:nvPr/>
            </p:nvSpPr>
            <p:spPr bwMode="gray">
              <a:xfrm>
                <a:off x="2815769" y="2608600"/>
                <a:ext cx="3528002" cy="1697190"/>
              </a:xfrm>
              <a:prstGeom prst="rect">
                <a:avLst/>
              </a:prstGeom>
              <a:noFill/>
              <a:scene3d>
                <a:camera prst="perspectiveRelaxedModerately" fov="4800000">
                  <a:rot lat="18890638" lon="0" rev="0"/>
                </a:camera>
                <a:lightRig rig="threePt" dir="t"/>
              </a:scene3d>
            </p:spPr>
            <p:txBody>
              <a:bodyPr wrap="none" rtlCol="0">
                <a:spAutoFit/>
                <a:scene3d>
                  <a:camera prst="perspectiveRelaxedModerately" fov="4800000">
                    <a:rot lat="18890638" lon="0" rev="0"/>
                  </a:camera>
                  <a:lightRig rig="threePt" dir="t"/>
                </a:scene3d>
              </a:bodyPr>
              <a:lstStyle/>
              <a:p>
                <a:pPr algn="ctr"/>
                <a:r>
                  <a:rPr lang="en-US" sz="4000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MARKETING</a:t>
                </a:r>
                <a:br>
                  <a:rPr lang="en-US" sz="4000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</a:br>
                <a:r>
                  <a:rPr lang="en-US" sz="4000" noProof="1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MIX</a:t>
                </a:r>
                <a:endParaRPr lang="en-US" sz="4000" noProof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25" name="Rechteck 24"/>
            <p:cNvSpPr/>
            <p:nvPr/>
          </p:nvSpPr>
          <p:spPr bwMode="gray">
            <a:xfrm>
              <a:off x="571718" y="4782868"/>
              <a:ext cx="2498226" cy="40011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Reseller discount</a:t>
              </a:r>
            </a:p>
          </p:txBody>
        </p:sp>
        <p:sp>
          <p:nvSpPr>
            <p:cNvPr id="42" name="Rechteck 41"/>
            <p:cNvSpPr/>
            <p:nvPr/>
          </p:nvSpPr>
          <p:spPr bwMode="gray">
            <a:xfrm>
              <a:off x="2197986" y="2427585"/>
              <a:ext cx="1171218" cy="27699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logan</a:t>
              </a:r>
            </a:p>
          </p:txBody>
        </p:sp>
        <p:grpSp>
          <p:nvGrpSpPr>
            <p:cNvPr id="29" name="Gruppieren 28"/>
            <p:cNvGrpSpPr/>
            <p:nvPr/>
          </p:nvGrpSpPr>
          <p:grpSpPr bwMode="gray">
            <a:xfrm>
              <a:off x="2562280" y="5265582"/>
              <a:ext cx="4019944" cy="461665"/>
              <a:chOff x="2946326" y="5265582"/>
              <a:chExt cx="4019944" cy="461665"/>
            </a:xfrm>
          </p:grpSpPr>
          <p:sp>
            <p:nvSpPr>
              <p:cNvPr id="43" name="Rechteck 42"/>
              <p:cNvSpPr/>
              <p:nvPr/>
            </p:nvSpPr>
            <p:spPr bwMode="gray">
              <a:xfrm>
                <a:off x="2946326" y="5265582"/>
                <a:ext cx="1801489" cy="461665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2400" noProof="1" smtClean="0">
                    <a:solidFill>
                      <a:srgbClr val="000000"/>
                    </a:solidFill>
                    <a:effectLst>
                      <a:reflection blurRad="6350" stA="55000" endA="300" endPos="45500" dir="5400000" sy="-100000" algn="bl" rotWithShape="0"/>
                    </a:effectLst>
                  </a:rPr>
                  <a:t>Give-Aways</a:t>
                </a:r>
              </a:p>
            </p:txBody>
          </p:sp>
          <p:sp>
            <p:nvSpPr>
              <p:cNvPr id="44" name="Rechteck 43"/>
              <p:cNvSpPr/>
              <p:nvPr/>
            </p:nvSpPr>
            <p:spPr bwMode="gray">
              <a:xfrm>
                <a:off x="4789380" y="5265582"/>
                <a:ext cx="2176890" cy="461665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2400" noProof="1" smtClean="0">
                    <a:solidFill>
                      <a:srgbClr val="000000"/>
                    </a:solidFill>
                    <a:effectLst>
                      <a:reflection blurRad="6350" stA="55000" endA="300" endPos="45500" dir="5400000" sy="-100000" algn="bl" rotWithShape="0"/>
                    </a:effectLst>
                  </a:rPr>
                  <a:t>Website</a:t>
                </a:r>
              </a:p>
            </p:txBody>
          </p:sp>
        </p:grpSp>
        <p:sp>
          <p:nvSpPr>
            <p:cNvPr id="45" name="Rechteck 44"/>
            <p:cNvSpPr/>
            <p:nvPr/>
          </p:nvSpPr>
          <p:spPr bwMode="gray">
            <a:xfrm>
              <a:off x="5810387" y="4779858"/>
              <a:ext cx="2689286" cy="400110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Businesspaper</a:t>
              </a:r>
            </a:p>
          </p:txBody>
        </p:sp>
        <p:sp>
          <p:nvSpPr>
            <p:cNvPr id="46" name="Rechteck 45"/>
            <p:cNvSpPr/>
            <p:nvPr/>
          </p:nvSpPr>
          <p:spPr bwMode="gray">
            <a:xfrm>
              <a:off x="6683189" y="4019645"/>
              <a:ext cx="2308412" cy="646331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Brochures / Product presentation</a:t>
              </a: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6610350" y="3317110"/>
              <a:ext cx="2533650" cy="43088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noProof="1" smtClean="0">
                  <a:effectLst>
                    <a:reflection blurRad="6350" stA="55000" endA="300" endPos="45500" dir="5400000" sy="-100000" algn="bl" rotWithShape="0"/>
                  </a:effectLst>
                </a:rPr>
                <a:t>Brochure / </a:t>
              </a:r>
              <a:br>
                <a:rPr lang="en-US" sz="1400" noProof="1" smtClean="0">
                  <a:effectLst>
                    <a:reflection blurRad="6350" stA="55000" endA="300" endPos="45500" dir="5400000" sy="-100000" algn="bl" rotWithShape="0"/>
                  </a:effectLst>
                </a:rPr>
              </a:br>
              <a:r>
                <a:rPr lang="en-US" sz="1400" noProof="1" smtClean="0">
                  <a:effectLst>
                    <a:reflection blurRad="6350" stA="55000" endA="300" endPos="45500" dir="5400000" sy="-100000" algn="bl" rotWithShape="0"/>
                  </a:effectLst>
                </a:rPr>
                <a:t>Corporate design</a:t>
              </a:r>
              <a:endParaRPr lang="en-US" sz="1400" noProof="1" smtClean="0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6477411" y="2649413"/>
              <a:ext cx="1490793" cy="461665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noProof="1" smtClean="0">
                  <a:effectLst>
                    <a:reflection blurRad="6350" stA="55000" endA="300" endPos="45500" dir="5400000" sy="-100000" algn="bl" rotWithShape="0"/>
                  </a:effectLst>
                </a:rPr>
                <a:t>Product design / packaging</a:t>
              </a:r>
              <a:endParaRPr lang="en-US" sz="1200" noProof="1" smtClean="0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  <p:sp>
          <p:nvSpPr>
            <p:cNvPr id="50" name="Rechteck 49"/>
            <p:cNvSpPr/>
            <p:nvPr/>
          </p:nvSpPr>
          <p:spPr bwMode="gray">
            <a:xfrm>
              <a:off x="201413" y="4158144"/>
              <a:ext cx="1876768" cy="369332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Press conference</a:t>
              </a:r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-69155" y="3561128"/>
              <a:ext cx="2147336" cy="338554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ales Training</a:t>
              </a:r>
            </a:p>
          </p:txBody>
        </p:sp>
        <p:sp>
          <p:nvSpPr>
            <p:cNvPr id="52" name="Rechteck 51"/>
            <p:cNvSpPr/>
            <p:nvPr/>
          </p:nvSpPr>
          <p:spPr bwMode="gray">
            <a:xfrm>
              <a:off x="734810" y="2872956"/>
              <a:ext cx="1827470" cy="30777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ad campaign</a:t>
              </a:r>
              <a:endParaRPr lang="en-US" sz="1400" noProof="1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  <p:sp>
          <p:nvSpPr>
            <p:cNvPr id="54" name="Rechteck 53"/>
            <p:cNvSpPr/>
            <p:nvPr/>
          </p:nvSpPr>
          <p:spPr bwMode="gray">
            <a:xfrm>
              <a:off x="3893701" y="2295135"/>
              <a:ext cx="1357102" cy="276999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Brand name</a:t>
              </a:r>
            </a:p>
          </p:txBody>
        </p:sp>
        <p:sp>
          <p:nvSpPr>
            <p:cNvPr id="4" name="Rechteck 3"/>
            <p:cNvSpPr/>
            <p:nvPr/>
          </p:nvSpPr>
          <p:spPr bwMode="gray">
            <a:xfrm>
              <a:off x="5388950" y="2427585"/>
              <a:ext cx="1312282" cy="276999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en-US" sz="1200" noProof="1" smtClean="0">
                  <a:solidFill>
                    <a:srgbClr val="000000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Logo</a:t>
              </a:r>
              <a:endParaRPr lang="en-US" sz="1200" noProof="1">
                <a:solidFill>
                  <a:srgbClr val="000000"/>
                </a:solidFill>
                <a:effectLst>
                  <a:reflection blurRad="6350" stA="55000" endA="300" endPos="45500" dir="5400000" sy="-100000" algn="bl" rotWithShape="0"/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349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Mix </a:t>
            </a:r>
            <a:r>
              <a:rPr lang="en-US" b="0" noProof="1" smtClean="0"/>
              <a:t>(4P‘s)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mponents of the marketing mix</a:t>
            </a:r>
            <a:endParaRPr lang="en-US" noProof="1"/>
          </a:p>
        </p:txBody>
      </p:sp>
      <p:grpSp>
        <p:nvGrpSpPr>
          <p:cNvPr id="19" name="Gruppieren 18"/>
          <p:cNvGrpSpPr/>
          <p:nvPr/>
        </p:nvGrpSpPr>
        <p:grpSpPr>
          <a:xfrm>
            <a:off x="323850" y="1555750"/>
            <a:ext cx="8497092" cy="4246563"/>
            <a:chOff x="323850" y="1555750"/>
            <a:chExt cx="8497092" cy="4246563"/>
          </a:xfrm>
        </p:grpSpPr>
        <p:sp>
          <p:nvSpPr>
            <p:cNvPr id="16" name="Rechteck 15"/>
            <p:cNvSpPr/>
            <p:nvPr/>
          </p:nvSpPr>
          <p:spPr bwMode="gray">
            <a:xfrm>
              <a:off x="323850" y="1555750"/>
              <a:ext cx="2015926" cy="3603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oduct policy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2484239" y="1555750"/>
              <a:ext cx="2014736" cy="3603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Price policy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4643438" y="1555750"/>
              <a:ext cx="2014736" cy="3603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Communication policy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4" name="Rechteck 23"/>
            <p:cNvSpPr/>
            <p:nvPr/>
          </p:nvSpPr>
          <p:spPr bwMode="gray">
            <a:xfrm>
              <a:off x="6806206" y="1555750"/>
              <a:ext cx="2014736" cy="36036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p3d/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500" b="1" noProof="1" smtClean="0">
                  <a:solidFill>
                    <a:srgbClr val="FFFFFF"/>
                  </a:solidFill>
                  <a:cs typeface="Arial" charset="0"/>
                </a:rPr>
                <a:t>Distribution policy</a:t>
              </a:r>
              <a:endParaRPr lang="en-US" sz="1500" b="1" noProof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323850" y="1916113"/>
              <a:ext cx="2015926" cy="232822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oduct innovatio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oduct improvement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oduct differentiation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Marking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Naming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ervice performance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Assortment planning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ackaging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Rechteck 25"/>
            <p:cNvSpPr/>
            <p:nvPr/>
          </p:nvSpPr>
          <p:spPr bwMode="gray">
            <a:xfrm>
              <a:off x="2484239" y="1916113"/>
              <a:ext cx="2014736" cy="232822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ice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rice deductio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Rebates and discount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Delivery conditio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ayment conditions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Rechteck 26"/>
            <p:cNvSpPr/>
            <p:nvPr/>
          </p:nvSpPr>
          <p:spPr bwMode="gray">
            <a:xfrm>
              <a:off x="4643438" y="1916113"/>
              <a:ext cx="2014736" cy="232822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Media advertisement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ales promotion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Direct marketing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ublic relatio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ponsoring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Personal communication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Fairs and exhibitio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Multi-media communication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Employee communication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hteck 27"/>
            <p:cNvSpPr/>
            <p:nvPr/>
          </p:nvSpPr>
          <p:spPr bwMode="gray">
            <a:xfrm>
              <a:off x="6806206" y="1916113"/>
              <a:ext cx="2014736" cy="2328227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Distribution system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Sales organs</a:t>
              </a:r>
            </a:p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r>
                <a:rPr lang="en-US" sz="1100" noProof="1" smtClean="0">
                  <a:solidFill>
                    <a:srgbClr val="000000"/>
                  </a:solidFill>
                  <a:cs typeface="Arial" charset="0"/>
                </a:rPr>
                <a:t>Logistic systems</a:t>
              </a: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hteck 28"/>
            <p:cNvSpPr/>
            <p:nvPr/>
          </p:nvSpPr>
          <p:spPr bwMode="gray">
            <a:xfrm>
              <a:off x="323850" y="4662963"/>
              <a:ext cx="8496300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Marketing mix</a:t>
              </a:r>
              <a:endParaRPr lang="en-US" sz="1600" b="1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hteck 29"/>
            <p:cNvSpPr/>
            <p:nvPr/>
          </p:nvSpPr>
          <p:spPr bwMode="gray">
            <a:xfrm>
              <a:off x="323850" y="5441950"/>
              <a:ext cx="8496300" cy="360363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defRPr/>
              </a:pPr>
              <a:r>
                <a:rPr lang="en-US" sz="1600" b="1" noProof="1" smtClean="0">
                  <a:solidFill>
                    <a:srgbClr val="000000"/>
                  </a:solidFill>
                  <a:cs typeface="Arial" charset="0"/>
                </a:rPr>
                <a:t>Sub-markets and customer groups</a:t>
              </a:r>
            </a:p>
          </p:txBody>
        </p:sp>
        <p:sp>
          <p:nvSpPr>
            <p:cNvPr id="31" name="Gleichschenkliges Dreieck 30"/>
            <p:cNvSpPr/>
            <p:nvPr/>
          </p:nvSpPr>
          <p:spPr bwMode="gray">
            <a:xfrm rot="10800000">
              <a:off x="961519" y="4355410"/>
              <a:ext cx="740589" cy="196483"/>
            </a:xfrm>
            <a:prstGeom prst="triangl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Gleichschenkliges Dreieck 31"/>
            <p:cNvSpPr/>
            <p:nvPr/>
          </p:nvSpPr>
          <p:spPr bwMode="gray">
            <a:xfrm rot="10800000">
              <a:off x="3121313" y="4355410"/>
              <a:ext cx="740589" cy="196483"/>
            </a:xfrm>
            <a:prstGeom prst="triangl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Gleichschenkliges Dreieck 32"/>
            <p:cNvSpPr/>
            <p:nvPr/>
          </p:nvSpPr>
          <p:spPr bwMode="gray">
            <a:xfrm rot="10800000">
              <a:off x="5280512" y="4355410"/>
              <a:ext cx="740589" cy="196483"/>
            </a:xfrm>
            <a:prstGeom prst="triangl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Gleichschenkliges Dreieck 33"/>
            <p:cNvSpPr/>
            <p:nvPr/>
          </p:nvSpPr>
          <p:spPr bwMode="gray">
            <a:xfrm rot="10800000">
              <a:off x="7443280" y="4355410"/>
              <a:ext cx="740589" cy="196483"/>
            </a:xfrm>
            <a:prstGeom prst="triangl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Gleichschenkliges Dreieck 34"/>
            <p:cNvSpPr/>
            <p:nvPr/>
          </p:nvSpPr>
          <p:spPr bwMode="gray">
            <a:xfrm rot="10800000">
              <a:off x="3996085" y="5134397"/>
              <a:ext cx="1151831" cy="196483"/>
            </a:xfrm>
            <a:prstGeom prst="triangl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0" bIns="0" anchor="t" anchorCtr="0"/>
            <a:lstStyle/>
            <a:p>
              <a:pPr marL="180975" indent="-180975">
                <a:lnSpc>
                  <a:spcPct val="95000"/>
                </a:lnSpc>
                <a:spcAft>
                  <a:spcPts val="600"/>
                </a:spcAft>
                <a:buClr>
                  <a:srgbClr val="969696"/>
                </a:buClr>
                <a:buSzPct val="90000"/>
                <a:buFont typeface="Wingdings" pitchFamily="2" charset="2"/>
                <a:buChar char="§"/>
                <a:defRPr/>
              </a:pPr>
              <a:endParaRPr lang="en-US" sz="1100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uppieren 32"/>
          <p:cNvGrpSpPr/>
          <p:nvPr/>
        </p:nvGrpSpPr>
        <p:grpSpPr bwMode="gray">
          <a:xfrm>
            <a:off x="0" y="4663443"/>
            <a:ext cx="9144000" cy="1163782"/>
            <a:chOff x="0" y="4534215"/>
            <a:chExt cx="9144000" cy="1163782"/>
          </a:xfrm>
        </p:grpSpPr>
        <p:sp>
          <p:nvSpPr>
            <p:cNvPr id="55" name="Rechteck 54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15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56" name="Rechteck 55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15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Service marketing </a:t>
            </a:r>
            <a:r>
              <a:rPr lang="en-US" b="0" noProof="1" smtClean="0"/>
              <a:t>(from 4P’s to 7P’s)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Comparison of 4P´s and 7P´s</a:t>
            </a:r>
            <a:endParaRPr lang="en-US" noProof="1"/>
          </a:p>
        </p:txBody>
      </p:sp>
      <p:grpSp>
        <p:nvGrpSpPr>
          <p:cNvPr id="44" name="Gruppieren 43"/>
          <p:cNvGrpSpPr/>
          <p:nvPr/>
        </p:nvGrpSpPr>
        <p:grpSpPr>
          <a:xfrm>
            <a:off x="716057" y="1554962"/>
            <a:ext cx="7729443" cy="4430601"/>
            <a:chOff x="716057" y="1554962"/>
            <a:chExt cx="7729443" cy="4430601"/>
          </a:xfrm>
        </p:grpSpPr>
        <p:pic>
          <p:nvPicPr>
            <p:cNvPr id="42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5373436" y="5644861"/>
              <a:ext cx="2922932" cy="340702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grpSp>
          <p:nvGrpSpPr>
            <p:cNvPr id="59" name="Gruppieren 58"/>
            <p:cNvGrpSpPr/>
            <p:nvPr/>
          </p:nvGrpSpPr>
          <p:grpSpPr bwMode="gray">
            <a:xfrm>
              <a:off x="1094376" y="2443162"/>
              <a:ext cx="7351124" cy="3359151"/>
              <a:chOff x="1094376" y="2443162"/>
              <a:chExt cx="7351124" cy="3359151"/>
            </a:xfrm>
          </p:grpSpPr>
          <p:sp>
            <p:nvSpPr>
              <p:cNvPr id="57" name="Ellipse 56"/>
              <p:cNvSpPr/>
              <p:nvPr/>
            </p:nvSpPr>
            <p:spPr bwMode="gray">
              <a:xfrm>
                <a:off x="1094376" y="2961694"/>
                <a:ext cx="2322088" cy="2322088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sp>
            <p:nvSpPr>
              <p:cNvPr id="58" name="Ellipse 57"/>
              <p:cNvSpPr/>
              <p:nvPr/>
            </p:nvSpPr>
            <p:spPr bwMode="gray">
              <a:xfrm>
                <a:off x="5093906" y="2450719"/>
                <a:ext cx="3344038" cy="3344038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/>
              </a:p>
            </p:txBody>
          </p:sp>
          <p:grpSp>
            <p:nvGrpSpPr>
              <p:cNvPr id="51" name="Gruppieren 50"/>
              <p:cNvGrpSpPr/>
              <p:nvPr/>
            </p:nvGrpSpPr>
            <p:grpSpPr bwMode="gray">
              <a:xfrm>
                <a:off x="1094376" y="2443162"/>
                <a:ext cx="7351124" cy="3359151"/>
                <a:chOff x="1094376" y="1725613"/>
                <a:chExt cx="7351124" cy="3359151"/>
              </a:xfrm>
            </p:grpSpPr>
            <p:grpSp>
              <p:nvGrpSpPr>
                <p:cNvPr id="45" name="Gruppieren 44"/>
                <p:cNvGrpSpPr/>
                <p:nvPr/>
              </p:nvGrpSpPr>
              <p:grpSpPr bwMode="gray">
                <a:xfrm>
                  <a:off x="1094376" y="2244144"/>
                  <a:ext cx="2322088" cy="2322088"/>
                  <a:chOff x="320675" y="2409825"/>
                  <a:chExt cx="2974976" cy="2974976"/>
                </a:xfrm>
              </p:grpSpPr>
              <p:sp>
                <p:nvSpPr>
                  <p:cNvPr id="2056" name="Freeform 8"/>
                  <p:cNvSpPr>
                    <a:spLocks/>
                  </p:cNvSpPr>
                  <p:nvPr/>
                </p:nvSpPr>
                <p:spPr bwMode="gray">
                  <a:xfrm>
                    <a:off x="320675" y="2846388"/>
                    <a:ext cx="1487488" cy="2101850"/>
                  </a:xfrm>
                  <a:custGeom>
                    <a:avLst/>
                    <a:gdLst/>
                    <a:ahLst/>
                    <a:cxnLst>
                      <a:cxn ang="0">
                        <a:pos x="153" y="0"/>
                      </a:cxn>
                      <a:cxn ang="0">
                        <a:pos x="0" y="368"/>
                      </a:cxn>
                      <a:cxn ang="0">
                        <a:pos x="153" y="736"/>
                      </a:cxn>
                      <a:cxn ang="0">
                        <a:pos x="521" y="368"/>
                      </a:cxn>
                      <a:cxn ang="0">
                        <a:pos x="153" y="0"/>
                      </a:cxn>
                    </a:cxnLst>
                    <a:rect l="0" t="0" r="r" b="b"/>
                    <a:pathLst>
                      <a:path w="521" h="736">
                        <a:moveTo>
                          <a:pt x="153" y="0"/>
                        </a:moveTo>
                        <a:cubicBezTo>
                          <a:pt x="58" y="94"/>
                          <a:pt x="0" y="224"/>
                          <a:pt x="0" y="368"/>
                        </a:cubicBezTo>
                        <a:cubicBezTo>
                          <a:pt x="0" y="512"/>
                          <a:pt x="58" y="642"/>
                          <a:pt x="153" y="736"/>
                        </a:cubicBezTo>
                        <a:cubicBezTo>
                          <a:pt x="521" y="368"/>
                          <a:pt x="521" y="368"/>
                          <a:pt x="521" y="368"/>
                        </a:cubicBezTo>
                        <a:lnTo>
                          <a:pt x="153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advertisement</a:t>
                    </a:r>
                  </a:p>
                </p:txBody>
              </p:sp>
              <p:sp>
                <p:nvSpPr>
                  <p:cNvPr id="2057" name="Freeform 9"/>
                  <p:cNvSpPr>
                    <a:spLocks/>
                  </p:cNvSpPr>
                  <p:nvPr/>
                </p:nvSpPr>
                <p:spPr bwMode="gray">
                  <a:xfrm>
                    <a:off x="757238" y="2409825"/>
                    <a:ext cx="2101850" cy="1487488"/>
                  </a:xfrm>
                  <a:custGeom>
                    <a:avLst/>
                    <a:gdLst/>
                    <a:ahLst/>
                    <a:cxnLst>
                      <a:cxn ang="0">
                        <a:pos x="736" y="153"/>
                      </a:cxn>
                      <a:cxn ang="0">
                        <a:pos x="368" y="0"/>
                      </a:cxn>
                      <a:cxn ang="0">
                        <a:pos x="0" y="153"/>
                      </a:cxn>
                      <a:cxn ang="0">
                        <a:pos x="368" y="521"/>
                      </a:cxn>
                      <a:cxn ang="0">
                        <a:pos x="736" y="153"/>
                      </a:cxn>
                    </a:cxnLst>
                    <a:rect l="0" t="0" r="r" b="b"/>
                    <a:pathLst>
                      <a:path w="736" h="521">
                        <a:moveTo>
                          <a:pt x="736" y="153"/>
                        </a:moveTo>
                        <a:cubicBezTo>
                          <a:pt x="642" y="58"/>
                          <a:pt x="512" y="0"/>
                          <a:pt x="368" y="0"/>
                        </a:cubicBezTo>
                        <a:cubicBezTo>
                          <a:pt x="224" y="0"/>
                          <a:pt x="94" y="58"/>
                          <a:pt x="0" y="153"/>
                        </a:cubicBezTo>
                        <a:cubicBezTo>
                          <a:pt x="368" y="521"/>
                          <a:pt x="368" y="521"/>
                          <a:pt x="368" y="521"/>
                        </a:cubicBezTo>
                        <a:lnTo>
                          <a:pt x="736" y="153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oduct</a:t>
                    </a:r>
                  </a:p>
                </p:txBody>
              </p:sp>
              <p:sp>
                <p:nvSpPr>
                  <p:cNvPr id="2058" name="Freeform 10"/>
                  <p:cNvSpPr>
                    <a:spLocks/>
                  </p:cNvSpPr>
                  <p:nvPr/>
                </p:nvSpPr>
                <p:spPr bwMode="gray">
                  <a:xfrm>
                    <a:off x="1808163" y="2846388"/>
                    <a:ext cx="1487488" cy="2101850"/>
                  </a:xfrm>
                  <a:custGeom>
                    <a:avLst/>
                    <a:gdLst/>
                    <a:ahLst/>
                    <a:cxnLst>
                      <a:cxn ang="0">
                        <a:pos x="368" y="0"/>
                      </a:cxn>
                      <a:cxn ang="0">
                        <a:pos x="0" y="368"/>
                      </a:cxn>
                      <a:cxn ang="0">
                        <a:pos x="368" y="736"/>
                      </a:cxn>
                      <a:cxn ang="0">
                        <a:pos x="521" y="368"/>
                      </a:cxn>
                      <a:cxn ang="0">
                        <a:pos x="368" y="0"/>
                      </a:cxn>
                    </a:cxnLst>
                    <a:rect l="0" t="0" r="r" b="b"/>
                    <a:pathLst>
                      <a:path w="521" h="736">
                        <a:moveTo>
                          <a:pt x="368" y="0"/>
                        </a:moveTo>
                        <a:cubicBezTo>
                          <a:pt x="0" y="368"/>
                          <a:pt x="0" y="368"/>
                          <a:pt x="0" y="368"/>
                        </a:cubicBezTo>
                        <a:cubicBezTo>
                          <a:pt x="368" y="736"/>
                          <a:pt x="368" y="736"/>
                          <a:pt x="368" y="736"/>
                        </a:cubicBezTo>
                        <a:cubicBezTo>
                          <a:pt x="463" y="642"/>
                          <a:pt x="521" y="512"/>
                          <a:pt x="521" y="368"/>
                        </a:cubicBezTo>
                        <a:cubicBezTo>
                          <a:pt x="521" y="224"/>
                          <a:pt x="463" y="94"/>
                          <a:pt x="368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ice</a:t>
                    </a:r>
                  </a:p>
                </p:txBody>
              </p:sp>
              <p:sp>
                <p:nvSpPr>
                  <p:cNvPr id="2059" name="Freeform 11"/>
                  <p:cNvSpPr>
                    <a:spLocks/>
                  </p:cNvSpPr>
                  <p:nvPr/>
                </p:nvSpPr>
                <p:spPr bwMode="gray">
                  <a:xfrm>
                    <a:off x="757238" y="3897313"/>
                    <a:ext cx="2101850" cy="1487488"/>
                  </a:xfrm>
                  <a:custGeom>
                    <a:avLst/>
                    <a:gdLst/>
                    <a:ahLst/>
                    <a:cxnLst>
                      <a:cxn ang="0">
                        <a:pos x="0" y="368"/>
                      </a:cxn>
                      <a:cxn ang="0">
                        <a:pos x="368" y="521"/>
                      </a:cxn>
                      <a:cxn ang="0">
                        <a:pos x="736" y="368"/>
                      </a:cxn>
                      <a:cxn ang="0">
                        <a:pos x="368" y="0"/>
                      </a:cxn>
                      <a:cxn ang="0">
                        <a:pos x="0" y="368"/>
                      </a:cxn>
                    </a:cxnLst>
                    <a:rect l="0" t="0" r="r" b="b"/>
                    <a:pathLst>
                      <a:path w="736" h="521">
                        <a:moveTo>
                          <a:pt x="0" y="368"/>
                        </a:moveTo>
                        <a:cubicBezTo>
                          <a:pt x="94" y="463"/>
                          <a:pt x="224" y="521"/>
                          <a:pt x="368" y="521"/>
                        </a:cubicBezTo>
                        <a:cubicBezTo>
                          <a:pt x="512" y="521"/>
                          <a:pt x="642" y="463"/>
                          <a:pt x="736" y="368"/>
                        </a:cubicBezTo>
                        <a:cubicBezTo>
                          <a:pt x="368" y="0"/>
                          <a:pt x="368" y="0"/>
                          <a:pt x="368" y="0"/>
                        </a:cubicBezTo>
                        <a:lnTo>
                          <a:pt x="0" y="36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ositioning</a:t>
                    </a:r>
                  </a:p>
                </p:txBody>
              </p:sp>
            </p:grpSp>
            <p:grpSp>
              <p:nvGrpSpPr>
                <p:cNvPr id="46" name="Gruppieren 45"/>
                <p:cNvGrpSpPr/>
                <p:nvPr/>
              </p:nvGrpSpPr>
              <p:grpSpPr bwMode="gray">
                <a:xfrm>
                  <a:off x="5084763" y="1725613"/>
                  <a:ext cx="3360737" cy="3359151"/>
                  <a:chOff x="5084763" y="1725613"/>
                  <a:chExt cx="3360737" cy="3359151"/>
                </a:xfrm>
              </p:grpSpPr>
              <p:sp>
                <p:nvSpPr>
                  <p:cNvPr id="2063" name="Rectangle 15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4" name="Freeform 16"/>
                  <p:cNvSpPr>
                    <a:spLocks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5" name="Rectangle 17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6" name="Rectangle 18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7" name="Rectangle 19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8" name="Rectangle 20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69" name="Rectangle 21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0" name="Rectangle 22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1" name="Freeform 23"/>
                  <p:cNvSpPr>
                    <a:spLocks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2" name="Rectangle 24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3" name="Rectangle 25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4" name="Rectangle 26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5" name="Freeform 27"/>
                  <p:cNvSpPr>
                    <a:spLocks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6" name="Rectangle 28"/>
                  <p:cNvSpPr>
                    <a:spLocks noChangeArrowheads="1"/>
                  </p:cNvSpPr>
                  <p:nvPr/>
                </p:nvSpPr>
                <p:spPr bwMode="gray">
                  <a:xfrm>
                    <a:off x="6765925" y="3403601"/>
                    <a:ext cx="1587" cy="1588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>
                    <a:outerShdw blurRad="127000" dist="635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lIns="0" tIns="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endParaRPr lang="en-US" sz="1200" noProof="1" smtClean="0">
                      <a:solidFill>
                        <a:srgbClr val="000000"/>
                      </a:solidFill>
                      <a:cs typeface="Arial" charset="0"/>
                    </a:endParaRPr>
                  </a:p>
                </p:txBody>
              </p:sp>
              <p:sp>
                <p:nvSpPr>
                  <p:cNvPr id="2077" name="Freeform 29"/>
                  <p:cNvSpPr>
                    <a:spLocks/>
                  </p:cNvSpPr>
                  <p:nvPr/>
                </p:nvSpPr>
                <p:spPr bwMode="gray">
                  <a:xfrm>
                    <a:off x="6037263" y="3403601"/>
                    <a:ext cx="1458912" cy="1681163"/>
                  </a:xfrm>
                  <a:custGeom>
                    <a:avLst/>
                    <a:gdLst/>
                    <a:ahLst/>
                    <a:cxnLst>
                      <a:cxn ang="0">
                        <a:pos x="266" y="0"/>
                      </a:cxn>
                      <a:cxn ang="0">
                        <a:pos x="266" y="0"/>
                      </a:cxn>
                      <a:cxn ang="0">
                        <a:pos x="266" y="0"/>
                      </a:cxn>
                      <a:cxn ang="0">
                        <a:pos x="0" y="552"/>
                      </a:cxn>
                      <a:cxn ang="0">
                        <a:pos x="266" y="613"/>
                      </a:cxn>
                      <a:cxn ang="0">
                        <a:pos x="532" y="552"/>
                      </a:cxn>
                      <a:cxn ang="0">
                        <a:pos x="266" y="0"/>
                      </a:cxn>
                    </a:cxnLst>
                    <a:rect l="0" t="0" r="r" b="b"/>
                    <a:pathLst>
                      <a:path w="532" h="613">
                        <a:moveTo>
                          <a:pt x="266" y="0"/>
                        </a:moveTo>
                        <a:cubicBezTo>
                          <a:pt x="266" y="0"/>
                          <a:pt x="266" y="0"/>
                          <a:pt x="266" y="0"/>
                        </a:cubicBezTo>
                        <a:cubicBezTo>
                          <a:pt x="266" y="0"/>
                          <a:pt x="266" y="0"/>
                          <a:pt x="266" y="0"/>
                        </a:cubicBezTo>
                        <a:cubicBezTo>
                          <a:pt x="0" y="552"/>
                          <a:pt x="0" y="552"/>
                          <a:pt x="0" y="552"/>
                        </a:cubicBezTo>
                        <a:cubicBezTo>
                          <a:pt x="80" y="591"/>
                          <a:pt x="171" y="613"/>
                          <a:pt x="266" y="613"/>
                        </a:cubicBezTo>
                        <a:cubicBezTo>
                          <a:pt x="361" y="613"/>
                          <a:pt x="451" y="591"/>
                          <a:pt x="532" y="552"/>
                        </a:cubicBezTo>
                        <a:lnTo>
                          <a:pt x="266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>
                          <a:lumMod val="40000"/>
                          <a:lumOff val="60000"/>
                        </a:schemeClr>
                      </a:gs>
                      <a:gs pos="100000">
                        <a:schemeClr val="accent1">
                          <a:lumMod val="20000"/>
                          <a:lumOff val="8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43200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  <a:t>process</a:t>
                    </a:r>
                    <a:b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</a:br>
                    <a: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  <a:t>management</a:t>
                    </a:r>
                  </a:p>
                </p:txBody>
              </p:sp>
              <p:sp>
                <p:nvSpPr>
                  <p:cNvPr id="2078" name="Freeform 30"/>
                  <p:cNvSpPr>
                    <a:spLocks/>
                  </p:cNvSpPr>
                  <p:nvPr/>
                </p:nvSpPr>
                <p:spPr bwMode="gray">
                  <a:xfrm>
                    <a:off x="6765925" y="3403601"/>
                    <a:ext cx="1638300" cy="1514475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266" y="552"/>
                      </a:cxn>
                      <a:cxn ang="0">
                        <a:pos x="479" y="382"/>
                      </a:cxn>
                      <a:cxn ang="0">
                        <a:pos x="597" y="137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597" h="552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266" y="552"/>
                          <a:pt x="266" y="552"/>
                          <a:pt x="266" y="552"/>
                        </a:cubicBezTo>
                        <a:cubicBezTo>
                          <a:pt x="349" y="512"/>
                          <a:pt x="422" y="454"/>
                          <a:pt x="479" y="382"/>
                        </a:cubicBezTo>
                        <a:cubicBezTo>
                          <a:pt x="535" y="312"/>
                          <a:pt x="576" y="228"/>
                          <a:pt x="597" y="137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>
                          <a:lumMod val="40000"/>
                          <a:lumOff val="60000"/>
                        </a:schemeClr>
                      </a:gs>
                      <a:gs pos="100000">
                        <a:schemeClr val="accent1">
                          <a:lumMod val="20000"/>
                          <a:lumOff val="8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28800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  <a:t>physical </a:t>
                    </a:r>
                    <a:b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</a:br>
                    <a: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  <a:t>facilities</a:t>
                    </a:r>
                  </a:p>
                </p:txBody>
              </p:sp>
              <p:sp>
                <p:nvSpPr>
                  <p:cNvPr id="2079" name="Freeform 31"/>
                  <p:cNvSpPr>
                    <a:spLocks/>
                  </p:cNvSpPr>
                  <p:nvPr/>
                </p:nvSpPr>
                <p:spPr bwMode="gray">
                  <a:xfrm>
                    <a:off x="5129213" y="3403601"/>
                    <a:ext cx="1636712" cy="1514475"/>
                  </a:xfrm>
                  <a:custGeom>
                    <a:avLst/>
                    <a:gdLst/>
                    <a:ahLst/>
                    <a:cxnLst>
                      <a:cxn ang="0">
                        <a:pos x="0" y="137"/>
                      </a:cxn>
                      <a:cxn ang="0">
                        <a:pos x="118" y="382"/>
                      </a:cxn>
                      <a:cxn ang="0">
                        <a:pos x="331" y="552"/>
                      </a:cxn>
                      <a:cxn ang="0">
                        <a:pos x="597" y="0"/>
                      </a:cxn>
                      <a:cxn ang="0">
                        <a:pos x="597" y="0"/>
                      </a:cxn>
                      <a:cxn ang="0">
                        <a:pos x="0" y="137"/>
                      </a:cxn>
                    </a:cxnLst>
                    <a:rect l="0" t="0" r="r" b="b"/>
                    <a:pathLst>
                      <a:path w="597" h="552">
                        <a:moveTo>
                          <a:pt x="0" y="137"/>
                        </a:moveTo>
                        <a:cubicBezTo>
                          <a:pt x="20" y="228"/>
                          <a:pt x="62" y="311"/>
                          <a:pt x="118" y="382"/>
                        </a:cubicBezTo>
                        <a:cubicBezTo>
                          <a:pt x="175" y="454"/>
                          <a:pt x="248" y="512"/>
                          <a:pt x="331" y="552"/>
                        </a:cubicBezTo>
                        <a:cubicBezTo>
                          <a:pt x="597" y="0"/>
                          <a:pt x="597" y="0"/>
                          <a:pt x="597" y="0"/>
                        </a:cubicBezTo>
                        <a:cubicBezTo>
                          <a:pt x="597" y="0"/>
                          <a:pt x="597" y="0"/>
                          <a:pt x="597" y="0"/>
                        </a:cubicBezTo>
                        <a:lnTo>
                          <a:pt x="0" y="137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0" bIns="21600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ice</a:t>
                    </a:r>
                  </a:p>
                </p:txBody>
              </p:sp>
              <p:sp>
                <p:nvSpPr>
                  <p:cNvPr id="2080" name="Freeform 32"/>
                  <p:cNvSpPr>
                    <a:spLocks/>
                  </p:cNvSpPr>
                  <p:nvPr/>
                </p:nvSpPr>
                <p:spPr bwMode="gray">
                  <a:xfrm>
                    <a:off x="6765925" y="2359026"/>
                    <a:ext cx="1679575" cy="1420813"/>
                  </a:xfrm>
                  <a:custGeom>
                    <a:avLst/>
                    <a:gdLst/>
                    <a:ahLst/>
                    <a:cxnLst>
                      <a:cxn ang="0">
                        <a:pos x="597" y="245"/>
                      </a:cxn>
                      <a:cxn ang="0">
                        <a:pos x="479" y="0"/>
                      </a:cxn>
                      <a:cxn ang="0">
                        <a:pos x="0" y="381"/>
                      </a:cxn>
                      <a:cxn ang="0">
                        <a:pos x="597" y="518"/>
                      </a:cxn>
                      <a:cxn ang="0">
                        <a:pos x="612" y="381"/>
                      </a:cxn>
                      <a:cxn ang="0">
                        <a:pos x="597" y="245"/>
                      </a:cxn>
                    </a:cxnLst>
                    <a:rect l="0" t="0" r="r" b="b"/>
                    <a:pathLst>
                      <a:path w="612" h="518">
                        <a:moveTo>
                          <a:pt x="597" y="245"/>
                        </a:moveTo>
                        <a:cubicBezTo>
                          <a:pt x="576" y="154"/>
                          <a:pt x="535" y="70"/>
                          <a:pt x="479" y="0"/>
                        </a:cubicBezTo>
                        <a:cubicBezTo>
                          <a:pt x="0" y="381"/>
                          <a:pt x="0" y="381"/>
                          <a:pt x="0" y="381"/>
                        </a:cubicBezTo>
                        <a:cubicBezTo>
                          <a:pt x="597" y="518"/>
                          <a:pt x="597" y="518"/>
                          <a:pt x="597" y="518"/>
                        </a:cubicBezTo>
                        <a:cubicBezTo>
                          <a:pt x="607" y="474"/>
                          <a:pt x="612" y="428"/>
                          <a:pt x="612" y="381"/>
                        </a:cubicBezTo>
                        <a:cubicBezTo>
                          <a:pt x="612" y="335"/>
                          <a:pt x="607" y="289"/>
                          <a:pt x="597" y="245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chemeClr val="accent1">
                          <a:lumMod val="40000"/>
                          <a:lumOff val="60000"/>
                        </a:schemeClr>
                      </a:gs>
                      <a:gs pos="100000">
                        <a:schemeClr val="accent1">
                          <a:lumMod val="20000"/>
                          <a:lumOff val="80000"/>
                        </a:schemeClr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360000" tIns="180000" rIns="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b="1" noProof="1" smtClean="0">
                        <a:solidFill>
                          <a:srgbClr val="000000"/>
                        </a:solidFill>
                        <a:cs typeface="Arial" charset="0"/>
                      </a:rPr>
                      <a:t>employees</a:t>
                    </a:r>
                  </a:p>
                </p:txBody>
              </p:sp>
              <p:sp>
                <p:nvSpPr>
                  <p:cNvPr id="2083" name="Freeform 35"/>
                  <p:cNvSpPr>
                    <a:spLocks/>
                  </p:cNvSpPr>
                  <p:nvPr/>
                </p:nvSpPr>
                <p:spPr bwMode="gray">
                  <a:xfrm>
                    <a:off x="5453063" y="1725613"/>
                    <a:ext cx="1312862" cy="1677988"/>
                  </a:xfrm>
                  <a:custGeom>
                    <a:avLst/>
                    <a:gdLst/>
                    <a:ahLst/>
                    <a:cxnLst>
                      <a:cxn ang="0">
                        <a:pos x="213" y="61"/>
                      </a:cxn>
                      <a:cxn ang="0">
                        <a:pos x="0" y="231"/>
                      </a:cxn>
                      <a:cxn ang="0">
                        <a:pos x="479" y="612"/>
                      </a:cxn>
                      <a:cxn ang="0">
                        <a:pos x="479" y="612"/>
                      </a:cxn>
                      <a:cxn ang="0">
                        <a:pos x="479" y="0"/>
                      </a:cxn>
                      <a:cxn ang="0">
                        <a:pos x="213" y="61"/>
                      </a:cxn>
                    </a:cxnLst>
                    <a:rect l="0" t="0" r="r" b="b"/>
                    <a:pathLst>
                      <a:path w="479" h="612">
                        <a:moveTo>
                          <a:pt x="213" y="61"/>
                        </a:moveTo>
                        <a:cubicBezTo>
                          <a:pt x="130" y="101"/>
                          <a:pt x="57" y="159"/>
                          <a:pt x="0" y="231"/>
                        </a:cubicBezTo>
                        <a:cubicBezTo>
                          <a:pt x="479" y="612"/>
                          <a:pt x="479" y="612"/>
                          <a:pt x="479" y="612"/>
                        </a:cubicBezTo>
                        <a:cubicBezTo>
                          <a:pt x="479" y="612"/>
                          <a:pt x="479" y="612"/>
                          <a:pt x="479" y="612"/>
                        </a:cubicBezTo>
                        <a:cubicBezTo>
                          <a:pt x="479" y="0"/>
                          <a:pt x="479" y="0"/>
                          <a:pt x="479" y="0"/>
                        </a:cubicBezTo>
                        <a:cubicBezTo>
                          <a:pt x="384" y="0"/>
                          <a:pt x="293" y="22"/>
                          <a:pt x="213" y="61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216000" tIns="0" rIns="0" bIns="39600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advertisement</a:t>
                    </a:r>
                  </a:p>
                </p:txBody>
              </p:sp>
              <p:sp>
                <p:nvSpPr>
                  <p:cNvPr id="2081" name="Freeform 33"/>
                  <p:cNvSpPr>
                    <a:spLocks/>
                  </p:cNvSpPr>
                  <p:nvPr/>
                </p:nvSpPr>
                <p:spPr bwMode="gray">
                  <a:xfrm>
                    <a:off x="6765925" y="1725613"/>
                    <a:ext cx="1314450" cy="1677988"/>
                  </a:xfrm>
                  <a:custGeom>
                    <a:avLst/>
                    <a:gdLst/>
                    <a:ahLst/>
                    <a:cxnLst>
                      <a:cxn ang="0">
                        <a:pos x="266" y="61"/>
                      </a:cxn>
                      <a:cxn ang="0">
                        <a:pos x="0" y="0"/>
                      </a:cxn>
                      <a:cxn ang="0">
                        <a:pos x="0" y="612"/>
                      </a:cxn>
                      <a:cxn ang="0">
                        <a:pos x="0" y="612"/>
                      </a:cxn>
                      <a:cxn ang="0">
                        <a:pos x="479" y="231"/>
                      </a:cxn>
                      <a:cxn ang="0">
                        <a:pos x="266" y="61"/>
                      </a:cxn>
                    </a:cxnLst>
                    <a:rect l="0" t="0" r="r" b="b"/>
                    <a:pathLst>
                      <a:path w="479" h="612">
                        <a:moveTo>
                          <a:pt x="266" y="61"/>
                        </a:moveTo>
                        <a:cubicBezTo>
                          <a:pt x="185" y="22"/>
                          <a:pt x="95" y="0"/>
                          <a:pt x="0" y="0"/>
                        </a:cubicBezTo>
                        <a:cubicBezTo>
                          <a:pt x="0" y="612"/>
                          <a:pt x="0" y="612"/>
                          <a:pt x="0" y="612"/>
                        </a:cubicBezTo>
                        <a:cubicBezTo>
                          <a:pt x="0" y="612"/>
                          <a:pt x="0" y="612"/>
                          <a:pt x="0" y="612"/>
                        </a:cubicBezTo>
                        <a:cubicBezTo>
                          <a:pt x="479" y="231"/>
                          <a:pt x="479" y="231"/>
                          <a:pt x="479" y="231"/>
                        </a:cubicBezTo>
                        <a:cubicBezTo>
                          <a:pt x="422" y="159"/>
                          <a:pt x="349" y="101"/>
                          <a:pt x="266" y="61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0" rIns="252000" bIns="39600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roduct</a:t>
                    </a:r>
                  </a:p>
                </p:txBody>
              </p:sp>
              <p:sp>
                <p:nvSpPr>
                  <p:cNvPr id="2082" name="Freeform 34"/>
                  <p:cNvSpPr>
                    <a:spLocks/>
                  </p:cNvSpPr>
                  <p:nvPr/>
                </p:nvSpPr>
                <p:spPr bwMode="gray">
                  <a:xfrm>
                    <a:off x="5084763" y="2359026"/>
                    <a:ext cx="1681162" cy="1420813"/>
                  </a:xfrm>
                  <a:custGeom>
                    <a:avLst/>
                    <a:gdLst/>
                    <a:ahLst/>
                    <a:cxnLst>
                      <a:cxn ang="0">
                        <a:pos x="134" y="0"/>
                      </a:cxn>
                      <a:cxn ang="0">
                        <a:pos x="16" y="245"/>
                      </a:cxn>
                      <a:cxn ang="0">
                        <a:pos x="0" y="381"/>
                      </a:cxn>
                      <a:cxn ang="0">
                        <a:pos x="16" y="518"/>
                      </a:cxn>
                      <a:cxn ang="0">
                        <a:pos x="613" y="381"/>
                      </a:cxn>
                      <a:cxn ang="0">
                        <a:pos x="613" y="381"/>
                      </a:cxn>
                      <a:cxn ang="0">
                        <a:pos x="613" y="381"/>
                      </a:cxn>
                      <a:cxn ang="0">
                        <a:pos x="134" y="0"/>
                      </a:cxn>
                    </a:cxnLst>
                    <a:rect l="0" t="0" r="r" b="b"/>
                    <a:pathLst>
                      <a:path w="613" h="518">
                        <a:moveTo>
                          <a:pt x="134" y="0"/>
                        </a:moveTo>
                        <a:cubicBezTo>
                          <a:pt x="78" y="70"/>
                          <a:pt x="36" y="154"/>
                          <a:pt x="16" y="245"/>
                        </a:cubicBezTo>
                        <a:cubicBezTo>
                          <a:pt x="6" y="289"/>
                          <a:pt x="0" y="335"/>
                          <a:pt x="0" y="381"/>
                        </a:cubicBezTo>
                        <a:cubicBezTo>
                          <a:pt x="0" y="428"/>
                          <a:pt x="6" y="474"/>
                          <a:pt x="16" y="518"/>
                        </a:cubicBezTo>
                        <a:cubicBezTo>
                          <a:pt x="613" y="381"/>
                          <a:pt x="613" y="381"/>
                          <a:pt x="613" y="381"/>
                        </a:cubicBezTo>
                        <a:cubicBezTo>
                          <a:pt x="613" y="381"/>
                          <a:pt x="613" y="381"/>
                          <a:pt x="613" y="381"/>
                        </a:cubicBezTo>
                        <a:cubicBezTo>
                          <a:pt x="613" y="381"/>
                          <a:pt x="613" y="381"/>
                          <a:pt x="613" y="381"/>
                        </a:cubicBezTo>
                        <a:lnTo>
                          <a:pt x="134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D7D7D7"/>
                      </a:gs>
                      <a:gs pos="100000">
                        <a:srgbClr val="FFFFFF"/>
                      </a:gs>
                    </a:gsLst>
                    <a:lin ang="16200000" scaled="1"/>
                    <a:tileRect/>
                  </a:gradFill>
                  <a:ln w="12700">
                    <a:solidFill>
                      <a:srgbClr val="C0C0C0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lIns="0" tIns="180000" rIns="360000" bIns="0" anchor="ctr" anchorCtr="0"/>
                  <a:lstStyle/>
                  <a:p>
                    <a:pPr algn="ctr">
                      <a:lnSpc>
                        <a:spcPct val="95000"/>
                      </a:lnSpc>
                      <a:spcAft>
                        <a:spcPts val="800"/>
                      </a:spcAft>
                      <a:buClr>
                        <a:srgbClr val="969696"/>
                      </a:buClr>
                      <a:defRPr/>
                    </a:pPr>
                    <a:r>
                      <a:rPr lang="en-US" sz="1200" noProof="1" smtClean="0">
                        <a:solidFill>
                          <a:srgbClr val="000000"/>
                        </a:solidFill>
                        <a:cs typeface="Arial" charset="0"/>
                      </a:rPr>
                      <a:t>positioning</a:t>
                    </a:r>
                  </a:p>
                </p:txBody>
              </p:sp>
            </p:grpSp>
            <p:cxnSp>
              <p:nvCxnSpPr>
                <p:cNvPr id="48" name="Gerade Verbindung 47"/>
                <p:cNvCxnSpPr/>
                <p:nvPr/>
              </p:nvCxnSpPr>
              <p:spPr bwMode="gray">
                <a:xfrm flipH="1">
                  <a:off x="2131081" y="1733170"/>
                  <a:ext cx="4519101" cy="518531"/>
                </a:xfrm>
                <a:prstGeom prst="line">
                  <a:avLst/>
                </a:prstGeom>
                <a:ln w="12700">
                  <a:solidFill>
                    <a:srgbClr val="C0C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 Verbindung 49"/>
                <p:cNvCxnSpPr/>
                <p:nvPr/>
              </p:nvCxnSpPr>
              <p:spPr bwMode="gray">
                <a:xfrm flipH="1" flipV="1">
                  <a:off x="2131081" y="4558675"/>
                  <a:ext cx="4519101" cy="518531"/>
                </a:xfrm>
                <a:prstGeom prst="line">
                  <a:avLst/>
                </a:prstGeom>
                <a:ln w="12700">
                  <a:solidFill>
                    <a:srgbClr val="C0C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2" name="Textfeld 51"/>
            <p:cNvSpPr txBox="1"/>
            <p:nvPr/>
          </p:nvSpPr>
          <p:spPr bwMode="gray">
            <a:xfrm>
              <a:off x="716057" y="1554962"/>
              <a:ext cx="307872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4 P‘s of the classical </a:t>
              </a:r>
              <a:br>
                <a:rPr lang="en-US" b="1" noProof="1" smtClean="0"/>
              </a:br>
              <a:r>
                <a:rPr lang="en-US" b="1" noProof="1" smtClean="0"/>
                <a:t>consumption goods marketing</a:t>
              </a:r>
              <a:endParaRPr lang="en-US" b="1" noProof="1"/>
            </a:p>
          </p:txBody>
        </p:sp>
        <p:sp>
          <p:nvSpPr>
            <p:cNvPr id="53" name="Textfeld 52"/>
            <p:cNvSpPr txBox="1"/>
            <p:nvPr/>
          </p:nvSpPr>
          <p:spPr bwMode="gray">
            <a:xfrm>
              <a:off x="5825734" y="1554962"/>
              <a:ext cx="187480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noProof="1" smtClean="0"/>
                <a:t>7 P‘s of the </a:t>
              </a:r>
              <a:br>
                <a:rPr lang="en-US" b="1" noProof="1" smtClean="0"/>
              </a:br>
              <a:r>
                <a:rPr lang="en-US" b="1" noProof="1" smtClean="0"/>
                <a:t>service marketing</a:t>
              </a:r>
              <a:endParaRPr lang="en-US" b="1" noProof="1"/>
            </a:p>
          </p:txBody>
        </p:sp>
        <p:pic>
          <p:nvPicPr>
            <p:cNvPr id="43" name="Picture 8"/>
            <p:cNvPicPr>
              <a:picLocks noChangeAspect="1" noChangeArrowheads="1"/>
            </p:cNvPicPr>
            <p:nvPr/>
          </p:nvPicPr>
          <p:blipFill>
            <a:blip r:embed="rId2" cstate="print">
              <a:lum bright="68000"/>
            </a:blip>
            <a:srcRect/>
            <a:stretch>
              <a:fillRect/>
            </a:stretch>
          </p:blipFill>
          <p:spPr bwMode="gray">
            <a:xfrm>
              <a:off x="1286245" y="5702243"/>
              <a:ext cx="1938350" cy="225938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15598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Step model in 4 phases (Phases could variy)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AIDA- Model</a:t>
            </a:r>
          </a:p>
        </p:txBody>
      </p:sp>
      <p:grpSp>
        <p:nvGrpSpPr>
          <p:cNvPr id="52" name="Gruppieren 51"/>
          <p:cNvGrpSpPr/>
          <p:nvPr/>
        </p:nvGrpSpPr>
        <p:grpSpPr>
          <a:xfrm>
            <a:off x="859880" y="1996627"/>
            <a:ext cx="7794012" cy="3298023"/>
            <a:chOff x="859880" y="1996627"/>
            <a:chExt cx="7794012" cy="3298023"/>
          </a:xfrm>
        </p:grpSpPr>
        <p:grpSp>
          <p:nvGrpSpPr>
            <p:cNvPr id="4" name="Gruppieren 48"/>
            <p:cNvGrpSpPr/>
            <p:nvPr/>
          </p:nvGrpSpPr>
          <p:grpSpPr bwMode="gray">
            <a:xfrm>
              <a:off x="934836" y="2017715"/>
              <a:ext cx="1428819" cy="1461992"/>
              <a:chOff x="-765175" y="2842577"/>
              <a:chExt cx="957263" cy="979488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AutoShape 62" descr="© INSCALE GmbH, 26.05.2010&#10;http://www.presentationload.com/"/>
              <p:cNvSpPr>
                <a:spLocks noChangeAspect="1" noChangeArrowheads="1" noTextEdit="1"/>
              </p:cNvSpPr>
              <p:nvPr/>
            </p:nvSpPr>
            <p:spPr bwMode="gray">
              <a:xfrm>
                <a:off x="-765175" y="2842577"/>
                <a:ext cx="957263" cy="979488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6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54062" y="2850515"/>
                <a:ext cx="927100" cy="960438"/>
              </a:xfrm>
              <a:custGeom>
                <a:avLst/>
                <a:gdLst/>
                <a:ahLst/>
                <a:cxnLst>
                  <a:cxn ang="0">
                    <a:pos x="247" y="234"/>
                  </a:cxn>
                  <a:cxn ang="0">
                    <a:pos x="225" y="256"/>
                  </a:cxn>
                  <a:cxn ang="0">
                    <a:pos x="23" y="256"/>
                  </a:cxn>
                  <a:cxn ang="0">
                    <a:pos x="0" y="234"/>
                  </a:cxn>
                  <a:cxn ang="0">
                    <a:pos x="0" y="22"/>
                  </a:cxn>
                  <a:cxn ang="0">
                    <a:pos x="23" y="0"/>
                  </a:cxn>
                  <a:cxn ang="0">
                    <a:pos x="225" y="0"/>
                  </a:cxn>
                  <a:cxn ang="0">
                    <a:pos x="247" y="22"/>
                  </a:cxn>
                  <a:cxn ang="0">
                    <a:pos x="247" y="234"/>
                  </a:cxn>
                </a:cxnLst>
                <a:rect l="0" t="0" r="r" b="b"/>
                <a:pathLst>
                  <a:path w="247" h="256">
                    <a:moveTo>
                      <a:pt x="247" y="234"/>
                    </a:moveTo>
                    <a:cubicBezTo>
                      <a:pt x="247" y="246"/>
                      <a:pt x="237" y="256"/>
                      <a:pt x="225" y="256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10" y="256"/>
                      <a:pt x="0" y="246"/>
                      <a:pt x="0" y="23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37" y="0"/>
                      <a:pt x="247" y="10"/>
                      <a:pt x="247" y="22"/>
                    </a:cubicBezTo>
                    <a:lnTo>
                      <a:pt x="247" y="23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C8C8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6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46125" y="2858452"/>
                <a:ext cx="919163" cy="952500"/>
              </a:xfrm>
              <a:custGeom>
                <a:avLst/>
                <a:gdLst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9102 w 10000"/>
                  <a:gd name="connsiteY6" fmla="*/ 7402 h 10000"/>
                  <a:gd name="connsiteX7" fmla="*/ 8204 w 10000"/>
                  <a:gd name="connsiteY7" fmla="*/ 8110 h 10000"/>
                  <a:gd name="connsiteX8" fmla="*/ 1837 w 10000"/>
                  <a:gd name="connsiteY8" fmla="*/ 8071 h 10000"/>
                  <a:gd name="connsiteX9" fmla="*/ 0 w 10000"/>
                  <a:gd name="connsiteY9" fmla="*/ 9449 h 10000"/>
                  <a:gd name="connsiteX10" fmla="*/ 857 w 10000"/>
                  <a:gd name="connsiteY10" fmla="*/ 10000 h 10000"/>
                  <a:gd name="connsiteX11" fmla="*/ 9102 w 10000"/>
                  <a:gd name="connsiteY11" fmla="*/ 10000 h 10000"/>
                  <a:gd name="connsiteX12" fmla="*/ 10000 w 10000"/>
                  <a:gd name="connsiteY12" fmla="*/ 9134 h 10000"/>
                  <a:gd name="connsiteX13" fmla="*/ 10000 w 10000"/>
                  <a:gd name="connsiteY13" fmla="*/ 787 h 10000"/>
                  <a:gd name="connsiteX14" fmla="*/ 9673 w 10000"/>
                  <a:gd name="connsiteY14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8204 w 10000"/>
                  <a:gd name="connsiteY6" fmla="*/ 8110 h 10000"/>
                  <a:gd name="connsiteX7" fmla="*/ 1837 w 10000"/>
                  <a:gd name="connsiteY7" fmla="*/ 8071 h 10000"/>
                  <a:gd name="connsiteX8" fmla="*/ 0 w 10000"/>
                  <a:gd name="connsiteY8" fmla="*/ 9449 h 10000"/>
                  <a:gd name="connsiteX9" fmla="*/ 857 w 10000"/>
                  <a:gd name="connsiteY9" fmla="*/ 10000 h 10000"/>
                  <a:gd name="connsiteX10" fmla="*/ 9102 w 10000"/>
                  <a:gd name="connsiteY10" fmla="*/ 10000 h 10000"/>
                  <a:gd name="connsiteX11" fmla="*/ 10000 w 10000"/>
                  <a:gd name="connsiteY11" fmla="*/ 9134 h 10000"/>
                  <a:gd name="connsiteX12" fmla="*/ 10000 w 10000"/>
                  <a:gd name="connsiteY12" fmla="*/ 787 h 10000"/>
                  <a:gd name="connsiteX13" fmla="*/ 9673 w 10000"/>
                  <a:gd name="connsiteY13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8204 w 10000"/>
                  <a:gd name="connsiteY5" fmla="*/ 8110 h 10000"/>
                  <a:gd name="connsiteX6" fmla="*/ 1837 w 10000"/>
                  <a:gd name="connsiteY6" fmla="*/ 8071 h 10000"/>
                  <a:gd name="connsiteX7" fmla="*/ 0 w 10000"/>
                  <a:gd name="connsiteY7" fmla="*/ 9449 h 10000"/>
                  <a:gd name="connsiteX8" fmla="*/ 857 w 10000"/>
                  <a:gd name="connsiteY8" fmla="*/ 10000 h 10000"/>
                  <a:gd name="connsiteX9" fmla="*/ 9102 w 10000"/>
                  <a:gd name="connsiteY9" fmla="*/ 10000 h 10000"/>
                  <a:gd name="connsiteX10" fmla="*/ 10000 w 10000"/>
                  <a:gd name="connsiteY10" fmla="*/ 9134 h 10000"/>
                  <a:gd name="connsiteX11" fmla="*/ 10000 w 10000"/>
                  <a:gd name="connsiteY11" fmla="*/ 787 h 10000"/>
                  <a:gd name="connsiteX12" fmla="*/ 9673 w 10000"/>
                  <a:gd name="connsiteY12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1837 w 10000"/>
                  <a:gd name="connsiteY5" fmla="*/ 8071 h 10000"/>
                  <a:gd name="connsiteX6" fmla="*/ 0 w 10000"/>
                  <a:gd name="connsiteY6" fmla="*/ 9449 h 10000"/>
                  <a:gd name="connsiteX7" fmla="*/ 857 w 10000"/>
                  <a:gd name="connsiteY7" fmla="*/ 10000 h 10000"/>
                  <a:gd name="connsiteX8" fmla="*/ 9102 w 10000"/>
                  <a:gd name="connsiteY8" fmla="*/ 10000 h 10000"/>
                  <a:gd name="connsiteX9" fmla="*/ 10000 w 10000"/>
                  <a:gd name="connsiteY9" fmla="*/ 9134 h 10000"/>
                  <a:gd name="connsiteX10" fmla="*/ 10000 w 10000"/>
                  <a:gd name="connsiteY10" fmla="*/ 787 h 10000"/>
                  <a:gd name="connsiteX11" fmla="*/ 9673 w 10000"/>
                  <a:gd name="connsiteY11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1837 w 10000"/>
                  <a:gd name="connsiteY4" fmla="*/ 8071 h 10000"/>
                  <a:gd name="connsiteX5" fmla="*/ 0 w 10000"/>
                  <a:gd name="connsiteY5" fmla="*/ 9449 h 10000"/>
                  <a:gd name="connsiteX6" fmla="*/ 857 w 10000"/>
                  <a:gd name="connsiteY6" fmla="*/ 10000 h 10000"/>
                  <a:gd name="connsiteX7" fmla="*/ 9102 w 10000"/>
                  <a:gd name="connsiteY7" fmla="*/ 10000 h 10000"/>
                  <a:gd name="connsiteX8" fmla="*/ 10000 w 10000"/>
                  <a:gd name="connsiteY8" fmla="*/ 9134 h 10000"/>
                  <a:gd name="connsiteX9" fmla="*/ 10000 w 10000"/>
                  <a:gd name="connsiteY9" fmla="*/ 787 h 10000"/>
                  <a:gd name="connsiteX10" fmla="*/ 9673 w 10000"/>
                  <a:gd name="connsiteY10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658 w 10000"/>
                  <a:gd name="connsiteY2" fmla="*/ 82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0" h="10000">
                    <a:moveTo>
                      <a:pt x="9673" y="118"/>
                    </a:moveTo>
                    <a:lnTo>
                      <a:pt x="9673" y="118"/>
                    </a:lnTo>
                    <a:cubicBezTo>
                      <a:pt x="8980" y="0"/>
                      <a:pt x="8658" y="505"/>
                      <a:pt x="8658" y="820"/>
                    </a:cubicBezTo>
                    <a:cubicBezTo>
                      <a:pt x="7352" y="2145"/>
                      <a:pt x="3313" y="6601"/>
                      <a:pt x="1837" y="8071"/>
                    </a:cubicBezTo>
                    <a:cubicBezTo>
                      <a:pt x="857" y="8071"/>
                      <a:pt x="204" y="8307"/>
                      <a:pt x="0" y="9449"/>
                    </a:cubicBezTo>
                    <a:cubicBezTo>
                      <a:pt x="122" y="9764"/>
                      <a:pt x="449" y="10000"/>
                      <a:pt x="857" y="10000"/>
                    </a:cubicBezTo>
                    <a:lnTo>
                      <a:pt x="9102" y="10000"/>
                    </a:lnTo>
                    <a:cubicBezTo>
                      <a:pt x="9592" y="10000"/>
                      <a:pt x="10000" y="9606"/>
                      <a:pt x="10000" y="9134"/>
                    </a:cubicBezTo>
                    <a:lnTo>
                      <a:pt x="10000" y="787"/>
                    </a:lnTo>
                    <a:cubicBezTo>
                      <a:pt x="10000" y="512"/>
                      <a:pt x="9878" y="276"/>
                      <a:pt x="9673" y="118"/>
                    </a:cubicBezTo>
                    <a:close/>
                  </a:path>
                </a:pathLst>
              </a:custGeom>
              <a:gradFill flip="none" rotWithShape="1">
                <a:gsLst>
                  <a:gs pos="4000">
                    <a:srgbClr val="AFAFAF">
                      <a:shade val="30000"/>
                      <a:satMod val="115000"/>
                      <a:alpha val="50000"/>
                    </a:srgbClr>
                  </a:gs>
                  <a:gs pos="100000">
                    <a:srgbClr val="AFAFAF">
                      <a:shade val="100000"/>
                      <a:satMod val="115000"/>
                      <a:alpha val="50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Freeform 67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60400" y="2899727"/>
                <a:ext cx="742950" cy="730250"/>
              </a:xfrm>
              <a:custGeom>
                <a:avLst/>
                <a:gdLst/>
                <a:ahLst/>
                <a:cxnLst>
                  <a:cxn ang="0">
                    <a:pos x="198" y="172"/>
                  </a:cxn>
                  <a:cxn ang="0">
                    <a:pos x="175" y="195"/>
                  </a:cxn>
                  <a:cxn ang="0">
                    <a:pos x="23" y="195"/>
                  </a:cxn>
                  <a:cxn ang="0">
                    <a:pos x="0" y="172"/>
                  </a:cxn>
                  <a:cxn ang="0">
                    <a:pos x="0" y="23"/>
                  </a:cxn>
                  <a:cxn ang="0">
                    <a:pos x="23" y="0"/>
                  </a:cxn>
                  <a:cxn ang="0">
                    <a:pos x="175" y="0"/>
                  </a:cxn>
                  <a:cxn ang="0">
                    <a:pos x="198" y="23"/>
                  </a:cxn>
                  <a:cxn ang="0">
                    <a:pos x="198" y="172"/>
                  </a:cxn>
                </a:cxnLst>
                <a:rect l="0" t="0" r="r" b="b"/>
                <a:pathLst>
                  <a:path w="198" h="195">
                    <a:moveTo>
                      <a:pt x="198" y="172"/>
                    </a:moveTo>
                    <a:cubicBezTo>
                      <a:pt x="198" y="184"/>
                      <a:pt x="188" y="195"/>
                      <a:pt x="175" y="195"/>
                    </a:cubicBezTo>
                    <a:cubicBezTo>
                      <a:pt x="23" y="195"/>
                      <a:pt x="23" y="195"/>
                      <a:pt x="23" y="195"/>
                    </a:cubicBezTo>
                    <a:cubicBezTo>
                      <a:pt x="10" y="195"/>
                      <a:pt x="0" y="184"/>
                      <a:pt x="0" y="17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0" y="0"/>
                      <a:pt x="23" y="0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188" y="0"/>
                      <a:pt x="198" y="11"/>
                      <a:pt x="198" y="23"/>
                    </a:cubicBezTo>
                    <a:lnTo>
                      <a:pt x="198" y="1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6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55637" y="2906077"/>
                <a:ext cx="495300" cy="718344"/>
              </a:xfrm>
              <a:custGeom>
                <a:avLst/>
                <a:gdLst>
                  <a:gd name="connsiteX0" fmla="*/ 10000 w 10000"/>
                  <a:gd name="connsiteY0" fmla="*/ 3608 h 10277"/>
                  <a:gd name="connsiteX1" fmla="*/ 8561 w 10000"/>
                  <a:gd name="connsiteY1" fmla="*/ 0 h 10277"/>
                  <a:gd name="connsiteX2" fmla="*/ 1742 w 10000"/>
                  <a:gd name="connsiteY2" fmla="*/ 0 h 10277"/>
                  <a:gd name="connsiteX3" fmla="*/ 0 w 10000"/>
                  <a:gd name="connsiteY3" fmla="*/ 1186 h 10277"/>
                  <a:gd name="connsiteX4" fmla="*/ 0 w 10000"/>
                  <a:gd name="connsiteY4" fmla="*/ 8866 h 10277"/>
                  <a:gd name="connsiteX5" fmla="*/ 1439 w 10000"/>
                  <a:gd name="connsiteY5" fmla="*/ 10000 h 10277"/>
                  <a:gd name="connsiteX6" fmla="*/ 10000 w 10000"/>
                  <a:gd name="connsiteY6" fmla="*/ 3608 h 10277"/>
                  <a:gd name="connsiteX0" fmla="*/ 10000 w 10000"/>
                  <a:gd name="connsiteY0" fmla="*/ 3608 h 10000"/>
                  <a:gd name="connsiteX1" fmla="*/ 8561 w 10000"/>
                  <a:gd name="connsiteY1" fmla="*/ 0 h 10000"/>
                  <a:gd name="connsiteX2" fmla="*/ 1742 w 10000"/>
                  <a:gd name="connsiteY2" fmla="*/ 0 h 10000"/>
                  <a:gd name="connsiteX3" fmla="*/ 0 w 10000"/>
                  <a:gd name="connsiteY3" fmla="*/ 1186 h 10000"/>
                  <a:gd name="connsiteX4" fmla="*/ 0 w 10000"/>
                  <a:gd name="connsiteY4" fmla="*/ 8866 h 10000"/>
                  <a:gd name="connsiteX5" fmla="*/ 1439 w 10000"/>
                  <a:gd name="connsiteY5" fmla="*/ 10000 h 10000"/>
                  <a:gd name="connsiteX6" fmla="*/ 10000 w 10000"/>
                  <a:gd name="connsiteY6" fmla="*/ 360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3608"/>
                    </a:moveTo>
                    <a:cubicBezTo>
                      <a:pt x="10000" y="2268"/>
                      <a:pt x="9470" y="1031"/>
                      <a:pt x="8561" y="0"/>
                    </a:cubicBezTo>
                    <a:lnTo>
                      <a:pt x="1742" y="0"/>
                    </a:lnTo>
                    <a:cubicBezTo>
                      <a:pt x="758" y="0"/>
                      <a:pt x="0" y="567"/>
                      <a:pt x="0" y="1186"/>
                    </a:cubicBezTo>
                    <a:lnTo>
                      <a:pt x="0" y="8866"/>
                    </a:lnTo>
                    <a:cubicBezTo>
                      <a:pt x="0" y="9433"/>
                      <a:pt x="606" y="9897"/>
                      <a:pt x="1439" y="10000"/>
                    </a:cubicBezTo>
                    <a:cubicBezTo>
                      <a:pt x="8925" y="9998"/>
                      <a:pt x="10000" y="7113"/>
                      <a:pt x="10000" y="3608"/>
                    </a:cubicBezTo>
                    <a:close/>
                  </a:path>
                </a:pathLst>
              </a:custGeom>
              <a:solidFill>
                <a:srgbClr val="EAEAEA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6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7680" y="2906077"/>
                <a:ext cx="577849" cy="718344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44" y="0"/>
                  </a:cxn>
                  <a:cxn ang="0">
                    <a:pos x="83" y="64"/>
                  </a:cxn>
                  <a:cxn ang="0">
                    <a:pos x="0" y="194"/>
                  </a:cxn>
                  <a:cxn ang="0">
                    <a:pos x="131" y="194"/>
                  </a:cxn>
                  <a:cxn ang="0">
                    <a:pos x="155" y="171"/>
                  </a:cxn>
                  <a:cxn ang="0">
                    <a:pos x="155" y="22"/>
                  </a:cxn>
                  <a:cxn ang="0">
                    <a:pos x="131" y="0"/>
                  </a:cxn>
                </a:cxnLst>
                <a:rect l="0" t="0" r="r" b="b"/>
                <a:pathLst>
                  <a:path w="155" h="194">
                    <a:moveTo>
                      <a:pt x="131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80" y="19"/>
                      <a:pt x="83" y="64"/>
                    </a:cubicBezTo>
                    <a:cubicBezTo>
                      <a:pt x="87" y="108"/>
                      <a:pt x="57" y="178"/>
                      <a:pt x="0" y="194"/>
                    </a:cubicBezTo>
                    <a:cubicBezTo>
                      <a:pt x="131" y="194"/>
                      <a:pt x="131" y="194"/>
                      <a:pt x="131" y="194"/>
                    </a:cubicBezTo>
                    <a:cubicBezTo>
                      <a:pt x="144" y="194"/>
                      <a:pt x="155" y="183"/>
                      <a:pt x="155" y="17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10"/>
                      <a:pt x="144" y="0"/>
                      <a:pt x="131" y="0"/>
                    </a:cubicBezTo>
                    <a:close/>
                  </a:path>
                </a:pathLst>
              </a:custGeom>
              <a:solidFill>
                <a:srgbClr val="FFFFFF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" name="Textfeld 15"/>
            <p:cNvSpPr txBox="1"/>
            <p:nvPr/>
          </p:nvSpPr>
          <p:spPr bwMode="gray">
            <a:xfrm>
              <a:off x="1356451" y="1996627"/>
              <a:ext cx="621965" cy="1231106"/>
            </a:xfrm>
            <a:prstGeom prst="rect">
              <a:avLst/>
            </a:prstGeom>
            <a:noFill/>
            <a:effectLst>
              <a:innerShdw blurRad="114300">
                <a:prstClr val="black"/>
              </a:innerShdw>
            </a:effectLst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US" sz="8000" b="1" noProof="1" smtClean="0">
                  <a:solidFill>
                    <a:srgbClr val="646464"/>
                  </a:solidFill>
                  <a:effectLst>
                    <a:innerShdw blurRad="114300">
                      <a:prstClr val="black"/>
                    </a:innerShdw>
                  </a:effectLst>
                </a:rPr>
                <a:t>A</a:t>
              </a:r>
              <a:endParaRPr lang="en-US" sz="8000" b="1" noProof="1">
                <a:solidFill>
                  <a:srgbClr val="646464"/>
                </a:solidFill>
                <a:effectLst>
                  <a:innerShdw blurRad="114300">
                    <a:prstClr val="black"/>
                  </a:innerShdw>
                </a:effectLst>
              </a:endParaRPr>
            </a:p>
          </p:txBody>
        </p:sp>
        <p:grpSp>
          <p:nvGrpSpPr>
            <p:cNvPr id="6" name="Gruppieren 51"/>
            <p:cNvGrpSpPr/>
            <p:nvPr/>
          </p:nvGrpSpPr>
          <p:grpSpPr bwMode="gray">
            <a:xfrm>
              <a:off x="2883339" y="2017715"/>
              <a:ext cx="1428819" cy="1461992"/>
              <a:chOff x="-765176" y="2842581"/>
              <a:chExt cx="957264" cy="979490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4" name="AutoShape 62" descr="© INSCALE GmbH, 26.05.2010&#10;http://www.presentationload.com/"/>
              <p:cNvSpPr>
                <a:spLocks noChangeAspect="1" noChangeArrowheads="1" noTextEdit="1"/>
              </p:cNvSpPr>
              <p:nvPr/>
            </p:nvSpPr>
            <p:spPr bwMode="gray">
              <a:xfrm>
                <a:off x="-765176" y="2842581"/>
                <a:ext cx="957264" cy="979490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6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54063" y="2850519"/>
                <a:ext cx="927100" cy="960439"/>
              </a:xfrm>
              <a:custGeom>
                <a:avLst/>
                <a:gdLst/>
                <a:ahLst/>
                <a:cxnLst>
                  <a:cxn ang="0">
                    <a:pos x="247" y="234"/>
                  </a:cxn>
                  <a:cxn ang="0">
                    <a:pos x="225" y="256"/>
                  </a:cxn>
                  <a:cxn ang="0">
                    <a:pos x="23" y="256"/>
                  </a:cxn>
                  <a:cxn ang="0">
                    <a:pos x="0" y="234"/>
                  </a:cxn>
                  <a:cxn ang="0">
                    <a:pos x="0" y="22"/>
                  </a:cxn>
                  <a:cxn ang="0">
                    <a:pos x="23" y="0"/>
                  </a:cxn>
                  <a:cxn ang="0">
                    <a:pos x="225" y="0"/>
                  </a:cxn>
                  <a:cxn ang="0">
                    <a:pos x="247" y="22"/>
                  </a:cxn>
                  <a:cxn ang="0">
                    <a:pos x="247" y="234"/>
                  </a:cxn>
                </a:cxnLst>
                <a:rect l="0" t="0" r="r" b="b"/>
                <a:pathLst>
                  <a:path w="247" h="256">
                    <a:moveTo>
                      <a:pt x="247" y="234"/>
                    </a:moveTo>
                    <a:cubicBezTo>
                      <a:pt x="247" y="246"/>
                      <a:pt x="237" y="256"/>
                      <a:pt x="225" y="256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10" y="256"/>
                      <a:pt x="0" y="246"/>
                      <a:pt x="0" y="23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37" y="0"/>
                      <a:pt x="247" y="10"/>
                      <a:pt x="247" y="22"/>
                    </a:cubicBezTo>
                    <a:lnTo>
                      <a:pt x="247" y="23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C8C8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Freeform 6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46126" y="2858455"/>
                <a:ext cx="919164" cy="952501"/>
              </a:xfrm>
              <a:custGeom>
                <a:avLst/>
                <a:gdLst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9102 w 10000"/>
                  <a:gd name="connsiteY6" fmla="*/ 7402 h 10000"/>
                  <a:gd name="connsiteX7" fmla="*/ 8204 w 10000"/>
                  <a:gd name="connsiteY7" fmla="*/ 8110 h 10000"/>
                  <a:gd name="connsiteX8" fmla="*/ 1837 w 10000"/>
                  <a:gd name="connsiteY8" fmla="*/ 8071 h 10000"/>
                  <a:gd name="connsiteX9" fmla="*/ 0 w 10000"/>
                  <a:gd name="connsiteY9" fmla="*/ 9449 h 10000"/>
                  <a:gd name="connsiteX10" fmla="*/ 857 w 10000"/>
                  <a:gd name="connsiteY10" fmla="*/ 10000 h 10000"/>
                  <a:gd name="connsiteX11" fmla="*/ 9102 w 10000"/>
                  <a:gd name="connsiteY11" fmla="*/ 10000 h 10000"/>
                  <a:gd name="connsiteX12" fmla="*/ 10000 w 10000"/>
                  <a:gd name="connsiteY12" fmla="*/ 9134 h 10000"/>
                  <a:gd name="connsiteX13" fmla="*/ 10000 w 10000"/>
                  <a:gd name="connsiteY13" fmla="*/ 787 h 10000"/>
                  <a:gd name="connsiteX14" fmla="*/ 9673 w 10000"/>
                  <a:gd name="connsiteY14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8204 w 10000"/>
                  <a:gd name="connsiteY6" fmla="*/ 8110 h 10000"/>
                  <a:gd name="connsiteX7" fmla="*/ 1837 w 10000"/>
                  <a:gd name="connsiteY7" fmla="*/ 8071 h 10000"/>
                  <a:gd name="connsiteX8" fmla="*/ 0 w 10000"/>
                  <a:gd name="connsiteY8" fmla="*/ 9449 h 10000"/>
                  <a:gd name="connsiteX9" fmla="*/ 857 w 10000"/>
                  <a:gd name="connsiteY9" fmla="*/ 10000 h 10000"/>
                  <a:gd name="connsiteX10" fmla="*/ 9102 w 10000"/>
                  <a:gd name="connsiteY10" fmla="*/ 10000 h 10000"/>
                  <a:gd name="connsiteX11" fmla="*/ 10000 w 10000"/>
                  <a:gd name="connsiteY11" fmla="*/ 9134 h 10000"/>
                  <a:gd name="connsiteX12" fmla="*/ 10000 w 10000"/>
                  <a:gd name="connsiteY12" fmla="*/ 787 h 10000"/>
                  <a:gd name="connsiteX13" fmla="*/ 9673 w 10000"/>
                  <a:gd name="connsiteY13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8204 w 10000"/>
                  <a:gd name="connsiteY5" fmla="*/ 8110 h 10000"/>
                  <a:gd name="connsiteX6" fmla="*/ 1837 w 10000"/>
                  <a:gd name="connsiteY6" fmla="*/ 8071 h 10000"/>
                  <a:gd name="connsiteX7" fmla="*/ 0 w 10000"/>
                  <a:gd name="connsiteY7" fmla="*/ 9449 h 10000"/>
                  <a:gd name="connsiteX8" fmla="*/ 857 w 10000"/>
                  <a:gd name="connsiteY8" fmla="*/ 10000 h 10000"/>
                  <a:gd name="connsiteX9" fmla="*/ 9102 w 10000"/>
                  <a:gd name="connsiteY9" fmla="*/ 10000 h 10000"/>
                  <a:gd name="connsiteX10" fmla="*/ 10000 w 10000"/>
                  <a:gd name="connsiteY10" fmla="*/ 9134 h 10000"/>
                  <a:gd name="connsiteX11" fmla="*/ 10000 w 10000"/>
                  <a:gd name="connsiteY11" fmla="*/ 787 h 10000"/>
                  <a:gd name="connsiteX12" fmla="*/ 9673 w 10000"/>
                  <a:gd name="connsiteY12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1837 w 10000"/>
                  <a:gd name="connsiteY5" fmla="*/ 8071 h 10000"/>
                  <a:gd name="connsiteX6" fmla="*/ 0 w 10000"/>
                  <a:gd name="connsiteY6" fmla="*/ 9449 h 10000"/>
                  <a:gd name="connsiteX7" fmla="*/ 857 w 10000"/>
                  <a:gd name="connsiteY7" fmla="*/ 10000 h 10000"/>
                  <a:gd name="connsiteX8" fmla="*/ 9102 w 10000"/>
                  <a:gd name="connsiteY8" fmla="*/ 10000 h 10000"/>
                  <a:gd name="connsiteX9" fmla="*/ 10000 w 10000"/>
                  <a:gd name="connsiteY9" fmla="*/ 9134 h 10000"/>
                  <a:gd name="connsiteX10" fmla="*/ 10000 w 10000"/>
                  <a:gd name="connsiteY10" fmla="*/ 787 h 10000"/>
                  <a:gd name="connsiteX11" fmla="*/ 9673 w 10000"/>
                  <a:gd name="connsiteY11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1837 w 10000"/>
                  <a:gd name="connsiteY4" fmla="*/ 8071 h 10000"/>
                  <a:gd name="connsiteX5" fmla="*/ 0 w 10000"/>
                  <a:gd name="connsiteY5" fmla="*/ 9449 h 10000"/>
                  <a:gd name="connsiteX6" fmla="*/ 857 w 10000"/>
                  <a:gd name="connsiteY6" fmla="*/ 10000 h 10000"/>
                  <a:gd name="connsiteX7" fmla="*/ 9102 w 10000"/>
                  <a:gd name="connsiteY7" fmla="*/ 10000 h 10000"/>
                  <a:gd name="connsiteX8" fmla="*/ 10000 w 10000"/>
                  <a:gd name="connsiteY8" fmla="*/ 9134 h 10000"/>
                  <a:gd name="connsiteX9" fmla="*/ 10000 w 10000"/>
                  <a:gd name="connsiteY9" fmla="*/ 787 h 10000"/>
                  <a:gd name="connsiteX10" fmla="*/ 9673 w 10000"/>
                  <a:gd name="connsiteY10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658 w 10000"/>
                  <a:gd name="connsiteY2" fmla="*/ 82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0" h="10000">
                    <a:moveTo>
                      <a:pt x="9673" y="118"/>
                    </a:moveTo>
                    <a:lnTo>
                      <a:pt x="9673" y="118"/>
                    </a:lnTo>
                    <a:cubicBezTo>
                      <a:pt x="8980" y="0"/>
                      <a:pt x="8658" y="505"/>
                      <a:pt x="8658" y="820"/>
                    </a:cubicBezTo>
                    <a:cubicBezTo>
                      <a:pt x="7352" y="2145"/>
                      <a:pt x="3313" y="6601"/>
                      <a:pt x="1837" y="8071"/>
                    </a:cubicBezTo>
                    <a:cubicBezTo>
                      <a:pt x="857" y="8071"/>
                      <a:pt x="204" y="8307"/>
                      <a:pt x="0" y="9449"/>
                    </a:cubicBezTo>
                    <a:cubicBezTo>
                      <a:pt x="122" y="9764"/>
                      <a:pt x="449" y="10000"/>
                      <a:pt x="857" y="10000"/>
                    </a:cubicBezTo>
                    <a:lnTo>
                      <a:pt x="9102" y="10000"/>
                    </a:lnTo>
                    <a:cubicBezTo>
                      <a:pt x="9592" y="10000"/>
                      <a:pt x="10000" y="9606"/>
                      <a:pt x="10000" y="9134"/>
                    </a:cubicBezTo>
                    <a:lnTo>
                      <a:pt x="10000" y="787"/>
                    </a:lnTo>
                    <a:cubicBezTo>
                      <a:pt x="10000" y="512"/>
                      <a:pt x="9878" y="276"/>
                      <a:pt x="9673" y="1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AFAFAF">
                      <a:shade val="30000"/>
                      <a:satMod val="115000"/>
                      <a:alpha val="50000"/>
                    </a:srgbClr>
                  </a:gs>
                  <a:gs pos="100000">
                    <a:srgbClr val="AFAFAF">
                      <a:shade val="100000"/>
                      <a:satMod val="115000"/>
                      <a:alpha val="50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67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60401" y="2899729"/>
                <a:ext cx="742951" cy="730250"/>
              </a:xfrm>
              <a:custGeom>
                <a:avLst/>
                <a:gdLst/>
                <a:ahLst/>
                <a:cxnLst>
                  <a:cxn ang="0">
                    <a:pos x="198" y="172"/>
                  </a:cxn>
                  <a:cxn ang="0">
                    <a:pos x="175" y="195"/>
                  </a:cxn>
                  <a:cxn ang="0">
                    <a:pos x="23" y="195"/>
                  </a:cxn>
                  <a:cxn ang="0">
                    <a:pos x="0" y="172"/>
                  </a:cxn>
                  <a:cxn ang="0">
                    <a:pos x="0" y="23"/>
                  </a:cxn>
                  <a:cxn ang="0">
                    <a:pos x="23" y="0"/>
                  </a:cxn>
                  <a:cxn ang="0">
                    <a:pos x="175" y="0"/>
                  </a:cxn>
                  <a:cxn ang="0">
                    <a:pos x="198" y="23"/>
                  </a:cxn>
                  <a:cxn ang="0">
                    <a:pos x="198" y="172"/>
                  </a:cxn>
                </a:cxnLst>
                <a:rect l="0" t="0" r="r" b="b"/>
                <a:pathLst>
                  <a:path w="198" h="195">
                    <a:moveTo>
                      <a:pt x="198" y="172"/>
                    </a:moveTo>
                    <a:cubicBezTo>
                      <a:pt x="198" y="184"/>
                      <a:pt x="188" y="195"/>
                      <a:pt x="175" y="195"/>
                    </a:cubicBezTo>
                    <a:cubicBezTo>
                      <a:pt x="23" y="195"/>
                      <a:pt x="23" y="195"/>
                      <a:pt x="23" y="195"/>
                    </a:cubicBezTo>
                    <a:cubicBezTo>
                      <a:pt x="10" y="195"/>
                      <a:pt x="0" y="184"/>
                      <a:pt x="0" y="17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0" y="0"/>
                      <a:pt x="23" y="0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188" y="0"/>
                      <a:pt x="198" y="11"/>
                      <a:pt x="198" y="23"/>
                    </a:cubicBezTo>
                    <a:lnTo>
                      <a:pt x="198" y="1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6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55638" y="2906078"/>
                <a:ext cx="495300" cy="718344"/>
              </a:xfrm>
              <a:custGeom>
                <a:avLst/>
                <a:gdLst>
                  <a:gd name="connsiteX0" fmla="*/ 10000 w 10000"/>
                  <a:gd name="connsiteY0" fmla="*/ 3608 h 10277"/>
                  <a:gd name="connsiteX1" fmla="*/ 8561 w 10000"/>
                  <a:gd name="connsiteY1" fmla="*/ 0 h 10277"/>
                  <a:gd name="connsiteX2" fmla="*/ 1742 w 10000"/>
                  <a:gd name="connsiteY2" fmla="*/ 0 h 10277"/>
                  <a:gd name="connsiteX3" fmla="*/ 0 w 10000"/>
                  <a:gd name="connsiteY3" fmla="*/ 1186 h 10277"/>
                  <a:gd name="connsiteX4" fmla="*/ 0 w 10000"/>
                  <a:gd name="connsiteY4" fmla="*/ 8866 h 10277"/>
                  <a:gd name="connsiteX5" fmla="*/ 1439 w 10000"/>
                  <a:gd name="connsiteY5" fmla="*/ 10000 h 10277"/>
                  <a:gd name="connsiteX6" fmla="*/ 10000 w 10000"/>
                  <a:gd name="connsiteY6" fmla="*/ 3608 h 10277"/>
                  <a:gd name="connsiteX0" fmla="*/ 10000 w 10000"/>
                  <a:gd name="connsiteY0" fmla="*/ 3608 h 10000"/>
                  <a:gd name="connsiteX1" fmla="*/ 8561 w 10000"/>
                  <a:gd name="connsiteY1" fmla="*/ 0 h 10000"/>
                  <a:gd name="connsiteX2" fmla="*/ 1742 w 10000"/>
                  <a:gd name="connsiteY2" fmla="*/ 0 h 10000"/>
                  <a:gd name="connsiteX3" fmla="*/ 0 w 10000"/>
                  <a:gd name="connsiteY3" fmla="*/ 1186 h 10000"/>
                  <a:gd name="connsiteX4" fmla="*/ 0 w 10000"/>
                  <a:gd name="connsiteY4" fmla="*/ 8866 h 10000"/>
                  <a:gd name="connsiteX5" fmla="*/ 1439 w 10000"/>
                  <a:gd name="connsiteY5" fmla="*/ 10000 h 10000"/>
                  <a:gd name="connsiteX6" fmla="*/ 10000 w 10000"/>
                  <a:gd name="connsiteY6" fmla="*/ 360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3608"/>
                    </a:moveTo>
                    <a:cubicBezTo>
                      <a:pt x="10000" y="2268"/>
                      <a:pt x="9470" y="1031"/>
                      <a:pt x="8561" y="0"/>
                    </a:cubicBezTo>
                    <a:lnTo>
                      <a:pt x="1742" y="0"/>
                    </a:lnTo>
                    <a:cubicBezTo>
                      <a:pt x="758" y="0"/>
                      <a:pt x="0" y="567"/>
                      <a:pt x="0" y="1186"/>
                    </a:cubicBezTo>
                    <a:lnTo>
                      <a:pt x="0" y="8866"/>
                    </a:lnTo>
                    <a:cubicBezTo>
                      <a:pt x="0" y="9433"/>
                      <a:pt x="606" y="9897"/>
                      <a:pt x="1439" y="10000"/>
                    </a:cubicBezTo>
                    <a:cubicBezTo>
                      <a:pt x="8925" y="9998"/>
                      <a:pt x="10000" y="7113"/>
                      <a:pt x="10000" y="3608"/>
                    </a:cubicBezTo>
                    <a:close/>
                  </a:path>
                </a:pathLst>
              </a:custGeom>
              <a:solidFill>
                <a:srgbClr val="EAEAEA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6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7680" y="2906077"/>
                <a:ext cx="577849" cy="718344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44" y="0"/>
                  </a:cxn>
                  <a:cxn ang="0">
                    <a:pos x="83" y="64"/>
                  </a:cxn>
                  <a:cxn ang="0">
                    <a:pos x="0" y="194"/>
                  </a:cxn>
                  <a:cxn ang="0">
                    <a:pos x="131" y="194"/>
                  </a:cxn>
                  <a:cxn ang="0">
                    <a:pos x="155" y="171"/>
                  </a:cxn>
                  <a:cxn ang="0">
                    <a:pos x="155" y="22"/>
                  </a:cxn>
                  <a:cxn ang="0">
                    <a:pos x="131" y="0"/>
                  </a:cxn>
                </a:cxnLst>
                <a:rect l="0" t="0" r="r" b="b"/>
                <a:pathLst>
                  <a:path w="155" h="194">
                    <a:moveTo>
                      <a:pt x="131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80" y="19"/>
                      <a:pt x="83" y="64"/>
                    </a:cubicBezTo>
                    <a:cubicBezTo>
                      <a:pt x="87" y="108"/>
                      <a:pt x="57" y="178"/>
                      <a:pt x="0" y="194"/>
                    </a:cubicBezTo>
                    <a:cubicBezTo>
                      <a:pt x="131" y="194"/>
                      <a:pt x="131" y="194"/>
                      <a:pt x="131" y="194"/>
                    </a:cubicBezTo>
                    <a:cubicBezTo>
                      <a:pt x="144" y="194"/>
                      <a:pt x="155" y="183"/>
                      <a:pt x="155" y="17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10"/>
                      <a:pt x="144" y="0"/>
                      <a:pt x="131" y="0"/>
                    </a:cubicBezTo>
                    <a:close/>
                  </a:path>
                </a:pathLst>
              </a:custGeom>
              <a:solidFill>
                <a:srgbClr val="FFFFFF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Textfeld 52"/>
            <p:cNvSpPr txBox="1"/>
            <p:nvPr/>
          </p:nvSpPr>
          <p:spPr bwMode="gray">
            <a:xfrm>
              <a:off x="3478879" y="1996627"/>
              <a:ext cx="274114" cy="1231106"/>
            </a:xfrm>
            <a:prstGeom prst="rect">
              <a:avLst/>
            </a:prstGeom>
            <a:noFill/>
            <a:effectLst>
              <a:innerShdw blurRad="114300">
                <a:prstClr val="black"/>
              </a:innerShdw>
            </a:effectLst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US" sz="8000" b="1" noProof="1" smtClean="0">
                  <a:solidFill>
                    <a:srgbClr val="646464"/>
                  </a:solidFill>
                  <a:effectLst>
                    <a:innerShdw blurRad="114300">
                      <a:prstClr val="black"/>
                    </a:innerShdw>
                  </a:effectLst>
                </a:rPr>
                <a:t>I</a:t>
              </a:r>
              <a:endParaRPr lang="en-US" sz="8000" b="1" noProof="1">
                <a:solidFill>
                  <a:srgbClr val="646464"/>
                </a:solidFill>
                <a:effectLst>
                  <a:innerShdw blurRad="114300">
                    <a:prstClr val="black"/>
                  </a:innerShdw>
                </a:effectLst>
              </a:endParaRPr>
            </a:p>
          </p:txBody>
        </p:sp>
        <p:grpSp>
          <p:nvGrpSpPr>
            <p:cNvPr id="8" name="Gruppieren 60"/>
            <p:cNvGrpSpPr/>
            <p:nvPr/>
          </p:nvGrpSpPr>
          <p:grpSpPr bwMode="gray">
            <a:xfrm>
              <a:off x="4831842" y="2017715"/>
              <a:ext cx="1428819" cy="1461992"/>
              <a:chOff x="-765176" y="2842581"/>
              <a:chExt cx="957264" cy="979490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3" name="AutoShape 62" descr="© INSCALE GmbH, 26.05.2010&#10;http://www.presentationload.com/"/>
              <p:cNvSpPr>
                <a:spLocks noChangeAspect="1" noChangeArrowheads="1" noTextEdit="1"/>
              </p:cNvSpPr>
              <p:nvPr/>
            </p:nvSpPr>
            <p:spPr bwMode="gray">
              <a:xfrm>
                <a:off x="-765176" y="2842581"/>
                <a:ext cx="957264" cy="979490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6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54063" y="2850519"/>
                <a:ext cx="927100" cy="960439"/>
              </a:xfrm>
              <a:custGeom>
                <a:avLst/>
                <a:gdLst/>
                <a:ahLst/>
                <a:cxnLst>
                  <a:cxn ang="0">
                    <a:pos x="247" y="234"/>
                  </a:cxn>
                  <a:cxn ang="0">
                    <a:pos x="225" y="256"/>
                  </a:cxn>
                  <a:cxn ang="0">
                    <a:pos x="23" y="256"/>
                  </a:cxn>
                  <a:cxn ang="0">
                    <a:pos x="0" y="234"/>
                  </a:cxn>
                  <a:cxn ang="0">
                    <a:pos x="0" y="22"/>
                  </a:cxn>
                  <a:cxn ang="0">
                    <a:pos x="23" y="0"/>
                  </a:cxn>
                  <a:cxn ang="0">
                    <a:pos x="225" y="0"/>
                  </a:cxn>
                  <a:cxn ang="0">
                    <a:pos x="247" y="22"/>
                  </a:cxn>
                  <a:cxn ang="0">
                    <a:pos x="247" y="234"/>
                  </a:cxn>
                </a:cxnLst>
                <a:rect l="0" t="0" r="r" b="b"/>
                <a:pathLst>
                  <a:path w="247" h="256">
                    <a:moveTo>
                      <a:pt x="247" y="234"/>
                    </a:moveTo>
                    <a:cubicBezTo>
                      <a:pt x="247" y="246"/>
                      <a:pt x="237" y="256"/>
                      <a:pt x="225" y="256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10" y="256"/>
                      <a:pt x="0" y="246"/>
                      <a:pt x="0" y="23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37" y="0"/>
                      <a:pt x="247" y="10"/>
                      <a:pt x="247" y="22"/>
                    </a:cubicBezTo>
                    <a:lnTo>
                      <a:pt x="247" y="23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C8C8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Freeform 6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46126" y="2858455"/>
                <a:ext cx="919164" cy="952501"/>
              </a:xfrm>
              <a:custGeom>
                <a:avLst/>
                <a:gdLst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9102 w 10000"/>
                  <a:gd name="connsiteY6" fmla="*/ 7402 h 10000"/>
                  <a:gd name="connsiteX7" fmla="*/ 8204 w 10000"/>
                  <a:gd name="connsiteY7" fmla="*/ 8110 h 10000"/>
                  <a:gd name="connsiteX8" fmla="*/ 1837 w 10000"/>
                  <a:gd name="connsiteY8" fmla="*/ 8071 h 10000"/>
                  <a:gd name="connsiteX9" fmla="*/ 0 w 10000"/>
                  <a:gd name="connsiteY9" fmla="*/ 9449 h 10000"/>
                  <a:gd name="connsiteX10" fmla="*/ 857 w 10000"/>
                  <a:gd name="connsiteY10" fmla="*/ 10000 h 10000"/>
                  <a:gd name="connsiteX11" fmla="*/ 9102 w 10000"/>
                  <a:gd name="connsiteY11" fmla="*/ 10000 h 10000"/>
                  <a:gd name="connsiteX12" fmla="*/ 10000 w 10000"/>
                  <a:gd name="connsiteY12" fmla="*/ 9134 h 10000"/>
                  <a:gd name="connsiteX13" fmla="*/ 10000 w 10000"/>
                  <a:gd name="connsiteY13" fmla="*/ 787 h 10000"/>
                  <a:gd name="connsiteX14" fmla="*/ 9673 w 10000"/>
                  <a:gd name="connsiteY14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8204 w 10000"/>
                  <a:gd name="connsiteY6" fmla="*/ 8110 h 10000"/>
                  <a:gd name="connsiteX7" fmla="*/ 1837 w 10000"/>
                  <a:gd name="connsiteY7" fmla="*/ 8071 h 10000"/>
                  <a:gd name="connsiteX8" fmla="*/ 0 w 10000"/>
                  <a:gd name="connsiteY8" fmla="*/ 9449 h 10000"/>
                  <a:gd name="connsiteX9" fmla="*/ 857 w 10000"/>
                  <a:gd name="connsiteY9" fmla="*/ 10000 h 10000"/>
                  <a:gd name="connsiteX10" fmla="*/ 9102 w 10000"/>
                  <a:gd name="connsiteY10" fmla="*/ 10000 h 10000"/>
                  <a:gd name="connsiteX11" fmla="*/ 10000 w 10000"/>
                  <a:gd name="connsiteY11" fmla="*/ 9134 h 10000"/>
                  <a:gd name="connsiteX12" fmla="*/ 10000 w 10000"/>
                  <a:gd name="connsiteY12" fmla="*/ 787 h 10000"/>
                  <a:gd name="connsiteX13" fmla="*/ 9673 w 10000"/>
                  <a:gd name="connsiteY13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8204 w 10000"/>
                  <a:gd name="connsiteY5" fmla="*/ 8110 h 10000"/>
                  <a:gd name="connsiteX6" fmla="*/ 1837 w 10000"/>
                  <a:gd name="connsiteY6" fmla="*/ 8071 h 10000"/>
                  <a:gd name="connsiteX7" fmla="*/ 0 w 10000"/>
                  <a:gd name="connsiteY7" fmla="*/ 9449 h 10000"/>
                  <a:gd name="connsiteX8" fmla="*/ 857 w 10000"/>
                  <a:gd name="connsiteY8" fmla="*/ 10000 h 10000"/>
                  <a:gd name="connsiteX9" fmla="*/ 9102 w 10000"/>
                  <a:gd name="connsiteY9" fmla="*/ 10000 h 10000"/>
                  <a:gd name="connsiteX10" fmla="*/ 10000 w 10000"/>
                  <a:gd name="connsiteY10" fmla="*/ 9134 h 10000"/>
                  <a:gd name="connsiteX11" fmla="*/ 10000 w 10000"/>
                  <a:gd name="connsiteY11" fmla="*/ 787 h 10000"/>
                  <a:gd name="connsiteX12" fmla="*/ 9673 w 10000"/>
                  <a:gd name="connsiteY12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1837 w 10000"/>
                  <a:gd name="connsiteY5" fmla="*/ 8071 h 10000"/>
                  <a:gd name="connsiteX6" fmla="*/ 0 w 10000"/>
                  <a:gd name="connsiteY6" fmla="*/ 9449 h 10000"/>
                  <a:gd name="connsiteX7" fmla="*/ 857 w 10000"/>
                  <a:gd name="connsiteY7" fmla="*/ 10000 h 10000"/>
                  <a:gd name="connsiteX8" fmla="*/ 9102 w 10000"/>
                  <a:gd name="connsiteY8" fmla="*/ 10000 h 10000"/>
                  <a:gd name="connsiteX9" fmla="*/ 10000 w 10000"/>
                  <a:gd name="connsiteY9" fmla="*/ 9134 h 10000"/>
                  <a:gd name="connsiteX10" fmla="*/ 10000 w 10000"/>
                  <a:gd name="connsiteY10" fmla="*/ 787 h 10000"/>
                  <a:gd name="connsiteX11" fmla="*/ 9673 w 10000"/>
                  <a:gd name="connsiteY11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1837 w 10000"/>
                  <a:gd name="connsiteY4" fmla="*/ 8071 h 10000"/>
                  <a:gd name="connsiteX5" fmla="*/ 0 w 10000"/>
                  <a:gd name="connsiteY5" fmla="*/ 9449 h 10000"/>
                  <a:gd name="connsiteX6" fmla="*/ 857 w 10000"/>
                  <a:gd name="connsiteY6" fmla="*/ 10000 h 10000"/>
                  <a:gd name="connsiteX7" fmla="*/ 9102 w 10000"/>
                  <a:gd name="connsiteY7" fmla="*/ 10000 h 10000"/>
                  <a:gd name="connsiteX8" fmla="*/ 10000 w 10000"/>
                  <a:gd name="connsiteY8" fmla="*/ 9134 h 10000"/>
                  <a:gd name="connsiteX9" fmla="*/ 10000 w 10000"/>
                  <a:gd name="connsiteY9" fmla="*/ 787 h 10000"/>
                  <a:gd name="connsiteX10" fmla="*/ 9673 w 10000"/>
                  <a:gd name="connsiteY10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658 w 10000"/>
                  <a:gd name="connsiteY2" fmla="*/ 82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0" h="10000">
                    <a:moveTo>
                      <a:pt x="9673" y="118"/>
                    </a:moveTo>
                    <a:lnTo>
                      <a:pt x="9673" y="118"/>
                    </a:lnTo>
                    <a:cubicBezTo>
                      <a:pt x="8980" y="0"/>
                      <a:pt x="8658" y="505"/>
                      <a:pt x="8658" y="820"/>
                    </a:cubicBezTo>
                    <a:cubicBezTo>
                      <a:pt x="7352" y="2145"/>
                      <a:pt x="3313" y="6601"/>
                      <a:pt x="1837" y="8071"/>
                    </a:cubicBezTo>
                    <a:cubicBezTo>
                      <a:pt x="857" y="8071"/>
                      <a:pt x="204" y="8307"/>
                      <a:pt x="0" y="9449"/>
                    </a:cubicBezTo>
                    <a:cubicBezTo>
                      <a:pt x="122" y="9764"/>
                      <a:pt x="449" y="10000"/>
                      <a:pt x="857" y="10000"/>
                    </a:cubicBezTo>
                    <a:lnTo>
                      <a:pt x="9102" y="10000"/>
                    </a:lnTo>
                    <a:cubicBezTo>
                      <a:pt x="9592" y="10000"/>
                      <a:pt x="10000" y="9606"/>
                      <a:pt x="10000" y="9134"/>
                    </a:cubicBezTo>
                    <a:lnTo>
                      <a:pt x="10000" y="787"/>
                    </a:lnTo>
                    <a:cubicBezTo>
                      <a:pt x="10000" y="512"/>
                      <a:pt x="9878" y="276"/>
                      <a:pt x="9673" y="1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AFAFAF">
                      <a:shade val="30000"/>
                      <a:satMod val="115000"/>
                      <a:alpha val="50000"/>
                    </a:srgbClr>
                  </a:gs>
                  <a:gs pos="100000">
                    <a:srgbClr val="AFAFAF">
                      <a:shade val="100000"/>
                      <a:satMod val="115000"/>
                      <a:alpha val="50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67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60401" y="2899729"/>
                <a:ext cx="742951" cy="730250"/>
              </a:xfrm>
              <a:custGeom>
                <a:avLst/>
                <a:gdLst/>
                <a:ahLst/>
                <a:cxnLst>
                  <a:cxn ang="0">
                    <a:pos x="198" y="172"/>
                  </a:cxn>
                  <a:cxn ang="0">
                    <a:pos x="175" y="195"/>
                  </a:cxn>
                  <a:cxn ang="0">
                    <a:pos x="23" y="195"/>
                  </a:cxn>
                  <a:cxn ang="0">
                    <a:pos x="0" y="172"/>
                  </a:cxn>
                  <a:cxn ang="0">
                    <a:pos x="0" y="23"/>
                  </a:cxn>
                  <a:cxn ang="0">
                    <a:pos x="23" y="0"/>
                  </a:cxn>
                  <a:cxn ang="0">
                    <a:pos x="175" y="0"/>
                  </a:cxn>
                  <a:cxn ang="0">
                    <a:pos x="198" y="23"/>
                  </a:cxn>
                  <a:cxn ang="0">
                    <a:pos x="198" y="172"/>
                  </a:cxn>
                </a:cxnLst>
                <a:rect l="0" t="0" r="r" b="b"/>
                <a:pathLst>
                  <a:path w="198" h="195">
                    <a:moveTo>
                      <a:pt x="198" y="172"/>
                    </a:moveTo>
                    <a:cubicBezTo>
                      <a:pt x="198" y="184"/>
                      <a:pt x="188" y="195"/>
                      <a:pt x="175" y="195"/>
                    </a:cubicBezTo>
                    <a:cubicBezTo>
                      <a:pt x="23" y="195"/>
                      <a:pt x="23" y="195"/>
                      <a:pt x="23" y="195"/>
                    </a:cubicBezTo>
                    <a:cubicBezTo>
                      <a:pt x="10" y="195"/>
                      <a:pt x="0" y="184"/>
                      <a:pt x="0" y="17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0" y="0"/>
                      <a:pt x="23" y="0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188" y="0"/>
                      <a:pt x="198" y="11"/>
                      <a:pt x="198" y="23"/>
                    </a:cubicBezTo>
                    <a:lnTo>
                      <a:pt x="198" y="1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6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55638" y="2906078"/>
                <a:ext cx="495300" cy="718344"/>
              </a:xfrm>
              <a:custGeom>
                <a:avLst/>
                <a:gdLst>
                  <a:gd name="connsiteX0" fmla="*/ 10000 w 10000"/>
                  <a:gd name="connsiteY0" fmla="*/ 3608 h 10277"/>
                  <a:gd name="connsiteX1" fmla="*/ 8561 w 10000"/>
                  <a:gd name="connsiteY1" fmla="*/ 0 h 10277"/>
                  <a:gd name="connsiteX2" fmla="*/ 1742 w 10000"/>
                  <a:gd name="connsiteY2" fmla="*/ 0 h 10277"/>
                  <a:gd name="connsiteX3" fmla="*/ 0 w 10000"/>
                  <a:gd name="connsiteY3" fmla="*/ 1186 h 10277"/>
                  <a:gd name="connsiteX4" fmla="*/ 0 w 10000"/>
                  <a:gd name="connsiteY4" fmla="*/ 8866 h 10277"/>
                  <a:gd name="connsiteX5" fmla="*/ 1439 w 10000"/>
                  <a:gd name="connsiteY5" fmla="*/ 10000 h 10277"/>
                  <a:gd name="connsiteX6" fmla="*/ 10000 w 10000"/>
                  <a:gd name="connsiteY6" fmla="*/ 3608 h 10277"/>
                  <a:gd name="connsiteX0" fmla="*/ 10000 w 10000"/>
                  <a:gd name="connsiteY0" fmla="*/ 3608 h 10000"/>
                  <a:gd name="connsiteX1" fmla="*/ 8561 w 10000"/>
                  <a:gd name="connsiteY1" fmla="*/ 0 h 10000"/>
                  <a:gd name="connsiteX2" fmla="*/ 1742 w 10000"/>
                  <a:gd name="connsiteY2" fmla="*/ 0 h 10000"/>
                  <a:gd name="connsiteX3" fmla="*/ 0 w 10000"/>
                  <a:gd name="connsiteY3" fmla="*/ 1186 h 10000"/>
                  <a:gd name="connsiteX4" fmla="*/ 0 w 10000"/>
                  <a:gd name="connsiteY4" fmla="*/ 8866 h 10000"/>
                  <a:gd name="connsiteX5" fmla="*/ 1439 w 10000"/>
                  <a:gd name="connsiteY5" fmla="*/ 10000 h 10000"/>
                  <a:gd name="connsiteX6" fmla="*/ 10000 w 10000"/>
                  <a:gd name="connsiteY6" fmla="*/ 360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3608"/>
                    </a:moveTo>
                    <a:cubicBezTo>
                      <a:pt x="10000" y="2268"/>
                      <a:pt x="9470" y="1031"/>
                      <a:pt x="8561" y="0"/>
                    </a:cubicBezTo>
                    <a:lnTo>
                      <a:pt x="1742" y="0"/>
                    </a:lnTo>
                    <a:cubicBezTo>
                      <a:pt x="758" y="0"/>
                      <a:pt x="0" y="567"/>
                      <a:pt x="0" y="1186"/>
                    </a:cubicBezTo>
                    <a:lnTo>
                      <a:pt x="0" y="8866"/>
                    </a:lnTo>
                    <a:cubicBezTo>
                      <a:pt x="0" y="9433"/>
                      <a:pt x="606" y="9897"/>
                      <a:pt x="1439" y="10000"/>
                    </a:cubicBezTo>
                    <a:cubicBezTo>
                      <a:pt x="8925" y="9998"/>
                      <a:pt x="10000" y="7113"/>
                      <a:pt x="10000" y="3608"/>
                    </a:cubicBezTo>
                    <a:close/>
                  </a:path>
                </a:pathLst>
              </a:custGeom>
              <a:solidFill>
                <a:srgbClr val="EAEAEA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6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7680" y="2906077"/>
                <a:ext cx="577849" cy="718344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44" y="0"/>
                  </a:cxn>
                  <a:cxn ang="0">
                    <a:pos x="83" y="64"/>
                  </a:cxn>
                  <a:cxn ang="0">
                    <a:pos x="0" y="194"/>
                  </a:cxn>
                  <a:cxn ang="0">
                    <a:pos x="131" y="194"/>
                  </a:cxn>
                  <a:cxn ang="0">
                    <a:pos x="155" y="171"/>
                  </a:cxn>
                  <a:cxn ang="0">
                    <a:pos x="155" y="22"/>
                  </a:cxn>
                  <a:cxn ang="0">
                    <a:pos x="131" y="0"/>
                  </a:cxn>
                </a:cxnLst>
                <a:rect l="0" t="0" r="r" b="b"/>
                <a:pathLst>
                  <a:path w="155" h="194">
                    <a:moveTo>
                      <a:pt x="131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80" y="19"/>
                      <a:pt x="83" y="64"/>
                    </a:cubicBezTo>
                    <a:cubicBezTo>
                      <a:pt x="87" y="108"/>
                      <a:pt x="57" y="178"/>
                      <a:pt x="0" y="194"/>
                    </a:cubicBezTo>
                    <a:cubicBezTo>
                      <a:pt x="131" y="194"/>
                      <a:pt x="131" y="194"/>
                      <a:pt x="131" y="194"/>
                    </a:cubicBezTo>
                    <a:cubicBezTo>
                      <a:pt x="144" y="194"/>
                      <a:pt x="155" y="183"/>
                      <a:pt x="155" y="17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10"/>
                      <a:pt x="144" y="0"/>
                      <a:pt x="131" y="0"/>
                    </a:cubicBezTo>
                    <a:close/>
                  </a:path>
                </a:pathLst>
              </a:custGeom>
              <a:solidFill>
                <a:srgbClr val="FFFFFF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2" name="Textfeld 61"/>
            <p:cNvSpPr txBox="1"/>
            <p:nvPr/>
          </p:nvSpPr>
          <p:spPr bwMode="gray">
            <a:xfrm>
              <a:off x="5241434" y="1996627"/>
              <a:ext cx="646011" cy="123110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US" sz="8000" b="1" noProof="1" smtClean="0">
                  <a:solidFill>
                    <a:srgbClr val="646464"/>
                  </a:solidFill>
                  <a:effectLst>
                    <a:innerShdw blurRad="114300">
                      <a:prstClr val="black"/>
                    </a:innerShdw>
                  </a:effectLst>
                </a:rPr>
                <a:t>D</a:t>
              </a:r>
              <a:endParaRPr lang="en-US" sz="8000" b="1" noProof="1">
                <a:solidFill>
                  <a:srgbClr val="646464"/>
                </a:solidFill>
                <a:effectLst>
                  <a:innerShdw blurRad="114300">
                    <a:prstClr val="black"/>
                  </a:innerShdw>
                </a:effectLst>
              </a:endParaRPr>
            </a:p>
          </p:txBody>
        </p:sp>
        <p:grpSp>
          <p:nvGrpSpPr>
            <p:cNvPr id="10" name="Gruppieren 69"/>
            <p:cNvGrpSpPr/>
            <p:nvPr/>
          </p:nvGrpSpPr>
          <p:grpSpPr bwMode="gray">
            <a:xfrm>
              <a:off x="6780345" y="2017715"/>
              <a:ext cx="1428819" cy="1461992"/>
              <a:chOff x="-765176" y="2842581"/>
              <a:chExt cx="957264" cy="979490"/>
            </a:xfr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2" name="AutoShape 62" descr="© INSCALE GmbH, 26.05.2010&#10;http://www.presentationload.com/"/>
              <p:cNvSpPr>
                <a:spLocks noChangeAspect="1" noChangeArrowheads="1" noTextEdit="1"/>
              </p:cNvSpPr>
              <p:nvPr/>
            </p:nvSpPr>
            <p:spPr bwMode="gray">
              <a:xfrm>
                <a:off x="-765176" y="2842581"/>
                <a:ext cx="957264" cy="979490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6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54063" y="2850519"/>
                <a:ext cx="927100" cy="960439"/>
              </a:xfrm>
              <a:custGeom>
                <a:avLst/>
                <a:gdLst/>
                <a:ahLst/>
                <a:cxnLst>
                  <a:cxn ang="0">
                    <a:pos x="247" y="234"/>
                  </a:cxn>
                  <a:cxn ang="0">
                    <a:pos x="225" y="256"/>
                  </a:cxn>
                  <a:cxn ang="0">
                    <a:pos x="23" y="256"/>
                  </a:cxn>
                  <a:cxn ang="0">
                    <a:pos x="0" y="234"/>
                  </a:cxn>
                  <a:cxn ang="0">
                    <a:pos x="0" y="22"/>
                  </a:cxn>
                  <a:cxn ang="0">
                    <a:pos x="23" y="0"/>
                  </a:cxn>
                  <a:cxn ang="0">
                    <a:pos x="225" y="0"/>
                  </a:cxn>
                  <a:cxn ang="0">
                    <a:pos x="247" y="22"/>
                  </a:cxn>
                  <a:cxn ang="0">
                    <a:pos x="247" y="234"/>
                  </a:cxn>
                </a:cxnLst>
                <a:rect l="0" t="0" r="r" b="b"/>
                <a:pathLst>
                  <a:path w="247" h="256">
                    <a:moveTo>
                      <a:pt x="247" y="234"/>
                    </a:moveTo>
                    <a:cubicBezTo>
                      <a:pt x="247" y="246"/>
                      <a:pt x="237" y="256"/>
                      <a:pt x="225" y="256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10" y="256"/>
                      <a:pt x="0" y="246"/>
                      <a:pt x="0" y="23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37" y="0"/>
                      <a:pt x="247" y="10"/>
                      <a:pt x="247" y="22"/>
                    </a:cubicBezTo>
                    <a:lnTo>
                      <a:pt x="247" y="23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C8C8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66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746126" y="2858455"/>
                <a:ext cx="919164" cy="952501"/>
              </a:xfrm>
              <a:custGeom>
                <a:avLst/>
                <a:gdLst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9102 w 10000"/>
                  <a:gd name="connsiteY6" fmla="*/ 7402 h 10000"/>
                  <a:gd name="connsiteX7" fmla="*/ 8204 w 10000"/>
                  <a:gd name="connsiteY7" fmla="*/ 8110 h 10000"/>
                  <a:gd name="connsiteX8" fmla="*/ 1837 w 10000"/>
                  <a:gd name="connsiteY8" fmla="*/ 8071 h 10000"/>
                  <a:gd name="connsiteX9" fmla="*/ 0 w 10000"/>
                  <a:gd name="connsiteY9" fmla="*/ 9449 h 10000"/>
                  <a:gd name="connsiteX10" fmla="*/ 857 w 10000"/>
                  <a:gd name="connsiteY10" fmla="*/ 10000 h 10000"/>
                  <a:gd name="connsiteX11" fmla="*/ 9102 w 10000"/>
                  <a:gd name="connsiteY11" fmla="*/ 10000 h 10000"/>
                  <a:gd name="connsiteX12" fmla="*/ 10000 w 10000"/>
                  <a:gd name="connsiteY12" fmla="*/ 9134 h 10000"/>
                  <a:gd name="connsiteX13" fmla="*/ 10000 w 10000"/>
                  <a:gd name="connsiteY13" fmla="*/ 787 h 10000"/>
                  <a:gd name="connsiteX14" fmla="*/ 9673 w 10000"/>
                  <a:gd name="connsiteY14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9102 w 10000"/>
                  <a:gd name="connsiteY5" fmla="*/ 7205 h 10000"/>
                  <a:gd name="connsiteX6" fmla="*/ 8204 w 10000"/>
                  <a:gd name="connsiteY6" fmla="*/ 8110 h 10000"/>
                  <a:gd name="connsiteX7" fmla="*/ 1837 w 10000"/>
                  <a:gd name="connsiteY7" fmla="*/ 8071 h 10000"/>
                  <a:gd name="connsiteX8" fmla="*/ 0 w 10000"/>
                  <a:gd name="connsiteY8" fmla="*/ 9449 h 10000"/>
                  <a:gd name="connsiteX9" fmla="*/ 857 w 10000"/>
                  <a:gd name="connsiteY9" fmla="*/ 10000 h 10000"/>
                  <a:gd name="connsiteX10" fmla="*/ 9102 w 10000"/>
                  <a:gd name="connsiteY10" fmla="*/ 10000 h 10000"/>
                  <a:gd name="connsiteX11" fmla="*/ 10000 w 10000"/>
                  <a:gd name="connsiteY11" fmla="*/ 9134 h 10000"/>
                  <a:gd name="connsiteX12" fmla="*/ 10000 w 10000"/>
                  <a:gd name="connsiteY12" fmla="*/ 787 h 10000"/>
                  <a:gd name="connsiteX13" fmla="*/ 9673 w 10000"/>
                  <a:gd name="connsiteY13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8204 w 10000"/>
                  <a:gd name="connsiteY5" fmla="*/ 8110 h 10000"/>
                  <a:gd name="connsiteX6" fmla="*/ 1837 w 10000"/>
                  <a:gd name="connsiteY6" fmla="*/ 8071 h 10000"/>
                  <a:gd name="connsiteX7" fmla="*/ 0 w 10000"/>
                  <a:gd name="connsiteY7" fmla="*/ 9449 h 10000"/>
                  <a:gd name="connsiteX8" fmla="*/ 857 w 10000"/>
                  <a:gd name="connsiteY8" fmla="*/ 10000 h 10000"/>
                  <a:gd name="connsiteX9" fmla="*/ 9102 w 10000"/>
                  <a:gd name="connsiteY9" fmla="*/ 10000 h 10000"/>
                  <a:gd name="connsiteX10" fmla="*/ 10000 w 10000"/>
                  <a:gd name="connsiteY10" fmla="*/ 9134 h 10000"/>
                  <a:gd name="connsiteX11" fmla="*/ 10000 w 10000"/>
                  <a:gd name="connsiteY11" fmla="*/ 787 h 10000"/>
                  <a:gd name="connsiteX12" fmla="*/ 9673 w 10000"/>
                  <a:gd name="connsiteY12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9102 w 10000"/>
                  <a:gd name="connsiteY4" fmla="*/ 2165 h 10000"/>
                  <a:gd name="connsiteX5" fmla="*/ 1837 w 10000"/>
                  <a:gd name="connsiteY5" fmla="*/ 8071 h 10000"/>
                  <a:gd name="connsiteX6" fmla="*/ 0 w 10000"/>
                  <a:gd name="connsiteY6" fmla="*/ 9449 h 10000"/>
                  <a:gd name="connsiteX7" fmla="*/ 857 w 10000"/>
                  <a:gd name="connsiteY7" fmla="*/ 10000 h 10000"/>
                  <a:gd name="connsiteX8" fmla="*/ 9102 w 10000"/>
                  <a:gd name="connsiteY8" fmla="*/ 10000 h 10000"/>
                  <a:gd name="connsiteX9" fmla="*/ 10000 w 10000"/>
                  <a:gd name="connsiteY9" fmla="*/ 9134 h 10000"/>
                  <a:gd name="connsiteX10" fmla="*/ 10000 w 10000"/>
                  <a:gd name="connsiteY10" fmla="*/ 787 h 10000"/>
                  <a:gd name="connsiteX11" fmla="*/ 9673 w 10000"/>
                  <a:gd name="connsiteY11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9143 w 10000"/>
                  <a:gd name="connsiteY3" fmla="*/ 1457 h 10000"/>
                  <a:gd name="connsiteX4" fmla="*/ 1837 w 10000"/>
                  <a:gd name="connsiteY4" fmla="*/ 8071 h 10000"/>
                  <a:gd name="connsiteX5" fmla="*/ 0 w 10000"/>
                  <a:gd name="connsiteY5" fmla="*/ 9449 h 10000"/>
                  <a:gd name="connsiteX6" fmla="*/ 857 w 10000"/>
                  <a:gd name="connsiteY6" fmla="*/ 10000 h 10000"/>
                  <a:gd name="connsiteX7" fmla="*/ 9102 w 10000"/>
                  <a:gd name="connsiteY7" fmla="*/ 10000 h 10000"/>
                  <a:gd name="connsiteX8" fmla="*/ 10000 w 10000"/>
                  <a:gd name="connsiteY8" fmla="*/ 9134 h 10000"/>
                  <a:gd name="connsiteX9" fmla="*/ 10000 w 10000"/>
                  <a:gd name="connsiteY9" fmla="*/ 787 h 10000"/>
                  <a:gd name="connsiteX10" fmla="*/ 9673 w 10000"/>
                  <a:gd name="connsiteY10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857 w 10000"/>
                  <a:gd name="connsiteY2" fmla="*/ 63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  <a:gd name="connsiteX0" fmla="*/ 9673 w 10000"/>
                  <a:gd name="connsiteY0" fmla="*/ 118 h 10000"/>
                  <a:gd name="connsiteX1" fmla="*/ 9673 w 10000"/>
                  <a:gd name="connsiteY1" fmla="*/ 118 h 10000"/>
                  <a:gd name="connsiteX2" fmla="*/ 8658 w 10000"/>
                  <a:gd name="connsiteY2" fmla="*/ 820 h 10000"/>
                  <a:gd name="connsiteX3" fmla="*/ 1837 w 10000"/>
                  <a:gd name="connsiteY3" fmla="*/ 8071 h 10000"/>
                  <a:gd name="connsiteX4" fmla="*/ 0 w 10000"/>
                  <a:gd name="connsiteY4" fmla="*/ 9449 h 10000"/>
                  <a:gd name="connsiteX5" fmla="*/ 857 w 10000"/>
                  <a:gd name="connsiteY5" fmla="*/ 10000 h 10000"/>
                  <a:gd name="connsiteX6" fmla="*/ 9102 w 10000"/>
                  <a:gd name="connsiteY6" fmla="*/ 10000 h 10000"/>
                  <a:gd name="connsiteX7" fmla="*/ 10000 w 10000"/>
                  <a:gd name="connsiteY7" fmla="*/ 9134 h 10000"/>
                  <a:gd name="connsiteX8" fmla="*/ 10000 w 10000"/>
                  <a:gd name="connsiteY8" fmla="*/ 787 h 10000"/>
                  <a:gd name="connsiteX9" fmla="*/ 9673 w 10000"/>
                  <a:gd name="connsiteY9" fmla="*/ 11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0" h="10000">
                    <a:moveTo>
                      <a:pt x="9673" y="118"/>
                    </a:moveTo>
                    <a:lnTo>
                      <a:pt x="9673" y="118"/>
                    </a:lnTo>
                    <a:cubicBezTo>
                      <a:pt x="8980" y="0"/>
                      <a:pt x="8658" y="505"/>
                      <a:pt x="8658" y="820"/>
                    </a:cubicBezTo>
                    <a:cubicBezTo>
                      <a:pt x="7352" y="2145"/>
                      <a:pt x="3313" y="6601"/>
                      <a:pt x="1837" y="8071"/>
                    </a:cubicBezTo>
                    <a:cubicBezTo>
                      <a:pt x="857" y="8071"/>
                      <a:pt x="204" y="8307"/>
                      <a:pt x="0" y="9449"/>
                    </a:cubicBezTo>
                    <a:cubicBezTo>
                      <a:pt x="122" y="9764"/>
                      <a:pt x="449" y="10000"/>
                      <a:pt x="857" y="10000"/>
                    </a:cubicBezTo>
                    <a:lnTo>
                      <a:pt x="9102" y="10000"/>
                    </a:lnTo>
                    <a:cubicBezTo>
                      <a:pt x="9592" y="10000"/>
                      <a:pt x="10000" y="9606"/>
                      <a:pt x="10000" y="9134"/>
                    </a:cubicBezTo>
                    <a:lnTo>
                      <a:pt x="10000" y="787"/>
                    </a:lnTo>
                    <a:cubicBezTo>
                      <a:pt x="10000" y="512"/>
                      <a:pt x="9878" y="276"/>
                      <a:pt x="9673" y="1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AFAFAF">
                      <a:shade val="30000"/>
                      <a:satMod val="115000"/>
                      <a:alpha val="50000"/>
                    </a:srgbClr>
                  </a:gs>
                  <a:gs pos="100000">
                    <a:srgbClr val="AFAFAF">
                      <a:shade val="100000"/>
                      <a:satMod val="115000"/>
                      <a:alpha val="50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67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60401" y="2899729"/>
                <a:ext cx="742951" cy="730250"/>
              </a:xfrm>
              <a:custGeom>
                <a:avLst/>
                <a:gdLst/>
                <a:ahLst/>
                <a:cxnLst>
                  <a:cxn ang="0">
                    <a:pos x="198" y="172"/>
                  </a:cxn>
                  <a:cxn ang="0">
                    <a:pos x="175" y="195"/>
                  </a:cxn>
                  <a:cxn ang="0">
                    <a:pos x="23" y="195"/>
                  </a:cxn>
                  <a:cxn ang="0">
                    <a:pos x="0" y="172"/>
                  </a:cxn>
                  <a:cxn ang="0">
                    <a:pos x="0" y="23"/>
                  </a:cxn>
                  <a:cxn ang="0">
                    <a:pos x="23" y="0"/>
                  </a:cxn>
                  <a:cxn ang="0">
                    <a:pos x="175" y="0"/>
                  </a:cxn>
                  <a:cxn ang="0">
                    <a:pos x="198" y="23"/>
                  </a:cxn>
                  <a:cxn ang="0">
                    <a:pos x="198" y="172"/>
                  </a:cxn>
                </a:cxnLst>
                <a:rect l="0" t="0" r="r" b="b"/>
                <a:pathLst>
                  <a:path w="198" h="195">
                    <a:moveTo>
                      <a:pt x="198" y="172"/>
                    </a:moveTo>
                    <a:cubicBezTo>
                      <a:pt x="198" y="184"/>
                      <a:pt x="188" y="195"/>
                      <a:pt x="175" y="195"/>
                    </a:cubicBezTo>
                    <a:cubicBezTo>
                      <a:pt x="23" y="195"/>
                      <a:pt x="23" y="195"/>
                      <a:pt x="23" y="195"/>
                    </a:cubicBezTo>
                    <a:cubicBezTo>
                      <a:pt x="10" y="195"/>
                      <a:pt x="0" y="184"/>
                      <a:pt x="0" y="172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1"/>
                      <a:pt x="10" y="0"/>
                      <a:pt x="23" y="0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188" y="0"/>
                      <a:pt x="198" y="11"/>
                      <a:pt x="198" y="23"/>
                    </a:cubicBezTo>
                    <a:lnTo>
                      <a:pt x="198" y="1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AFAFAF"/>
                  </a:gs>
                  <a:gs pos="100000">
                    <a:srgbClr val="E0E0DE">
                      <a:shade val="100000"/>
                      <a:satMod val="115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6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655638" y="2906078"/>
                <a:ext cx="495300" cy="718344"/>
              </a:xfrm>
              <a:custGeom>
                <a:avLst/>
                <a:gdLst>
                  <a:gd name="connsiteX0" fmla="*/ 10000 w 10000"/>
                  <a:gd name="connsiteY0" fmla="*/ 3608 h 10277"/>
                  <a:gd name="connsiteX1" fmla="*/ 8561 w 10000"/>
                  <a:gd name="connsiteY1" fmla="*/ 0 h 10277"/>
                  <a:gd name="connsiteX2" fmla="*/ 1742 w 10000"/>
                  <a:gd name="connsiteY2" fmla="*/ 0 h 10277"/>
                  <a:gd name="connsiteX3" fmla="*/ 0 w 10000"/>
                  <a:gd name="connsiteY3" fmla="*/ 1186 h 10277"/>
                  <a:gd name="connsiteX4" fmla="*/ 0 w 10000"/>
                  <a:gd name="connsiteY4" fmla="*/ 8866 h 10277"/>
                  <a:gd name="connsiteX5" fmla="*/ 1439 w 10000"/>
                  <a:gd name="connsiteY5" fmla="*/ 10000 h 10277"/>
                  <a:gd name="connsiteX6" fmla="*/ 10000 w 10000"/>
                  <a:gd name="connsiteY6" fmla="*/ 3608 h 10277"/>
                  <a:gd name="connsiteX0" fmla="*/ 10000 w 10000"/>
                  <a:gd name="connsiteY0" fmla="*/ 3608 h 10000"/>
                  <a:gd name="connsiteX1" fmla="*/ 8561 w 10000"/>
                  <a:gd name="connsiteY1" fmla="*/ 0 h 10000"/>
                  <a:gd name="connsiteX2" fmla="*/ 1742 w 10000"/>
                  <a:gd name="connsiteY2" fmla="*/ 0 h 10000"/>
                  <a:gd name="connsiteX3" fmla="*/ 0 w 10000"/>
                  <a:gd name="connsiteY3" fmla="*/ 1186 h 10000"/>
                  <a:gd name="connsiteX4" fmla="*/ 0 w 10000"/>
                  <a:gd name="connsiteY4" fmla="*/ 8866 h 10000"/>
                  <a:gd name="connsiteX5" fmla="*/ 1439 w 10000"/>
                  <a:gd name="connsiteY5" fmla="*/ 10000 h 10000"/>
                  <a:gd name="connsiteX6" fmla="*/ 10000 w 10000"/>
                  <a:gd name="connsiteY6" fmla="*/ 3608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3608"/>
                    </a:moveTo>
                    <a:cubicBezTo>
                      <a:pt x="10000" y="2268"/>
                      <a:pt x="9470" y="1031"/>
                      <a:pt x="8561" y="0"/>
                    </a:cubicBezTo>
                    <a:lnTo>
                      <a:pt x="1742" y="0"/>
                    </a:lnTo>
                    <a:cubicBezTo>
                      <a:pt x="758" y="0"/>
                      <a:pt x="0" y="567"/>
                      <a:pt x="0" y="1186"/>
                    </a:cubicBezTo>
                    <a:lnTo>
                      <a:pt x="0" y="8866"/>
                    </a:lnTo>
                    <a:cubicBezTo>
                      <a:pt x="0" y="9433"/>
                      <a:pt x="606" y="9897"/>
                      <a:pt x="1439" y="10000"/>
                    </a:cubicBezTo>
                    <a:cubicBezTo>
                      <a:pt x="8925" y="9998"/>
                      <a:pt x="10000" y="7113"/>
                      <a:pt x="10000" y="3608"/>
                    </a:cubicBezTo>
                    <a:close/>
                  </a:path>
                </a:pathLst>
              </a:custGeom>
              <a:solidFill>
                <a:srgbClr val="EAEAEA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6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-497680" y="2906077"/>
                <a:ext cx="577849" cy="718344"/>
              </a:xfrm>
              <a:custGeom>
                <a:avLst/>
                <a:gdLst/>
                <a:ahLst/>
                <a:cxnLst>
                  <a:cxn ang="0">
                    <a:pos x="131" y="0"/>
                  </a:cxn>
                  <a:cxn ang="0">
                    <a:pos x="44" y="0"/>
                  </a:cxn>
                  <a:cxn ang="0">
                    <a:pos x="83" y="64"/>
                  </a:cxn>
                  <a:cxn ang="0">
                    <a:pos x="0" y="194"/>
                  </a:cxn>
                  <a:cxn ang="0">
                    <a:pos x="131" y="194"/>
                  </a:cxn>
                  <a:cxn ang="0">
                    <a:pos x="155" y="171"/>
                  </a:cxn>
                  <a:cxn ang="0">
                    <a:pos x="155" y="22"/>
                  </a:cxn>
                  <a:cxn ang="0">
                    <a:pos x="131" y="0"/>
                  </a:cxn>
                </a:cxnLst>
                <a:rect l="0" t="0" r="r" b="b"/>
                <a:pathLst>
                  <a:path w="155" h="194">
                    <a:moveTo>
                      <a:pt x="131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80" y="19"/>
                      <a:pt x="83" y="64"/>
                    </a:cubicBezTo>
                    <a:cubicBezTo>
                      <a:pt x="87" y="108"/>
                      <a:pt x="57" y="178"/>
                      <a:pt x="0" y="194"/>
                    </a:cubicBezTo>
                    <a:cubicBezTo>
                      <a:pt x="131" y="194"/>
                      <a:pt x="131" y="194"/>
                      <a:pt x="131" y="194"/>
                    </a:cubicBezTo>
                    <a:cubicBezTo>
                      <a:pt x="144" y="194"/>
                      <a:pt x="155" y="183"/>
                      <a:pt x="155" y="171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10"/>
                      <a:pt x="144" y="0"/>
                      <a:pt x="131" y="0"/>
                    </a:cubicBezTo>
                    <a:close/>
                  </a:path>
                </a:pathLst>
              </a:custGeom>
              <a:solidFill>
                <a:srgbClr val="FFFFFF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1" name="Textfeld 70"/>
            <p:cNvSpPr txBox="1"/>
            <p:nvPr/>
          </p:nvSpPr>
          <p:spPr bwMode="gray">
            <a:xfrm>
              <a:off x="7201960" y="1996627"/>
              <a:ext cx="621965" cy="1231106"/>
            </a:xfrm>
            <a:prstGeom prst="rect">
              <a:avLst/>
            </a:prstGeom>
            <a:noFill/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/>
              <a:r>
                <a:rPr lang="en-US" sz="8000" b="1" noProof="1" smtClean="0">
                  <a:solidFill>
                    <a:srgbClr val="646464"/>
                  </a:solidFill>
                  <a:effectLst>
                    <a:innerShdw blurRad="114300">
                      <a:prstClr val="black"/>
                    </a:innerShdw>
                  </a:effectLst>
                </a:rPr>
                <a:t>A</a:t>
              </a:r>
              <a:endParaRPr lang="en-US" sz="8000" b="1" noProof="1">
                <a:solidFill>
                  <a:srgbClr val="646464"/>
                </a:solidFill>
                <a:effectLst>
                  <a:innerShdw blurRad="114300">
                    <a:prstClr val="black"/>
                  </a:innerShdw>
                </a:effectLst>
              </a:endParaRPr>
            </a:p>
          </p:txBody>
        </p:sp>
        <p:sp>
          <p:nvSpPr>
            <p:cNvPr id="47" name="Rechteck 46"/>
            <p:cNvSpPr/>
            <p:nvPr/>
          </p:nvSpPr>
          <p:spPr bwMode="gray">
            <a:xfrm>
              <a:off x="859880" y="3848100"/>
              <a:ext cx="1948503" cy="144655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400" b="1" noProof="1" smtClean="0"/>
                <a:t>Attention</a:t>
              </a:r>
              <a:br>
                <a:rPr lang="en-US" sz="2400" b="1" noProof="1" smtClean="0"/>
              </a:br>
              <a:r>
                <a:rPr lang="en-US" sz="1600" b="1" noProof="1" smtClean="0"/>
                <a:t/>
              </a:r>
              <a:br>
                <a:rPr lang="en-US" sz="1600" b="1" noProof="1" smtClean="0"/>
              </a:br>
              <a:r>
                <a:rPr lang="en-US" sz="1600" noProof="1" smtClean="0"/>
                <a:t>Attract the customer‘s</a:t>
              </a:r>
              <a:br>
                <a:rPr lang="en-US" sz="1600" noProof="1" smtClean="0"/>
              </a:br>
              <a:r>
                <a:rPr lang="en-US" sz="1600" noProof="1" smtClean="0"/>
                <a:t>attention</a:t>
              </a:r>
              <a:endParaRPr lang="en-US" noProof="1"/>
            </a:p>
          </p:txBody>
        </p:sp>
        <p:sp>
          <p:nvSpPr>
            <p:cNvPr id="49" name="Rechteck 48"/>
            <p:cNvSpPr/>
            <p:nvPr/>
          </p:nvSpPr>
          <p:spPr bwMode="gray">
            <a:xfrm>
              <a:off x="2808383" y="3848100"/>
              <a:ext cx="1948503" cy="144655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400" b="1" noProof="1" smtClean="0"/>
                <a:t>Interest</a:t>
              </a:r>
              <a:br>
                <a:rPr lang="en-US" sz="2400" b="1" noProof="1" smtClean="0"/>
              </a:br>
              <a:r>
                <a:rPr lang="en-US" sz="1600" noProof="1" smtClean="0"/>
                <a:t> </a:t>
              </a:r>
              <a:r>
                <a:rPr lang="en-US" sz="1600" b="1" noProof="1" smtClean="0"/>
                <a:t/>
              </a:r>
              <a:br>
                <a:rPr lang="en-US" sz="1600" b="1" noProof="1" smtClean="0"/>
              </a:br>
              <a:r>
                <a:rPr lang="en-US" sz="1600" noProof="1" smtClean="0"/>
                <a:t>The customer is interested in the product</a:t>
              </a:r>
              <a:endParaRPr lang="en-US" noProof="1"/>
            </a:p>
          </p:txBody>
        </p:sp>
        <p:sp>
          <p:nvSpPr>
            <p:cNvPr id="50" name="Rechteck 49"/>
            <p:cNvSpPr/>
            <p:nvPr/>
          </p:nvSpPr>
          <p:spPr bwMode="gray">
            <a:xfrm>
              <a:off x="4756886" y="3848100"/>
              <a:ext cx="1948503" cy="144655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400" b="1" noProof="1" smtClean="0"/>
                <a:t>Desire</a:t>
              </a:r>
              <a:br>
                <a:rPr lang="en-US" sz="2400" b="1" noProof="1" smtClean="0"/>
              </a:br>
              <a:r>
                <a:rPr lang="en-US" sz="1600" b="1" noProof="1" smtClean="0"/>
                <a:t/>
              </a:r>
              <a:br>
                <a:rPr lang="en-US" sz="1600" b="1" noProof="1" smtClean="0"/>
              </a:br>
              <a:r>
                <a:rPr lang="en-US" sz="1600" noProof="1" smtClean="0"/>
                <a:t>The desire for </a:t>
              </a:r>
              <a:br>
                <a:rPr lang="en-US" sz="1600" noProof="1" smtClean="0"/>
              </a:br>
              <a:r>
                <a:rPr lang="en-US" sz="1600" noProof="1" smtClean="0"/>
                <a:t>the product is awakened</a:t>
              </a:r>
              <a:endParaRPr lang="en-US" noProof="1"/>
            </a:p>
          </p:txBody>
        </p:sp>
        <p:sp>
          <p:nvSpPr>
            <p:cNvPr id="51" name="Rechteck 50"/>
            <p:cNvSpPr/>
            <p:nvPr/>
          </p:nvSpPr>
          <p:spPr bwMode="gray">
            <a:xfrm>
              <a:off x="6705389" y="3848100"/>
              <a:ext cx="1948503" cy="144655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400" b="1" noProof="1" smtClean="0"/>
                <a:t>Action</a:t>
              </a:r>
              <a:br>
                <a:rPr lang="en-US" sz="2400" b="1" noProof="1" smtClean="0"/>
              </a:br>
              <a:r>
                <a:rPr lang="en-US" sz="1600" b="1" noProof="1" smtClean="0"/>
                <a:t/>
              </a:r>
              <a:br>
                <a:rPr lang="en-US" sz="1600" b="1" noProof="1" smtClean="0"/>
              </a:br>
              <a:r>
                <a:rPr lang="en-US" sz="1600" noProof="1" smtClean="0"/>
                <a:t>The cusomer probably </a:t>
              </a:r>
              <a:br>
                <a:rPr lang="en-US" sz="1600" noProof="1" smtClean="0"/>
              </a:br>
              <a:r>
                <a:rPr lang="en-US" sz="1600" noProof="1" smtClean="0"/>
                <a:t>purchases</a:t>
              </a:r>
              <a:endParaRPr lang="en-US" noProof="1"/>
            </a:p>
          </p:txBody>
        </p:sp>
      </p:grpSp>
    </p:spTree>
    <p:extLst>
      <p:ext uri="{BB962C8B-B14F-4D97-AF65-F5344CB8AC3E}">
        <p14:creationId xmlns:p14="http://schemas.microsoft.com/office/powerpoint/2010/main" val="409441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32"/>
          <p:cNvGrpSpPr/>
          <p:nvPr/>
        </p:nvGrpSpPr>
        <p:grpSpPr bwMode="gray">
          <a:xfrm>
            <a:off x="0" y="4663443"/>
            <a:ext cx="9144000" cy="1163782"/>
            <a:chOff x="0" y="4534215"/>
            <a:chExt cx="9144000" cy="1163782"/>
          </a:xfrm>
        </p:grpSpPr>
        <p:sp>
          <p:nvSpPr>
            <p:cNvPr id="23" name="Rechteck 22"/>
            <p:cNvSpPr/>
            <p:nvPr/>
          </p:nvSpPr>
          <p:spPr bwMode="gray">
            <a:xfrm>
              <a:off x="0" y="4723141"/>
              <a:ext cx="9144000" cy="974856"/>
            </a:xfrm>
            <a:prstGeom prst="rect">
              <a:avLst/>
            </a:prstGeom>
            <a:gradFill>
              <a:gsLst>
                <a:gs pos="0">
                  <a:schemeClr val="tx1">
                    <a:alpha val="15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  <p:sp>
          <p:nvSpPr>
            <p:cNvPr id="25" name="Rechteck 24"/>
            <p:cNvSpPr/>
            <p:nvPr/>
          </p:nvSpPr>
          <p:spPr bwMode="gray">
            <a:xfrm flipV="1">
              <a:off x="0" y="4534215"/>
              <a:ext cx="9144000" cy="188926"/>
            </a:xfrm>
            <a:prstGeom prst="rect">
              <a:avLst/>
            </a:prstGeom>
            <a:gradFill>
              <a:gsLst>
                <a:gs pos="0">
                  <a:schemeClr val="tx1">
                    <a:alpha val="15000"/>
                  </a:scheme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noProof="1"/>
            </a:p>
          </p:txBody>
        </p:sp>
      </p:grpSp>
      <p:sp>
        <p:nvSpPr>
          <p:cNvPr id="29" name="_h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 stage model includes four phases the Customer goes through in order to make the purchase decision</a:t>
            </a:r>
          </a:p>
        </p:txBody>
      </p: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AIDA </a:t>
            </a:r>
            <a:r>
              <a:rPr lang="en-US" b="0" noProof="1" smtClean="0"/>
              <a:t>- Action Principle</a:t>
            </a:r>
          </a:p>
        </p:txBody>
      </p:sp>
      <p:sp>
        <p:nvSpPr>
          <p:cNvPr id="3" name="Textfeld 2"/>
          <p:cNvSpPr txBox="1"/>
          <p:nvPr/>
        </p:nvSpPr>
        <p:spPr bwMode="gray">
          <a:xfrm>
            <a:off x="6658940" y="4545792"/>
            <a:ext cx="2162002" cy="674200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pPr algn="r"/>
            <a:r>
              <a:rPr lang="en-US" sz="1600" noProof="1"/>
              <a:t>Attention of the </a:t>
            </a:r>
            <a:r>
              <a:rPr lang="en-US" sz="1600" noProof="1" smtClean="0"/>
              <a:t>customer</a:t>
            </a:r>
            <a:endParaRPr lang="en-US" sz="1600" noProof="1"/>
          </a:p>
          <a:p>
            <a:pPr algn="r"/>
            <a:r>
              <a:rPr lang="en-US" sz="1600" noProof="1"/>
              <a:t>for the product is excited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6411180" y="3767476"/>
            <a:ext cx="2409762" cy="674200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pPr algn="r"/>
            <a:r>
              <a:rPr lang="en-US" sz="1600" noProof="1"/>
              <a:t>The customer is interested in</a:t>
            </a:r>
          </a:p>
          <a:p>
            <a:pPr algn="r"/>
            <a:r>
              <a:rPr lang="en-US" sz="1600" noProof="1"/>
              <a:t>the product</a:t>
            </a:r>
          </a:p>
        </p:txBody>
      </p:sp>
      <p:sp>
        <p:nvSpPr>
          <p:cNvPr id="18" name="Textfeld 17"/>
          <p:cNvSpPr txBox="1"/>
          <p:nvPr/>
        </p:nvSpPr>
        <p:spPr bwMode="gray">
          <a:xfrm>
            <a:off x="6643166" y="2885044"/>
            <a:ext cx="2177776" cy="674200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pPr algn="r"/>
            <a:r>
              <a:rPr lang="en-US" sz="1600" noProof="1" smtClean="0"/>
              <a:t>The </a:t>
            </a:r>
            <a:r>
              <a:rPr lang="en-US" sz="1600" noProof="1"/>
              <a:t>desire for the product</a:t>
            </a:r>
          </a:p>
          <a:p>
            <a:pPr algn="r"/>
            <a:r>
              <a:rPr lang="en-US" sz="1600" noProof="1"/>
              <a:t>is awakened (demand)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6154506" y="2352949"/>
            <a:ext cx="2666436" cy="427979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pPr algn="r"/>
            <a:r>
              <a:rPr lang="en-US" sz="1600" noProof="1" smtClean="0"/>
              <a:t>The customer buys the product</a:t>
            </a:r>
            <a:endParaRPr lang="en-US" sz="1600" noProof="1"/>
          </a:p>
        </p:txBody>
      </p:sp>
      <p:cxnSp>
        <p:nvCxnSpPr>
          <p:cNvPr id="5" name="Gerade Verbindung 4"/>
          <p:cNvCxnSpPr/>
          <p:nvPr/>
        </p:nvCxnSpPr>
        <p:spPr bwMode="gray">
          <a:xfrm>
            <a:off x="4741208" y="2780928"/>
            <a:ext cx="4079734" cy="0"/>
          </a:xfrm>
          <a:prstGeom prst="line">
            <a:avLst/>
          </a:prstGeom>
          <a:ln w="19050">
            <a:solidFill>
              <a:srgbClr val="7D7D7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>
            <a:off x="5232916" y="3663360"/>
            <a:ext cx="3588026" cy="0"/>
          </a:xfrm>
          <a:prstGeom prst="line">
            <a:avLst/>
          </a:prstGeom>
          <a:ln w="19050">
            <a:solidFill>
              <a:srgbClr val="7D7D7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>
            <a:off x="5742948" y="4545792"/>
            <a:ext cx="3077994" cy="0"/>
          </a:xfrm>
          <a:prstGeom prst="line">
            <a:avLst/>
          </a:prstGeom>
          <a:ln w="19050">
            <a:solidFill>
              <a:srgbClr val="7D7D7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 bwMode="gray">
          <a:xfrm>
            <a:off x="323850" y="3486871"/>
            <a:ext cx="1881734" cy="858866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r>
              <a:rPr lang="en-US" sz="1600" b="1" noProof="1" smtClean="0"/>
              <a:t>Psychological reaction</a:t>
            </a:r>
            <a:br>
              <a:rPr lang="en-US" sz="1600" b="1" noProof="1" smtClean="0"/>
            </a:br>
            <a:r>
              <a:rPr lang="en-US" sz="1400" noProof="1" smtClean="0"/>
              <a:t>(pre- economical)</a:t>
            </a:r>
            <a:r>
              <a:rPr lang="en-US" sz="1400" b="1" noProof="1" smtClean="0"/>
              <a:t/>
            </a:r>
            <a:br>
              <a:rPr lang="en-US" sz="1400" b="1" noProof="1" smtClean="0"/>
            </a:br>
            <a:endParaRPr lang="en-US" sz="1400" b="1" noProof="1"/>
          </a:p>
        </p:txBody>
      </p:sp>
      <p:sp>
        <p:nvSpPr>
          <p:cNvPr id="30" name="Textfeld 29"/>
          <p:cNvSpPr txBox="1"/>
          <p:nvPr/>
        </p:nvSpPr>
        <p:spPr bwMode="gray">
          <a:xfrm>
            <a:off x="323850" y="2143400"/>
            <a:ext cx="1429366" cy="643423"/>
          </a:xfrm>
          <a:prstGeom prst="rect">
            <a:avLst/>
          </a:prstGeom>
          <a:noFill/>
        </p:spPr>
        <p:txBody>
          <a:bodyPr wrap="none" lIns="0" tIns="90000" rIns="0" bIns="90000" rtlCol="0">
            <a:spAutoFit/>
          </a:bodyPr>
          <a:lstStyle/>
          <a:p>
            <a:r>
              <a:rPr lang="en-US" sz="1600" b="1" noProof="1" smtClean="0"/>
              <a:t>Physical reaction</a:t>
            </a:r>
            <a:br>
              <a:rPr lang="en-US" sz="1600" b="1" noProof="1" smtClean="0"/>
            </a:br>
            <a:r>
              <a:rPr lang="en-US" sz="1400" noProof="1" smtClean="0"/>
              <a:t>(economical)</a:t>
            </a:r>
            <a:endParaRPr lang="en-US" sz="1400" b="1" noProof="1"/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323850" y="2780928"/>
            <a:ext cx="2222126" cy="0"/>
          </a:xfrm>
          <a:prstGeom prst="line">
            <a:avLst/>
          </a:prstGeom>
          <a:ln w="19050">
            <a:solidFill>
              <a:srgbClr val="7D7D7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4"/>
          <p:cNvGrpSpPr/>
          <p:nvPr/>
        </p:nvGrpSpPr>
        <p:grpSpPr bwMode="gray">
          <a:xfrm>
            <a:off x="1739574" y="1916112"/>
            <a:ext cx="4003374" cy="3525839"/>
            <a:chOff x="5360723" y="2613927"/>
            <a:chExt cx="2743579" cy="2416316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1" name="Freeform" descr="© INSCALE GmbH, 26.05.2010&#10;http://www.presentationload.com/"/>
            <p:cNvSpPr>
              <a:spLocks/>
            </p:cNvSpPr>
            <p:nvPr/>
          </p:nvSpPr>
          <p:spPr bwMode="gray">
            <a:xfrm>
              <a:off x="5360723" y="4424934"/>
              <a:ext cx="2743579" cy="605309"/>
            </a:xfrm>
            <a:custGeom>
              <a:avLst/>
              <a:gdLst/>
              <a:ahLst/>
              <a:cxnLst>
                <a:cxn ang="0">
                  <a:pos x="348" y="0"/>
                </a:cxn>
                <a:cxn ang="0">
                  <a:pos x="0" y="612"/>
                </a:cxn>
                <a:cxn ang="0">
                  <a:pos x="2785" y="612"/>
                </a:cxn>
                <a:cxn ang="0">
                  <a:pos x="2437" y="0"/>
                </a:cxn>
                <a:cxn ang="0">
                  <a:pos x="348" y="0"/>
                </a:cxn>
              </a:cxnLst>
              <a:rect l="0" t="0" r="r" b="b"/>
              <a:pathLst>
                <a:path w="2785" h="612">
                  <a:moveTo>
                    <a:pt x="348" y="0"/>
                  </a:moveTo>
                  <a:lnTo>
                    <a:pt x="0" y="612"/>
                  </a:lnTo>
                  <a:lnTo>
                    <a:pt x="2785" y="612"/>
                  </a:lnTo>
                  <a:lnTo>
                    <a:pt x="2437" y="0"/>
                  </a:lnTo>
                  <a:lnTo>
                    <a:pt x="34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94000">
                  <a:schemeClr val="accent1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algn="ctr">
                <a:defRPr/>
              </a:pPr>
              <a:r>
                <a:rPr lang="en-US" sz="2000" b="1" noProof="1" smtClean="0">
                  <a:solidFill>
                    <a:srgbClr val="000000"/>
                  </a:solidFill>
                </a:rPr>
                <a:t>Attention</a:t>
              </a:r>
              <a:endParaRPr lang="en-US" noProof="1" smtClean="0">
                <a:solidFill>
                  <a:srgbClr val="000000"/>
                </a:solidFill>
              </a:endParaRPr>
            </a:p>
          </p:txBody>
        </p:sp>
        <p:sp>
          <p:nvSpPr>
            <p:cNvPr id="32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702747" y="3822084"/>
              <a:ext cx="2059530" cy="602849"/>
            </a:xfrm>
            <a:custGeom>
              <a:avLst/>
              <a:gdLst/>
              <a:ahLst/>
              <a:cxnLst>
                <a:cxn ang="0">
                  <a:pos x="1741" y="0"/>
                </a:cxn>
                <a:cxn ang="0">
                  <a:pos x="348" y="0"/>
                </a:cxn>
                <a:cxn ang="0">
                  <a:pos x="0" y="612"/>
                </a:cxn>
                <a:cxn ang="0">
                  <a:pos x="2089" y="612"/>
                </a:cxn>
                <a:cxn ang="0">
                  <a:pos x="1741" y="0"/>
                </a:cxn>
              </a:cxnLst>
              <a:rect l="0" t="0" r="r" b="b"/>
              <a:pathLst>
                <a:path w="2089" h="612">
                  <a:moveTo>
                    <a:pt x="1741" y="0"/>
                  </a:moveTo>
                  <a:lnTo>
                    <a:pt x="348" y="0"/>
                  </a:lnTo>
                  <a:lnTo>
                    <a:pt x="0" y="612"/>
                  </a:lnTo>
                  <a:lnTo>
                    <a:pt x="2089" y="612"/>
                  </a:lnTo>
                  <a:lnTo>
                    <a:pt x="1741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94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algn="ctr">
                <a:defRPr/>
              </a:pPr>
              <a:r>
                <a:rPr lang="en-US" b="1" noProof="1" smtClean="0">
                  <a:solidFill>
                    <a:srgbClr val="000000"/>
                  </a:solidFill>
                </a:rPr>
                <a:t>Interest</a:t>
              </a:r>
            </a:p>
          </p:txBody>
        </p:sp>
        <p:sp>
          <p:nvSpPr>
            <p:cNvPr id="33" name="Freeform" descr="© INSCALE GmbH, 26.05.2010&#10;http://www.presentationload.com/"/>
            <p:cNvSpPr>
              <a:spLocks/>
            </p:cNvSpPr>
            <p:nvPr/>
          </p:nvSpPr>
          <p:spPr bwMode="gray">
            <a:xfrm>
              <a:off x="6047233" y="3219236"/>
              <a:ext cx="1370560" cy="602849"/>
            </a:xfrm>
            <a:custGeom>
              <a:avLst/>
              <a:gdLst/>
              <a:ahLst/>
              <a:cxnLst>
                <a:cxn ang="0">
                  <a:pos x="1045" y="0"/>
                </a:cxn>
                <a:cxn ang="0">
                  <a:pos x="348" y="0"/>
                </a:cxn>
                <a:cxn ang="0">
                  <a:pos x="0" y="612"/>
                </a:cxn>
                <a:cxn ang="0">
                  <a:pos x="1393" y="612"/>
                </a:cxn>
                <a:cxn ang="0">
                  <a:pos x="1045" y="0"/>
                </a:cxn>
              </a:cxnLst>
              <a:rect l="0" t="0" r="r" b="b"/>
              <a:pathLst>
                <a:path w="1393" h="612">
                  <a:moveTo>
                    <a:pt x="1045" y="0"/>
                  </a:moveTo>
                  <a:lnTo>
                    <a:pt x="348" y="0"/>
                  </a:lnTo>
                  <a:lnTo>
                    <a:pt x="0" y="612"/>
                  </a:lnTo>
                  <a:lnTo>
                    <a:pt x="1393" y="612"/>
                  </a:lnTo>
                  <a:lnTo>
                    <a:pt x="104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94000">
                  <a:schemeClr val="accent1"/>
                </a:gs>
              </a:gsLst>
              <a:lin ang="54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36000" tIns="36000" rIns="36000" bIns="36000" anchor="ctr" anchorCtr="0"/>
            <a:lstStyle/>
            <a:p>
              <a:pPr algn="ctr">
                <a:defRPr/>
              </a:pPr>
              <a:r>
                <a:rPr lang="en-US" sz="1600" b="1" noProof="1" smtClean="0">
                  <a:solidFill>
                    <a:srgbClr val="FFFFFF"/>
                  </a:solidFill>
                </a:rPr>
                <a:t>Desire</a:t>
              </a:r>
            </a:p>
          </p:txBody>
        </p:sp>
        <p:sp>
          <p:nvSpPr>
            <p:cNvPr id="34" name="Freeform" descr="© INSCALE GmbH, 26.05.2010&#10;http://www.presentationload.com/"/>
            <p:cNvSpPr>
              <a:spLocks/>
            </p:cNvSpPr>
            <p:nvPr/>
          </p:nvSpPr>
          <p:spPr bwMode="gray">
            <a:xfrm>
              <a:off x="6389258" y="2613927"/>
              <a:ext cx="686510" cy="605309"/>
            </a:xfrm>
            <a:custGeom>
              <a:avLst/>
              <a:gdLst/>
              <a:ahLst/>
              <a:cxnLst>
                <a:cxn ang="0">
                  <a:pos x="349" y="0"/>
                </a:cxn>
                <a:cxn ang="0">
                  <a:pos x="0" y="612"/>
                </a:cxn>
                <a:cxn ang="0">
                  <a:pos x="697" y="612"/>
                </a:cxn>
                <a:cxn ang="0">
                  <a:pos x="349" y="0"/>
                </a:cxn>
              </a:cxnLst>
              <a:rect l="0" t="0" r="r" b="b"/>
              <a:pathLst>
                <a:path w="697" h="612">
                  <a:moveTo>
                    <a:pt x="349" y="0"/>
                  </a:moveTo>
                  <a:lnTo>
                    <a:pt x="0" y="612"/>
                  </a:lnTo>
                  <a:lnTo>
                    <a:pt x="697" y="612"/>
                  </a:lnTo>
                  <a:lnTo>
                    <a:pt x="34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94000">
                  <a:schemeClr val="accent1">
                    <a:lumMod val="75000"/>
                  </a:schemeClr>
                </a:gs>
              </a:gsLst>
              <a:lin ang="5400000" scaled="1"/>
              <a:tileRect/>
            </a:gradFill>
            <a:ln w="12700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lIns="36000" tIns="216000" rIns="36000" bIns="36000" anchor="b" anchorCtr="0"/>
            <a:lstStyle/>
            <a:p>
              <a:pPr algn="ctr">
                <a:defRPr/>
              </a:pPr>
              <a:r>
                <a:rPr lang="en-US" sz="1400" b="1" noProof="1" smtClean="0">
                  <a:solidFill>
                    <a:srgbClr val="FFFFFF"/>
                  </a:solidFill>
                </a:rPr>
                <a:t>Action</a:t>
              </a:r>
              <a:endParaRPr lang="en-US" sz="1200" noProof="1" smtClean="0">
                <a:solidFill>
                  <a:srgbClr val="FFFFFF"/>
                </a:solidFill>
              </a:endParaRPr>
            </a:p>
            <a:p>
              <a:pPr algn="ctr">
                <a:defRPr/>
              </a:pPr>
              <a:endParaRPr lang="en-US" sz="1400" b="1" noProof="1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879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Marketing 3C’s Triangle</a:t>
            </a:r>
            <a:endParaRPr lang="en-US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  <a:p>
            <a:endParaRPr lang="en-US" noProof="1"/>
          </a:p>
        </p:txBody>
      </p:sp>
      <p:grpSp>
        <p:nvGrpSpPr>
          <p:cNvPr id="47" name="Gruppieren 46"/>
          <p:cNvGrpSpPr/>
          <p:nvPr/>
        </p:nvGrpSpPr>
        <p:grpSpPr bwMode="gray">
          <a:xfrm>
            <a:off x="2048428" y="1458929"/>
            <a:ext cx="5047144" cy="4684696"/>
            <a:chOff x="2299970" y="1662125"/>
            <a:chExt cx="4460508" cy="4140188"/>
          </a:xfrm>
        </p:grpSpPr>
        <p:cxnSp>
          <p:nvCxnSpPr>
            <p:cNvPr id="20" name="Gerade Verbindung 19"/>
            <p:cNvCxnSpPr>
              <a:stCxn id="6" idx="4"/>
              <a:endCxn id="14" idx="0"/>
            </p:cNvCxnSpPr>
            <p:nvPr/>
          </p:nvCxnSpPr>
          <p:spPr bwMode="gray">
            <a:xfrm>
              <a:off x="4530224" y="2762213"/>
              <a:ext cx="0" cy="443142"/>
            </a:xfrm>
            <a:prstGeom prst="line">
              <a:avLst/>
            </a:prstGeom>
            <a:ln w="3810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flipH="1" flipV="1">
              <a:off x="5110165" y="3886200"/>
              <a:ext cx="544380" cy="276462"/>
            </a:xfrm>
            <a:prstGeom prst="line">
              <a:avLst/>
            </a:prstGeom>
            <a:ln w="3810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 bwMode="gray">
            <a:xfrm flipV="1">
              <a:off x="4530224" y="4722019"/>
              <a:ext cx="1132389" cy="548484"/>
            </a:xfrm>
            <a:prstGeom prst="line">
              <a:avLst/>
            </a:prstGeom>
            <a:ln w="3810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16200000" flipV="1">
              <a:off x="4738917" y="2817021"/>
              <a:ext cx="1312068" cy="954877"/>
            </a:xfrm>
            <a:prstGeom prst="line">
              <a:avLst/>
            </a:prstGeom>
            <a:ln w="38100">
              <a:solidFill>
                <a:srgbClr val="AFAFA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flipV="1">
              <a:off x="3400556" y="3886200"/>
              <a:ext cx="544381" cy="276462"/>
            </a:xfrm>
            <a:prstGeom prst="line">
              <a:avLst/>
            </a:prstGeom>
            <a:ln w="3810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flipH="1" flipV="1">
              <a:off x="3400556" y="4722019"/>
              <a:ext cx="1132389" cy="548484"/>
            </a:xfrm>
            <a:prstGeom prst="line">
              <a:avLst/>
            </a:prstGeom>
            <a:ln w="38100">
              <a:solidFill>
                <a:srgbClr val="AFAFA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 flipH="1" flipV="1">
              <a:off x="3010614" y="2817021"/>
              <a:ext cx="1312068" cy="954877"/>
            </a:xfrm>
            <a:prstGeom prst="line">
              <a:avLst/>
            </a:prstGeom>
            <a:ln w="38100">
              <a:solidFill>
                <a:srgbClr val="AFAFA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Ellipse 5"/>
            <p:cNvSpPr/>
            <p:nvPr/>
          </p:nvSpPr>
          <p:spPr bwMode="gray">
            <a:xfrm>
              <a:off x="3980180" y="1662125"/>
              <a:ext cx="1100088" cy="1100088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Customer</a:t>
              </a:r>
            </a:p>
          </p:txBody>
        </p:sp>
        <p:sp>
          <p:nvSpPr>
            <p:cNvPr id="14" name="Ellipse 13"/>
            <p:cNvSpPr/>
            <p:nvPr/>
          </p:nvSpPr>
          <p:spPr bwMode="gray">
            <a:xfrm>
              <a:off x="3980180" y="3205355"/>
              <a:ext cx="1100088" cy="1100088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Distributors</a:t>
              </a:r>
            </a:p>
          </p:txBody>
        </p:sp>
        <p:sp>
          <p:nvSpPr>
            <p:cNvPr id="15" name="Ellipse 14"/>
            <p:cNvSpPr/>
            <p:nvPr/>
          </p:nvSpPr>
          <p:spPr bwMode="gray">
            <a:xfrm>
              <a:off x="3980180" y="4702225"/>
              <a:ext cx="1100088" cy="1100088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Suppliers</a:t>
              </a:r>
            </a:p>
          </p:txBody>
        </p:sp>
        <p:sp>
          <p:nvSpPr>
            <p:cNvPr id="16" name="Ellipse 15"/>
            <p:cNvSpPr/>
            <p:nvPr/>
          </p:nvSpPr>
          <p:spPr bwMode="gray">
            <a:xfrm>
              <a:off x="5660390" y="3909745"/>
              <a:ext cx="1100088" cy="1100088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Competitors</a:t>
              </a:r>
            </a:p>
          </p:txBody>
        </p:sp>
        <p:sp>
          <p:nvSpPr>
            <p:cNvPr id="17" name="Ellipse 16"/>
            <p:cNvSpPr/>
            <p:nvPr/>
          </p:nvSpPr>
          <p:spPr bwMode="gray">
            <a:xfrm>
              <a:off x="2299970" y="3909745"/>
              <a:ext cx="1100088" cy="1100088"/>
            </a:xfrm>
            <a:prstGeom prst="ellipse">
              <a:avLst/>
            </a:prstGeo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0" tIns="0" rIns="0" bIns="0" anchor="ctr"/>
            <a:lstStyle/>
            <a:p>
              <a:pPr algn="ctr" defTabSz="801688" eaLnBrk="0" hangingPunct="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tabLst>
                  <a:tab pos="656650" algn="l"/>
                  <a:tab pos="1313299" algn="l"/>
                </a:tabLst>
                <a:defRPr/>
              </a:pPr>
              <a:r>
                <a:rPr lang="en-US" sz="1600" b="1" noProof="1" smtClean="0">
                  <a:solidFill>
                    <a:srgbClr val="FFFFFF"/>
                  </a:solidFill>
                  <a:cs typeface="Arial" charset="0"/>
                </a:rPr>
                <a:t>Cli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63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Diamond-Model </a:t>
            </a:r>
            <a:r>
              <a:rPr lang="en-US" b="0" noProof="1" smtClean="0"/>
              <a:t>- National </a:t>
            </a:r>
            <a:r>
              <a:rPr lang="en-US" b="0" noProof="1"/>
              <a:t>Competitive </a:t>
            </a:r>
            <a:r>
              <a:rPr lang="en-US" b="0" noProof="1" smtClean="0"/>
              <a:t>Advantages 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Thesis to assess the competitive abilities of states in terms of individual industries (according to Porter)</a:t>
            </a:r>
            <a:endParaRPr lang="en-US" noProof="1"/>
          </a:p>
        </p:txBody>
      </p:sp>
      <p:grpSp>
        <p:nvGrpSpPr>
          <p:cNvPr id="4" name="Gruppieren 73"/>
          <p:cNvGrpSpPr/>
          <p:nvPr/>
        </p:nvGrpSpPr>
        <p:grpSpPr bwMode="gray">
          <a:xfrm>
            <a:off x="755576" y="1644650"/>
            <a:ext cx="7482732" cy="4165600"/>
            <a:chOff x="755576" y="1644650"/>
            <a:chExt cx="7482732" cy="4165600"/>
          </a:xfrm>
        </p:grpSpPr>
        <p:grpSp>
          <p:nvGrpSpPr>
            <p:cNvPr id="5" name="Gruppieren 57"/>
            <p:cNvGrpSpPr/>
            <p:nvPr/>
          </p:nvGrpSpPr>
          <p:grpSpPr bwMode="gray">
            <a:xfrm>
              <a:off x="1234519" y="2189054"/>
              <a:ext cx="6162200" cy="3127140"/>
              <a:chOff x="1234519" y="2189054"/>
              <a:chExt cx="6162200" cy="3127140"/>
            </a:xfrm>
          </p:grpSpPr>
          <p:sp>
            <p:nvSpPr>
              <p:cNvPr id="83" name="Pfeil nach oben 82"/>
              <p:cNvSpPr/>
              <p:nvPr/>
            </p:nvSpPr>
            <p:spPr bwMode="gray">
              <a:xfrm>
                <a:off x="7273369" y="4078147"/>
                <a:ext cx="123350" cy="475597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4" name="Pfeil nach oben 83"/>
              <p:cNvSpPr/>
              <p:nvPr/>
            </p:nvSpPr>
            <p:spPr bwMode="gray">
              <a:xfrm rot="16200000">
                <a:off x="5980661" y="4703456"/>
                <a:ext cx="123350" cy="997566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5" name="Pfeil nach oben 84"/>
              <p:cNvSpPr/>
              <p:nvPr/>
            </p:nvSpPr>
            <p:spPr bwMode="gray">
              <a:xfrm rot="10800000">
                <a:off x="1234519" y="2820053"/>
                <a:ext cx="123350" cy="475597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6" name="Pfeil nach oben 85"/>
              <p:cNvSpPr/>
              <p:nvPr/>
            </p:nvSpPr>
            <p:spPr bwMode="gray">
              <a:xfrm rot="5400000">
                <a:off x="2609615" y="1691140"/>
                <a:ext cx="123350" cy="1119178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7" name="Pfeil nach oben 86"/>
              <p:cNvSpPr/>
              <p:nvPr/>
            </p:nvSpPr>
            <p:spPr bwMode="gray">
              <a:xfrm rot="18963356">
                <a:off x="5507876" y="2196409"/>
                <a:ext cx="123350" cy="3119785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8" name="Pfeil nach oben 87"/>
              <p:cNvSpPr/>
              <p:nvPr/>
            </p:nvSpPr>
            <p:spPr bwMode="gray">
              <a:xfrm rot="17204615">
                <a:off x="4697124" y="2479884"/>
                <a:ext cx="123350" cy="3864035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89" name="Pfeil nach oben 88"/>
              <p:cNvSpPr/>
              <p:nvPr/>
            </p:nvSpPr>
            <p:spPr bwMode="gray">
              <a:xfrm rot="6320539">
                <a:off x="3982441" y="918339"/>
                <a:ext cx="123350" cy="4234580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0" name="Pfeil nach oben 89"/>
              <p:cNvSpPr/>
              <p:nvPr/>
            </p:nvSpPr>
            <p:spPr bwMode="gray">
              <a:xfrm rot="7976275">
                <a:off x="3056865" y="2052181"/>
                <a:ext cx="123350" cy="3115825"/>
              </a:xfrm>
              <a:prstGeom prst="upArrow">
                <a:avLst>
                  <a:gd name="adj1" fmla="val 50000"/>
                  <a:gd name="adj2" fmla="val 98262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1" name="Pfeil nach oben und unten 90"/>
              <p:cNvSpPr/>
              <p:nvPr/>
            </p:nvSpPr>
            <p:spPr bwMode="gray">
              <a:xfrm rot="7860554">
                <a:off x="2844150" y="3899443"/>
                <a:ext cx="123350" cy="1142507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2" name="Pfeil nach oben und unten 91"/>
              <p:cNvSpPr/>
              <p:nvPr/>
            </p:nvSpPr>
            <p:spPr bwMode="gray">
              <a:xfrm rot="8009503">
                <a:off x="5809970" y="2409535"/>
                <a:ext cx="123350" cy="1044709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3" name="Pfeil nach oben und unten 92"/>
              <p:cNvSpPr/>
              <p:nvPr/>
            </p:nvSpPr>
            <p:spPr bwMode="gray">
              <a:xfrm rot="3020561">
                <a:off x="5856306" y="3913977"/>
                <a:ext cx="123350" cy="1044709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4" name="Pfeil nach oben und unten 93"/>
              <p:cNvSpPr/>
              <p:nvPr/>
            </p:nvSpPr>
            <p:spPr bwMode="gray">
              <a:xfrm rot="5400000">
                <a:off x="4388164" y="2124086"/>
                <a:ext cx="123350" cy="3117830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5" name="Pfeil nach oben und unten 94"/>
              <p:cNvSpPr/>
              <p:nvPr/>
            </p:nvSpPr>
            <p:spPr bwMode="gray">
              <a:xfrm>
                <a:off x="4299330" y="2635249"/>
                <a:ext cx="123350" cy="2096296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96" name="Pfeil nach oben und unten 95"/>
              <p:cNvSpPr/>
              <p:nvPr/>
            </p:nvSpPr>
            <p:spPr bwMode="gray">
              <a:xfrm rot="3007586">
                <a:off x="2785244" y="2255394"/>
                <a:ext cx="123350" cy="1235324"/>
              </a:xfrm>
              <a:prstGeom prst="upDownArrow">
                <a:avLst>
                  <a:gd name="adj1" fmla="val 50000"/>
                  <a:gd name="adj2" fmla="val 114097"/>
                </a:avLst>
              </a:prstGeom>
              <a:solidFill>
                <a:srgbClr val="2A79FF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  <p:grpSp>
          <p:nvGrpSpPr>
            <p:cNvPr id="6" name="Gruppieren 56"/>
            <p:cNvGrpSpPr/>
            <p:nvPr/>
          </p:nvGrpSpPr>
          <p:grpSpPr bwMode="gray">
            <a:xfrm>
              <a:off x="755576" y="1644650"/>
              <a:ext cx="7482732" cy="4165600"/>
              <a:chOff x="755576" y="1644650"/>
              <a:chExt cx="7482732" cy="4165600"/>
            </a:xfrm>
          </p:grpSpPr>
          <p:sp>
            <p:nvSpPr>
              <p:cNvPr id="77" name="Rechteck 76"/>
              <p:cNvSpPr/>
              <p:nvPr/>
            </p:nvSpPr>
            <p:spPr bwMode="gray">
              <a:xfrm>
                <a:off x="6191794" y="3331029"/>
                <a:ext cx="2046514" cy="69233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Demand conditions</a:t>
                </a:r>
              </a:p>
            </p:txBody>
          </p:sp>
          <p:sp>
            <p:nvSpPr>
              <p:cNvPr id="78" name="Rechteck 77"/>
              <p:cNvSpPr/>
              <p:nvPr/>
            </p:nvSpPr>
            <p:spPr bwMode="gray">
              <a:xfrm>
                <a:off x="755576" y="3331029"/>
                <a:ext cx="2046514" cy="69233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Factual conditions</a:t>
                </a:r>
              </a:p>
            </p:txBody>
          </p:sp>
          <p:sp>
            <p:nvSpPr>
              <p:cNvPr id="79" name="Rechteck 78"/>
              <p:cNvSpPr/>
              <p:nvPr/>
            </p:nvSpPr>
            <p:spPr bwMode="gray">
              <a:xfrm>
                <a:off x="3368147" y="4794070"/>
                <a:ext cx="2046514" cy="69233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Related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and supporting 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industries</a:t>
                </a:r>
              </a:p>
            </p:txBody>
          </p:sp>
          <p:sp>
            <p:nvSpPr>
              <p:cNvPr id="80" name="Rechteck 79"/>
              <p:cNvSpPr/>
              <p:nvPr/>
            </p:nvSpPr>
            <p:spPr bwMode="gray">
              <a:xfrm>
                <a:off x="3410494" y="1889579"/>
                <a:ext cx="2046514" cy="692331"/>
              </a:xfrm>
              <a:prstGeom prst="rect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S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trategy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, 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structure </a:t>
                </a:r>
                <a:r>
                  <a:rPr lang="en-US" sz="1400" noProof="1">
                    <a:solidFill>
                      <a:srgbClr val="000000"/>
                    </a:solidFill>
                    <a:cs typeface="Arial" charset="0"/>
                  </a:rPr>
                  <a:t>and </a:t>
                </a:r>
                <a:r>
                  <a:rPr lang="en-US" sz="1400" noProof="1" smtClean="0">
                    <a:solidFill>
                      <a:srgbClr val="000000"/>
                    </a:solidFill>
                    <a:cs typeface="Arial" charset="0"/>
                  </a:rPr>
                  <a:t>competition</a:t>
                </a:r>
                <a:endParaRPr lang="en-US" sz="1400" noProof="1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81" name="Ellipse 80"/>
              <p:cNvSpPr/>
              <p:nvPr/>
            </p:nvSpPr>
            <p:spPr bwMode="gray">
              <a:xfrm>
                <a:off x="838200" y="1644650"/>
                <a:ext cx="1130300" cy="1130300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72000" tIns="108000" rIns="7200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Coincidence</a:t>
                </a:r>
              </a:p>
            </p:txBody>
          </p:sp>
          <p:sp>
            <p:nvSpPr>
              <p:cNvPr id="82" name="Ellipse 81"/>
              <p:cNvSpPr/>
              <p:nvPr/>
            </p:nvSpPr>
            <p:spPr bwMode="gray">
              <a:xfrm>
                <a:off x="6769100" y="4679950"/>
                <a:ext cx="1130300" cy="1130300"/>
              </a:xfrm>
              <a:prstGeom prst="ellipse">
                <a:avLst/>
              </a:prstGeom>
              <a:gradFill flip="none" rotWithShape="1"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6200000" scaled="1"/>
                <a:tileRect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108000" rIns="0" bIns="7200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  <a:buClr>
                    <a:srgbClr val="969696"/>
                  </a:buClr>
                  <a:defRPr/>
                </a:pPr>
                <a:r>
                  <a:rPr lang="en-US" sz="1400" b="1" noProof="1" smtClean="0">
                    <a:solidFill>
                      <a:srgbClr val="000000"/>
                    </a:solidFill>
                    <a:cs typeface="Arial" charset="0"/>
                  </a:rPr>
                  <a:t>Governmen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54232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Porter‘s Five Forces Analysis</a:t>
            </a:r>
            <a:endParaRPr lang="en-US" b="0" noProof="1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Enter your subheadline here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323850" y="1654629"/>
            <a:ext cx="8352606" cy="3787321"/>
            <a:chOff x="323850" y="1654629"/>
            <a:chExt cx="8352606" cy="3787321"/>
          </a:xfrm>
        </p:grpSpPr>
        <p:sp>
          <p:nvSpPr>
            <p:cNvPr id="15" name="Rechteck 14"/>
            <p:cNvSpPr/>
            <p:nvPr/>
          </p:nvSpPr>
          <p:spPr bwMode="gray">
            <a:xfrm>
              <a:off x="1937880" y="1654629"/>
              <a:ext cx="5107251" cy="86796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New Competitors</a:t>
              </a:r>
            </a:p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Threat of new competition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1937880" y="4573986"/>
              <a:ext cx="5107251" cy="867964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Substitution products</a:t>
              </a:r>
            </a:p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= threat of substitution</a:t>
              </a:r>
            </a:p>
          </p:txBody>
        </p:sp>
        <p:sp>
          <p:nvSpPr>
            <p:cNvPr id="17" name="Rechteck 16"/>
            <p:cNvSpPr/>
            <p:nvPr/>
          </p:nvSpPr>
          <p:spPr bwMode="gray">
            <a:xfrm>
              <a:off x="323850" y="2889216"/>
              <a:ext cx="2513276" cy="129086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Bargening power 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of supplier</a:t>
              </a: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3131841" y="2889216"/>
              <a:ext cx="2736626" cy="129086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chemeClr val="bg1"/>
                  </a:solidFill>
                  <a:cs typeface="Arial" charset="0"/>
                </a:rPr>
                <a:t>Competition on relevant  market = rivalry among competitors</a:t>
              </a:r>
            </a:p>
          </p:txBody>
        </p:sp>
        <p:sp>
          <p:nvSpPr>
            <p:cNvPr id="19" name="Rechteck 18"/>
            <p:cNvSpPr/>
            <p:nvPr/>
          </p:nvSpPr>
          <p:spPr bwMode="gray">
            <a:xfrm>
              <a:off x="6163180" y="2889216"/>
              <a:ext cx="2513276" cy="1290862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Bargening prower </a:t>
              </a:r>
              <a:br>
                <a:rPr lang="en-US" b="1" noProof="1" smtClean="0">
                  <a:solidFill>
                    <a:srgbClr val="000000"/>
                  </a:solidFill>
                  <a:cs typeface="Arial" charset="0"/>
                </a:rPr>
              </a:br>
              <a:r>
                <a:rPr lang="en-US" b="1" noProof="1" smtClean="0">
                  <a:solidFill>
                    <a:srgbClr val="000000"/>
                  </a:solidFill>
                  <a:cs typeface="Arial" charset="0"/>
                </a:rPr>
                <a:t>of customer </a:t>
              </a:r>
            </a:p>
          </p:txBody>
        </p:sp>
        <p:sp>
          <p:nvSpPr>
            <p:cNvPr id="20" name="Gleichschenkliges Dreieck 19"/>
            <p:cNvSpPr/>
            <p:nvPr/>
          </p:nvSpPr>
          <p:spPr bwMode="gray">
            <a:xfrm rot="10800000">
              <a:off x="4337197" y="2605887"/>
              <a:ext cx="308617" cy="236109"/>
            </a:xfrm>
            <a:prstGeom prst="triangle">
              <a:avLst/>
            </a:prstGeom>
            <a:solidFill>
              <a:srgbClr val="AFAFA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Gleichschenkliges Dreieck 20"/>
            <p:cNvSpPr/>
            <p:nvPr/>
          </p:nvSpPr>
          <p:spPr bwMode="gray">
            <a:xfrm>
              <a:off x="4337197" y="4262324"/>
              <a:ext cx="308617" cy="236109"/>
            </a:xfrm>
            <a:prstGeom prst="triangle">
              <a:avLst/>
            </a:prstGeom>
            <a:solidFill>
              <a:srgbClr val="AFAFA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  <a:defRPr/>
              </a:pPr>
              <a:endParaRPr lang="en-US" noProof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Gleichschenkliges Dreieck 21"/>
            <p:cNvSpPr/>
            <p:nvPr/>
          </p:nvSpPr>
          <p:spPr bwMode="gray">
            <a:xfrm rot="16200000">
              <a:off x="5864548" y="3407104"/>
              <a:ext cx="273887" cy="266049"/>
            </a:xfrm>
            <a:prstGeom prst="triangle">
              <a:avLst/>
            </a:prstGeom>
            <a:solidFill>
              <a:srgbClr val="AFAFA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</a:pP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Gleichschenkliges Dreieck 22"/>
            <p:cNvSpPr/>
            <p:nvPr/>
          </p:nvSpPr>
          <p:spPr bwMode="gray">
            <a:xfrm rot="5400000">
              <a:off x="2878787" y="3436132"/>
              <a:ext cx="273887" cy="266049"/>
            </a:xfrm>
            <a:prstGeom prst="triangle">
              <a:avLst/>
            </a:prstGeom>
            <a:solidFill>
              <a:srgbClr val="AFAFAF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 anchorCtr="0"/>
            <a:lstStyle/>
            <a:p>
              <a:pPr algn="ctr">
                <a:buClr>
                  <a:srgbClr val="969696"/>
                </a:buClr>
              </a:pPr>
              <a:endParaRPr lang="en-US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07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1" smtClean="0"/>
              <a:t>Five Forces</a:t>
            </a:r>
            <a:endParaRPr lang="en-US" noProof="1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1" smtClean="0"/>
              <a:t>Five (+1) competitive forces according to Porter (supplement through stakeholder)</a:t>
            </a:r>
            <a:endParaRPr lang="en-US" noProof="1"/>
          </a:p>
        </p:txBody>
      </p:sp>
      <p:grpSp>
        <p:nvGrpSpPr>
          <p:cNvPr id="2" name="Gruppieren 16"/>
          <p:cNvGrpSpPr/>
          <p:nvPr/>
        </p:nvGrpSpPr>
        <p:grpSpPr bwMode="gray">
          <a:xfrm>
            <a:off x="323849" y="1555749"/>
            <a:ext cx="8540897" cy="4062368"/>
            <a:chOff x="323849" y="1555749"/>
            <a:chExt cx="8540897" cy="4062368"/>
          </a:xfrm>
        </p:grpSpPr>
        <p:sp>
          <p:nvSpPr>
            <p:cNvPr id="13317" name="Text Box 5"/>
            <p:cNvSpPr txBox="1">
              <a:spLocks noChangeArrowheads="1"/>
            </p:cNvSpPr>
            <p:nvPr/>
          </p:nvSpPr>
          <p:spPr bwMode="gray">
            <a:xfrm>
              <a:off x="323849" y="1555749"/>
              <a:ext cx="2997119" cy="461665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600" b="1" noProof="1" smtClean="0"/>
                <a:t>Potentially new competitors</a:t>
              </a:r>
              <a:endParaRPr lang="en-US" sz="1400" noProof="1" smtClean="0"/>
            </a:p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/>
                <a:t>threat through new competitors</a:t>
              </a:r>
              <a:endParaRPr lang="en-US" sz="1400" noProof="1"/>
            </a:p>
          </p:txBody>
        </p:sp>
        <p:sp>
          <p:nvSpPr>
            <p:cNvPr id="13318" name="Text Box 6"/>
            <p:cNvSpPr txBox="1">
              <a:spLocks noChangeArrowheads="1"/>
            </p:cNvSpPr>
            <p:nvPr/>
          </p:nvSpPr>
          <p:spPr bwMode="gray">
            <a:xfrm>
              <a:off x="5924550" y="1555749"/>
              <a:ext cx="2940196" cy="892552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600" b="1" noProof="1" smtClean="0"/>
                <a:t>Potential further stakeholder</a:t>
              </a:r>
              <a:endParaRPr lang="en-US" sz="1400" noProof="1" smtClean="0"/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/>
                <a:t>Potential bargaining power and the ability to intervene in the industry events </a:t>
              </a:r>
              <a:endParaRPr lang="en-US" sz="1400" noProof="1"/>
            </a:p>
          </p:txBody>
        </p:sp>
        <p:sp>
          <p:nvSpPr>
            <p:cNvPr id="13319" name="Text Box 7"/>
            <p:cNvSpPr txBox="1">
              <a:spLocks noChangeArrowheads="1"/>
            </p:cNvSpPr>
            <p:nvPr/>
          </p:nvSpPr>
          <p:spPr bwMode="gray">
            <a:xfrm>
              <a:off x="6251041" y="3815448"/>
              <a:ext cx="2566080" cy="461665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600" b="1" noProof="1" smtClean="0"/>
                <a:t>Customer</a:t>
              </a:r>
              <a:endParaRPr lang="en-US" sz="1400" noProof="1" smtClean="0"/>
            </a:p>
            <a:p>
              <a:pPr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/>
                <a:t>bargaining power of customers</a:t>
              </a:r>
              <a:endParaRPr lang="en-US" sz="1400" noProof="1"/>
            </a:p>
          </p:txBody>
        </p:sp>
        <p:sp>
          <p:nvSpPr>
            <p:cNvPr id="13320" name="Text Box 8"/>
            <p:cNvSpPr txBox="1">
              <a:spLocks noChangeArrowheads="1"/>
            </p:cNvSpPr>
            <p:nvPr/>
          </p:nvSpPr>
          <p:spPr bwMode="gray">
            <a:xfrm>
              <a:off x="2596096" y="5156452"/>
              <a:ext cx="3951808" cy="461665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600" b="1" noProof="1" smtClean="0"/>
                <a:t>Substitute products</a:t>
              </a:r>
              <a:endParaRPr lang="en-US" sz="1400" noProof="1" smtClean="0"/>
            </a:p>
            <a:p>
              <a:pPr algn="ct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/>
                <a:t>threat through substitute products or services</a:t>
              </a:r>
              <a:endParaRPr lang="en-US" sz="1400" noProof="1"/>
            </a:p>
          </p:txBody>
        </p:sp>
        <p:sp>
          <p:nvSpPr>
            <p:cNvPr id="13321" name="Text Box 9"/>
            <p:cNvSpPr txBox="1">
              <a:spLocks noChangeArrowheads="1"/>
            </p:cNvSpPr>
            <p:nvPr/>
          </p:nvSpPr>
          <p:spPr bwMode="gray">
            <a:xfrm>
              <a:off x="323850" y="3789525"/>
              <a:ext cx="2566080" cy="677108"/>
            </a:xfrm>
            <a:prstGeom prst="rect">
              <a:avLst/>
            </a:prstGeom>
            <a:noFill/>
            <a:ln w="9525">
              <a:noFill/>
              <a:round/>
              <a:headEnd type="triangle" w="med" len="med"/>
              <a:tailEnd type="triangl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600" b="1" noProof="1" smtClean="0"/>
                <a:t>Suppliers</a:t>
              </a:r>
              <a:endParaRPr lang="en-US" sz="1400" noProof="1" smtClean="0"/>
            </a:p>
            <a:p>
              <a:pPr algn="r">
                <a:tabLst>
                  <a:tab pos="656650" algn="l"/>
                  <a:tab pos="1313299" algn="l"/>
                  <a:tab pos="1969949" algn="l"/>
                </a:tabLst>
              </a:pPr>
              <a:r>
                <a:rPr lang="en-US" sz="1400" noProof="1" smtClean="0"/>
                <a:t>bargaining strength of </a:t>
              </a:r>
              <a:br>
                <a:rPr lang="en-US" sz="1400" noProof="1" smtClean="0"/>
              </a:br>
              <a:r>
                <a:rPr lang="en-US" sz="1400" noProof="1" smtClean="0"/>
                <a:t>suppliers</a:t>
              </a:r>
              <a:endParaRPr lang="en-US" sz="1400" noProof="1"/>
            </a:p>
          </p:txBody>
        </p:sp>
        <p:grpSp>
          <p:nvGrpSpPr>
            <p:cNvPr id="3" name="Gruppieren 50"/>
            <p:cNvGrpSpPr/>
            <p:nvPr/>
          </p:nvGrpSpPr>
          <p:grpSpPr bwMode="gray">
            <a:xfrm>
              <a:off x="2952000" y="1773237"/>
              <a:ext cx="3240000" cy="3240340"/>
              <a:chOff x="2952000" y="1773237"/>
              <a:chExt cx="3240000" cy="3240340"/>
            </a:xfrm>
          </p:grpSpPr>
          <p:sp>
            <p:nvSpPr>
              <p:cNvPr id="13313" name="Oval 1"/>
              <p:cNvSpPr>
                <a:spLocks/>
              </p:cNvSpPr>
              <p:nvPr/>
            </p:nvSpPr>
            <p:spPr bwMode="gray">
              <a:xfrm>
                <a:off x="2952000" y="1773237"/>
                <a:ext cx="3240000" cy="3240340"/>
              </a:xfrm>
              <a:prstGeom prst="ellipse">
                <a:avLst/>
              </a:prstGeom>
              <a:gradFill>
                <a:gsLst>
                  <a:gs pos="0">
                    <a:srgbClr val="D7D7D7"/>
                  </a:gs>
                  <a:gs pos="100000">
                    <a:srgbClr val="FFFFFF"/>
                  </a:gs>
                </a:gsLst>
                <a:lin ang="13500000" scaled="1"/>
              </a:gradFill>
              <a:ln w="9525">
                <a:solidFill>
                  <a:srgbClr val="C0C0C0"/>
                </a:solidFill>
                <a:round/>
                <a:headEnd type="triangle" w="med" len="med"/>
                <a:tailEnd type="triangle" w="med" len="med"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82945" tIns="41473" rIns="82945" bIns="41473" anchor="ctr"/>
              <a:lstStyle/>
              <a:p>
                <a:endParaRPr lang="en-US" noProof="1"/>
              </a:p>
            </p:txBody>
          </p:sp>
          <p:sp>
            <p:nvSpPr>
              <p:cNvPr id="13315" name="Oval 3"/>
              <p:cNvSpPr>
                <a:spLocks/>
              </p:cNvSpPr>
              <p:nvPr/>
            </p:nvSpPr>
            <p:spPr bwMode="gray">
              <a:xfrm>
                <a:off x="3605663" y="2450011"/>
                <a:ext cx="1949952" cy="1950156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 type="triangle" w="med" len="med"/>
                <a:tailEnd type="triangle" w="med" len="med"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266700" h="177800"/>
              </a:sp3d>
            </p:spPr>
            <p:txBody>
              <a:bodyPr wrap="none" lIns="0" tIns="0" rIns="0" bIns="0" anchor="ctr" anchorCtr="1"/>
              <a:lstStyle/>
              <a:p>
                <a:pPr lvl="0" algn="ctr">
                  <a:tabLst>
                    <a:tab pos="656650" algn="l"/>
                    <a:tab pos="1313299" algn="l"/>
                    <a:tab pos="1969949" algn="l"/>
                  </a:tabLst>
                </a:pPr>
                <a:r>
                  <a:rPr lang="en-US" sz="1400" b="1" noProof="1" smtClean="0">
                    <a:solidFill>
                      <a:prstClr val="white"/>
                    </a:solidFill>
                  </a:rPr>
                  <a:t>Competitors/ </a:t>
                </a:r>
                <a:br>
                  <a:rPr lang="en-US" sz="1400" b="1" noProof="1" smtClean="0">
                    <a:solidFill>
                      <a:prstClr val="white"/>
                    </a:solidFill>
                  </a:rPr>
                </a:br>
                <a:r>
                  <a:rPr lang="en-US" sz="1400" b="1" noProof="1" smtClean="0">
                    <a:solidFill>
                      <a:prstClr val="white"/>
                    </a:solidFill>
                  </a:rPr>
                  <a:t>rivalry between </a:t>
                </a:r>
                <a:br>
                  <a:rPr lang="en-US" sz="1400" b="1" noProof="1" smtClean="0">
                    <a:solidFill>
                      <a:prstClr val="white"/>
                    </a:solidFill>
                  </a:rPr>
                </a:br>
                <a:r>
                  <a:rPr lang="en-US" sz="1400" b="1" noProof="1" smtClean="0">
                    <a:solidFill>
                      <a:prstClr val="white"/>
                    </a:solidFill>
                  </a:rPr>
                  <a:t>industry suppliers</a:t>
                </a:r>
                <a:endParaRPr lang="en-US" sz="1400" b="1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Pfeil nach oben und unten 45"/>
              <p:cNvSpPr/>
              <p:nvPr/>
            </p:nvSpPr>
            <p:spPr bwMode="gray">
              <a:xfrm>
                <a:off x="4494212" y="4159567"/>
                <a:ext cx="160742" cy="854010"/>
              </a:xfrm>
              <a:prstGeom prst="upDownArrow">
                <a:avLst/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47" name="Pfeil nach oben und unten 46"/>
              <p:cNvSpPr/>
              <p:nvPr/>
            </p:nvSpPr>
            <p:spPr bwMode="gray">
              <a:xfrm rot="17280000">
                <a:off x="5614376" y="3347280"/>
                <a:ext cx="160742" cy="854010"/>
              </a:xfrm>
              <a:prstGeom prst="upDownArrow">
                <a:avLst/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48" name="Pfeil nach oben und unten 47"/>
              <p:cNvSpPr/>
              <p:nvPr/>
            </p:nvSpPr>
            <p:spPr bwMode="gray">
              <a:xfrm rot="12960000">
                <a:off x="5183434" y="2021296"/>
                <a:ext cx="160742" cy="854010"/>
              </a:xfrm>
              <a:prstGeom prst="upDownArrow">
                <a:avLst/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49" name="Pfeil nach oben und unten 48"/>
              <p:cNvSpPr/>
              <p:nvPr/>
            </p:nvSpPr>
            <p:spPr bwMode="gray">
              <a:xfrm rot="8640000">
                <a:off x="3788803" y="2021295"/>
                <a:ext cx="160742" cy="854010"/>
              </a:xfrm>
              <a:prstGeom prst="upDownArrow">
                <a:avLst/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  <p:sp>
            <p:nvSpPr>
              <p:cNvPr id="50" name="Pfeil nach oben und unten 49"/>
              <p:cNvSpPr/>
              <p:nvPr/>
            </p:nvSpPr>
            <p:spPr bwMode="gray">
              <a:xfrm rot="4320000">
                <a:off x="3357862" y="3354900"/>
                <a:ext cx="160742" cy="854010"/>
              </a:xfrm>
              <a:prstGeom prst="upDownArrow">
                <a:avLst/>
              </a:prstGeom>
              <a:solidFill>
                <a:srgbClr val="969696"/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>
                <a:outerShdw blurRad="1270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noProof="1" smtClean="0"/>
              </a:p>
            </p:txBody>
          </p:sp>
        </p:grp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heme/theme1.xml><?xml version="1.0" encoding="utf-8"?>
<a:theme xmlns:a="http://schemas.openxmlformats.org/drawingml/2006/main" name="Larissa-Design">
  <a:themeElements>
    <a:clrScheme name="Standar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2A79FF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74747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A50021"/>
          </a:solidFill>
          <a:round/>
          <a:headEnd/>
          <a:tailEnd/>
        </a:ln>
      </a:spPr>
      <a:bodyPr/>
      <a:lstStyle>
        <a:defPPr>
          <a:defRPr dirty="0"/>
        </a:defPPr>
      </a:lst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0</TotalTime>
  <Words>10592</Words>
  <Application>Microsoft Office PowerPoint</Application>
  <PresentationFormat>Bildschirmpräsentation (4:3)</PresentationFormat>
  <Paragraphs>3742</Paragraphs>
  <Slides>244</Slides>
  <Notes>8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44</vt:i4>
      </vt:variant>
    </vt:vector>
  </HeadingPairs>
  <TitlesOfParts>
    <vt:vector size="245" baseType="lpstr">
      <vt:lpstr>Larissa-Design</vt:lpstr>
      <vt:lpstr>PowerPoint-Präsentation</vt:lpstr>
      <vt:lpstr>PowerPoint-Präsentation</vt:lpstr>
      <vt:lpstr>Marketing Orientation</vt:lpstr>
      <vt:lpstr>Marketing Orientation</vt:lpstr>
      <vt:lpstr>Marketing Triangle</vt:lpstr>
      <vt:lpstr>Marketing – Need and Product</vt:lpstr>
      <vt:lpstr>Marketing - Simple Model</vt:lpstr>
      <vt:lpstr>Definition Marketing</vt:lpstr>
      <vt:lpstr>Definition Customer Satisfaction </vt:lpstr>
      <vt:lpstr>Definition Marketing Research</vt:lpstr>
      <vt:lpstr>Definition Marketing Research</vt:lpstr>
      <vt:lpstr>Definition Value Chain</vt:lpstr>
      <vt:lpstr>Definition of Marketing</vt:lpstr>
      <vt:lpstr>Definition of Marketing Research (Part 1)</vt:lpstr>
      <vt:lpstr>Definition of Marketing Research (Part 2)</vt:lpstr>
      <vt:lpstr>Definition Market Segmentation</vt:lpstr>
      <vt:lpstr>Marketing - Perspectives</vt:lpstr>
      <vt:lpstr>Development Phases of Marketing</vt:lpstr>
      <vt:lpstr>Development of Marketing</vt:lpstr>
      <vt:lpstr>Marketing Pyramid</vt:lpstr>
      <vt:lpstr>Marketing - Classical vs. Alternative Marketing</vt:lpstr>
      <vt:lpstr>Values</vt:lpstr>
      <vt:lpstr>Marketing Objects</vt:lpstr>
      <vt:lpstr>Marketing - Sales Markets</vt:lpstr>
      <vt:lpstr>Characterization of Markets - Types of Goods</vt:lpstr>
      <vt:lpstr>Market Segmentation</vt:lpstr>
      <vt:lpstr>Market Segmentation</vt:lpstr>
      <vt:lpstr>Market Definition</vt:lpstr>
      <vt:lpstr>PowerPoint-Präsentation</vt:lpstr>
      <vt:lpstr>Situation Analysis - Search Fields</vt:lpstr>
      <vt:lpstr>Market Analysis - Strategic Situation Analysis</vt:lpstr>
      <vt:lpstr>Marketing - Situation Analysis</vt:lpstr>
      <vt:lpstr>Market Analysis - Company Analysis</vt:lpstr>
      <vt:lpstr>Market Analysis - Company Analysis</vt:lpstr>
      <vt:lpstr>Market Analysis - Company Analysis</vt:lpstr>
      <vt:lpstr>Market Analysis - Company Analysis</vt:lpstr>
      <vt:lpstr>Market Analysis - Company Analysis</vt:lpstr>
      <vt:lpstr>Market Analysis - Company Analysis</vt:lpstr>
      <vt:lpstr>Potential Analysis</vt:lpstr>
      <vt:lpstr>Market Analysis - Strengths and Weakness</vt:lpstr>
      <vt:lpstr>Market Analysis - Strengths and Weaknesses</vt:lpstr>
      <vt:lpstr>Competition Analysis</vt:lpstr>
      <vt:lpstr>Internal Marketing</vt:lpstr>
      <vt:lpstr>Market Analysis - Market Definition</vt:lpstr>
      <vt:lpstr>Marketing - Representation of Market Volume</vt:lpstr>
      <vt:lpstr>Characterization of Markets - Sizes</vt:lpstr>
      <vt:lpstr>Market - Description/ Term Definition </vt:lpstr>
      <vt:lpstr>Market Analysis - Environment Analysis</vt:lpstr>
      <vt:lpstr>Opportunities - Threats-Analysis</vt:lpstr>
      <vt:lpstr>Chance-Risk-Analysis</vt:lpstr>
      <vt:lpstr>Strength and Weaknesses Analysis</vt:lpstr>
      <vt:lpstr>Strength and Weaknesses Analysis</vt:lpstr>
      <vt:lpstr>Strength and Weaknesses Analysis</vt:lpstr>
      <vt:lpstr>SWOT-Analysis</vt:lpstr>
      <vt:lpstr>SWOT Analysis</vt:lpstr>
      <vt:lpstr>SWOT Analysis</vt:lpstr>
      <vt:lpstr>SWOT Analysis</vt:lpstr>
      <vt:lpstr>SWOT Analysis</vt:lpstr>
      <vt:lpstr>Gap Analysis</vt:lpstr>
      <vt:lpstr>ABC-Analysis</vt:lpstr>
      <vt:lpstr>ABC-Analysis</vt:lpstr>
      <vt:lpstr>Quality and Price Positioning</vt:lpstr>
      <vt:lpstr>Seller / Buyer's Market - Features</vt:lpstr>
      <vt:lpstr>Market Attractiveness - Competition Advantage  Portfolio 1/3</vt:lpstr>
      <vt:lpstr>Market Attractiveness - Competition Advantage  Portfolio 2/3</vt:lpstr>
      <vt:lpstr>Market Attractiveness - Competition Advantage  Portfolio 3/3</vt:lpstr>
      <vt:lpstr>Market Segmentation</vt:lpstr>
      <vt:lpstr>Segmenting-Targeting-Positioning (STP-Model)</vt:lpstr>
      <vt:lpstr>Segmenting-Targeting-Positioning (STP-Model)</vt:lpstr>
      <vt:lpstr>Customer Segmentation</vt:lpstr>
      <vt:lpstr>Sinus- Milieus (Example in Germany 2010)</vt:lpstr>
      <vt:lpstr>Target Groups according to EuroSocioStyles</vt:lpstr>
      <vt:lpstr>Market Entry Barriers</vt:lpstr>
      <vt:lpstr>Values and Lifestyles (VALS)</vt:lpstr>
      <vt:lpstr>Competitive Advantage </vt:lpstr>
      <vt:lpstr>Market Research - Process Scheme</vt:lpstr>
      <vt:lpstr>Sales Orientation vs. Marketing Orientation</vt:lpstr>
      <vt:lpstr>Competition Strategies</vt:lpstr>
      <vt:lpstr>Competitive Advantage - 5 Principles</vt:lpstr>
      <vt:lpstr>Competitive Advantage - Advantage Matrix</vt:lpstr>
      <vt:lpstr>Competition Strategies</vt:lpstr>
      <vt:lpstr>PowerPoint-Präsentation</vt:lpstr>
      <vt:lpstr>Competition - Driving Forces</vt:lpstr>
      <vt:lpstr>Marketing - 4P-Model</vt:lpstr>
      <vt:lpstr>Marketing - 4P-Model</vt:lpstr>
      <vt:lpstr>5P-Model</vt:lpstr>
      <vt:lpstr>5P- Model</vt:lpstr>
      <vt:lpstr>Marketing Mix</vt:lpstr>
      <vt:lpstr>Marketing 4P‘s</vt:lpstr>
      <vt:lpstr>Marketing Mix - 7P</vt:lpstr>
      <vt:lpstr>Marketing Mix</vt:lpstr>
      <vt:lpstr>Marketing Mix (4P‘s)</vt:lpstr>
      <vt:lpstr>Service marketing (from 4P’s to 7P’s)</vt:lpstr>
      <vt:lpstr>AIDA- Model</vt:lpstr>
      <vt:lpstr>AIDA - Action Principle</vt:lpstr>
      <vt:lpstr>Marketing 3C’s Triangle</vt:lpstr>
      <vt:lpstr>Diamond-Model - National Competitive Advantages </vt:lpstr>
      <vt:lpstr>Porter‘s Five Forces Analysis</vt:lpstr>
      <vt:lpstr>Five Forces</vt:lpstr>
      <vt:lpstr>U- Curve Concept - Stuck in the Middle</vt:lpstr>
      <vt:lpstr>S- Curve Concept </vt:lpstr>
      <vt:lpstr>S- Curve Concept - Life Cycle </vt:lpstr>
      <vt:lpstr>PowerPoint-Präsentation</vt:lpstr>
      <vt:lpstr>Differentiation - Strategic Marketing</vt:lpstr>
      <vt:lpstr>Conception Phases of Marketing</vt:lpstr>
      <vt:lpstr>Marketing - Communication Policy</vt:lpstr>
      <vt:lpstr>Four Codes of Brand Communication</vt:lpstr>
      <vt:lpstr>Core Competences / Product Pyramid</vt:lpstr>
      <vt:lpstr>Marketing Strategy - Influencial Factors</vt:lpstr>
      <vt:lpstr>Marketing Strategy</vt:lpstr>
      <vt:lpstr>Elements of Marketing Concept</vt:lpstr>
      <vt:lpstr>Market Areal Strategy</vt:lpstr>
      <vt:lpstr>Market Simulation Strategies - Stuck in the Middle</vt:lpstr>
      <vt:lpstr>Marketing Strategy - Strategic Triangle</vt:lpstr>
      <vt:lpstr>Marketing Strategy - Strategic Pentagon</vt:lpstr>
      <vt:lpstr>Innovation - Demand Pull and Technology Push</vt:lpstr>
      <vt:lpstr>Media Strategy - Dimensions</vt:lpstr>
      <vt:lpstr>Marketing Strategies</vt:lpstr>
      <vt:lpstr>Strategic Marketing</vt:lpstr>
      <vt:lpstr>Marketing Orientations</vt:lpstr>
      <vt:lpstr>Cost Leadership</vt:lpstr>
      <vt:lpstr>Differentiation Strategy</vt:lpstr>
      <vt:lpstr>Market Field Strategies according to Ansoff</vt:lpstr>
      <vt:lpstr>Market Area Strategies </vt:lpstr>
      <vt:lpstr>Marketing - STP-Strategies</vt:lpstr>
      <vt:lpstr>Competition Strategies</vt:lpstr>
      <vt:lpstr>Competition Strategies</vt:lpstr>
      <vt:lpstr>Competition Strategies</vt:lpstr>
      <vt:lpstr>Market Field Strategies according to Ansoff</vt:lpstr>
      <vt:lpstr>Norm Strategies - McKinsey/GE</vt:lpstr>
      <vt:lpstr>Norm Strategies - McKinsey/GE</vt:lpstr>
      <vt:lpstr>Market Growth</vt:lpstr>
      <vt:lpstr>Outpacing-Strategie</vt:lpstr>
      <vt:lpstr>Innovation Strategies - Innovation Pentagram</vt:lpstr>
      <vt:lpstr>Marketing Concepts - Dimensions</vt:lpstr>
      <vt:lpstr>Internationalization Strategies</vt:lpstr>
      <vt:lpstr>PowerPoint-Präsentation</vt:lpstr>
      <vt:lpstr>Marketing Management - Process</vt:lpstr>
      <vt:lpstr>Marketing-Planning - Process</vt:lpstr>
      <vt:lpstr>Marketing Targets</vt:lpstr>
      <vt:lpstr>Goal criteria − SMART</vt:lpstr>
      <vt:lpstr>Marketing Objectives - Target Pyramid</vt:lpstr>
      <vt:lpstr>Marketing objctives / Hierarchical levels of objectives</vt:lpstr>
      <vt:lpstr>CR-Marketing - Target Hierarchy</vt:lpstr>
      <vt:lpstr>Conventional Marketing Targets</vt:lpstr>
      <vt:lpstr>Marketing Plan</vt:lpstr>
      <vt:lpstr>PowerPoint-Präsentation</vt:lpstr>
      <vt:lpstr>Marketing Management Cycle</vt:lpstr>
      <vt:lpstr>Marketing Management Cycle</vt:lpstr>
      <vt:lpstr>Internal Marketing</vt:lpstr>
      <vt:lpstr>Integrated Marketing</vt:lpstr>
      <vt:lpstr>Marketing Oriented Management</vt:lpstr>
      <vt:lpstr>Marketing Structure</vt:lpstr>
      <vt:lpstr>Marketing Organization - Function-oriented</vt:lpstr>
      <vt:lpstr>Marketing Organization - Product-oriented</vt:lpstr>
      <vt:lpstr>Marketing Organization - Customer-oriented</vt:lpstr>
      <vt:lpstr>Matrix Organization in Marketing</vt:lpstr>
      <vt:lpstr>Matrix Organization in Marketing</vt:lpstr>
      <vt:lpstr>Funktional Sales - Marketing-Organization</vt:lpstr>
      <vt:lpstr>Marketing Management - Tasks</vt:lpstr>
      <vt:lpstr>Marketing Management </vt:lpstr>
      <vt:lpstr>Marketing Management - Task Areas</vt:lpstr>
      <vt:lpstr>Marketing in the Company</vt:lpstr>
      <vt:lpstr>Marketing control - Basic Scheme</vt:lpstr>
      <vt:lpstr>Company Communication</vt:lpstr>
      <vt:lpstr>Multi-Channel-Marketing</vt:lpstr>
      <vt:lpstr>Innovation Management - Overview</vt:lpstr>
      <vt:lpstr>PowerPoint-Präsentation</vt:lpstr>
      <vt:lpstr>Value Chain (Supply Chain)</vt:lpstr>
      <vt:lpstr>Cash Flow - Product</vt:lpstr>
      <vt:lpstr>Product Variation - New- and Replacement Demand</vt:lpstr>
      <vt:lpstr>Product variation - Product life cycle</vt:lpstr>
      <vt:lpstr>Product Life Cycle</vt:lpstr>
      <vt:lpstr>Revenue Profile of an Assortment</vt:lpstr>
      <vt:lpstr>Revenue and Profit according to products</vt:lpstr>
      <vt:lpstr>PowerPoint-Präsentation</vt:lpstr>
      <vt:lpstr>Composition of Profit</vt:lpstr>
      <vt:lpstr>Price Strategies</vt:lpstr>
      <vt:lpstr>Marketing - Leaning/Experience Curve</vt:lpstr>
      <vt:lpstr>Break-Even Analysis</vt:lpstr>
      <vt:lpstr>Marketing / Controlling - Experience</vt:lpstr>
      <vt:lpstr>Marketing Strategy - Cost Factors</vt:lpstr>
      <vt:lpstr>Price Differentiation and Profit Potential</vt:lpstr>
      <vt:lpstr>Types of price differentiation</vt:lpstr>
      <vt:lpstr>PowerPoint-Präsentation</vt:lpstr>
      <vt:lpstr>Marketing - Communication Instruments</vt:lpstr>
      <vt:lpstr>Advertising Measures</vt:lpstr>
      <vt:lpstr>Marketing - Communication Instruments</vt:lpstr>
      <vt:lpstr>Purchase Decision Process Phases</vt:lpstr>
      <vt:lpstr>Diffusion model by Rogers</vt:lpstr>
      <vt:lpstr>Pyramid of Needs according to Maslow</vt:lpstr>
      <vt:lpstr>SOR- Model according to Howard &amp; Sheth</vt:lpstr>
      <vt:lpstr>Procurement Center Model</vt:lpstr>
      <vt:lpstr>Sales Development - Options</vt:lpstr>
      <vt:lpstr>PowerPoint-Präsentation</vt:lpstr>
      <vt:lpstr>Copy Platform / Copy Strategy</vt:lpstr>
      <vt:lpstr>Win- Win- Situation</vt:lpstr>
      <vt:lpstr>Customer Strategies</vt:lpstr>
      <vt:lpstr>Market Communication - One step Model</vt:lpstr>
      <vt:lpstr>Market Communication - One step Model</vt:lpstr>
      <vt:lpstr>Market Communication - Two Step Model</vt:lpstr>
      <vt:lpstr>Customer Satisfaction - Graphic</vt:lpstr>
      <vt:lpstr>Customer Satisfaction - Graphic</vt:lpstr>
      <vt:lpstr>Customer Satisfaction</vt:lpstr>
      <vt:lpstr>Purchase Decision and Influencing Variables </vt:lpstr>
      <vt:lpstr>Experience of Customer</vt:lpstr>
      <vt:lpstr>Purchase Decision Process - Circle</vt:lpstr>
      <vt:lpstr>Development Stages of Customers</vt:lpstr>
      <vt:lpstr>Development Stages of Customers</vt:lpstr>
      <vt:lpstr>The Value Chain</vt:lpstr>
      <vt:lpstr>DAGMAR-Formula</vt:lpstr>
      <vt:lpstr>Core Competences</vt:lpstr>
      <vt:lpstr>Customer Lifetime Circle</vt:lpstr>
      <vt:lpstr>Customer Profile</vt:lpstr>
      <vt:lpstr>CRM- Functional Chain</vt:lpstr>
      <vt:lpstr>CRM - Contact Chain</vt:lpstr>
      <vt:lpstr>CR-Marketing - Phases</vt:lpstr>
      <vt:lpstr>PowerPoint-Präsentation</vt:lpstr>
      <vt:lpstr>Corporate Identity vs. Image</vt:lpstr>
      <vt:lpstr>Branding policy</vt:lpstr>
      <vt:lpstr>Branding policy - Requirements for a Brand</vt:lpstr>
      <vt:lpstr>Differentiation of Trademarks</vt:lpstr>
      <vt:lpstr>Corporate Identity</vt:lpstr>
      <vt:lpstr>Corporate Identity</vt:lpstr>
      <vt:lpstr>PowerPoint-Präsentation</vt:lpstr>
      <vt:lpstr>Competition - Graphic</vt:lpstr>
      <vt:lpstr>Graphic - Marketing vs. Strategy Signs</vt:lpstr>
      <vt:lpstr>Graphic - 3D Cart</vt:lpstr>
      <vt:lpstr>Marketing - Buzzword Cubes</vt:lpstr>
      <vt:lpstr>Marketing - Buzzword</vt:lpstr>
      <vt:lpstr>Marketing - Buzzword</vt:lpstr>
      <vt:lpstr>Graphic - Push Button „Marketing“</vt:lpstr>
      <vt:lpstr>Graphic - Push Button „Marketing“</vt:lpstr>
      <vt:lpstr>Graphic - Push Button „Marketing“</vt:lpstr>
      <vt:lpstr>Graphic - Push Button „Marketing“</vt:lpstr>
      <vt:lpstr>Graphic - Mouse Cursor „Marketing“</vt:lpstr>
      <vt:lpstr>Graphic - Mouse Cursor „Marketing“</vt:lpstr>
      <vt:lpstr>Graphic - Flowchart Sale Options</vt:lpstr>
      <vt:lpstr>Graphic - Marketing 4P‘s</vt:lpstr>
      <vt:lpstr>Puzzle - Marketing 4P‘s</vt:lpstr>
      <vt:lpstr>Marketing</vt:lpstr>
      <vt:lpstr>Process of Benchmarking</vt:lpstr>
      <vt:lpstr>Benchmarking</vt:lpstr>
      <vt:lpstr>Marketing Mix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2530 Marketing Toolbox</dc:title>
  <dc:creator>PresentationLoad</dc:creator>
  <dc:description>Professional PowerPoint Templates for download</dc:description>
  <cp:lastModifiedBy>alexander.c</cp:lastModifiedBy>
  <cp:revision>877</cp:revision>
  <dcterms:created xsi:type="dcterms:W3CDTF">2010-05-21T10:35:54Z</dcterms:created>
  <dcterms:modified xsi:type="dcterms:W3CDTF">2012-06-18T14:00:17Z</dcterms:modified>
</cp:coreProperties>
</file>